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6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7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8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9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0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1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6" r:id="rId1"/>
    <p:sldMasterId id="2147483653" r:id="rId2"/>
    <p:sldMasterId id="2147483652" r:id="rId3"/>
    <p:sldMasterId id="2147483903" r:id="rId4"/>
    <p:sldMasterId id="2147483919" r:id="rId5"/>
    <p:sldMasterId id="2147483931" r:id="rId6"/>
    <p:sldMasterId id="2147483987" r:id="rId7"/>
    <p:sldMasterId id="2147483999" r:id="rId8"/>
    <p:sldMasterId id="2147484011" r:id="rId9"/>
    <p:sldMasterId id="2147484023" r:id="rId10"/>
    <p:sldMasterId id="2147484036" r:id="rId11"/>
    <p:sldMasterId id="2147484041" r:id="rId12"/>
  </p:sldMasterIdLst>
  <p:notesMasterIdLst>
    <p:notesMasterId r:id="rId56"/>
  </p:notesMasterIdLst>
  <p:handoutMasterIdLst>
    <p:handoutMasterId r:id="rId57"/>
  </p:handoutMasterIdLst>
  <p:sldIdLst>
    <p:sldId id="575" r:id="rId13"/>
    <p:sldId id="589" r:id="rId14"/>
    <p:sldId id="590" r:id="rId15"/>
    <p:sldId id="591" r:id="rId16"/>
    <p:sldId id="593" r:id="rId17"/>
    <p:sldId id="594" r:id="rId18"/>
    <p:sldId id="597" r:id="rId19"/>
    <p:sldId id="569" r:id="rId20"/>
    <p:sldId id="596" r:id="rId21"/>
    <p:sldId id="581" r:id="rId22"/>
    <p:sldId id="582" r:id="rId23"/>
    <p:sldId id="583" r:id="rId24"/>
    <p:sldId id="598" r:id="rId25"/>
    <p:sldId id="599" r:id="rId26"/>
    <p:sldId id="621" r:id="rId27"/>
    <p:sldId id="619" r:id="rId28"/>
    <p:sldId id="601" r:id="rId29"/>
    <p:sldId id="620" r:id="rId30"/>
    <p:sldId id="607" r:id="rId31"/>
    <p:sldId id="606" r:id="rId32"/>
    <p:sldId id="605" r:id="rId33"/>
    <p:sldId id="608" r:id="rId34"/>
    <p:sldId id="609" r:id="rId35"/>
    <p:sldId id="610" r:id="rId36"/>
    <p:sldId id="616" r:id="rId37"/>
    <p:sldId id="618" r:id="rId38"/>
    <p:sldId id="635" r:id="rId39"/>
    <p:sldId id="624" r:id="rId40"/>
    <p:sldId id="622" r:id="rId41"/>
    <p:sldId id="629" r:id="rId42"/>
    <p:sldId id="630" r:id="rId43"/>
    <p:sldId id="631" r:id="rId44"/>
    <p:sldId id="632" r:id="rId45"/>
    <p:sldId id="634" r:id="rId46"/>
    <p:sldId id="627" r:id="rId47"/>
    <p:sldId id="633" r:id="rId48"/>
    <p:sldId id="628" r:id="rId49"/>
    <p:sldId id="636" r:id="rId50"/>
    <p:sldId id="637" r:id="rId51"/>
    <p:sldId id="638" r:id="rId52"/>
    <p:sldId id="639" r:id="rId53"/>
    <p:sldId id="640" r:id="rId54"/>
    <p:sldId id="568" r:id="rId55"/>
  </p:sldIdLst>
  <p:sldSz cx="9144000" cy="6858000" type="screen4x3"/>
  <p:notesSz cx="6858000" cy="965835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0000"/>
    <a:srgbClr val="000066"/>
    <a:srgbClr val="000099"/>
    <a:srgbClr val="CC0000"/>
    <a:srgbClr val="F8F8F8"/>
    <a:srgbClr val="EAEAEA"/>
    <a:srgbClr val="CCFFFF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15" autoAdjust="0"/>
    <p:restoredTop sz="33682" autoAdjust="0"/>
  </p:normalViewPr>
  <p:slideViewPr>
    <p:cSldViewPr snapToGrid="0">
      <p:cViewPr varScale="1">
        <p:scale>
          <a:sx n="71" d="100"/>
          <a:sy n="71" d="100"/>
        </p:scale>
        <p:origin x="-1272" y="-102"/>
      </p:cViewPr>
      <p:guideLst>
        <p:guide orient="horz" pos="2160"/>
        <p:guide pos="2880"/>
      </p:guideLst>
    </p:cSldViewPr>
  </p:slideViewPr>
  <p:outlineViewPr>
    <p:cViewPr>
      <p:scale>
        <a:sx n="80" d="100"/>
        <a:sy n="80" d="100"/>
      </p:scale>
      <p:origin x="0" y="1431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3" d="100"/>
        <a:sy n="53" d="100"/>
      </p:scale>
      <p:origin x="0" y="528"/>
    </p:cViewPr>
  </p:sorterViewPr>
  <p:notesViewPr>
    <p:cSldViewPr snapToGrid="0">
      <p:cViewPr varScale="1">
        <p:scale>
          <a:sx n="54" d="100"/>
          <a:sy n="54" d="100"/>
        </p:scale>
        <p:origin x="-1512" y="-102"/>
      </p:cViewPr>
      <p:guideLst>
        <p:guide orient="horz" pos="3042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handoutMaster" Target="handoutMasters/handoutMaster1.xml"/><Relationship Id="rId61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Pasta1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\\EINSTEIN\SEXEC\Plano_CTI\a_PACTI_2\2011\Macrometas\Dispendio_P&amp;D_compara&#231;&#227;o_internacional.xls" TargetMode="External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fabio.larotonda\Meus%20documentos\subven&#231;&#227;o_novo.xls" TargetMode="External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\\EINSTEIN\SEXEC\Plano_CTI\Docs_NAAP\Relat&#243;rio_Final_2010\2010_Dezembro\Vers&#227;o%20Final%20Figuras%20e%20Tabelas%20-%20Dezembro\Plano_CTI_Relat&#243;rio_Figuras_Dados_Dezembro.xls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>
              <a:solidFill>
                <a:sysClr val="window" lastClr="FFFFFF">
                  <a:lumMod val="85000"/>
                </a:sysClr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rgbClr val="002060"/>
                    </a:solidFill>
                    <a:latin typeface="Corbel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1!$A$3:$A$13</c:f>
              <c:strCache>
                <c:ptCount val="11"/>
                <c:pt idx="0">
                  <c:v>China</c:v>
                </c:pt>
                <c:pt idx="1">
                  <c:v>Estados Unidos</c:v>
                </c:pt>
                <c:pt idx="2">
                  <c:v>México</c:v>
                </c:pt>
                <c:pt idx="3">
                  <c:v>Total</c:v>
                </c:pt>
                <c:pt idx="4">
                  <c:v>Índia</c:v>
                </c:pt>
                <c:pt idx="5">
                  <c:v>Canadá</c:v>
                </c:pt>
                <c:pt idx="6">
                  <c:v>Brasil</c:v>
                </c:pt>
                <c:pt idx="7">
                  <c:v>Chile</c:v>
                </c:pt>
                <c:pt idx="8">
                  <c:v>Austrália</c:v>
                </c:pt>
                <c:pt idx="9">
                  <c:v>Argentina</c:v>
                </c:pt>
                <c:pt idx="10">
                  <c:v>Rússia</c:v>
                </c:pt>
              </c:strCache>
            </c:strRef>
          </c:cat>
          <c:val>
            <c:numRef>
              <c:f>Plan1!$B$3:$B$13</c:f>
              <c:numCache>
                <c:formatCode>0.0%</c:formatCode>
                <c:ptCount val="11"/>
                <c:pt idx="0">
                  <c:v>9.2999999999999999E-2</c:v>
                </c:pt>
                <c:pt idx="1">
                  <c:v>0.15</c:v>
                </c:pt>
                <c:pt idx="2">
                  <c:v>0.23</c:v>
                </c:pt>
                <c:pt idx="3">
                  <c:v>0.26</c:v>
                </c:pt>
                <c:pt idx="4">
                  <c:v>0.28999999999999998</c:v>
                </c:pt>
                <c:pt idx="5">
                  <c:v>0.42</c:v>
                </c:pt>
                <c:pt idx="6">
                  <c:v>0.48</c:v>
                </c:pt>
                <c:pt idx="7">
                  <c:v>0.56000000000000005</c:v>
                </c:pt>
                <c:pt idx="8">
                  <c:v>0.62</c:v>
                </c:pt>
                <c:pt idx="9">
                  <c:v>0.68</c:v>
                </c:pt>
                <c:pt idx="10">
                  <c:v>0.7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9325952"/>
        <c:axId val="49360896"/>
      </c:barChart>
      <c:catAx>
        <c:axId val="493259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50">
                <a:solidFill>
                  <a:srgbClr val="002060"/>
                </a:solidFill>
                <a:latin typeface="Corbel" pitchFamily="34" charset="0"/>
              </a:defRPr>
            </a:pPr>
            <a:endParaRPr lang="pt-BR"/>
          </a:p>
        </c:txPr>
        <c:crossAx val="49360896"/>
        <c:crosses val="autoZero"/>
        <c:auto val="1"/>
        <c:lblAlgn val="ctr"/>
        <c:lblOffset val="100"/>
        <c:noMultiLvlLbl val="0"/>
      </c:catAx>
      <c:valAx>
        <c:axId val="49360896"/>
        <c:scaling>
          <c:orientation val="minMax"/>
        </c:scaling>
        <c:delete val="0"/>
        <c:axPos val="l"/>
        <c:majorGridlines>
          <c:spPr>
            <a:ln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400" b="1">
                <a:solidFill>
                  <a:srgbClr val="002060"/>
                </a:solidFill>
                <a:latin typeface="Corbel" pitchFamily="34" charset="0"/>
              </a:defRPr>
            </a:pPr>
            <a:endParaRPr lang="pt-BR"/>
          </a:p>
        </c:txPr>
        <c:crossAx val="49325952"/>
        <c:crosses val="autoZero"/>
        <c:crossBetween val="between"/>
      </c:valAx>
      <c:spPr>
        <a:ln>
          <a:solidFill>
            <a:sysClr val="window" lastClr="FFFFFF">
              <a:lumMod val="75000"/>
            </a:sysClr>
          </a:solidFill>
        </a:ln>
      </c:spPr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>
              <a:solidFill>
                <a:schemeClr val="bg1">
                  <a:lumMod val="75000"/>
                </a:schemeClr>
              </a:solidFill>
            </a:ln>
          </c:spPr>
          <c:invertIfNegative val="0"/>
          <c:dLbls>
            <c:numFmt formatCode="0.0%" sourceLinked="0"/>
            <c:txPr>
              <a:bodyPr/>
              <a:lstStyle/>
              <a:p>
                <a:pPr>
                  <a:defRPr sz="1400" b="1">
                    <a:solidFill>
                      <a:srgbClr val="002060"/>
                    </a:solidFill>
                    <a:latin typeface="Corbel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2!$A$3:$A$14</c:f>
              <c:strCache>
                <c:ptCount val="12"/>
                <c:pt idx="0">
                  <c:v>Argentina</c:v>
                </c:pt>
                <c:pt idx="1">
                  <c:v>Rússia</c:v>
                </c:pt>
                <c:pt idx="2">
                  <c:v>Austrália</c:v>
                </c:pt>
                <c:pt idx="3">
                  <c:v>Índia</c:v>
                </c:pt>
                <c:pt idx="4">
                  <c:v>África do Sul</c:v>
                </c:pt>
                <c:pt idx="5">
                  <c:v>Brasil</c:v>
                </c:pt>
                <c:pt idx="6">
                  <c:v>Total</c:v>
                </c:pt>
                <c:pt idx="7">
                  <c:v>Alemanha</c:v>
                </c:pt>
                <c:pt idx="8">
                  <c:v>México</c:v>
                </c:pt>
                <c:pt idx="9">
                  <c:v>Estados Unidos</c:v>
                </c:pt>
                <c:pt idx="10">
                  <c:v>China</c:v>
                </c:pt>
                <c:pt idx="11">
                  <c:v>Japão</c:v>
                </c:pt>
              </c:strCache>
            </c:strRef>
          </c:cat>
          <c:val>
            <c:numRef>
              <c:f>Plan2!$B$3:$B$14</c:f>
              <c:numCache>
                <c:formatCode>0.00%</c:formatCode>
                <c:ptCount val="12"/>
                <c:pt idx="0">
                  <c:v>3.9E-2</c:v>
                </c:pt>
                <c:pt idx="1">
                  <c:v>3.9E-2</c:v>
                </c:pt>
                <c:pt idx="2">
                  <c:v>8.3000000000000004E-2</c:v>
                </c:pt>
                <c:pt idx="3">
                  <c:v>8.5000000000000006E-2</c:v>
                </c:pt>
                <c:pt idx="4">
                  <c:v>0.11</c:v>
                </c:pt>
                <c:pt idx="5">
                  <c:v>0.17</c:v>
                </c:pt>
                <c:pt idx="6">
                  <c:v>0.33</c:v>
                </c:pt>
                <c:pt idx="7">
                  <c:v>0.38</c:v>
                </c:pt>
                <c:pt idx="8">
                  <c:v>0.43</c:v>
                </c:pt>
                <c:pt idx="9">
                  <c:v>0.47</c:v>
                </c:pt>
                <c:pt idx="10">
                  <c:v>0.48</c:v>
                </c:pt>
                <c:pt idx="11">
                  <c:v>0.5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7254144"/>
        <c:axId val="67255680"/>
      </c:barChart>
      <c:catAx>
        <c:axId val="6725414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>
                <a:solidFill>
                  <a:srgbClr val="002060"/>
                </a:solidFill>
                <a:latin typeface="Corbel" pitchFamily="34" charset="0"/>
              </a:defRPr>
            </a:pPr>
            <a:endParaRPr lang="pt-BR"/>
          </a:p>
        </c:txPr>
        <c:crossAx val="67255680"/>
        <c:crosses val="autoZero"/>
        <c:auto val="1"/>
        <c:lblAlgn val="ctr"/>
        <c:lblOffset val="100"/>
        <c:noMultiLvlLbl val="0"/>
      </c:catAx>
      <c:valAx>
        <c:axId val="6725568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0.0%" sourceLinked="0"/>
        <c:majorTickMark val="out"/>
        <c:minorTickMark val="none"/>
        <c:tickLblPos val="nextTo"/>
        <c:txPr>
          <a:bodyPr/>
          <a:lstStyle/>
          <a:p>
            <a:pPr>
              <a:defRPr sz="1400" b="1">
                <a:solidFill>
                  <a:srgbClr val="002060"/>
                </a:solidFill>
                <a:latin typeface="Corbel" pitchFamily="34" charset="0"/>
              </a:defRPr>
            </a:pPr>
            <a:endParaRPr lang="pt-BR"/>
          </a:p>
        </c:txPr>
        <c:crossAx val="67254144"/>
        <c:crosses val="autoZero"/>
        <c:crossBetween val="between"/>
      </c:valAx>
      <c:spPr>
        <a:ln>
          <a:solidFill>
            <a:sysClr val="window" lastClr="FFFFFF">
              <a:lumMod val="75000"/>
            </a:sysClr>
          </a:solidFill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1!$C$1</c:f>
              <c:strCache>
                <c:ptCount val="1"/>
                <c:pt idx="0">
                  <c:v>Governo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#,##0.00" sourceLinked="0"/>
            <c:txPr>
              <a:bodyPr/>
              <a:lstStyle/>
              <a:p>
                <a:pPr>
                  <a:defRPr sz="800" b="1" i="0" u="none" strike="noStrike" baseline="0">
                    <a:solidFill>
                      <a:srgbClr val="003366"/>
                    </a:solidFill>
                    <a:latin typeface="Arial"/>
                    <a:ea typeface="Arial"/>
                    <a:cs typeface="Arial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1!$A$2:$A$18</c:f>
              <c:strCache>
                <c:ptCount val="17"/>
                <c:pt idx="0">
                  <c:v>México (2007)</c:v>
                </c:pt>
                <c:pt idx="1">
                  <c:v>Argentina (2007)</c:v>
                </c:pt>
                <c:pt idx="2">
                  <c:v>Rússia (2008)</c:v>
                </c:pt>
                <c:pt idx="3">
                  <c:v>Itália (2007)</c:v>
                </c:pt>
                <c:pt idx="4">
                  <c:v>Brasil (2010*)</c:v>
                </c:pt>
                <c:pt idx="5">
                  <c:v>Portugal (2007)</c:v>
                </c:pt>
                <c:pt idx="6">
                  <c:v>Espanha (2007)</c:v>
                </c:pt>
                <c:pt idx="7">
                  <c:v>Reino Unido (2008)</c:v>
                </c:pt>
                <c:pt idx="8">
                  <c:v>China (2008)</c:v>
                </c:pt>
                <c:pt idx="9">
                  <c:v>Canadá (2008)</c:v>
                </c:pt>
                <c:pt idx="10">
                  <c:v>França (2008)</c:v>
                </c:pt>
                <c:pt idx="11">
                  <c:v>Austrália (2006)</c:v>
                </c:pt>
                <c:pt idx="12">
                  <c:v>Alemanha (2007)</c:v>
                </c:pt>
                <c:pt idx="13">
                  <c:v>Cingapura (2008)</c:v>
                </c:pt>
                <c:pt idx="14">
                  <c:v>EUA (2008)</c:v>
                </c:pt>
                <c:pt idx="15">
                  <c:v>Japão (2008)</c:v>
                </c:pt>
                <c:pt idx="16">
                  <c:v>Coréia (2008)</c:v>
                </c:pt>
              </c:strCache>
            </c:strRef>
          </c:cat>
          <c:val>
            <c:numRef>
              <c:f>Plan1!$C$2:$C$18</c:f>
              <c:numCache>
                <c:formatCode>General</c:formatCode>
                <c:ptCount val="17"/>
                <c:pt idx="0">
                  <c:v>0.19000000000000133</c:v>
                </c:pt>
                <c:pt idx="1">
                  <c:v>0.34000000000000336</c:v>
                </c:pt>
                <c:pt idx="2">
                  <c:v>0.67000000000002691</c:v>
                </c:pt>
                <c:pt idx="3">
                  <c:v>0.52</c:v>
                </c:pt>
                <c:pt idx="4">
                  <c:v>0.54</c:v>
                </c:pt>
                <c:pt idx="5">
                  <c:v>0.55000000000000004</c:v>
                </c:pt>
                <c:pt idx="6">
                  <c:v>0.62000000000000965</c:v>
                </c:pt>
                <c:pt idx="7">
                  <c:v>0.54</c:v>
                </c:pt>
                <c:pt idx="8">
                  <c:v>0.36000000000000032</c:v>
                </c:pt>
                <c:pt idx="9">
                  <c:v>0.60000000000000064</c:v>
                </c:pt>
                <c:pt idx="10">
                  <c:v>0.8</c:v>
                </c:pt>
                <c:pt idx="11">
                  <c:v>0.74000000000000365</c:v>
                </c:pt>
                <c:pt idx="12">
                  <c:v>0.70000000000000062</c:v>
                </c:pt>
                <c:pt idx="13">
                  <c:v>0.8</c:v>
                </c:pt>
                <c:pt idx="14">
                  <c:v>0.75000000000001465</c:v>
                </c:pt>
                <c:pt idx="15">
                  <c:v>0.54</c:v>
                </c:pt>
                <c:pt idx="16">
                  <c:v>0.86000000000000065</c:v>
                </c:pt>
              </c:numCache>
            </c:numRef>
          </c:val>
        </c:ser>
        <c:ser>
          <c:idx val="1"/>
          <c:order val="1"/>
          <c:tx>
            <c:strRef>
              <c:f>Plan1!$D$1</c:f>
              <c:strCache>
                <c:ptCount val="1"/>
                <c:pt idx="0">
                  <c:v>Empresa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#,##0.00" sourceLinked="0"/>
            <c:txPr>
              <a:bodyPr/>
              <a:lstStyle/>
              <a:p>
                <a:pPr>
                  <a:defRPr sz="800" b="1" i="0" u="none" strike="noStrike" baseline="0">
                    <a:solidFill>
                      <a:srgbClr val="003366"/>
                    </a:solidFill>
                    <a:latin typeface="Arial"/>
                    <a:ea typeface="Arial"/>
                    <a:cs typeface="Arial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1!$A$2:$A$18</c:f>
              <c:strCache>
                <c:ptCount val="17"/>
                <c:pt idx="0">
                  <c:v>México (2007)</c:v>
                </c:pt>
                <c:pt idx="1">
                  <c:v>Argentina (2007)</c:v>
                </c:pt>
                <c:pt idx="2">
                  <c:v>Rússia (2008)</c:v>
                </c:pt>
                <c:pt idx="3">
                  <c:v>Itália (2007)</c:v>
                </c:pt>
                <c:pt idx="4">
                  <c:v>Brasil (2010*)</c:v>
                </c:pt>
                <c:pt idx="5">
                  <c:v>Portugal (2007)</c:v>
                </c:pt>
                <c:pt idx="6">
                  <c:v>Espanha (2007)</c:v>
                </c:pt>
                <c:pt idx="7">
                  <c:v>Reino Unido (2008)</c:v>
                </c:pt>
                <c:pt idx="8">
                  <c:v>China (2008)</c:v>
                </c:pt>
                <c:pt idx="9">
                  <c:v>Canadá (2008)</c:v>
                </c:pt>
                <c:pt idx="10">
                  <c:v>França (2008)</c:v>
                </c:pt>
                <c:pt idx="11">
                  <c:v>Austrália (2006)</c:v>
                </c:pt>
                <c:pt idx="12">
                  <c:v>Alemanha (2007)</c:v>
                </c:pt>
                <c:pt idx="13">
                  <c:v>Cingapura (2008)</c:v>
                </c:pt>
                <c:pt idx="14">
                  <c:v>EUA (2008)</c:v>
                </c:pt>
                <c:pt idx="15">
                  <c:v>Japão (2008)</c:v>
                </c:pt>
                <c:pt idx="16">
                  <c:v>Coréia (2008)</c:v>
                </c:pt>
              </c:strCache>
            </c:strRef>
          </c:cat>
          <c:val>
            <c:numRef>
              <c:f>Plan1!$D$2:$D$18</c:f>
              <c:numCache>
                <c:formatCode>General</c:formatCode>
                <c:ptCount val="17"/>
                <c:pt idx="0">
                  <c:v>0.17</c:v>
                </c:pt>
                <c:pt idx="1">
                  <c:v>0.15000000000000024</c:v>
                </c:pt>
                <c:pt idx="2">
                  <c:v>0.30000000000000032</c:v>
                </c:pt>
                <c:pt idx="3">
                  <c:v>0.5</c:v>
                </c:pt>
                <c:pt idx="4">
                  <c:v>0.56999999999999995</c:v>
                </c:pt>
                <c:pt idx="5">
                  <c:v>0.58000000000000052</c:v>
                </c:pt>
                <c:pt idx="6">
                  <c:v>0.59000000000000052</c:v>
                </c:pt>
                <c:pt idx="7">
                  <c:v>0.8</c:v>
                </c:pt>
                <c:pt idx="8">
                  <c:v>1.1000000000000001</c:v>
                </c:pt>
                <c:pt idx="9">
                  <c:v>0.88000000000000567</c:v>
                </c:pt>
                <c:pt idx="10">
                  <c:v>1.02</c:v>
                </c:pt>
                <c:pt idx="11">
                  <c:v>1.1499999999999551</c:v>
                </c:pt>
                <c:pt idx="12">
                  <c:v>1.72000000000001</c:v>
                </c:pt>
                <c:pt idx="13">
                  <c:v>1.7000000000000099</c:v>
                </c:pt>
                <c:pt idx="14">
                  <c:v>1.86</c:v>
                </c:pt>
                <c:pt idx="15">
                  <c:v>2.68</c:v>
                </c:pt>
                <c:pt idx="16">
                  <c:v>2.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52129536"/>
        <c:axId val="152131456"/>
      </c:barChart>
      <c:catAx>
        <c:axId val="15212953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1" i="0" u="none" strike="noStrike" baseline="0">
                <a:solidFill>
                  <a:srgbClr val="003366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52131456"/>
        <c:crosses val="autoZero"/>
        <c:auto val="1"/>
        <c:lblAlgn val="ctr"/>
        <c:lblOffset val="100"/>
        <c:noMultiLvlLbl val="0"/>
      </c:catAx>
      <c:valAx>
        <c:axId val="152131456"/>
        <c:scaling>
          <c:orientation val="minMax"/>
        </c:scaling>
        <c:delete val="0"/>
        <c:axPos val="b"/>
        <c:majorGridlines/>
        <c:numFmt formatCode="#,##0.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000" b="1" i="0" u="none" strike="noStrike" baseline="0">
                <a:solidFill>
                  <a:srgbClr val="003366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5212953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pt-BR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20"/>
      <c:depthPercent val="3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15"/>
          <c:dPt>
            <c:idx val="0"/>
            <c:bubble3D val="0"/>
            <c:spPr>
              <a:solidFill>
                <a:srgbClr val="A8CE38"/>
              </a:solidFill>
            </c:spPr>
          </c:dPt>
          <c:dPt>
            <c:idx val="1"/>
            <c:bubble3D val="0"/>
            <c:spPr>
              <a:solidFill>
                <a:srgbClr val="DC5928"/>
              </a:solidFill>
            </c:spPr>
          </c:dPt>
          <c:dPt>
            <c:idx val="2"/>
            <c:bubble3D val="0"/>
            <c:spPr>
              <a:solidFill>
                <a:srgbClr val="F7941D"/>
              </a:solidFill>
            </c:spPr>
          </c:dPt>
          <c:dPt>
            <c:idx val="3"/>
            <c:bubble3D val="0"/>
            <c:spPr>
              <a:solidFill>
                <a:srgbClr val="276CAB"/>
              </a:solidFill>
            </c:spPr>
          </c:dPt>
          <c:dPt>
            <c:idx val="4"/>
            <c:bubble3D val="0"/>
            <c:spPr>
              <a:solidFill>
                <a:srgbClr val="6B8BC6"/>
              </a:solidFill>
            </c:spPr>
          </c:dPt>
          <c:dPt>
            <c:idx val="5"/>
            <c:bubble3D val="0"/>
            <c:spPr>
              <a:solidFill>
                <a:srgbClr val="53A175"/>
              </a:solidFill>
            </c:spPr>
          </c:dPt>
          <c:dLbls>
            <c:dLbl>
              <c:idx val="0"/>
              <c:layout>
                <c:manualLayout>
                  <c:x val="6.2090165199938423E-2"/>
                  <c:y val="-4.008690580344161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764299337110699E-2"/>
                  <c:y val="6.717893918219615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3.4895321908290887E-2"/>
                  <c:y val="-1.1583552055993043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9.7582213987957214E-3"/>
                  <c:y val="5.34301545640127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4694302918017635E-2"/>
                  <c:y val="-4.941090696996212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13819005712521229"/>
                  <c:y val="4.6934966462525516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>
                    <a:solidFill>
                      <a:srgbClr val="C00000"/>
                    </a:solidFill>
                    <a:latin typeface="+mn-lt"/>
                    <a:cs typeface="Arial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Plan1!$A$52:$A$57</c:f>
              <c:strCache>
                <c:ptCount val="6"/>
                <c:pt idx="0">
                  <c:v>biotecnologia</c:v>
                </c:pt>
                <c:pt idx="1">
                  <c:v>desenvolvimento social</c:v>
                </c:pt>
                <c:pt idx="2">
                  <c:v>defesa</c:v>
                </c:pt>
                <c:pt idx="3">
                  <c:v>energia</c:v>
                </c:pt>
                <c:pt idx="4">
                  <c:v>saúde</c:v>
                </c:pt>
                <c:pt idx="5">
                  <c:v>TICs</c:v>
                </c:pt>
              </c:strCache>
            </c:strRef>
          </c:cat>
          <c:val>
            <c:numRef>
              <c:f>Plan1!$B$52:$B$57</c:f>
              <c:numCache>
                <c:formatCode>0.0%</c:formatCode>
                <c:ptCount val="6"/>
                <c:pt idx="0">
                  <c:v>0.18957996488248349</c:v>
                </c:pt>
                <c:pt idx="1">
                  <c:v>0.21224310863597412</c:v>
                </c:pt>
                <c:pt idx="2">
                  <c:v>0.11233621114104771</c:v>
                </c:pt>
                <c:pt idx="3">
                  <c:v>0.12663973298997311</c:v>
                </c:pt>
                <c:pt idx="4">
                  <c:v>0.17197829066060974</c:v>
                </c:pt>
                <c:pt idx="5">
                  <c:v>0.187222691689912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zero"/>
    <c:showDLblsOverMax val="0"/>
  </c:chart>
  <c:spPr>
    <a:ln>
      <a:noFill/>
    </a:ln>
  </c:sp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25"/>
      <c:rotY val="34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9968319730833786"/>
          <c:y val="0.38684210526315865"/>
          <c:w val="0.51505596665709974"/>
          <c:h val="0.47105263157894783"/>
        </c:manualLayout>
      </c:layout>
      <c:pie3DChart>
        <c:varyColors val="1"/>
        <c:ser>
          <c:idx val="0"/>
          <c:order val="0"/>
          <c:spPr>
            <a:gradFill rotWithShape="0">
              <a:gsLst>
                <a:gs pos="0">
                  <a:srgbClr val="99CC00"/>
                </a:gs>
                <a:gs pos="100000">
                  <a:srgbClr val="99CC00">
                    <a:gamma/>
                    <a:tint val="44314"/>
                    <a:invGamma/>
                  </a:srgbClr>
                </a:gs>
              </a:gsLst>
              <a:lin ang="18900000" scaled="1"/>
            </a:gradFill>
            <a:ln w="25400">
              <a:noFill/>
            </a:ln>
          </c:spPr>
          <c:dPt>
            <c:idx val="0"/>
            <c:bubble3D val="0"/>
            <c:spPr>
              <a:gradFill rotWithShape="0">
                <a:gsLst>
                  <a:gs pos="0">
                    <a:srgbClr val="FF9900"/>
                  </a:gs>
                  <a:gs pos="100000">
                    <a:srgbClr val="FF9900">
                      <a:gamma/>
                      <a:tint val="44314"/>
                      <a:invGamma/>
                    </a:srgbClr>
                  </a:gs>
                </a:gsLst>
                <a:lin ang="2700000" scaled="1"/>
              </a:gradFill>
              <a:ln w="25400">
                <a:noFill/>
              </a:ln>
            </c:spPr>
          </c:dPt>
          <c:dPt>
            <c:idx val="1"/>
            <c:bubble3D val="0"/>
            <c:spPr>
              <a:gradFill rotWithShape="0">
                <a:gsLst>
                  <a:gs pos="0">
                    <a:srgbClr val="FF0000"/>
                  </a:gs>
                  <a:gs pos="100000">
                    <a:srgbClr val="FF0000">
                      <a:gamma/>
                      <a:tint val="44314"/>
                      <a:invGamma/>
                    </a:srgbClr>
                  </a:gs>
                </a:gsLst>
                <a:lin ang="2700000" scaled="1"/>
              </a:gradFill>
              <a:ln w="25400">
                <a:noFill/>
              </a:ln>
            </c:spPr>
          </c:dPt>
          <c:dPt>
            <c:idx val="2"/>
            <c:bubble3D val="0"/>
            <c:spPr>
              <a:gradFill rotWithShape="0">
                <a:gsLst>
                  <a:gs pos="0">
                    <a:srgbClr val="FF9900"/>
                  </a:gs>
                  <a:gs pos="100000">
                    <a:srgbClr val="FF9900">
                      <a:gamma/>
                      <a:tint val="44314"/>
                      <a:invGamma/>
                    </a:srgbClr>
                  </a:gs>
                </a:gsLst>
                <a:lin ang="2700000" scaled="1"/>
              </a:gradFill>
              <a:ln w="25400">
                <a:noFill/>
              </a:ln>
            </c:spPr>
          </c:dPt>
          <c:dPt>
            <c:idx val="3"/>
            <c:bubble3D val="0"/>
            <c:spPr>
              <a:gradFill rotWithShape="0">
                <a:gsLst>
                  <a:gs pos="0">
                    <a:srgbClr val="003300">
                      <a:gamma/>
                      <a:tint val="44314"/>
                      <a:invGamma/>
                    </a:srgbClr>
                  </a:gs>
                  <a:gs pos="100000">
                    <a:srgbClr val="003300"/>
                  </a:gs>
                </a:gsLst>
                <a:lin ang="18900000" scaled="1"/>
              </a:gradFill>
              <a:ln w="25400">
                <a:noFill/>
              </a:ln>
            </c:spPr>
          </c:dPt>
          <c:dPt>
            <c:idx val="4"/>
            <c:bubble3D val="0"/>
            <c:spPr>
              <a:gradFill rotWithShape="0">
                <a:gsLst>
                  <a:gs pos="0">
                    <a:srgbClr val="FFFF00">
                      <a:gamma/>
                      <a:tint val="44314"/>
                      <a:invGamma/>
                    </a:srgbClr>
                  </a:gs>
                  <a:gs pos="100000">
                    <a:srgbClr val="FFFF00"/>
                  </a:gs>
                </a:gsLst>
                <a:lin ang="18900000" scaled="1"/>
              </a:gradFill>
              <a:ln w="25400">
                <a:noFill/>
              </a:ln>
            </c:spPr>
          </c:dPt>
          <c:dPt>
            <c:idx val="5"/>
            <c:bubble3D val="0"/>
            <c:spPr>
              <a:gradFill rotWithShape="0">
                <a:gsLst>
                  <a:gs pos="0">
                    <a:srgbClr val="FF6600">
                      <a:gamma/>
                      <a:tint val="44314"/>
                      <a:invGamma/>
                    </a:srgbClr>
                  </a:gs>
                  <a:gs pos="100000">
                    <a:srgbClr val="FF6600"/>
                  </a:gs>
                </a:gsLst>
                <a:lin ang="18900000" scaled="1"/>
              </a:gradFill>
              <a:ln w="25400">
                <a:noFill/>
              </a:ln>
            </c:spPr>
          </c:dPt>
          <c:dPt>
            <c:idx val="6"/>
            <c:bubble3D val="0"/>
            <c:spPr>
              <a:gradFill rotWithShape="0">
                <a:gsLst>
                  <a:gs pos="0">
                    <a:srgbClr val="FFCC00">
                      <a:gamma/>
                      <a:tint val="44314"/>
                      <a:invGamma/>
                    </a:srgbClr>
                  </a:gs>
                  <a:gs pos="100000">
                    <a:srgbClr val="FFCC00"/>
                  </a:gs>
                </a:gsLst>
                <a:lin ang="18900000" scaled="1"/>
              </a:gradFill>
              <a:ln w="25400">
                <a:noFill/>
              </a:ln>
            </c:spPr>
          </c:dPt>
          <c:dPt>
            <c:idx val="7"/>
            <c:bubble3D val="0"/>
            <c:spPr>
              <a:gradFill rotWithShape="0">
                <a:gsLst>
                  <a:gs pos="0">
                    <a:srgbClr val="FFFF99">
                      <a:gamma/>
                      <a:tint val="44314"/>
                      <a:invGamma/>
                    </a:srgbClr>
                  </a:gs>
                  <a:gs pos="100000">
                    <a:srgbClr val="FFFF99"/>
                  </a:gs>
                </a:gsLst>
                <a:lin ang="18900000" scaled="1"/>
              </a:gradFill>
              <a:ln w="25400">
                <a:noFill/>
              </a:ln>
            </c:spPr>
          </c:dPt>
          <c:dPt>
            <c:idx val="8"/>
            <c:bubble3D val="0"/>
            <c:spPr>
              <a:gradFill rotWithShape="0">
                <a:gsLst>
                  <a:gs pos="0">
                    <a:srgbClr val="339966">
                      <a:gamma/>
                      <a:tint val="44314"/>
                      <a:invGamma/>
                    </a:srgbClr>
                  </a:gs>
                  <a:gs pos="100000">
                    <a:srgbClr val="339966"/>
                  </a:gs>
                </a:gsLst>
                <a:lin ang="2700000" scaled="1"/>
              </a:gradFill>
              <a:ln w="25400">
                <a:noFill/>
              </a:ln>
            </c:spPr>
          </c:dPt>
          <c:dPt>
            <c:idx val="10"/>
            <c:bubble3D val="0"/>
            <c:spPr>
              <a:gradFill rotWithShape="0">
                <a:gsLst>
                  <a:gs pos="0">
                    <a:srgbClr val="0000FF"/>
                  </a:gs>
                  <a:gs pos="100000">
                    <a:srgbClr val="0000FF">
                      <a:gamma/>
                      <a:tint val="44314"/>
                      <a:invGamma/>
                    </a:srgbClr>
                  </a:gs>
                </a:gsLst>
                <a:lin ang="0" scaled="1"/>
              </a:gradFill>
              <a:ln w="25400">
                <a:noFill/>
              </a:ln>
            </c:spPr>
          </c:dPt>
          <c:dPt>
            <c:idx val="11"/>
            <c:bubble3D val="0"/>
            <c:spPr>
              <a:gradFill rotWithShape="0">
                <a:gsLst>
                  <a:gs pos="0">
                    <a:srgbClr val="99CCFF"/>
                  </a:gs>
                  <a:gs pos="100000">
                    <a:srgbClr val="99CCFF">
                      <a:gamma/>
                      <a:tint val="44314"/>
                      <a:invGamma/>
                    </a:srgbClr>
                  </a:gs>
                </a:gsLst>
                <a:lin ang="2700000" scaled="1"/>
              </a:gradFill>
              <a:ln w="25400">
                <a:noFill/>
              </a:ln>
            </c:spPr>
          </c:dPt>
          <c:dPt>
            <c:idx val="12"/>
            <c:bubble3D val="0"/>
            <c:spPr>
              <a:gradFill rotWithShape="0">
                <a:gsLst>
                  <a:gs pos="0">
                    <a:srgbClr val="00CCFF"/>
                  </a:gs>
                  <a:gs pos="100000">
                    <a:srgbClr val="00CCFF">
                      <a:gamma/>
                      <a:tint val="44314"/>
                      <a:invGamma/>
                    </a:srgbClr>
                  </a:gs>
                </a:gsLst>
                <a:lin ang="2700000" scaled="1"/>
              </a:gradFill>
              <a:ln w="25400">
                <a:noFill/>
              </a:ln>
            </c:spPr>
          </c:dPt>
          <c:dPt>
            <c:idx val="13"/>
            <c:bubble3D val="0"/>
            <c:spPr>
              <a:gradFill rotWithShape="0">
                <a:gsLst>
                  <a:gs pos="0">
                    <a:srgbClr val="3366FF"/>
                  </a:gs>
                  <a:gs pos="100000">
                    <a:srgbClr val="3366FF">
                      <a:gamma/>
                      <a:tint val="44314"/>
                      <a:invGamma/>
                    </a:srgbClr>
                  </a:gs>
                </a:gsLst>
                <a:lin ang="2700000" scaled="1"/>
              </a:gradFill>
              <a:ln w="25400">
                <a:noFill/>
              </a:ln>
            </c:spPr>
          </c:dPt>
          <c:dLbls>
            <c:dLbl>
              <c:idx val="0"/>
              <c:layout>
                <c:manualLayout>
                  <c:x val="5.8281193456206304E-2"/>
                  <c:y val="-0.13058184832159139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C0000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"/>
              <c:layout>
                <c:manualLayout>
                  <c:x val="5.5077679473900944E-2"/>
                  <c:y val="-0.12868711147948611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C0000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2"/>
              <c:layout>
                <c:manualLayout>
                  <c:x val="2.8558593408787414E-2"/>
                  <c:y val="-0.12917806326840717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C0000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3"/>
              <c:layout>
                <c:manualLayout>
                  <c:x val="8.3491853534156266E-2"/>
                  <c:y val="-0.12744163558502597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C0000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4"/>
              <c:layout>
                <c:manualLayout>
                  <c:x val="0.11224078765114742"/>
                  <c:y val="-9.7374222958972245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C0000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5"/>
              <c:layout>
                <c:manualLayout>
                  <c:x val="0.16637222848248834"/>
                  <c:y val="-9.6100644524907117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C0000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6"/>
              <c:layout>
                <c:manualLayout>
                  <c:x val="0.11316318007122067"/>
                  <c:y val="5.9493907130739113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C0000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7"/>
              <c:layout>
                <c:manualLayout>
                  <c:x val="6.9312136299919849E-2"/>
                  <c:y val="9.2705622323525347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C0000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8"/>
              <c:layout>
                <c:manualLayout>
                  <c:x val="6.2196643828907439E-2"/>
                  <c:y val="9.995324061409773E-3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00206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9"/>
              <c:layout>
                <c:manualLayout>
                  <c:x val="6.1328308604847537E-4"/>
                  <c:y val="9.2122116314408059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00206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0"/>
              <c:layout>
                <c:manualLayout>
                  <c:x val="-7.4305751400726414E-2"/>
                  <c:y val="8.3773725652714473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00206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1"/>
              <c:layout>
                <c:manualLayout>
                  <c:x val="-7.0569150330059768E-2"/>
                  <c:y val="-9.2681309573145465E-3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00206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2"/>
              <c:layout>
                <c:manualLayout>
                  <c:x val="-8.8973299890604013E-2"/>
                  <c:y val="-9.3033015609890898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00206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3"/>
              <c:layout>
                <c:manualLayout>
                  <c:x val="-3.8855127261231848E-3"/>
                  <c:y val="-0.14123387208177926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002060"/>
                      </a:solidFill>
                      <a:latin typeface="Corbel" pitchFamily="34" charset="0"/>
                      <a:ea typeface="Calibri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003366"/>
                    </a:solidFill>
                    <a:latin typeface="Corbel" pitchFamily="34" charset="0"/>
                    <a:ea typeface="Calibri"/>
                    <a:cs typeface="Arial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3175">
                  <a:solidFill>
                    <a:srgbClr val="003366"/>
                  </a:solidFill>
                  <a:prstDash val="solid"/>
                </a:ln>
              </c:spPr>
            </c:leaderLines>
          </c:dLbls>
          <c:cat>
            <c:strRef>
              <c:f>Fig_1.29_Distrib_recursos_INCT!$H$8:$H$21</c:f>
              <c:strCache>
                <c:ptCount val="14"/>
                <c:pt idx="0">
                  <c:v>AM</c:v>
                </c:pt>
                <c:pt idx="1">
                  <c:v>MG</c:v>
                </c:pt>
                <c:pt idx="2">
                  <c:v>PA</c:v>
                </c:pt>
                <c:pt idx="3">
                  <c:v>PI</c:v>
                </c:pt>
                <c:pt idx="4">
                  <c:v>RJ</c:v>
                </c:pt>
                <c:pt idx="5">
                  <c:v>RN</c:v>
                </c:pt>
                <c:pt idx="6">
                  <c:v>SC</c:v>
                </c:pt>
                <c:pt idx="7">
                  <c:v>SP</c:v>
                </c:pt>
                <c:pt idx="8">
                  <c:v>CNPq</c:v>
                </c:pt>
                <c:pt idx="9">
                  <c:v>FNDCT</c:v>
                </c:pt>
                <c:pt idx="10">
                  <c:v>MS</c:v>
                </c:pt>
                <c:pt idx="11">
                  <c:v>CAPES</c:v>
                </c:pt>
                <c:pt idx="12">
                  <c:v>Petrobras</c:v>
                </c:pt>
                <c:pt idx="13">
                  <c:v>BNDES</c:v>
                </c:pt>
              </c:strCache>
            </c:strRef>
          </c:cat>
          <c:val>
            <c:numRef>
              <c:f>Fig_1.29_Distrib_recursos_INCT!$I$8:$I$21</c:f>
              <c:numCache>
                <c:formatCode>0.0</c:formatCode>
                <c:ptCount val="14"/>
                <c:pt idx="0">
                  <c:v>10.4</c:v>
                </c:pt>
                <c:pt idx="1">
                  <c:v>36</c:v>
                </c:pt>
                <c:pt idx="2">
                  <c:v>8</c:v>
                </c:pt>
                <c:pt idx="3">
                  <c:v>1.5</c:v>
                </c:pt>
                <c:pt idx="4">
                  <c:v>35.800000000000004</c:v>
                </c:pt>
                <c:pt idx="5">
                  <c:v>2.1</c:v>
                </c:pt>
                <c:pt idx="6">
                  <c:v>7.5</c:v>
                </c:pt>
                <c:pt idx="7">
                  <c:v>113.4</c:v>
                </c:pt>
                <c:pt idx="8">
                  <c:v>112.8</c:v>
                </c:pt>
                <c:pt idx="9">
                  <c:v>199.5</c:v>
                </c:pt>
                <c:pt idx="10">
                  <c:v>16</c:v>
                </c:pt>
                <c:pt idx="11">
                  <c:v>30</c:v>
                </c:pt>
                <c:pt idx="12">
                  <c:v>21</c:v>
                </c:pt>
                <c:pt idx="13">
                  <c:v>12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zero"/>
    <c:showDLblsOverMax val="0"/>
  </c:chart>
  <c:spPr>
    <a:noFill/>
    <a:ln w="9525"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pt-BR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EFA66F-B98F-4B84-A421-B7AEB2C7661A}" type="doc">
      <dgm:prSet loTypeId="urn:microsoft.com/office/officeart/2005/8/layout/radial6" loCatId="cycle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pt-BR"/>
        </a:p>
      </dgm:t>
    </dgm:pt>
    <dgm:pt modelId="{C43A0F30-82E0-4C25-8480-6F7F68969C3C}">
      <dgm:prSet phldrT="[Texto]" custT="1"/>
      <dgm:spPr/>
      <dgm:t>
        <a:bodyPr/>
        <a:lstStyle/>
        <a:p>
          <a:r>
            <a:rPr lang="pt-BR" sz="16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obilização</a:t>
          </a:r>
        </a:p>
        <a:p>
          <a:r>
            <a:rPr lang="pt-BR" sz="1500" dirty="0" smtClean="0"/>
            <a:t> Proposta do Código CTI</a:t>
          </a:r>
          <a:endParaRPr lang="pt-BR" sz="1500" dirty="0"/>
        </a:p>
      </dgm:t>
    </dgm:pt>
    <dgm:pt modelId="{5A09C67F-F13C-4438-B404-383060DEA76F}" type="parTrans" cxnId="{D92BA0C4-C0ED-40A9-AF5C-9E17852AB9B7}">
      <dgm:prSet/>
      <dgm:spPr/>
      <dgm:t>
        <a:bodyPr/>
        <a:lstStyle/>
        <a:p>
          <a:endParaRPr lang="pt-BR"/>
        </a:p>
      </dgm:t>
    </dgm:pt>
    <dgm:pt modelId="{4F96490B-0FC8-49C2-8B5E-4EF97D60B0B2}" type="sibTrans" cxnId="{D92BA0C4-C0ED-40A9-AF5C-9E17852AB9B7}">
      <dgm:prSet/>
      <dgm:spPr/>
      <dgm:t>
        <a:bodyPr/>
        <a:lstStyle/>
        <a:p>
          <a:endParaRPr lang="pt-BR"/>
        </a:p>
      </dgm:t>
    </dgm:pt>
    <dgm:pt modelId="{4F6E31B2-EAA3-4AC6-8193-8678C647C20E}">
      <dgm:prSet phldrT="[Texto]" custT="1"/>
      <dgm:spPr/>
      <dgm:t>
        <a:bodyPr/>
        <a:lstStyle/>
        <a:p>
          <a:r>
            <a:rPr lang="pt-BR" sz="1100" dirty="0" smtClean="0"/>
            <a:t>Governo Federal, Estadual e Municipal</a:t>
          </a:r>
          <a:endParaRPr lang="pt-BR" sz="1100" dirty="0"/>
        </a:p>
      </dgm:t>
    </dgm:pt>
    <dgm:pt modelId="{D7CAD62E-AEF5-408F-AD03-9B76BC3568A9}" type="parTrans" cxnId="{56D4D5B2-25A1-4186-BA5A-D835C1253CBB}">
      <dgm:prSet/>
      <dgm:spPr/>
      <dgm:t>
        <a:bodyPr/>
        <a:lstStyle/>
        <a:p>
          <a:endParaRPr lang="pt-BR"/>
        </a:p>
      </dgm:t>
    </dgm:pt>
    <dgm:pt modelId="{508E2000-97AC-47C6-96D6-464AB4DFBA1F}" type="sibTrans" cxnId="{56D4D5B2-25A1-4186-BA5A-D835C1253CBB}">
      <dgm:prSet/>
      <dgm:spPr/>
      <dgm:t>
        <a:bodyPr/>
        <a:lstStyle/>
        <a:p>
          <a:endParaRPr lang="pt-BR"/>
        </a:p>
      </dgm:t>
    </dgm:pt>
    <dgm:pt modelId="{41914A81-27C0-43D9-A23A-F36A9A2419B0}">
      <dgm:prSet phldrT="[Texto]" custT="1"/>
      <dgm:spPr/>
      <dgm:t>
        <a:bodyPr/>
        <a:lstStyle/>
        <a:p>
          <a:r>
            <a:rPr lang="pt-BR" sz="1050" dirty="0" smtClean="0"/>
            <a:t>Congresso</a:t>
          </a:r>
          <a:endParaRPr lang="pt-BR" sz="1050" dirty="0"/>
        </a:p>
      </dgm:t>
    </dgm:pt>
    <dgm:pt modelId="{86EAB666-950E-43C7-A87E-D38A2646C19F}" type="parTrans" cxnId="{CB398BF1-F802-4788-9ED0-DE93EBE3ADF5}">
      <dgm:prSet/>
      <dgm:spPr/>
      <dgm:t>
        <a:bodyPr/>
        <a:lstStyle/>
        <a:p>
          <a:endParaRPr lang="pt-BR"/>
        </a:p>
      </dgm:t>
    </dgm:pt>
    <dgm:pt modelId="{A145CBD8-D801-4B5E-A0E9-3A7EB1EBC698}" type="sibTrans" cxnId="{CB398BF1-F802-4788-9ED0-DE93EBE3ADF5}">
      <dgm:prSet/>
      <dgm:spPr/>
      <dgm:t>
        <a:bodyPr/>
        <a:lstStyle/>
        <a:p>
          <a:endParaRPr lang="pt-BR"/>
        </a:p>
      </dgm:t>
    </dgm:pt>
    <dgm:pt modelId="{A2ABE3D7-E65E-4F1B-87B9-D6E21F078989}">
      <dgm:prSet phldrT="[Texto]" custT="1"/>
      <dgm:spPr/>
      <dgm:t>
        <a:bodyPr/>
        <a:lstStyle/>
        <a:p>
          <a:r>
            <a:rPr lang="pt-BR" sz="1100" dirty="0" smtClean="0"/>
            <a:t>Empresas</a:t>
          </a:r>
          <a:endParaRPr lang="pt-BR" sz="1100" dirty="0"/>
        </a:p>
      </dgm:t>
    </dgm:pt>
    <dgm:pt modelId="{BE67C140-E976-46AE-8C4A-5A004B1206D0}" type="parTrans" cxnId="{EBACE6C4-063E-4983-AFBD-8C60D9C98E67}">
      <dgm:prSet/>
      <dgm:spPr/>
      <dgm:t>
        <a:bodyPr/>
        <a:lstStyle/>
        <a:p>
          <a:endParaRPr lang="pt-BR"/>
        </a:p>
      </dgm:t>
    </dgm:pt>
    <dgm:pt modelId="{A63294B8-CAD5-4EC0-852C-6796E16CC003}" type="sibTrans" cxnId="{EBACE6C4-063E-4983-AFBD-8C60D9C98E67}">
      <dgm:prSet/>
      <dgm:spPr/>
      <dgm:t>
        <a:bodyPr/>
        <a:lstStyle/>
        <a:p>
          <a:endParaRPr lang="pt-BR"/>
        </a:p>
      </dgm:t>
    </dgm:pt>
    <dgm:pt modelId="{2B448526-40A2-498C-822F-86A17E060483}">
      <dgm:prSet phldrT="[Texto]" custT="1"/>
      <dgm:spPr/>
      <dgm:t>
        <a:bodyPr/>
        <a:lstStyle/>
        <a:p>
          <a:r>
            <a:rPr lang="pt-BR" sz="1100" dirty="0" smtClean="0"/>
            <a:t>Academia</a:t>
          </a:r>
          <a:endParaRPr lang="pt-BR" sz="1100" dirty="0"/>
        </a:p>
      </dgm:t>
    </dgm:pt>
    <dgm:pt modelId="{FE448DEE-12E3-4236-8869-97D10B2DE655}" type="parTrans" cxnId="{741E59E7-3A50-4856-B7B2-B43AB9012B67}">
      <dgm:prSet/>
      <dgm:spPr/>
      <dgm:t>
        <a:bodyPr/>
        <a:lstStyle/>
        <a:p>
          <a:endParaRPr lang="pt-BR"/>
        </a:p>
      </dgm:t>
    </dgm:pt>
    <dgm:pt modelId="{388F89C2-CF97-4AFC-9226-D69C929864D4}" type="sibTrans" cxnId="{741E59E7-3A50-4856-B7B2-B43AB9012B67}">
      <dgm:prSet/>
      <dgm:spPr/>
      <dgm:t>
        <a:bodyPr/>
        <a:lstStyle/>
        <a:p>
          <a:endParaRPr lang="pt-BR"/>
        </a:p>
      </dgm:t>
    </dgm:pt>
    <dgm:pt modelId="{BB4A5C0B-2BC8-4CB6-B8A8-1C957B715699}" type="pres">
      <dgm:prSet presAssocID="{3FEFA66F-B98F-4B84-A421-B7AEB2C7661A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A42AB89-BDC4-4937-8B3F-BF095B85618B}" type="pres">
      <dgm:prSet presAssocID="{C43A0F30-82E0-4C25-8480-6F7F68969C3C}" presName="centerShape" presStyleLbl="node0" presStyleIdx="0" presStyleCnt="1" custScaleX="105404"/>
      <dgm:spPr/>
      <dgm:t>
        <a:bodyPr/>
        <a:lstStyle/>
        <a:p>
          <a:endParaRPr lang="pt-BR"/>
        </a:p>
      </dgm:t>
    </dgm:pt>
    <dgm:pt modelId="{4BEF72EF-B050-4F5B-B112-6D28ADDC8F20}" type="pres">
      <dgm:prSet presAssocID="{4F6E31B2-EAA3-4AC6-8193-8678C647C20E}" presName="node" presStyleLbl="node1" presStyleIdx="0" presStyleCnt="4" custScaleX="87402" custRadScaleRad="8497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D69EDD-482B-45A1-8E9B-73E4A11B6941}" type="pres">
      <dgm:prSet presAssocID="{4F6E31B2-EAA3-4AC6-8193-8678C647C20E}" presName="dummy" presStyleCnt="0"/>
      <dgm:spPr/>
    </dgm:pt>
    <dgm:pt modelId="{0359D6F9-483A-4720-B3BF-15906A1028F9}" type="pres">
      <dgm:prSet presAssocID="{508E2000-97AC-47C6-96D6-464AB4DFBA1F}" presName="sibTrans" presStyleLbl="sibTrans2D1" presStyleIdx="0" presStyleCnt="4" custScaleX="96938" custScaleY="102383"/>
      <dgm:spPr/>
      <dgm:t>
        <a:bodyPr/>
        <a:lstStyle/>
        <a:p>
          <a:endParaRPr lang="pt-BR"/>
        </a:p>
      </dgm:t>
    </dgm:pt>
    <dgm:pt modelId="{9E96B564-F1CF-42F0-A24C-2FFCBC635C0A}" type="pres">
      <dgm:prSet presAssocID="{41914A81-27C0-43D9-A23A-F36A9A2419B0}" presName="node" presStyleLbl="node1" presStyleIdx="1" presStyleCnt="4" custScaleX="90468" custRadScaleRad="7947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9D5981A-78A9-4662-A269-963D3A626A40}" type="pres">
      <dgm:prSet presAssocID="{41914A81-27C0-43D9-A23A-F36A9A2419B0}" presName="dummy" presStyleCnt="0"/>
      <dgm:spPr/>
    </dgm:pt>
    <dgm:pt modelId="{F380CE7B-A7B7-420C-8855-4C18DF4C53B4}" type="pres">
      <dgm:prSet presAssocID="{A145CBD8-D801-4B5E-A0E9-3A7EB1EBC698}" presName="sibTrans" presStyleLbl="sibTrans2D1" presStyleIdx="1" presStyleCnt="4" custScaleX="96527" custScaleY="105846"/>
      <dgm:spPr/>
      <dgm:t>
        <a:bodyPr/>
        <a:lstStyle/>
        <a:p>
          <a:endParaRPr lang="pt-BR"/>
        </a:p>
      </dgm:t>
    </dgm:pt>
    <dgm:pt modelId="{21F96E9A-8FB2-42F9-8E04-77210757AED7}" type="pres">
      <dgm:prSet presAssocID="{A2ABE3D7-E65E-4F1B-87B9-D6E21F078989}" presName="node" presStyleLbl="node1" presStyleIdx="2" presStyleCnt="4" custScaleX="87402" custRadScaleRad="897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EC5D14-F3C2-4A71-AF93-85252FC64D8B}" type="pres">
      <dgm:prSet presAssocID="{A2ABE3D7-E65E-4F1B-87B9-D6E21F078989}" presName="dummy" presStyleCnt="0"/>
      <dgm:spPr/>
    </dgm:pt>
    <dgm:pt modelId="{3E0FD714-C615-4B4F-95C0-617ED6E063C6}" type="pres">
      <dgm:prSet presAssocID="{A63294B8-CAD5-4EC0-852C-6796E16CC003}" presName="sibTrans" presStyleLbl="sibTrans2D1" presStyleIdx="2" presStyleCnt="4" custScaleX="97350" custScaleY="101457"/>
      <dgm:spPr/>
      <dgm:t>
        <a:bodyPr/>
        <a:lstStyle/>
        <a:p>
          <a:endParaRPr lang="pt-BR"/>
        </a:p>
      </dgm:t>
    </dgm:pt>
    <dgm:pt modelId="{60245B5C-6920-429C-82C7-9536B05B5B75}" type="pres">
      <dgm:prSet presAssocID="{2B448526-40A2-498C-822F-86A17E060483}" presName="node" presStyleLbl="node1" presStyleIdx="3" presStyleCnt="4" custScaleX="86214" custRadScaleRad="8132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E485C4C-5E07-490A-BE3E-F4234D81EF32}" type="pres">
      <dgm:prSet presAssocID="{2B448526-40A2-498C-822F-86A17E060483}" presName="dummy" presStyleCnt="0"/>
      <dgm:spPr/>
    </dgm:pt>
    <dgm:pt modelId="{57DD909F-8AFB-476F-A73B-9D175776CBAE}" type="pres">
      <dgm:prSet presAssocID="{388F89C2-CF97-4AFC-9226-D69C929864D4}" presName="sibTrans" presStyleLbl="sibTrans2D1" presStyleIdx="3" presStyleCnt="4" custScaleX="92178" custScaleY="103431"/>
      <dgm:spPr/>
      <dgm:t>
        <a:bodyPr/>
        <a:lstStyle/>
        <a:p>
          <a:endParaRPr lang="pt-BR"/>
        </a:p>
      </dgm:t>
    </dgm:pt>
  </dgm:ptLst>
  <dgm:cxnLst>
    <dgm:cxn modelId="{184E33F3-866A-4D71-A549-7AA0DC9AA84D}" type="presOf" srcId="{2B448526-40A2-498C-822F-86A17E060483}" destId="{60245B5C-6920-429C-82C7-9536B05B5B75}" srcOrd="0" destOrd="0" presId="urn:microsoft.com/office/officeart/2005/8/layout/radial6"/>
    <dgm:cxn modelId="{EBACE6C4-063E-4983-AFBD-8C60D9C98E67}" srcId="{C43A0F30-82E0-4C25-8480-6F7F68969C3C}" destId="{A2ABE3D7-E65E-4F1B-87B9-D6E21F078989}" srcOrd="2" destOrd="0" parTransId="{BE67C140-E976-46AE-8C4A-5A004B1206D0}" sibTransId="{A63294B8-CAD5-4EC0-852C-6796E16CC003}"/>
    <dgm:cxn modelId="{CC69D286-E2A2-4944-B27C-7C70A55B45A0}" type="presOf" srcId="{388F89C2-CF97-4AFC-9226-D69C929864D4}" destId="{57DD909F-8AFB-476F-A73B-9D175776CBAE}" srcOrd="0" destOrd="0" presId="urn:microsoft.com/office/officeart/2005/8/layout/radial6"/>
    <dgm:cxn modelId="{741E59E7-3A50-4856-B7B2-B43AB9012B67}" srcId="{C43A0F30-82E0-4C25-8480-6F7F68969C3C}" destId="{2B448526-40A2-498C-822F-86A17E060483}" srcOrd="3" destOrd="0" parTransId="{FE448DEE-12E3-4236-8869-97D10B2DE655}" sibTransId="{388F89C2-CF97-4AFC-9226-D69C929864D4}"/>
    <dgm:cxn modelId="{E2DBBF2C-5EC3-4067-B2FA-99B44D3A4BC8}" type="presOf" srcId="{A145CBD8-D801-4B5E-A0E9-3A7EB1EBC698}" destId="{F380CE7B-A7B7-420C-8855-4C18DF4C53B4}" srcOrd="0" destOrd="0" presId="urn:microsoft.com/office/officeart/2005/8/layout/radial6"/>
    <dgm:cxn modelId="{4BE581B5-60EB-4621-B071-E1DBC9B6F13A}" type="presOf" srcId="{C43A0F30-82E0-4C25-8480-6F7F68969C3C}" destId="{BA42AB89-BDC4-4937-8B3F-BF095B85618B}" srcOrd="0" destOrd="0" presId="urn:microsoft.com/office/officeart/2005/8/layout/radial6"/>
    <dgm:cxn modelId="{85F6938C-719D-4743-ABD9-42AC10E1DBCD}" type="presOf" srcId="{508E2000-97AC-47C6-96D6-464AB4DFBA1F}" destId="{0359D6F9-483A-4720-B3BF-15906A1028F9}" srcOrd="0" destOrd="0" presId="urn:microsoft.com/office/officeart/2005/8/layout/radial6"/>
    <dgm:cxn modelId="{76F2A4F3-069D-4EC2-903A-54C6D95E8A80}" type="presOf" srcId="{4F6E31B2-EAA3-4AC6-8193-8678C647C20E}" destId="{4BEF72EF-B050-4F5B-B112-6D28ADDC8F20}" srcOrd="0" destOrd="0" presId="urn:microsoft.com/office/officeart/2005/8/layout/radial6"/>
    <dgm:cxn modelId="{CB398BF1-F802-4788-9ED0-DE93EBE3ADF5}" srcId="{C43A0F30-82E0-4C25-8480-6F7F68969C3C}" destId="{41914A81-27C0-43D9-A23A-F36A9A2419B0}" srcOrd="1" destOrd="0" parTransId="{86EAB666-950E-43C7-A87E-D38A2646C19F}" sibTransId="{A145CBD8-D801-4B5E-A0E9-3A7EB1EBC698}"/>
    <dgm:cxn modelId="{D92BA0C4-C0ED-40A9-AF5C-9E17852AB9B7}" srcId="{3FEFA66F-B98F-4B84-A421-B7AEB2C7661A}" destId="{C43A0F30-82E0-4C25-8480-6F7F68969C3C}" srcOrd="0" destOrd="0" parTransId="{5A09C67F-F13C-4438-B404-383060DEA76F}" sibTransId="{4F96490B-0FC8-49C2-8B5E-4EF97D60B0B2}"/>
    <dgm:cxn modelId="{F1AB92C0-59F8-4DB2-A04B-29DD65B279BC}" type="presOf" srcId="{A63294B8-CAD5-4EC0-852C-6796E16CC003}" destId="{3E0FD714-C615-4B4F-95C0-617ED6E063C6}" srcOrd="0" destOrd="0" presId="urn:microsoft.com/office/officeart/2005/8/layout/radial6"/>
    <dgm:cxn modelId="{E183D10A-8223-4E02-BDA9-FB8123F7B376}" type="presOf" srcId="{3FEFA66F-B98F-4B84-A421-B7AEB2C7661A}" destId="{BB4A5C0B-2BC8-4CB6-B8A8-1C957B715699}" srcOrd="0" destOrd="0" presId="urn:microsoft.com/office/officeart/2005/8/layout/radial6"/>
    <dgm:cxn modelId="{CE32D3BB-F7AC-4EAA-AE1C-5239A02EF290}" type="presOf" srcId="{41914A81-27C0-43D9-A23A-F36A9A2419B0}" destId="{9E96B564-F1CF-42F0-A24C-2FFCBC635C0A}" srcOrd="0" destOrd="0" presId="urn:microsoft.com/office/officeart/2005/8/layout/radial6"/>
    <dgm:cxn modelId="{56D4D5B2-25A1-4186-BA5A-D835C1253CBB}" srcId="{C43A0F30-82E0-4C25-8480-6F7F68969C3C}" destId="{4F6E31B2-EAA3-4AC6-8193-8678C647C20E}" srcOrd="0" destOrd="0" parTransId="{D7CAD62E-AEF5-408F-AD03-9B76BC3568A9}" sibTransId="{508E2000-97AC-47C6-96D6-464AB4DFBA1F}"/>
    <dgm:cxn modelId="{5164F530-DDA8-418A-9529-2A2B09BDFF51}" type="presOf" srcId="{A2ABE3D7-E65E-4F1B-87B9-D6E21F078989}" destId="{21F96E9A-8FB2-42F9-8E04-77210757AED7}" srcOrd="0" destOrd="0" presId="urn:microsoft.com/office/officeart/2005/8/layout/radial6"/>
    <dgm:cxn modelId="{DA3D3598-9EE3-4D87-80D9-D5CF87269228}" type="presParOf" srcId="{BB4A5C0B-2BC8-4CB6-B8A8-1C957B715699}" destId="{BA42AB89-BDC4-4937-8B3F-BF095B85618B}" srcOrd="0" destOrd="0" presId="urn:microsoft.com/office/officeart/2005/8/layout/radial6"/>
    <dgm:cxn modelId="{8A6879C3-2060-4A30-9BF8-F007B72CCC50}" type="presParOf" srcId="{BB4A5C0B-2BC8-4CB6-B8A8-1C957B715699}" destId="{4BEF72EF-B050-4F5B-B112-6D28ADDC8F20}" srcOrd="1" destOrd="0" presId="urn:microsoft.com/office/officeart/2005/8/layout/radial6"/>
    <dgm:cxn modelId="{1BEB5C68-783F-46BF-94A8-BFB856F5F179}" type="presParOf" srcId="{BB4A5C0B-2BC8-4CB6-B8A8-1C957B715699}" destId="{A4D69EDD-482B-45A1-8E9B-73E4A11B6941}" srcOrd="2" destOrd="0" presId="urn:microsoft.com/office/officeart/2005/8/layout/radial6"/>
    <dgm:cxn modelId="{5B2B74E5-1847-4960-A9C3-A72BA03C270A}" type="presParOf" srcId="{BB4A5C0B-2BC8-4CB6-B8A8-1C957B715699}" destId="{0359D6F9-483A-4720-B3BF-15906A1028F9}" srcOrd="3" destOrd="0" presId="urn:microsoft.com/office/officeart/2005/8/layout/radial6"/>
    <dgm:cxn modelId="{1186A799-01AB-4DAD-B01A-FDA46BF08F42}" type="presParOf" srcId="{BB4A5C0B-2BC8-4CB6-B8A8-1C957B715699}" destId="{9E96B564-F1CF-42F0-A24C-2FFCBC635C0A}" srcOrd="4" destOrd="0" presId="urn:microsoft.com/office/officeart/2005/8/layout/radial6"/>
    <dgm:cxn modelId="{92829036-6D8C-4DE2-B4FA-E967D22C10E6}" type="presParOf" srcId="{BB4A5C0B-2BC8-4CB6-B8A8-1C957B715699}" destId="{69D5981A-78A9-4662-A269-963D3A626A40}" srcOrd="5" destOrd="0" presId="urn:microsoft.com/office/officeart/2005/8/layout/radial6"/>
    <dgm:cxn modelId="{2D26B92D-14B6-47D5-8758-EB05EF854D00}" type="presParOf" srcId="{BB4A5C0B-2BC8-4CB6-B8A8-1C957B715699}" destId="{F380CE7B-A7B7-420C-8855-4C18DF4C53B4}" srcOrd="6" destOrd="0" presId="urn:microsoft.com/office/officeart/2005/8/layout/radial6"/>
    <dgm:cxn modelId="{4C00736C-0866-493E-9FA9-226C90641F18}" type="presParOf" srcId="{BB4A5C0B-2BC8-4CB6-B8A8-1C957B715699}" destId="{21F96E9A-8FB2-42F9-8E04-77210757AED7}" srcOrd="7" destOrd="0" presId="urn:microsoft.com/office/officeart/2005/8/layout/radial6"/>
    <dgm:cxn modelId="{C0E0A837-E358-490D-9E54-FD91AD95BBB8}" type="presParOf" srcId="{BB4A5C0B-2BC8-4CB6-B8A8-1C957B715699}" destId="{DEEC5D14-F3C2-4A71-AF93-85252FC64D8B}" srcOrd="8" destOrd="0" presId="urn:microsoft.com/office/officeart/2005/8/layout/radial6"/>
    <dgm:cxn modelId="{EA595672-2935-44CC-AAD7-CB524C58A615}" type="presParOf" srcId="{BB4A5C0B-2BC8-4CB6-B8A8-1C957B715699}" destId="{3E0FD714-C615-4B4F-95C0-617ED6E063C6}" srcOrd="9" destOrd="0" presId="urn:microsoft.com/office/officeart/2005/8/layout/radial6"/>
    <dgm:cxn modelId="{22BF88DD-5D07-4FCF-8DE5-EED9E0223682}" type="presParOf" srcId="{BB4A5C0B-2BC8-4CB6-B8A8-1C957B715699}" destId="{60245B5C-6920-429C-82C7-9536B05B5B75}" srcOrd="10" destOrd="0" presId="urn:microsoft.com/office/officeart/2005/8/layout/radial6"/>
    <dgm:cxn modelId="{5F2052D2-1A57-4FA2-A98B-3396535107D8}" type="presParOf" srcId="{BB4A5C0B-2BC8-4CB6-B8A8-1C957B715699}" destId="{CE485C4C-5E07-490A-BE3E-F4234D81EF32}" srcOrd="11" destOrd="0" presId="urn:microsoft.com/office/officeart/2005/8/layout/radial6"/>
    <dgm:cxn modelId="{44B63DF5-2AA8-428C-9C12-C4E47C4A17CD}" type="presParOf" srcId="{BB4A5C0B-2BC8-4CB6-B8A8-1C957B715699}" destId="{57DD909F-8AFB-476F-A73B-9D175776CBAE}" srcOrd="12" destOrd="0" presId="urn:microsoft.com/office/officeart/2005/8/layout/radial6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DD909F-8AFB-476F-A73B-9D175776CBAE}">
      <dsp:nvSpPr>
        <dsp:cNvPr id="0" name=""/>
        <dsp:cNvSpPr/>
      </dsp:nvSpPr>
      <dsp:spPr>
        <a:xfrm>
          <a:off x="850386" y="623399"/>
          <a:ext cx="2875516" cy="3226556"/>
        </a:xfrm>
        <a:prstGeom prst="blockArc">
          <a:avLst>
            <a:gd name="adj1" fmla="val 11263228"/>
            <a:gd name="adj2" fmla="val 15585763"/>
            <a:gd name="adj3" fmla="val 464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0FD714-C615-4B4F-95C0-617ED6E063C6}">
      <dsp:nvSpPr>
        <dsp:cNvPr id="0" name=""/>
        <dsp:cNvSpPr/>
      </dsp:nvSpPr>
      <dsp:spPr>
        <a:xfrm>
          <a:off x="777868" y="318333"/>
          <a:ext cx="3036857" cy="3164976"/>
        </a:xfrm>
        <a:prstGeom prst="blockArc">
          <a:avLst>
            <a:gd name="adj1" fmla="val 6032941"/>
            <a:gd name="adj2" fmla="val 10503648"/>
            <a:gd name="adj3" fmla="val 4640"/>
          </a:avLst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80CE7B-A7B7-420C-8855-4C18DF4C53B4}">
      <dsp:nvSpPr>
        <dsp:cNvPr id="0" name=""/>
        <dsp:cNvSpPr/>
      </dsp:nvSpPr>
      <dsp:spPr>
        <a:xfrm>
          <a:off x="204180" y="255497"/>
          <a:ext cx="3011184" cy="3301892"/>
        </a:xfrm>
        <a:prstGeom prst="blockArc">
          <a:avLst>
            <a:gd name="adj1" fmla="val 283621"/>
            <a:gd name="adj2" fmla="val 4701155"/>
            <a:gd name="adj3" fmla="val 4640"/>
          </a:avLst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59D6F9-483A-4720-B3BF-15906A1028F9}">
      <dsp:nvSpPr>
        <dsp:cNvPr id="0" name=""/>
        <dsp:cNvSpPr/>
      </dsp:nvSpPr>
      <dsp:spPr>
        <a:xfrm>
          <a:off x="205661" y="634233"/>
          <a:ext cx="3024005" cy="3193863"/>
        </a:xfrm>
        <a:prstGeom prst="blockArc">
          <a:avLst>
            <a:gd name="adj1" fmla="val 16880675"/>
            <a:gd name="adj2" fmla="val 21149321"/>
            <a:gd name="adj3" fmla="val 464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42AB89-BDC4-4937-8B3F-BF095B85618B}">
      <dsp:nvSpPr>
        <dsp:cNvPr id="0" name=""/>
        <dsp:cNvSpPr/>
      </dsp:nvSpPr>
      <dsp:spPr>
        <a:xfrm>
          <a:off x="1260629" y="1314060"/>
          <a:ext cx="1513474" cy="143587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obilização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kern="1200" dirty="0" smtClean="0"/>
            <a:t> Proposta do Código CTI</a:t>
          </a:r>
          <a:endParaRPr lang="pt-BR" sz="1500" kern="1200" dirty="0"/>
        </a:p>
      </dsp:txBody>
      <dsp:txXfrm>
        <a:off x="1482272" y="1524340"/>
        <a:ext cx="1070188" cy="1015319"/>
      </dsp:txXfrm>
    </dsp:sp>
    <dsp:sp modelId="{4BEF72EF-B050-4F5B-B112-6D28ADDC8F20}">
      <dsp:nvSpPr>
        <dsp:cNvPr id="0" name=""/>
        <dsp:cNvSpPr/>
      </dsp:nvSpPr>
      <dsp:spPr>
        <a:xfrm>
          <a:off x="1578120" y="234796"/>
          <a:ext cx="878490" cy="1005115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Governo Federal, Estadual e Municipal</a:t>
          </a:r>
          <a:endParaRPr lang="pt-BR" sz="1100" kern="1200" dirty="0"/>
        </a:p>
      </dsp:txBody>
      <dsp:txXfrm>
        <a:off x="1706772" y="381992"/>
        <a:ext cx="621186" cy="710723"/>
      </dsp:txXfrm>
    </dsp:sp>
    <dsp:sp modelId="{9E96B564-F1CF-42F0-A24C-2FFCBC635C0A}">
      <dsp:nvSpPr>
        <dsp:cNvPr id="0" name=""/>
        <dsp:cNvSpPr/>
      </dsp:nvSpPr>
      <dsp:spPr>
        <a:xfrm>
          <a:off x="2773515" y="1529442"/>
          <a:ext cx="909307" cy="1005115"/>
        </a:xfrm>
        <a:prstGeom prst="ellipse">
          <a:avLst/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50" kern="1200" dirty="0" smtClean="0"/>
            <a:t>Congresso</a:t>
          </a:r>
          <a:endParaRPr lang="pt-BR" sz="1050" kern="1200" dirty="0"/>
        </a:p>
      </dsp:txBody>
      <dsp:txXfrm>
        <a:off x="2906680" y="1676638"/>
        <a:ext cx="642977" cy="710723"/>
      </dsp:txXfrm>
    </dsp:sp>
    <dsp:sp modelId="{21F96E9A-8FB2-42F9-8E04-77210757AED7}">
      <dsp:nvSpPr>
        <dsp:cNvPr id="0" name=""/>
        <dsp:cNvSpPr/>
      </dsp:nvSpPr>
      <dsp:spPr>
        <a:xfrm>
          <a:off x="1578120" y="2896092"/>
          <a:ext cx="878490" cy="1005115"/>
        </a:xfrm>
        <a:prstGeom prst="ellipse">
          <a:avLst/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Empresas</a:t>
          </a:r>
          <a:endParaRPr lang="pt-BR" sz="1100" kern="1200" dirty="0"/>
        </a:p>
      </dsp:txBody>
      <dsp:txXfrm>
        <a:off x="1706772" y="3043288"/>
        <a:ext cx="621186" cy="710723"/>
      </dsp:txXfrm>
    </dsp:sp>
    <dsp:sp modelId="{60245B5C-6920-429C-82C7-9536B05B5B75}">
      <dsp:nvSpPr>
        <dsp:cNvPr id="0" name=""/>
        <dsp:cNvSpPr/>
      </dsp:nvSpPr>
      <dsp:spPr>
        <a:xfrm>
          <a:off x="345101" y="1529442"/>
          <a:ext cx="866550" cy="1005115"/>
        </a:xfrm>
        <a:prstGeom prst="ellipse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Academia</a:t>
          </a:r>
          <a:endParaRPr lang="pt-BR" sz="1100" kern="1200" dirty="0"/>
        </a:p>
      </dsp:txBody>
      <dsp:txXfrm>
        <a:off x="472004" y="1676638"/>
        <a:ext cx="612744" cy="7107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573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4163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573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174163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ED9A72A5-047F-4095-A2BF-61C2167A03B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1031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16000" y="723900"/>
            <a:ext cx="4829175" cy="3622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587875"/>
            <a:ext cx="5029200" cy="434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que para editar os estilos do texto mestre</a:t>
            </a:r>
          </a:p>
          <a:p>
            <a:pPr lvl="0"/>
            <a:r>
              <a:rPr lang="en-US" noProof="0" smtClean="0"/>
              <a:t>Segundo nível</a:t>
            </a:r>
          </a:p>
          <a:p>
            <a:pPr lvl="0"/>
            <a:r>
              <a:rPr lang="en-US" noProof="0" smtClean="0"/>
              <a:t>Terceiro nível</a:t>
            </a:r>
          </a:p>
          <a:p>
            <a:pPr lvl="0"/>
            <a:r>
              <a:rPr lang="en-US" noProof="0" smtClean="0"/>
              <a:t>Quarto nível</a:t>
            </a:r>
          </a:p>
          <a:p>
            <a:pPr lvl="0"/>
            <a:r>
              <a:rPr lang="en-US" noProof="0" smtClean="0"/>
              <a:t>Quinto nível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7575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917575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0798A5B4-B228-4077-A3A3-7C089EAA2F4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9985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0453199-2AA3-4CB2-97F0-339A2299271E}" type="slidenum">
              <a:rPr lang="pt-BR">
                <a:solidFill>
                  <a:prstClr val="black"/>
                </a:solidFill>
              </a:rPr>
              <a:pPr/>
              <a:t>1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395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5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 txBox="1">
            <a:spLocks noGrp="1" noChangeArrowheads="1"/>
          </p:cNvSpPr>
          <p:nvPr/>
        </p:nvSpPr>
        <p:spPr bwMode="auto">
          <a:xfrm>
            <a:off x="3885454" y="9173348"/>
            <a:ext cx="2972547" cy="485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78" tIns="46489" rIns="92978" bIns="46489" anchor="b"/>
          <a:lstStyle>
            <a:lvl1pPr defTabSz="9477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477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477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477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477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C1FE34BB-C06C-4F6D-B5A2-6E38582ADB76}" type="slidenum">
              <a:rPr lang="en-US" sz="1200">
                <a:solidFill>
                  <a:srgbClr val="000000"/>
                </a:solidFill>
                <a:latin typeface="Times New Roman" pitchFamily="18" charset="0"/>
              </a:rPr>
              <a:pPr algn="r"/>
              <a:t>32</a:t>
            </a:fld>
            <a:endParaRPr lang="en-US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16000" y="725488"/>
            <a:ext cx="4827588" cy="36210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508" y="4588993"/>
            <a:ext cx="5028987" cy="434648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E627D8-08EA-4D40-9517-9D74A0316AA9}" type="slidenum">
              <a:rPr lang="pt-BR" smtClean="0">
                <a:solidFill>
                  <a:prstClr val="black"/>
                </a:solidFill>
              </a:rPr>
              <a:pPr/>
              <a:t>3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5261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E627D8-08EA-4D40-9517-9D74A0316AA9}" type="slidenum">
              <a:rPr lang="pt-BR" smtClean="0">
                <a:solidFill>
                  <a:prstClr val="black"/>
                </a:solidFill>
              </a:rPr>
              <a:pPr/>
              <a:t>3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3618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0453199-2AA3-4CB2-97F0-339A2299271E}" type="slidenum">
              <a:rPr lang="pt-BR">
                <a:solidFill>
                  <a:prstClr val="black"/>
                </a:solidFill>
              </a:rPr>
              <a:pPr/>
              <a:t>43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395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5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 txBox="1">
            <a:spLocks noGrp="1" noChangeArrowheads="1"/>
          </p:cNvSpPr>
          <p:nvPr/>
        </p:nvSpPr>
        <p:spPr bwMode="auto">
          <a:xfrm>
            <a:off x="3883852" y="9173347"/>
            <a:ext cx="2972547" cy="483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77" tIns="46589" rIns="93177" bIns="46589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32527908-2DFC-4338-98D7-31F17DCA8C5B}" type="slidenum">
              <a:rPr lang="pt-BR" sz="1200">
                <a:solidFill>
                  <a:srgbClr val="000000"/>
                </a:solidFill>
                <a:cs typeface="Arial" pitchFamily="34" charset="0"/>
              </a:rPr>
              <a:pPr algn="r" eaLnBrk="1" hangingPunct="1"/>
              <a:t>5</a:t>
            </a:fld>
            <a:endParaRPr lang="pt-BR" sz="1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5424" y="724047"/>
            <a:ext cx="4548706" cy="3621881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373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481" y="4588992"/>
            <a:ext cx="5487041" cy="434494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0FBD7C-EDBE-4089-8363-0537CC7A601D}" type="slidenum">
              <a:rPr lang="pt-BR">
                <a:solidFill>
                  <a:prstClr val="black"/>
                </a:solidFill>
              </a:rPr>
              <a:pPr/>
              <a:t>8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899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99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587716"/>
            <a:ext cx="5029200" cy="4346258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0FBD7C-EDBE-4089-8363-0537CC7A601D}" type="slidenum">
              <a:rPr lang="pt-BR">
                <a:solidFill>
                  <a:prstClr val="black"/>
                </a:solidFill>
              </a:rPr>
              <a:pPr/>
              <a:t>10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899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99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587716"/>
            <a:ext cx="5029200" cy="4346258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0FBD7C-EDBE-4089-8363-0537CC7A601D}" type="slidenum">
              <a:rPr lang="pt-BR">
                <a:solidFill>
                  <a:prstClr val="black"/>
                </a:solidFill>
              </a:rPr>
              <a:pPr/>
              <a:t>11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899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99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587716"/>
            <a:ext cx="5029200" cy="4346258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0FBD7C-EDBE-4089-8363-0537CC7A601D}" type="slidenum">
              <a:rPr lang="pt-BR">
                <a:solidFill>
                  <a:prstClr val="black"/>
                </a:solidFill>
              </a:rPr>
              <a:pPr/>
              <a:t>12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899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99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587716"/>
            <a:ext cx="5029200" cy="4346258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0FBD7C-EDBE-4089-8363-0537CC7A601D}" type="slidenum">
              <a:rPr lang="pt-BR">
                <a:solidFill>
                  <a:prstClr val="black"/>
                </a:solidFill>
              </a:rPr>
              <a:pPr/>
              <a:t>23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899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99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587716"/>
            <a:ext cx="5029200" cy="4346258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AF23D8-8F79-4E87-B7F0-672A9AA68D92}" type="slidenum">
              <a:rPr lang="pt-BR" smtClean="0">
                <a:solidFill>
                  <a:prstClr val="black"/>
                </a:solidFill>
              </a:rPr>
              <a:pPr/>
              <a:t>26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7919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0FBD7C-EDBE-4089-8363-0537CC7A601D}" type="slidenum">
              <a:rPr lang="pt-BR">
                <a:solidFill>
                  <a:prstClr val="black"/>
                </a:solidFill>
              </a:rPr>
              <a:pPr/>
              <a:t>27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899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99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587716"/>
            <a:ext cx="5029200" cy="4346258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3.jpe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FC140D-609E-4D4C-A7EB-47A00FB03A5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069A75-A171-4117-AEDD-1959E6112CC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46621951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  <p:sp>
        <p:nvSpPr>
          <p:cNvPr id="8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07271" y="76156"/>
            <a:ext cx="8229600" cy="182880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10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411060175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Conteúdo 2"/>
          <p:cNvSpPr>
            <a:spLocks noGrp="1"/>
          </p:cNvSpPr>
          <p:nvPr>
            <p:ph idx="1"/>
          </p:nvPr>
        </p:nvSpPr>
        <p:spPr>
          <a:xfrm>
            <a:off x="407271" y="1124744"/>
            <a:ext cx="8229600" cy="4896543"/>
          </a:xfrm>
          <a:prstGeom prst="rect">
            <a:avLst/>
          </a:prstGeom>
        </p:spPr>
        <p:txBody>
          <a:bodyPr lIns="92364" tIns="46182" rIns="92364" bIns="46182"/>
          <a:lstStyle>
            <a:lvl1pPr marL="290240" indent="-290240" algn="just">
              <a:spcBef>
                <a:spcPts val="600"/>
              </a:spcBef>
              <a:spcAft>
                <a:spcPts val="0"/>
              </a:spcAft>
              <a:buClr>
                <a:srgbClr val="000066"/>
              </a:buClr>
              <a:buSzPct val="100000"/>
              <a:buFont typeface="Arial" pitchFamily="34" charset="0"/>
              <a:buChar char="•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 marL="580479" indent="-237323" algn="just">
              <a:buClr>
                <a:srgbClr val="000066"/>
              </a:buClr>
              <a:buSzPct val="100000"/>
              <a:buFont typeface="Arial" pitchFamily="34" charset="0"/>
              <a:buChar char="-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2pPr>
            <a:lvl3pPr marL="923635" indent="-290240" algn="just">
              <a:buClr>
                <a:srgbClr val="000066"/>
              </a:buClr>
              <a:buSzPct val="80000"/>
              <a:buFont typeface="Arial" pitchFamily="34" charset="0"/>
              <a:buChar char="–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3pPr>
            <a:lvl4pPr marL="1332537" indent="-355984" algn="just">
              <a:buClr>
                <a:srgbClr val="000066"/>
              </a:buClr>
              <a:buFont typeface="Wingdings" pitchFamily="2" charset="2"/>
              <a:buChar char="§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4pPr>
            <a:lvl5pPr marL="1675693" indent="-290240" algn="just">
              <a:buClr>
                <a:srgbClr val="000066"/>
              </a:buClr>
              <a:buSzPct val="80000"/>
              <a:buFont typeface="Courier New" pitchFamily="49" charset="0"/>
              <a:buChar char="o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8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  <p:sp>
        <p:nvSpPr>
          <p:cNvPr id="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07271" y="76156"/>
            <a:ext cx="8229600" cy="182880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10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879153000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11578" y="2132856"/>
            <a:ext cx="8229600" cy="914400"/>
          </a:xfrm>
          <a:prstGeom prst="rect">
            <a:avLst/>
          </a:prstGeom>
        </p:spPr>
        <p:txBody>
          <a:bodyPr lIns="92364" tIns="46182" rIns="92364" bIns="46182" anchor="t"/>
          <a:lstStyle>
            <a:lvl1pPr algn="ctr">
              <a:defRPr sz="54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1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11578" y="3212976"/>
            <a:ext cx="8229600" cy="914400"/>
          </a:xfrm>
          <a:prstGeom prst="rect">
            <a:avLst/>
          </a:prstGeom>
        </p:spPr>
        <p:txBody>
          <a:bodyPr lIns="92364" tIns="46182" rIns="92364" bIns="46182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32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551591696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9592152"/>
      </p:ext>
    </p:extLst>
  </p:cSld>
  <p:clrMapOvr>
    <a:masterClrMapping/>
  </p:clrMapOvr>
  <p:transition spd="med">
    <p:wip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19501"/>
      </p:ext>
    </p:extLst>
  </p:cSld>
  <p:clrMapOvr>
    <a:masterClrMapping/>
  </p:clrMapOvr>
  <p:transition spd="med">
    <p:wip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5603148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a livre 1"/>
          <p:cNvSpPr>
            <a:spLocks/>
          </p:cNvSpPr>
          <p:nvPr/>
        </p:nvSpPr>
        <p:spPr bwMode="auto">
          <a:xfrm>
            <a:off x="-241300" y="-84138"/>
            <a:ext cx="10615613" cy="8159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>
              <a:gd name="connsiteX0" fmla="*/ 10 w 10000"/>
              <a:gd name="connsiteY0" fmla="*/ 30 h 8235"/>
              <a:gd name="connsiteX1" fmla="*/ 4404 w 10000"/>
              <a:gd name="connsiteY1" fmla="*/ 0 h 8235"/>
              <a:gd name="connsiteX2" fmla="*/ 7578 w 10000"/>
              <a:gd name="connsiteY2" fmla="*/ 5595 h 8235"/>
              <a:gd name="connsiteX3" fmla="*/ 9990 w 10000"/>
              <a:gd name="connsiteY3" fmla="*/ 838 h 8235"/>
              <a:gd name="connsiteX4" fmla="*/ 10000 w 10000"/>
              <a:gd name="connsiteY4" fmla="*/ 3247 h 8235"/>
              <a:gd name="connsiteX5" fmla="*/ 7453 w 10000"/>
              <a:gd name="connsiteY5" fmla="*/ 6692 h 8235"/>
              <a:gd name="connsiteX6" fmla="*/ 2578 w 10000"/>
              <a:gd name="connsiteY6" fmla="*/ 3064 h 8235"/>
              <a:gd name="connsiteX7" fmla="*/ 0 w 10000"/>
              <a:gd name="connsiteY7" fmla="*/ 8235 h 8235"/>
              <a:gd name="connsiteX8" fmla="*/ 10 w 10000"/>
              <a:gd name="connsiteY8" fmla="*/ 30 h 8235"/>
              <a:gd name="connsiteX0" fmla="*/ 10 w 10000"/>
              <a:gd name="connsiteY0" fmla="*/ 36 h 10000"/>
              <a:gd name="connsiteX1" fmla="*/ 4404 w 10000"/>
              <a:gd name="connsiteY1" fmla="*/ 0 h 10000"/>
              <a:gd name="connsiteX2" fmla="*/ 7578 w 10000"/>
              <a:gd name="connsiteY2" fmla="*/ 6794 h 10000"/>
              <a:gd name="connsiteX3" fmla="*/ 9990 w 10000"/>
              <a:gd name="connsiteY3" fmla="*/ 1018 h 10000"/>
              <a:gd name="connsiteX4" fmla="*/ 10000 w 10000"/>
              <a:gd name="connsiteY4" fmla="*/ 3943 h 10000"/>
              <a:gd name="connsiteX5" fmla="*/ 7453 w 10000"/>
              <a:gd name="connsiteY5" fmla="*/ 8126 h 10000"/>
              <a:gd name="connsiteX6" fmla="*/ 2578 w 10000"/>
              <a:gd name="connsiteY6" fmla="*/ 3721 h 10000"/>
              <a:gd name="connsiteX7" fmla="*/ 0 w 10000"/>
              <a:gd name="connsiteY7" fmla="*/ 10000 h 10000"/>
              <a:gd name="connsiteX8" fmla="*/ 10 w 10000"/>
              <a:gd name="connsiteY8" fmla="*/ 36 h 10000"/>
              <a:gd name="connsiteX0" fmla="*/ 10 w 10000"/>
              <a:gd name="connsiteY0" fmla="*/ 36 h 10000"/>
              <a:gd name="connsiteX1" fmla="*/ 4404 w 10000"/>
              <a:gd name="connsiteY1" fmla="*/ 0 h 10000"/>
              <a:gd name="connsiteX2" fmla="*/ 7578 w 10000"/>
              <a:gd name="connsiteY2" fmla="*/ 6794 h 10000"/>
              <a:gd name="connsiteX3" fmla="*/ 9990 w 10000"/>
              <a:gd name="connsiteY3" fmla="*/ 1018 h 10000"/>
              <a:gd name="connsiteX4" fmla="*/ 10000 w 10000"/>
              <a:gd name="connsiteY4" fmla="*/ 3943 h 10000"/>
              <a:gd name="connsiteX5" fmla="*/ 7453 w 10000"/>
              <a:gd name="connsiteY5" fmla="*/ 8126 h 10000"/>
              <a:gd name="connsiteX6" fmla="*/ 2578 w 10000"/>
              <a:gd name="connsiteY6" fmla="*/ 3721 h 10000"/>
              <a:gd name="connsiteX7" fmla="*/ 0 w 10000"/>
              <a:gd name="connsiteY7" fmla="*/ 10000 h 10000"/>
              <a:gd name="connsiteX8" fmla="*/ 10 w 10000"/>
              <a:gd name="connsiteY8" fmla="*/ 36 h 10000"/>
              <a:gd name="connsiteX0" fmla="*/ 10 w 10000"/>
              <a:gd name="connsiteY0" fmla="*/ 36 h 8164"/>
              <a:gd name="connsiteX1" fmla="*/ 4404 w 10000"/>
              <a:gd name="connsiteY1" fmla="*/ 0 h 8164"/>
              <a:gd name="connsiteX2" fmla="*/ 7578 w 10000"/>
              <a:gd name="connsiteY2" fmla="*/ 6794 h 8164"/>
              <a:gd name="connsiteX3" fmla="*/ 9990 w 10000"/>
              <a:gd name="connsiteY3" fmla="*/ 1018 h 8164"/>
              <a:gd name="connsiteX4" fmla="*/ 10000 w 10000"/>
              <a:gd name="connsiteY4" fmla="*/ 3943 h 8164"/>
              <a:gd name="connsiteX5" fmla="*/ 7453 w 10000"/>
              <a:gd name="connsiteY5" fmla="*/ 8126 h 8164"/>
              <a:gd name="connsiteX6" fmla="*/ 2578 w 10000"/>
              <a:gd name="connsiteY6" fmla="*/ 3721 h 8164"/>
              <a:gd name="connsiteX7" fmla="*/ 0 w 10000"/>
              <a:gd name="connsiteY7" fmla="*/ 7857 h 8164"/>
              <a:gd name="connsiteX8" fmla="*/ 10 w 10000"/>
              <a:gd name="connsiteY8" fmla="*/ 36 h 8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0" h="8164">
                <a:moveTo>
                  <a:pt x="10" y="36"/>
                </a:moveTo>
                <a:lnTo>
                  <a:pt x="4404" y="0"/>
                </a:lnTo>
                <a:cubicBezTo>
                  <a:pt x="4757" y="1870"/>
                  <a:pt x="6632" y="6794"/>
                  <a:pt x="7578" y="6794"/>
                </a:cubicBezTo>
                <a:cubicBezTo>
                  <a:pt x="8524" y="6794"/>
                  <a:pt x="9574" y="2814"/>
                  <a:pt x="9990" y="1018"/>
                </a:cubicBezTo>
                <a:cubicBezTo>
                  <a:pt x="9993" y="1993"/>
                  <a:pt x="9997" y="2968"/>
                  <a:pt x="10000" y="3943"/>
                </a:cubicBezTo>
                <a:cubicBezTo>
                  <a:pt x="9823" y="4758"/>
                  <a:pt x="8690" y="8164"/>
                  <a:pt x="7453" y="8126"/>
                </a:cubicBezTo>
                <a:cubicBezTo>
                  <a:pt x="6216" y="8090"/>
                  <a:pt x="3820" y="3054"/>
                  <a:pt x="2578" y="3721"/>
                </a:cubicBezTo>
                <a:cubicBezTo>
                  <a:pt x="1299" y="3869"/>
                  <a:pt x="494" y="5869"/>
                  <a:pt x="0" y="7857"/>
                </a:cubicBezTo>
                <a:cubicBezTo>
                  <a:pt x="3" y="3822"/>
                  <a:pt x="7" y="4072"/>
                  <a:pt x="10" y="36"/>
                </a:cubicBez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3200">
              <a:solidFill>
                <a:prstClr val="black"/>
              </a:solidFill>
              <a:latin typeface="Arial Black" pitchFamily="34" charset="0"/>
            </a:endParaRPr>
          </a:p>
        </p:txBody>
      </p:sp>
      <p:sp>
        <p:nvSpPr>
          <p:cNvPr id="3" name="Forma livre 2"/>
          <p:cNvSpPr>
            <a:spLocks/>
          </p:cNvSpPr>
          <p:nvPr/>
        </p:nvSpPr>
        <p:spPr bwMode="auto">
          <a:xfrm>
            <a:off x="4381500" y="-92075"/>
            <a:ext cx="5729288" cy="6508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3200">
              <a:solidFill>
                <a:prstClr val="black"/>
              </a:solidFill>
              <a:latin typeface="Arial Black" pitchFamily="34" charset="0"/>
            </a:endParaRPr>
          </a:p>
        </p:txBody>
      </p:sp>
      <p:grpSp>
        <p:nvGrpSpPr>
          <p:cNvPr id="4" name="Grupo 1"/>
          <p:cNvGrpSpPr>
            <a:grpSpLocks/>
          </p:cNvGrpSpPr>
          <p:nvPr/>
        </p:nvGrpSpPr>
        <p:grpSpPr bwMode="auto">
          <a:xfrm>
            <a:off x="-173038" y="-285750"/>
            <a:ext cx="10685463" cy="1239838"/>
            <a:chOff x="-838459" y="-952200"/>
            <a:chExt cx="10686232" cy="1239188"/>
          </a:xfrm>
        </p:grpSpPr>
        <p:sp>
          <p:nvSpPr>
            <p:cNvPr id="5" name="Forma livre 4"/>
            <p:cNvSpPr>
              <a:spLocks/>
            </p:cNvSpPr>
            <p:nvPr/>
          </p:nvSpPr>
          <p:spPr bwMode="auto">
            <a:xfrm rot="21435692">
              <a:off x="-667120" y="-952200"/>
              <a:ext cx="10243726" cy="104481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>
                <a:gd name="connsiteX0" fmla="*/ 0 w 10000"/>
                <a:gd name="connsiteY0" fmla="*/ 9156 h 11875"/>
                <a:gd name="connsiteX1" fmla="*/ 2786 w 10000"/>
                <a:gd name="connsiteY1" fmla="*/ 2673 h 11875"/>
                <a:gd name="connsiteX2" fmla="*/ 7241 w 10000"/>
                <a:gd name="connsiteY2" fmla="*/ 11430 h 11875"/>
                <a:gd name="connsiteX3" fmla="*/ 10000 w 10000"/>
                <a:gd name="connsiteY3" fmla="*/ 0 h 11875"/>
                <a:gd name="connsiteX0" fmla="*/ 0 w 10374"/>
                <a:gd name="connsiteY0" fmla="*/ 6862 h 10092"/>
                <a:gd name="connsiteX1" fmla="*/ 2786 w 10374"/>
                <a:gd name="connsiteY1" fmla="*/ 379 h 10092"/>
                <a:gd name="connsiteX2" fmla="*/ 7241 w 10374"/>
                <a:gd name="connsiteY2" fmla="*/ 9136 h 10092"/>
                <a:gd name="connsiteX3" fmla="*/ 10374 w 10374"/>
                <a:gd name="connsiteY3" fmla="*/ 6113 h 10092"/>
                <a:gd name="connsiteX0" fmla="*/ 0 w 10374"/>
                <a:gd name="connsiteY0" fmla="*/ 8145 h 11589"/>
                <a:gd name="connsiteX1" fmla="*/ 2791 w 10374"/>
                <a:gd name="connsiteY1" fmla="*/ 379 h 11589"/>
                <a:gd name="connsiteX2" fmla="*/ 7241 w 10374"/>
                <a:gd name="connsiteY2" fmla="*/ 10419 h 11589"/>
                <a:gd name="connsiteX3" fmla="*/ 10374 w 10374"/>
                <a:gd name="connsiteY3" fmla="*/ 7396 h 11589"/>
                <a:gd name="connsiteX0" fmla="*/ 0 w 10374"/>
                <a:gd name="connsiteY0" fmla="*/ 7950 h 11361"/>
                <a:gd name="connsiteX1" fmla="*/ 3116 w 10374"/>
                <a:gd name="connsiteY1" fmla="*/ 379 h 11361"/>
                <a:gd name="connsiteX2" fmla="*/ 7241 w 10374"/>
                <a:gd name="connsiteY2" fmla="*/ 10224 h 11361"/>
                <a:gd name="connsiteX3" fmla="*/ 10374 w 10374"/>
                <a:gd name="connsiteY3" fmla="*/ 7201 h 11361"/>
                <a:gd name="connsiteX0" fmla="*/ 0 w 10092"/>
                <a:gd name="connsiteY0" fmla="*/ 4992 h 11952"/>
                <a:gd name="connsiteX1" fmla="*/ 2834 w 10092"/>
                <a:gd name="connsiteY1" fmla="*/ 970 h 11952"/>
                <a:gd name="connsiteX2" fmla="*/ 6959 w 10092"/>
                <a:gd name="connsiteY2" fmla="*/ 10815 h 11952"/>
                <a:gd name="connsiteX3" fmla="*/ 10092 w 10092"/>
                <a:gd name="connsiteY3" fmla="*/ 7792 h 1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92" h="11952">
                  <a:moveTo>
                    <a:pt x="0" y="4992"/>
                  </a:moveTo>
                  <a:cubicBezTo>
                    <a:pt x="489" y="2831"/>
                    <a:pt x="1674" y="0"/>
                    <a:pt x="2834" y="970"/>
                  </a:cubicBezTo>
                  <a:cubicBezTo>
                    <a:pt x="3994" y="1940"/>
                    <a:pt x="5749" y="9678"/>
                    <a:pt x="6959" y="10815"/>
                  </a:cubicBezTo>
                  <a:cubicBezTo>
                    <a:pt x="8169" y="11952"/>
                    <a:pt x="9493" y="9783"/>
                    <a:pt x="10092" y="7792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3200">
                <a:solidFill>
                  <a:prstClr val="black"/>
                </a:solidFill>
                <a:latin typeface="Arial Black" pitchFamily="34" charset="0"/>
              </a:endParaRPr>
            </a:p>
          </p:txBody>
        </p:sp>
        <p:sp>
          <p:nvSpPr>
            <p:cNvPr id="6" name="Forma livre 5"/>
            <p:cNvSpPr>
              <a:spLocks/>
            </p:cNvSpPr>
            <p:nvPr/>
          </p:nvSpPr>
          <p:spPr bwMode="auto">
            <a:xfrm rot="21435692">
              <a:off x="-838459" y="-515896"/>
              <a:ext cx="10686232" cy="80288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>
                <a:gd name="connsiteX0" fmla="*/ 0 w 10625"/>
                <a:gd name="connsiteY0" fmla="*/ 995 h 19418"/>
                <a:gd name="connsiteX1" fmla="*/ 3466 w 10625"/>
                <a:gd name="connsiteY1" fmla="*/ 12088 h 19418"/>
                <a:gd name="connsiteX2" fmla="*/ 7774 w 10625"/>
                <a:gd name="connsiteY2" fmla="*/ 18973 h 19418"/>
                <a:gd name="connsiteX3" fmla="*/ 10625 w 10625"/>
                <a:gd name="connsiteY3" fmla="*/ 9418 h 19418"/>
                <a:gd name="connsiteX0" fmla="*/ 0 w 10625"/>
                <a:gd name="connsiteY0" fmla="*/ 4690 h 24354"/>
                <a:gd name="connsiteX1" fmla="*/ 3360 w 10625"/>
                <a:gd name="connsiteY1" fmla="*/ 2996 h 24354"/>
                <a:gd name="connsiteX2" fmla="*/ 7774 w 10625"/>
                <a:gd name="connsiteY2" fmla="*/ 22668 h 24354"/>
                <a:gd name="connsiteX3" fmla="*/ 10625 w 10625"/>
                <a:gd name="connsiteY3" fmla="*/ 13113 h 24354"/>
                <a:gd name="connsiteX0" fmla="*/ 0 w 10625"/>
                <a:gd name="connsiteY0" fmla="*/ 3085 h 13499"/>
                <a:gd name="connsiteX1" fmla="*/ 3360 w 10625"/>
                <a:gd name="connsiteY1" fmla="*/ 1391 h 13499"/>
                <a:gd name="connsiteX2" fmla="*/ 7803 w 10625"/>
                <a:gd name="connsiteY2" fmla="*/ 11433 h 13499"/>
                <a:gd name="connsiteX3" fmla="*/ 10625 w 10625"/>
                <a:gd name="connsiteY3" fmla="*/ 11508 h 13499"/>
                <a:gd name="connsiteX0" fmla="*/ 0 w 10646"/>
                <a:gd name="connsiteY0" fmla="*/ 3085 h 12212"/>
                <a:gd name="connsiteX1" fmla="*/ 3360 w 10646"/>
                <a:gd name="connsiteY1" fmla="*/ 1391 h 12212"/>
                <a:gd name="connsiteX2" fmla="*/ 7803 w 10646"/>
                <a:gd name="connsiteY2" fmla="*/ 11433 h 12212"/>
                <a:gd name="connsiteX3" fmla="*/ 10646 w 10646"/>
                <a:gd name="connsiteY3" fmla="*/ 6068 h 1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6" h="12212">
                  <a:moveTo>
                    <a:pt x="0" y="3085"/>
                  </a:moveTo>
                  <a:cubicBezTo>
                    <a:pt x="473" y="2090"/>
                    <a:pt x="2060" y="0"/>
                    <a:pt x="3360" y="1391"/>
                  </a:cubicBezTo>
                  <a:cubicBezTo>
                    <a:pt x="4661" y="2782"/>
                    <a:pt x="6589" y="10654"/>
                    <a:pt x="7803" y="11433"/>
                  </a:cubicBezTo>
                  <a:cubicBezTo>
                    <a:pt x="9017" y="12212"/>
                    <a:pt x="10053" y="8059"/>
                    <a:pt x="10646" y="6068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3200">
                <a:solidFill>
                  <a:prstClr val="black"/>
                </a:solidFill>
                <a:latin typeface="Arial Black" pitchFamily="34" charset="0"/>
              </a:endParaRPr>
            </a:p>
          </p:txBody>
        </p:sp>
      </p:grpSp>
      <p:sp>
        <p:nvSpPr>
          <p:cNvPr id="7" name="Forma livre 1"/>
          <p:cNvSpPr>
            <a:spLocks/>
          </p:cNvSpPr>
          <p:nvPr/>
        </p:nvSpPr>
        <p:spPr bwMode="auto">
          <a:xfrm rot="10800000">
            <a:off x="-439738" y="6176963"/>
            <a:ext cx="10617201" cy="8175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>
              <a:gd name="connsiteX0" fmla="*/ 10 w 10000"/>
              <a:gd name="connsiteY0" fmla="*/ 30 h 8235"/>
              <a:gd name="connsiteX1" fmla="*/ 4404 w 10000"/>
              <a:gd name="connsiteY1" fmla="*/ 0 h 8235"/>
              <a:gd name="connsiteX2" fmla="*/ 7578 w 10000"/>
              <a:gd name="connsiteY2" fmla="*/ 5595 h 8235"/>
              <a:gd name="connsiteX3" fmla="*/ 9990 w 10000"/>
              <a:gd name="connsiteY3" fmla="*/ 838 h 8235"/>
              <a:gd name="connsiteX4" fmla="*/ 10000 w 10000"/>
              <a:gd name="connsiteY4" fmla="*/ 3247 h 8235"/>
              <a:gd name="connsiteX5" fmla="*/ 7453 w 10000"/>
              <a:gd name="connsiteY5" fmla="*/ 6692 h 8235"/>
              <a:gd name="connsiteX6" fmla="*/ 2578 w 10000"/>
              <a:gd name="connsiteY6" fmla="*/ 3064 h 8235"/>
              <a:gd name="connsiteX7" fmla="*/ 0 w 10000"/>
              <a:gd name="connsiteY7" fmla="*/ 8235 h 8235"/>
              <a:gd name="connsiteX8" fmla="*/ 10 w 10000"/>
              <a:gd name="connsiteY8" fmla="*/ 30 h 8235"/>
              <a:gd name="connsiteX0" fmla="*/ 10 w 10000"/>
              <a:gd name="connsiteY0" fmla="*/ 36 h 10000"/>
              <a:gd name="connsiteX1" fmla="*/ 4404 w 10000"/>
              <a:gd name="connsiteY1" fmla="*/ 0 h 10000"/>
              <a:gd name="connsiteX2" fmla="*/ 7578 w 10000"/>
              <a:gd name="connsiteY2" fmla="*/ 6794 h 10000"/>
              <a:gd name="connsiteX3" fmla="*/ 9990 w 10000"/>
              <a:gd name="connsiteY3" fmla="*/ 1018 h 10000"/>
              <a:gd name="connsiteX4" fmla="*/ 10000 w 10000"/>
              <a:gd name="connsiteY4" fmla="*/ 3943 h 10000"/>
              <a:gd name="connsiteX5" fmla="*/ 7453 w 10000"/>
              <a:gd name="connsiteY5" fmla="*/ 8126 h 10000"/>
              <a:gd name="connsiteX6" fmla="*/ 2578 w 10000"/>
              <a:gd name="connsiteY6" fmla="*/ 3721 h 10000"/>
              <a:gd name="connsiteX7" fmla="*/ 0 w 10000"/>
              <a:gd name="connsiteY7" fmla="*/ 10000 h 10000"/>
              <a:gd name="connsiteX8" fmla="*/ 10 w 10000"/>
              <a:gd name="connsiteY8" fmla="*/ 36 h 10000"/>
              <a:gd name="connsiteX0" fmla="*/ 10 w 10000"/>
              <a:gd name="connsiteY0" fmla="*/ 36 h 10000"/>
              <a:gd name="connsiteX1" fmla="*/ 4404 w 10000"/>
              <a:gd name="connsiteY1" fmla="*/ 0 h 10000"/>
              <a:gd name="connsiteX2" fmla="*/ 7578 w 10000"/>
              <a:gd name="connsiteY2" fmla="*/ 6794 h 10000"/>
              <a:gd name="connsiteX3" fmla="*/ 9990 w 10000"/>
              <a:gd name="connsiteY3" fmla="*/ 1018 h 10000"/>
              <a:gd name="connsiteX4" fmla="*/ 10000 w 10000"/>
              <a:gd name="connsiteY4" fmla="*/ 3943 h 10000"/>
              <a:gd name="connsiteX5" fmla="*/ 7453 w 10000"/>
              <a:gd name="connsiteY5" fmla="*/ 8126 h 10000"/>
              <a:gd name="connsiteX6" fmla="*/ 2578 w 10000"/>
              <a:gd name="connsiteY6" fmla="*/ 3721 h 10000"/>
              <a:gd name="connsiteX7" fmla="*/ 0 w 10000"/>
              <a:gd name="connsiteY7" fmla="*/ 10000 h 10000"/>
              <a:gd name="connsiteX8" fmla="*/ 10 w 10000"/>
              <a:gd name="connsiteY8" fmla="*/ 36 h 10000"/>
              <a:gd name="connsiteX0" fmla="*/ 10 w 10000"/>
              <a:gd name="connsiteY0" fmla="*/ 36 h 8164"/>
              <a:gd name="connsiteX1" fmla="*/ 4404 w 10000"/>
              <a:gd name="connsiteY1" fmla="*/ 0 h 8164"/>
              <a:gd name="connsiteX2" fmla="*/ 7578 w 10000"/>
              <a:gd name="connsiteY2" fmla="*/ 6794 h 8164"/>
              <a:gd name="connsiteX3" fmla="*/ 9990 w 10000"/>
              <a:gd name="connsiteY3" fmla="*/ 1018 h 8164"/>
              <a:gd name="connsiteX4" fmla="*/ 10000 w 10000"/>
              <a:gd name="connsiteY4" fmla="*/ 3943 h 8164"/>
              <a:gd name="connsiteX5" fmla="*/ 7453 w 10000"/>
              <a:gd name="connsiteY5" fmla="*/ 8126 h 8164"/>
              <a:gd name="connsiteX6" fmla="*/ 2578 w 10000"/>
              <a:gd name="connsiteY6" fmla="*/ 3721 h 8164"/>
              <a:gd name="connsiteX7" fmla="*/ 0 w 10000"/>
              <a:gd name="connsiteY7" fmla="*/ 7857 h 8164"/>
              <a:gd name="connsiteX8" fmla="*/ 10 w 10000"/>
              <a:gd name="connsiteY8" fmla="*/ 36 h 8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0" h="8164">
                <a:moveTo>
                  <a:pt x="10" y="36"/>
                </a:moveTo>
                <a:lnTo>
                  <a:pt x="4404" y="0"/>
                </a:lnTo>
                <a:cubicBezTo>
                  <a:pt x="4757" y="1870"/>
                  <a:pt x="6632" y="6794"/>
                  <a:pt x="7578" y="6794"/>
                </a:cubicBezTo>
                <a:cubicBezTo>
                  <a:pt x="8524" y="6794"/>
                  <a:pt x="9574" y="2814"/>
                  <a:pt x="9990" y="1018"/>
                </a:cubicBezTo>
                <a:cubicBezTo>
                  <a:pt x="9993" y="1993"/>
                  <a:pt x="9997" y="2968"/>
                  <a:pt x="10000" y="3943"/>
                </a:cubicBezTo>
                <a:cubicBezTo>
                  <a:pt x="9823" y="4758"/>
                  <a:pt x="8690" y="8164"/>
                  <a:pt x="7453" y="8126"/>
                </a:cubicBezTo>
                <a:cubicBezTo>
                  <a:pt x="6216" y="8090"/>
                  <a:pt x="3820" y="3054"/>
                  <a:pt x="2578" y="3721"/>
                </a:cubicBezTo>
                <a:cubicBezTo>
                  <a:pt x="1299" y="3869"/>
                  <a:pt x="494" y="5869"/>
                  <a:pt x="0" y="7857"/>
                </a:cubicBezTo>
                <a:cubicBezTo>
                  <a:pt x="3" y="3822"/>
                  <a:pt x="7" y="4072"/>
                  <a:pt x="10" y="36"/>
                </a:cubicBez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3200">
              <a:solidFill>
                <a:prstClr val="black"/>
              </a:solidFill>
              <a:latin typeface="Arial Black" pitchFamily="34" charset="0"/>
            </a:endParaRPr>
          </a:p>
        </p:txBody>
      </p:sp>
      <p:sp>
        <p:nvSpPr>
          <p:cNvPr id="8" name="Forma livre 2"/>
          <p:cNvSpPr>
            <a:spLocks/>
          </p:cNvSpPr>
          <p:nvPr/>
        </p:nvSpPr>
        <p:spPr bwMode="auto">
          <a:xfrm rot="10800000">
            <a:off x="7938" y="6351588"/>
            <a:ext cx="5729287" cy="649287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3200">
              <a:solidFill>
                <a:prstClr val="black"/>
              </a:solidFill>
              <a:latin typeface="Arial Black" pitchFamily="34" charset="0"/>
            </a:endParaRPr>
          </a:p>
        </p:txBody>
      </p:sp>
      <p:grpSp>
        <p:nvGrpSpPr>
          <p:cNvPr id="9" name="Grupo 12"/>
          <p:cNvGrpSpPr>
            <a:grpSpLocks/>
          </p:cNvGrpSpPr>
          <p:nvPr/>
        </p:nvGrpSpPr>
        <p:grpSpPr bwMode="auto">
          <a:xfrm rot="10800000">
            <a:off x="-371475" y="5975350"/>
            <a:ext cx="10687050" cy="1239838"/>
            <a:chOff x="-838459" y="-952200"/>
            <a:chExt cx="10686232" cy="1239188"/>
          </a:xfrm>
        </p:grpSpPr>
        <p:sp>
          <p:nvSpPr>
            <p:cNvPr id="10" name="Forma livre 4"/>
            <p:cNvSpPr>
              <a:spLocks/>
            </p:cNvSpPr>
            <p:nvPr/>
          </p:nvSpPr>
          <p:spPr bwMode="auto">
            <a:xfrm rot="21435692">
              <a:off x="-667120" y="-952200"/>
              <a:ext cx="10243726" cy="104481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>
                <a:gd name="connsiteX0" fmla="*/ 0 w 10000"/>
                <a:gd name="connsiteY0" fmla="*/ 9156 h 11875"/>
                <a:gd name="connsiteX1" fmla="*/ 2786 w 10000"/>
                <a:gd name="connsiteY1" fmla="*/ 2673 h 11875"/>
                <a:gd name="connsiteX2" fmla="*/ 7241 w 10000"/>
                <a:gd name="connsiteY2" fmla="*/ 11430 h 11875"/>
                <a:gd name="connsiteX3" fmla="*/ 10000 w 10000"/>
                <a:gd name="connsiteY3" fmla="*/ 0 h 11875"/>
                <a:gd name="connsiteX0" fmla="*/ 0 w 10374"/>
                <a:gd name="connsiteY0" fmla="*/ 6862 h 10092"/>
                <a:gd name="connsiteX1" fmla="*/ 2786 w 10374"/>
                <a:gd name="connsiteY1" fmla="*/ 379 h 10092"/>
                <a:gd name="connsiteX2" fmla="*/ 7241 w 10374"/>
                <a:gd name="connsiteY2" fmla="*/ 9136 h 10092"/>
                <a:gd name="connsiteX3" fmla="*/ 10374 w 10374"/>
                <a:gd name="connsiteY3" fmla="*/ 6113 h 10092"/>
                <a:gd name="connsiteX0" fmla="*/ 0 w 10374"/>
                <a:gd name="connsiteY0" fmla="*/ 8145 h 11589"/>
                <a:gd name="connsiteX1" fmla="*/ 2791 w 10374"/>
                <a:gd name="connsiteY1" fmla="*/ 379 h 11589"/>
                <a:gd name="connsiteX2" fmla="*/ 7241 w 10374"/>
                <a:gd name="connsiteY2" fmla="*/ 10419 h 11589"/>
                <a:gd name="connsiteX3" fmla="*/ 10374 w 10374"/>
                <a:gd name="connsiteY3" fmla="*/ 7396 h 11589"/>
                <a:gd name="connsiteX0" fmla="*/ 0 w 10374"/>
                <a:gd name="connsiteY0" fmla="*/ 7950 h 11361"/>
                <a:gd name="connsiteX1" fmla="*/ 3116 w 10374"/>
                <a:gd name="connsiteY1" fmla="*/ 379 h 11361"/>
                <a:gd name="connsiteX2" fmla="*/ 7241 w 10374"/>
                <a:gd name="connsiteY2" fmla="*/ 10224 h 11361"/>
                <a:gd name="connsiteX3" fmla="*/ 10374 w 10374"/>
                <a:gd name="connsiteY3" fmla="*/ 7201 h 11361"/>
                <a:gd name="connsiteX0" fmla="*/ 0 w 10092"/>
                <a:gd name="connsiteY0" fmla="*/ 4992 h 11952"/>
                <a:gd name="connsiteX1" fmla="*/ 2834 w 10092"/>
                <a:gd name="connsiteY1" fmla="*/ 970 h 11952"/>
                <a:gd name="connsiteX2" fmla="*/ 6959 w 10092"/>
                <a:gd name="connsiteY2" fmla="*/ 10815 h 11952"/>
                <a:gd name="connsiteX3" fmla="*/ 10092 w 10092"/>
                <a:gd name="connsiteY3" fmla="*/ 7792 h 1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92" h="11952">
                  <a:moveTo>
                    <a:pt x="0" y="4992"/>
                  </a:moveTo>
                  <a:cubicBezTo>
                    <a:pt x="489" y="2831"/>
                    <a:pt x="1674" y="0"/>
                    <a:pt x="2834" y="970"/>
                  </a:cubicBezTo>
                  <a:cubicBezTo>
                    <a:pt x="3994" y="1940"/>
                    <a:pt x="5749" y="9678"/>
                    <a:pt x="6959" y="10815"/>
                  </a:cubicBezTo>
                  <a:cubicBezTo>
                    <a:pt x="8169" y="11952"/>
                    <a:pt x="9493" y="9783"/>
                    <a:pt x="10092" y="7792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eaLnBrk="1" hangingPunct="1">
                <a:defRPr/>
              </a:pPr>
              <a:endParaRPr lang="en-US" sz="3200">
                <a:solidFill>
                  <a:prstClr val="black"/>
                </a:solidFill>
                <a:latin typeface="Arial Black" pitchFamily="34" charset="0"/>
              </a:endParaRPr>
            </a:p>
          </p:txBody>
        </p:sp>
        <p:sp>
          <p:nvSpPr>
            <p:cNvPr id="11" name="Forma livre 5"/>
            <p:cNvSpPr>
              <a:spLocks/>
            </p:cNvSpPr>
            <p:nvPr/>
          </p:nvSpPr>
          <p:spPr bwMode="auto">
            <a:xfrm rot="21435692">
              <a:off x="-838459" y="-515896"/>
              <a:ext cx="10686232" cy="80288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>
                <a:gd name="connsiteX0" fmla="*/ 0 w 10625"/>
                <a:gd name="connsiteY0" fmla="*/ 995 h 19418"/>
                <a:gd name="connsiteX1" fmla="*/ 3466 w 10625"/>
                <a:gd name="connsiteY1" fmla="*/ 12088 h 19418"/>
                <a:gd name="connsiteX2" fmla="*/ 7774 w 10625"/>
                <a:gd name="connsiteY2" fmla="*/ 18973 h 19418"/>
                <a:gd name="connsiteX3" fmla="*/ 10625 w 10625"/>
                <a:gd name="connsiteY3" fmla="*/ 9418 h 19418"/>
                <a:gd name="connsiteX0" fmla="*/ 0 w 10625"/>
                <a:gd name="connsiteY0" fmla="*/ 4690 h 24354"/>
                <a:gd name="connsiteX1" fmla="*/ 3360 w 10625"/>
                <a:gd name="connsiteY1" fmla="*/ 2996 h 24354"/>
                <a:gd name="connsiteX2" fmla="*/ 7774 w 10625"/>
                <a:gd name="connsiteY2" fmla="*/ 22668 h 24354"/>
                <a:gd name="connsiteX3" fmla="*/ 10625 w 10625"/>
                <a:gd name="connsiteY3" fmla="*/ 13113 h 24354"/>
                <a:gd name="connsiteX0" fmla="*/ 0 w 10625"/>
                <a:gd name="connsiteY0" fmla="*/ 3085 h 13499"/>
                <a:gd name="connsiteX1" fmla="*/ 3360 w 10625"/>
                <a:gd name="connsiteY1" fmla="*/ 1391 h 13499"/>
                <a:gd name="connsiteX2" fmla="*/ 7803 w 10625"/>
                <a:gd name="connsiteY2" fmla="*/ 11433 h 13499"/>
                <a:gd name="connsiteX3" fmla="*/ 10625 w 10625"/>
                <a:gd name="connsiteY3" fmla="*/ 11508 h 13499"/>
                <a:gd name="connsiteX0" fmla="*/ 0 w 10646"/>
                <a:gd name="connsiteY0" fmla="*/ 3085 h 12212"/>
                <a:gd name="connsiteX1" fmla="*/ 3360 w 10646"/>
                <a:gd name="connsiteY1" fmla="*/ 1391 h 12212"/>
                <a:gd name="connsiteX2" fmla="*/ 7803 w 10646"/>
                <a:gd name="connsiteY2" fmla="*/ 11433 h 12212"/>
                <a:gd name="connsiteX3" fmla="*/ 10646 w 10646"/>
                <a:gd name="connsiteY3" fmla="*/ 6068 h 1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6" h="12212">
                  <a:moveTo>
                    <a:pt x="0" y="3085"/>
                  </a:moveTo>
                  <a:cubicBezTo>
                    <a:pt x="473" y="2090"/>
                    <a:pt x="2060" y="0"/>
                    <a:pt x="3360" y="1391"/>
                  </a:cubicBezTo>
                  <a:cubicBezTo>
                    <a:pt x="4661" y="2782"/>
                    <a:pt x="6589" y="10654"/>
                    <a:pt x="7803" y="11433"/>
                  </a:cubicBezTo>
                  <a:cubicBezTo>
                    <a:pt x="9017" y="12212"/>
                    <a:pt x="10053" y="8059"/>
                    <a:pt x="10646" y="6068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eaLnBrk="1" hangingPunct="1">
                <a:defRPr/>
              </a:pPr>
              <a:endParaRPr lang="en-US" sz="3200">
                <a:solidFill>
                  <a:prstClr val="black"/>
                </a:solidFill>
                <a:latin typeface="Arial Black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4027002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3864846"/>
      </p:ext>
    </p:extLst>
  </p:cSld>
  <p:clrMapOvr>
    <a:masterClrMapping/>
  </p:clrMapOvr>
  <p:transition spd="med">
    <p:wip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5023416"/>
      </p:ext>
    </p:extLst>
  </p:cSld>
  <p:clrMapOvr>
    <a:masterClrMapping/>
  </p:clrMapOvr>
  <p:transition spd="med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F74D87-1550-447F-83DE-95CC3F36537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2631347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  <p:sp>
        <p:nvSpPr>
          <p:cNvPr id="8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07271" y="76156"/>
            <a:ext cx="8229600" cy="182880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10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59145898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Conteúdo 2"/>
          <p:cNvSpPr>
            <a:spLocks noGrp="1"/>
          </p:cNvSpPr>
          <p:nvPr>
            <p:ph idx="1"/>
          </p:nvPr>
        </p:nvSpPr>
        <p:spPr>
          <a:xfrm>
            <a:off x="407271" y="1124744"/>
            <a:ext cx="8229600" cy="4896543"/>
          </a:xfrm>
          <a:prstGeom prst="rect">
            <a:avLst/>
          </a:prstGeom>
        </p:spPr>
        <p:txBody>
          <a:bodyPr lIns="92364" tIns="46182" rIns="92364" bIns="46182"/>
          <a:lstStyle>
            <a:lvl1pPr marL="290240" indent="-290240" algn="just">
              <a:spcBef>
                <a:spcPts val="600"/>
              </a:spcBef>
              <a:spcAft>
                <a:spcPts val="0"/>
              </a:spcAft>
              <a:buClr>
                <a:srgbClr val="000066"/>
              </a:buClr>
              <a:buSzPct val="100000"/>
              <a:buFont typeface="Arial" pitchFamily="34" charset="0"/>
              <a:buChar char="•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 marL="580479" indent="-237323" algn="just">
              <a:buClr>
                <a:srgbClr val="000066"/>
              </a:buClr>
              <a:buSzPct val="100000"/>
              <a:buFont typeface="Arial" pitchFamily="34" charset="0"/>
              <a:buChar char="-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2pPr>
            <a:lvl3pPr marL="923635" indent="-290240" algn="just">
              <a:buClr>
                <a:srgbClr val="000066"/>
              </a:buClr>
              <a:buSzPct val="80000"/>
              <a:buFont typeface="Arial" pitchFamily="34" charset="0"/>
              <a:buChar char="–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3pPr>
            <a:lvl4pPr marL="1332537" indent="-355984" algn="just">
              <a:buClr>
                <a:srgbClr val="000066"/>
              </a:buClr>
              <a:buFont typeface="Wingdings" pitchFamily="2" charset="2"/>
              <a:buChar char="§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4pPr>
            <a:lvl5pPr marL="1675693" indent="-290240" algn="just">
              <a:buClr>
                <a:srgbClr val="000066"/>
              </a:buClr>
              <a:buSzPct val="80000"/>
              <a:buFont typeface="Courier New" pitchFamily="49" charset="0"/>
              <a:buChar char="o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8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  <p:sp>
        <p:nvSpPr>
          <p:cNvPr id="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07271" y="76156"/>
            <a:ext cx="8229600" cy="182880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10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1620875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11578" y="2132856"/>
            <a:ext cx="8229600" cy="914400"/>
          </a:xfrm>
          <a:prstGeom prst="rect">
            <a:avLst/>
          </a:prstGeom>
        </p:spPr>
        <p:txBody>
          <a:bodyPr lIns="92364" tIns="46182" rIns="92364" bIns="46182" anchor="t"/>
          <a:lstStyle>
            <a:lvl1pPr algn="ctr">
              <a:defRPr sz="54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1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11578" y="3212976"/>
            <a:ext cx="8229600" cy="914400"/>
          </a:xfrm>
          <a:prstGeom prst="rect">
            <a:avLst/>
          </a:prstGeom>
        </p:spPr>
        <p:txBody>
          <a:bodyPr lIns="92364" tIns="46182" rIns="92364" bIns="46182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32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7730141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3AC3DD-6244-4642-B0E0-E8DCECB1ADFC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04DA71-55DB-45B7-8D79-BD6678FC6310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35882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5BBDD8-091A-4184-8545-4F03379861A4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5561D1-A99D-4C19-BA3C-684233EEE424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9998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5DCC9D-8307-4128-AC6F-1F26F864B6F0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1CC97-F6AB-441F-87EB-FF07748B0868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875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D8E9CD-6E54-4D72-982E-08E4938D241E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9A45C5-2234-4CED-8F71-0EE29D58B599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0544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62F43F-37CA-45DF-AA66-817CD111F279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005F22-3955-41F6-B870-10AB245F5425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49224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78AF0E-8EBF-44D1-A74F-3A8F7261B551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41B251-D666-4EAD-9B66-630723ADE0E6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6305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F5899-7F71-485F-99AD-132A01D1B7C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1178F2-4B25-4587-89CF-D7D52CCE6891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C027B2-4B97-4842-99E5-8852D452064F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05403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948052-AB9C-4123-BC97-E4A7F7BB142C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A0718D-B874-48B3-AE58-A73DC0D7A8DF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10341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A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7CC6B2-0AE6-4514-9EB8-E350B2F2CEF1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C4FBBF-35CE-4537-90F4-4CE82DF693FA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65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63EA69-7F87-4B3A-949D-988AA44E1281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4823B4-2344-48CC-AA8B-460434539082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03135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EA27FB-68B2-4AFA-AC18-32EB626BBD55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E86C0-AFD2-430D-8F89-45FB2F4E81C8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2849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41841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91262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98746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1333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0176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7A36F1-36ED-40FB-AD60-4F10A5FCE9A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41028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236" y="-27384"/>
            <a:ext cx="2199444" cy="1080120"/>
          </a:xfrm>
          <a:prstGeom prst="rect">
            <a:avLst/>
          </a:prstGeom>
          <a:noFill/>
          <a:ln w="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813" y="1052736"/>
            <a:ext cx="919321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982540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6232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71270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323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7/201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43461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8301E-6D82-47BC-ABBF-ACCFDC7A5D53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2E4DC5-0055-42D2-90D6-CDFD91399256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26970357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F135C-6DDB-42A5-81D3-2B71E8B1607B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37D1D5-BBF8-42E8-A095-3741A235B189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94505481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7DD692-FE91-45E0-A6C8-CA1420FF90EC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D7C16B-8355-478F-8F5C-EBD197C31254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51425960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ACAE31-B770-40B7-A59E-90748E4E7B02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35F48-9C7F-4593-A0E2-DC4EE2A41FAD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2582904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996CDA-EFB3-43DB-B51C-CB49473BA52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EDCFE-24DA-4B63-BD2D-7327B1C0A27E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CCE63-545D-44D5-A563-F8EB5FE48CDE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69777257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0FBCD3-15B7-47BD-AF39-CB549019C644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00A127-F0BC-4EFF-8968-4777F38375C4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54752819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A87DFB-7ACD-45E8-A0FE-B120A3B0B344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585034-2824-40CF-85BE-DF2C48126770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79655701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05567A-1EA4-4D65-BEBE-8D14E8819317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66ADB3-8B17-4E35-95FB-1837F885E5D7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57833340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A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8D001-799A-4345-A61E-BA894BBA77B1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FE699D-8A89-4E14-A624-533867B184BF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02257869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FDE0AF-CFE5-462D-BF02-5FF2B56A7D5C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6DDB4-413F-4B1C-B62C-D008D3D52560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63899688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B18C03-FC6A-427B-8ED6-99CC43120187}" type="datetimeFigureOut">
              <a:rPr lang="es-AR"/>
              <a:pPr>
                <a:defRPr/>
              </a:pPr>
              <a:t>19/07/2012</a:t>
            </a:fld>
            <a:endParaRPr lang="es-A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926522-AE42-48FD-A516-538E243AB281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17647240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3AC3DD-6244-4642-B0E0-E8DCECB1ADFC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04DA71-55DB-45B7-8D79-BD6678FC6310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15502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5BBDD8-091A-4184-8545-4F03379861A4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5561D1-A99D-4C19-BA3C-684233EEE424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04603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5DCC9D-8307-4128-AC6F-1F26F864B6F0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1CC97-F6AB-441F-87EB-FF07748B0868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437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A81C0F-F2D4-494A-8316-DECB264B7D1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D8E9CD-6E54-4D72-982E-08E4938D241E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9A45C5-2234-4CED-8F71-0EE29D58B599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26706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62F43F-37CA-45DF-AA66-817CD111F279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005F22-3955-41F6-B870-10AB245F5425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67254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78AF0E-8EBF-44D1-A74F-3A8F7261B551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41B251-D666-4EAD-9B66-630723ADE0E6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26275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1178F2-4B25-4587-89CF-D7D52CCE6891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C027B2-4B97-4842-99E5-8852D452064F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75795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948052-AB9C-4123-BC97-E4A7F7BB142C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A0718D-B874-48B3-AE58-A73DC0D7A8DF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90224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A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7CC6B2-0AE6-4514-9EB8-E350B2F2CEF1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C4FBBF-35CE-4537-90F4-4CE82DF693FA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28027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63EA69-7F87-4B3A-949D-988AA44E1281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4823B4-2344-48CC-AA8B-460434539082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63074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s-A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EA27FB-68B2-4AFA-AC18-32EB626BBD55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E86C0-AFD2-430D-8F89-45FB2F4E81C8}" type="slidenum">
              <a:rPr lang="es-A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63008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228600" y="6521450"/>
            <a:ext cx="2133600" cy="3190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6EEF94B-2CF3-4C13-AC04-ABCE27036C04}" type="datetimeFigureOut">
              <a:rPr lang="en-US">
                <a:cs typeface="Arial" pitchFamily="34" charset="0"/>
              </a:rPr>
              <a:pPr fontAlgn="base">
                <a:spcAft>
                  <a:spcPct val="0"/>
                </a:spcAft>
                <a:defRPr/>
              </a:pPr>
              <a:t>7/19/2012</a:t>
            </a:fld>
            <a:endParaRPr lang="en-US" dirty="0">
              <a:cs typeface="Arial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521450"/>
            <a:ext cx="3429000" cy="3190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>
              <a:cs typeface="Arial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81800" y="6521450"/>
            <a:ext cx="2133600" cy="3190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B953A60-036A-4B75-B1A9-FF0DE309F216}" type="slidenum">
              <a:rPr lang="en-US">
                <a:cs typeface="Arial" pitchFamily="34" charset="0"/>
              </a:rPr>
              <a:pPr fontAlgn="base">
                <a:spcAft>
                  <a:spcPct val="0"/>
                </a:spcAft>
                <a:defRPr/>
              </a:pPr>
              <a:t>‹nº›</a:t>
            </a:fld>
            <a:endParaRPr lang="en-US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52496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76169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9B29B0-2E4D-40E7-B8CF-65A61B84237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7930083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 eaLnBrk="1" hangingPunct="1">
              <a:defRPr/>
            </a:pPr>
            <a:fld id="{E3C14D48-651B-4CD3-BD97-B50D2023A430}" type="datetimeFigureOut">
              <a:rPr lang="pt-BR"/>
              <a:pPr eaLnBrk="1" hangingPunct="1">
                <a:defRPr/>
              </a:pPr>
              <a:t>19/07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 eaLnBrk="1" hangingPunct="1"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 eaLnBrk="1" hangingPunct="1">
              <a:defRPr/>
            </a:pPr>
            <a:fld id="{4D3D6A80-C3BB-4159-B823-47FFA2F18B0E}" type="slidenum">
              <a:rPr lang="pt-BR"/>
              <a:pPr eaLnBrk="1" hangingPunct="1"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034450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28615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160765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214026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323850" y="6757988"/>
            <a:ext cx="7580313" cy="0"/>
          </a:xfrm>
          <a:prstGeom prst="line">
            <a:avLst/>
          </a:prstGeom>
          <a:noFill/>
          <a:ln w="12700">
            <a:solidFill>
              <a:srgbClr val="B2B2B2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eaLnBrk="1" hangingPunct="1">
              <a:defRPr/>
            </a:pPr>
            <a:endParaRPr lang="pt-BR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3" name="Imagem 16" descr="SENAI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6615113"/>
            <a:ext cx="862012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2815683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896315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536363-9396-49F8-8540-240C8361031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B4E85A-FB57-4B2A-BF1D-700F5088CF6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596E0-CCA0-4721-A558-A9846CDE3D9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C4F48A-ADE6-45B5-9FDC-CC45FEA5596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E3910D-AB4F-4772-9CF5-ED7D315317C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853B43-BCCB-47DB-AE26-34A122288C6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5196FF-D1E9-49D7-954D-7EE4D410D7D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1BD31B-5433-436B-A496-4B885275434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37F7D9-11BC-42E9-BCB7-952D4894DC6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E10C0C-B1CC-40A7-8466-0149557D523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9BFE0F-D146-4627-9B5F-DD55DB307D4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F51790-A425-4871-A53B-88F76EDB663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04A3A0-5DE0-4177-8431-1F76836A301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149B90-8BCB-4C03-9A18-D1614634EF8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EAD50D-7E2B-4D7B-8C2D-7C750D9557B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1C6DA2-3C2F-4FA3-B01F-342C447CC4D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1F3A-804F-44CD-A192-34CA273DE7B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7BB706-EFD5-4357-8A4E-005E03DEB31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7AEC77-3994-41E6-82EA-00500EBD719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2694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118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2347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342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613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2112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CBC5C7-191C-47DF-A36F-C2294B6AA8B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Espaço Reservado para Rodapé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5265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8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" name="Espaço Reservado para Número de Slid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Espaço Reservado para Rodapé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6014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7127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5703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6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8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Espaço Reservado para Rodapé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523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Espaço Reservado para Rodapé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6354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6456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15108" y="609600"/>
            <a:ext cx="1943100" cy="5486400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7668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1099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811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8EFABB-C14C-49BF-AEC2-7885E246081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245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Espaço Reservado para Rodapé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6538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" name="Espaço Reservado para Número de Slid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Espaço Reservado para Rodapé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3535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661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0907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Espaço Reservado para Rodapé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8690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Espaço Reservado para Rodapé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7585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4841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5467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208477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42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r>
              <a:rPr lang="en-US" sz="1800">
                <a:cs typeface="Arial" pitchFamily="34" charset="0"/>
              </a:rPr>
              <a:t>Junho/2011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4679DD68-D5F9-4BA5-8040-7F7414A41A4B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923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17536-C476-4D63-B045-8A19E01D524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1860927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96DE26ED-3A60-48D4-91D7-043164CE0E1A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BFF0FD1C-0059-4213-BE49-C59108797486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06293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1694272"/>
          </a:xfrm>
          <a:effectLst/>
        </p:spPr>
        <p:txBody>
          <a:bodyPr/>
          <a:lstStyle>
            <a:lvl1pPr algn="l">
              <a:defRPr sz="4600" b="1" cap="none" baseline="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0472B78F-8AE7-4596-9154-F0CC32CEF28E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276A21BD-84D2-455A-8473-7664021C984F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39355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1860926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1860927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FBEA1D3E-FECA-4BD9-B101-E63538C5550E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6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E7822C72-6BBB-4863-86FB-04FF9EB03118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1813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7276" y="1986518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63116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1578" y="1986518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1578" y="262987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102277" y="568437"/>
            <a:ext cx="6891729" cy="1143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6F3C6D30-58BD-4508-9724-DC4F65D38553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10FAD334-58EB-4D95-8FA9-0173144C04A3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2375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7AB41BC7-9A02-4D90-9C2C-CE8FA1301BE2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3C1DFF22-74F0-44A8-B725-FB2057A03F66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1286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A5EA30A8-17A7-468A-8579-34D067A839F1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57200" y="6172200"/>
            <a:ext cx="3352800" cy="365125"/>
          </a:xfrm>
          <a:prstGeom prst="rect">
            <a:avLst/>
          </a:prstGeom>
        </p:spPr>
        <p:txBody>
          <a:bodyPr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endParaRPr lang="en-US" sz="1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E626EB31-6C2B-4DD9-B8F8-2A3ABE48FC80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31713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>
            <a:noAutofit/>
          </a:bodyPr>
          <a:lstStyle>
            <a:lvl1pPr marL="0" indent="-228600" algn="l">
              <a:defRPr sz="2800" b="1"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564198D3-E169-430C-A5BB-B5A7CEE48A22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57200" y="6172200"/>
            <a:ext cx="3352800" cy="365125"/>
          </a:xfrm>
          <a:prstGeom prst="rect">
            <a:avLst/>
          </a:prstGeom>
        </p:spPr>
        <p:txBody>
          <a:bodyPr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endParaRPr lang="en-US" sz="180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DF252C42-6A95-47EF-857E-C84CC96AFEA4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93834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 rtlCol="0"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/>
          <a:lstStyle>
            <a:lvl1pPr marL="0" indent="0">
              <a:buFont typeface="Georgia" pitchFamily="18" charset="0"/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>
            <a:noAutofit/>
          </a:bodyPr>
          <a:lstStyle>
            <a:lvl1pPr algn="l">
              <a:defRPr sz="3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2BF5F683-0083-4AED-97A7-C587B5F0B75A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6AA3D5AE-E4B5-4D0E-9F6E-2485DD70E6E6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826295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2054016"/>
            <a:ext cx="6891729" cy="3474720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BC02E840-EB17-456F-8D06-07FB95863F42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A32EF6A3-82E3-420B-A423-071A495EF1EE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04622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AD40DCD2-97FD-4DF0-B3AC-5B1082D31C33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>
              <a:cs typeface="Arial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CD8AA8AF-9233-46EF-A483-7BBBF1D0BC10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315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6CA04D-EA0F-44D2-93FF-70DE9E4D66E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437063" y="6354763"/>
            <a:ext cx="16827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422D8092-9020-4D33-8E77-B01A898B4F22}" type="datetimeFigureOut">
              <a:rPr lang="pt-BR" sz="1800">
                <a:cs typeface="Arial" pitchFamily="34" charset="0"/>
              </a:rPr>
              <a:pPr eaLnBrk="1" hangingPunct="1">
                <a:defRPr/>
              </a:pPr>
              <a:t>19/07/2012</a:t>
            </a:fld>
            <a:endParaRPr lang="pt-BR" sz="1800">
              <a:cs typeface="Arial" pitchFamily="34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endParaRPr lang="pt-BR" sz="1800">
              <a:cs typeface="Arial" pitchFamily="34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382588" y="6354763"/>
            <a:ext cx="1343025" cy="36512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BAFF68B1-57C5-4448-8FA0-84C464EB1689}" type="slidenum">
              <a:rPr lang="pt-BR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pt-BR" sz="18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51780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634550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228600" y="6521450"/>
            <a:ext cx="2133600" cy="3190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46EEF94B-2CF3-4C13-AC04-ABCE27036C04}" type="datetimeFigureOut">
              <a:rPr lang="en-US" sz="1800">
                <a:cs typeface="Arial" pitchFamily="34" charset="0"/>
              </a:rPr>
              <a:pPr eaLnBrk="1" hangingPunct="1">
                <a:defRPr/>
              </a:pPr>
              <a:t>7/19/2012</a:t>
            </a:fld>
            <a:endParaRPr lang="en-US" sz="1800" dirty="0">
              <a:cs typeface="Arial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521450"/>
            <a:ext cx="3429000" cy="3190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endParaRPr lang="en-US" sz="1800">
              <a:cs typeface="Arial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81800" y="6521450"/>
            <a:ext cx="2133600" cy="3190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0">
                <a:solidFill>
                  <a:prstClr val="black"/>
                </a:solidFill>
                <a:latin typeface="Arial" charset="0"/>
              </a:defRPr>
            </a:lvl1pPr>
          </a:lstStyle>
          <a:p>
            <a:pPr eaLnBrk="1" hangingPunct="1">
              <a:defRPr/>
            </a:pPr>
            <a:fld id="{4B953A60-036A-4B75-B1A9-FF0DE309F216}" type="slidenum">
              <a:rPr lang="en-US" sz="1800">
                <a:cs typeface="Arial" pitchFamily="34" charset="0"/>
              </a:rPr>
              <a:pPr eaLnBrk="1" hangingPunct="1">
                <a:defRPr/>
              </a:pPr>
              <a:t>‹nº›</a:t>
            </a:fld>
            <a:endParaRPr lang="en-US" sz="18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7870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Conteúdo 2"/>
          <p:cNvSpPr>
            <a:spLocks noGrp="1"/>
          </p:cNvSpPr>
          <p:nvPr>
            <p:ph idx="1"/>
          </p:nvPr>
        </p:nvSpPr>
        <p:spPr>
          <a:xfrm>
            <a:off x="407271" y="1124744"/>
            <a:ext cx="8229600" cy="4896543"/>
          </a:xfrm>
          <a:prstGeom prst="rect">
            <a:avLst/>
          </a:prstGeom>
        </p:spPr>
        <p:txBody>
          <a:bodyPr lIns="92364" tIns="46182" rIns="92364" bIns="46182"/>
          <a:lstStyle>
            <a:lvl1pPr marL="290240" indent="-290240" algn="just">
              <a:spcBef>
                <a:spcPts val="600"/>
              </a:spcBef>
              <a:spcAft>
                <a:spcPts val="0"/>
              </a:spcAft>
              <a:buClr>
                <a:srgbClr val="000066"/>
              </a:buClr>
              <a:buSzPct val="100000"/>
              <a:buFont typeface="Arial" pitchFamily="34" charset="0"/>
              <a:buChar char="•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 marL="580479" indent="-237323" algn="just">
              <a:buClr>
                <a:srgbClr val="000066"/>
              </a:buClr>
              <a:buSzPct val="100000"/>
              <a:buFont typeface="Arial" pitchFamily="34" charset="0"/>
              <a:buChar char="-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2pPr>
            <a:lvl3pPr marL="923635" indent="-290240" algn="just">
              <a:buClr>
                <a:srgbClr val="000066"/>
              </a:buClr>
              <a:buSzPct val="80000"/>
              <a:buFont typeface="Arial" pitchFamily="34" charset="0"/>
              <a:buChar char="–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3pPr>
            <a:lvl4pPr marL="1332537" indent="-355984" algn="just">
              <a:buClr>
                <a:srgbClr val="000066"/>
              </a:buClr>
              <a:buFont typeface="Wingdings" pitchFamily="2" charset="2"/>
              <a:buChar char="§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4pPr>
            <a:lvl5pPr marL="1675693" indent="-290240" algn="just">
              <a:buClr>
                <a:srgbClr val="000066"/>
              </a:buClr>
              <a:buSzPct val="80000"/>
              <a:buFont typeface="Courier New" pitchFamily="49" charset="0"/>
              <a:buChar char="o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8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  <p:sp>
        <p:nvSpPr>
          <p:cNvPr id="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07271" y="76156"/>
            <a:ext cx="8229600" cy="182880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10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6732476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445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894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976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Conteúdo 2"/>
          <p:cNvSpPr>
            <a:spLocks noGrp="1"/>
          </p:cNvSpPr>
          <p:nvPr>
            <p:ph idx="1"/>
          </p:nvPr>
        </p:nvSpPr>
        <p:spPr>
          <a:xfrm>
            <a:off x="407271" y="1124744"/>
            <a:ext cx="8229600" cy="4896543"/>
          </a:xfrm>
          <a:prstGeom prst="rect">
            <a:avLst/>
          </a:prstGeom>
        </p:spPr>
        <p:txBody>
          <a:bodyPr lIns="92364" tIns="46182" rIns="92364" bIns="46182"/>
          <a:lstStyle>
            <a:lvl1pPr marL="290240" indent="-290240" algn="just">
              <a:spcBef>
                <a:spcPts val="600"/>
              </a:spcBef>
              <a:spcAft>
                <a:spcPts val="0"/>
              </a:spcAft>
              <a:buClr>
                <a:srgbClr val="000066"/>
              </a:buClr>
              <a:buSzPct val="100000"/>
              <a:buFont typeface="Arial" pitchFamily="34" charset="0"/>
              <a:buChar char="•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 marL="580479" indent="-237323" algn="just">
              <a:buClr>
                <a:srgbClr val="000066"/>
              </a:buClr>
              <a:buSzPct val="100000"/>
              <a:buFont typeface="Arial" pitchFamily="34" charset="0"/>
              <a:buChar char="-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2pPr>
            <a:lvl3pPr marL="923635" indent="-290240" algn="just">
              <a:buClr>
                <a:srgbClr val="000066"/>
              </a:buClr>
              <a:buSzPct val="80000"/>
              <a:buFont typeface="Arial" pitchFamily="34" charset="0"/>
              <a:buChar char="–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3pPr>
            <a:lvl4pPr marL="1332537" indent="-355984" algn="just">
              <a:buClr>
                <a:srgbClr val="000066"/>
              </a:buClr>
              <a:buFont typeface="Wingdings" pitchFamily="2" charset="2"/>
              <a:buChar char="§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4pPr>
            <a:lvl5pPr marL="1675693" indent="-290240" algn="just">
              <a:buClr>
                <a:srgbClr val="000066"/>
              </a:buClr>
              <a:buSzPct val="80000"/>
              <a:buFont typeface="Courier New" pitchFamily="49" charset="0"/>
              <a:buChar char="o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8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  <p:sp>
        <p:nvSpPr>
          <p:cNvPr id="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07271" y="76156"/>
            <a:ext cx="8229600" cy="182880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10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95876216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067588"/>
      </p:ext>
    </p:extLst>
  </p:cSld>
  <p:clrMapOvr>
    <a:masterClrMapping/>
  </p:clrMapOvr>
  <p:transition spd="med">
    <p:wip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6594472"/>
      </p:ext>
    </p:extLst>
  </p:cSld>
  <p:clrMapOvr>
    <a:masterClrMapping/>
  </p:clrMapOvr>
  <p:transition spd="med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505D8F-699F-4835-B5C7-0E1D11431E3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11578" y="2132856"/>
            <a:ext cx="8229600" cy="914400"/>
          </a:xfrm>
          <a:prstGeom prst="rect">
            <a:avLst/>
          </a:prstGeom>
        </p:spPr>
        <p:txBody>
          <a:bodyPr lIns="92364" tIns="46182" rIns="92364" bIns="46182" anchor="t"/>
          <a:lstStyle>
            <a:lvl1pPr algn="ctr">
              <a:defRPr sz="54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1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11578" y="3212976"/>
            <a:ext cx="8229600" cy="914400"/>
          </a:xfrm>
          <a:prstGeom prst="rect">
            <a:avLst/>
          </a:prstGeom>
        </p:spPr>
        <p:txBody>
          <a:bodyPr lIns="92364" tIns="46182" rIns="92364" bIns="46182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32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58136725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6000441"/>
      </p:ext>
    </p:extLst>
  </p:cSld>
  <p:clrMapOvr>
    <a:masterClrMapping/>
  </p:clrMapOvr>
  <p:transition spd="med">
    <p:wip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4127127"/>
      </p:ext>
    </p:extLst>
  </p:cSld>
  <p:clrMapOvr>
    <a:masterClrMapping/>
  </p:clrMapOvr>
  <p:transition spd="med">
    <p:wip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32607414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  <p:sp>
        <p:nvSpPr>
          <p:cNvPr id="8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07271" y="76156"/>
            <a:ext cx="8229600" cy="182880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10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787375983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Conteúdo 2"/>
          <p:cNvSpPr>
            <a:spLocks noGrp="1"/>
          </p:cNvSpPr>
          <p:nvPr>
            <p:ph idx="1"/>
          </p:nvPr>
        </p:nvSpPr>
        <p:spPr>
          <a:xfrm>
            <a:off x="407271" y="1124744"/>
            <a:ext cx="8229600" cy="4896543"/>
          </a:xfrm>
          <a:prstGeom prst="rect">
            <a:avLst/>
          </a:prstGeom>
        </p:spPr>
        <p:txBody>
          <a:bodyPr lIns="92364" tIns="46182" rIns="92364" bIns="46182"/>
          <a:lstStyle>
            <a:lvl1pPr marL="290240" indent="-290240" algn="just">
              <a:spcBef>
                <a:spcPts val="600"/>
              </a:spcBef>
              <a:spcAft>
                <a:spcPts val="0"/>
              </a:spcAft>
              <a:buClr>
                <a:srgbClr val="000066"/>
              </a:buClr>
              <a:buSzPct val="100000"/>
              <a:buFont typeface="Arial" pitchFamily="34" charset="0"/>
              <a:buChar char="•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 marL="580479" indent="-237323" algn="just">
              <a:buClr>
                <a:srgbClr val="000066"/>
              </a:buClr>
              <a:buSzPct val="100000"/>
              <a:buFont typeface="Arial" pitchFamily="34" charset="0"/>
              <a:buChar char="-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2pPr>
            <a:lvl3pPr marL="923635" indent="-290240" algn="just">
              <a:buClr>
                <a:srgbClr val="000066"/>
              </a:buClr>
              <a:buSzPct val="80000"/>
              <a:buFont typeface="Arial" pitchFamily="34" charset="0"/>
              <a:buChar char="–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3pPr>
            <a:lvl4pPr marL="1332537" indent="-355984" algn="just">
              <a:buClr>
                <a:srgbClr val="000066"/>
              </a:buClr>
              <a:buFont typeface="Wingdings" pitchFamily="2" charset="2"/>
              <a:buChar char="§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4pPr>
            <a:lvl5pPr marL="1675693" indent="-290240" algn="just">
              <a:buClr>
                <a:srgbClr val="000066"/>
              </a:buClr>
              <a:buSzPct val="80000"/>
              <a:buFont typeface="Courier New" pitchFamily="49" charset="0"/>
              <a:buChar char="o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8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  <p:sp>
        <p:nvSpPr>
          <p:cNvPr id="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07271" y="76156"/>
            <a:ext cx="8229600" cy="182880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10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4284391562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11578" y="2132856"/>
            <a:ext cx="8229600" cy="914400"/>
          </a:xfrm>
          <a:prstGeom prst="rect">
            <a:avLst/>
          </a:prstGeom>
        </p:spPr>
        <p:txBody>
          <a:bodyPr lIns="92364" tIns="46182" rIns="92364" bIns="46182" anchor="t"/>
          <a:lstStyle>
            <a:lvl1pPr algn="ctr">
              <a:defRPr sz="54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1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11578" y="3212976"/>
            <a:ext cx="8229600" cy="914400"/>
          </a:xfrm>
          <a:prstGeom prst="rect">
            <a:avLst/>
          </a:prstGeom>
        </p:spPr>
        <p:txBody>
          <a:bodyPr lIns="92364" tIns="46182" rIns="92364" bIns="46182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32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876798511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1114263"/>
      </p:ext>
    </p:extLst>
  </p:cSld>
  <p:clrMapOvr>
    <a:masterClrMapping/>
  </p:clrMapOvr>
  <p:transition spd="med">
    <p:wip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0164944"/>
      </p:ext>
    </p:extLst>
  </p:cSld>
  <p:clrMapOvr>
    <a:masterClrMapping/>
  </p:clrMapOvr>
  <p:transition spd="med">
    <p:wip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76160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8480A0-E959-4901-925F-12B2DFCD841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a livre 1"/>
          <p:cNvSpPr>
            <a:spLocks/>
          </p:cNvSpPr>
          <p:nvPr/>
        </p:nvSpPr>
        <p:spPr bwMode="auto">
          <a:xfrm>
            <a:off x="-241300" y="-84138"/>
            <a:ext cx="10615613" cy="8159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>
              <a:gd name="connsiteX0" fmla="*/ 10 w 10000"/>
              <a:gd name="connsiteY0" fmla="*/ 30 h 8235"/>
              <a:gd name="connsiteX1" fmla="*/ 4404 w 10000"/>
              <a:gd name="connsiteY1" fmla="*/ 0 h 8235"/>
              <a:gd name="connsiteX2" fmla="*/ 7578 w 10000"/>
              <a:gd name="connsiteY2" fmla="*/ 5595 h 8235"/>
              <a:gd name="connsiteX3" fmla="*/ 9990 w 10000"/>
              <a:gd name="connsiteY3" fmla="*/ 838 h 8235"/>
              <a:gd name="connsiteX4" fmla="*/ 10000 w 10000"/>
              <a:gd name="connsiteY4" fmla="*/ 3247 h 8235"/>
              <a:gd name="connsiteX5" fmla="*/ 7453 w 10000"/>
              <a:gd name="connsiteY5" fmla="*/ 6692 h 8235"/>
              <a:gd name="connsiteX6" fmla="*/ 2578 w 10000"/>
              <a:gd name="connsiteY6" fmla="*/ 3064 h 8235"/>
              <a:gd name="connsiteX7" fmla="*/ 0 w 10000"/>
              <a:gd name="connsiteY7" fmla="*/ 8235 h 8235"/>
              <a:gd name="connsiteX8" fmla="*/ 10 w 10000"/>
              <a:gd name="connsiteY8" fmla="*/ 30 h 8235"/>
              <a:gd name="connsiteX0" fmla="*/ 10 w 10000"/>
              <a:gd name="connsiteY0" fmla="*/ 36 h 10000"/>
              <a:gd name="connsiteX1" fmla="*/ 4404 w 10000"/>
              <a:gd name="connsiteY1" fmla="*/ 0 h 10000"/>
              <a:gd name="connsiteX2" fmla="*/ 7578 w 10000"/>
              <a:gd name="connsiteY2" fmla="*/ 6794 h 10000"/>
              <a:gd name="connsiteX3" fmla="*/ 9990 w 10000"/>
              <a:gd name="connsiteY3" fmla="*/ 1018 h 10000"/>
              <a:gd name="connsiteX4" fmla="*/ 10000 w 10000"/>
              <a:gd name="connsiteY4" fmla="*/ 3943 h 10000"/>
              <a:gd name="connsiteX5" fmla="*/ 7453 w 10000"/>
              <a:gd name="connsiteY5" fmla="*/ 8126 h 10000"/>
              <a:gd name="connsiteX6" fmla="*/ 2578 w 10000"/>
              <a:gd name="connsiteY6" fmla="*/ 3721 h 10000"/>
              <a:gd name="connsiteX7" fmla="*/ 0 w 10000"/>
              <a:gd name="connsiteY7" fmla="*/ 10000 h 10000"/>
              <a:gd name="connsiteX8" fmla="*/ 10 w 10000"/>
              <a:gd name="connsiteY8" fmla="*/ 36 h 10000"/>
              <a:gd name="connsiteX0" fmla="*/ 10 w 10000"/>
              <a:gd name="connsiteY0" fmla="*/ 36 h 10000"/>
              <a:gd name="connsiteX1" fmla="*/ 4404 w 10000"/>
              <a:gd name="connsiteY1" fmla="*/ 0 h 10000"/>
              <a:gd name="connsiteX2" fmla="*/ 7578 w 10000"/>
              <a:gd name="connsiteY2" fmla="*/ 6794 h 10000"/>
              <a:gd name="connsiteX3" fmla="*/ 9990 w 10000"/>
              <a:gd name="connsiteY3" fmla="*/ 1018 h 10000"/>
              <a:gd name="connsiteX4" fmla="*/ 10000 w 10000"/>
              <a:gd name="connsiteY4" fmla="*/ 3943 h 10000"/>
              <a:gd name="connsiteX5" fmla="*/ 7453 w 10000"/>
              <a:gd name="connsiteY5" fmla="*/ 8126 h 10000"/>
              <a:gd name="connsiteX6" fmla="*/ 2578 w 10000"/>
              <a:gd name="connsiteY6" fmla="*/ 3721 h 10000"/>
              <a:gd name="connsiteX7" fmla="*/ 0 w 10000"/>
              <a:gd name="connsiteY7" fmla="*/ 10000 h 10000"/>
              <a:gd name="connsiteX8" fmla="*/ 10 w 10000"/>
              <a:gd name="connsiteY8" fmla="*/ 36 h 10000"/>
              <a:gd name="connsiteX0" fmla="*/ 10 w 10000"/>
              <a:gd name="connsiteY0" fmla="*/ 36 h 8164"/>
              <a:gd name="connsiteX1" fmla="*/ 4404 w 10000"/>
              <a:gd name="connsiteY1" fmla="*/ 0 h 8164"/>
              <a:gd name="connsiteX2" fmla="*/ 7578 w 10000"/>
              <a:gd name="connsiteY2" fmla="*/ 6794 h 8164"/>
              <a:gd name="connsiteX3" fmla="*/ 9990 w 10000"/>
              <a:gd name="connsiteY3" fmla="*/ 1018 h 8164"/>
              <a:gd name="connsiteX4" fmla="*/ 10000 w 10000"/>
              <a:gd name="connsiteY4" fmla="*/ 3943 h 8164"/>
              <a:gd name="connsiteX5" fmla="*/ 7453 w 10000"/>
              <a:gd name="connsiteY5" fmla="*/ 8126 h 8164"/>
              <a:gd name="connsiteX6" fmla="*/ 2578 w 10000"/>
              <a:gd name="connsiteY6" fmla="*/ 3721 h 8164"/>
              <a:gd name="connsiteX7" fmla="*/ 0 w 10000"/>
              <a:gd name="connsiteY7" fmla="*/ 7857 h 8164"/>
              <a:gd name="connsiteX8" fmla="*/ 10 w 10000"/>
              <a:gd name="connsiteY8" fmla="*/ 36 h 8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0" h="8164">
                <a:moveTo>
                  <a:pt x="10" y="36"/>
                </a:moveTo>
                <a:lnTo>
                  <a:pt x="4404" y="0"/>
                </a:lnTo>
                <a:cubicBezTo>
                  <a:pt x="4757" y="1870"/>
                  <a:pt x="6632" y="6794"/>
                  <a:pt x="7578" y="6794"/>
                </a:cubicBezTo>
                <a:cubicBezTo>
                  <a:pt x="8524" y="6794"/>
                  <a:pt x="9574" y="2814"/>
                  <a:pt x="9990" y="1018"/>
                </a:cubicBezTo>
                <a:cubicBezTo>
                  <a:pt x="9993" y="1993"/>
                  <a:pt x="9997" y="2968"/>
                  <a:pt x="10000" y="3943"/>
                </a:cubicBezTo>
                <a:cubicBezTo>
                  <a:pt x="9823" y="4758"/>
                  <a:pt x="8690" y="8164"/>
                  <a:pt x="7453" y="8126"/>
                </a:cubicBezTo>
                <a:cubicBezTo>
                  <a:pt x="6216" y="8090"/>
                  <a:pt x="3820" y="3054"/>
                  <a:pt x="2578" y="3721"/>
                </a:cubicBezTo>
                <a:cubicBezTo>
                  <a:pt x="1299" y="3869"/>
                  <a:pt x="494" y="5869"/>
                  <a:pt x="0" y="7857"/>
                </a:cubicBezTo>
                <a:cubicBezTo>
                  <a:pt x="3" y="3822"/>
                  <a:pt x="7" y="4072"/>
                  <a:pt x="10" y="36"/>
                </a:cubicBez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3200">
              <a:solidFill>
                <a:prstClr val="black"/>
              </a:solidFill>
              <a:latin typeface="Arial Black" pitchFamily="34" charset="0"/>
            </a:endParaRPr>
          </a:p>
        </p:txBody>
      </p:sp>
      <p:sp>
        <p:nvSpPr>
          <p:cNvPr id="3" name="Forma livre 2"/>
          <p:cNvSpPr>
            <a:spLocks/>
          </p:cNvSpPr>
          <p:nvPr/>
        </p:nvSpPr>
        <p:spPr bwMode="auto">
          <a:xfrm>
            <a:off x="4381500" y="-92075"/>
            <a:ext cx="5729288" cy="6508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3200">
              <a:solidFill>
                <a:prstClr val="black"/>
              </a:solidFill>
              <a:latin typeface="Arial Black" pitchFamily="34" charset="0"/>
            </a:endParaRPr>
          </a:p>
        </p:txBody>
      </p:sp>
      <p:grpSp>
        <p:nvGrpSpPr>
          <p:cNvPr id="4" name="Grupo 1"/>
          <p:cNvGrpSpPr>
            <a:grpSpLocks/>
          </p:cNvGrpSpPr>
          <p:nvPr/>
        </p:nvGrpSpPr>
        <p:grpSpPr bwMode="auto">
          <a:xfrm>
            <a:off x="-173038" y="-285750"/>
            <a:ext cx="10685463" cy="1239838"/>
            <a:chOff x="-838459" y="-952200"/>
            <a:chExt cx="10686232" cy="1239188"/>
          </a:xfrm>
        </p:grpSpPr>
        <p:sp>
          <p:nvSpPr>
            <p:cNvPr id="5" name="Forma livre 4"/>
            <p:cNvSpPr>
              <a:spLocks/>
            </p:cNvSpPr>
            <p:nvPr/>
          </p:nvSpPr>
          <p:spPr bwMode="auto">
            <a:xfrm rot="21435692">
              <a:off x="-667120" y="-952200"/>
              <a:ext cx="10243726" cy="104481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>
                <a:gd name="connsiteX0" fmla="*/ 0 w 10000"/>
                <a:gd name="connsiteY0" fmla="*/ 9156 h 11875"/>
                <a:gd name="connsiteX1" fmla="*/ 2786 w 10000"/>
                <a:gd name="connsiteY1" fmla="*/ 2673 h 11875"/>
                <a:gd name="connsiteX2" fmla="*/ 7241 w 10000"/>
                <a:gd name="connsiteY2" fmla="*/ 11430 h 11875"/>
                <a:gd name="connsiteX3" fmla="*/ 10000 w 10000"/>
                <a:gd name="connsiteY3" fmla="*/ 0 h 11875"/>
                <a:gd name="connsiteX0" fmla="*/ 0 w 10374"/>
                <a:gd name="connsiteY0" fmla="*/ 6862 h 10092"/>
                <a:gd name="connsiteX1" fmla="*/ 2786 w 10374"/>
                <a:gd name="connsiteY1" fmla="*/ 379 h 10092"/>
                <a:gd name="connsiteX2" fmla="*/ 7241 w 10374"/>
                <a:gd name="connsiteY2" fmla="*/ 9136 h 10092"/>
                <a:gd name="connsiteX3" fmla="*/ 10374 w 10374"/>
                <a:gd name="connsiteY3" fmla="*/ 6113 h 10092"/>
                <a:gd name="connsiteX0" fmla="*/ 0 w 10374"/>
                <a:gd name="connsiteY0" fmla="*/ 8145 h 11589"/>
                <a:gd name="connsiteX1" fmla="*/ 2791 w 10374"/>
                <a:gd name="connsiteY1" fmla="*/ 379 h 11589"/>
                <a:gd name="connsiteX2" fmla="*/ 7241 w 10374"/>
                <a:gd name="connsiteY2" fmla="*/ 10419 h 11589"/>
                <a:gd name="connsiteX3" fmla="*/ 10374 w 10374"/>
                <a:gd name="connsiteY3" fmla="*/ 7396 h 11589"/>
                <a:gd name="connsiteX0" fmla="*/ 0 w 10374"/>
                <a:gd name="connsiteY0" fmla="*/ 7950 h 11361"/>
                <a:gd name="connsiteX1" fmla="*/ 3116 w 10374"/>
                <a:gd name="connsiteY1" fmla="*/ 379 h 11361"/>
                <a:gd name="connsiteX2" fmla="*/ 7241 w 10374"/>
                <a:gd name="connsiteY2" fmla="*/ 10224 h 11361"/>
                <a:gd name="connsiteX3" fmla="*/ 10374 w 10374"/>
                <a:gd name="connsiteY3" fmla="*/ 7201 h 11361"/>
                <a:gd name="connsiteX0" fmla="*/ 0 w 10092"/>
                <a:gd name="connsiteY0" fmla="*/ 4992 h 11952"/>
                <a:gd name="connsiteX1" fmla="*/ 2834 w 10092"/>
                <a:gd name="connsiteY1" fmla="*/ 970 h 11952"/>
                <a:gd name="connsiteX2" fmla="*/ 6959 w 10092"/>
                <a:gd name="connsiteY2" fmla="*/ 10815 h 11952"/>
                <a:gd name="connsiteX3" fmla="*/ 10092 w 10092"/>
                <a:gd name="connsiteY3" fmla="*/ 7792 h 1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92" h="11952">
                  <a:moveTo>
                    <a:pt x="0" y="4992"/>
                  </a:moveTo>
                  <a:cubicBezTo>
                    <a:pt x="489" y="2831"/>
                    <a:pt x="1674" y="0"/>
                    <a:pt x="2834" y="970"/>
                  </a:cubicBezTo>
                  <a:cubicBezTo>
                    <a:pt x="3994" y="1940"/>
                    <a:pt x="5749" y="9678"/>
                    <a:pt x="6959" y="10815"/>
                  </a:cubicBezTo>
                  <a:cubicBezTo>
                    <a:pt x="8169" y="11952"/>
                    <a:pt x="9493" y="9783"/>
                    <a:pt x="10092" y="7792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3200">
                <a:solidFill>
                  <a:prstClr val="black"/>
                </a:solidFill>
                <a:latin typeface="Arial Black" pitchFamily="34" charset="0"/>
              </a:endParaRPr>
            </a:p>
          </p:txBody>
        </p:sp>
        <p:sp>
          <p:nvSpPr>
            <p:cNvPr id="6" name="Forma livre 5"/>
            <p:cNvSpPr>
              <a:spLocks/>
            </p:cNvSpPr>
            <p:nvPr/>
          </p:nvSpPr>
          <p:spPr bwMode="auto">
            <a:xfrm rot="21435692">
              <a:off x="-838459" y="-515896"/>
              <a:ext cx="10686232" cy="80288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>
                <a:gd name="connsiteX0" fmla="*/ 0 w 10625"/>
                <a:gd name="connsiteY0" fmla="*/ 995 h 19418"/>
                <a:gd name="connsiteX1" fmla="*/ 3466 w 10625"/>
                <a:gd name="connsiteY1" fmla="*/ 12088 h 19418"/>
                <a:gd name="connsiteX2" fmla="*/ 7774 w 10625"/>
                <a:gd name="connsiteY2" fmla="*/ 18973 h 19418"/>
                <a:gd name="connsiteX3" fmla="*/ 10625 w 10625"/>
                <a:gd name="connsiteY3" fmla="*/ 9418 h 19418"/>
                <a:gd name="connsiteX0" fmla="*/ 0 w 10625"/>
                <a:gd name="connsiteY0" fmla="*/ 4690 h 24354"/>
                <a:gd name="connsiteX1" fmla="*/ 3360 w 10625"/>
                <a:gd name="connsiteY1" fmla="*/ 2996 h 24354"/>
                <a:gd name="connsiteX2" fmla="*/ 7774 w 10625"/>
                <a:gd name="connsiteY2" fmla="*/ 22668 h 24354"/>
                <a:gd name="connsiteX3" fmla="*/ 10625 w 10625"/>
                <a:gd name="connsiteY3" fmla="*/ 13113 h 24354"/>
                <a:gd name="connsiteX0" fmla="*/ 0 w 10625"/>
                <a:gd name="connsiteY0" fmla="*/ 3085 h 13499"/>
                <a:gd name="connsiteX1" fmla="*/ 3360 w 10625"/>
                <a:gd name="connsiteY1" fmla="*/ 1391 h 13499"/>
                <a:gd name="connsiteX2" fmla="*/ 7803 w 10625"/>
                <a:gd name="connsiteY2" fmla="*/ 11433 h 13499"/>
                <a:gd name="connsiteX3" fmla="*/ 10625 w 10625"/>
                <a:gd name="connsiteY3" fmla="*/ 11508 h 13499"/>
                <a:gd name="connsiteX0" fmla="*/ 0 w 10646"/>
                <a:gd name="connsiteY0" fmla="*/ 3085 h 12212"/>
                <a:gd name="connsiteX1" fmla="*/ 3360 w 10646"/>
                <a:gd name="connsiteY1" fmla="*/ 1391 h 12212"/>
                <a:gd name="connsiteX2" fmla="*/ 7803 w 10646"/>
                <a:gd name="connsiteY2" fmla="*/ 11433 h 12212"/>
                <a:gd name="connsiteX3" fmla="*/ 10646 w 10646"/>
                <a:gd name="connsiteY3" fmla="*/ 6068 h 1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6" h="12212">
                  <a:moveTo>
                    <a:pt x="0" y="3085"/>
                  </a:moveTo>
                  <a:cubicBezTo>
                    <a:pt x="473" y="2090"/>
                    <a:pt x="2060" y="0"/>
                    <a:pt x="3360" y="1391"/>
                  </a:cubicBezTo>
                  <a:cubicBezTo>
                    <a:pt x="4661" y="2782"/>
                    <a:pt x="6589" y="10654"/>
                    <a:pt x="7803" y="11433"/>
                  </a:cubicBezTo>
                  <a:cubicBezTo>
                    <a:pt x="9017" y="12212"/>
                    <a:pt x="10053" y="8059"/>
                    <a:pt x="10646" y="6068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3200">
                <a:solidFill>
                  <a:prstClr val="black"/>
                </a:solidFill>
                <a:latin typeface="Arial Black" pitchFamily="34" charset="0"/>
              </a:endParaRPr>
            </a:p>
          </p:txBody>
        </p:sp>
      </p:grpSp>
      <p:sp>
        <p:nvSpPr>
          <p:cNvPr id="7" name="Forma livre 1"/>
          <p:cNvSpPr>
            <a:spLocks/>
          </p:cNvSpPr>
          <p:nvPr/>
        </p:nvSpPr>
        <p:spPr bwMode="auto">
          <a:xfrm rot="10800000">
            <a:off x="-439738" y="6176963"/>
            <a:ext cx="10617201" cy="8175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>
              <a:gd name="connsiteX0" fmla="*/ 10 w 10000"/>
              <a:gd name="connsiteY0" fmla="*/ 30 h 8235"/>
              <a:gd name="connsiteX1" fmla="*/ 4404 w 10000"/>
              <a:gd name="connsiteY1" fmla="*/ 0 h 8235"/>
              <a:gd name="connsiteX2" fmla="*/ 7578 w 10000"/>
              <a:gd name="connsiteY2" fmla="*/ 5595 h 8235"/>
              <a:gd name="connsiteX3" fmla="*/ 9990 w 10000"/>
              <a:gd name="connsiteY3" fmla="*/ 838 h 8235"/>
              <a:gd name="connsiteX4" fmla="*/ 10000 w 10000"/>
              <a:gd name="connsiteY4" fmla="*/ 3247 h 8235"/>
              <a:gd name="connsiteX5" fmla="*/ 7453 w 10000"/>
              <a:gd name="connsiteY5" fmla="*/ 6692 h 8235"/>
              <a:gd name="connsiteX6" fmla="*/ 2578 w 10000"/>
              <a:gd name="connsiteY6" fmla="*/ 3064 h 8235"/>
              <a:gd name="connsiteX7" fmla="*/ 0 w 10000"/>
              <a:gd name="connsiteY7" fmla="*/ 8235 h 8235"/>
              <a:gd name="connsiteX8" fmla="*/ 10 w 10000"/>
              <a:gd name="connsiteY8" fmla="*/ 30 h 8235"/>
              <a:gd name="connsiteX0" fmla="*/ 10 w 10000"/>
              <a:gd name="connsiteY0" fmla="*/ 36 h 10000"/>
              <a:gd name="connsiteX1" fmla="*/ 4404 w 10000"/>
              <a:gd name="connsiteY1" fmla="*/ 0 h 10000"/>
              <a:gd name="connsiteX2" fmla="*/ 7578 w 10000"/>
              <a:gd name="connsiteY2" fmla="*/ 6794 h 10000"/>
              <a:gd name="connsiteX3" fmla="*/ 9990 w 10000"/>
              <a:gd name="connsiteY3" fmla="*/ 1018 h 10000"/>
              <a:gd name="connsiteX4" fmla="*/ 10000 w 10000"/>
              <a:gd name="connsiteY4" fmla="*/ 3943 h 10000"/>
              <a:gd name="connsiteX5" fmla="*/ 7453 w 10000"/>
              <a:gd name="connsiteY5" fmla="*/ 8126 h 10000"/>
              <a:gd name="connsiteX6" fmla="*/ 2578 w 10000"/>
              <a:gd name="connsiteY6" fmla="*/ 3721 h 10000"/>
              <a:gd name="connsiteX7" fmla="*/ 0 w 10000"/>
              <a:gd name="connsiteY7" fmla="*/ 10000 h 10000"/>
              <a:gd name="connsiteX8" fmla="*/ 10 w 10000"/>
              <a:gd name="connsiteY8" fmla="*/ 36 h 10000"/>
              <a:gd name="connsiteX0" fmla="*/ 10 w 10000"/>
              <a:gd name="connsiteY0" fmla="*/ 36 h 10000"/>
              <a:gd name="connsiteX1" fmla="*/ 4404 w 10000"/>
              <a:gd name="connsiteY1" fmla="*/ 0 h 10000"/>
              <a:gd name="connsiteX2" fmla="*/ 7578 w 10000"/>
              <a:gd name="connsiteY2" fmla="*/ 6794 h 10000"/>
              <a:gd name="connsiteX3" fmla="*/ 9990 w 10000"/>
              <a:gd name="connsiteY3" fmla="*/ 1018 h 10000"/>
              <a:gd name="connsiteX4" fmla="*/ 10000 w 10000"/>
              <a:gd name="connsiteY4" fmla="*/ 3943 h 10000"/>
              <a:gd name="connsiteX5" fmla="*/ 7453 w 10000"/>
              <a:gd name="connsiteY5" fmla="*/ 8126 h 10000"/>
              <a:gd name="connsiteX6" fmla="*/ 2578 w 10000"/>
              <a:gd name="connsiteY6" fmla="*/ 3721 h 10000"/>
              <a:gd name="connsiteX7" fmla="*/ 0 w 10000"/>
              <a:gd name="connsiteY7" fmla="*/ 10000 h 10000"/>
              <a:gd name="connsiteX8" fmla="*/ 10 w 10000"/>
              <a:gd name="connsiteY8" fmla="*/ 36 h 10000"/>
              <a:gd name="connsiteX0" fmla="*/ 10 w 10000"/>
              <a:gd name="connsiteY0" fmla="*/ 36 h 8164"/>
              <a:gd name="connsiteX1" fmla="*/ 4404 w 10000"/>
              <a:gd name="connsiteY1" fmla="*/ 0 h 8164"/>
              <a:gd name="connsiteX2" fmla="*/ 7578 w 10000"/>
              <a:gd name="connsiteY2" fmla="*/ 6794 h 8164"/>
              <a:gd name="connsiteX3" fmla="*/ 9990 w 10000"/>
              <a:gd name="connsiteY3" fmla="*/ 1018 h 8164"/>
              <a:gd name="connsiteX4" fmla="*/ 10000 w 10000"/>
              <a:gd name="connsiteY4" fmla="*/ 3943 h 8164"/>
              <a:gd name="connsiteX5" fmla="*/ 7453 w 10000"/>
              <a:gd name="connsiteY5" fmla="*/ 8126 h 8164"/>
              <a:gd name="connsiteX6" fmla="*/ 2578 w 10000"/>
              <a:gd name="connsiteY6" fmla="*/ 3721 h 8164"/>
              <a:gd name="connsiteX7" fmla="*/ 0 w 10000"/>
              <a:gd name="connsiteY7" fmla="*/ 7857 h 8164"/>
              <a:gd name="connsiteX8" fmla="*/ 10 w 10000"/>
              <a:gd name="connsiteY8" fmla="*/ 36 h 8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0" h="8164">
                <a:moveTo>
                  <a:pt x="10" y="36"/>
                </a:moveTo>
                <a:lnTo>
                  <a:pt x="4404" y="0"/>
                </a:lnTo>
                <a:cubicBezTo>
                  <a:pt x="4757" y="1870"/>
                  <a:pt x="6632" y="6794"/>
                  <a:pt x="7578" y="6794"/>
                </a:cubicBezTo>
                <a:cubicBezTo>
                  <a:pt x="8524" y="6794"/>
                  <a:pt x="9574" y="2814"/>
                  <a:pt x="9990" y="1018"/>
                </a:cubicBezTo>
                <a:cubicBezTo>
                  <a:pt x="9993" y="1993"/>
                  <a:pt x="9997" y="2968"/>
                  <a:pt x="10000" y="3943"/>
                </a:cubicBezTo>
                <a:cubicBezTo>
                  <a:pt x="9823" y="4758"/>
                  <a:pt x="8690" y="8164"/>
                  <a:pt x="7453" y="8126"/>
                </a:cubicBezTo>
                <a:cubicBezTo>
                  <a:pt x="6216" y="8090"/>
                  <a:pt x="3820" y="3054"/>
                  <a:pt x="2578" y="3721"/>
                </a:cubicBezTo>
                <a:cubicBezTo>
                  <a:pt x="1299" y="3869"/>
                  <a:pt x="494" y="5869"/>
                  <a:pt x="0" y="7857"/>
                </a:cubicBezTo>
                <a:cubicBezTo>
                  <a:pt x="3" y="3822"/>
                  <a:pt x="7" y="4072"/>
                  <a:pt x="10" y="36"/>
                </a:cubicBez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3200">
              <a:solidFill>
                <a:prstClr val="black"/>
              </a:solidFill>
              <a:latin typeface="Arial Black" pitchFamily="34" charset="0"/>
            </a:endParaRPr>
          </a:p>
        </p:txBody>
      </p:sp>
      <p:sp>
        <p:nvSpPr>
          <p:cNvPr id="8" name="Forma livre 2"/>
          <p:cNvSpPr>
            <a:spLocks/>
          </p:cNvSpPr>
          <p:nvPr/>
        </p:nvSpPr>
        <p:spPr bwMode="auto">
          <a:xfrm rot="10800000">
            <a:off x="7938" y="6351588"/>
            <a:ext cx="5729287" cy="649287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3200">
              <a:solidFill>
                <a:prstClr val="black"/>
              </a:solidFill>
              <a:latin typeface="Arial Black" pitchFamily="34" charset="0"/>
            </a:endParaRPr>
          </a:p>
        </p:txBody>
      </p:sp>
      <p:grpSp>
        <p:nvGrpSpPr>
          <p:cNvPr id="9" name="Grupo 12"/>
          <p:cNvGrpSpPr>
            <a:grpSpLocks/>
          </p:cNvGrpSpPr>
          <p:nvPr/>
        </p:nvGrpSpPr>
        <p:grpSpPr bwMode="auto">
          <a:xfrm rot="10800000">
            <a:off x="-371475" y="5975350"/>
            <a:ext cx="10687050" cy="1239838"/>
            <a:chOff x="-838459" y="-952200"/>
            <a:chExt cx="10686232" cy="1239188"/>
          </a:xfrm>
        </p:grpSpPr>
        <p:sp>
          <p:nvSpPr>
            <p:cNvPr id="10" name="Forma livre 4"/>
            <p:cNvSpPr>
              <a:spLocks/>
            </p:cNvSpPr>
            <p:nvPr/>
          </p:nvSpPr>
          <p:spPr bwMode="auto">
            <a:xfrm rot="21435692">
              <a:off x="-667120" y="-952200"/>
              <a:ext cx="10243726" cy="104481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>
                <a:gd name="connsiteX0" fmla="*/ 0 w 10000"/>
                <a:gd name="connsiteY0" fmla="*/ 9156 h 11875"/>
                <a:gd name="connsiteX1" fmla="*/ 2786 w 10000"/>
                <a:gd name="connsiteY1" fmla="*/ 2673 h 11875"/>
                <a:gd name="connsiteX2" fmla="*/ 7241 w 10000"/>
                <a:gd name="connsiteY2" fmla="*/ 11430 h 11875"/>
                <a:gd name="connsiteX3" fmla="*/ 10000 w 10000"/>
                <a:gd name="connsiteY3" fmla="*/ 0 h 11875"/>
                <a:gd name="connsiteX0" fmla="*/ 0 w 10374"/>
                <a:gd name="connsiteY0" fmla="*/ 6862 h 10092"/>
                <a:gd name="connsiteX1" fmla="*/ 2786 w 10374"/>
                <a:gd name="connsiteY1" fmla="*/ 379 h 10092"/>
                <a:gd name="connsiteX2" fmla="*/ 7241 w 10374"/>
                <a:gd name="connsiteY2" fmla="*/ 9136 h 10092"/>
                <a:gd name="connsiteX3" fmla="*/ 10374 w 10374"/>
                <a:gd name="connsiteY3" fmla="*/ 6113 h 10092"/>
                <a:gd name="connsiteX0" fmla="*/ 0 w 10374"/>
                <a:gd name="connsiteY0" fmla="*/ 8145 h 11589"/>
                <a:gd name="connsiteX1" fmla="*/ 2791 w 10374"/>
                <a:gd name="connsiteY1" fmla="*/ 379 h 11589"/>
                <a:gd name="connsiteX2" fmla="*/ 7241 w 10374"/>
                <a:gd name="connsiteY2" fmla="*/ 10419 h 11589"/>
                <a:gd name="connsiteX3" fmla="*/ 10374 w 10374"/>
                <a:gd name="connsiteY3" fmla="*/ 7396 h 11589"/>
                <a:gd name="connsiteX0" fmla="*/ 0 w 10374"/>
                <a:gd name="connsiteY0" fmla="*/ 7950 h 11361"/>
                <a:gd name="connsiteX1" fmla="*/ 3116 w 10374"/>
                <a:gd name="connsiteY1" fmla="*/ 379 h 11361"/>
                <a:gd name="connsiteX2" fmla="*/ 7241 w 10374"/>
                <a:gd name="connsiteY2" fmla="*/ 10224 h 11361"/>
                <a:gd name="connsiteX3" fmla="*/ 10374 w 10374"/>
                <a:gd name="connsiteY3" fmla="*/ 7201 h 11361"/>
                <a:gd name="connsiteX0" fmla="*/ 0 w 10092"/>
                <a:gd name="connsiteY0" fmla="*/ 4992 h 11952"/>
                <a:gd name="connsiteX1" fmla="*/ 2834 w 10092"/>
                <a:gd name="connsiteY1" fmla="*/ 970 h 11952"/>
                <a:gd name="connsiteX2" fmla="*/ 6959 w 10092"/>
                <a:gd name="connsiteY2" fmla="*/ 10815 h 11952"/>
                <a:gd name="connsiteX3" fmla="*/ 10092 w 10092"/>
                <a:gd name="connsiteY3" fmla="*/ 7792 h 1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92" h="11952">
                  <a:moveTo>
                    <a:pt x="0" y="4992"/>
                  </a:moveTo>
                  <a:cubicBezTo>
                    <a:pt x="489" y="2831"/>
                    <a:pt x="1674" y="0"/>
                    <a:pt x="2834" y="970"/>
                  </a:cubicBezTo>
                  <a:cubicBezTo>
                    <a:pt x="3994" y="1940"/>
                    <a:pt x="5749" y="9678"/>
                    <a:pt x="6959" y="10815"/>
                  </a:cubicBezTo>
                  <a:cubicBezTo>
                    <a:pt x="8169" y="11952"/>
                    <a:pt x="9493" y="9783"/>
                    <a:pt x="10092" y="7792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eaLnBrk="1" hangingPunct="1">
                <a:defRPr/>
              </a:pPr>
              <a:endParaRPr lang="en-US" sz="3200">
                <a:solidFill>
                  <a:prstClr val="black"/>
                </a:solidFill>
                <a:latin typeface="Arial Black" pitchFamily="34" charset="0"/>
              </a:endParaRPr>
            </a:p>
          </p:txBody>
        </p:sp>
        <p:sp>
          <p:nvSpPr>
            <p:cNvPr id="11" name="Forma livre 5"/>
            <p:cNvSpPr>
              <a:spLocks/>
            </p:cNvSpPr>
            <p:nvPr/>
          </p:nvSpPr>
          <p:spPr bwMode="auto">
            <a:xfrm rot="21435692">
              <a:off x="-838459" y="-515896"/>
              <a:ext cx="10686232" cy="80288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>
                <a:gd name="connsiteX0" fmla="*/ 0 w 10625"/>
                <a:gd name="connsiteY0" fmla="*/ 995 h 19418"/>
                <a:gd name="connsiteX1" fmla="*/ 3466 w 10625"/>
                <a:gd name="connsiteY1" fmla="*/ 12088 h 19418"/>
                <a:gd name="connsiteX2" fmla="*/ 7774 w 10625"/>
                <a:gd name="connsiteY2" fmla="*/ 18973 h 19418"/>
                <a:gd name="connsiteX3" fmla="*/ 10625 w 10625"/>
                <a:gd name="connsiteY3" fmla="*/ 9418 h 19418"/>
                <a:gd name="connsiteX0" fmla="*/ 0 w 10625"/>
                <a:gd name="connsiteY0" fmla="*/ 4690 h 24354"/>
                <a:gd name="connsiteX1" fmla="*/ 3360 w 10625"/>
                <a:gd name="connsiteY1" fmla="*/ 2996 h 24354"/>
                <a:gd name="connsiteX2" fmla="*/ 7774 w 10625"/>
                <a:gd name="connsiteY2" fmla="*/ 22668 h 24354"/>
                <a:gd name="connsiteX3" fmla="*/ 10625 w 10625"/>
                <a:gd name="connsiteY3" fmla="*/ 13113 h 24354"/>
                <a:gd name="connsiteX0" fmla="*/ 0 w 10625"/>
                <a:gd name="connsiteY0" fmla="*/ 3085 h 13499"/>
                <a:gd name="connsiteX1" fmla="*/ 3360 w 10625"/>
                <a:gd name="connsiteY1" fmla="*/ 1391 h 13499"/>
                <a:gd name="connsiteX2" fmla="*/ 7803 w 10625"/>
                <a:gd name="connsiteY2" fmla="*/ 11433 h 13499"/>
                <a:gd name="connsiteX3" fmla="*/ 10625 w 10625"/>
                <a:gd name="connsiteY3" fmla="*/ 11508 h 13499"/>
                <a:gd name="connsiteX0" fmla="*/ 0 w 10646"/>
                <a:gd name="connsiteY0" fmla="*/ 3085 h 12212"/>
                <a:gd name="connsiteX1" fmla="*/ 3360 w 10646"/>
                <a:gd name="connsiteY1" fmla="*/ 1391 h 12212"/>
                <a:gd name="connsiteX2" fmla="*/ 7803 w 10646"/>
                <a:gd name="connsiteY2" fmla="*/ 11433 h 12212"/>
                <a:gd name="connsiteX3" fmla="*/ 10646 w 10646"/>
                <a:gd name="connsiteY3" fmla="*/ 6068 h 1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6" h="12212">
                  <a:moveTo>
                    <a:pt x="0" y="3085"/>
                  </a:moveTo>
                  <a:cubicBezTo>
                    <a:pt x="473" y="2090"/>
                    <a:pt x="2060" y="0"/>
                    <a:pt x="3360" y="1391"/>
                  </a:cubicBezTo>
                  <a:cubicBezTo>
                    <a:pt x="4661" y="2782"/>
                    <a:pt x="6589" y="10654"/>
                    <a:pt x="7803" y="11433"/>
                  </a:cubicBezTo>
                  <a:cubicBezTo>
                    <a:pt x="9017" y="12212"/>
                    <a:pt x="10053" y="8059"/>
                    <a:pt x="10646" y="6068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r" eaLnBrk="1" hangingPunct="1">
                <a:defRPr/>
              </a:pPr>
              <a:endParaRPr lang="en-US" sz="3200">
                <a:solidFill>
                  <a:prstClr val="black"/>
                </a:solidFill>
                <a:latin typeface="Arial Black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4617787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0067604"/>
      </p:ext>
    </p:extLst>
  </p:cSld>
  <p:clrMapOvr>
    <a:masterClrMapping/>
  </p:clrMapOvr>
  <p:transition spd="med">
    <p:wip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9910004"/>
      </p:ext>
    </p:extLst>
  </p:cSld>
  <p:clrMapOvr>
    <a:masterClrMapping/>
  </p:clrMapOvr>
  <p:transition spd="med">
    <p:wip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5760278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Conteúdo 2"/>
          <p:cNvSpPr>
            <a:spLocks noGrp="1"/>
          </p:cNvSpPr>
          <p:nvPr>
            <p:ph idx="1"/>
          </p:nvPr>
        </p:nvSpPr>
        <p:spPr>
          <a:xfrm>
            <a:off x="407271" y="1124744"/>
            <a:ext cx="8229600" cy="4896543"/>
          </a:xfrm>
          <a:prstGeom prst="rect">
            <a:avLst/>
          </a:prstGeom>
        </p:spPr>
        <p:txBody>
          <a:bodyPr lIns="92364" tIns="46182" rIns="92364" bIns="46182"/>
          <a:lstStyle>
            <a:lvl1pPr marL="290240" indent="-290240" algn="just">
              <a:spcBef>
                <a:spcPts val="600"/>
              </a:spcBef>
              <a:spcAft>
                <a:spcPts val="0"/>
              </a:spcAft>
              <a:buClr>
                <a:srgbClr val="000066"/>
              </a:buClr>
              <a:buSzPct val="100000"/>
              <a:buFont typeface="Arial" pitchFamily="34" charset="0"/>
              <a:buChar char="•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 marL="580479" indent="-237323" algn="just">
              <a:buClr>
                <a:srgbClr val="000066"/>
              </a:buClr>
              <a:buSzPct val="100000"/>
              <a:buFont typeface="Arial" pitchFamily="34" charset="0"/>
              <a:buChar char="-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2pPr>
            <a:lvl3pPr marL="923635" indent="-290240" algn="just">
              <a:buClr>
                <a:srgbClr val="000066"/>
              </a:buClr>
              <a:buSzPct val="80000"/>
              <a:buFont typeface="Arial" pitchFamily="34" charset="0"/>
              <a:buChar char="–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3pPr>
            <a:lvl4pPr marL="1332537" indent="-355984" algn="just">
              <a:buClr>
                <a:srgbClr val="000066"/>
              </a:buClr>
              <a:buFont typeface="Wingdings" pitchFamily="2" charset="2"/>
              <a:buChar char="§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4pPr>
            <a:lvl5pPr marL="1675693" indent="-290240" algn="just">
              <a:buClr>
                <a:srgbClr val="000066"/>
              </a:buClr>
              <a:buSzPct val="80000"/>
              <a:buFont typeface="Courier New" pitchFamily="49" charset="0"/>
              <a:buChar char="o"/>
              <a:defRPr sz="2400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8" name="Espaço Reservado para Conteúdo 4"/>
          <p:cNvSpPr>
            <a:spLocks noGrp="1"/>
          </p:cNvSpPr>
          <p:nvPr>
            <p:ph sz="quarter" idx="10"/>
          </p:nvPr>
        </p:nvSpPr>
        <p:spPr>
          <a:xfrm>
            <a:off x="107504" y="6420240"/>
            <a:ext cx="6241186" cy="358101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l">
              <a:buFontTx/>
              <a:buNone/>
              <a:defRPr sz="15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07271" y="332656"/>
            <a:ext cx="8229600" cy="366372"/>
          </a:xfrm>
          <a:prstGeom prst="rect">
            <a:avLst/>
          </a:prstGeom>
        </p:spPr>
        <p:txBody>
          <a:bodyPr lIns="92364" tIns="46182" rIns="92364" bIns="46182"/>
          <a:lstStyle>
            <a:lvl1pPr algn="l">
              <a:defRPr sz="32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</a:t>
            </a:r>
            <a:endParaRPr lang="pt-BR" dirty="0"/>
          </a:p>
        </p:txBody>
      </p:sp>
      <p:sp>
        <p:nvSpPr>
          <p:cNvPr id="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07271" y="76156"/>
            <a:ext cx="8229600" cy="182880"/>
          </a:xfrm>
          <a:prstGeom prst="rect">
            <a:avLst/>
          </a:prstGeom>
        </p:spPr>
        <p:txBody>
          <a:bodyPr lIns="92364" tIns="46182" rIns="92364" bIns="46182"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10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53432464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0787148"/>
      </p:ext>
    </p:extLst>
  </p:cSld>
  <p:clrMapOvr>
    <a:masterClrMapping/>
  </p:clrMapOvr>
  <p:transition spd="med">
    <p:wip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0972373"/>
      </p:ext>
    </p:extLst>
  </p:cSld>
  <p:clrMapOvr>
    <a:masterClrMapping/>
  </p:clrMapOvr>
  <p:transition spd="med">
    <p:wip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11578" y="2132856"/>
            <a:ext cx="8229600" cy="914400"/>
          </a:xfrm>
          <a:prstGeom prst="rect">
            <a:avLst/>
          </a:prstGeom>
        </p:spPr>
        <p:txBody>
          <a:bodyPr lIns="92364" tIns="46182" rIns="92364" bIns="46182" anchor="t"/>
          <a:lstStyle>
            <a:lvl1pPr algn="ctr">
              <a:defRPr sz="5400" b="1">
                <a:solidFill>
                  <a:srgbClr val="1932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17" name="Espaço Reservado para Texto 11"/>
          <p:cNvSpPr>
            <a:spLocks noGrp="1"/>
          </p:cNvSpPr>
          <p:nvPr>
            <p:ph type="body" sz="quarter" idx="11"/>
          </p:nvPr>
        </p:nvSpPr>
        <p:spPr>
          <a:xfrm>
            <a:off x="411578" y="3212976"/>
            <a:ext cx="8229600" cy="914400"/>
          </a:xfrm>
          <a:prstGeom prst="rect">
            <a:avLst/>
          </a:prstGeom>
        </p:spPr>
        <p:txBody>
          <a:bodyPr lIns="92364" tIns="46182" rIns="92364" bIns="46182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3200" b="1" smtClean="0">
                <a:solidFill>
                  <a:srgbClr val="1932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lang="pt-BR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87996745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3019345"/>
      </p:ext>
    </p:extLst>
  </p:cSld>
  <p:clrMapOvr>
    <a:masterClrMapping/>
  </p:clrMapOvr>
  <p:transition spd="med">
    <p:wip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4747339"/>
      </p:ext>
    </p:extLst>
  </p:cSld>
  <p:clrMapOvr>
    <a:masterClrMapping/>
  </p:clrMapOvr>
  <p:transition spd="med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16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165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tags" Target="../tags/tag1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16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9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92.xml"/><Relationship Id="rId42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5.xml"/><Relationship Id="rId50" Type="http://schemas.openxmlformats.org/officeDocument/2006/relationships/slideLayout" Target="../slideLayouts/slideLayout108.xml"/><Relationship Id="rId55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6.xml"/><Relationship Id="rId46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41" Type="http://schemas.openxmlformats.org/officeDocument/2006/relationships/slideLayout" Target="../slideLayouts/slideLayout99.xml"/><Relationship Id="rId54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53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49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89.xml"/><Relationship Id="rId44" Type="http://schemas.openxmlformats.org/officeDocument/2006/relationships/slideLayout" Target="../slideLayouts/slideLayout102.xml"/><Relationship Id="rId52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43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6.xml"/><Relationship Id="rId56" Type="http://schemas.openxmlformats.org/officeDocument/2006/relationships/theme" Target="../theme/theme6.xml"/><Relationship Id="rId8" Type="http://schemas.openxmlformats.org/officeDocument/2006/relationships/slideLayout" Target="../slideLayouts/slideLayout66.xml"/><Relationship Id="rId51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6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34099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4099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409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fld id="{7886B89E-FACF-4716-818C-78B7A9708C7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  <a:endParaRPr lang="es-AR" smtClean="0"/>
          </a:p>
        </p:txBody>
      </p:sp>
      <p:sp>
        <p:nvSpPr>
          <p:cNvPr id="2051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 smtClean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eaLnBrk="1" hangingPunct="1">
              <a:defRPr/>
            </a:pPr>
            <a:fld id="{AF4594EE-0040-4AC1-BCE8-9FD36EEC6924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 eaLnBrk="1" hangingPunct="1"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eaLnBrk="1" hangingPunct="1"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eaLnBrk="1" hangingPunct="1">
              <a:defRPr/>
            </a:pPr>
            <a:fld id="{B74BE229-5FF9-401C-9BA7-E62908D7FC9D}" type="slidenum">
              <a:rPr lang="es-AR">
                <a:solidFill>
                  <a:prstClr val="black">
                    <a:tint val="75000"/>
                  </a:prstClr>
                </a:solidFill>
              </a:rPr>
              <a:pPr eaLnBrk="1" hangingPunct="1"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55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26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Line 2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323850" y="6757988"/>
            <a:ext cx="7580313" cy="0"/>
          </a:xfrm>
          <a:prstGeom prst="line">
            <a:avLst/>
          </a:prstGeom>
          <a:noFill/>
          <a:ln w="12700">
            <a:solidFill>
              <a:srgbClr val="B2B2B2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eaLnBrk="1" hangingPunct="1">
              <a:defRPr/>
            </a:pPr>
            <a:endParaRPr lang="pt-BR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3075" name="Imagem 16" descr="SENAI.jp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6615113"/>
            <a:ext cx="862012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8419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33280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328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328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fld id="{A5EF62CA-C6A8-4DF8-A22F-6ABD7280403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32870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2870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287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fld id="{5A0A177B-8486-452E-BB97-E90A625D06B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FFFFCC"/>
            </a:gs>
            <a:gs pos="10000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pt-BR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8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CC"/>
                </a:solidFill>
                <a:effectLst>
                  <a:outerShdw blurRad="38100" dist="38100" dir="2700000" algn="tl">
                    <a:srgbClr val="000000"/>
                  </a:outerShdw>
                </a:effectLst>
              </a:defRPr>
            </a:lvl1pPr>
          </a:lstStyle>
          <a:p>
            <a:endParaRPr lang="en-US">
              <a:latin typeface="Times New Roman" pitchFamily="18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8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4111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Monotype Sorts" pitchFamily="2" charset="2"/>
        <a:buChar char="m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6FF"/>
        </a:buClr>
        <a:buFont typeface="Monotype Sorts" pitchFamily="2" charset="2"/>
        <a:buChar char="í"/>
        <a:defRPr sz="1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FFFFCC"/>
            </a:gs>
            <a:gs pos="10000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pt-BR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CC"/>
                </a:solidFill>
                <a:effectLst>
                  <a:outerShdw blurRad="38100" dist="38100" dir="2700000" algn="tl">
                    <a:srgbClr val="000000"/>
                  </a:outerShdw>
                </a:effectLst>
              </a:defRPr>
            </a:lvl1pPr>
          </a:lstStyle>
          <a:p>
            <a:endParaRPr lang="en-US">
              <a:latin typeface="Times New Roman" pitchFamily="18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685800" y="1752600"/>
            <a:ext cx="7721600" cy="57150"/>
          </a:xfrm>
          <a:prstGeom prst="rect">
            <a:avLst/>
          </a:prstGeom>
          <a:solidFill>
            <a:srgbClr val="CC33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pt-BR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4692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500">
          <a:solidFill>
            <a:schemeClr val="accent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Monotype Sorts" pitchFamily="2" charset="2"/>
        <a:buChar char="m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6FF"/>
        </a:buClr>
        <a:buFont typeface="Monotype Sorts" pitchFamily="2" charset="2"/>
        <a:buChar char="í"/>
        <a:defRPr sz="1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Placeholder 1"/>
          <p:cNvSpPr>
            <a:spLocks noGrp="1"/>
          </p:cNvSpPr>
          <p:nvPr>
            <p:ph type="title"/>
          </p:nvPr>
        </p:nvSpPr>
        <p:spPr bwMode="auto">
          <a:xfrm>
            <a:off x="742950" y="1096963"/>
            <a:ext cx="7291388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itle style</a:t>
            </a:r>
          </a:p>
        </p:txBody>
      </p:sp>
      <p:sp>
        <p:nvSpPr>
          <p:cNvPr id="102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42950" y="2239963"/>
            <a:ext cx="7291388" cy="360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6460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  <p:sldLayoutId id="2147483955" r:id="rId24"/>
    <p:sldLayoutId id="2147483956" r:id="rId25"/>
    <p:sldLayoutId id="2147483957" r:id="rId26"/>
    <p:sldLayoutId id="2147483958" r:id="rId27"/>
    <p:sldLayoutId id="2147483959" r:id="rId28"/>
    <p:sldLayoutId id="2147483960" r:id="rId29"/>
    <p:sldLayoutId id="2147483961" r:id="rId30"/>
    <p:sldLayoutId id="2147483962" r:id="rId31"/>
    <p:sldLayoutId id="2147483963" r:id="rId32"/>
    <p:sldLayoutId id="2147483964" r:id="rId33"/>
    <p:sldLayoutId id="2147483965" r:id="rId34"/>
    <p:sldLayoutId id="2147483966" r:id="rId35"/>
    <p:sldLayoutId id="2147483967" r:id="rId36"/>
    <p:sldLayoutId id="2147483968" r:id="rId37"/>
    <p:sldLayoutId id="2147483969" r:id="rId38"/>
    <p:sldLayoutId id="2147483970" r:id="rId39"/>
    <p:sldLayoutId id="2147483971" r:id="rId40"/>
    <p:sldLayoutId id="2147483972" r:id="rId41"/>
    <p:sldLayoutId id="2147483973" r:id="rId42"/>
    <p:sldLayoutId id="2147483974" r:id="rId43"/>
    <p:sldLayoutId id="2147483975" r:id="rId44"/>
    <p:sldLayoutId id="2147483976" r:id="rId45"/>
    <p:sldLayoutId id="2147483977" r:id="rId46"/>
    <p:sldLayoutId id="2147483978" r:id="rId47"/>
    <p:sldLayoutId id="2147483979" r:id="rId48"/>
    <p:sldLayoutId id="2147483980" r:id="rId49"/>
    <p:sldLayoutId id="2147483981" r:id="rId50"/>
    <p:sldLayoutId id="2147483982" r:id="rId51"/>
    <p:sldLayoutId id="2147483983" r:id="rId52"/>
    <p:sldLayoutId id="2147483984" r:id="rId53"/>
    <p:sldLayoutId id="2147483985" r:id="rId54"/>
    <p:sldLayoutId id="2147483986" r:id="rId5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buClr>
          <a:srgbClr val="E46C0A"/>
        </a:buClr>
        <a:buSzPct val="128000"/>
        <a:buFont typeface="Georgia" pitchFamily="18" charset="0"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buClr>
          <a:srgbClr val="E46C0A"/>
        </a:buClr>
        <a:buSzPct val="128000"/>
        <a:buFont typeface="Georgia" pitchFamily="18" charset="0"/>
        <a:defRPr sz="30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Clr>
          <a:srgbClr val="E46C0A"/>
        </a:buClr>
        <a:buSzPct val="128000"/>
        <a:buFont typeface="Georgia" pitchFamily="18" charset="0"/>
        <a:defRPr sz="30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Clr>
          <a:srgbClr val="E46C0A"/>
        </a:buClr>
        <a:buSzPct val="128000"/>
        <a:buFont typeface="Georgia" pitchFamily="18" charset="0"/>
        <a:defRPr sz="30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Clr>
          <a:srgbClr val="E46C0A"/>
        </a:buClr>
        <a:buSzPct val="128000"/>
        <a:buFont typeface="Georgia" pitchFamily="18" charset="0"/>
        <a:defRPr sz="3000" b="1">
          <a:solidFill>
            <a:schemeClr val="tx1"/>
          </a:solidFill>
          <a:latin typeface="Calibri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87350" indent="-342900" algn="l" rtl="0" eaLnBrk="0" fontAlgn="base" hangingPunct="0">
        <a:spcBef>
          <a:spcPct val="20000"/>
        </a:spcBef>
        <a:spcAft>
          <a:spcPts val="300"/>
        </a:spcAft>
        <a:buClr>
          <a:srgbClr val="E46C0A"/>
        </a:buClr>
        <a:buSzPct val="128000"/>
        <a:buFont typeface="Wingdings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08025" indent="-342900" algn="l" rtl="0" eaLnBrk="0" fontAlgn="base" hangingPunct="0">
        <a:spcBef>
          <a:spcPct val="20000"/>
        </a:spcBef>
        <a:spcAft>
          <a:spcPts val="300"/>
        </a:spcAft>
        <a:buClr>
          <a:srgbClr val="E46C0A"/>
        </a:buClr>
        <a:buSzPct val="128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25513" indent="-285750" algn="l" rtl="0" eaLnBrk="0" fontAlgn="base" hangingPunct="0">
        <a:spcBef>
          <a:spcPct val="20000"/>
        </a:spcBef>
        <a:spcAft>
          <a:spcPts val="300"/>
        </a:spcAft>
        <a:buClr>
          <a:srgbClr val="E46C0A"/>
        </a:buClr>
        <a:buSzPct val="128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285750" algn="l" rtl="0" eaLnBrk="0" fontAlgn="base" hangingPunct="0">
        <a:spcBef>
          <a:spcPct val="20000"/>
        </a:spcBef>
        <a:spcAft>
          <a:spcPts val="300"/>
        </a:spcAft>
        <a:buClr>
          <a:srgbClr val="E46C0A"/>
        </a:buClr>
        <a:buSzPct val="128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92250" indent="-285750" algn="l" rtl="0" eaLnBrk="0" fontAlgn="base" hangingPunct="0">
        <a:spcBef>
          <a:spcPct val="20000"/>
        </a:spcBef>
        <a:spcAft>
          <a:spcPts val="300"/>
        </a:spcAft>
        <a:buClr>
          <a:srgbClr val="E46C0A"/>
        </a:buClr>
        <a:buSzPct val="128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  <a:endParaRPr lang="es-AR" smtClean="0"/>
          </a:p>
        </p:txBody>
      </p:sp>
      <p:sp>
        <p:nvSpPr>
          <p:cNvPr id="2051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 smtClean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eaLnBrk="1" hangingPunct="1">
              <a:defRPr/>
            </a:pPr>
            <a:fld id="{AF4594EE-0040-4AC1-BCE8-9FD36EEC6924}" type="datetimeFigureOut">
              <a:rPr lang="es-AR">
                <a:solidFill>
                  <a:prstClr val="black">
                    <a:tint val="75000"/>
                  </a:prstClr>
                </a:solidFill>
              </a:rPr>
              <a:pPr eaLnBrk="1" hangingPunct="1">
                <a:defRPr/>
              </a:pPr>
              <a:t>19/07/2012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eaLnBrk="1" hangingPunct="1">
              <a:defRPr/>
            </a:pPr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eaLnBrk="1" hangingPunct="1">
              <a:defRPr/>
            </a:pPr>
            <a:fld id="{B74BE229-5FF9-401C-9BA7-E62908D7FC9D}" type="slidenum">
              <a:rPr lang="es-AR">
                <a:solidFill>
                  <a:prstClr val="black">
                    <a:tint val="75000"/>
                  </a:prstClr>
                </a:solidFill>
              </a:rPr>
              <a:pPr eaLnBrk="1" hangingPunct="1">
                <a:defRPr/>
              </a:pPr>
              <a:t>‹nº›</a:t>
            </a:fld>
            <a:endParaRPr lang="es-A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65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5488CE4D-61E5-40F0-9FC8-CC305DA4305B}" type="datetimeFigureOut">
              <a:rPr lang="pt-B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19/07/2012</a:t>
            </a:fld>
            <a:endParaRPr lang="pt-B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41A7F65D-BB83-4FD5-8FA2-111FB4612F70}" type="slidenum">
              <a:rPr lang="pt-B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170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000">
              <a:schemeClr val="bg1">
                <a:tint val="80000"/>
                <a:satMod val="300000"/>
              </a:schemeClr>
            </a:gs>
            <a:gs pos="100000">
              <a:schemeClr val="bg1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  <a:endParaRPr lang="es-AR" smtClean="0"/>
          </a:p>
        </p:txBody>
      </p:sp>
      <p:sp>
        <p:nvSpPr>
          <p:cNvPr id="2051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s-AR" smtClean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 eaLnBrk="1" hangingPunct="1">
              <a:defRPr/>
            </a:pPr>
            <a:fld id="{126A9CCE-9971-4007-BCCD-E71ADB13457C}" type="datetimeFigureOut">
              <a:rPr lang="es-AR"/>
              <a:pPr eaLnBrk="1" hangingPunct="1">
                <a:defRPr/>
              </a:pPr>
              <a:t>19/07/2012</a:t>
            </a:fld>
            <a:endParaRPr lang="es-A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 eaLnBrk="1" hangingPunct="1">
              <a:defRPr/>
            </a:pPr>
            <a:endParaRPr lang="es-A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 eaLnBrk="1" hangingPunct="1">
              <a:defRPr/>
            </a:pPr>
            <a:fld id="{01538DEB-E529-48B2-9358-88F46F663A46}" type="slidenum">
              <a:rPr lang="es-AR"/>
              <a:pPr eaLnBrk="1" hangingPunct="1"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163077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17" Type="http://schemas.openxmlformats.org/officeDocument/2006/relationships/image" Target="../media/image24.png"/><Relationship Id="rId2" Type="http://schemas.openxmlformats.org/officeDocument/2006/relationships/image" Target="../media/image10.png"/><Relationship Id="rId16" Type="http://schemas.openxmlformats.org/officeDocument/2006/relationships/hyperlink" Target="http://www.respostatecnica.org.br/" TargetMode="External"/><Relationship Id="rId1" Type="http://schemas.openxmlformats.org/officeDocument/2006/relationships/slideLayout" Target="../slideLayouts/slideLayout126.x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5" Type="http://schemas.openxmlformats.org/officeDocument/2006/relationships/image" Target="../media/image13.jpeg"/><Relationship Id="rId15" Type="http://schemas.openxmlformats.org/officeDocument/2006/relationships/image" Target="../media/image23.jpeg"/><Relationship Id="rId10" Type="http://schemas.openxmlformats.org/officeDocument/2006/relationships/image" Target="../media/image18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Relationship Id="rId14" Type="http://schemas.openxmlformats.org/officeDocument/2006/relationships/image" Target="../media/image2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30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3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3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3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tif"/><Relationship Id="rId1" Type="http://schemas.openxmlformats.org/officeDocument/2006/relationships/slideLayout" Target="../slideLayouts/slideLayout1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6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0.xml"/><Relationship Id="rId4" Type="http://schemas.openxmlformats.org/officeDocument/2006/relationships/chart" Target="../charts/char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4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1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0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45.png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60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6.jpeg"/><Relationship Id="rId5" Type="http://schemas.openxmlformats.org/officeDocument/2006/relationships/image" Target="../media/image44.png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5.png"/><Relationship Id="rId4" Type="http://schemas.openxmlformats.org/officeDocument/2006/relationships/image" Target="../media/image46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image" Target="../media/image50.png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image" Target="../media/image49.png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slideLayout" Target="../slideLayouts/slideLayout162.xml"/><Relationship Id="rId37" Type="http://schemas.openxmlformats.org/officeDocument/2006/relationships/image" Target="../media/image53.png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image" Target="../media/image52.png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image" Target="../media/image51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tags" Target="../tags/tag61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image" Target="../media/image55.png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32" Type="http://schemas.openxmlformats.org/officeDocument/2006/relationships/image" Target="../media/image53.png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image" Target="../media/image54.png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31" Type="http://schemas.openxmlformats.org/officeDocument/2006/relationships/image" Target="../media/image52.png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slideLayout" Target="../slideLayouts/slideLayout164.xml"/><Relationship Id="rId30" Type="http://schemas.openxmlformats.org/officeDocument/2006/relationships/image" Target="../media/image5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/>
          <p:cNvSpPr>
            <a:spLocks noChangeArrowheads="1"/>
          </p:cNvSpPr>
          <p:nvPr/>
        </p:nvSpPr>
        <p:spPr bwMode="auto">
          <a:xfrm>
            <a:off x="442913" y="2228872"/>
            <a:ext cx="8232775" cy="197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pt-BR" b="1" dirty="0" smtClean="0">
                <a:solidFill>
                  <a:srgbClr val="000099"/>
                </a:solidFill>
              </a:rPr>
              <a:t>“Competitividade da Industria Catarinense”</a:t>
            </a:r>
          </a:p>
          <a:p>
            <a:pPr algn="ctr" eaLnBrk="1" hangingPunct="1"/>
            <a:endParaRPr lang="pt-BR" sz="2800" b="1" dirty="0" smtClean="0">
              <a:solidFill>
                <a:srgbClr val="000099"/>
              </a:solidFill>
            </a:endParaRPr>
          </a:p>
          <a:p>
            <a:pPr algn="ctr" eaLnBrk="1" hangingPunct="1"/>
            <a:r>
              <a:rPr lang="en-US" sz="2800" b="1" dirty="0" err="1" smtClean="0">
                <a:solidFill>
                  <a:srgbClr val="000099"/>
                </a:solidFill>
              </a:rPr>
              <a:t>Políticas</a:t>
            </a:r>
            <a:r>
              <a:rPr lang="en-US" sz="2800" b="1" dirty="0" smtClean="0">
                <a:solidFill>
                  <a:srgbClr val="000099"/>
                </a:solidFill>
              </a:rPr>
              <a:t> </a:t>
            </a:r>
            <a:r>
              <a:rPr lang="en-US" sz="2800" b="1" dirty="0" err="1" smtClean="0">
                <a:solidFill>
                  <a:srgbClr val="000099"/>
                </a:solidFill>
              </a:rPr>
              <a:t>Públicas</a:t>
            </a:r>
            <a:r>
              <a:rPr lang="en-US" sz="2800" b="1" dirty="0" smtClean="0">
                <a:solidFill>
                  <a:srgbClr val="000099"/>
                </a:solidFill>
              </a:rPr>
              <a:t> </a:t>
            </a:r>
            <a:r>
              <a:rPr lang="en-US" sz="2800" b="1" dirty="0" err="1" smtClean="0">
                <a:solidFill>
                  <a:srgbClr val="000099"/>
                </a:solidFill>
              </a:rPr>
              <a:t>para</a:t>
            </a:r>
            <a:r>
              <a:rPr lang="en-US" sz="2800" b="1" dirty="0" smtClean="0">
                <a:solidFill>
                  <a:srgbClr val="000099"/>
                </a:solidFill>
              </a:rPr>
              <a:t> </a:t>
            </a:r>
            <a:r>
              <a:rPr lang="en-US" sz="2800" b="1" dirty="0" err="1" smtClean="0">
                <a:solidFill>
                  <a:srgbClr val="000099"/>
                </a:solidFill>
              </a:rPr>
              <a:t>Favorecer</a:t>
            </a:r>
            <a:r>
              <a:rPr lang="en-US" sz="2800" b="1" dirty="0" smtClean="0">
                <a:solidFill>
                  <a:srgbClr val="000099"/>
                </a:solidFill>
              </a:rPr>
              <a:t> a </a:t>
            </a:r>
            <a:r>
              <a:rPr lang="en-US" sz="2800" b="1" dirty="0" err="1" smtClean="0">
                <a:solidFill>
                  <a:srgbClr val="000099"/>
                </a:solidFill>
              </a:rPr>
              <a:t>Inovação</a:t>
            </a:r>
            <a:r>
              <a:rPr lang="en-US" sz="2800" b="1" dirty="0" smtClean="0">
                <a:solidFill>
                  <a:srgbClr val="000099"/>
                </a:solidFill>
              </a:rPr>
              <a:t> </a:t>
            </a:r>
            <a:r>
              <a:rPr lang="en-US" sz="2800" b="1" dirty="0" err="1" smtClean="0">
                <a:solidFill>
                  <a:srgbClr val="000099"/>
                </a:solidFill>
              </a:rPr>
              <a:t>na</a:t>
            </a:r>
            <a:r>
              <a:rPr lang="en-US" sz="2800" b="1" dirty="0" smtClean="0">
                <a:solidFill>
                  <a:srgbClr val="000099"/>
                </a:solidFill>
              </a:rPr>
              <a:t> </a:t>
            </a:r>
            <a:r>
              <a:rPr lang="en-US" sz="2800" b="1" dirty="0" err="1" smtClean="0">
                <a:solidFill>
                  <a:srgbClr val="000099"/>
                </a:solidFill>
              </a:rPr>
              <a:t>Industria</a:t>
            </a:r>
            <a:endParaRPr lang="pt-BR" sz="2800" b="1" dirty="0" smtClean="0">
              <a:solidFill>
                <a:srgbClr val="000099"/>
              </a:solidFill>
            </a:endParaRPr>
          </a:p>
          <a:p>
            <a:pPr algn="ctr" eaLnBrk="1" hangingPunct="1"/>
            <a:endParaRPr lang="en-US" sz="2800" b="1" dirty="0">
              <a:solidFill>
                <a:srgbClr val="000099"/>
              </a:solidFill>
            </a:endParaRPr>
          </a:p>
        </p:txBody>
      </p:sp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266700" y="5644421"/>
            <a:ext cx="8763000" cy="115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pt-BR" sz="2000" b="1" dirty="0" smtClean="0">
                <a:solidFill>
                  <a:srgbClr val="000099"/>
                </a:solidFill>
              </a:rPr>
              <a:t>Encontro Catarinense da Industria - FIESC</a:t>
            </a:r>
            <a:endParaRPr lang="pt-BR" sz="2000" b="1" dirty="0" smtClean="0">
              <a:solidFill>
                <a:srgbClr val="000099"/>
              </a:solidFill>
            </a:endParaRPr>
          </a:p>
          <a:p>
            <a:pPr algn="ctr" eaLnBrk="1" hangingPunct="1"/>
            <a:r>
              <a:rPr lang="en-US" sz="1600" b="1" dirty="0" err="1" smtClean="0">
                <a:solidFill>
                  <a:srgbClr val="000099"/>
                </a:solidFill>
              </a:rPr>
              <a:t>Federação</a:t>
            </a:r>
            <a:r>
              <a:rPr lang="en-US" sz="1600" b="1" dirty="0" smtClean="0">
                <a:solidFill>
                  <a:srgbClr val="000099"/>
                </a:solidFill>
              </a:rPr>
              <a:t> das </a:t>
            </a:r>
            <a:r>
              <a:rPr lang="en-US" sz="1600" b="1" dirty="0" err="1" smtClean="0">
                <a:solidFill>
                  <a:srgbClr val="000099"/>
                </a:solidFill>
              </a:rPr>
              <a:t>Indústrias</a:t>
            </a:r>
            <a:r>
              <a:rPr lang="en-US" sz="1600" b="1" dirty="0" smtClean="0">
                <a:solidFill>
                  <a:srgbClr val="000099"/>
                </a:solidFill>
              </a:rPr>
              <a:t> do Estado de </a:t>
            </a:r>
            <a:r>
              <a:rPr lang="en-US" sz="1600" b="1" dirty="0" smtClean="0">
                <a:solidFill>
                  <a:srgbClr val="000099"/>
                </a:solidFill>
              </a:rPr>
              <a:t>Santa </a:t>
            </a:r>
            <a:r>
              <a:rPr lang="en-US" sz="1600" b="1" dirty="0" err="1" smtClean="0">
                <a:solidFill>
                  <a:srgbClr val="000099"/>
                </a:solidFill>
              </a:rPr>
              <a:t>Catarina</a:t>
            </a:r>
            <a:endParaRPr lang="en-US" sz="1600" b="1" dirty="0" smtClean="0">
              <a:solidFill>
                <a:srgbClr val="000099"/>
              </a:solidFill>
            </a:endParaRPr>
          </a:p>
          <a:p>
            <a:pPr algn="ctr" eaLnBrk="1" hangingPunct="1"/>
            <a:endParaRPr lang="en-US" sz="1600" dirty="0" smtClean="0">
              <a:solidFill>
                <a:srgbClr val="000099"/>
              </a:solidFill>
            </a:endParaRPr>
          </a:p>
          <a:p>
            <a:pPr algn="ctr" eaLnBrk="1" hangingPunct="1"/>
            <a:r>
              <a:rPr lang="en-US" sz="1600" dirty="0" err="1" smtClean="0">
                <a:solidFill>
                  <a:srgbClr val="000099"/>
                </a:solidFill>
              </a:rPr>
              <a:t>Florianópolis</a:t>
            </a:r>
            <a:r>
              <a:rPr lang="en-US" sz="1600" dirty="0" smtClean="0">
                <a:solidFill>
                  <a:srgbClr val="000099"/>
                </a:solidFill>
              </a:rPr>
              <a:t>, 19 de </a:t>
            </a:r>
            <a:r>
              <a:rPr lang="en-US" sz="1600" dirty="0" err="1" smtClean="0">
                <a:solidFill>
                  <a:srgbClr val="000099"/>
                </a:solidFill>
              </a:rPr>
              <a:t>julho</a:t>
            </a:r>
            <a:r>
              <a:rPr lang="en-US" sz="1600" dirty="0" smtClean="0">
                <a:solidFill>
                  <a:srgbClr val="000099"/>
                </a:solidFill>
              </a:rPr>
              <a:t> de </a:t>
            </a:r>
            <a:r>
              <a:rPr lang="en-US" sz="1600" dirty="0" smtClean="0">
                <a:solidFill>
                  <a:srgbClr val="000099"/>
                </a:solidFill>
              </a:rPr>
              <a:t>2012</a:t>
            </a:r>
            <a:endParaRPr lang="en-US" sz="1600" dirty="0">
              <a:solidFill>
                <a:srgbClr val="000099"/>
              </a:solidFill>
            </a:endParaRPr>
          </a:p>
        </p:txBody>
      </p:sp>
      <p:sp>
        <p:nvSpPr>
          <p:cNvPr id="6" name="Rectangle 14"/>
          <p:cNvSpPr>
            <a:spLocks noChangeArrowheads="1"/>
          </p:cNvSpPr>
          <p:nvPr/>
        </p:nvSpPr>
        <p:spPr bwMode="auto">
          <a:xfrm>
            <a:off x="609600" y="4235468"/>
            <a:ext cx="7837488" cy="1222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pt-BR" b="1" dirty="0" err="1">
                <a:solidFill>
                  <a:srgbClr val="000099"/>
                </a:solidFill>
              </a:rPr>
              <a:t>Alvaro</a:t>
            </a:r>
            <a:r>
              <a:rPr lang="pt-BR" b="1" dirty="0">
                <a:solidFill>
                  <a:srgbClr val="000099"/>
                </a:solidFill>
              </a:rPr>
              <a:t> T. </a:t>
            </a:r>
            <a:r>
              <a:rPr lang="pt-BR" b="1" dirty="0" smtClean="0">
                <a:solidFill>
                  <a:srgbClr val="000099"/>
                </a:solidFill>
              </a:rPr>
              <a:t>Prata</a:t>
            </a:r>
          </a:p>
          <a:p>
            <a:pPr algn="ctr" eaLnBrk="1" hangingPunct="1"/>
            <a:r>
              <a:rPr lang="en-US" sz="2000" dirty="0" err="1" smtClean="0">
                <a:solidFill>
                  <a:srgbClr val="000099"/>
                </a:solidFill>
              </a:rPr>
              <a:t>Secretário</a:t>
            </a:r>
            <a:r>
              <a:rPr lang="en-US" sz="2000" dirty="0" smtClean="0">
                <a:solidFill>
                  <a:srgbClr val="000099"/>
                </a:solidFill>
              </a:rPr>
              <a:t> </a:t>
            </a:r>
            <a:r>
              <a:rPr lang="en-US" sz="2000" dirty="0" err="1" smtClean="0">
                <a:solidFill>
                  <a:srgbClr val="000099"/>
                </a:solidFill>
              </a:rPr>
              <a:t>Nacional</a:t>
            </a:r>
            <a:r>
              <a:rPr lang="en-US" sz="2000" dirty="0" smtClean="0">
                <a:solidFill>
                  <a:srgbClr val="000099"/>
                </a:solidFill>
              </a:rPr>
              <a:t> de </a:t>
            </a:r>
            <a:r>
              <a:rPr lang="en-US" sz="2000" dirty="0" err="1" smtClean="0">
                <a:solidFill>
                  <a:srgbClr val="000099"/>
                </a:solidFill>
              </a:rPr>
              <a:t>Desenvolvimento</a:t>
            </a:r>
            <a:r>
              <a:rPr lang="en-US" sz="2000" dirty="0" smtClean="0">
                <a:solidFill>
                  <a:srgbClr val="000099"/>
                </a:solidFill>
              </a:rPr>
              <a:t> </a:t>
            </a:r>
            <a:r>
              <a:rPr lang="en-US" sz="2000" dirty="0" err="1" smtClean="0">
                <a:solidFill>
                  <a:srgbClr val="000099"/>
                </a:solidFill>
              </a:rPr>
              <a:t>Tecnológico</a:t>
            </a:r>
            <a:r>
              <a:rPr lang="en-US" sz="2000" dirty="0" smtClean="0">
                <a:solidFill>
                  <a:srgbClr val="000099"/>
                </a:solidFill>
              </a:rPr>
              <a:t> e </a:t>
            </a:r>
            <a:r>
              <a:rPr lang="en-US" sz="2000" dirty="0" err="1" smtClean="0">
                <a:solidFill>
                  <a:srgbClr val="000099"/>
                </a:solidFill>
              </a:rPr>
              <a:t>Inovação</a:t>
            </a:r>
            <a:endParaRPr lang="en-US" sz="2000" dirty="0" smtClean="0">
              <a:solidFill>
                <a:srgbClr val="000099"/>
              </a:solidFill>
            </a:endParaRPr>
          </a:p>
          <a:p>
            <a:pPr algn="ctr" eaLnBrk="1" hangingPunct="1"/>
            <a:r>
              <a:rPr lang="en-US" sz="2000" dirty="0" err="1" smtClean="0">
                <a:solidFill>
                  <a:srgbClr val="000099"/>
                </a:solidFill>
              </a:rPr>
              <a:t>Ministério</a:t>
            </a:r>
            <a:r>
              <a:rPr lang="en-US" sz="2000" dirty="0" smtClean="0">
                <a:solidFill>
                  <a:srgbClr val="000099"/>
                </a:solidFill>
              </a:rPr>
              <a:t> da </a:t>
            </a:r>
            <a:r>
              <a:rPr lang="en-US" sz="2000" dirty="0" err="1" smtClean="0">
                <a:solidFill>
                  <a:srgbClr val="000099"/>
                </a:solidFill>
              </a:rPr>
              <a:t>Ciência</a:t>
            </a:r>
            <a:r>
              <a:rPr lang="en-US" sz="2000" dirty="0" smtClean="0">
                <a:solidFill>
                  <a:srgbClr val="000099"/>
                </a:solidFill>
              </a:rPr>
              <a:t>, </a:t>
            </a:r>
            <a:r>
              <a:rPr lang="en-US" sz="2000" dirty="0" err="1" smtClean="0">
                <a:solidFill>
                  <a:srgbClr val="000099"/>
                </a:solidFill>
              </a:rPr>
              <a:t>Tecnologia</a:t>
            </a:r>
            <a:r>
              <a:rPr lang="en-US" sz="2000" dirty="0" smtClean="0">
                <a:solidFill>
                  <a:srgbClr val="000099"/>
                </a:solidFill>
              </a:rPr>
              <a:t> e </a:t>
            </a:r>
            <a:r>
              <a:rPr lang="en-US" sz="2000" dirty="0" err="1" smtClean="0">
                <a:solidFill>
                  <a:srgbClr val="000099"/>
                </a:solidFill>
              </a:rPr>
              <a:t>Inovação</a:t>
            </a:r>
            <a:endParaRPr lang="pt-BR" sz="2000" dirty="0">
              <a:solidFill>
                <a:srgbClr val="000099"/>
              </a:solidFill>
            </a:endParaRPr>
          </a:p>
          <a:p>
            <a:pPr algn="ctr" eaLnBrk="1" hangingPunct="1"/>
            <a:endParaRPr lang="en-US" sz="1600" b="1" dirty="0">
              <a:solidFill>
                <a:srgbClr val="000099"/>
              </a:solidFill>
            </a:endParaRPr>
          </a:p>
        </p:txBody>
      </p:sp>
      <p:pic>
        <p:nvPicPr>
          <p:cNvPr id="1028" name="Picture 4" descr="http://www3.fiescnet.com.br/images/jornada/head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1" y="17497"/>
            <a:ext cx="9159875" cy="2007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449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050" name="Rectangle 2"/>
          <p:cNvSpPr>
            <a:spLocks noChangeArrowheads="1"/>
          </p:cNvSpPr>
          <p:nvPr/>
        </p:nvSpPr>
        <p:spPr bwMode="auto">
          <a:xfrm>
            <a:off x="526474" y="142876"/>
            <a:ext cx="800865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kumimoji="1" lang="pt-BR" sz="3600" b="1" dirty="0" smtClean="0">
                <a:solidFill>
                  <a:srgbClr val="1E3C78"/>
                </a:solidFill>
                <a:latin typeface="Arial"/>
              </a:rPr>
              <a:t>Estratégia Nacional de Ciência, Tecnologia e Inovação 2012-2015</a:t>
            </a:r>
            <a:endParaRPr kumimoji="1" lang="pt-BR" sz="3600" b="1" dirty="0">
              <a:solidFill>
                <a:srgbClr val="1E3C78"/>
              </a:solidFill>
              <a:latin typeface="Arial"/>
            </a:endParaRPr>
          </a:p>
        </p:txBody>
      </p:sp>
      <p:sp>
        <p:nvSpPr>
          <p:cNvPr id="898054" name="Rectangle 6"/>
          <p:cNvSpPr>
            <a:spLocks noChangeArrowheads="1"/>
          </p:cNvSpPr>
          <p:nvPr/>
        </p:nvSpPr>
        <p:spPr bwMode="auto">
          <a:xfrm>
            <a:off x="712211" y="2345024"/>
            <a:ext cx="8219215" cy="4370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Tecnologia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da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Informaçã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e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Comunicaçã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Fármaco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e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Complex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Industrial da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Saúde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Petróle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e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Gá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Complex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Industrial da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Defes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Aeroespacial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Nuclear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Fronteira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par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a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Inovaçã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(</a:t>
            </a:r>
            <a:r>
              <a:rPr lang="en-US" sz="2000" b="1" dirty="0" err="1" smtClean="0">
                <a:solidFill>
                  <a:srgbClr val="C00000"/>
                </a:solidFill>
                <a:latin typeface="Arial"/>
              </a:rPr>
              <a:t>Biotecnologia</a:t>
            </a:r>
            <a:r>
              <a:rPr lang="en-US" sz="2000" dirty="0" smtClean="0">
                <a:solidFill>
                  <a:srgbClr val="C00000"/>
                </a:solidFill>
                <a:latin typeface="Arial"/>
              </a:rPr>
              <a:t> 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e </a:t>
            </a:r>
            <a:r>
              <a:rPr lang="en-US" sz="2000" b="1" dirty="0" err="1" smtClean="0">
                <a:solidFill>
                  <a:srgbClr val="C00000"/>
                </a:solidFill>
                <a:latin typeface="Arial"/>
              </a:rPr>
              <a:t>Nanotecnologi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)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Economi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Verde (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Energi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Renovável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,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Biodiversidade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,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Mudança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Climática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,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Oceano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e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Zona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Costeira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)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C,T&amp;I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par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o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Desenvolviment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Social (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Popularizaçã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da C,T&amp;I,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Melhori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do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Ensin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de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Ciências,Inclusã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Produtiv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e Social,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Tecnologia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Assistivas,Tecnologia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par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as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Cidade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Sustentávei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)</a:t>
            </a:r>
            <a:r>
              <a:rPr lang="en-US" sz="2000" dirty="0">
                <a:solidFill>
                  <a:srgbClr val="000066"/>
                </a:solidFill>
                <a:latin typeface="Arial"/>
              </a:rPr>
              <a:t>.</a:t>
            </a:r>
            <a:endParaRPr lang="en-US" sz="2000" dirty="0" smtClean="0">
              <a:solidFill>
                <a:srgbClr val="000066"/>
              </a:solidFill>
              <a:latin typeface="Arial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21658" y="1495468"/>
            <a:ext cx="4636076" cy="67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r>
              <a:rPr kumimoji="1" lang="pt-BR" sz="2800" b="1" dirty="0" smtClean="0">
                <a:solidFill>
                  <a:srgbClr val="1E3C78"/>
                </a:solidFill>
                <a:latin typeface="Arial"/>
              </a:rPr>
              <a:t>Programas Prioritários:</a:t>
            </a:r>
            <a:endParaRPr kumimoji="1" lang="pt-BR" sz="2800" b="1" dirty="0">
              <a:solidFill>
                <a:srgbClr val="1E3C78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9353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050" name="Rectangle 2"/>
          <p:cNvSpPr>
            <a:spLocks noChangeArrowheads="1"/>
          </p:cNvSpPr>
          <p:nvPr/>
        </p:nvSpPr>
        <p:spPr bwMode="auto">
          <a:xfrm>
            <a:off x="526474" y="242892"/>
            <a:ext cx="800865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kumimoji="1" lang="pt-BR" sz="3600" b="1" dirty="0" smtClean="0">
                <a:solidFill>
                  <a:srgbClr val="1E3C78"/>
                </a:solidFill>
                <a:latin typeface="Arial"/>
              </a:rPr>
              <a:t>Estratégia Nacional de Ciência, Tecnologia e Inovação 2012-2015</a:t>
            </a:r>
            <a:endParaRPr kumimoji="1" lang="pt-BR" sz="3600" b="1" dirty="0">
              <a:solidFill>
                <a:srgbClr val="1E3C78"/>
              </a:solidFill>
              <a:latin typeface="Arial"/>
            </a:endParaRPr>
          </a:p>
        </p:txBody>
      </p:sp>
      <p:sp>
        <p:nvSpPr>
          <p:cNvPr id="898054" name="Rectangle 6"/>
          <p:cNvSpPr>
            <a:spLocks noChangeArrowheads="1"/>
          </p:cNvSpPr>
          <p:nvPr/>
        </p:nvSpPr>
        <p:spPr bwMode="auto">
          <a:xfrm>
            <a:off x="1640931" y="2144993"/>
            <a:ext cx="4974213" cy="472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457200" indent="-457200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Industri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Químic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Bens de Capital;</a:t>
            </a:r>
          </a:p>
          <a:p>
            <a:pPr marL="457200" indent="-457200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Energi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Elétric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Carvã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Mineral;</a:t>
            </a:r>
          </a:p>
          <a:p>
            <a:pPr marL="457200" indent="-457200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Minerai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Estratégico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Produçã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Agrícol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Sustentável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Recurso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Hídrico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Amazôni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e Semi-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Árid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Pantanal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e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Cerrad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.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21657" y="1495468"/>
            <a:ext cx="5464767" cy="67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r>
              <a:rPr kumimoji="1" lang="pt-BR" sz="2800" b="1" dirty="0" smtClean="0">
                <a:solidFill>
                  <a:srgbClr val="1E3C78"/>
                </a:solidFill>
                <a:latin typeface="Arial"/>
              </a:rPr>
              <a:t>Programas Complementares:</a:t>
            </a:r>
            <a:endParaRPr kumimoji="1" lang="pt-BR" sz="2800" b="1" dirty="0">
              <a:solidFill>
                <a:srgbClr val="1E3C78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3798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050" name="Rectangle 2"/>
          <p:cNvSpPr>
            <a:spLocks noChangeArrowheads="1"/>
          </p:cNvSpPr>
          <p:nvPr/>
        </p:nvSpPr>
        <p:spPr bwMode="auto">
          <a:xfrm>
            <a:off x="526474" y="42860"/>
            <a:ext cx="8008650" cy="814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kumimoji="1" lang="pt-BR" b="1" dirty="0" smtClean="0">
                <a:solidFill>
                  <a:srgbClr val="1E3C78"/>
                </a:solidFill>
                <a:latin typeface="Arial"/>
              </a:rPr>
              <a:t>Estratégia Nacional de Ciência, Tecnologia e Inovação 2012-2015</a:t>
            </a:r>
            <a:endParaRPr kumimoji="1" lang="pt-BR" b="1" dirty="0">
              <a:solidFill>
                <a:srgbClr val="1E3C78"/>
              </a:solidFill>
              <a:latin typeface="Arial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579017" y="866796"/>
            <a:ext cx="5464767" cy="67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kumimoji="1" lang="pt-BR" sz="2800" b="1" dirty="0" err="1" smtClean="0">
                <a:solidFill>
                  <a:srgbClr val="800000"/>
                </a:solidFill>
                <a:latin typeface="Arial"/>
              </a:rPr>
              <a:t>Macrometas</a:t>
            </a:r>
            <a:r>
              <a:rPr kumimoji="1" lang="pt-BR" sz="2800" b="1" dirty="0" smtClean="0">
                <a:solidFill>
                  <a:srgbClr val="800000"/>
                </a:solidFill>
                <a:latin typeface="Arial"/>
              </a:rPr>
              <a:t> para 2014</a:t>
            </a:r>
            <a:endParaRPr kumimoji="1" lang="pt-BR" sz="2800" b="1" dirty="0">
              <a:solidFill>
                <a:srgbClr val="800000"/>
              </a:solidFill>
              <a:latin typeface="Arial"/>
            </a:endParaRPr>
          </a:p>
        </p:txBody>
      </p:sp>
      <p:sp>
        <p:nvSpPr>
          <p:cNvPr id="11" name="AutoShape 20"/>
          <p:cNvSpPr>
            <a:spLocks noChangeArrowheads="1"/>
          </p:cNvSpPr>
          <p:nvPr/>
        </p:nvSpPr>
        <p:spPr bwMode="auto">
          <a:xfrm>
            <a:off x="4710113" y="1552816"/>
            <a:ext cx="4325937" cy="1527175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2. Elevar dispêndio empresarial em P&amp;D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(compartilhada com o Plano Brasil Maior)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P&amp;D empresarial/PIB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Meta 2014: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 pitchFamily="34" charset="0"/>
              </a:rPr>
              <a:t> 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itchFamily="34" charset="0"/>
              </a:rPr>
              <a:t>0,90%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Posição  2010: 0,56%</a:t>
            </a:r>
          </a:p>
        </p:txBody>
      </p:sp>
      <p:sp>
        <p:nvSpPr>
          <p:cNvPr id="12" name="AutoShape 20"/>
          <p:cNvSpPr>
            <a:spLocks noChangeArrowheads="1"/>
          </p:cNvSpPr>
          <p:nvPr/>
        </p:nvSpPr>
        <p:spPr bwMode="auto">
          <a:xfrm>
            <a:off x="141288" y="1554403"/>
            <a:ext cx="4392612" cy="1525588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1. Elevar dispêndio nacional em P&amp;D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P&amp;D nacional/PIB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Meta 2014: 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itchFamily="34" charset="0"/>
              </a:rPr>
              <a:t>1,80%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Posição  2010: </a:t>
            </a: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1,16%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Corbe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/>
        </p:nvSpPr>
        <p:spPr bwMode="auto">
          <a:xfrm>
            <a:off x="136525" y="3237153"/>
            <a:ext cx="4392613" cy="1547813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000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3. Aumentar a taxa de inovação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Meta 2014: 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itchFamily="34" charset="0"/>
              </a:rPr>
              <a:t>48,6%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Posição 2008: 38,6 % (PINTEC)</a:t>
            </a:r>
          </a:p>
        </p:txBody>
      </p:sp>
      <p:sp>
        <p:nvSpPr>
          <p:cNvPr id="14" name="AutoShape 20"/>
          <p:cNvSpPr>
            <a:spLocks noChangeArrowheads="1"/>
          </p:cNvSpPr>
          <p:nvPr/>
        </p:nvSpPr>
        <p:spPr bwMode="auto">
          <a:xfrm>
            <a:off x="4673600" y="3238741"/>
            <a:ext cx="4392613" cy="1547812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4. Aumentar o número de empresas que fazem P&amp;D contínuo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Meta 2014: 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itchFamily="34" charset="0"/>
              </a:rPr>
              <a:t>5.000 empresas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Posição 2008: 3.425 empresas (PINTEC, excluindo as instituições governamentais de P&amp;D)</a:t>
            </a:r>
          </a:p>
        </p:txBody>
      </p:sp>
      <p:sp>
        <p:nvSpPr>
          <p:cNvPr id="15" name="AutoShape 20"/>
          <p:cNvSpPr>
            <a:spLocks noChangeArrowheads="1"/>
          </p:cNvSpPr>
          <p:nvPr/>
        </p:nvSpPr>
        <p:spPr bwMode="auto">
          <a:xfrm>
            <a:off x="133350" y="4915141"/>
            <a:ext cx="4392613" cy="1857375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5. Aumentar o percentual de empresas inovadoras que utilizam ao menos um dos diferentes instrumentos de apoio governamental à Inovação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Meta 2014: 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itchFamily="34" charset="0"/>
              </a:rPr>
              <a:t>30%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Posição 2010: 22,3</a:t>
            </a: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% (PINTEC) </a:t>
            </a:r>
            <a:r>
              <a: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 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Corbel" pitchFamily="34" charset="0"/>
            </a:endParaRPr>
          </a:p>
        </p:txBody>
      </p:sp>
      <p:sp>
        <p:nvSpPr>
          <p:cNvPr id="16" name="AutoShape 20"/>
          <p:cNvSpPr>
            <a:spLocks noChangeArrowheads="1"/>
          </p:cNvSpPr>
          <p:nvPr/>
        </p:nvSpPr>
        <p:spPr bwMode="auto">
          <a:xfrm>
            <a:off x="4668838" y="4923078"/>
            <a:ext cx="4392612" cy="1857375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6. Aumentar o número de bolsas do CNPq em todas as modalidad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Meta 2014: 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bel" pitchFamily="34" charset="0"/>
              </a:rPr>
              <a:t>120.000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orbel" pitchFamily="34" charset="0"/>
              </a:rPr>
              <a:t>Posição 2010: 84.000 </a:t>
            </a:r>
          </a:p>
        </p:txBody>
      </p:sp>
    </p:spTree>
    <p:extLst>
      <p:ext uri="{BB962C8B-B14F-4D97-AF65-F5344CB8AC3E}">
        <p14:creationId xmlns:p14="http://schemas.microsoft.com/office/powerpoint/2010/main" val="668512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3"/>
          <p:cNvSpPr txBox="1">
            <a:spLocks/>
          </p:cNvSpPr>
          <p:nvPr/>
        </p:nvSpPr>
        <p:spPr bwMode="auto">
          <a:xfrm>
            <a:off x="684213" y="1341438"/>
            <a:ext cx="8064500" cy="511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sz="3200" smtClean="0">
              <a:solidFill>
                <a:prstClr val="black"/>
              </a:solidFill>
            </a:endParaRPr>
          </a:p>
        </p:txBody>
      </p:sp>
      <p:grpSp>
        <p:nvGrpSpPr>
          <p:cNvPr id="9220" name="Group 7"/>
          <p:cNvGrpSpPr>
            <a:grpSpLocks/>
          </p:cNvGrpSpPr>
          <p:nvPr/>
        </p:nvGrpSpPr>
        <p:grpSpPr bwMode="auto">
          <a:xfrm>
            <a:off x="114300" y="42863"/>
            <a:ext cx="8926513" cy="461962"/>
            <a:chOff x="72" y="27"/>
            <a:chExt cx="5623" cy="291"/>
          </a:xfrm>
        </p:grpSpPr>
        <p:sp>
          <p:nvSpPr>
            <p:cNvPr id="9223" name="Text Box 4"/>
            <p:cNvSpPr txBox="1">
              <a:spLocks noChangeArrowheads="1"/>
            </p:cNvSpPr>
            <p:nvPr/>
          </p:nvSpPr>
          <p:spPr bwMode="auto">
            <a:xfrm>
              <a:off x="3379" y="82"/>
              <a:ext cx="23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/>
              <a:r>
                <a:rPr lang="pt-BR" sz="1200" b="1" smtClean="0">
                  <a:solidFill>
                    <a:srgbClr val="000099"/>
                  </a:solidFill>
                  <a:latin typeface="Verdana" pitchFamily="34" charset="0"/>
                </a:rPr>
                <a:t>Ministério da Ciência e Tecnologia                   </a:t>
              </a:r>
            </a:p>
          </p:txBody>
        </p:sp>
        <p:sp>
          <p:nvSpPr>
            <p:cNvPr id="9224" name="Line 5"/>
            <p:cNvSpPr>
              <a:spLocks noChangeShapeType="1"/>
            </p:cNvSpPr>
            <p:nvPr/>
          </p:nvSpPr>
          <p:spPr bwMode="auto">
            <a:xfrm>
              <a:off x="957" y="318"/>
              <a:ext cx="4717" cy="0"/>
            </a:xfrm>
            <a:prstGeom prst="line">
              <a:avLst/>
            </a:prstGeom>
            <a:noFill/>
            <a:ln w="1905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Arial" charset="0"/>
              </a:endParaRPr>
            </a:p>
          </p:txBody>
        </p:sp>
        <p:pic>
          <p:nvPicPr>
            <p:cNvPr id="9225" name="Picture 10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" y="27"/>
              <a:ext cx="858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221" name="Título 1"/>
          <p:cNvSpPr txBox="1">
            <a:spLocks/>
          </p:cNvSpPr>
          <p:nvPr/>
        </p:nvSpPr>
        <p:spPr bwMode="auto">
          <a:xfrm>
            <a:off x="457200" y="706686"/>
            <a:ext cx="8229600" cy="1426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pt-BR" sz="3200" b="1" dirty="0" smtClean="0">
                <a:solidFill>
                  <a:srgbClr val="FF0000"/>
                </a:solidFill>
                <a:latin typeface="Calibri" pitchFamily="34" charset="0"/>
              </a:rPr>
              <a:t>Objetivo pró Inovação:</a:t>
            </a:r>
            <a:r>
              <a:rPr lang="pt-BR" sz="3200" b="1" dirty="0" smtClean="0">
                <a:solidFill>
                  <a:prstClr val="black"/>
                </a:solidFill>
                <a:latin typeface="Calibri" pitchFamily="34" charset="0"/>
              </a:rPr>
              <a:t> </a:t>
            </a: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articulação das demandas empresariais via a </a:t>
            </a:r>
            <a:r>
              <a:rPr lang="pt-BR" sz="2800" b="1" dirty="0" smtClean="0">
                <a:solidFill>
                  <a:srgbClr val="C00000"/>
                </a:solidFill>
                <a:latin typeface="Calibri" pitchFamily="34" charset="0"/>
              </a:rPr>
              <a:t>construção de pontes </a:t>
            </a: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entre a academia e o setor produtivo.</a:t>
            </a:r>
          </a:p>
        </p:txBody>
      </p:sp>
      <p:sp>
        <p:nvSpPr>
          <p:cNvPr id="9222" name="Espaço Reservado para Conteúdo 2"/>
          <p:cNvSpPr txBox="1">
            <a:spLocks/>
          </p:cNvSpPr>
          <p:nvPr/>
        </p:nvSpPr>
        <p:spPr bwMode="auto">
          <a:xfrm>
            <a:off x="277688" y="2565052"/>
            <a:ext cx="8686800" cy="403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8001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Arial" charset="0"/>
              <a:buNone/>
            </a:pPr>
            <a:r>
              <a:rPr lang="pt-BR" sz="2800" b="1" dirty="0" smtClean="0">
                <a:solidFill>
                  <a:srgbClr val="FF0000"/>
                </a:solidFill>
                <a:latin typeface="Calibri" pitchFamily="34" charset="0"/>
              </a:rPr>
              <a:t>Ações Estruturantes:</a:t>
            </a:r>
          </a:p>
          <a:p>
            <a:pPr marL="900113" indent="-363538">
              <a:spcBef>
                <a:spcPct val="20000"/>
              </a:spcBef>
              <a:buFont typeface="Arial" charset="0"/>
              <a:buAutoNum type="arabicPeriod"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SIBRATEC (Finep) e EMBRAPII (CNI/SENAI, IPT, INT).</a:t>
            </a:r>
          </a:p>
          <a:p>
            <a:pPr marL="900113" indent="-363538">
              <a:spcBef>
                <a:spcPct val="20000"/>
              </a:spcBef>
              <a:buFont typeface="Arial" charset="0"/>
              <a:buAutoNum type="arabicPeriod"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Pró-Inova (MEI/CNI)</a:t>
            </a:r>
          </a:p>
          <a:p>
            <a:pPr marL="900113" indent="-363538">
              <a:spcBef>
                <a:spcPct val="20000"/>
              </a:spcBef>
              <a:buFont typeface="Arial" charset="0"/>
              <a:buAutoNum type="arabicPeriod"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RHAE (CNPQ) e RH (IEL e outros)</a:t>
            </a:r>
          </a:p>
          <a:p>
            <a:pPr marL="900113" indent="-363538">
              <a:spcBef>
                <a:spcPct val="20000"/>
              </a:spcBef>
              <a:buFont typeface="Arial" charset="0"/>
              <a:buAutoNum type="arabicPeriod"/>
            </a:pPr>
            <a:r>
              <a:rPr lang="pt-BR" sz="2800" dirty="0" err="1" smtClean="0">
                <a:solidFill>
                  <a:prstClr val="black"/>
                </a:solidFill>
                <a:latin typeface="Calibri" pitchFamily="34" charset="0"/>
              </a:rPr>
              <a:t>RECyT</a:t>
            </a: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 e demais colaborações internacionais.</a:t>
            </a:r>
          </a:p>
          <a:p>
            <a:pPr marL="900113" indent="-363538">
              <a:spcBef>
                <a:spcPct val="20000"/>
              </a:spcBef>
              <a:buFont typeface="Arial" charset="0"/>
              <a:buAutoNum type="arabicPeriod"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NIT</a:t>
            </a:r>
          </a:p>
          <a:p>
            <a:pPr marL="900113" indent="-363538">
              <a:spcBef>
                <a:spcPct val="20000"/>
              </a:spcBef>
              <a:buFont typeface="Arial" charset="0"/>
              <a:buAutoNum type="arabicPeriod"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PI (GTA-PI)                                               (continua....)</a:t>
            </a:r>
          </a:p>
          <a:p>
            <a:pPr lvl="1">
              <a:spcBef>
                <a:spcPct val="20000"/>
              </a:spcBef>
              <a:buFont typeface="Arial" charset="0"/>
              <a:buAutoNum type="arabicPeriod"/>
            </a:pPr>
            <a:endParaRPr lang="pt-BR" sz="28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018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 bwMode="auto">
          <a:xfrm>
            <a:off x="0" y="274638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t-BR" sz="4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243" name="Rectangle 3"/>
          <p:cNvSpPr txBox="1">
            <a:spLocks/>
          </p:cNvSpPr>
          <p:nvPr/>
        </p:nvSpPr>
        <p:spPr bwMode="auto">
          <a:xfrm>
            <a:off x="684213" y="1341438"/>
            <a:ext cx="8064500" cy="511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sz="3200" smtClean="0">
              <a:solidFill>
                <a:prstClr val="black"/>
              </a:solidFill>
            </a:endParaRPr>
          </a:p>
        </p:txBody>
      </p:sp>
      <p:grpSp>
        <p:nvGrpSpPr>
          <p:cNvPr id="10244" name="Group 7"/>
          <p:cNvGrpSpPr>
            <a:grpSpLocks/>
          </p:cNvGrpSpPr>
          <p:nvPr/>
        </p:nvGrpSpPr>
        <p:grpSpPr bwMode="auto">
          <a:xfrm>
            <a:off x="114300" y="42863"/>
            <a:ext cx="8926513" cy="461962"/>
            <a:chOff x="72" y="27"/>
            <a:chExt cx="5623" cy="291"/>
          </a:xfrm>
        </p:grpSpPr>
        <p:sp>
          <p:nvSpPr>
            <p:cNvPr id="10247" name="Text Box 4"/>
            <p:cNvSpPr txBox="1">
              <a:spLocks noChangeArrowheads="1"/>
            </p:cNvSpPr>
            <p:nvPr/>
          </p:nvSpPr>
          <p:spPr bwMode="auto">
            <a:xfrm>
              <a:off x="3379" y="82"/>
              <a:ext cx="23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/>
              <a:r>
                <a:rPr lang="pt-BR" sz="1200" b="1" smtClean="0">
                  <a:solidFill>
                    <a:srgbClr val="000099"/>
                  </a:solidFill>
                  <a:latin typeface="Verdana" pitchFamily="34" charset="0"/>
                </a:rPr>
                <a:t>Ministério da Ciência e Tecnologia                   </a:t>
              </a:r>
            </a:p>
          </p:txBody>
        </p:sp>
        <p:sp>
          <p:nvSpPr>
            <p:cNvPr id="10248" name="Line 5"/>
            <p:cNvSpPr>
              <a:spLocks noChangeShapeType="1"/>
            </p:cNvSpPr>
            <p:nvPr/>
          </p:nvSpPr>
          <p:spPr bwMode="auto">
            <a:xfrm>
              <a:off x="957" y="318"/>
              <a:ext cx="4717" cy="0"/>
            </a:xfrm>
            <a:prstGeom prst="line">
              <a:avLst/>
            </a:prstGeom>
            <a:noFill/>
            <a:ln w="1905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Arial" charset="0"/>
              </a:endParaRPr>
            </a:p>
          </p:txBody>
        </p:sp>
        <p:pic>
          <p:nvPicPr>
            <p:cNvPr id="10249" name="Picture 10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" y="27"/>
              <a:ext cx="858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245" name="Título 1"/>
          <p:cNvSpPr txBox="1">
            <a:spLocks/>
          </p:cNvSpPr>
          <p:nvPr/>
        </p:nvSpPr>
        <p:spPr bwMode="auto">
          <a:xfrm>
            <a:off x="144016" y="863649"/>
            <a:ext cx="6444208" cy="693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3200" b="1" dirty="0" smtClean="0">
                <a:solidFill>
                  <a:srgbClr val="FF0000"/>
                </a:solidFill>
                <a:latin typeface="Calibri" pitchFamily="34" charset="0"/>
              </a:rPr>
              <a:t>Ações estruturantes (continuação):</a:t>
            </a:r>
            <a:endParaRPr lang="pt-BR" sz="3200" b="1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0246" name="Espaço Reservado para Conteúdo 2"/>
          <p:cNvSpPr txBox="1">
            <a:spLocks/>
          </p:cNvSpPr>
          <p:nvPr/>
        </p:nvSpPr>
        <p:spPr bwMode="auto">
          <a:xfrm>
            <a:off x="287783" y="1844402"/>
            <a:ext cx="8748713" cy="4824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8001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623888" indent="-174625">
              <a:spcBef>
                <a:spcPct val="20000"/>
              </a:spcBef>
              <a:buFont typeface="Arial" charset="0"/>
              <a:buNone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07. PNI  </a:t>
            </a:r>
          </a:p>
          <a:p>
            <a:pPr marL="623888" indent="-174625">
              <a:spcBef>
                <a:spcPct val="20000"/>
              </a:spcBef>
              <a:buFont typeface="Arial" charset="0"/>
              <a:buNone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08. Marco Legal </a:t>
            </a:r>
          </a:p>
          <a:p>
            <a:pPr marL="623888" indent="-174625">
              <a:spcBef>
                <a:spcPct val="20000"/>
              </a:spcBef>
              <a:buFont typeface="Arial" charset="0"/>
              <a:buNone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	          </a:t>
            </a:r>
            <a:r>
              <a:rPr lang="pt-BR" dirty="0" smtClean="0">
                <a:solidFill>
                  <a:prstClr val="black"/>
                </a:solidFill>
                <a:latin typeface="Calibri" pitchFamily="34" charset="0"/>
              </a:rPr>
              <a:t>CTI (Lei de Inovação/Lei do Bem)</a:t>
            </a:r>
          </a:p>
          <a:p>
            <a:pPr marL="623888" indent="-174625">
              <a:spcBef>
                <a:spcPct val="20000"/>
              </a:spcBef>
              <a:buFont typeface="Arial" charset="0"/>
              <a:buNone/>
            </a:pPr>
            <a:r>
              <a:rPr lang="pt-BR" dirty="0" smtClean="0">
                <a:solidFill>
                  <a:prstClr val="black"/>
                </a:solidFill>
                <a:latin typeface="Calibri" pitchFamily="34" charset="0"/>
              </a:rPr>
              <a:t>		       Lei Rouanet da C,T&amp;I	</a:t>
            </a:r>
          </a:p>
          <a:p>
            <a:pPr marL="623888" lvl="1" indent="-174625">
              <a:spcBef>
                <a:spcPct val="20000"/>
              </a:spcBef>
              <a:buFont typeface="Arial" charset="0"/>
              <a:buNone/>
            </a:pPr>
            <a:r>
              <a:rPr lang="pt-BR" dirty="0" smtClean="0">
                <a:solidFill>
                  <a:prstClr val="black"/>
                </a:solidFill>
                <a:latin typeface="Calibri" pitchFamily="34" charset="0"/>
              </a:rPr>
              <a:t>              Poder de Compra etc.</a:t>
            </a:r>
          </a:p>
          <a:p>
            <a:pPr marL="623888" indent="-174625">
              <a:spcBef>
                <a:spcPct val="20000"/>
              </a:spcBef>
              <a:buFont typeface="Arial" charset="0"/>
              <a:buNone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09. Incentivos Fiscais (875 empresas)</a:t>
            </a:r>
          </a:p>
          <a:p>
            <a:pPr marL="623888" indent="-174625">
              <a:spcBef>
                <a:spcPct val="20000"/>
              </a:spcBef>
              <a:buFont typeface="Arial" charset="0"/>
              <a:buNone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10. Nanotecnologias e Novos Materiais</a:t>
            </a:r>
          </a:p>
          <a:p>
            <a:pPr marL="623888" indent="-174625">
              <a:spcBef>
                <a:spcPct val="20000"/>
              </a:spcBef>
              <a:buFont typeface="Arial" charset="0"/>
              <a:buNone/>
            </a:pP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11. Tecnologias Setoriais – Energia, Mineral, Biodiesel</a:t>
            </a:r>
          </a:p>
          <a:p>
            <a:pPr marL="623888" indent="-174625">
              <a:spcBef>
                <a:spcPct val="20000"/>
              </a:spcBef>
              <a:buFont typeface="Arial" charset="0"/>
              <a:buNone/>
            </a:pPr>
            <a:r>
              <a:rPr lang="pt-BR" sz="2800" dirty="0">
                <a:solidFill>
                  <a:prstClr val="black"/>
                </a:solidFill>
                <a:latin typeface="Calibri" pitchFamily="34" charset="0"/>
              </a:rPr>
              <a:t> </a:t>
            </a:r>
            <a:r>
              <a:rPr lang="pt-BR" sz="2800" dirty="0" smtClean="0">
                <a:solidFill>
                  <a:prstClr val="black"/>
                </a:solidFill>
                <a:latin typeface="Calibri" pitchFamily="34" charset="0"/>
              </a:rPr>
              <a:t>                                                                          	etc.</a:t>
            </a:r>
          </a:p>
          <a:p>
            <a:pPr lvl="1">
              <a:spcBef>
                <a:spcPct val="20000"/>
              </a:spcBef>
              <a:buFont typeface="Arial" charset="0"/>
              <a:buAutoNum type="arabicPeriod"/>
            </a:pPr>
            <a:endParaRPr lang="pt-BR" sz="28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078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aixaDeTexto 22"/>
          <p:cNvSpPr txBox="1"/>
          <p:nvPr/>
        </p:nvSpPr>
        <p:spPr>
          <a:xfrm>
            <a:off x="1619672" y="1052736"/>
            <a:ext cx="6256136" cy="6133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sz="2200" b="1" dirty="0" smtClean="0">
                <a:solidFill>
                  <a:srgbClr val="002060"/>
                </a:solidFill>
              </a:rPr>
              <a:t>SBRT: </a:t>
            </a:r>
            <a:r>
              <a:rPr lang="en-US" sz="2200" b="1" dirty="0" err="1" smtClean="0">
                <a:solidFill>
                  <a:srgbClr val="002060"/>
                </a:solidFill>
              </a:rPr>
              <a:t>Sistema</a:t>
            </a:r>
            <a:r>
              <a:rPr lang="en-US" sz="2200" b="1" dirty="0" smtClean="0">
                <a:solidFill>
                  <a:srgbClr val="002060"/>
                </a:solidFill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</a:rPr>
              <a:t>Brasileiro</a:t>
            </a:r>
            <a:r>
              <a:rPr lang="en-US" sz="2200" b="1" dirty="0" smtClean="0">
                <a:solidFill>
                  <a:srgbClr val="002060"/>
                </a:solidFill>
              </a:rPr>
              <a:t> de </a:t>
            </a:r>
            <a:r>
              <a:rPr lang="en-US" sz="2200" b="1" dirty="0" err="1" smtClean="0">
                <a:solidFill>
                  <a:srgbClr val="002060"/>
                </a:solidFill>
              </a:rPr>
              <a:t>Respostas</a:t>
            </a:r>
            <a:r>
              <a:rPr lang="en-US" sz="2200" b="1" dirty="0" smtClean="0">
                <a:solidFill>
                  <a:srgbClr val="002060"/>
                </a:solidFill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</a:rPr>
              <a:t>Técnicas</a:t>
            </a:r>
            <a:endParaRPr lang="en-US" sz="2200" b="1" dirty="0" smtClean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sz="2200" b="1" dirty="0" smtClean="0">
                <a:solidFill>
                  <a:srgbClr val="002060"/>
                </a:solidFill>
              </a:rPr>
              <a:t>SIBRATEC:</a:t>
            </a:r>
          </a:p>
          <a:p>
            <a:pPr marL="879475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200" b="1" dirty="0">
                <a:solidFill>
                  <a:srgbClr val="002060"/>
                </a:solidFill>
              </a:rPr>
              <a:t>	</a:t>
            </a:r>
            <a:r>
              <a:rPr lang="en-US" sz="2200" b="1" dirty="0" err="1" smtClean="0">
                <a:solidFill>
                  <a:srgbClr val="002060"/>
                </a:solidFill>
              </a:rPr>
              <a:t>Serviços</a:t>
            </a:r>
            <a:r>
              <a:rPr lang="en-US" sz="2200" b="1" dirty="0" smtClean="0">
                <a:solidFill>
                  <a:srgbClr val="002060"/>
                </a:solidFill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</a:rPr>
              <a:t>Tecnológicos</a:t>
            </a:r>
            <a:endParaRPr lang="en-US" sz="2200" b="1" dirty="0" smtClean="0">
              <a:solidFill>
                <a:srgbClr val="002060"/>
              </a:solidFill>
            </a:endParaRPr>
          </a:p>
          <a:p>
            <a:pPr marL="879475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200" b="1" dirty="0">
                <a:solidFill>
                  <a:srgbClr val="002060"/>
                </a:solidFill>
              </a:rPr>
              <a:t>	</a:t>
            </a:r>
            <a:r>
              <a:rPr lang="en-US" sz="2200" b="1" dirty="0" err="1" smtClean="0">
                <a:solidFill>
                  <a:srgbClr val="002060"/>
                </a:solidFill>
              </a:rPr>
              <a:t>Extensão</a:t>
            </a:r>
            <a:r>
              <a:rPr lang="en-US" sz="2200" b="1" dirty="0" smtClean="0">
                <a:solidFill>
                  <a:srgbClr val="002060"/>
                </a:solidFill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</a:rPr>
              <a:t>Tecnológica</a:t>
            </a:r>
            <a:endParaRPr lang="en-US" sz="2200" b="1" dirty="0" smtClean="0">
              <a:solidFill>
                <a:srgbClr val="002060"/>
              </a:solidFill>
            </a:endParaRPr>
          </a:p>
          <a:p>
            <a:pPr marL="879475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200" b="1" dirty="0">
                <a:solidFill>
                  <a:srgbClr val="002060"/>
                </a:solidFill>
              </a:rPr>
              <a:t>	</a:t>
            </a:r>
            <a:r>
              <a:rPr lang="en-US" sz="2200" b="1" dirty="0" err="1" smtClean="0">
                <a:solidFill>
                  <a:srgbClr val="002060"/>
                </a:solidFill>
              </a:rPr>
              <a:t>Centros</a:t>
            </a:r>
            <a:r>
              <a:rPr lang="en-US" sz="2200" b="1" dirty="0" smtClean="0">
                <a:solidFill>
                  <a:srgbClr val="002060"/>
                </a:solidFill>
              </a:rPr>
              <a:t> de </a:t>
            </a:r>
            <a:r>
              <a:rPr lang="en-US" sz="2200" b="1" dirty="0" err="1" smtClean="0">
                <a:solidFill>
                  <a:srgbClr val="002060"/>
                </a:solidFill>
              </a:rPr>
              <a:t>Inovação</a:t>
            </a:r>
            <a:endParaRPr lang="en-US" sz="2200" b="1" dirty="0" smtClean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sz="2200" b="1" dirty="0" smtClean="0">
                <a:solidFill>
                  <a:srgbClr val="002060"/>
                </a:solidFill>
              </a:rPr>
              <a:t>EMBRAPII:</a:t>
            </a:r>
          </a:p>
          <a:p>
            <a:pPr marL="879475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200" b="1" dirty="0">
                <a:solidFill>
                  <a:srgbClr val="002060"/>
                </a:solidFill>
              </a:rPr>
              <a:t>	INT – </a:t>
            </a:r>
            <a:r>
              <a:rPr lang="en-US" sz="2200" b="1" dirty="0" err="1">
                <a:solidFill>
                  <a:srgbClr val="002060"/>
                </a:solidFill>
              </a:rPr>
              <a:t>Energia</a:t>
            </a:r>
            <a:r>
              <a:rPr lang="en-US" sz="2200" b="1" dirty="0">
                <a:solidFill>
                  <a:srgbClr val="002060"/>
                </a:solidFill>
              </a:rPr>
              <a:t> e </a:t>
            </a:r>
            <a:r>
              <a:rPr lang="en-US" sz="2200" b="1" dirty="0" err="1">
                <a:solidFill>
                  <a:srgbClr val="002060"/>
                </a:solidFill>
              </a:rPr>
              <a:t>Saúde</a:t>
            </a:r>
            <a:endParaRPr lang="en-US" sz="2200" b="1" dirty="0">
              <a:solidFill>
                <a:srgbClr val="002060"/>
              </a:solidFill>
            </a:endParaRPr>
          </a:p>
          <a:p>
            <a:pPr marL="879475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200" b="1" dirty="0">
                <a:solidFill>
                  <a:srgbClr val="002060"/>
                </a:solidFill>
              </a:rPr>
              <a:t>	IPT – </a:t>
            </a:r>
            <a:r>
              <a:rPr lang="en-US" sz="2200" b="1" dirty="0" err="1">
                <a:solidFill>
                  <a:srgbClr val="002060"/>
                </a:solidFill>
              </a:rPr>
              <a:t>Nanobiomanufatura</a:t>
            </a:r>
            <a:endParaRPr lang="en-US" sz="2200" b="1" dirty="0">
              <a:solidFill>
                <a:srgbClr val="002060"/>
              </a:solidFill>
            </a:endParaRPr>
          </a:p>
          <a:p>
            <a:pPr marL="879475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200" b="1" dirty="0">
                <a:solidFill>
                  <a:srgbClr val="002060"/>
                </a:solidFill>
              </a:rPr>
              <a:t>	SENAI/CIMATEC – </a:t>
            </a:r>
            <a:r>
              <a:rPr lang="en-US" sz="2200" b="1" dirty="0" err="1">
                <a:solidFill>
                  <a:srgbClr val="002060"/>
                </a:solidFill>
              </a:rPr>
              <a:t>Automação</a:t>
            </a:r>
            <a:r>
              <a:rPr lang="en-US" sz="2200" b="1" dirty="0">
                <a:solidFill>
                  <a:srgbClr val="002060"/>
                </a:solidFill>
              </a:rPr>
              <a:t> e </a:t>
            </a:r>
            <a:r>
              <a:rPr lang="en-US" sz="2200" b="1" dirty="0" err="1" smtClean="0">
                <a:solidFill>
                  <a:srgbClr val="002060"/>
                </a:solidFill>
              </a:rPr>
              <a:t>Manufatura</a:t>
            </a:r>
            <a:endParaRPr lang="en-US" sz="2200" b="1" dirty="0" smtClean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sz="2200" b="1" dirty="0" err="1">
                <a:solidFill>
                  <a:srgbClr val="002060"/>
                </a:solidFill>
              </a:rPr>
              <a:t>Incubadoras</a:t>
            </a:r>
            <a:r>
              <a:rPr lang="en-US" sz="2200" b="1" dirty="0">
                <a:solidFill>
                  <a:srgbClr val="002060"/>
                </a:solidFill>
              </a:rPr>
              <a:t> de </a:t>
            </a:r>
            <a:r>
              <a:rPr lang="en-US" sz="2200" b="1" dirty="0" err="1">
                <a:solidFill>
                  <a:srgbClr val="002060"/>
                </a:solidFill>
              </a:rPr>
              <a:t>Empresas</a:t>
            </a:r>
            <a:endParaRPr lang="en-US" sz="2200" b="1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sz="2200" b="1" dirty="0" err="1">
                <a:solidFill>
                  <a:srgbClr val="002060"/>
                </a:solidFill>
              </a:rPr>
              <a:t>Parques</a:t>
            </a:r>
            <a:r>
              <a:rPr lang="en-US" sz="2200" b="1" dirty="0">
                <a:solidFill>
                  <a:srgbClr val="002060"/>
                </a:solidFill>
              </a:rPr>
              <a:t> </a:t>
            </a:r>
            <a:r>
              <a:rPr lang="en-US" sz="2200" b="1" dirty="0" err="1">
                <a:solidFill>
                  <a:srgbClr val="002060"/>
                </a:solidFill>
              </a:rPr>
              <a:t>Tecnológicos</a:t>
            </a:r>
            <a:endParaRPr lang="en-US" sz="2200" b="1" dirty="0">
              <a:solidFill>
                <a:srgbClr val="002060"/>
              </a:solidFill>
            </a:endParaRPr>
          </a:p>
          <a:p>
            <a:pPr marL="879475" indent="-342900">
              <a:lnSpc>
                <a:spcPct val="150000"/>
              </a:lnSpc>
              <a:buFont typeface="Wingdings" pitchFamily="2" charset="2"/>
              <a:buChar char="§"/>
            </a:pPr>
            <a:endParaRPr lang="pt-BR" sz="2200" b="1" dirty="0">
              <a:solidFill>
                <a:srgbClr val="002060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5576" y="188640"/>
            <a:ext cx="7128792" cy="7078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 smtClean="0">
                <a:solidFill>
                  <a:prstClr val="black"/>
                </a:solidFill>
              </a:rPr>
              <a:t>SERVIÇOS TECNOLÓGICOS</a:t>
            </a:r>
            <a:endParaRPr lang="pt-BR" sz="40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458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1" descr="Pergaminho"/>
          <p:cNvSpPr>
            <a:spLocks noChangeArrowheads="1"/>
          </p:cNvSpPr>
          <p:nvPr/>
        </p:nvSpPr>
        <p:spPr bwMode="auto">
          <a:xfrm>
            <a:off x="287720" y="5511506"/>
            <a:ext cx="1761984" cy="76853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>
              <a:latin typeface="Constantia" pitchFamily="18" charset="0"/>
            </a:endParaRPr>
          </a:p>
        </p:txBody>
      </p:sp>
      <p:pic>
        <p:nvPicPr>
          <p:cNvPr id="717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3" y="1052736"/>
            <a:ext cx="8174111" cy="432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6E99">
                      <a:alpha val="50000"/>
                    </a:srgbClr>
                  </a:outerShdw>
                </a:effectLst>
              </a14:hiddenEffects>
            </a:ext>
          </a:extLst>
        </p:spPr>
      </p:pic>
      <p:sp>
        <p:nvSpPr>
          <p:cNvPr id="7173" name="Seta para a esquerda e para a direita 1"/>
          <p:cNvSpPr>
            <a:spLocks noChangeArrowheads="1"/>
          </p:cNvSpPr>
          <p:nvPr/>
        </p:nvSpPr>
        <p:spPr bwMode="auto">
          <a:xfrm>
            <a:off x="6556924" y="4077072"/>
            <a:ext cx="607364" cy="287338"/>
          </a:xfrm>
          <a:prstGeom prst="leftRightArrow">
            <a:avLst>
              <a:gd name="adj1" fmla="val 50000"/>
              <a:gd name="adj2" fmla="val 50092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0" y="404664"/>
            <a:ext cx="9144000" cy="58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5" rIns="91429" bIns="45715">
            <a:spAutoFit/>
          </a:bodyPr>
          <a:lstStyle>
            <a:lvl1pPr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algn="ctr"/>
            <a:r>
              <a:rPr lang="pt-BR" sz="3200" dirty="0">
                <a:solidFill>
                  <a:srgbClr val="336600"/>
                </a:solidFill>
                <a:latin typeface="Impact" pitchFamily="34" charset="0"/>
              </a:rPr>
              <a:t>Cultura da Inovação </a:t>
            </a:r>
            <a:r>
              <a:rPr lang="pt-BR" sz="3200" dirty="0" smtClean="0">
                <a:solidFill>
                  <a:srgbClr val="336600"/>
                </a:solidFill>
                <a:latin typeface="Impact" pitchFamily="34" charset="0"/>
              </a:rPr>
              <a:t>nas Empresas </a:t>
            </a:r>
            <a:r>
              <a:rPr lang="pt-BR" sz="3200" dirty="0">
                <a:solidFill>
                  <a:srgbClr val="336600"/>
                </a:solidFill>
                <a:latin typeface="Impact" pitchFamily="34" charset="0"/>
              </a:rPr>
              <a:t>e na Sociedade</a:t>
            </a:r>
          </a:p>
        </p:txBody>
      </p:sp>
      <p:sp>
        <p:nvSpPr>
          <p:cNvPr id="9" name="Text Box 22"/>
          <p:cNvSpPr txBox="1">
            <a:spLocks noChangeArrowheads="1"/>
          </p:cNvSpPr>
          <p:nvPr/>
        </p:nvSpPr>
        <p:spPr bwMode="auto">
          <a:xfrm>
            <a:off x="287720" y="5559962"/>
            <a:ext cx="1764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30000"/>
              </a:spcBef>
            </a:pPr>
            <a:r>
              <a:rPr lang="pt-BR" sz="1200" b="1" dirty="0" smtClean="0"/>
              <a:t>Ambiente para Empresas de Base Tecnológica </a:t>
            </a:r>
            <a:endParaRPr lang="pt-BR" sz="1200" b="1" dirty="0"/>
          </a:p>
        </p:txBody>
      </p:sp>
      <p:sp>
        <p:nvSpPr>
          <p:cNvPr id="10" name="Rectangle 25"/>
          <p:cNvSpPr>
            <a:spLocks noChangeArrowheads="1"/>
          </p:cNvSpPr>
          <p:nvPr/>
        </p:nvSpPr>
        <p:spPr bwMode="auto">
          <a:xfrm>
            <a:off x="2178644" y="5521828"/>
            <a:ext cx="4625604" cy="7704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>
              <a:latin typeface="Constantia" pitchFamily="18" charset="0"/>
            </a:endParaRPr>
          </a:p>
        </p:txBody>
      </p:sp>
      <p:sp>
        <p:nvSpPr>
          <p:cNvPr id="11" name="Text Box 26"/>
          <p:cNvSpPr txBox="1">
            <a:spLocks noChangeArrowheads="1"/>
          </p:cNvSpPr>
          <p:nvPr/>
        </p:nvSpPr>
        <p:spPr bwMode="auto">
          <a:xfrm>
            <a:off x="2252240" y="5713511"/>
            <a:ext cx="4480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pt-BR" sz="1400" b="1" dirty="0" smtClean="0"/>
              <a:t>PNI - Incubadoras e Parques Tecnológicos </a:t>
            </a:r>
            <a:endParaRPr lang="pt-BR" sz="1400" b="1" dirty="0"/>
          </a:p>
        </p:txBody>
      </p:sp>
      <p:sp>
        <p:nvSpPr>
          <p:cNvPr id="19" name="Rectangle 47"/>
          <p:cNvSpPr>
            <a:spLocks noChangeArrowheads="1"/>
          </p:cNvSpPr>
          <p:nvPr/>
        </p:nvSpPr>
        <p:spPr bwMode="auto">
          <a:xfrm>
            <a:off x="6972891" y="5472418"/>
            <a:ext cx="2089150" cy="8460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>
              <a:latin typeface="Constantia" pitchFamily="18" charset="0"/>
            </a:endParaRPr>
          </a:p>
        </p:txBody>
      </p:sp>
      <p:sp>
        <p:nvSpPr>
          <p:cNvPr id="20" name="Rectangle 48" descr="Papel jornal"/>
          <p:cNvSpPr>
            <a:spLocks noChangeArrowheads="1"/>
          </p:cNvSpPr>
          <p:nvPr/>
        </p:nvSpPr>
        <p:spPr bwMode="auto">
          <a:xfrm>
            <a:off x="6972891" y="5112055"/>
            <a:ext cx="2087563" cy="360363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tl"/>
          </a:blip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>
              <a:latin typeface="Constantia" pitchFamily="18" charset="0"/>
            </a:endParaRPr>
          </a:p>
        </p:txBody>
      </p:sp>
      <p:sp>
        <p:nvSpPr>
          <p:cNvPr id="21" name="Text Box 49"/>
          <p:cNvSpPr txBox="1">
            <a:spLocks noChangeArrowheads="1"/>
          </p:cNvSpPr>
          <p:nvPr/>
        </p:nvSpPr>
        <p:spPr bwMode="auto">
          <a:xfrm>
            <a:off x="7188666" y="5166030"/>
            <a:ext cx="18716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pt-BR" sz="1400" b="1" dirty="0"/>
              <a:t>INSTRUMENTOS</a:t>
            </a:r>
          </a:p>
        </p:txBody>
      </p:sp>
      <p:sp>
        <p:nvSpPr>
          <p:cNvPr id="22" name="Text Box 50"/>
          <p:cNvSpPr txBox="1">
            <a:spLocks noChangeArrowheads="1"/>
          </p:cNvSpPr>
          <p:nvPr/>
        </p:nvSpPr>
        <p:spPr bwMode="auto">
          <a:xfrm>
            <a:off x="6972891" y="5472095"/>
            <a:ext cx="2089150" cy="846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pt-BR" sz="1400" dirty="0" smtClean="0"/>
              <a:t>Crédito da Finep</a:t>
            </a:r>
            <a:endParaRPr lang="pt-BR" sz="1400" dirty="0"/>
          </a:p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pt-BR" sz="1400" dirty="0"/>
              <a:t>Subvenção econômica</a:t>
            </a:r>
          </a:p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pt-BR" sz="1400" dirty="0"/>
              <a:t>Incentivos </a:t>
            </a:r>
            <a:r>
              <a:rPr lang="pt-BR" sz="1400" dirty="0" smtClean="0"/>
              <a:t>fiscais</a:t>
            </a:r>
            <a:endParaRPr lang="pt-BR" sz="1400" dirty="0"/>
          </a:p>
        </p:txBody>
      </p:sp>
      <p:sp>
        <p:nvSpPr>
          <p:cNvPr id="3" name="Seta para a direita 2"/>
          <p:cNvSpPr/>
          <p:nvPr/>
        </p:nvSpPr>
        <p:spPr bwMode="auto">
          <a:xfrm>
            <a:off x="1890612" y="5769288"/>
            <a:ext cx="504056" cy="252000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>
              <a:latin typeface="Constant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8968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98"/>
          <a:stretch/>
        </p:blipFill>
        <p:spPr>
          <a:xfrm>
            <a:off x="539552" y="2927843"/>
            <a:ext cx="4135403" cy="3102581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5992863"/>
            <a:ext cx="757797" cy="757797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1611" y="4014936"/>
            <a:ext cx="931168" cy="931168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6071766"/>
            <a:ext cx="1265463" cy="632732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5630" y="3110061"/>
            <a:ext cx="931168" cy="931168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8339" y="6089638"/>
            <a:ext cx="757797" cy="551297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339" y="5094490"/>
            <a:ext cx="931168" cy="465584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471" y="5085184"/>
            <a:ext cx="1020188" cy="510094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566" y="4014936"/>
            <a:ext cx="931168" cy="931168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280" y="4874096"/>
            <a:ext cx="931168" cy="931168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411" y="3937992"/>
            <a:ext cx="931168" cy="931168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6344" y="3165057"/>
            <a:ext cx="876172" cy="876172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195" y="3064519"/>
            <a:ext cx="1022252" cy="1022252"/>
          </a:xfrm>
          <a:prstGeom prst="rect">
            <a:avLst/>
          </a:prstGeom>
        </p:spPr>
      </p:pic>
      <p:pic>
        <p:nvPicPr>
          <p:cNvPr id="24" name="Imagem 2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5992863"/>
            <a:ext cx="757797" cy="757797"/>
          </a:xfrm>
          <a:prstGeom prst="rect">
            <a:avLst/>
          </a:prstGeom>
        </p:spPr>
      </p:pic>
      <p:sp>
        <p:nvSpPr>
          <p:cNvPr id="25" name="CaixaDeTexto 24"/>
          <p:cNvSpPr txBox="1"/>
          <p:nvPr/>
        </p:nvSpPr>
        <p:spPr>
          <a:xfrm>
            <a:off x="4932039" y="2802414"/>
            <a:ext cx="40301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Provedores de Respostas Técnicas</a:t>
            </a:r>
            <a:endParaRPr lang="pt-BR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4932040" y="5754742"/>
            <a:ext cx="40301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Apoiadores</a:t>
            </a:r>
            <a:endParaRPr lang="pt-BR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Espaço Reservado para Conteúdo 2"/>
          <p:cNvSpPr txBox="1">
            <a:spLocks/>
          </p:cNvSpPr>
          <p:nvPr/>
        </p:nvSpPr>
        <p:spPr>
          <a:xfrm>
            <a:off x="529208" y="6129300"/>
            <a:ext cx="4114800" cy="6120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itchFamily="34" charset="0"/>
              <a:buNone/>
            </a:pPr>
            <a:r>
              <a:rPr lang="pt-BR" sz="1000" dirty="0" smtClean="0">
                <a:solidFill>
                  <a:prstClr val="black"/>
                </a:solidFill>
                <a:hlinkClick r:id="rId16"/>
              </a:rPr>
              <a:t>WWW.RESPOSTATECNICA.ORG.BR</a:t>
            </a:r>
            <a:r>
              <a:rPr lang="pt-BR" sz="1000" dirty="0" smtClean="0">
                <a:solidFill>
                  <a:prstClr val="black"/>
                </a:solidFill>
              </a:rPr>
              <a:t> – estímulo ao conhecimento tecnológico como fator de desenvolvimento dos micro e pequenos empreendimentos.</a:t>
            </a:r>
            <a:endParaRPr lang="pt-BR" sz="1000" dirty="0">
              <a:solidFill>
                <a:prstClr val="black"/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-146578"/>
            <a:ext cx="3198664" cy="1415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052736"/>
            <a:ext cx="8754295" cy="1512168"/>
          </a:xfrm>
        </p:spPr>
        <p:txBody>
          <a:bodyPr>
            <a:noAutofit/>
          </a:bodyPr>
          <a:lstStyle/>
          <a:p>
            <a:pPr algn="just"/>
            <a:r>
              <a:rPr lang="pt-BR" sz="2400" dirty="0" smtClean="0"/>
              <a:t>Fornecer </a:t>
            </a:r>
            <a:r>
              <a:rPr lang="pt-BR" sz="2400" dirty="0"/>
              <a:t>respostas técnicas em atendimento às perguntas postadas no site pelos clientes, apoiando as suas reais necessidades e utilizando intensivamente a </a:t>
            </a:r>
            <a:r>
              <a:rPr lang="pt-BR" sz="2400" dirty="0" smtClean="0"/>
              <a:t>web;</a:t>
            </a:r>
            <a:endParaRPr lang="pt-BR" sz="2400" dirty="0"/>
          </a:p>
          <a:p>
            <a:pPr algn="just"/>
            <a:r>
              <a:rPr lang="pt-BR" sz="2400" dirty="0" smtClean="0"/>
              <a:t>Disseminar informações tecnológicas.</a:t>
            </a: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397543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00" name="Group 34"/>
          <p:cNvGrpSpPr>
            <a:grpSpLocks/>
          </p:cNvGrpSpPr>
          <p:nvPr/>
        </p:nvGrpSpPr>
        <p:grpSpPr bwMode="auto">
          <a:xfrm>
            <a:off x="150605" y="2451819"/>
            <a:ext cx="9004314" cy="3994150"/>
            <a:chOff x="1966" y="1525"/>
            <a:chExt cx="5672" cy="2516"/>
          </a:xfrm>
        </p:grpSpPr>
        <p:grpSp>
          <p:nvGrpSpPr>
            <p:cNvPr id="4102" name="Grupo 29"/>
            <p:cNvGrpSpPr>
              <a:grpSpLocks/>
            </p:cNvGrpSpPr>
            <p:nvPr/>
          </p:nvGrpSpPr>
          <p:grpSpPr bwMode="auto">
            <a:xfrm>
              <a:off x="5920" y="1525"/>
              <a:ext cx="1530" cy="540"/>
              <a:chOff x="10075023" y="2000240"/>
              <a:chExt cx="2428892" cy="857256"/>
            </a:xfrm>
          </p:grpSpPr>
          <p:sp>
            <p:nvSpPr>
              <p:cNvPr id="26" name="Seta para baixo 25"/>
              <p:cNvSpPr/>
              <p:nvPr/>
            </p:nvSpPr>
            <p:spPr>
              <a:xfrm>
                <a:off x="10075023" y="2000240"/>
                <a:ext cx="2428892" cy="857256"/>
              </a:xfrm>
              <a:prstGeom prst="downArrow">
                <a:avLst>
                  <a:gd name="adj1" fmla="val 79188"/>
                  <a:gd name="adj2" fmla="val 53306"/>
                </a:avLst>
              </a:prstGeom>
              <a:gradFill flip="none" rotWithShape="1">
                <a:gsLst>
                  <a:gs pos="0">
                    <a:srgbClr val="0000CC">
                      <a:shade val="30000"/>
                      <a:satMod val="115000"/>
                    </a:srgbClr>
                  </a:gs>
                  <a:gs pos="50000">
                    <a:srgbClr val="0000CC">
                      <a:shade val="67500"/>
                      <a:satMod val="115000"/>
                    </a:srgbClr>
                  </a:gs>
                  <a:gs pos="100000">
                    <a:srgbClr val="0000CC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 eaLnBrk="1" hangingPunct="1">
                  <a:lnSpc>
                    <a:spcPct val="100000"/>
                  </a:lnSpc>
                  <a:buClrTx/>
                  <a:buSzTx/>
                  <a:buFontTx/>
                  <a:buNone/>
                  <a:defRPr/>
                </a:pPr>
                <a:endParaRPr lang="pt-BR" sz="1800"/>
              </a:p>
            </p:txBody>
          </p:sp>
          <p:sp>
            <p:nvSpPr>
              <p:cNvPr id="4119" name="CaixaDeTexto 20"/>
              <p:cNvSpPr txBox="1">
                <a:spLocks noChangeArrowheads="1"/>
              </p:cNvSpPr>
              <p:nvPr/>
            </p:nvSpPr>
            <p:spPr bwMode="auto">
              <a:xfrm>
                <a:off x="10307666" y="2046089"/>
                <a:ext cx="2016235" cy="6463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1pPr>
                <a:lvl2pPr marL="742950" indent="-28575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2pPr>
                <a:lvl3pPr marL="11430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3pPr>
                <a:lvl4pPr marL="16002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4pPr>
                <a:lvl5pPr marL="20574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5pPr>
                <a:lvl6pPr marL="25146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6pPr>
                <a:lvl7pPr marL="29718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7pPr>
                <a:lvl8pPr marL="34290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8pPr>
                <a:lvl9pPr marL="38862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buClrTx/>
                  <a:buSzTx/>
                  <a:buFontTx/>
                  <a:buNone/>
                </a:pPr>
                <a:r>
                  <a:rPr lang="pt-BR" sz="1800" b="1" dirty="0" smtClean="0">
                    <a:cs typeface="Times New Roman" pitchFamily="18" charset="0"/>
                  </a:rPr>
                  <a:t>SITUAÇÃO ATUAL </a:t>
                </a:r>
                <a:endParaRPr lang="pt-BR" sz="1800" b="1" dirty="0">
                  <a:cs typeface="Times New Roman" pitchFamily="18" charset="0"/>
                </a:endParaRPr>
              </a:p>
            </p:txBody>
          </p:sp>
        </p:grpSp>
        <p:grpSp>
          <p:nvGrpSpPr>
            <p:cNvPr id="4103" name="Grupo 22"/>
            <p:cNvGrpSpPr>
              <a:grpSpLocks/>
            </p:cNvGrpSpPr>
            <p:nvPr/>
          </p:nvGrpSpPr>
          <p:grpSpPr bwMode="auto">
            <a:xfrm>
              <a:off x="2103" y="1529"/>
              <a:ext cx="1530" cy="540"/>
              <a:chOff x="928662" y="2071678"/>
              <a:chExt cx="2428892" cy="857256"/>
            </a:xfrm>
          </p:grpSpPr>
          <p:sp>
            <p:nvSpPr>
              <p:cNvPr id="24" name="Seta para baixo 23"/>
              <p:cNvSpPr/>
              <p:nvPr/>
            </p:nvSpPr>
            <p:spPr>
              <a:xfrm>
                <a:off x="928662" y="2071678"/>
                <a:ext cx="2428892" cy="857256"/>
              </a:xfrm>
              <a:prstGeom prst="downArrow">
                <a:avLst>
                  <a:gd name="adj1" fmla="val 79188"/>
                  <a:gd name="adj2" fmla="val 53306"/>
                </a:avLst>
              </a:prstGeom>
              <a:gradFill flip="none" rotWithShape="1">
                <a:gsLst>
                  <a:gs pos="0">
                    <a:srgbClr val="0000CC">
                      <a:shade val="30000"/>
                      <a:satMod val="115000"/>
                    </a:srgbClr>
                  </a:gs>
                  <a:gs pos="50000">
                    <a:srgbClr val="0000CC">
                      <a:shade val="67500"/>
                      <a:satMod val="115000"/>
                    </a:srgbClr>
                  </a:gs>
                  <a:gs pos="100000">
                    <a:srgbClr val="0000CC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 eaLnBrk="1" hangingPunct="1">
                  <a:lnSpc>
                    <a:spcPct val="100000"/>
                  </a:lnSpc>
                  <a:buClrTx/>
                  <a:buSzTx/>
                  <a:buFontTx/>
                  <a:buNone/>
                  <a:defRPr/>
                </a:pPr>
                <a:endParaRPr lang="pt-BR" sz="1800"/>
              </a:p>
            </p:txBody>
          </p:sp>
          <p:sp>
            <p:nvSpPr>
              <p:cNvPr id="4117" name="CaixaDeTexto 24"/>
              <p:cNvSpPr txBox="1">
                <a:spLocks noChangeArrowheads="1"/>
              </p:cNvSpPr>
              <p:nvPr/>
            </p:nvSpPr>
            <p:spPr bwMode="auto">
              <a:xfrm>
                <a:off x="1033438" y="2130416"/>
                <a:ext cx="2214578" cy="3667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1pPr>
                <a:lvl2pPr marL="742950" indent="-28575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2pPr>
                <a:lvl3pPr marL="11430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3pPr>
                <a:lvl4pPr marL="16002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4pPr>
                <a:lvl5pPr marL="20574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5pPr>
                <a:lvl6pPr marL="25146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6pPr>
                <a:lvl7pPr marL="29718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7pPr>
                <a:lvl8pPr marL="34290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8pPr>
                <a:lvl9pPr marL="38862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buClrTx/>
                  <a:buSzTx/>
                  <a:buFontTx/>
                  <a:buNone/>
                </a:pPr>
                <a:r>
                  <a:rPr lang="pt-BR" sz="1800" b="1" dirty="0">
                    <a:cs typeface="Times New Roman" pitchFamily="18" charset="0"/>
                  </a:rPr>
                  <a:t>ORGANIZAÇÃO</a:t>
                </a:r>
              </a:p>
            </p:txBody>
          </p:sp>
        </p:grpSp>
        <p:grpSp>
          <p:nvGrpSpPr>
            <p:cNvPr id="4104" name="Grupo 26"/>
            <p:cNvGrpSpPr>
              <a:grpSpLocks/>
            </p:cNvGrpSpPr>
            <p:nvPr/>
          </p:nvGrpSpPr>
          <p:grpSpPr bwMode="auto">
            <a:xfrm>
              <a:off x="4026" y="1525"/>
              <a:ext cx="1530" cy="540"/>
              <a:chOff x="928662" y="2071678"/>
              <a:chExt cx="2428892" cy="857256"/>
            </a:xfrm>
          </p:grpSpPr>
          <p:sp>
            <p:nvSpPr>
              <p:cNvPr id="28" name="Seta para baixo 27"/>
              <p:cNvSpPr/>
              <p:nvPr/>
            </p:nvSpPr>
            <p:spPr>
              <a:xfrm>
                <a:off x="928662" y="2071678"/>
                <a:ext cx="2428892" cy="857256"/>
              </a:xfrm>
              <a:prstGeom prst="downArrow">
                <a:avLst>
                  <a:gd name="adj1" fmla="val 79188"/>
                  <a:gd name="adj2" fmla="val 53306"/>
                </a:avLst>
              </a:prstGeom>
              <a:gradFill flip="none" rotWithShape="1">
                <a:gsLst>
                  <a:gs pos="0">
                    <a:srgbClr val="0000CC">
                      <a:shade val="30000"/>
                      <a:satMod val="115000"/>
                    </a:srgbClr>
                  </a:gs>
                  <a:gs pos="50000">
                    <a:srgbClr val="0000CC">
                      <a:shade val="67500"/>
                      <a:satMod val="115000"/>
                    </a:srgbClr>
                  </a:gs>
                  <a:gs pos="100000">
                    <a:srgbClr val="0000CC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 eaLnBrk="1" hangingPunct="1">
                  <a:lnSpc>
                    <a:spcPct val="100000"/>
                  </a:lnSpc>
                  <a:buClrTx/>
                  <a:buSzTx/>
                  <a:buFontTx/>
                  <a:buNone/>
                  <a:defRPr/>
                </a:pPr>
                <a:endParaRPr lang="pt-BR" sz="1800"/>
              </a:p>
            </p:txBody>
          </p:sp>
          <p:sp>
            <p:nvSpPr>
              <p:cNvPr id="4115" name="CaixaDeTexto 28"/>
              <p:cNvSpPr txBox="1">
                <a:spLocks noChangeArrowheads="1"/>
              </p:cNvSpPr>
              <p:nvPr/>
            </p:nvSpPr>
            <p:spPr bwMode="auto">
              <a:xfrm>
                <a:off x="1033438" y="2130416"/>
                <a:ext cx="2214578" cy="3667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1pPr>
                <a:lvl2pPr marL="742950" indent="-28575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2pPr>
                <a:lvl3pPr marL="11430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3pPr>
                <a:lvl4pPr marL="16002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4pPr>
                <a:lvl5pPr marL="20574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5pPr>
                <a:lvl6pPr marL="25146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6pPr>
                <a:lvl7pPr marL="29718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7pPr>
                <a:lvl8pPr marL="34290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8pPr>
                <a:lvl9pPr marL="38862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buClrTx/>
                  <a:buSzTx/>
                  <a:buFontTx/>
                  <a:buNone/>
                </a:pPr>
                <a:r>
                  <a:rPr lang="pt-BR" sz="1800" b="1">
                    <a:cs typeface="Times New Roman" pitchFamily="18" charset="0"/>
                  </a:rPr>
                  <a:t>GOVERNANÇA</a:t>
                </a:r>
              </a:p>
            </p:txBody>
          </p:sp>
        </p:grpSp>
        <p:grpSp>
          <p:nvGrpSpPr>
            <p:cNvPr id="4105" name="Group 33"/>
            <p:cNvGrpSpPr>
              <a:grpSpLocks/>
            </p:cNvGrpSpPr>
            <p:nvPr/>
          </p:nvGrpSpPr>
          <p:grpSpPr bwMode="auto">
            <a:xfrm>
              <a:off x="5568" y="2129"/>
              <a:ext cx="2070" cy="1875"/>
              <a:chOff x="5613" y="2129"/>
              <a:chExt cx="2070" cy="1875"/>
            </a:xfrm>
          </p:grpSpPr>
          <p:sp>
            <p:nvSpPr>
              <p:cNvPr id="31" name="Retângulo de cantos arredondados 30"/>
              <p:cNvSpPr/>
              <p:nvPr/>
            </p:nvSpPr>
            <p:spPr>
              <a:xfrm>
                <a:off x="5828" y="2129"/>
                <a:ext cx="1784" cy="1800"/>
              </a:xfrm>
              <a:prstGeom prst="roundRect">
                <a:avLst/>
              </a:prstGeom>
              <a:gradFill flip="none" rotWithShape="1">
                <a:gsLst>
                  <a:gs pos="0">
                    <a:srgbClr val="FFFF00">
                      <a:shade val="30000"/>
                      <a:satMod val="115000"/>
                    </a:srgbClr>
                  </a:gs>
                  <a:gs pos="50000">
                    <a:srgbClr val="FFFF00">
                      <a:shade val="67500"/>
                      <a:satMod val="115000"/>
                    </a:srgbClr>
                  </a:gs>
                  <a:gs pos="100000">
                    <a:srgbClr val="FFFF00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 eaLnBrk="1" hangingPunct="1">
                  <a:lnSpc>
                    <a:spcPct val="100000"/>
                  </a:lnSpc>
                  <a:buClrTx/>
                  <a:buSzTx/>
                  <a:buFontTx/>
                  <a:buNone/>
                  <a:defRPr/>
                </a:pPr>
                <a:endParaRPr lang="pt-BR" sz="1800"/>
              </a:p>
            </p:txBody>
          </p:sp>
          <p:sp>
            <p:nvSpPr>
              <p:cNvPr id="4113" name="CaixaDeTexto 32"/>
              <p:cNvSpPr txBox="1">
                <a:spLocks noChangeArrowheads="1"/>
              </p:cNvSpPr>
              <p:nvPr/>
            </p:nvSpPr>
            <p:spPr bwMode="auto">
              <a:xfrm>
                <a:off x="5613" y="2240"/>
                <a:ext cx="2070" cy="17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1pPr>
                <a:lvl2pPr marL="742950" indent="-28575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2pPr>
                <a:lvl3pPr marL="11430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3pPr>
                <a:lvl4pPr marL="16002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4pPr>
                <a:lvl5pPr marL="20574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5pPr>
                <a:lvl6pPr marL="25146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6pPr>
                <a:lvl7pPr marL="29718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7pPr>
                <a:lvl8pPr marL="34290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8pPr>
                <a:lvl9pPr marL="38862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9pPr>
              </a:lstStyle>
              <a:p>
                <a:pPr marL="449263" indent="-187325">
                  <a:buFont typeface="Wingdings" pitchFamily="2" charset="2"/>
                  <a:buChar char="ü"/>
                </a:pPr>
                <a:r>
                  <a:rPr lang="pt-BR" sz="1600" dirty="0" smtClean="0">
                    <a:solidFill>
                      <a:schemeClr val="tx1"/>
                    </a:solidFill>
                    <a:latin typeface="Arial" charset="0"/>
                  </a:rPr>
                  <a:t>Mais de 4.500 atendimentos  tecnológicos realizados em MPME</a:t>
                </a:r>
              </a:p>
              <a:p>
                <a:pPr marL="449263" indent="-187325">
                  <a:buFont typeface="Wingdings" pitchFamily="2" charset="2"/>
                  <a:buChar char="ü"/>
                </a:pPr>
                <a:endParaRPr lang="pt-BR" sz="800" dirty="0" smtClean="0">
                  <a:solidFill>
                    <a:schemeClr val="tx1"/>
                  </a:solidFill>
                  <a:latin typeface="Arial" charset="0"/>
                </a:endParaRPr>
              </a:p>
              <a:p>
                <a:pPr marL="449263" indent="-187325">
                  <a:buFont typeface="Wingdings" pitchFamily="2" charset="2"/>
                  <a:buChar char="ü"/>
                </a:pPr>
                <a:r>
                  <a:rPr lang="pt-BR" sz="1600" dirty="0" smtClean="0">
                    <a:solidFill>
                      <a:schemeClr val="tx1"/>
                    </a:solidFill>
                    <a:latin typeface="Arial" charset="0"/>
                  </a:rPr>
                  <a:t>Novas competências laboratoriais instaladas no País</a:t>
                </a:r>
              </a:p>
              <a:p>
                <a:pPr marL="449263" indent="-187325">
                  <a:buFont typeface="Wingdings" pitchFamily="2" charset="2"/>
                  <a:buChar char="ü"/>
                </a:pPr>
                <a:endParaRPr lang="pt-BR" sz="800" dirty="0" smtClean="0">
                  <a:solidFill>
                    <a:schemeClr val="tx1"/>
                  </a:solidFill>
                  <a:latin typeface="Arial" charset="0"/>
                </a:endParaRPr>
              </a:p>
              <a:p>
                <a:pPr marL="449263" indent="-187325">
                  <a:buFont typeface="Wingdings" pitchFamily="2" charset="2"/>
                  <a:buChar char="ü"/>
                </a:pPr>
                <a:r>
                  <a:rPr lang="pt-BR" sz="1600" dirty="0" smtClean="0">
                    <a:solidFill>
                      <a:schemeClr val="tx1"/>
                    </a:solidFill>
                    <a:latin typeface="Arial" charset="0"/>
                  </a:rPr>
                  <a:t>Mais de 20 projetos cooperativos entre ICT e empresas em articulação </a:t>
                </a:r>
              </a:p>
              <a:p>
                <a:pPr marL="547688" indent="-285750" defTabSz="914400" eaLnBrk="1" hangingPunct="1">
                  <a:lnSpc>
                    <a:spcPct val="100000"/>
                  </a:lnSpc>
                  <a:buClrTx/>
                  <a:buSzTx/>
                  <a:buFont typeface="Wingdings" pitchFamily="2" charset="2"/>
                  <a:buChar char="ü"/>
                </a:pPr>
                <a:endParaRPr lang="pt-BR" sz="1600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</p:grpSp>
        <p:grpSp>
          <p:nvGrpSpPr>
            <p:cNvPr id="4106" name="Group 32"/>
            <p:cNvGrpSpPr>
              <a:grpSpLocks/>
            </p:cNvGrpSpPr>
            <p:nvPr/>
          </p:nvGrpSpPr>
          <p:grpSpPr bwMode="auto">
            <a:xfrm>
              <a:off x="1966" y="2129"/>
              <a:ext cx="1923" cy="1800"/>
              <a:chOff x="2003" y="2129"/>
              <a:chExt cx="1923" cy="1800"/>
            </a:xfrm>
          </p:grpSpPr>
          <p:sp>
            <p:nvSpPr>
              <p:cNvPr id="42" name="Retângulo de cantos arredondados 41"/>
              <p:cNvSpPr/>
              <p:nvPr/>
            </p:nvSpPr>
            <p:spPr>
              <a:xfrm>
                <a:off x="2018" y="2129"/>
                <a:ext cx="1784" cy="1800"/>
              </a:xfrm>
              <a:prstGeom prst="roundRect">
                <a:avLst/>
              </a:prstGeom>
              <a:gradFill flip="none" rotWithShape="1">
                <a:gsLst>
                  <a:gs pos="0">
                    <a:srgbClr val="FFFF00">
                      <a:shade val="30000"/>
                      <a:satMod val="115000"/>
                    </a:srgbClr>
                  </a:gs>
                  <a:gs pos="50000">
                    <a:srgbClr val="FFFF00">
                      <a:shade val="67500"/>
                      <a:satMod val="115000"/>
                    </a:srgbClr>
                  </a:gs>
                  <a:gs pos="100000">
                    <a:srgbClr val="FFFF00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 eaLnBrk="1" hangingPunct="1">
                  <a:lnSpc>
                    <a:spcPct val="100000"/>
                  </a:lnSpc>
                  <a:buClrTx/>
                  <a:buSzTx/>
                  <a:buFontTx/>
                  <a:buNone/>
                  <a:defRPr/>
                </a:pPr>
                <a:endParaRPr lang="pt-BR" sz="1800"/>
              </a:p>
            </p:txBody>
          </p:sp>
          <p:sp>
            <p:nvSpPr>
              <p:cNvPr id="4111" name="CaixaDeTexto 42"/>
              <p:cNvSpPr txBox="1">
                <a:spLocks noChangeArrowheads="1"/>
              </p:cNvSpPr>
              <p:nvPr/>
            </p:nvSpPr>
            <p:spPr bwMode="auto">
              <a:xfrm>
                <a:off x="2003" y="2296"/>
                <a:ext cx="1923" cy="1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1pPr>
                <a:lvl2pPr marL="742950" indent="-28575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2pPr>
                <a:lvl3pPr marL="11430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3pPr>
                <a:lvl4pPr marL="16002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4pPr>
                <a:lvl5pPr marL="20574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5pPr>
                <a:lvl6pPr marL="25146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6pPr>
                <a:lvl7pPr marL="29718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7pPr>
                <a:lvl8pPr marL="34290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8pPr>
                <a:lvl9pPr marL="38862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Tx/>
                  <a:buNone/>
                </a:pPr>
                <a:r>
                  <a:rPr lang="pt-BR" sz="1600" i="1" dirty="0" smtClean="0">
                    <a:solidFill>
                      <a:schemeClr val="tx1"/>
                    </a:solidFill>
                    <a:latin typeface="Arial" charset="0"/>
                  </a:rPr>
                  <a:t>56 Redes organizadas em</a:t>
                </a:r>
              </a:p>
              <a:p>
                <a:pPr algn="ctr"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Tx/>
                  <a:buNone/>
                </a:pPr>
                <a:r>
                  <a:rPr lang="pt-BR" sz="1600" i="1" dirty="0" smtClean="0">
                    <a:solidFill>
                      <a:schemeClr val="tx1"/>
                    </a:solidFill>
                    <a:latin typeface="Arial" charset="0"/>
                  </a:rPr>
                  <a:t> </a:t>
                </a:r>
                <a:r>
                  <a:rPr lang="pt-BR" sz="1600" b="1" i="1" dirty="0">
                    <a:solidFill>
                      <a:schemeClr val="tx1"/>
                    </a:solidFill>
                    <a:latin typeface="Arial" charset="0"/>
                  </a:rPr>
                  <a:t>3 </a:t>
                </a:r>
                <a:r>
                  <a:rPr lang="pt-BR" sz="1600" b="1" i="1" dirty="0" smtClean="0">
                    <a:solidFill>
                      <a:schemeClr val="tx1"/>
                    </a:solidFill>
                    <a:latin typeface="Arial" charset="0"/>
                  </a:rPr>
                  <a:t>tipos:</a:t>
                </a:r>
                <a:endParaRPr lang="pt-BR" sz="1550" i="1" dirty="0" smtClean="0">
                  <a:solidFill>
                    <a:schemeClr val="tx1"/>
                  </a:solidFill>
                  <a:latin typeface="Arial" charset="0"/>
                </a:endParaRPr>
              </a:p>
              <a:p>
                <a:pPr marL="87313" indent="-87313" defTabSz="914400" eaLnBrk="1" hangingPunct="1">
                  <a:lnSpc>
                    <a:spcPct val="100000"/>
                  </a:lnSpc>
                  <a:spcBef>
                    <a:spcPts val="1200"/>
                  </a:spcBef>
                  <a:buClrTx/>
                  <a:buSzTx/>
                  <a:buFont typeface="Wingdings" pitchFamily="2" charset="2"/>
                  <a:buChar char="ü"/>
                </a:pPr>
                <a:r>
                  <a:rPr lang="pt-BR" sz="1600" i="1" dirty="0" smtClean="0">
                    <a:solidFill>
                      <a:schemeClr val="tx1"/>
                    </a:solidFill>
                    <a:latin typeface="Arial" charset="0"/>
                  </a:rPr>
                  <a:t> 22 </a:t>
                </a:r>
                <a:r>
                  <a:rPr lang="pt-BR" sz="1600" b="1" i="1" dirty="0" smtClean="0">
                    <a:solidFill>
                      <a:schemeClr val="tx1"/>
                    </a:solidFill>
                    <a:latin typeface="Arial" charset="0"/>
                  </a:rPr>
                  <a:t>Extensão</a:t>
                </a:r>
                <a:r>
                  <a:rPr lang="pt-BR" sz="1600" i="1" dirty="0" smtClean="0">
                    <a:solidFill>
                      <a:schemeClr val="tx1"/>
                    </a:solidFill>
                    <a:latin typeface="Arial" charset="0"/>
                  </a:rPr>
                  <a:t> Tecnológica</a:t>
                </a:r>
              </a:p>
              <a:p>
                <a:pPr marL="87313" indent="-87313">
                  <a:spcBef>
                    <a:spcPts val="1200"/>
                  </a:spcBef>
                  <a:buFont typeface="Wingdings" pitchFamily="2" charset="2"/>
                  <a:buChar char="ü"/>
                </a:pPr>
                <a:r>
                  <a:rPr lang="pt-BR" sz="1600" i="1" dirty="0" smtClean="0">
                    <a:solidFill>
                      <a:schemeClr val="tx1"/>
                    </a:solidFill>
                    <a:latin typeface="Arial" charset="0"/>
                  </a:rPr>
                  <a:t> 20 </a:t>
                </a:r>
                <a:r>
                  <a:rPr lang="pt-BR" sz="1600" b="1" i="1" dirty="0" smtClean="0">
                    <a:solidFill>
                      <a:schemeClr val="tx1"/>
                    </a:solidFill>
                    <a:latin typeface="Arial" charset="0"/>
                  </a:rPr>
                  <a:t>Serviços</a:t>
                </a:r>
                <a:r>
                  <a:rPr lang="pt-BR" sz="1600" i="1" dirty="0" smtClean="0">
                    <a:solidFill>
                      <a:schemeClr val="tx1"/>
                    </a:solidFill>
                    <a:latin typeface="Arial" charset="0"/>
                  </a:rPr>
                  <a:t> </a:t>
                </a:r>
                <a:r>
                  <a:rPr lang="pt-BR" sz="1600" i="1" dirty="0">
                    <a:solidFill>
                      <a:schemeClr val="tx1"/>
                    </a:solidFill>
                    <a:latin typeface="Arial" charset="0"/>
                  </a:rPr>
                  <a:t>Tecnológicos</a:t>
                </a:r>
              </a:p>
              <a:p>
                <a:pPr marL="87313" indent="-87313" defTabSz="914400" eaLnBrk="1" hangingPunct="1">
                  <a:lnSpc>
                    <a:spcPct val="100000"/>
                  </a:lnSpc>
                  <a:spcBef>
                    <a:spcPts val="1200"/>
                  </a:spcBef>
                  <a:buClrTx/>
                  <a:buSzTx/>
                  <a:buFont typeface="Wingdings" pitchFamily="2" charset="2"/>
                  <a:buChar char="ü"/>
                </a:pPr>
                <a:r>
                  <a:rPr lang="pt-BR" sz="1600" i="1" dirty="0" smtClean="0">
                    <a:solidFill>
                      <a:schemeClr val="tx1"/>
                    </a:solidFill>
                    <a:latin typeface="Arial" charset="0"/>
                  </a:rPr>
                  <a:t> 14 Centros </a:t>
                </a:r>
                <a:r>
                  <a:rPr lang="pt-BR" sz="1600" i="1" dirty="0">
                    <a:solidFill>
                      <a:schemeClr val="tx1"/>
                    </a:solidFill>
                    <a:latin typeface="Arial" charset="0"/>
                  </a:rPr>
                  <a:t>de </a:t>
                </a:r>
                <a:r>
                  <a:rPr lang="pt-BR" sz="1600" b="1" i="1" dirty="0">
                    <a:solidFill>
                      <a:schemeClr val="tx1"/>
                    </a:solidFill>
                    <a:latin typeface="Arial" charset="0"/>
                  </a:rPr>
                  <a:t>Inovação</a:t>
                </a:r>
              </a:p>
            </p:txBody>
          </p:sp>
        </p:grpSp>
        <p:grpSp>
          <p:nvGrpSpPr>
            <p:cNvPr id="4107" name="Group 31"/>
            <p:cNvGrpSpPr>
              <a:grpSpLocks/>
            </p:cNvGrpSpPr>
            <p:nvPr/>
          </p:nvGrpSpPr>
          <p:grpSpPr bwMode="auto">
            <a:xfrm>
              <a:off x="3908" y="2128"/>
              <a:ext cx="1852" cy="1913"/>
              <a:chOff x="3908" y="2128"/>
              <a:chExt cx="1852" cy="1913"/>
            </a:xfrm>
          </p:grpSpPr>
          <p:sp>
            <p:nvSpPr>
              <p:cNvPr id="45" name="Retângulo de cantos arredondados 44"/>
              <p:cNvSpPr/>
              <p:nvPr/>
            </p:nvSpPr>
            <p:spPr>
              <a:xfrm>
                <a:off x="3908" y="2128"/>
                <a:ext cx="1784" cy="1800"/>
              </a:xfrm>
              <a:prstGeom prst="roundRect">
                <a:avLst/>
              </a:prstGeom>
              <a:gradFill flip="none" rotWithShape="1">
                <a:gsLst>
                  <a:gs pos="0">
                    <a:srgbClr val="FFFF00">
                      <a:shade val="30000"/>
                      <a:satMod val="115000"/>
                    </a:srgbClr>
                  </a:gs>
                  <a:gs pos="50000">
                    <a:srgbClr val="FFFF00">
                      <a:shade val="67500"/>
                      <a:satMod val="115000"/>
                    </a:srgbClr>
                  </a:gs>
                  <a:gs pos="100000">
                    <a:srgbClr val="FFFF00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 eaLnBrk="1" hangingPunct="1">
                  <a:lnSpc>
                    <a:spcPct val="100000"/>
                  </a:lnSpc>
                  <a:buClrTx/>
                  <a:buSzTx/>
                  <a:buFontTx/>
                  <a:buNone/>
                  <a:defRPr/>
                </a:pPr>
                <a:endParaRPr lang="pt-BR" sz="1800"/>
              </a:p>
            </p:txBody>
          </p:sp>
          <p:sp>
            <p:nvSpPr>
              <p:cNvPr id="4109" name="CaixaDeTexto 45"/>
              <p:cNvSpPr txBox="1">
                <a:spLocks noChangeArrowheads="1"/>
              </p:cNvSpPr>
              <p:nvPr/>
            </p:nvSpPr>
            <p:spPr bwMode="auto">
              <a:xfrm>
                <a:off x="3939" y="2306"/>
                <a:ext cx="1821" cy="17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1pPr>
                <a:lvl2pPr marL="742950" indent="-28575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2pPr>
                <a:lvl3pPr marL="11430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3pPr>
                <a:lvl4pPr marL="16002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4pPr>
                <a:lvl5pPr marL="20574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5pPr>
                <a:lvl6pPr marL="25146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6pPr>
                <a:lvl7pPr marL="29718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7pPr>
                <a:lvl8pPr marL="34290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8pPr>
                <a:lvl9pPr marL="38862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9pPr>
              </a:lstStyle>
              <a:p>
                <a:pPr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Tx/>
                  <a:buNone/>
                </a:pPr>
                <a:r>
                  <a:rPr lang="pt-BR" sz="1600" b="1" i="1" dirty="0">
                    <a:solidFill>
                      <a:schemeClr val="tx1"/>
                    </a:solidFill>
                    <a:latin typeface="Arial" charset="0"/>
                  </a:rPr>
                  <a:t>Âmbito nacional </a:t>
                </a:r>
                <a:r>
                  <a:rPr lang="pt-BR" sz="1600" i="1" dirty="0">
                    <a:solidFill>
                      <a:schemeClr val="tx1"/>
                    </a:solidFill>
                    <a:latin typeface="Arial" charset="0"/>
                  </a:rPr>
                  <a:t>gerido por:</a:t>
                </a:r>
              </a:p>
              <a:p>
                <a:pPr marL="174625" indent="-174625"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 typeface="Wingdings" pitchFamily="2" charset="2"/>
                  <a:buChar char="ü"/>
                </a:pPr>
                <a:r>
                  <a:rPr lang="pt-BR" sz="1600" i="1" dirty="0">
                    <a:solidFill>
                      <a:schemeClr val="tx1"/>
                    </a:solidFill>
                    <a:latin typeface="Arial" charset="0"/>
                  </a:rPr>
                  <a:t> Comitê Gestor</a:t>
                </a:r>
              </a:p>
              <a:p>
                <a:pPr marL="174625" indent="-174625"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 typeface="Wingdings" pitchFamily="2" charset="2"/>
                  <a:buChar char="ü"/>
                </a:pPr>
                <a:r>
                  <a:rPr lang="pt-BR" sz="1600" i="1" dirty="0">
                    <a:solidFill>
                      <a:schemeClr val="tx1"/>
                    </a:solidFill>
                    <a:latin typeface="Arial" charset="0"/>
                  </a:rPr>
                  <a:t> Três Comitês Técnicos</a:t>
                </a:r>
              </a:p>
              <a:p>
                <a:pPr marL="174625" indent="-174625"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 typeface="Wingdings" pitchFamily="2" charset="2"/>
                  <a:buChar char="ü"/>
                </a:pPr>
                <a:r>
                  <a:rPr lang="pt-BR" sz="1600" i="1" dirty="0">
                    <a:solidFill>
                      <a:schemeClr val="tx1"/>
                    </a:solidFill>
                    <a:latin typeface="Arial" charset="0"/>
                  </a:rPr>
                  <a:t> Secretaria Executiva</a:t>
                </a:r>
              </a:p>
              <a:p>
                <a:pPr marL="174625" indent="-174625"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 typeface="Wingdings" pitchFamily="2" charset="2"/>
                  <a:buChar char="ü"/>
                </a:pPr>
                <a:r>
                  <a:rPr lang="pt-BR" sz="1600" i="1" dirty="0">
                    <a:solidFill>
                      <a:schemeClr val="tx1"/>
                    </a:solidFill>
                    <a:latin typeface="Arial" charset="0"/>
                  </a:rPr>
                  <a:t> Agência </a:t>
                </a:r>
                <a:r>
                  <a:rPr lang="pt-BR" sz="1600" i="1" dirty="0" smtClean="0">
                    <a:solidFill>
                      <a:schemeClr val="tx1"/>
                    </a:solidFill>
                    <a:latin typeface="Arial" charset="0"/>
                  </a:rPr>
                  <a:t>Executora (Finep)</a:t>
                </a:r>
                <a:endParaRPr lang="pt-BR" sz="1600" i="1" dirty="0">
                  <a:solidFill>
                    <a:schemeClr val="tx1"/>
                  </a:solidFill>
                  <a:latin typeface="Arial" charset="0"/>
                </a:endParaRPr>
              </a:p>
              <a:p>
                <a:pPr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 typeface="Arial" charset="0"/>
                  <a:buChar char="•"/>
                </a:pPr>
                <a:endParaRPr lang="pt-BR" sz="1000" i="1" dirty="0">
                  <a:solidFill>
                    <a:schemeClr val="tx1"/>
                  </a:solidFill>
                  <a:latin typeface="Arial" charset="0"/>
                </a:endParaRPr>
              </a:p>
              <a:p>
                <a:pPr algn="ctr"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Tx/>
                  <a:buNone/>
                </a:pPr>
                <a:r>
                  <a:rPr lang="pt-BR" sz="1600" i="1" dirty="0">
                    <a:solidFill>
                      <a:schemeClr val="tx1"/>
                    </a:solidFill>
                    <a:latin typeface="Arial" charset="0"/>
                  </a:rPr>
                  <a:t>Um Núcleo de Coordenação para cada Rede</a:t>
                </a:r>
              </a:p>
              <a:p>
                <a:pPr defTabSz="914400" eaLnBrk="1" hangingPunct="1">
                  <a:lnSpc>
                    <a:spcPct val="100000"/>
                  </a:lnSpc>
                  <a:spcBef>
                    <a:spcPts val="600"/>
                  </a:spcBef>
                  <a:buClrTx/>
                  <a:buSzTx/>
                  <a:buFontTx/>
                  <a:buNone/>
                </a:pPr>
                <a:endParaRPr lang="pt-BR" sz="1600" i="1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27" name="Grupo 20"/>
          <p:cNvGrpSpPr>
            <a:grpSpLocks/>
          </p:cNvGrpSpPr>
          <p:nvPr/>
        </p:nvGrpSpPr>
        <p:grpSpPr bwMode="auto">
          <a:xfrm>
            <a:off x="-11113" y="14288"/>
            <a:ext cx="9155113" cy="1052512"/>
            <a:chOff x="-11113" y="13648"/>
            <a:chExt cx="9155113" cy="1053152"/>
          </a:xfrm>
        </p:grpSpPr>
        <p:pic>
          <p:nvPicPr>
            <p:cNvPr id="29" name="Picture 8" descr="http://blogscarcom.com.br/wp-content/uploads/2011/08/50750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6384" y="42668"/>
              <a:ext cx="1813848" cy="956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6" descr="http://static.hsw.com.br/gif/10-tecnologias-nasa-11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V="1">
              <a:off x="3982288" y="21137"/>
              <a:ext cx="864096" cy="973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" descr="http://www.blogdorogerio.com.br/wp-content/uploads/2010/03/panoramicaquirofanoazul-marpe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8072" y="32770"/>
              <a:ext cx="1988220" cy="9638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2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5174" y="17404"/>
              <a:ext cx="2428826" cy="980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1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1113" y="45200"/>
              <a:ext cx="2057528" cy="934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Retângulo 34"/>
            <p:cNvSpPr/>
            <p:nvPr/>
          </p:nvSpPr>
          <p:spPr bwMode="auto">
            <a:xfrm>
              <a:off x="3865563" y="13648"/>
              <a:ext cx="333375" cy="1007087"/>
            </a:xfrm>
            <a:prstGeom prst="rect">
              <a:avLst/>
            </a:prstGeom>
            <a:gradFill>
              <a:gsLst>
                <a:gs pos="37000">
                  <a:schemeClr val="bg1">
                    <a:lumMod val="75000"/>
                    <a:alpha val="0"/>
                  </a:schemeClr>
                </a:gs>
                <a:gs pos="50000">
                  <a:schemeClr val="tx2">
                    <a:lumMod val="75000"/>
                  </a:schemeClr>
                </a:gs>
                <a:gs pos="100000">
                  <a:schemeClr val="tx2">
                    <a:lumMod val="40000"/>
                    <a:lumOff val="60000"/>
                    <a:alpha val="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36" name="Retângulo 35"/>
            <p:cNvSpPr/>
            <p:nvPr/>
          </p:nvSpPr>
          <p:spPr bwMode="auto">
            <a:xfrm>
              <a:off x="6523045" y="27278"/>
              <a:ext cx="380507" cy="971356"/>
            </a:xfrm>
            <a:prstGeom prst="rect">
              <a:avLst/>
            </a:prstGeom>
            <a:gradFill>
              <a:gsLst>
                <a:gs pos="29000">
                  <a:srgbClr val="99CCFF">
                    <a:alpha val="0"/>
                  </a:srgbClr>
                </a:gs>
                <a:gs pos="52000">
                  <a:srgbClr val="CCCCFF"/>
                </a:gs>
                <a:gs pos="89000">
                  <a:schemeClr val="accent6">
                    <a:lumMod val="40000"/>
                    <a:lumOff val="60000"/>
                    <a:alpha val="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37" name="Retângulo 36"/>
            <p:cNvSpPr/>
            <p:nvPr/>
          </p:nvSpPr>
          <p:spPr bwMode="auto">
            <a:xfrm>
              <a:off x="4575768" y="41275"/>
              <a:ext cx="501650" cy="971550"/>
            </a:xfrm>
            <a:prstGeom prst="rect">
              <a:avLst/>
            </a:prstGeom>
            <a:gradFill>
              <a:gsLst>
                <a:gs pos="23000">
                  <a:schemeClr val="accent2">
                    <a:lumMod val="20000"/>
                    <a:lumOff val="80000"/>
                    <a:alpha val="3000"/>
                  </a:schemeClr>
                </a:gs>
                <a:gs pos="44000">
                  <a:schemeClr val="tx1">
                    <a:lumMod val="50000"/>
                    <a:lumOff val="50000"/>
                  </a:schemeClr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cxnSp>
          <p:nvCxnSpPr>
            <p:cNvPr id="38" name="Conector reto 37"/>
            <p:cNvCxnSpPr>
              <a:cxnSpLocks noChangeShapeType="1"/>
            </p:cNvCxnSpPr>
            <p:nvPr/>
          </p:nvCxnSpPr>
          <p:spPr bwMode="auto">
            <a:xfrm>
              <a:off x="0" y="24767"/>
              <a:ext cx="9136063" cy="0"/>
            </a:xfrm>
            <a:prstGeom prst="line">
              <a:avLst/>
            </a:prstGeom>
            <a:noFill/>
            <a:ln w="57150" algn="ctr">
              <a:solidFill>
                <a:srgbClr val="F6BB00"/>
              </a:solidFill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</p:cxnSp>
        <p:sp>
          <p:nvSpPr>
            <p:cNvPr id="39" name="Retângulo 38"/>
            <p:cNvSpPr/>
            <p:nvPr/>
          </p:nvSpPr>
          <p:spPr bwMode="auto">
            <a:xfrm>
              <a:off x="-1588" y="979435"/>
              <a:ext cx="9144001" cy="87365"/>
            </a:xfrm>
            <a:prstGeom prst="rect">
              <a:avLst/>
            </a:prstGeom>
            <a:gradFill>
              <a:gsLst>
                <a:gs pos="10000">
                  <a:srgbClr val="669900">
                    <a:alpha val="74000"/>
                  </a:srgb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4800000" scaled="0"/>
            </a:gradFill>
            <a:ln>
              <a:noFill/>
            </a:ln>
            <a:effectLst>
              <a:outerShdw blurRad="50800" dist="50800" sx="1000" sy="1000" algn="ctr" rotWithShape="0">
                <a:srgbClr val="00000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</p:grpSp>
      <p:sp>
        <p:nvSpPr>
          <p:cNvPr id="40" name="CaixaDeTexto 12"/>
          <p:cNvSpPr txBox="1">
            <a:spLocks noChangeArrowheads="1"/>
          </p:cNvSpPr>
          <p:nvPr/>
        </p:nvSpPr>
        <p:spPr bwMode="auto">
          <a:xfrm>
            <a:off x="-11113" y="933688"/>
            <a:ext cx="9155114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pt-BR" sz="3200" b="1" dirty="0" smtClean="0">
                <a:solidFill>
                  <a:srgbClr val="0000FF"/>
                </a:solidFill>
                <a:latin typeface="+mj-lt"/>
                <a:ea typeface="Batang" pitchFamily="18" charset="-127"/>
                <a:cs typeface="Times New Roman" pitchFamily="18" charset="0"/>
              </a:rPr>
              <a:t>Sistema Brasileiro de Tecnologia</a:t>
            </a:r>
          </a:p>
          <a:p>
            <a:pPr algn="ctr" defTabSz="914400" eaLnBrk="1" hangingPunct="1">
              <a:lnSpc>
                <a:spcPct val="100000"/>
              </a:lnSpc>
              <a:buClrTx/>
              <a:buSzTx/>
              <a:buFontTx/>
              <a:buNone/>
            </a:pPr>
            <a:endParaRPr lang="pt-BR" sz="800" b="1" i="1" dirty="0" smtClean="0">
              <a:solidFill>
                <a:srgbClr val="0000FF"/>
              </a:solidFill>
              <a:latin typeface="Batang" pitchFamily="18" charset="-127"/>
              <a:ea typeface="Batang" pitchFamily="18" charset="-127"/>
              <a:cs typeface="Times New Roman" pitchFamily="18" charset="0"/>
            </a:endParaRPr>
          </a:p>
          <a:p>
            <a:pPr algn="ctr"/>
            <a:r>
              <a:rPr lang="pt-BR" sz="2000" b="1" dirty="0" smtClean="0">
                <a:solidFill>
                  <a:srgbClr val="0000FF"/>
                </a:solidFill>
                <a:latin typeface="Arial" pitchFamily="34" charset="0"/>
                <a:ea typeface="Batang" pitchFamily="18" charset="-127"/>
                <a:cs typeface="Arial" pitchFamily="34" charset="0"/>
              </a:rPr>
              <a:t>Ciência e Tecnologia a Serviço da </a:t>
            </a:r>
            <a:r>
              <a:rPr lang="pt-BR" sz="2000" b="1" dirty="0">
                <a:solidFill>
                  <a:srgbClr val="0000FF"/>
                </a:solidFill>
                <a:latin typeface="Arial" pitchFamily="34" charset="0"/>
                <a:ea typeface="Batang" pitchFamily="18" charset="-127"/>
                <a:cs typeface="Arial" pitchFamily="34" charset="0"/>
              </a:rPr>
              <a:t>Empresa </a:t>
            </a:r>
            <a:r>
              <a:rPr lang="pt-BR" sz="2000" b="1" dirty="0" smtClean="0">
                <a:solidFill>
                  <a:srgbClr val="0000FF"/>
                </a:solidFill>
                <a:latin typeface="Arial" pitchFamily="34" charset="0"/>
                <a:ea typeface="Batang" pitchFamily="18" charset="-127"/>
                <a:cs typeface="Arial" pitchFamily="34" charset="0"/>
              </a:rPr>
              <a:t>Brasileira</a:t>
            </a:r>
            <a:r>
              <a:rPr lang="pt-BR" sz="2000" b="1" dirty="0" smtClean="0">
                <a:solidFill>
                  <a:srgbClr val="0000FF"/>
                </a:solidFill>
                <a:latin typeface="Batang" pitchFamily="18" charset="-127"/>
                <a:ea typeface="Batang" pitchFamily="18" charset="-127"/>
                <a:cs typeface="Times New Roman" pitchFamily="18" charset="0"/>
              </a:rPr>
              <a:t>.</a:t>
            </a:r>
          </a:p>
          <a:p>
            <a:pPr algn="ctr"/>
            <a:r>
              <a:rPr lang="pt-BR" sz="2000" b="1" dirty="0" smtClean="0">
                <a:solidFill>
                  <a:srgbClr val="0000FF"/>
                </a:solidFill>
                <a:latin typeface="+mn-lt"/>
                <a:ea typeface="Batang" pitchFamily="18" charset="-127"/>
                <a:cs typeface="Times New Roman" pitchFamily="18" charset="0"/>
              </a:rPr>
              <a:t>Promover condições </a:t>
            </a:r>
            <a:r>
              <a:rPr lang="pt-BR" sz="2000" b="1" dirty="0">
                <a:solidFill>
                  <a:srgbClr val="0000FF"/>
                </a:solidFill>
                <a:latin typeface="+mn-lt"/>
                <a:ea typeface="Batang" pitchFamily="18" charset="-127"/>
                <a:cs typeface="Times New Roman" pitchFamily="18" charset="0"/>
              </a:rPr>
              <a:t>para que as empresas ampliem os </a:t>
            </a:r>
            <a:r>
              <a:rPr lang="pt-BR" sz="2000" b="1" dirty="0" smtClean="0">
                <a:solidFill>
                  <a:srgbClr val="0000FF"/>
                </a:solidFill>
                <a:latin typeface="+mn-lt"/>
                <a:ea typeface="Batang" pitchFamily="18" charset="-127"/>
                <a:cs typeface="Times New Roman" pitchFamily="18" charset="0"/>
              </a:rPr>
              <a:t>índices </a:t>
            </a:r>
            <a:r>
              <a:rPr lang="pt-BR" sz="2000" b="1" dirty="0">
                <a:solidFill>
                  <a:srgbClr val="0000FF"/>
                </a:solidFill>
                <a:latin typeface="+mn-lt"/>
                <a:ea typeface="Batang" pitchFamily="18" charset="-127"/>
                <a:cs typeface="Times New Roman" pitchFamily="18" charset="0"/>
              </a:rPr>
              <a:t>de </a:t>
            </a:r>
            <a:r>
              <a:rPr lang="pt-BR" sz="2000" b="1" dirty="0" smtClean="0">
                <a:solidFill>
                  <a:srgbClr val="0000FF"/>
                </a:solidFill>
                <a:latin typeface="+mn-lt"/>
                <a:ea typeface="Batang" pitchFamily="18" charset="-127"/>
                <a:cs typeface="Times New Roman" pitchFamily="18" charset="0"/>
              </a:rPr>
              <a:t>inovação </a:t>
            </a:r>
            <a:endParaRPr lang="pt-BR" sz="2000" b="1" dirty="0">
              <a:solidFill>
                <a:srgbClr val="0000FF"/>
              </a:solidFill>
              <a:latin typeface="+mn-lt"/>
              <a:ea typeface="Batang" pitchFamily="18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9753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32" name="Text Box 4"/>
          <p:cNvSpPr txBox="1">
            <a:spLocks noChangeArrowheads="1"/>
          </p:cNvSpPr>
          <p:nvPr/>
        </p:nvSpPr>
        <p:spPr bwMode="auto">
          <a:xfrm>
            <a:off x="2268538" y="44450"/>
            <a:ext cx="65516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b="1"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Redes Estaduais de Extensão Tecnológica</a:t>
            </a:r>
          </a:p>
        </p:txBody>
      </p:sp>
      <p:sp>
        <p:nvSpPr>
          <p:cNvPr id="10245" name="Text Box 68"/>
          <p:cNvSpPr txBox="1">
            <a:spLocks noChangeArrowheads="1"/>
          </p:cNvSpPr>
          <p:nvPr/>
        </p:nvSpPr>
        <p:spPr bwMode="auto">
          <a:xfrm>
            <a:off x="2124075" y="501650"/>
            <a:ext cx="67691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</a:pPr>
            <a:r>
              <a:rPr lang="pt-BR" sz="1600" b="1">
                <a:solidFill>
                  <a:prstClr val="black"/>
                </a:solidFill>
                <a:latin typeface="Arial" charset="0"/>
              </a:rPr>
              <a:t>22 Redes Estaduais SIBRATEC de Extensão Tecnológica </a:t>
            </a:r>
          </a:p>
        </p:txBody>
      </p:sp>
      <p:grpSp>
        <p:nvGrpSpPr>
          <p:cNvPr id="10246" name="Group 74"/>
          <p:cNvGrpSpPr>
            <a:grpSpLocks/>
          </p:cNvGrpSpPr>
          <p:nvPr/>
        </p:nvGrpSpPr>
        <p:grpSpPr bwMode="auto">
          <a:xfrm>
            <a:off x="34925" y="981075"/>
            <a:ext cx="9109075" cy="5876925"/>
            <a:chOff x="22" y="618"/>
            <a:chExt cx="5738" cy="3702"/>
          </a:xfrm>
        </p:grpSpPr>
        <p:pic>
          <p:nvPicPr>
            <p:cNvPr id="10247" name="Picture 4" descr="Mapa com estados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" y="1282"/>
              <a:ext cx="3605" cy="3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248" name="Elipse 52"/>
            <p:cNvSpPr>
              <a:spLocks noChangeArrowheads="1"/>
            </p:cNvSpPr>
            <p:nvPr/>
          </p:nvSpPr>
          <p:spPr bwMode="auto">
            <a:xfrm>
              <a:off x="3712" y="2003"/>
              <a:ext cx="69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49" name="Elipse 52"/>
            <p:cNvSpPr>
              <a:spLocks noChangeArrowheads="1"/>
            </p:cNvSpPr>
            <p:nvPr/>
          </p:nvSpPr>
          <p:spPr bwMode="auto">
            <a:xfrm>
              <a:off x="3643" y="2620"/>
              <a:ext cx="69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50" name="Elipse 52"/>
            <p:cNvSpPr>
              <a:spLocks noChangeArrowheads="1"/>
            </p:cNvSpPr>
            <p:nvPr/>
          </p:nvSpPr>
          <p:spPr bwMode="auto">
            <a:xfrm>
              <a:off x="2882" y="3413"/>
              <a:ext cx="69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51" name="Elipse 52"/>
            <p:cNvSpPr>
              <a:spLocks noChangeArrowheads="1"/>
            </p:cNvSpPr>
            <p:nvPr/>
          </p:nvSpPr>
          <p:spPr bwMode="auto">
            <a:xfrm>
              <a:off x="3341" y="3390"/>
              <a:ext cx="69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52" name="Elipse 52"/>
            <p:cNvSpPr>
              <a:spLocks noChangeArrowheads="1"/>
            </p:cNvSpPr>
            <p:nvPr/>
          </p:nvSpPr>
          <p:spPr bwMode="auto">
            <a:xfrm>
              <a:off x="2606" y="3566"/>
              <a:ext cx="69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53" name="Elipse 52"/>
            <p:cNvSpPr>
              <a:spLocks noChangeArrowheads="1"/>
            </p:cNvSpPr>
            <p:nvPr/>
          </p:nvSpPr>
          <p:spPr bwMode="auto">
            <a:xfrm>
              <a:off x="3470" y="2094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54" name="Line 18"/>
            <p:cNvSpPr>
              <a:spLocks noChangeShapeType="1"/>
            </p:cNvSpPr>
            <p:nvPr/>
          </p:nvSpPr>
          <p:spPr bwMode="auto">
            <a:xfrm rot="749659" flipH="1">
              <a:off x="2291" y="3564"/>
              <a:ext cx="308" cy="144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55" name="Oval 18"/>
            <p:cNvSpPr>
              <a:spLocks noChangeArrowheads="1"/>
            </p:cNvSpPr>
            <p:nvPr/>
          </p:nvSpPr>
          <p:spPr bwMode="auto">
            <a:xfrm>
              <a:off x="46" y="3576"/>
              <a:ext cx="2244" cy="217"/>
            </a:xfrm>
            <a:prstGeom prst="ellipse">
              <a:avLst/>
            </a:prstGeom>
            <a:gradFill rotWithShape="1">
              <a:gsLst>
                <a:gs pos="0">
                  <a:srgbClr val="FFF2E6">
                    <a:alpha val="18999"/>
                  </a:srgbClr>
                </a:gs>
                <a:gs pos="100000">
                  <a:srgbClr val="FFCC99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>
                  <a:solidFill>
                    <a:srgbClr val="A50021"/>
                  </a:solidFill>
                  <a:latin typeface="Arial" charset="0"/>
                </a:rPr>
                <a:t>TECPAR</a:t>
              </a:r>
              <a:r>
                <a:rPr lang="en-US" sz="1000">
                  <a:solidFill>
                    <a:srgbClr val="A50021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srgbClr val="A50021"/>
                  </a:solidFill>
                  <a:latin typeface="Arial" charset="0"/>
                </a:rPr>
                <a:t>FIEP; SEBRAE; SETI; F.ARAUCÁRIA</a:t>
              </a:r>
            </a:p>
          </p:txBody>
        </p:sp>
        <p:sp>
          <p:nvSpPr>
            <p:cNvPr id="10256" name="Line 17"/>
            <p:cNvSpPr>
              <a:spLocks noChangeShapeType="1"/>
            </p:cNvSpPr>
            <p:nvPr/>
          </p:nvSpPr>
          <p:spPr bwMode="auto">
            <a:xfrm flipH="1">
              <a:off x="1837" y="3747"/>
              <a:ext cx="862" cy="182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57" name="Oval 21"/>
            <p:cNvSpPr>
              <a:spLocks noChangeArrowheads="1"/>
            </p:cNvSpPr>
            <p:nvPr/>
          </p:nvSpPr>
          <p:spPr bwMode="auto">
            <a:xfrm>
              <a:off x="121" y="3838"/>
              <a:ext cx="1773" cy="136"/>
            </a:xfrm>
            <a:prstGeom prst="ellipse">
              <a:avLst/>
            </a:prstGeom>
            <a:gradFill rotWithShape="1">
              <a:gsLst>
                <a:gs pos="0">
                  <a:srgbClr val="FFF2E6">
                    <a:alpha val="18999"/>
                  </a:srgbClr>
                </a:gs>
                <a:gs pos="100000">
                  <a:srgbClr val="FFCC99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>
                  <a:solidFill>
                    <a:srgbClr val="A50021"/>
                  </a:solidFill>
                  <a:latin typeface="Arial" charset="0"/>
                </a:rPr>
                <a:t>SOCIESC</a:t>
              </a:r>
              <a:r>
                <a:rPr lang="en-US" sz="1000">
                  <a:solidFill>
                    <a:srgbClr val="A50021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srgbClr val="A50021"/>
                  </a:solidFill>
                  <a:latin typeface="Arial" charset="0"/>
                </a:rPr>
                <a:t>SEBRAE/SC; FAPESC</a:t>
              </a:r>
            </a:p>
          </p:txBody>
        </p:sp>
        <p:sp>
          <p:nvSpPr>
            <p:cNvPr id="10258" name="Line 15"/>
            <p:cNvSpPr>
              <a:spLocks noChangeShapeType="1"/>
            </p:cNvSpPr>
            <p:nvPr/>
          </p:nvSpPr>
          <p:spPr bwMode="auto">
            <a:xfrm flipH="1">
              <a:off x="2064" y="3974"/>
              <a:ext cx="317" cy="136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59" name="Oval 24"/>
            <p:cNvSpPr>
              <a:spLocks noChangeArrowheads="1"/>
            </p:cNvSpPr>
            <p:nvPr/>
          </p:nvSpPr>
          <p:spPr bwMode="auto">
            <a:xfrm>
              <a:off x="91" y="4019"/>
              <a:ext cx="2154" cy="301"/>
            </a:xfrm>
            <a:prstGeom prst="ellipse">
              <a:avLst/>
            </a:prstGeom>
            <a:gradFill rotWithShape="1">
              <a:gsLst>
                <a:gs pos="0">
                  <a:srgbClr val="FFF2E6">
                    <a:alpha val="18999"/>
                  </a:srgbClr>
                </a:gs>
                <a:gs pos="100000">
                  <a:srgbClr val="FFCC99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solidFill>
                    <a:srgbClr val="A50021"/>
                  </a:solidFill>
                  <a:latin typeface="Arial" charset="0"/>
                </a:rPr>
                <a:t>IEL/RS; </a:t>
              </a:r>
              <a:r>
                <a:rPr lang="en-US" sz="1000" b="1">
                  <a:solidFill>
                    <a:srgbClr val="A50021"/>
                  </a:solidFill>
                  <a:latin typeface="Arial" charset="0"/>
                </a:rPr>
                <a:t>SCT/RS</a:t>
              </a:r>
              <a:r>
                <a:rPr lang="en-US" sz="1000">
                  <a:solidFill>
                    <a:srgbClr val="A50021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srgbClr val="A50021"/>
                  </a:solidFill>
                  <a:latin typeface="Arial" charset="0"/>
                </a:rPr>
                <a:t>CIENTEC; IBTEC; IFSul;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A50021"/>
                  </a:solidFill>
                  <a:latin typeface="Arial" charset="0"/>
                </a:rPr>
                <a:t>PUC/RS; UNISINOS; UERGS; SEDAI/RS; SEBRAE/RS</a:t>
              </a:r>
            </a:p>
          </p:txBody>
        </p:sp>
        <p:sp>
          <p:nvSpPr>
            <p:cNvPr id="10260" name="Line 13"/>
            <p:cNvSpPr>
              <a:spLocks noChangeShapeType="1"/>
            </p:cNvSpPr>
            <p:nvPr/>
          </p:nvSpPr>
          <p:spPr bwMode="auto">
            <a:xfrm>
              <a:off x="2928" y="3457"/>
              <a:ext cx="451" cy="517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61" name="Oval 27"/>
            <p:cNvSpPr>
              <a:spLocks noChangeArrowheads="1"/>
            </p:cNvSpPr>
            <p:nvPr/>
          </p:nvSpPr>
          <p:spPr bwMode="auto">
            <a:xfrm>
              <a:off x="2925" y="3951"/>
              <a:ext cx="1838" cy="205"/>
            </a:xfrm>
            <a:prstGeom prst="ellipse">
              <a:avLst/>
            </a:prstGeom>
            <a:gradFill rotWithShape="1">
              <a:gsLst>
                <a:gs pos="0">
                  <a:srgbClr val="F2FAFF">
                    <a:alpha val="18999"/>
                  </a:srgbClr>
                </a:gs>
                <a:gs pos="100000">
                  <a:srgbClr val="CCECFF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FIPT; </a:t>
              </a:r>
              <a:r>
                <a:rPr lang="en-US" sz="1000" b="1">
                  <a:solidFill>
                    <a:srgbClr val="0033CC"/>
                  </a:solidFill>
                  <a:latin typeface="Arial" charset="0"/>
                </a:rPr>
                <a:t>IPT</a:t>
              </a:r>
              <a:r>
                <a:rPr lang="en-US" sz="1000">
                  <a:solidFill>
                    <a:srgbClr val="0033CC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CTI; CEETEPS; FDTE; SECDESESP</a:t>
              </a:r>
            </a:p>
          </p:txBody>
        </p:sp>
        <p:sp>
          <p:nvSpPr>
            <p:cNvPr id="10262" name="Line 14"/>
            <p:cNvSpPr>
              <a:spLocks noChangeShapeType="1"/>
            </p:cNvSpPr>
            <p:nvPr/>
          </p:nvSpPr>
          <p:spPr bwMode="auto">
            <a:xfrm>
              <a:off x="3412" y="3435"/>
              <a:ext cx="239" cy="313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63" name="Oval 33"/>
            <p:cNvSpPr>
              <a:spLocks noChangeArrowheads="1"/>
            </p:cNvSpPr>
            <p:nvPr/>
          </p:nvSpPr>
          <p:spPr bwMode="auto">
            <a:xfrm>
              <a:off x="3788" y="3135"/>
              <a:ext cx="1950" cy="250"/>
            </a:xfrm>
            <a:prstGeom prst="ellipse">
              <a:avLst/>
            </a:prstGeom>
            <a:gradFill rotWithShape="1">
              <a:gsLst>
                <a:gs pos="0">
                  <a:srgbClr val="F2FAFF">
                    <a:alpha val="18999"/>
                  </a:srgbClr>
                </a:gs>
                <a:gs pos="100000">
                  <a:srgbClr val="CCECFF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RMI; </a:t>
              </a:r>
              <a:r>
                <a:rPr lang="pt-BR" sz="1000" b="1">
                  <a:solidFill>
                    <a:srgbClr val="0033CC"/>
                  </a:solidFill>
                  <a:latin typeface="Arial" charset="0"/>
                </a:rPr>
                <a:t>CETEC</a:t>
              </a: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; </a:t>
              </a:r>
              <a:r>
                <a:rPr lang="de-DE" sz="1000">
                  <a:solidFill>
                    <a:srgbClr val="0033CC"/>
                  </a:solidFill>
                  <a:latin typeface="Arial" charset="0"/>
                </a:rPr>
                <a:t>IEL/MG; </a:t>
              </a: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SEBRAE/MG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SEDE/MG; SECTES/MG</a:t>
              </a:r>
            </a:p>
          </p:txBody>
        </p:sp>
        <p:sp>
          <p:nvSpPr>
            <p:cNvPr id="10264" name="Line 9"/>
            <p:cNvSpPr>
              <a:spLocks noChangeShapeType="1"/>
            </p:cNvSpPr>
            <p:nvPr/>
          </p:nvSpPr>
          <p:spPr bwMode="auto">
            <a:xfrm flipH="1" flipV="1">
              <a:off x="3696" y="2659"/>
              <a:ext cx="363" cy="181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65" name="Oval 36"/>
            <p:cNvSpPr>
              <a:spLocks noChangeArrowheads="1"/>
            </p:cNvSpPr>
            <p:nvPr/>
          </p:nvSpPr>
          <p:spPr bwMode="auto">
            <a:xfrm>
              <a:off x="3969" y="2772"/>
              <a:ext cx="1746" cy="309"/>
            </a:xfrm>
            <a:prstGeom prst="ellipse">
              <a:avLst/>
            </a:prstGeom>
            <a:gradFill rotWithShape="1">
              <a:gsLst>
                <a:gs pos="0">
                  <a:srgbClr val="FFF2F2">
                    <a:alpha val="18999"/>
                  </a:srgbClr>
                </a:gs>
                <a:gs pos="100000">
                  <a:srgbClr val="FFCCCC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>
                  <a:solidFill>
                    <a:prstClr val="black"/>
                  </a:solidFill>
                  <a:latin typeface="Arial" charset="0"/>
                </a:rPr>
                <a:t>IEL/BA</a:t>
              </a: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; UESC; </a:t>
              </a: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CEPED; CETENE/PE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SECTI/BA; FAPESB; SEBRAE/BA; SICM/BA</a:t>
              </a:r>
            </a:p>
          </p:txBody>
        </p:sp>
        <p:sp>
          <p:nvSpPr>
            <p:cNvPr id="10266" name="Line 3"/>
            <p:cNvSpPr>
              <a:spLocks noChangeShapeType="1"/>
            </p:cNvSpPr>
            <p:nvPr/>
          </p:nvSpPr>
          <p:spPr bwMode="auto">
            <a:xfrm flipH="1">
              <a:off x="3742" y="1298"/>
              <a:ext cx="91" cy="771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67" name="Oval 39"/>
            <p:cNvSpPr>
              <a:spLocks noChangeArrowheads="1"/>
            </p:cNvSpPr>
            <p:nvPr/>
          </p:nvSpPr>
          <p:spPr bwMode="auto">
            <a:xfrm>
              <a:off x="3606" y="1071"/>
              <a:ext cx="2086" cy="273"/>
            </a:xfrm>
            <a:prstGeom prst="ellipse">
              <a:avLst/>
            </a:prstGeom>
            <a:gradFill rotWithShape="1">
              <a:gsLst>
                <a:gs pos="0">
                  <a:srgbClr val="FFF2F2">
                    <a:alpha val="18999"/>
                  </a:srgbClr>
                </a:gs>
                <a:gs pos="100000">
                  <a:srgbClr val="FFCCCC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FCPC; </a:t>
              </a:r>
              <a:r>
                <a:rPr lang="en-US" sz="1000" b="1">
                  <a:solidFill>
                    <a:prstClr val="black"/>
                  </a:solidFill>
                  <a:latin typeface="Arial" charset="0"/>
                </a:rPr>
                <a:t>NUTEC</a:t>
              </a: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UFC; CENTEC; INDI/CE; IFCE; </a:t>
              </a: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Agropolos; BNB; SECITECE; FUNCAP; SEBRAECE</a:t>
              </a:r>
            </a:p>
          </p:txBody>
        </p:sp>
        <p:sp>
          <p:nvSpPr>
            <p:cNvPr id="10268" name="Line 6"/>
            <p:cNvSpPr>
              <a:spLocks noChangeShapeType="1"/>
            </p:cNvSpPr>
            <p:nvPr/>
          </p:nvSpPr>
          <p:spPr bwMode="auto">
            <a:xfrm flipH="1">
              <a:off x="3515" y="981"/>
              <a:ext cx="45" cy="1134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69" name="Oval 39"/>
            <p:cNvSpPr>
              <a:spLocks noChangeArrowheads="1"/>
            </p:cNvSpPr>
            <p:nvPr/>
          </p:nvSpPr>
          <p:spPr bwMode="auto">
            <a:xfrm>
              <a:off x="3379" y="822"/>
              <a:ext cx="2313" cy="226"/>
            </a:xfrm>
            <a:prstGeom prst="ellipse">
              <a:avLst/>
            </a:prstGeom>
            <a:gradFill rotWithShape="1">
              <a:gsLst>
                <a:gs pos="0">
                  <a:srgbClr val="FFF2F2">
                    <a:alpha val="18999"/>
                  </a:srgbClr>
                </a:gs>
                <a:gs pos="100000">
                  <a:srgbClr val="FFCCCC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FUNDETEC; </a:t>
              </a:r>
              <a:r>
                <a:rPr lang="pt-BR" sz="1000" b="1">
                  <a:solidFill>
                    <a:prstClr val="black"/>
                  </a:solidFill>
                  <a:latin typeface="Arial" charset="0"/>
                </a:rPr>
                <a:t>SENAI/PI</a:t>
              </a: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; IFPI; FUESPI; SEBRAE/PI; SEDET/PI</a:t>
              </a:r>
            </a:p>
          </p:txBody>
        </p:sp>
        <p:sp>
          <p:nvSpPr>
            <p:cNvPr id="10270" name="Elipse 52"/>
            <p:cNvSpPr>
              <a:spLocks noChangeArrowheads="1"/>
            </p:cNvSpPr>
            <p:nvPr/>
          </p:nvSpPr>
          <p:spPr bwMode="auto">
            <a:xfrm>
              <a:off x="3989" y="2069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1" name="Elipse 52"/>
            <p:cNvSpPr>
              <a:spLocks noChangeArrowheads="1"/>
            </p:cNvSpPr>
            <p:nvPr/>
          </p:nvSpPr>
          <p:spPr bwMode="auto">
            <a:xfrm>
              <a:off x="4150" y="2185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2" name="Elipse 52"/>
            <p:cNvSpPr>
              <a:spLocks noChangeArrowheads="1"/>
            </p:cNvSpPr>
            <p:nvPr/>
          </p:nvSpPr>
          <p:spPr bwMode="auto">
            <a:xfrm>
              <a:off x="3969" y="2344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3" name="Elipse 52"/>
            <p:cNvSpPr>
              <a:spLocks noChangeArrowheads="1"/>
            </p:cNvSpPr>
            <p:nvPr/>
          </p:nvSpPr>
          <p:spPr bwMode="auto">
            <a:xfrm>
              <a:off x="4059" y="2389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4" name="Elipse 52"/>
            <p:cNvSpPr>
              <a:spLocks noChangeArrowheads="1"/>
            </p:cNvSpPr>
            <p:nvPr/>
          </p:nvSpPr>
          <p:spPr bwMode="auto">
            <a:xfrm>
              <a:off x="3923" y="2545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5" name="Elipse 52"/>
            <p:cNvSpPr>
              <a:spLocks noChangeArrowheads="1"/>
            </p:cNvSpPr>
            <p:nvPr/>
          </p:nvSpPr>
          <p:spPr bwMode="auto">
            <a:xfrm>
              <a:off x="3515" y="3203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6" name="Elipse 52"/>
            <p:cNvSpPr>
              <a:spLocks noChangeArrowheads="1"/>
            </p:cNvSpPr>
            <p:nvPr/>
          </p:nvSpPr>
          <p:spPr bwMode="auto">
            <a:xfrm>
              <a:off x="3264" y="2931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7" name="Elipse 52"/>
            <p:cNvSpPr>
              <a:spLocks noChangeArrowheads="1"/>
            </p:cNvSpPr>
            <p:nvPr/>
          </p:nvSpPr>
          <p:spPr bwMode="auto">
            <a:xfrm>
              <a:off x="2901" y="2253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8" name="Elipse 52"/>
            <p:cNvSpPr>
              <a:spLocks noChangeArrowheads="1"/>
            </p:cNvSpPr>
            <p:nvPr/>
          </p:nvSpPr>
          <p:spPr bwMode="auto">
            <a:xfrm>
              <a:off x="2290" y="3183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9" name="Elipse 52"/>
            <p:cNvSpPr>
              <a:spLocks noChangeArrowheads="1"/>
            </p:cNvSpPr>
            <p:nvPr/>
          </p:nvSpPr>
          <p:spPr bwMode="auto">
            <a:xfrm>
              <a:off x="2245" y="2684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80" name="Elipse 52"/>
            <p:cNvSpPr>
              <a:spLocks noChangeArrowheads="1"/>
            </p:cNvSpPr>
            <p:nvPr/>
          </p:nvSpPr>
          <p:spPr bwMode="auto">
            <a:xfrm>
              <a:off x="1631" y="2455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81" name="Elipse 52"/>
            <p:cNvSpPr>
              <a:spLocks noChangeArrowheads="1"/>
            </p:cNvSpPr>
            <p:nvPr/>
          </p:nvSpPr>
          <p:spPr bwMode="auto">
            <a:xfrm>
              <a:off x="1495" y="1888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82" name="Elipse 52"/>
            <p:cNvSpPr>
              <a:spLocks noChangeArrowheads="1"/>
            </p:cNvSpPr>
            <p:nvPr/>
          </p:nvSpPr>
          <p:spPr bwMode="auto">
            <a:xfrm>
              <a:off x="2336" y="1842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83" name="Oval 39"/>
            <p:cNvSpPr>
              <a:spLocks noChangeArrowheads="1"/>
            </p:cNvSpPr>
            <p:nvPr/>
          </p:nvSpPr>
          <p:spPr bwMode="auto">
            <a:xfrm>
              <a:off x="3923" y="1367"/>
              <a:ext cx="1566" cy="272"/>
            </a:xfrm>
            <a:prstGeom prst="ellipse">
              <a:avLst/>
            </a:prstGeom>
            <a:gradFill rotWithShape="1">
              <a:gsLst>
                <a:gs pos="0">
                  <a:srgbClr val="FFF2F2">
                    <a:alpha val="18999"/>
                  </a:srgbClr>
                </a:gs>
                <a:gs pos="100000">
                  <a:srgbClr val="FFCCCC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FUNPEC; </a:t>
              </a:r>
              <a:r>
                <a:rPr lang="en-US" sz="1000" b="1">
                  <a:solidFill>
                    <a:prstClr val="black"/>
                  </a:solidFill>
                  <a:latin typeface="Arial" charset="0"/>
                </a:rPr>
                <a:t>SENAI</a:t>
              </a: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UFRN; IFRN</a:t>
              </a: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UERN; SENAI/CTGÁS; SEDEC</a:t>
              </a:r>
            </a:p>
          </p:txBody>
        </p:sp>
        <p:sp>
          <p:nvSpPr>
            <p:cNvPr id="10284" name="Line 3"/>
            <p:cNvSpPr>
              <a:spLocks noChangeShapeType="1"/>
            </p:cNvSpPr>
            <p:nvPr/>
          </p:nvSpPr>
          <p:spPr bwMode="auto">
            <a:xfrm>
              <a:off x="4014" y="1570"/>
              <a:ext cx="0" cy="545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85" name="Oval 39"/>
            <p:cNvSpPr>
              <a:spLocks noChangeArrowheads="1"/>
            </p:cNvSpPr>
            <p:nvPr/>
          </p:nvSpPr>
          <p:spPr bwMode="auto">
            <a:xfrm>
              <a:off x="4105" y="1661"/>
              <a:ext cx="1633" cy="181"/>
            </a:xfrm>
            <a:prstGeom prst="ellipse">
              <a:avLst/>
            </a:prstGeom>
            <a:gradFill rotWithShape="1">
              <a:gsLst>
                <a:gs pos="0">
                  <a:srgbClr val="FFF2F2">
                    <a:alpha val="18999"/>
                  </a:srgbClr>
                </a:gs>
                <a:gs pos="100000">
                  <a:srgbClr val="FFCCCC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FJA; </a:t>
              </a:r>
              <a:r>
                <a:rPr lang="en-US" sz="1000" b="1">
                  <a:solidFill>
                    <a:prstClr val="black"/>
                  </a:solidFill>
                  <a:latin typeface="Arial" charset="0"/>
                </a:rPr>
                <a:t>SENAI/PB</a:t>
              </a: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UFPB; IFPB; SECTMAPB</a:t>
              </a:r>
            </a:p>
          </p:txBody>
        </p:sp>
        <p:sp>
          <p:nvSpPr>
            <p:cNvPr id="10286" name="Line 3"/>
            <p:cNvSpPr>
              <a:spLocks noChangeShapeType="1"/>
            </p:cNvSpPr>
            <p:nvPr/>
          </p:nvSpPr>
          <p:spPr bwMode="auto">
            <a:xfrm flipH="1">
              <a:off x="4195" y="1797"/>
              <a:ext cx="91" cy="408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87" name="Oval 39"/>
            <p:cNvSpPr>
              <a:spLocks noChangeArrowheads="1"/>
            </p:cNvSpPr>
            <p:nvPr/>
          </p:nvSpPr>
          <p:spPr bwMode="auto">
            <a:xfrm>
              <a:off x="4230" y="1865"/>
              <a:ext cx="1508" cy="272"/>
            </a:xfrm>
            <a:prstGeom prst="ellipse">
              <a:avLst/>
            </a:prstGeom>
            <a:gradFill rotWithShape="1">
              <a:gsLst>
                <a:gs pos="0">
                  <a:srgbClr val="FFF2F2">
                    <a:alpha val="18999"/>
                  </a:srgbClr>
                </a:gs>
                <a:gs pos="100000">
                  <a:srgbClr val="FFCCCC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IEL/PE; </a:t>
              </a:r>
              <a:r>
                <a:rPr lang="en-US" sz="1000" b="1">
                  <a:solidFill>
                    <a:prstClr val="black"/>
                  </a:solidFill>
                  <a:latin typeface="Arial" charset="0"/>
                </a:rPr>
                <a:t>ITEP</a:t>
              </a: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UFPE; SECTMA-PE </a:t>
              </a: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NGPD; SENAI/PE; SEBRAE/PE,NECTAR</a:t>
              </a:r>
            </a:p>
          </p:txBody>
        </p:sp>
        <p:sp>
          <p:nvSpPr>
            <p:cNvPr id="10288" name="Line 3"/>
            <p:cNvSpPr>
              <a:spLocks noChangeShapeType="1"/>
            </p:cNvSpPr>
            <p:nvPr/>
          </p:nvSpPr>
          <p:spPr bwMode="auto">
            <a:xfrm flipH="1">
              <a:off x="4014" y="2069"/>
              <a:ext cx="499" cy="318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89" name="Oval 39"/>
            <p:cNvSpPr>
              <a:spLocks noChangeArrowheads="1"/>
            </p:cNvSpPr>
            <p:nvPr/>
          </p:nvSpPr>
          <p:spPr bwMode="auto">
            <a:xfrm>
              <a:off x="4195" y="2183"/>
              <a:ext cx="1543" cy="272"/>
            </a:xfrm>
            <a:prstGeom prst="ellipse">
              <a:avLst/>
            </a:prstGeom>
            <a:gradFill rotWithShape="1">
              <a:gsLst>
                <a:gs pos="0">
                  <a:srgbClr val="FFF2F2">
                    <a:alpha val="18999"/>
                  </a:srgbClr>
                </a:gs>
                <a:gs pos="100000">
                  <a:srgbClr val="FFCCCC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IEL/AL; </a:t>
              </a:r>
              <a:r>
                <a:rPr lang="en-US" sz="1000" b="1">
                  <a:solidFill>
                    <a:prstClr val="black"/>
                  </a:solidFill>
                  <a:latin typeface="Arial" charset="0"/>
                </a:rPr>
                <a:t>SENAI/AL</a:t>
              </a: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UFAL; UNEAL; </a:t>
              </a: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FIEA, FAPEAL, SEBRAE/AL, SECTI/AL</a:t>
              </a:r>
            </a:p>
          </p:txBody>
        </p:sp>
        <p:sp>
          <p:nvSpPr>
            <p:cNvPr id="10290" name="Line 3"/>
            <p:cNvSpPr>
              <a:spLocks noChangeShapeType="1"/>
            </p:cNvSpPr>
            <p:nvPr/>
          </p:nvSpPr>
          <p:spPr bwMode="auto">
            <a:xfrm flipH="1">
              <a:off x="4105" y="2341"/>
              <a:ext cx="136" cy="91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91" name="Oval 39"/>
            <p:cNvSpPr>
              <a:spLocks noChangeArrowheads="1"/>
            </p:cNvSpPr>
            <p:nvPr/>
          </p:nvSpPr>
          <p:spPr bwMode="auto">
            <a:xfrm>
              <a:off x="4081" y="2520"/>
              <a:ext cx="1679" cy="272"/>
            </a:xfrm>
            <a:prstGeom prst="ellipse">
              <a:avLst/>
            </a:prstGeom>
            <a:gradFill rotWithShape="1">
              <a:gsLst>
                <a:gs pos="0">
                  <a:srgbClr val="FFF2F2">
                    <a:alpha val="18999"/>
                  </a:srgbClr>
                </a:gs>
                <a:gs pos="100000">
                  <a:srgbClr val="FFCCCC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IEL/SE; </a:t>
              </a:r>
              <a:r>
                <a:rPr lang="en-US" sz="1000" b="1">
                  <a:solidFill>
                    <a:prstClr val="black"/>
                  </a:solidFill>
                  <a:latin typeface="Arial" charset="0"/>
                </a:rPr>
                <a:t>ITPS</a:t>
              </a:r>
              <a:r>
                <a:rPr lang="en-US" sz="1000">
                  <a:solidFill>
                    <a:prstClr val="black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UFS, ITP, IFS, </a:t>
              </a: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prstClr val="black"/>
                  </a:solidFill>
                  <a:latin typeface="Arial" charset="0"/>
                </a:rPr>
                <a:t>FAPITEC/SE, SEBRAE-SE,SERGIPE-ADM</a:t>
              </a:r>
            </a:p>
          </p:txBody>
        </p:sp>
        <p:sp>
          <p:nvSpPr>
            <p:cNvPr id="10292" name="Line 3"/>
            <p:cNvSpPr>
              <a:spLocks noChangeShapeType="1"/>
            </p:cNvSpPr>
            <p:nvPr/>
          </p:nvSpPr>
          <p:spPr bwMode="auto">
            <a:xfrm flipH="1" flipV="1">
              <a:off x="3969" y="2568"/>
              <a:ext cx="90" cy="46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93" name="Oval 33"/>
            <p:cNvSpPr>
              <a:spLocks noChangeArrowheads="1"/>
            </p:cNvSpPr>
            <p:nvPr/>
          </p:nvSpPr>
          <p:spPr bwMode="auto">
            <a:xfrm>
              <a:off x="3470" y="3718"/>
              <a:ext cx="1781" cy="211"/>
            </a:xfrm>
            <a:prstGeom prst="ellipse">
              <a:avLst/>
            </a:prstGeom>
            <a:gradFill rotWithShape="1">
              <a:gsLst>
                <a:gs pos="0">
                  <a:srgbClr val="F2FAFF">
                    <a:alpha val="18999"/>
                  </a:srgbClr>
                </a:gs>
                <a:gs pos="100000">
                  <a:srgbClr val="CCECFF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REDETEC; </a:t>
              </a:r>
              <a:r>
                <a:rPr lang="en-US" sz="1000" b="1">
                  <a:solidFill>
                    <a:srgbClr val="0033CC"/>
                  </a:solidFill>
                  <a:latin typeface="Arial" charset="0"/>
                </a:rPr>
                <a:t>INT</a:t>
              </a:r>
              <a:r>
                <a:rPr lang="en-US" sz="1000">
                  <a:solidFill>
                    <a:srgbClr val="0033CC"/>
                  </a:solidFill>
                  <a:latin typeface="Arial" charset="0"/>
                </a:rPr>
                <a:t>; </a:t>
              </a: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SEBRAE/RJ; FAPERJ</a:t>
              </a:r>
            </a:p>
          </p:txBody>
        </p:sp>
        <p:sp>
          <p:nvSpPr>
            <p:cNvPr id="10294" name="Line 9"/>
            <p:cNvSpPr>
              <a:spLocks noChangeShapeType="1"/>
            </p:cNvSpPr>
            <p:nvPr/>
          </p:nvSpPr>
          <p:spPr bwMode="auto">
            <a:xfrm flipH="1" flipV="1">
              <a:off x="3560" y="3249"/>
              <a:ext cx="318" cy="226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95" name="Oval 33"/>
            <p:cNvSpPr>
              <a:spLocks noChangeArrowheads="1"/>
            </p:cNvSpPr>
            <p:nvPr/>
          </p:nvSpPr>
          <p:spPr bwMode="auto">
            <a:xfrm>
              <a:off x="3787" y="3400"/>
              <a:ext cx="1950" cy="302"/>
            </a:xfrm>
            <a:prstGeom prst="ellipse">
              <a:avLst/>
            </a:prstGeom>
            <a:gradFill rotWithShape="1">
              <a:gsLst>
                <a:gs pos="0">
                  <a:srgbClr val="F2FAFF">
                    <a:alpha val="18999"/>
                  </a:srgbClr>
                </a:gs>
                <a:gs pos="100000">
                  <a:srgbClr val="CCECFF">
                    <a:alpha val="60001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IEL/ES; </a:t>
              </a:r>
              <a:r>
                <a:rPr lang="pt-BR" sz="1000" b="1">
                  <a:solidFill>
                    <a:srgbClr val="0033CC"/>
                  </a:solidFill>
                  <a:latin typeface="Arial" charset="0"/>
                </a:rPr>
                <a:t>SENAI/ES</a:t>
              </a:r>
              <a:r>
                <a:rPr lang="pt-BR" sz="1000">
                  <a:solidFill>
                    <a:srgbClr val="0033CC"/>
                  </a:solidFill>
                  <a:latin typeface="Arial" charset="0"/>
                </a:rPr>
                <a:t>; </a:t>
              </a:r>
              <a:r>
                <a:rPr lang="de-DE" sz="1000">
                  <a:solidFill>
                    <a:srgbClr val="0033CC"/>
                  </a:solidFill>
                  <a:latin typeface="Arial" charset="0"/>
                </a:rPr>
                <a:t>UFES, IFES, CETEM,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de-DE" sz="1000">
                  <a:solidFill>
                    <a:srgbClr val="0033CC"/>
                  </a:solidFill>
                  <a:latin typeface="Arial" charset="0"/>
                </a:rPr>
                <a:t>BANDES, SEBRAE-ES, FINDES, FAPES, SECTES</a:t>
              </a:r>
              <a:endParaRPr lang="pt-BR" sz="1000">
                <a:solidFill>
                  <a:srgbClr val="0033CC"/>
                </a:solidFill>
                <a:latin typeface="Arial" charset="0"/>
              </a:endParaRPr>
            </a:p>
          </p:txBody>
        </p:sp>
        <p:sp>
          <p:nvSpPr>
            <p:cNvPr id="10296" name="Line 9"/>
            <p:cNvSpPr>
              <a:spLocks noChangeShapeType="1"/>
            </p:cNvSpPr>
            <p:nvPr/>
          </p:nvSpPr>
          <p:spPr bwMode="auto">
            <a:xfrm flipH="1" flipV="1">
              <a:off x="3288" y="2976"/>
              <a:ext cx="817" cy="182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97" name="Elipse 52"/>
            <p:cNvSpPr>
              <a:spLocks noChangeArrowheads="1"/>
            </p:cNvSpPr>
            <p:nvPr/>
          </p:nvSpPr>
          <p:spPr bwMode="auto">
            <a:xfrm>
              <a:off x="2677" y="3704"/>
              <a:ext cx="69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98" name="Oval 18"/>
            <p:cNvSpPr>
              <a:spLocks noChangeArrowheads="1"/>
            </p:cNvSpPr>
            <p:nvPr/>
          </p:nvSpPr>
          <p:spPr bwMode="auto">
            <a:xfrm>
              <a:off x="68" y="3249"/>
              <a:ext cx="1905" cy="272"/>
            </a:xfrm>
            <a:prstGeom prst="ellipse">
              <a:avLst/>
            </a:prstGeom>
            <a:solidFill>
              <a:srgbClr val="FFFF99">
                <a:alpha val="18823"/>
              </a:srgbClr>
            </a:soli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solidFill>
                    <a:srgbClr val="663300"/>
                  </a:solidFill>
                  <a:latin typeface="Arial" charset="0"/>
                </a:rPr>
                <a:t>IEL/MS; </a:t>
              </a:r>
              <a:r>
                <a:rPr lang="pt-BR" sz="1000" b="1">
                  <a:solidFill>
                    <a:srgbClr val="663300"/>
                  </a:solidFill>
                  <a:latin typeface="Arial" charset="0"/>
                </a:rPr>
                <a:t>SENAI/MS ;</a:t>
              </a:r>
              <a:r>
                <a:rPr lang="pt-BR" sz="1000">
                  <a:solidFill>
                    <a:srgbClr val="663300"/>
                  </a:solidFill>
                  <a:latin typeface="Arial" charset="0"/>
                </a:rPr>
                <a:t> UFMS; UEMS; UFGD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663300"/>
                  </a:solidFill>
                  <a:latin typeface="Arial" charset="0"/>
                </a:rPr>
                <a:t>UCDB; SEBRAE/MS; SEMAC/MS</a:t>
              </a:r>
            </a:p>
          </p:txBody>
        </p:sp>
        <p:sp>
          <p:nvSpPr>
            <p:cNvPr id="10299" name="Line 18"/>
            <p:cNvSpPr>
              <a:spLocks noChangeShapeType="1"/>
            </p:cNvSpPr>
            <p:nvPr/>
          </p:nvSpPr>
          <p:spPr bwMode="auto">
            <a:xfrm rot="749659" flipH="1">
              <a:off x="1968" y="3193"/>
              <a:ext cx="317" cy="190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00" name="Oval 18"/>
            <p:cNvSpPr>
              <a:spLocks noChangeArrowheads="1"/>
            </p:cNvSpPr>
            <p:nvPr/>
          </p:nvSpPr>
          <p:spPr bwMode="auto">
            <a:xfrm>
              <a:off x="22" y="2953"/>
              <a:ext cx="1905" cy="272"/>
            </a:xfrm>
            <a:prstGeom prst="ellipse">
              <a:avLst/>
            </a:prstGeom>
            <a:solidFill>
              <a:srgbClr val="FFFF99">
                <a:alpha val="18823"/>
              </a:srgbClr>
            </a:soli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solidFill>
                    <a:srgbClr val="663300"/>
                  </a:solidFill>
                  <a:latin typeface="Arial" charset="0"/>
                </a:rPr>
                <a:t>FUNAPE; </a:t>
              </a:r>
              <a:r>
                <a:rPr lang="pt-BR" sz="1000" b="1">
                  <a:solidFill>
                    <a:srgbClr val="663300"/>
                  </a:solidFill>
                  <a:latin typeface="Arial" charset="0"/>
                </a:rPr>
                <a:t>SENAI</a:t>
              </a:r>
              <a:r>
                <a:rPr lang="pt-BR" sz="1000">
                  <a:solidFill>
                    <a:srgbClr val="663300"/>
                  </a:solidFill>
                  <a:latin typeface="Arial" charset="0"/>
                </a:rPr>
                <a:t>; UFG; IFGOIANO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663300"/>
                  </a:solidFill>
                  <a:latin typeface="Arial" charset="0"/>
                </a:rPr>
                <a:t>SGM-SIC; SEBRAE; SECTEC</a:t>
              </a:r>
            </a:p>
          </p:txBody>
        </p:sp>
        <p:sp>
          <p:nvSpPr>
            <p:cNvPr id="10301" name="Line 18"/>
            <p:cNvSpPr>
              <a:spLocks noChangeShapeType="1"/>
            </p:cNvSpPr>
            <p:nvPr/>
          </p:nvSpPr>
          <p:spPr bwMode="auto">
            <a:xfrm rot="749659" flipH="1">
              <a:off x="1900" y="2887"/>
              <a:ext cx="753" cy="231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02" name="Elipse 52"/>
            <p:cNvSpPr>
              <a:spLocks noChangeArrowheads="1"/>
            </p:cNvSpPr>
            <p:nvPr/>
          </p:nvSpPr>
          <p:spPr bwMode="auto">
            <a:xfrm>
              <a:off x="2653" y="2931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03" name="Oval 18"/>
            <p:cNvSpPr>
              <a:spLocks noChangeArrowheads="1"/>
            </p:cNvSpPr>
            <p:nvPr/>
          </p:nvSpPr>
          <p:spPr bwMode="auto">
            <a:xfrm>
              <a:off x="68" y="2610"/>
              <a:ext cx="1633" cy="272"/>
            </a:xfrm>
            <a:prstGeom prst="ellipse">
              <a:avLst/>
            </a:prstGeom>
            <a:solidFill>
              <a:srgbClr val="FFFF99">
                <a:alpha val="18823"/>
              </a:srgbClr>
            </a:soli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663300"/>
                  </a:solidFill>
                  <a:latin typeface="Arial" charset="0"/>
                </a:rPr>
                <a:t>SECITEC; </a:t>
              </a:r>
              <a:r>
                <a:rPr lang="pt-BR" sz="1000" b="1">
                  <a:solidFill>
                    <a:srgbClr val="663300"/>
                  </a:solidFill>
                  <a:latin typeface="Arial" charset="0"/>
                </a:rPr>
                <a:t>SENAI/</a:t>
              </a:r>
              <a:r>
                <a:rPr lang="pt-BR" sz="1000">
                  <a:solidFill>
                    <a:srgbClr val="663300"/>
                  </a:solidFill>
                  <a:latin typeface="Arial" charset="0"/>
                </a:rPr>
                <a:t> FUFMT; IFMT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663300"/>
                  </a:solidFill>
                  <a:latin typeface="Arial" charset="0"/>
                </a:rPr>
                <a:t>UNEMAT; INT; SEBRAE</a:t>
              </a:r>
            </a:p>
          </p:txBody>
        </p:sp>
        <p:sp>
          <p:nvSpPr>
            <p:cNvPr id="10304" name="Line 18"/>
            <p:cNvSpPr>
              <a:spLocks noChangeShapeType="1"/>
            </p:cNvSpPr>
            <p:nvPr/>
          </p:nvSpPr>
          <p:spPr bwMode="auto">
            <a:xfrm rot="749659" flipH="1">
              <a:off x="1690" y="2658"/>
              <a:ext cx="547" cy="180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05" name="Oval 18"/>
            <p:cNvSpPr>
              <a:spLocks noChangeArrowheads="1"/>
            </p:cNvSpPr>
            <p:nvPr/>
          </p:nvSpPr>
          <p:spPr bwMode="auto">
            <a:xfrm>
              <a:off x="22" y="1117"/>
              <a:ext cx="1315" cy="453"/>
            </a:xfrm>
            <a:prstGeom prst="ellipse">
              <a:avLst/>
            </a:prstGeom>
            <a:solidFill>
              <a:srgbClr val="99FFCC">
                <a:alpha val="18823"/>
              </a:srgbClr>
            </a:soli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00"/>
                  </a:solidFill>
                  <a:latin typeface="Arial" charset="0"/>
                </a:rPr>
                <a:t>IEL/RO; </a:t>
              </a:r>
              <a:r>
                <a:rPr lang="pt-BR" sz="1000" b="1">
                  <a:solidFill>
                    <a:srgbClr val="003300"/>
                  </a:solidFill>
                  <a:latin typeface="Arial" charset="0"/>
                </a:rPr>
                <a:t>SENAI/RO</a:t>
              </a:r>
              <a:r>
                <a:rPr lang="pt-BR" sz="1000">
                  <a:solidFill>
                    <a:srgbClr val="003300"/>
                  </a:solidFill>
                  <a:latin typeface="Arial" charset="0"/>
                </a:rPr>
                <a:t>; IPEPATRO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00"/>
                  </a:solidFill>
                  <a:latin typeface="Arial" charset="0"/>
                </a:rPr>
                <a:t>Embrapa-RO/CEPAFRO; IJN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00"/>
                  </a:solidFill>
                  <a:latin typeface="Arial" charset="0"/>
                </a:rPr>
                <a:t>FIMCA; SEPLAN; SEBRAE/RO</a:t>
              </a:r>
            </a:p>
          </p:txBody>
        </p:sp>
        <p:sp>
          <p:nvSpPr>
            <p:cNvPr id="10306" name="Oval 18"/>
            <p:cNvSpPr>
              <a:spLocks noChangeArrowheads="1"/>
            </p:cNvSpPr>
            <p:nvPr/>
          </p:nvSpPr>
          <p:spPr bwMode="auto">
            <a:xfrm>
              <a:off x="22" y="618"/>
              <a:ext cx="1587" cy="474"/>
            </a:xfrm>
            <a:prstGeom prst="ellipse">
              <a:avLst/>
            </a:prstGeom>
            <a:solidFill>
              <a:srgbClr val="99FFCC">
                <a:alpha val="18823"/>
              </a:srgbClr>
            </a:soli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 dirty="0">
                  <a:solidFill>
                    <a:srgbClr val="003300"/>
                  </a:solidFill>
                  <a:latin typeface="Arial" charset="0"/>
                </a:rPr>
                <a:t>FDB; </a:t>
              </a:r>
              <a:r>
                <a:rPr lang="pt-BR" sz="1000" b="1" dirty="0">
                  <a:solidFill>
                    <a:srgbClr val="003300"/>
                  </a:solidFill>
                  <a:latin typeface="Arial" charset="0"/>
                </a:rPr>
                <a:t>FUCAPI</a:t>
              </a:r>
              <a:r>
                <a:rPr lang="pt-BR" sz="1000" dirty="0">
                  <a:solidFill>
                    <a:srgbClr val="003300"/>
                  </a:solidFill>
                  <a:latin typeface="Arial" charset="0"/>
                </a:rPr>
                <a:t>; FUA; INPA; UEA; IFAM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 dirty="0">
                  <a:solidFill>
                    <a:srgbClr val="003300"/>
                  </a:solidFill>
                  <a:latin typeface="Arial" charset="0"/>
                </a:rPr>
                <a:t>Embrapa/CPAA; CBA/; IDAM; SENAI/AM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 dirty="0">
                  <a:solidFill>
                    <a:srgbClr val="003300"/>
                  </a:solidFill>
                  <a:latin typeface="Arial" charset="0"/>
                </a:rPr>
                <a:t>SECT/AM;  FAPEAM; SEBRAE-AM</a:t>
              </a:r>
            </a:p>
          </p:txBody>
        </p:sp>
        <p:sp>
          <p:nvSpPr>
            <p:cNvPr id="10307" name="Line 6"/>
            <p:cNvSpPr>
              <a:spLocks noChangeShapeType="1"/>
            </p:cNvSpPr>
            <p:nvPr/>
          </p:nvSpPr>
          <p:spPr bwMode="auto">
            <a:xfrm>
              <a:off x="703" y="1570"/>
              <a:ext cx="952" cy="908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08" name="Line 6"/>
            <p:cNvSpPr>
              <a:spLocks noChangeShapeType="1"/>
            </p:cNvSpPr>
            <p:nvPr/>
          </p:nvSpPr>
          <p:spPr bwMode="auto">
            <a:xfrm>
              <a:off x="1338" y="1026"/>
              <a:ext cx="181" cy="907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09" name="Oval 18"/>
            <p:cNvSpPr>
              <a:spLocks noChangeArrowheads="1"/>
            </p:cNvSpPr>
            <p:nvPr/>
          </p:nvSpPr>
          <p:spPr bwMode="auto">
            <a:xfrm>
              <a:off x="1656" y="618"/>
              <a:ext cx="1449" cy="417"/>
            </a:xfrm>
            <a:prstGeom prst="ellipse">
              <a:avLst/>
            </a:prstGeom>
            <a:solidFill>
              <a:srgbClr val="99FFCC">
                <a:alpha val="18823"/>
              </a:srgbClr>
            </a:soli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000" dirty="0">
                <a:solidFill>
                  <a:srgbClr val="003300"/>
                </a:solidFill>
                <a:latin typeface="Arial" charset="0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 dirty="0">
                  <a:solidFill>
                    <a:srgbClr val="003300"/>
                  </a:solidFill>
                  <a:latin typeface="Arial" charset="0"/>
                </a:rPr>
                <a:t>FADESP; </a:t>
              </a:r>
              <a:r>
                <a:rPr lang="pt-BR" sz="1000" b="1" dirty="0">
                  <a:solidFill>
                    <a:srgbClr val="003300"/>
                  </a:solidFill>
                  <a:latin typeface="Arial" charset="0"/>
                </a:rPr>
                <a:t>SENAI/PA</a:t>
              </a:r>
              <a:r>
                <a:rPr lang="pt-BR" sz="1000" dirty="0">
                  <a:solidFill>
                    <a:srgbClr val="003300"/>
                  </a:solidFill>
                  <a:latin typeface="Arial" charset="0"/>
                </a:rPr>
                <a:t>; UFPA, UEPA,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 dirty="0">
                  <a:solidFill>
                    <a:srgbClr val="003300"/>
                  </a:solidFill>
                  <a:latin typeface="Arial" charset="0"/>
                </a:rPr>
                <a:t> CPATU, IFPA, SEDECT/PA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 dirty="0">
                  <a:solidFill>
                    <a:srgbClr val="003300"/>
                  </a:solidFill>
                  <a:latin typeface="Arial" charset="0"/>
                </a:rPr>
                <a:t>FAPESPA</a:t>
              </a:r>
            </a:p>
          </p:txBody>
        </p:sp>
        <p:sp>
          <p:nvSpPr>
            <p:cNvPr id="10310" name="Line 6"/>
            <p:cNvSpPr>
              <a:spLocks noChangeShapeType="1"/>
            </p:cNvSpPr>
            <p:nvPr/>
          </p:nvSpPr>
          <p:spPr bwMode="auto">
            <a:xfrm>
              <a:off x="1927" y="981"/>
              <a:ext cx="454" cy="862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11" name="Oval 18"/>
            <p:cNvSpPr>
              <a:spLocks noChangeArrowheads="1"/>
            </p:cNvSpPr>
            <p:nvPr/>
          </p:nvSpPr>
          <p:spPr bwMode="auto">
            <a:xfrm>
              <a:off x="2205" y="1078"/>
              <a:ext cx="1315" cy="272"/>
            </a:xfrm>
            <a:prstGeom prst="ellipse">
              <a:avLst/>
            </a:prstGeom>
            <a:solidFill>
              <a:srgbClr val="99FFCC">
                <a:alpha val="18823"/>
              </a:srgbClr>
            </a:solidFill>
            <a:ln w="9525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00"/>
                  </a:solidFill>
                  <a:latin typeface="Arial" charset="0"/>
                </a:rPr>
                <a:t>IEL/TO; </a:t>
              </a:r>
              <a:r>
                <a:rPr lang="pt-BR" sz="1000" b="1">
                  <a:solidFill>
                    <a:srgbClr val="003300"/>
                  </a:solidFill>
                  <a:latin typeface="Arial" charset="0"/>
                </a:rPr>
                <a:t>SENAI/TO</a:t>
              </a:r>
              <a:r>
                <a:rPr lang="pt-BR" sz="1000">
                  <a:solidFill>
                    <a:srgbClr val="003300"/>
                  </a:solidFill>
                  <a:latin typeface="Arial" charset="0"/>
                </a:rPr>
                <a:t>; UNITINS;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pt-BR" sz="1000">
                  <a:solidFill>
                    <a:srgbClr val="003300"/>
                  </a:solidFill>
                  <a:latin typeface="Arial" charset="0"/>
                </a:rPr>
                <a:t>UFT; SECT/TO</a:t>
              </a:r>
            </a:p>
          </p:txBody>
        </p:sp>
        <p:sp>
          <p:nvSpPr>
            <p:cNvPr id="10312" name="Line 6"/>
            <p:cNvSpPr>
              <a:spLocks noChangeShapeType="1"/>
            </p:cNvSpPr>
            <p:nvPr/>
          </p:nvSpPr>
          <p:spPr bwMode="auto">
            <a:xfrm flipH="1">
              <a:off x="2925" y="1350"/>
              <a:ext cx="0" cy="900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13" name="Elipse 52"/>
            <p:cNvSpPr>
              <a:spLocks noChangeArrowheads="1"/>
            </p:cNvSpPr>
            <p:nvPr/>
          </p:nvSpPr>
          <p:spPr bwMode="auto">
            <a:xfrm>
              <a:off x="2336" y="3940"/>
              <a:ext cx="70" cy="6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latin typeface="Calibri"/>
              </a:endParaRPr>
            </a:p>
          </p:txBody>
        </p:sp>
      </p:grpSp>
      <p:pic>
        <p:nvPicPr>
          <p:cNvPr id="76" name="Picture 2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-27384"/>
            <a:ext cx="1781175" cy="874713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813" y="802928"/>
            <a:ext cx="919321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3198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467544" y="764704"/>
            <a:ext cx="8229600" cy="720080"/>
          </a:xfrm>
        </p:spPr>
        <p:txBody>
          <a:bodyPr/>
          <a:lstStyle/>
          <a:p>
            <a:pPr algn="ctr"/>
            <a:r>
              <a:rPr lang="pt-BR" sz="3600" b="1" dirty="0" smtClean="0">
                <a:solidFill>
                  <a:srgbClr val="C00000"/>
                </a:solidFill>
              </a:rPr>
              <a:t>P&amp;D no Cenário Internacional: sumário</a:t>
            </a:r>
            <a:endParaRPr lang="pt-BR" sz="3600" b="1" dirty="0">
              <a:solidFill>
                <a:srgbClr val="C00000"/>
              </a:solidFill>
            </a:endParaRPr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3"/>
          </p:nvPr>
        </p:nvSpPr>
        <p:spPr>
          <a:xfrm>
            <a:off x="457200" y="1769739"/>
            <a:ext cx="8229600" cy="446757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pt-BR" sz="2800" dirty="0" smtClean="0">
                <a:solidFill>
                  <a:srgbClr val="C00000"/>
                </a:solidFill>
                <a:latin typeface="Corbel" pitchFamily="34" charset="0"/>
              </a:rPr>
              <a:t>Tendência mundial:</a:t>
            </a:r>
          </a:p>
          <a:p>
            <a:pPr lvl="1">
              <a:buFont typeface="Corbel" pitchFamily="34" charset="0"/>
              <a:buChar char="₋"/>
            </a:pPr>
            <a:r>
              <a:rPr lang="pt-BR" sz="2400" dirty="0" smtClean="0">
                <a:solidFill>
                  <a:srgbClr val="002060"/>
                </a:solidFill>
                <a:latin typeface="Corbel" pitchFamily="34" charset="0"/>
              </a:rPr>
              <a:t>aumento dos investimentos em C&amp;T</a:t>
            </a:r>
          </a:p>
          <a:p>
            <a:pPr lvl="1">
              <a:buFont typeface="Corbel" pitchFamily="34" charset="0"/>
              <a:buChar char="₋"/>
            </a:pPr>
            <a:r>
              <a:rPr lang="pt-BR" sz="2400" dirty="0" smtClean="0">
                <a:solidFill>
                  <a:srgbClr val="002060"/>
                </a:solidFill>
                <a:latin typeface="Corbel" pitchFamily="34" charset="0"/>
              </a:rPr>
              <a:t>formação de doutores e graduados em ciências naturais e engenharias</a:t>
            </a:r>
          </a:p>
          <a:p>
            <a:pPr>
              <a:buFont typeface="Arial" pitchFamily="34" charset="0"/>
              <a:buChar char="•"/>
            </a:pPr>
            <a:r>
              <a:rPr lang="pt-BR" sz="2800" dirty="0" smtClean="0">
                <a:solidFill>
                  <a:srgbClr val="C00000"/>
                </a:solidFill>
                <a:latin typeface="Corbel" pitchFamily="34" charset="0"/>
              </a:rPr>
              <a:t>Relação direta:</a:t>
            </a:r>
          </a:p>
          <a:p>
            <a:pPr lvl="1">
              <a:buFont typeface="Corbel" pitchFamily="34" charset="0"/>
              <a:buChar char="₋"/>
            </a:pPr>
            <a:r>
              <a:rPr lang="pt-BR" sz="2400" dirty="0" smtClean="0">
                <a:solidFill>
                  <a:srgbClr val="002060"/>
                </a:solidFill>
                <a:latin typeface="Corbel" pitchFamily="34" charset="0"/>
              </a:rPr>
              <a:t>com o desenvolvimento econômico</a:t>
            </a:r>
          </a:p>
          <a:p>
            <a:pPr lvl="1">
              <a:buFont typeface="Corbel" pitchFamily="34" charset="0"/>
              <a:buChar char="₋"/>
            </a:pPr>
            <a:r>
              <a:rPr lang="pt-BR" sz="2400" dirty="0" smtClean="0">
                <a:solidFill>
                  <a:srgbClr val="002060"/>
                </a:solidFill>
                <a:latin typeface="Corbel" pitchFamily="34" charset="0"/>
              </a:rPr>
              <a:t>inovação, medida pelas patentes</a:t>
            </a:r>
          </a:p>
          <a:p>
            <a:pPr lvl="1">
              <a:buFont typeface="Corbel" pitchFamily="34" charset="0"/>
              <a:buChar char="₋"/>
            </a:pPr>
            <a:r>
              <a:rPr lang="pt-BR" sz="2400" dirty="0" smtClean="0">
                <a:solidFill>
                  <a:srgbClr val="002060"/>
                </a:solidFill>
                <a:latin typeface="Corbel" pitchFamily="34" charset="0"/>
              </a:rPr>
              <a:t>exportação de alta-tecnologia</a:t>
            </a:r>
          </a:p>
          <a:p>
            <a:pPr lvl="1">
              <a:buFont typeface="Corbel" pitchFamily="34" charset="0"/>
              <a:buChar char="₋"/>
            </a:pPr>
            <a:r>
              <a:rPr lang="pt-BR" sz="2400" dirty="0" smtClean="0">
                <a:solidFill>
                  <a:srgbClr val="002060"/>
                </a:solidFill>
                <a:latin typeface="Corbel" pitchFamily="34" charset="0"/>
              </a:rPr>
              <a:t>exportação de serviços de alto valor agregado </a:t>
            </a:r>
            <a:endParaRPr lang="pt-BR" sz="2400" dirty="0">
              <a:solidFill>
                <a:srgbClr val="002060"/>
              </a:solidFill>
              <a:latin typeface="Corbel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52400" y="695325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7" name="Imagem 15" descr="Logo_MCT_Corel_10_Curvas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601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8"/>
          <p:cNvSpPr>
            <a:spLocks noChangeArrowheads="1"/>
          </p:cNvSpPr>
          <p:nvPr/>
        </p:nvSpPr>
        <p:spPr bwMode="auto">
          <a:xfrm>
            <a:off x="2362200" y="571500"/>
            <a:ext cx="62484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fontAlgn="auto" hangingPunct="1">
              <a:spcBef>
                <a:spcPct val="25000"/>
              </a:spcBef>
              <a:spcAft>
                <a:spcPts val="0"/>
              </a:spcAft>
            </a:pPr>
            <a:r>
              <a:rPr lang="pt-BR" sz="1600" b="1">
                <a:solidFill>
                  <a:prstClr val="black"/>
                </a:solidFill>
                <a:latin typeface="Arial" charset="0"/>
              </a:rPr>
              <a:t>20 Redes SIBRATEC de Serviços Tecnológicos</a:t>
            </a:r>
          </a:p>
        </p:txBody>
      </p:sp>
      <p:grpSp>
        <p:nvGrpSpPr>
          <p:cNvPr id="6147" name="Group 3"/>
          <p:cNvGrpSpPr>
            <a:grpSpLocks/>
          </p:cNvGrpSpPr>
          <p:nvPr/>
        </p:nvGrpSpPr>
        <p:grpSpPr bwMode="auto">
          <a:xfrm>
            <a:off x="250825" y="1212850"/>
            <a:ext cx="8785225" cy="5346700"/>
            <a:chOff x="158" y="764"/>
            <a:chExt cx="5534" cy="3368"/>
          </a:xfrm>
        </p:grpSpPr>
        <p:grpSp>
          <p:nvGrpSpPr>
            <p:cNvPr id="6151" name="Group 4"/>
            <p:cNvGrpSpPr>
              <a:grpSpLocks/>
            </p:cNvGrpSpPr>
            <p:nvPr/>
          </p:nvGrpSpPr>
          <p:grpSpPr bwMode="auto">
            <a:xfrm>
              <a:off x="2245" y="1081"/>
              <a:ext cx="3447" cy="2903"/>
              <a:chOff x="2245" y="1081"/>
              <a:chExt cx="3447" cy="2903"/>
            </a:xfrm>
          </p:grpSpPr>
          <p:pic>
            <p:nvPicPr>
              <p:cNvPr id="6175" name="Picture 4" descr="Mapa com estados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45" y="1081"/>
                <a:ext cx="3431" cy="29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176" name="Rectangle 179"/>
              <p:cNvSpPr>
                <a:spLocks noChangeArrowheads="1"/>
              </p:cNvSpPr>
              <p:nvPr/>
            </p:nvSpPr>
            <p:spPr bwMode="auto">
              <a:xfrm>
                <a:off x="4346" y="3551"/>
                <a:ext cx="41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77" name="Rectangle 180"/>
              <p:cNvSpPr>
                <a:spLocks noChangeArrowheads="1"/>
              </p:cNvSpPr>
              <p:nvPr/>
            </p:nvSpPr>
            <p:spPr bwMode="auto">
              <a:xfrm>
                <a:off x="4774" y="2859"/>
                <a:ext cx="41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78" name="Rectangle 181"/>
              <p:cNvSpPr>
                <a:spLocks noChangeArrowheads="1"/>
              </p:cNvSpPr>
              <p:nvPr/>
            </p:nvSpPr>
            <p:spPr bwMode="auto">
              <a:xfrm>
                <a:off x="3999" y="3668"/>
                <a:ext cx="41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79" name="Rectangle 182"/>
              <p:cNvSpPr>
                <a:spLocks noChangeArrowheads="1"/>
              </p:cNvSpPr>
              <p:nvPr/>
            </p:nvSpPr>
            <p:spPr bwMode="auto">
              <a:xfrm>
                <a:off x="3101" y="1695"/>
                <a:ext cx="41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0" name="Rectangle 183"/>
              <p:cNvSpPr>
                <a:spLocks noChangeArrowheads="1"/>
              </p:cNvSpPr>
              <p:nvPr/>
            </p:nvSpPr>
            <p:spPr bwMode="auto">
              <a:xfrm>
                <a:off x="4361" y="3139"/>
                <a:ext cx="40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1" name="Rectangle 184"/>
              <p:cNvSpPr>
                <a:spLocks noChangeArrowheads="1"/>
              </p:cNvSpPr>
              <p:nvPr/>
            </p:nvSpPr>
            <p:spPr bwMode="auto">
              <a:xfrm>
                <a:off x="5101" y="3116"/>
                <a:ext cx="40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2" name="Rectangle 185"/>
              <p:cNvSpPr>
                <a:spLocks noChangeArrowheads="1"/>
              </p:cNvSpPr>
              <p:nvPr/>
            </p:nvSpPr>
            <p:spPr bwMode="auto">
              <a:xfrm>
                <a:off x="5428" y="2130"/>
                <a:ext cx="40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3" name="Rectangle 186"/>
              <p:cNvSpPr>
                <a:spLocks noChangeArrowheads="1"/>
              </p:cNvSpPr>
              <p:nvPr/>
            </p:nvSpPr>
            <p:spPr bwMode="auto">
              <a:xfrm>
                <a:off x="5061" y="2465"/>
                <a:ext cx="40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4" name="Rectangle 187"/>
              <p:cNvSpPr>
                <a:spLocks noChangeArrowheads="1"/>
              </p:cNvSpPr>
              <p:nvPr/>
            </p:nvSpPr>
            <p:spPr bwMode="auto">
              <a:xfrm>
                <a:off x="5591" y="1933"/>
                <a:ext cx="41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5" name="Rectangle 188"/>
              <p:cNvSpPr>
                <a:spLocks noChangeArrowheads="1"/>
              </p:cNvSpPr>
              <p:nvPr/>
            </p:nvSpPr>
            <p:spPr bwMode="auto">
              <a:xfrm>
                <a:off x="4028" y="3313"/>
                <a:ext cx="40" cy="3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6" name="Rectangle 189"/>
              <p:cNvSpPr>
                <a:spLocks noChangeArrowheads="1"/>
              </p:cNvSpPr>
              <p:nvPr/>
            </p:nvSpPr>
            <p:spPr bwMode="auto">
              <a:xfrm>
                <a:off x="4652" y="2859"/>
                <a:ext cx="41" cy="39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7" name="Rectangle 190"/>
              <p:cNvSpPr>
                <a:spLocks noChangeArrowheads="1"/>
              </p:cNvSpPr>
              <p:nvPr/>
            </p:nvSpPr>
            <p:spPr bwMode="auto">
              <a:xfrm>
                <a:off x="4427" y="3135"/>
                <a:ext cx="41" cy="39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8" name="Rectangle 191"/>
              <p:cNvSpPr>
                <a:spLocks noChangeArrowheads="1"/>
              </p:cNvSpPr>
              <p:nvPr/>
            </p:nvSpPr>
            <p:spPr bwMode="auto">
              <a:xfrm>
                <a:off x="5468" y="2090"/>
                <a:ext cx="40" cy="39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89" name="Rectangle 192"/>
              <p:cNvSpPr>
                <a:spLocks noChangeArrowheads="1"/>
              </p:cNvSpPr>
              <p:nvPr/>
            </p:nvSpPr>
            <p:spPr bwMode="auto">
              <a:xfrm>
                <a:off x="4898" y="3116"/>
                <a:ext cx="40" cy="39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0" name="Rectangle 193"/>
              <p:cNvSpPr>
                <a:spLocks noChangeArrowheads="1"/>
              </p:cNvSpPr>
              <p:nvPr/>
            </p:nvSpPr>
            <p:spPr bwMode="auto">
              <a:xfrm>
                <a:off x="5101" y="2524"/>
                <a:ext cx="40" cy="39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1" name="Rectangle 194"/>
              <p:cNvSpPr>
                <a:spLocks noChangeArrowheads="1"/>
              </p:cNvSpPr>
              <p:nvPr/>
            </p:nvSpPr>
            <p:spPr bwMode="auto">
              <a:xfrm>
                <a:off x="4142" y="3332"/>
                <a:ext cx="41" cy="40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2" name="Rectangle 195"/>
              <p:cNvSpPr>
                <a:spLocks noChangeArrowheads="1"/>
              </p:cNvSpPr>
              <p:nvPr/>
            </p:nvSpPr>
            <p:spPr bwMode="auto">
              <a:xfrm>
                <a:off x="5285" y="1814"/>
                <a:ext cx="40" cy="40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3" name="Rectangle 196"/>
              <p:cNvSpPr>
                <a:spLocks noChangeArrowheads="1"/>
              </p:cNvSpPr>
              <p:nvPr/>
            </p:nvSpPr>
            <p:spPr bwMode="auto">
              <a:xfrm>
                <a:off x="4427" y="3195"/>
                <a:ext cx="41" cy="39"/>
              </a:xfrm>
              <a:prstGeom prst="rect">
                <a:avLst/>
              </a:prstGeom>
              <a:solidFill>
                <a:srgbClr val="FF99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4" name="Rectangle 197"/>
              <p:cNvSpPr>
                <a:spLocks noChangeArrowheads="1"/>
              </p:cNvSpPr>
              <p:nvPr/>
            </p:nvSpPr>
            <p:spPr bwMode="auto">
              <a:xfrm>
                <a:off x="4713" y="2919"/>
                <a:ext cx="41" cy="39"/>
              </a:xfrm>
              <a:prstGeom prst="rect">
                <a:avLst/>
              </a:prstGeom>
              <a:solidFill>
                <a:srgbClr val="FF99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5" name="Rectangle 198"/>
              <p:cNvSpPr>
                <a:spLocks noChangeArrowheads="1"/>
              </p:cNvSpPr>
              <p:nvPr/>
            </p:nvSpPr>
            <p:spPr bwMode="auto">
              <a:xfrm>
                <a:off x="5121" y="2465"/>
                <a:ext cx="40" cy="39"/>
              </a:xfrm>
              <a:prstGeom prst="rect">
                <a:avLst/>
              </a:prstGeom>
              <a:solidFill>
                <a:srgbClr val="FF99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6" name="Rectangle 199"/>
              <p:cNvSpPr>
                <a:spLocks noChangeArrowheads="1"/>
              </p:cNvSpPr>
              <p:nvPr/>
            </p:nvSpPr>
            <p:spPr bwMode="auto">
              <a:xfrm>
                <a:off x="4195" y="3321"/>
                <a:ext cx="41" cy="39"/>
              </a:xfrm>
              <a:prstGeom prst="rect">
                <a:avLst/>
              </a:prstGeom>
              <a:solidFill>
                <a:srgbClr val="FF99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7" name="Rectangle 200"/>
              <p:cNvSpPr>
                <a:spLocks noChangeArrowheads="1"/>
              </p:cNvSpPr>
              <p:nvPr/>
            </p:nvSpPr>
            <p:spPr bwMode="auto">
              <a:xfrm>
                <a:off x="4713" y="2859"/>
                <a:ext cx="41" cy="39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8" name="Rectangle 201"/>
              <p:cNvSpPr>
                <a:spLocks noChangeArrowheads="1"/>
              </p:cNvSpPr>
              <p:nvPr/>
            </p:nvSpPr>
            <p:spPr bwMode="auto">
              <a:xfrm>
                <a:off x="5019" y="2524"/>
                <a:ext cx="41" cy="39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99" name="Rectangle 202"/>
              <p:cNvSpPr>
                <a:spLocks noChangeArrowheads="1"/>
              </p:cNvSpPr>
              <p:nvPr/>
            </p:nvSpPr>
            <p:spPr bwMode="auto">
              <a:xfrm>
                <a:off x="4061" y="3668"/>
                <a:ext cx="41" cy="39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0" name="Rectangle 203"/>
              <p:cNvSpPr>
                <a:spLocks noChangeArrowheads="1"/>
              </p:cNvSpPr>
              <p:nvPr/>
            </p:nvSpPr>
            <p:spPr bwMode="auto">
              <a:xfrm>
                <a:off x="4979" y="3057"/>
                <a:ext cx="40" cy="39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1" name="Rectangle 204"/>
              <p:cNvSpPr>
                <a:spLocks noChangeArrowheads="1"/>
              </p:cNvSpPr>
              <p:nvPr/>
            </p:nvSpPr>
            <p:spPr bwMode="auto">
              <a:xfrm>
                <a:off x="4489" y="3135"/>
                <a:ext cx="41" cy="39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2" name="Rectangle 205"/>
              <p:cNvSpPr>
                <a:spLocks noChangeArrowheads="1"/>
              </p:cNvSpPr>
              <p:nvPr/>
            </p:nvSpPr>
            <p:spPr bwMode="auto">
              <a:xfrm>
                <a:off x="5509" y="2129"/>
                <a:ext cx="41" cy="39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3" name="Rectangle 206"/>
              <p:cNvSpPr>
                <a:spLocks noChangeArrowheads="1"/>
              </p:cNvSpPr>
              <p:nvPr/>
            </p:nvSpPr>
            <p:spPr bwMode="auto">
              <a:xfrm>
                <a:off x="5223" y="1814"/>
                <a:ext cx="41" cy="4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4" name="Rectangle 207"/>
              <p:cNvSpPr>
                <a:spLocks noChangeArrowheads="1"/>
              </p:cNvSpPr>
              <p:nvPr/>
            </p:nvSpPr>
            <p:spPr bwMode="auto">
              <a:xfrm>
                <a:off x="5469" y="1854"/>
                <a:ext cx="40" cy="39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5" name="Rectangle 208"/>
              <p:cNvSpPr>
                <a:spLocks noChangeArrowheads="1"/>
              </p:cNvSpPr>
              <p:nvPr/>
            </p:nvSpPr>
            <p:spPr bwMode="auto">
              <a:xfrm>
                <a:off x="4367" y="3490"/>
                <a:ext cx="40" cy="39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6" name="Rectangle 209"/>
              <p:cNvSpPr>
                <a:spLocks noChangeArrowheads="1"/>
              </p:cNvSpPr>
              <p:nvPr/>
            </p:nvSpPr>
            <p:spPr bwMode="auto">
              <a:xfrm>
                <a:off x="4256" y="3332"/>
                <a:ext cx="41" cy="40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7" name="Rectangle 210"/>
              <p:cNvSpPr>
                <a:spLocks noChangeArrowheads="1"/>
              </p:cNvSpPr>
              <p:nvPr/>
            </p:nvSpPr>
            <p:spPr bwMode="auto">
              <a:xfrm>
                <a:off x="5550" y="2090"/>
                <a:ext cx="40" cy="39"/>
              </a:xfrm>
              <a:prstGeom prst="rect">
                <a:avLst/>
              </a:prstGeom>
              <a:solidFill>
                <a:srgbClr val="996633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8" name="Rectangle 211"/>
              <p:cNvSpPr>
                <a:spLocks noChangeArrowheads="1"/>
              </p:cNvSpPr>
              <p:nvPr/>
            </p:nvSpPr>
            <p:spPr bwMode="auto">
              <a:xfrm>
                <a:off x="4774" y="2919"/>
                <a:ext cx="41" cy="39"/>
              </a:xfrm>
              <a:prstGeom prst="rect">
                <a:avLst/>
              </a:prstGeom>
              <a:solidFill>
                <a:srgbClr val="996633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09" name="Rectangle 212"/>
              <p:cNvSpPr>
                <a:spLocks noChangeArrowheads="1"/>
              </p:cNvSpPr>
              <p:nvPr/>
            </p:nvSpPr>
            <p:spPr bwMode="auto">
              <a:xfrm>
                <a:off x="5162" y="2386"/>
                <a:ext cx="41" cy="39"/>
              </a:xfrm>
              <a:prstGeom prst="rect">
                <a:avLst/>
              </a:prstGeom>
              <a:solidFill>
                <a:srgbClr val="996633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0" name="Rectangle 213"/>
              <p:cNvSpPr>
                <a:spLocks noChangeArrowheads="1"/>
              </p:cNvSpPr>
              <p:nvPr/>
            </p:nvSpPr>
            <p:spPr bwMode="auto">
              <a:xfrm>
                <a:off x="5428" y="1893"/>
                <a:ext cx="40" cy="39"/>
              </a:xfrm>
              <a:prstGeom prst="rect">
                <a:avLst/>
              </a:prstGeom>
              <a:solidFill>
                <a:srgbClr val="996633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1" name="Rectangle 214"/>
              <p:cNvSpPr>
                <a:spLocks noChangeArrowheads="1"/>
              </p:cNvSpPr>
              <p:nvPr/>
            </p:nvSpPr>
            <p:spPr bwMode="auto">
              <a:xfrm>
                <a:off x="5223" y="1749"/>
                <a:ext cx="41" cy="39"/>
              </a:xfrm>
              <a:prstGeom prst="rect">
                <a:avLst/>
              </a:prstGeom>
              <a:solidFill>
                <a:srgbClr val="996633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2" name="Rectangle 215"/>
              <p:cNvSpPr>
                <a:spLocks noChangeArrowheads="1"/>
              </p:cNvSpPr>
              <p:nvPr/>
            </p:nvSpPr>
            <p:spPr bwMode="auto">
              <a:xfrm>
                <a:off x="4244" y="3274"/>
                <a:ext cx="40" cy="39"/>
              </a:xfrm>
              <a:prstGeom prst="rect">
                <a:avLst/>
              </a:prstGeom>
              <a:solidFill>
                <a:srgbClr val="996633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3" name="Rectangle 216"/>
              <p:cNvSpPr>
                <a:spLocks noChangeArrowheads="1"/>
              </p:cNvSpPr>
              <p:nvPr/>
            </p:nvSpPr>
            <p:spPr bwMode="auto">
              <a:xfrm>
                <a:off x="5183" y="2504"/>
                <a:ext cx="40" cy="39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4" name="Rectangle 217"/>
              <p:cNvSpPr>
                <a:spLocks noChangeArrowheads="1"/>
              </p:cNvSpPr>
              <p:nvPr/>
            </p:nvSpPr>
            <p:spPr bwMode="auto">
              <a:xfrm>
                <a:off x="4816" y="2801"/>
                <a:ext cx="40" cy="39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5" name="Rectangle 218"/>
              <p:cNvSpPr>
                <a:spLocks noChangeArrowheads="1"/>
              </p:cNvSpPr>
              <p:nvPr/>
            </p:nvSpPr>
            <p:spPr bwMode="auto">
              <a:xfrm>
                <a:off x="4489" y="3194"/>
                <a:ext cx="41" cy="39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6" name="Rectangle 219"/>
              <p:cNvSpPr>
                <a:spLocks noChangeArrowheads="1"/>
              </p:cNvSpPr>
              <p:nvPr/>
            </p:nvSpPr>
            <p:spPr bwMode="auto">
              <a:xfrm>
                <a:off x="3061" y="1774"/>
                <a:ext cx="40" cy="39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7" name="Rectangle 220"/>
              <p:cNvSpPr>
                <a:spLocks noChangeArrowheads="1"/>
              </p:cNvSpPr>
              <p:nvPr/>
            </p:nvSpPr>
            <p:spPr bwMode="auto">
              <a:xfrm>
                <a:off x="5590" y="2129"/>
                <a:ext cx="41" cy="39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8" name="Rectangle 221"/>
              <p:cNvSpPr>
                <a:spLocks noChangeArrowheads="1"/>
              </p:cNvSpPr>
              <p:nvPr/>
            </p:nvSpPr>
            <p:spPr bwMode="auto">
              <a:xfrm>
                <a:off x="5428" y="2327"/>
                <a:ext cx="40" cy="39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19" name="Rectangle 222"/>
              <p:cNvSpPr>
                <a:spLocks noChangeArrowheads="1"/>
              </p:cNvSpPr>
              <p:nvPr/>
            </p:nvSpPr>
            <p:spPr bwMode="auto">
              <a:xfrm>
                <a:off x="4856" y="3156"/>
                <a:ext cx="41" cy="39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0" name="Rectangle 223"/>
              <p:cNvSpPr>
                <a:spLocks noChangeArrowheads="1"/>
              </p:cNvSpPr>
              <p:nvPr/>
            </p:nvSpPr>
            <p:spPr bwMode="auto">
              <a:xfrm>
                <a:off x="4163" y="3195"/>
                <a:ext cx="40" cy="39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1" name="Rectangle 224"/>
              <p:cNvSpPr>
                <a:spLocks noChangeArrowheads="1"/>
              </p:cNvSpPr>
              <p:nvPr/>
            </p:nvSpPr>
            <p:spPr bwMode="auto">
              <a:xfrm>
                <a:off x="4367" y="3432"/>
                <a:ext cx="40" cy="40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2" name="Rectangle 225"/>
              <p:cNvSpPr>
                <a:spLocks noChangeArrowheads="1"/>
              </p:cNvSpPr>
              <p:nvPr/>
            </p:nvSpPr>
            <p:spPr bwMode="auto">
              <a:xfrm>
                <a:off x="4121" y="3708"/>
                <a:ext cx="41" cy="39"/>
              </a:xfrm>
              <a:prstGeom prst="rect">
                <a:avLst/>
              </a:prstGeom>
              <a:solidFill>
                <a:srgbClr val="6600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3" name="Rectangle 226"/>
              <p:cNvSpPr>
                <a:spLocks noChangeArrowheads="1"/>
              </p:cNvSpPr>
              <p:nvPr/>
            </p:nvSpPr>
            <p:spPr bwMode="auto">
              <a:xfrm>
                <a:off x="4652" y="2918"/>
                <a:ext cx="41" cy="39"/>
              </a:xfrm>
              <a:prstGeom prst="rect">
                <a:avLst/>
              </a:prstGeom>
              <a:solidFill>
                <a:srgbClr val="0099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4" name="Rectangle 227"/>
              <p:cNvSpPr>
                <a:spLocks noChangeArrowheads="1"/>
              </p:cNvSpPr>
              <p:nvPr/>
            </p:nvSpPr>
            <p:spPr bwMode="auto">
              <a:xfrm>
                <a:off x="4203" y="2702"/>
                <a:ext cx="41" cy="39"/>
              </a:xfrm>
              <a:prstGeom prst="rect">
                <a:avLst/>
              </a:prstGeom>
              <a:solidFill>
                <a:srgbClr val="0099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5" name="Rectangle 228"/>
              <p:cNvSpPr>
                <a:spLocks noChangeArrowheads="1"/>
              </p:cNvSpPr>
              <p:nvPr/>
            </p:nvSpPr>
            <p:spPr bwMode="auto">
              <a:xfrm>
                <a:off x="4816" y="3117"/>
                <a:ext cx="40" cy="39"/>
              </a:xfrm>
              <a:prstGeom prst="rect">
                <a:avLst/>
              </a:prstGeom>
              <a:solidFill>
                <a:srgbClr val="0099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6" name="Rectangle 229"/>
              <p:cNvSpPr>
                <a:spLocks noChangeArrowheads="1"/>
              </p:cNvSpPr>
              <p:nvPr/>
            </p:nvSpPr>
            <p:spPr bwMode="auto">
              <a:xfrm>
                <a:off x="4326" y="3038"/>
                <a:ext cx="40" cy="39"/>
              </a:xfrm>
              <a:prstGeom prst="rect">
                <a:avLst/>
              </a:prstGeom>
              <a:solidFill>
                <a:srgbClr val="0099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7" name="Rectangle 230"/>
              <p:cNvSpPr>
                <a:spLocks noChangeArrowheads="1"/>
              </p:cNvSpPr>
              <p:nvPr/>
            </p:nvSpPr>
            <p:spPr bwMode="auto">
              <a:xfrm>
                <a:off x="5182" y="2446"/>
                <a:ext cx="40" cy="39"/>
              </a:xfrm>
              <a:prstGeom prst="rect">
                <a:avLst/>
              </a:prstGeom>
              <a:solidFill>
                <a:srgbClr val="0099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8" name="Rectangle 231"/>
              <p:cNvSpPr>
                <a:spLocks noChangeArrowheads="1"/>
              </p:cNvSpPr>
              <p:nvPr/>
            </p:nvSpPr>
            <p:spPr bwMode="auto">
              <a:xfrm>
                <a:off x="5632" y="2090"/>
                <a:ext cx="40" cy="39"/>
              </a:xfrm>
              <a:prstGeom prst="rect">
                <a:avLst/>
              </a:prstGeom>
              <a:solidFill>
                <a:srgbClr val="0099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29" name="Rectangle 232"/>
              <p:cNvSpPr>
                <a:spLocks noChangeArrowheads="1"/>
              </p:cNvSpPr>
              <p:nvPr/>
            </p:nvSpPr>
            <p:spPr bwMode="auto">
              <a:xfrm>
                <a:off x="5040" y="2327"/>
                <a:ext cx="40" cy="3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0" name="Rectangle 233"/>
              <p:cNvSpPr>
                <a:spLocks noChangeArrowheads="1"/>
              </p:cNvSpPr>
              <p:nvPr/>
            </p:nvSpPr>
            <p:spPr bwMode="auto">
              <a:xfrm>
                <a:off x="4713" y="2977"/>
                <a:ext cx="41" cy="40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1" name="Rectangle 234"/>
              <p:cNvSpPr>
                <a:spLocks noChangeArrowheads="1"/>
              </p:cNvSpPr>
              <p:nvPr/>
            </p:nvSpPr>
            <p:spPr bwMode="auto">
              <a:xfrm>
                <a:off x="4040" y="3608"/>
                <a:ext cx="41" cy="3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2" name="Rectangle 235"/>
              <p:cNvSpPr>
                <a:spLocks noChangeArrowheads="1"/>
              </p:cNvSpPr>
              <p:nvPr/>
            </p:nvSpPr>
            <p:spPr bwMode="auto">
              <a:xfrm>
                <a:off x="4550" y="3195"/>
                <a:ext cx="41" cy="3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3" name="Rectangle 236"/>
              <p:cNvSpPr>
                <a:spLocks noChangeArrowheads="1"/>
              </p:cNvSpPr>
              <p:nvPr/>
            </p:nvSpPr>
            <p:spPr bwMode="auto">
              <a:xfrm>
                <a:off x="5288" y="1755"/>
                <a:ext cx="41" cy="3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4" name="Rectangle 237"/>
              <p:cNvSpPr>
                <a:spLocks noChangeArrowheads="1"/>
              </p:cNvSpPr>
              <p:nvPr/>
            </p:nvSpPr>
            <p:spPr bwMode="auto">
              <a:xfrm>
                <a:off x="4937" y="3155"/>
                <a:ext cx="41" cy="3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5" name="Rectangle 238"/>
              <p:cNvSpPr>
                <a:spLocks noChangeArrowheads="1"/>
              </p:cNvSpPr>
              <p:nvPr/>
            </p:nvSpPr>
            <p:spPr bwMode="auto">
              <a:xfrm>
                <a:off x="4306" y="3293"/>
                <a:ext cx="40" cy="3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6" name="Rectangle 239"/>
              <p:cNvSpPr>
                <a:spLocks noChangeArrowheads="1"/>
              </p:cNvSpPr>
              <p:nvPr/>
            </p:nvSpPr>
            <p:spPr bwMode="auto">
              <a:xfrm>
                <a:off x="4488" y="3077"/>
                <a:ext cx="41" cy="39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7" name="Rectangle 240"/>
              <p:cNvSpPr>
                <a:spLocks noChangeArrowheads="1"/>
              </p:cNvSpPr>
              <p:nvPr/>
            </p:nvSpPr>
            <p:spPr bwMode="auto">
              <a:xfrm>
                <a:off x="4121" y="3629"/>
                <a:ext cx="41" cy="39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8" name="Rectangle 241"/>
              <p:cNvSpPr>
                <a:spLocks noChangeArrowheads="1"/>
              </p:cNvSpPr>
              <p:nvPr/>
            </p:nvSpPr>
            <p:spPr bwMode="auto">
              <a:xfrm>
                <a:off x="3143" y="1775"/>
                <a:ext cx="40" cy="39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39" name="Rectangle 242"/>
              <p:cNvSpPr>
                <a:spLocks noChangeArrowheads="1"/>
              </p:cNvSpPr>
              <p:nvPr/>
            </p:nvSpPr>
            <p:spPr bwMode="auto">
              <a:xfrm>
                <a:off x="4836" y="2859"/>
                <a:ext cx="40" cy="39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0" name="Rectangle 243"/>
              <p:cNvSpPr>
                <a:spLocks noChangeArrowheads="1"/>
              </p:cNvSpPr>
              <p:nvPr/>
            </p:nvSpPr>
            <p:spPr bwMode="auto">
              <a:xfrm>
                <a:off x="5061" y="3077"/>
                <a:ext cx="40" cy="39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1" name="Rectangle 244"/>
              <p:cNvSpPr>
                <a:spLocks noChangeArrowheads="1"/>
              </p:cNvSpPr>
              <p:nvPr/>
            </p:nvSpPr>
            <p:spPr bwMode="auto">
              <a:xfrm>
                <a:off x="5223" y="2367"/>
                <a:ext cx="41" cy="39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2" name="Rectangle 245"/>
              <p:cNvSpPr>
                <a:spLocks noChangeArrowheads="1"/>
              </p:cNvSpPr>
              <p:nvPr/>
            </p:nvSpPr>
            <p:spPr bwMode="auto">
              <a:xfrm>
                <a:off x="4244" y="3214"/>
                <a:ext cx="40" cy="39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3" name="Rectangle 246"/>
              <p:cNvSpPr>
                <a:spLocks noChangeArrowheads="1"/>
              </p:cNvSpPr>
              <p:nvPr/>
            </p:nvSpPr>
            <p:spPr bwMode="auto">
              <a:xfrm>
                <a:off x="4305" y="3439"/>
                <a:ext cx="40" cy="40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4" name="Rectangle 247"/>
              <p:cNvSpPr>
                <a:spLocks noChangeArrowheads="1"/>
              </p:cNvSpPr>
              <p:nvPr/>
            </p:nvSpPr>
            <p:spPr bwMode="auto">
              <a:xfrm>
                <a:off x="4182" y="3668"/>
                <a:ext cx="40" cy="39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5" name="Rectangle 248"/>
              <p:cNvSpPr>
                <a:spLocks noChangeArrowheads="1"/>
              </p:cNvSpPr>
              <p:nvPr/>
            </p:nvSpPr>
            <p:spPr bwMode="auto">
              <a:xfrm>
                <a:off x="4407" y="3017"/>
                <a:ext cx="41" cy="40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6" name="Rectangle 249"/>
              <p:cNvSpPr>
                <a:spLocks noChangeArrowheads="1"/>
              </p:cNvSpPr>
              <p:nvPr/>
            </p:nvSpPr>
            <p:spPr bwMode="auto">
              <a:xfrm>
                <a:off x="3061" y="1854"/>
                <a:ext cx="40" cy="39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7" name="Rectangle 250"/>
              <p:cNvSpPr>
                <a:spLocks noChangeArrowheads="1"/>
              </p:cNvSpPr>
              <p:nvPr/>
            </p:nvSpPr>
            <p:spPr bwMode="auto">
              <a:xfrm>
                <a:off x="4836" y="2977"/>
                <a:ext cx="40" cy="40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8" name="Rectangle 251"/>
              <p:cNvSpPr>
                <a:spLocks noChangeArrowheads="1"/>
              </p:cNvSpPr>
              <p:nvPr/>
            </p:nvSpPr>
            <p:spPr bwMode="auto">
              <a:xfrm>
                <a:off x="4255" y="3432"/>
                <a:ext cx="40" cy="39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49" name="Rectangle 252"/>
              <p:cNvSpPr>
                <a:spLocks noChangeArrowheads="1"/>
              </p:cNvSpPr>
              <p:nvPr/>
            </p:nvSpPr>
            <p:spPr bwMode="auto">
              <a:xfrm>
                <a:off x="4774" y="2977"/>
                <a:ext cx="41" cy="40"/>
              </a:xfrm>
              <a:prstGeom prst="rect">
                <a:avLst/>
              </a:prstGeom>
              <a:solidFill>
                <a:srgbClr val="66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0" name="Rectangle 253"/>
              <p:cNvSpPr>
                <a:spLocks noChangeArrowheads="1"/>
              </p:cNvSpPr>
              <p:nvPr/>
            </p:nvSpPr>
            <p:spPr bwMode="auto">
              <a:xfrm>
                <a:off x="3183" y="1695"/>
                <a:ext cx="41" cy="39"/>
              </a:xfrm>
              <a:prstGeom prst="rect">
                <a:avLst/>
              </a:prstGeom>
              <a:solidFill>
                <a:srgbClr val="66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1" name="Rectangle 254"/>
              <p:cNvSpPr>
                <a:spLocks noChangeArrowheads="1"/>
              </p:cNvSpPr>
              <p:nvPr/>
            </p:nvSpPr>
            <p:spPr bwMode="auto">
              <a:xfrm>
                <a:off x="4550" y="3135"/>
                <a:ext cx="41" cy="39"/>
              </a:xfrm>
              <a:prstGeom prst="rect">
                <a:avLst/>
              </a:prstGeom>
              <a:solidFill>
                <a:srgbClr val="66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2" name="Rectangle 255"/>
              <p:cNvSpPr>
                <a:spLocks noChangeArrowheads="1"/>
              </p:cNvSpPr>
              <p:nvPr/>
            </p:nvSpPr>
            <p:spPr bwMode="auto">
              <a:xfrm>
                <a:off x="4102" y="3214"/>
                <a:ext cx="40" cy="39"/>
              </a:xfrm>
              <a:prstGeom prst="rect">
                <a:avLst/>
              </a:prstGeom>
              <a:solidFill>
                <a:srgbClr val="66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3" name="Rectangle 256"/>
              <p:cNvSpPr>
                <a:spLocks noChangeArrowheads="1"/>
              </p:cNvSpPr>
              <p:nvPr/>
            </p:nvSpPr>
            <p:spPr bwMode="auto">
              <a:xfrm>
                <a:off x="4897" y="3195"/>
                <a:ext cx="40" cy="39"/>
              </a:xfrm>
              <a:prstGeom prst="rect">
                <a:avLst/>
              </a:prstGeom>
              <a:solidFill>
                <a:srgbClr val="66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4" name="Rectangle 257"/>
              <p:cNvSpPr>
                <a:spLocks noChangeArrowheads="1"/>
              </p:cNvSpPr>
              <p:nvPr/>
            </p:nvSpPr>
            <p:spPr bwMode="auto">
              <a:xfrm>
                <a:off x="3979" y="3608"/>
                <a:ext cx="41" cy="39"/>
              </a:xfrm>
              <a:prstGeom prst="rect">
                <a:avLst/>
              </a:prstGeom>
              <a:solidFill>
                <a:srgbClr val="66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5" name="Rectangle 258"/>
              <p:cNvSpPr>
                <a:spLocks noChangeArrowheads="1"/>
              </p:cNvSpPr>
              <p:nvPr/>
            </p:nvSpPr>
            <p:spPr bwMode="auto">
              <a:xfrm>
                <a:off x="5122" y="2958"/>
                <a:ext cx="40" cy="39"/>
              </a:xfrm>
              <a:prstGeom prst="rect">
                <a:avLst/>
              </a:prstGeom>
              <a:solidFill>
                <a:srgbClr val="66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6" name="Rectangle 259"/>
              <p:cNvSpPr>
                <a:spLocks noChangeArrowheads="1"/>
              </p:cNvSpPr>
              <p:nvPr/>
            </p:nvSpPr>
            <p:spPr bwMode="auto">
              <a:xfrm>
                <a:off x="5101" y="2328"/>
                <a:ext cx="40" cy="39"/>
              </a:xfrm>
              <a:prstGeom prst="rect">
                <a:avLst/>
              </a:prstGeom>
              <a:solidFill>
                <a:srgbClr val="66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7" name="Rectangle 260"/>
              <p:cNvSpPr>
                <a:spLocks noChangeArrowheads="1"/>
              </p:cNvSpPr>
              <p:nvPr/>
            </p:nvSpPr>
            <p:spPr bwMode="auto">
              <a:xfrm>
                <a:off x="4898" y="2879"/>
                <a:ext cx="40" cy="39"/>
              </a:xfrm>
              <a:prstGeom prst="rect">
                <a:avLst/>
              </a:prstGeom>
              <a:solidFill>
                <a:srgbClr val="6666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8" name="Rectangle 261"/>
              <p:cNvSpPr>
                <a:spLocks noChangeArrowheads="1"/>
              </p:cNvSpPr>
              <p:nvPr/>
            </p:nvSpPr>
            <p:spPr bwMode="auto">
              <a:xfrm>
                <a:off x="4612" y="3195"/>
                <a:ext cx="40" cy="39"/>
              </a:xfrm>
              <a:prstGeom prst="rect">
                <a:avLst/>
              </a:prstGeom>
              <a:solidFill>
                <a:srgbClr val="6666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59" name="Rectangle 262"/>
              <p:cNvSpPr>
                <a:spLocks noChangeArrowheads="1"/>
              </p:cNvSpPr>
              <p:nvPr/>
            </p:nvSpPr>
            <p:spPr bwMode="auto">
              <a:xfrm>
                <a:off x="5061" y="3156"/>
                <a:ext cx="40" cy="39"/>
              </a:xfrm>
              <a:prstGeom prst="rect">
                <a:avLst/>
              </a:prstGeom>
              <a:solidFill>
                <a:srgbClr val="6666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0" name="Rectangle 263"/>
              <p:cNvSpPr>
                <a:spLocks noChangeArrowheads="1"/>
              </p:cNvSpPr>
              <p:nvPr/>
            </p:nvSpPr>
            <p:spPr bwMode="auto">
              <a:xfrm>
                <a:off x="4032" y="3234"/>
                <a:ext cx="41" cy="39"/>
              </a:xfrm>
              <a:prstGeom prst="rect">
                <a:avLst/>
              </a:prstGeom>
              <a:solidFill>
                <a:srgbClr val="6666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1" name="Rectangle 264"/>
              <p:cNvSpPr>
                <a:spLocks noChangeArrowheads="1"/>
              </p:cNvSpPr>
              <p:nvPr/>
            </p:nvSpPr>
            <p:spPr bwMode="auto">
              <a:xfrm>
                <a:off x="4020" y="3551"/>
                <a:ext cx="40" cy="39"/>
              </a:xfrm>
              <a:prstGeom prst="rect">
                <a:avLst/>
              </a:prstGeom>
              <a:solidFill>
                <a:srgbClr val="6666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2" name="Rectangle 265"/>
              <p:cNvSpPr>
                <a:spLocks noChangeArrowheads="1"/>
              </p:cNvSpPr>
              <p:nvPr/>
            </p:nvSpPr>
            <p:spPr bwMode="auto">
              <a:xfrm>
                <a:off x="4652" y="2977"/>
                <a:ext cx="41" cy="40"/>
              </a:xfrm>
              <a:prstGeom prst="rect">
                <a:avLst/>
              </a:prstGeom>
              <a:solidFill>
                <a:srgbClr val="0066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3" name="Rectangle 266"/>
              <p:cNvSpPr>
                <a:spLocks noChangeArrowheads="1"/>
              </p:cNvSpPr>
              <p:nvPr/>
            </p:nvSpPr>
            <p:spPr bwMode="auto">
              <a:xfrm>
                <a:off x="3938" y="3687"/>
                <a:ext cx="40" cy="39"/>
              </a:xfrm>
              <a:prstGeom prst="rect">
                <a:avLst/>
              </a:prstGeom>
              <a:solidFill>
                <a:srgbClr val="0066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4" name="Rectangle 267"/>
              <p:cNvSpPr>
                <a:spLocks noChangeArrowheads="1"/>
              </p:cNvSpPr>
              <p:nvPr/>
            </p:nvSpPr>
            <p:spPr bwMode="auto">
              <a:xfrm>
                <a:off x="4305" y="3096"/>
                <a:ext cx="40" cy="39"/>
              </a:xfrm>
              <a:prstGeom prst="rect">
                <a:avLst/>
              </a:prstGeom>
              <a:solidFill>
                <a:srgbClr val="0066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5" name="Rectangle 268"/>
              <p:cNvSpPr>
                <a:spLocks noChangeArrowheads="1"/>
              </p:cNvSpPr>
              <p:nvPr/>
            </p:nvSpPr>
            <p:spPr bwMode="auto">
              <a:xfrm>
                <a:off x="4816" y="3195"/>
                <a:ext cx="40" cy="39"/>
              </a:xfrm>
              <a:prstGeom prst="rect">
                <a:avLst/>
              </a:prstGeom>
              <a:solidFill>
                <a:srgbClr val="0066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6" name="Rectangle 269"/>
              <p:cNvSpPr>
                <a:spLocks noChangeArrowheads="1"/>
              </p:cNvSpPr>
              <p:nvPr/>
            </p:nvSpPr>
            <p:spPr bwMode="auto">
              <a:xfrm>
                <a:off x="4191" y="3254"/>
                <a:ext cx="40" cy="39"/>
              </a:xfrm>
              <a:prstGeom prst="rect">
                <a:avLst/>
              </a:prstGeom>
              <a:solidFill>
                <a:srgbClr val="0066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7" name="Rectangle 270"/>
              <p:cNvSpPr>
                <a:spLocks noChangeArrowheads="1"/>
              </p:cNvSpPr>
              <p:nvPr/>
            </p:nvSpPr>
            <p:spPr bwMode="auto">
              <a:xfrm>
                <a:off x="5590" y="1874"/>
                <a:ext cx="41" cy="39"/>
              </a:xfrm>
              <a:prstGeom prst="rect">
                <a:avLst/>
              </a:prstGeom>
              <a:solidFill>
                <a:srgbClr val="0066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8" name="Rectangle 271"/>
              <p:cNvSpPr>
                <a:spLocks noChangeArrowheads="1"/>
              </p:cNvSpPr>
              <p:nvPr/>
            </p:nvSpPr>
            <p:spPr bwMode="auto">
              <a:xfrm>
                <a:off x="5174" y="1854"/>
                <a:ext cx="40" cy="39"/>
              </a:xfrm>
              <a:prstGeom prst="rect">
                <a:avLst/>
              </a:prstGeom>
              <a:solidFill>
                <a:srgbClr val="0066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69" name="Rectangle 272"/>
              <p:cNvSpPr>
                <a:spLocks noChangeArrowheads="1"/>
              </p:cNvSpPr>
              <p:nvPr/>
            </p:nvSpPr>
            <p:spPr bwMode="auto">
              <a:xfrm>
                <a:off x="4203" y="3472"/>
                <a:ext cx="41" cy="39"/>
              </a:xfrm>
              <a:prstGeom prst="rect">
                <a:avLst/>
              </a:prstGeom>
              <a:solidFill>
                <a:srgbClr val="FF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0" name="Rectangle 273"/>
              <p:cNvSpPr>
                <a:spLocks noChangeArrowheads="1"/>
              </p:cNvSpPr>
              <p:nvPr/>
            </p:nvSpPr>
            <p:spPr bwMode="auto">
              <a:xfrm>
                <a:off x="4836" y="2919"/>
                <a:ext cx="40" cy="39"/>
              </a:xfrm>
              <a:prstGeom prst="rect">
                <a:avLst/>
              </a:prstGeom>
              <a:solidFill>
                <a:srgbClr val="FF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1" name="Rectangle 274"/>
              <p:cNvSpPr>
                <a:spLocks noChangeArrowheads="1"/>
              </p:cNvSpPr>
              <p:nvPr/>
            </p:nvSpPr>
            <p:spPr bwMode="auto">
              <a:xfrm>
                <a:off x="4448" y="3253"/>
                <a:ext cx="40" cy="39"/>
              </a:xfrm>
              <a:prstGeom prst="rect">
                <a:avLst/>
              </a:prstGeom>
              <a:solidFill>
                <a:srgbClr val="FF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2" name="Rectangle 275"/>
              <p:cNvSpPr>
                <a:spLocks noChangeArrowheads="1"/>
              </p:cNvSpPr>
              <p:nvPr/>
            </p:nvSpPr>
            <p:spPr bwMode="auto">
              <a:xfrm>
                <a:off x="4306" y="3234"/>
                <a:ext cx="40" cy="39"/>
              </a:xfrm>
              <a:prstGeom prst="rect">
                <a:avLst/>
              </a:prstGeom>
              <a:solidFill>
                <a:srgbClr val="FF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3" name="Rectangle 276"/>
              <p:cNvSpPr>
                <a:spLocks noChangeArrowheads="1"/>
              </p:cNvSpPr>
              <p:nvPr/>
            </p:nvSpPr>
            <p:spPr bwMode="auto">
              <a:xfrm>
                <a:off x="4774" y="3156"/>
                <a:ext cx="41" cy="39"/>
              </a:xfrm>
              <a:prstGeom prst="rect">
                <a:avLst/>
              </a:prstGeom>
              <a:solidFill>
                <a:srgbClr val="FF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4" name="Rectangle 277"/>
              <p:cNvSpPr>
                <a:spLocks noChangeArrowheads="1"/>
              </p:cNvSpPr>
              <p:nvPr/>
            </p:nvSpPr>
            <p:spPr bwMode="auto">
              <a:xfrm>
                <a:off x="5162" y="1735"/>
                <a:ext cx="41" cy="39"/>
              </a:xfrm>
              <a:prstGeom prst="rect">
                <a:avLst/>
              </a:prstGeom>
              <a:solidFill>
                <a:srgbClr val="FF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5" name="Rectangle 278"/>
              <p:cNvSpPr>
                <a:spLocks noChangeArrowheads="1"/>
              </p:cNvSpPr>
              <p:nvPr/>
            </p:nvSpPr>
            <p:spPr bwMode="auto">
              <a:xfrm>
                <a:off x="5162" y="2327"/>
                <a:ext cx="41" cy="39"/>
              </a:xfrm>
              <a:prstGeom prst="rect">
                <a:avLst/>
              </a:prstGeom>
              <a:solidFill>
                <a:srgbClr val="FF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6" name="Rectangle 279"/>
              <p:cNvSpPr>
                <a:spLocks noChangeArrowheads="1"/>
              </p:cNvSpPr>
              <p:nvPr/>
            </p:nvSpPr>
            <p:spPr bwMode="auto">
              <a:xfrm>
                <a:off x="4040" y="3807"/>
                <a:ext cx="41" cy="39"/>
              </a:xfrm>
              <a:prstGeom prst="rect">
                <a:avLst/>
              </a:prstGeom>
              <a:solidFill>
                <a:srgbClr val="FF00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7" name="Rectangle 280"/>
              <p:cNvSpPr>
                <a:spLocks noChangeArrowheads="1"/>
              </p:cNvSpPr>
              <p:nvPr/>
            </p:nvSpPr>
            <p:spPr bwMode="auto">
              <a:xfrm>
                <a:off x="4612" y="2801"/>
                <a:ext cx="40" cy="39"/>
              </a:xfrm>
              <a:prstGeom prst="rect">
                <a:avLst/>
              </a:prstGeom>
              <a:solidFill>
                <a:srgbClr val="0000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8" name="Rectangle 281"/>
              <p:cNvSpPr>
                <a:spLocks noChangeArrowheads="1"/>
              </p:cNvSpPr>
              <p:nvPr/>
            </p:nvSpPr>
            <p:spPr bwMode="auto">
              <a:xfrm>
                <a:off x="4143" y="3459"/>
                <a:ext cx="40" cy="39"/>
              </a:xfrm>
              <a:prstGeom prst="rect">
                <a:avLst/>
              </a:prstGeom>
              <a:solidFill>
                <a:srgbClr val="0000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79" name="Rectangle 282"/>
              <p:cNvSpPr>
                <a:spLocks noChangeArrowheads="1"/>
              </p:cNvSpPr>
              <p:nvPr/>
            </p:nvSpPr>
            <p:spPr bwMode="auto">
              <a:xfrm>
                <a:off x="3897" y="3628"/>
                <a:ext cx="41" cy="39"/>
              </a:xfrm>
              <a:prstGeom prst="rect">
                <a:avLst/>
              </a:prstGeom>
              <a:solidFill>
                <a:srgbClr val="0000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0" name="Rectangle 283"/>
              <p:cNvSpPr>
                <a:spLocks noChangeArrowheads="1"/>
              </p:cNvSpPr>
              <p:nvPr/>
            </p:nvSpPr>
            <p:spPr bwMode="auto">
              <a:xfrm>
                <a:off x="4469" y="3017"/>
                <a:ext cx="40" cy="39"/>
              </a:xfrm>
              <a:prstGeom prst="rect">
                <a:avLst/>
              </a:prstGeom>
              <a:solidFill>
                <a:srgbClr val="0000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1" name="Rectangle 284"/>
              <p:cNvSpPr>
                <a:spLocks noChangeArrowheads="1"/>
              </p:cNvSpPr>
              <p:nvPr/>
            </p:nvSpPr>
            <p:spPr bwMode="auto">
              <a:xfrm>
                <a:off x="5652" y="2011"/>
                <a:ext cx="40" cy="39"/>
              </a:xfrm>
              <a:prstGeom prst="rect">
                <a:avLst/>
              </a:prstGeom>
              <a:solidFill>
                <a:srgbClr val="0000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2" name="Rectangle 285"/>
              <p:cNvSpPr>
                <a:spLocks noChangeArrowheads="1"/>
              </p:cNvSpPr>
              <p:nvPr/>
            </p:nvSpPr>
            <p:spPr bwMode="auto">
              <a:xfrm>
                <a:off x="5162" y="1794"/>
                <a:ext cx="41" cy="40"/>
              </a:xfrm>
              <a:prstGeom prst="rect">
                <a:avLst/>
              </a:prstGeom>
              <a:solidFill>
                <a:srgbClr val="0000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3" name="Rectangle 286"/>
              <p:cNvSpPr>
                <a:spLocks noChangeArrowheads="1"/>
              </p:cNvSpPr>
              <p:nvPr/>
            </p:nvSpPr>
            <p:spPr bwMode="auto">
              <a:xfrm>
                <a:off x="4979" y="2406"/>
                <a:ext cx="40" cy="39"/>
              </a:xfrm>
              <a:prstGeom prst="rect">
                <a:avLst/>
              </a:prstGeom>
              <a:solidFill>
                <a:srgbClr val="0000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4" name="Rectangle 287"/>
              <p:cNvSpPr>
                <a:spLocks noChangeArrowheads="1"/>
              </p:cNvSpPr>
              <p:nvPr/>
            </p:nvSpPr>
            <p:spPr bwMode="auto">
              <a:xfrm>
                <a:off x="4998" y="3156"/>
                <a:ext cx="41" cy="39"/>
              </a:xfrm>
              <a:prstGeom prst="rect">
                <a:avLst/>
              </a:prstGeom>
              <a:solidFill>
                <a:srgbClr val="0000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5" name="Rectangle 288"/>
              <p:cNvSpPr>
                <a:spLocks noChangeArrowheads="1"/>
              </p:cNvSpPr>
              <p:nvPr/>
            </p:nvSpPr>
            <p:spPr bwMode="auto">
              <a:xfrm>
                <a:off x="4374" y="3321"/>
                <a:ext cx="41" cy="39"/>
              </a:xfrm>
              <a:prstGeom prst="rect">
                <a:avLst/>
              </a:prstGeom>
              <a:solidFill>
                <a:srgbClr val="0000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6" name="Rectangle 289"/>
              <p:cNvSpPr>
                <a:spLocks noChangeArrowheads="1"/>
              </p:cNvSpPr>
              <p:nvPr/>
            </p:nvSpPr>
            <p:spPr bwMode="auto">
              <a:xfrm>
                <a:off x="4979" y="2347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DCEBF5"/>
                  </a:gs>
                  <a:gs pos="3999">
                    <a:srgbClr val="83A7C3"/>
                  </a:gs>
                  <a:gs pos="6500">
                    <a:srgbClr val="768FB9"/>
                  </a:gs>
                  <a:gs pos="10501">
                    <a:srgbClr val="83A7C3"/>
                  </a:gs>
                  <a:gs pos="25999">
                    <a:srgbClr val="FFFFFF"/>
                  </a:gs>
                  <a:gs pos="28000">
                    <a:srgbClr val="9C6563"/>
                  </a:gs>
                  <a:gs pos="28999">
                    <a:srgbClr val="80302D"/>
                  </a:gs>
                  <a:gs pos="35501">
                    <a:srgbClr val="C0524E"/>
                  </a:gs>
                  <a:gs pos="47000">
                    <a:srgbClr val="EBDAD4"/>
                  </a:gs>
                  <a:gs pos="50000">
                    <a:srgbClr val="55261C"/>
                  </a:gs>
                  <a:gs pos="53000">
                    <a:srgbClr val="EBDAD4"/>
                  </a:gs>
                  <a:gs pos="64500">
                    <a:srgbClr val="C0524E"/>
                  </a:gs>
                  <a:gs pos="71001">
                    <a:srgbClr val="80302D"/>
                  </a:gs>
                  <a:gs pos="72000">
                    <a:srgbClr val="9C6563"/>
                  </a:gs>
                  <a:gs pos="74001">
                    <a:srgbClr val="FFFFFF"/>
                  </a:gs>
                  <a:gs pos="89500">
                    <a:srgbClr val="83A7C3"/>
                  </a:gs>
                  <a:gs pos="93500">
                    <a:srgbClr val="768FB9"/>
                  </a:gs>
                  <a:gs pos="96001">
                    <a:srgbClr val="83A7C3"/>
                  </a:gs>
                  <a:gs pos="100000">
                    <a:srgbClr val="DCEBF5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7" name="Rectangle 290"/>
              <p:cNvSpPr>
                <a:spLocks noChangeArrowheads="1"/>
              </p:cNvSpPr>
              <p:nvPr/>
            </p:nvSpPr>
            <p:spPr bwMode="auto">
              <a:xfrm>
                <a:off x="4876" y="2801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DCEBF5"/>
                  </a:gs>
                  <a:gs pos="3999">
                    <a:srgbClr val="83A7C3"/>
                  </a:gs>
                  <a:gs pos="6500">
                    <a:srgbClr val="768FB9"/>
                  </a:gs>
                  <a:gs pos="10501">
                    <a:srgbClr val="83A7C3"/>
                  </a:gs>
                  <a:gs pos="25999">
                    <a:srgbClr val="FFFFFF"/>
                  </a:gs>
                  <a:gs pos="28000">
                    <a:srgbClr val="9C6563"/>
                  </a:gs>
                  <a:gs pos="28999">
                    <a:srgbClr val="80302D"/>
                  </a:gs>
                  <a:gs pos="35501">
                    <a:srgbClr val="C0524E"/>
                  </a:gs>
                  <a:gs pos="47000">
                    <a:srgbClr val="EBDAD4"/>
                  </a:gs>
                  <a:gs pos="50000">
                    <a:srgbClr val="55261C"/>
                  </a:gs>
                  <a:gs pos="53000">
                    <a:srgbClr val="EBDAD4"/>
                  </a:gs>
                  <a:gs pos="64500">
                    <a:srgbClr val="C0524E"/>
                  </a:gs>
                  <a:gs pos="71001">
                    <a:srgbClr val="80302D"/>
                  </a:gs>
                  <a:gs pos="72000">
                    <a:srgbClr val="9C6563"/>
                  </a:gs>
                  <a:gs pos="74001">
                    <a:srgbClr val="FFFFFF"/>
                  </a:gs>
                  <a:gs pos="89500">
                    <a:srgbClr val="83A7C3"/>
                  </a:gs>
                  <a:gs pos="93500">
                    <a:srgbClr val="768FB9"/>
                  </a:gs>
                  <a:gs pos="96001">
                    <a:srgbClr val="83A7C3"/>
                  </a:gs>
                  <a:gs pos="100000">
                    <a:srgbClr val="DCEBF5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8" name="Rectangle 291"/>
              <p:cNvSpPr>
                <a:spLocks noChangeArrowheads="1"/>
              </p:cNvSpPr>
              <p:nvPr/>
            </p:nvSpPr>
            <p:spPr bwMode="auto">
              <a:xfrm>
                <a:off x="3938" y="3550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DCEBF5"/>
                  </a:gs>
                  <a:gs pos="3999">
                    <a:srgbClr val="83A7C3"/>
                  </a:gs>
                  <a:gs pos="6500">
                    <a:srgbClr val="768FB9"/>
                  </a:gs>
                  <a:gs pos="10501">
                    <a:srgbClr val="83A7C3"/>
                  </a:gs>
                  <a:gs pos="25999">
                    <a:srgbClr val="FFFFFF"/>
                  </a:gs>
                  <a:gs pos="28000">
                    <a:srgbClr val="9C6563"/>
                  </a:gs>
                  <a:gs pos="28999">
                    <a:srgbClr val="80302D"/>
                  </a:gs>
                  <a:gs pos="35501">
                    <a:srgbClr val="C0524E"/>
                  </a:gs>
                  <a:gs pos="47000">
                    <a:srgbClr val="EBDAD4"/>
                  </a:gs>
                  <a:gs pos="50000">
                    <a:srgbClr val="55261C"/>
                  </a:gs>
                  <a:gs pos="53000">
                    <a:srgbClr val="EBDAD4"/>
                  </a:gs>
                  <a:gs pos="64500">
                    <a:srgbClr val="C0524E"/>
                  </a:gs>
                  <a:gs pos="71001">
                    <a:srgbClr val="80302D"/>
                  </a:gs>
                  <a:gs pos="72000">
                    <a:srgbClr val="9C6563"/>
                  </a:gs>
                  <a:gs pos="74001">
                    <a:srgbClr val="FFFFFF"/>
                  </a:gs>
                  <a:gs pos="89500">
                    <a:srgbClr val="83A7C3"/>
                  </a:gs>
                  <a:gs pos="93500">
                    <a:srgbClr val="768FB9"/>
                  </a:gs>
                  <a:gs pos="96001">
                    <a:srgbClr val="83A7C3"/>
                  </a:gs>
                  <a:gs pos="100000">
                    <a:srgbClr val="DCEBF5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89" name="Rectangle 292"/>
              <p:cNvSpPr>
                <a:spLocks noChangeArrowheads="1"/>
              </p:cNvSpPr>
              <p:nvPr/>
            </p:nvSpPr>
            <p:spPr bwMode="auto">
              <a:xfrm>
                <a:off x="4244" y="3077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DCEBF5"/>
                  </a:gs>
                  <a:gs pos="3999">
                    <a:srgbClr val="83A7C3"/>
                  </a:gs>
                  <a:gs pos="6500">
                    <a:srgbClr val="768FB9"/>
                  </a:gs>
                  <a:gs pos="10501">
                    <a:srgbClr val="83A7C3"/>
                  </a:gs>
                  <a:gs pos="25999">
                    <a:srgbClr val="FFFFFF"/>
                  </a:gs>
                  <a:gs pos="28000">
                    <a:srgbClr val="9C6563"/>
                  </a:gs>
                  <a:gs pos="28999">
                    <a:srgbClr val="80302D"/>
                  </a:gs>
                  <a:gs pos="35501">
                    <a:srgbClr val="C0524E"/>
                  </a:gs>
                  <a:gs pos="47000">
                    <a:srgbClr val="EBDAD4"/>
                  </a:gs>
                  <a:gs pos="50000">
                    <a:srgbClr val="55261C"/>
                  </a:gs>
                  <a:gs pos="53000">
                    <a:srgbClr val="EBDAD4"/>
                  </a:gs>
                  <a:gs pos="64500">
                    <a:srgbClr val="C0524E"/>
                  </a:gs>
                  <a:gs pos="71001">
                    <a:srgbClr val="80302D"/>
                  </a:gs>
                  <a:gs pos="72000">
                    <a:srgbClr val="9C6563"/>
                  </a:gs>
                  <a:gs pos="74001">
                    <a:srgbClr val="FFFFFF"/>
                  </a:gs>
                  <a:gs pos="89500">
                    <a:srgbClr val="83A7C3"/>
                  </a:gs>
                  <a:gs pos="93500">
                    <a:srgbClr val="768FB9"/>
                  </a:gs>
                  <a:gs pos="96001">
                    <a:srgbClr val="83A7C3"/>
                  </a:gs>
                  <a:gs pos="100000">
                    <a:srgbClr val="DCEBF5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0" name="Rectangle 293"/>
              <p:cNvSpPr>
                <a:spLocks noChangeArrowheads="1"/>
              </p:cNvSpPr>
              <p:nvPr/>
            </p:nvSpPr>
            <p:spPr bwMode="auto">
              <a:xfrm>
                <a:off x="3979" y="3267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DCEBF5"/>
                  </a:gs>
                  <a:gs pos="3999">
                    <a:srgbClr val="83A7C3"/>
                  </a:gs>
                  <a:gs pos="6500">
                    <a:srgbClr val="768FB9"/>
                  </a:gs>
                  <a:gs pos="10501">
                    <a:srgbClr val="83A7C3"/>
                  </a:gs>
                  <a:gs pos="25999">
                    <a:srgbClr val="FFFFFF"/>
                  </a:gs>
                  <a:gs pos="28000">
                    <a:srgbClr val="9C6563"/>
                  </a:gs>
                  <a:gs pos="28999">
                    <a:srgbClr val="80302D"/>
                  </a:gs>
                  <a:gs pos="35501">
                    <a:srgbClr val="C0524E"/>
                  </a:gs>
                  <a:gs pos="47000">
                    <a:srgbClr val="EBDAD4"/>
                  </a:gs>
                  <a:gs pos="50000">
                    <a:srgbClr val="55261C"/>
                  </a:gs>
                  <a:gs pos="53000">
                    <a:srgbClr val="EBDAD4"/>
                  </a:gs>
                  <a:gs pos="64500">
                    <a:srgbClr val="C0524E"/>
                  </a:gs>
                  <a:gs pos="71001">
                    <a:srgbClr val="80302D"/>
                  </a:gs>
                  <a:gs pos="72000">
                    <a:srgbClr val="9C6563"/>
                  </a:gs>
                  <a:gs pos="74001">
                    <a:srgbClr val="FFFFFF"/>
                  </a:gs>
                  <a:gs pos="89500">
                    <a:srgbClr val="83A7C3"/>
                  </a:gs>
                  <a:gs pos="93500">
                    <a:srgbClr val="768FB9"/>
                  </a:gs>
                  <a:gs pos="96001">
                    <a:srgbClr val="83A7C3"/>
                  </a:gs>
                  <a:gs pos="100000">
                    <a:srgbClr val="DCEBF5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1" name="Rectangle 294"/>
              <p:cNvSpPr>
                <a:spLocks noChangeArrowheads="1"/>
              </p:cNvSpPr>
              <p:nvPr/>
            </p:nvSpPr>
            <p:spPr bwMode="auto">
              <a:xfrm>
                <a:off x="4979" y="3195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DCEBF5"/>
                  </a:gs>
                  <a:gs pos="3999">
                    <a:srgbClr val="83A7C3"/>
                  </a:gs>
                  <a:gs pos="6500">
                    <a:srgbClr val="768FB9"/>
                  </a:gs>
                  <a:gs pos="10501">
                    <a:srgbClr val="83A7C3"/>
                  </a:gs>
                  <a:gs pos="25999">
                    <a:srgbClr val="FFFFFF"/>
                  </a:gs>
                  <a:gs pos="28000">
                    <a:srgbClr val="9C6563"/>
                  </a:gs>
                  <a:gs pos="28999">
                    <a:srgbClr val="80302D"/>
                  </a:gs>
                  <a:gs pos="35501">
                    <a:srgbClr val="C0524E"/>
                  </a:gs>
                  <a:gs pos="47000">
                    <a:srgbClr val="EBDAD4"/>
                  </a:gs>
                  <a:gs pos="50000">
                    <a:srgbClr val="55261C"/>
                  </a:gs>
                  <a:gs pos="53000">
                    <a:srgbClr val="EBDAD4"/>
                  </a:gs>
                  <a:gs pos="64500">
                    <a:srgbClr val="C0524E"/>
                  </a:gs>
                  <a:gs pos="71001">
                    <a:srgbClr val="80302D"/>
                  </a:gs>
                  <a:gs pos="72000">
                    <a:srgbClr val="9C6563"/>
                  </a:gs>
                  <a:gs pos="74001">
                    <a:srgbClr val="FFFFFF"/>
                  </a:gs>
                  <a:gs pos="89500">
                    <a:srgbClr val="83A7C3"/>
                  </a:gs>
                  <a:gs pos="93500">
                    <a:srgbClr val="768FB9"/>
                  </a:gs>
                  <a:gs pos="96001">
                    <a:srgbClr val="83A7C3"/>
                  </a:gs>
                  <a:gs pos="100000">
                    <a:srgbClr val="DCEBF5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2" name="Rectangle 295"/>
              <p:cNvSpPr>
                <a:spLocks noChangeArrowheads="1"/>
              </p:cNvSpPr>
              <p:nvPr/>
            </p:nvSpPr>
            <p:spPr bwMode="auto">
              <a:xfrm>
                <a:off x="5183" y="2919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DCEBF5"/>
                  </a:gs>
                  <a:gs pos="3999">
                    <a:srgbClr val="83A7C3"/>
                  </a:gs>
                  <a:gs pos="6500">
                    <a:srgbClr val="768FB9"/>
                  </a:gs>
                  <a:gs pos="10501">
                    <a:srgbClr val="83A7C3"/>
                  </a:gs>
                  <a:gs pos="25999">
                    <a:srgbClr val="FFFFFF"/>
                  </a:gs>
                  <a:gs pos="28000">
                    <a:srgbClr val="9C6563"/>
                  </a:gs>
                  <a:gs pos="28999">
                    <a:srgbClr val="80302D"/>
                  </a:gs>
                  <a:gs pos="35501">
                    <a:srgbClr val="C0524E"/>
                  </a:gs>
                  <a:gs pos="47000">
                    <a:srgbClr val="EBDAD4"/>
                  </a:gs>
                  <a:gs pos="50000">
                    <a:srgbClr val="55261C"/>
                  </a:gs>
                  <a:gs pos="53000">
                    <a:srgbClr val="EBDAD4"/>
                  </a:gs>
                  <a:gs pos="64500">
                    <a:srgbClr val="C0524E"/>
                  </a:gs>
                  <a:gs pos="71001">
                    <a:srgbClr val="80302D"/>
                  </a:gs>
                  <a:gs pos="72000">
                    <a:srgbClr val="9C6563"/>
                  </a:gs>
                  <a:gs pos="74001">
                    <a:srgbClr val="FFFFFF"/>
                  </a:gs>
                  <a:gs pos="89500">
                    <a:srgbClr val="83A7C3"/>
                  </a:gs>
                  <a:gs pos="93500">
                    <a:srgbClr val="768FB9"/>
                  </a:gs>
                  <a:gs pos="96001">
                    <a:srgbClr val="83A7C3"/>
                  </a:gs>
                  <a:gs pos="100000">
                    <a:srgbClr val="DCEBF5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3" name="Rectangle 296"/>
              <p:cNvSpPr>
                <a:spLocks noChangeArrowheads="1"/>
              </p:cNvSpPr>
              <p:nvPr/>
            </p:nvSpPr>
            <p:spPr bwMode="auto">
              <a:xfrm>
                <a:off x="4591" y="2918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4D0808"/>
                  </a:gs>
                  <a:gs pos="14999">
                    <a:srgbClr val="FF0300"/>
                  </a:gs>
                  <a:gs pos="27499">
                    <a:srgbClr val="FF7A00"/>
                  </a:gs>
                  <a:gs pos="50000">
                    <a:srgbClr val="FFF200"/>
                  </a:gs>
                  <a:gs pos="72501">
                    <a:srgbClr val="FF7A00"/>
                  </a:gs>
                  <a:gs pos="85001">
                    <a:srgbClr val="FF0300"/>
                  </a:gs>
                  <a:gs pos="100000">
                    <a:srgbClr val="4D0808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4" name="Rectangle 297"/>
              <p:cNvSpPr>
                <a:spLocks noChangeArrowheads="1"/>
              </p:cNvSpPr>
              <p:nvPr/>
            </p:nvSpPr>
            <p:spPr bwMode="auto">
              <a:xfrm>
                <a:off x="4326" y="2977"/>
                <a:ext cx="40" cy="40"/>
              </a:xfrm>
              <a:prstGeom prst="rect">
                <a:avLst/>
              </a:prstGeom>
              <a:gradFill rotWithShape="1">
                <a:gsLst>
                  <a:gs pos="0">
                    <a:srgbClr val="4D0808"/>
                  </a:gs>
                  <a:gs pos="14999">
                    <a:srgbClr val="FF0300"/>
                  </a:gs>
                  <a:gs pos="27499">
                    <a:srgbClr val="FF7A00"/>
                  </a:gs>
                  <a:gs pos="50000">
                    <a:srgbClr val="FFF200"/>
                  </a:gs>
                  <a:gs pos="72501">
                    <a:srgbClr val="FF7A00"/>
                  </a:gs>
                  <a:gs pos="85001">
                    <a:srgbClr val="FF0300"/>
                  </a:gs>
                  <a:gs pos="100000">
                    <a:srgbClr val="4D0808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5" name="Rectangle 298"/>
              <p:cNvSpPr>
                <a:spLocks noChangeArrowheads="1"/>
              </p:cNvSpPr>
              <p:nvPr/>
            </p:nvSpPr>
            <p:spPr bwMode="auto">
              <a:xfrm>
                <a:off x="5285" y="2090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4D0808"/>
                  </a:gs>
                  <a:gs pos="14999">
                    <a:srgbClr val="FF0300"/>
                  </a:gs>
                  <a:gs pos="27499">
                    <a:srgbClr val="FF7A00"/>
                  </a:gs>
                  <a:gs pos="50000">
                    <a:srgbClr val="FFF200"/>
                  </a:gs>
                  <a:gs pos="72501">
                    <a:srgbClr val="FF7A00"/>
                  </a:gs>
                  <a:gs pos="85001">
                    <a:srgbClr val="FF0300"/>
                  </a:gs>
                  <a:gs pos="100000">
                    <a:srgbClr val="4D0808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6" name="Rectangle 299"/>
              <p:cNvSpPr>
                <a:spLocks noChangeArrowheads="1"/>
              </p:cNvSpPr>
              <p:nvPr/>
            </p:nvSpPr>
            <p:spPr bwMode="auto">
              <a:xfrm>
                <a:off x="5489" y="2308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4D0808"/>
                  </a:gs>
                  <a:gs pos="14999">
                    <a:srgbClr val="FF0300"/>
                  </a:gs>
                  <a:gs pos="27499">
                    <a:srgbClr val="FF7A00"/>
                  </a:gs>
                  <a:gs pos="50000">
                    <a:srgbClr val="FFF200"/>
                  </a:gs>
                  <a:gs pos="72501">
                    <a:srgbClr val="FF7A00"/>
                  </a:gs>
                  <a:gs pos="85001">
                    <a:srgbClr val="FF0300"/>
                  </a:gs>
                  <a:gs pos="100000">
                    <a:srgbClr val="4D0808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7" name="Rectangle 300"/>
              <p:cNvSpPr>
                <a:spLocks noChangeArrowheads="1"/>
              </p:cNvSpPr>
              <p:nvPr/>
            </p:nvSpPr>
            <p:spPr bwMode="auto">
              <a:xfrm>
                <a:off x="4081" y="3353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4D0808"/>
                  </a:gs>
                  <a:gs pos="14999">
                    <a:srgbClr val="FF0300"/>
                  </a:gs>
                  <a:gs pos="27499">
                    <a:srgbClr val="FF7A00"/>
                  </a:gs>
                  <a:gs pos="50000">
                    <a:srgbClr val="FFF200"/>
                  </a:gs>
                  <a:gs pos="72501">
                    <a:srgbClr val="FF7A00"/>
                  </a:gs>
                  <a:gs pos="85001">
                    <a:srgbClr val="FF0300"/>
                  </a:gs>
                  <a:gs pos="100000">
                    <a:srgbClr val="4D0808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8" name="Rectangle 301"/>
              <p:cNvSpPr>
                <a:spLocks noChangeArrowheads="1"/>
              </p:cNvSpPr>
              <p:nvPr/>
            </p:nvSpPr>
            <p:spPr bwMode="auto">
              <a:xfrm>
                <a:off x="4937" y="3235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4D0808"/>
                  </a:gs>
                  <a:gs pos="14999">
                    <a:srgbClr val="FF0300"/>
                  </a:gs>
                  <a:gs pos="27499">
                    <a:srgbClr val="FF7A00"/>
                  </a:gs>
                  <a:gs pos="50000">
                    <a:srgbClr val="FFF200"/>
                  </a:gs>
                  <a:gs pos="72501">
                    <a:srgbClr val="FF7A00"/>
                  </a:gs>
                  <a:gs pos="85001">
                    <a:srgbClr val="FF0300"/>
                  </a:gs>
                  <a:gs pos="100000">
                    <a:srgbClr val="4D0808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99" name="Rectangle 302"/>
              <p:cNvSpPr>
                <a:spLocks noChangeArrowheads="1"/>
              </p:cNvSpPr>
              <p:nvPr/>
            </p:nvSpPr>
            <p:spPr bwMode="auto">
              <a:xfrm>
                <a:off x="3856" y="3708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4D0808"/>
                  </a:gs>
                  <a:gs pos="14999">
                    <a:srgbClr val="FF0300"/>
                  </a:gs>
                  <a:gs pos="27499">
                    <a:srgbClr val="FF7A00"/>
                  </a:gs>
                  <a:gs pos="50000">
                    <a:srgbClr val="FFF200"/>
                  </a:gs>
                  <a:gs pos="72501">
                    <a:srgbClr val="FF7A00"/>
                  </a:gs>
                  <a:gs pos="85001">
                    <a:srgbClr val="FF0300"/>
                  </a:gs>
                  <a:gs pos="100000">
                    <a:srgbClr val="4D0808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0" name="Rectangle 303"/>
              <p:cNvSpPr>
                <a:spLocks noChangeArrowheads="1"/>
              </p:cNvSpPr>
              <p:nvPr/>
            </p:nvSpPr>
            <p:spPr bwMode="auto">
              <a:xfrm>
                <a:off x="4081" y="3451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EAEAEA"/>
                  </a:gs>
                  <a:gs pos="17999">
                    <a:srgbClr val="777777"/>
                  </a:gs>
                  <a:gs pos="31000">
                    <a:srgbClr val="292929"/>
                  </a:gs>
                  <a:gs pos="33000">
                    <a:srgbClr val="B2B2B2"/>
                  </a:gs>
                  <a:gs pos="37000">
                    <a:srgbClr val="FFFFFF"/>
                  </a:gs>
                  <a:gs pos="78999">
                    <a:srgbClr val="5F5F5F"/>
                  </a:gs>
                  <a:gs pos="87000">
                    <a:srgbClr val="5F5F5F"/>
                  </a:gs>
                  <a:gs pos="100000">
                    <a:srgbClr val="CBCBCB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1" name="Rectangle 304"/>
              <p:cNvSpPr>
                <a:spLocks noChangeArrowheads="1"/>
              </p:cNvSpPr>
              <p:nvPr/>
            </p:nvSpPr>
            <p:spPr bwMode="auto">
              <a:xfrm>
                <a:off x="4591" y="2859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EAEAEA"/>
                  </a:gs>
                  <a:gs pos="17999">
                    <a:srgbClr val="777777"/>
                  </a:gs>
                  <a:gs pos="31000">
                    <a:srgbClr val="292929"/>
                  </a:gs>
                  <a:gs pos="33000">
                    <a:srgbClr val="B2B2B2"/>
                  </a:gs>
                  <a:gs pos="37000">
                    <a:srgbClr val="FFFFFF"/>
                  </a:gs>
                  <a:gs pos="78999">
                    <a:srgbClr val="5F5F5F"/>
                  </a:gs>
                  <a:gs pos="87000">
                    <a:srgbClr val="5F5F5F"/>
                  </a:gs>
                  <a:gs pos="100000">
                    <a:srgbClr val="CBCBCB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2" name="Rectangle 305"/>
              <p:cNvSpPr>
                <a:spLocks noChangeArrowheads="1"/>
              </p:cNvSpPr>
              <p:nvPr/>
            </p:nvSpPr>
            <p:spPr bwMode="auto">
              <a:xfrm>
                <a:off x="3163" y="1854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EAEAEA"/>
                  </a:gs>
                  <a:gs pos="17999">
                    <a:srgbClr val="777777"/>
                  </a:gs>
                  <a:gs pos="31000">
                    <a:srgbClr val="292929"/>
                  </a:gs>
                  <a:gs pos="33000">
                    <a:srgbClr val="B2B2B2"/>
                  </a:gs>
                  <a:gs pos="37000">
                    <a:srgbClr val="FFFFFF"/>
                  </a:gs>
                  <a:gs pos="78999">
                    <a:srgbClr val="5F5F5F"/>
                  </a:gs>
                  <a:gs pos="87000">
                    <a:srgbClr val="5F5F5F"/>
                  </a:gs>
                  <a:gs pos="100000">
                    <a:srgbClr val="CBCBCB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3" name="Rectangle 306"/>
              <p:cNvSpPr>
                <a:spLocks noChangeArrowheads="1"/>
              </p:cNvSpPr>
              <p:nvPr/>
            </p:nvSpPr>
            <p:spPr bwMode="auto">
              <a:xfrm>
                <a:off x="4522" y="3261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EAEAEA"/>
                  </a:gs>
                  <a:gs pos="17999">
                    <a:srgbClr val="777777"/>
                  </a:gs>
                  <a:gs pos="31000">
                    <a:srgbClr val="292929"/>
                  </a:gs>
                  <a:gs pos="33000">
                    <a:srgbClr val="B2B2B2"/>
                  </a:gs>
                  <a:gs pos="37000">
                    <a:srgbClr val="FFFFFF"/>
                  </a:gs>
                  <a:gs pos="78999">
                    <a:srgbClr val="5F5F5F"/>
                  </a:gs>
                  <a:gs pos="87000">
                    <a:srgbClr val="5F5F5F"/>
                  </a:gs>
                  <a:gs pos="100000">
                    <a:srgbClr val="CBCBCB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4" name="Rectangle 307"/>
              <p:cNvSpPr>
                <a:spLocks noChangeArrowheads="1"/>
              </p:cNvSpPr>
              <p:nvPr/>
            </p:nvSpPr>
            <p:spPr bwMode="auto">
              <a:xfrm>
                <a:off x="4856" y="3235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EAEAEA"/>
                  </a:gs>
                  <a:gs pos="17999">
                    <a:srgbClr val="777777"/>
                  </a:gs>
                  <a:gs pos="31000">
                    <a:srgbClr val="292929"/>
                  </a:gs>
                  <a:gs pos="33000">
                    <a:srgbClr val="B2B2B2"/>
                  </a:gs>
                  <a:gs pos="37000">
                    <a:srgbClr val="FFFFFF"/>
                  </a:gs>
                  <a:gs pos="78999">
                    <a:srgbClr val="5F5F5F"/>
                  </a:gs>
                  <a:gs pos="87000">
                    <a:srgbClr val="5F5F5F"/>
                  </a:gs>
                  <a:gs pos="100000">
                    <a:srgbClr val="CBCBCB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5" name="Rectangle 308"/>
              <p:cNvSpPr>
                <a:spLocks noChangeArrowheads="1"/>
              </p:cNvSpPr>
              <p:nvPr/>
            </p:nvSpPr>
            <p:spPr bwMode="auto">
              <a:xfrm>
                <a:off x="5346" y="1813"/>
                <a:ext cx="40" cy="40"/>
              </a:xfrm>
              <a:prstGeom prst="rect">
                <a:avLst/>
              </a:prstGeom>
              <a:gradFill rotWithShape="1">
                <a:gsLst>
                  <a:gs pos="0">
                    <a:srgbClr val="EAEAEA"/>
                  </a:gs>
                  <a:gs pos="17999">
                    <a:srgbClr val="777777"/>
                  </a:gs>
                  <a:gs pos="31000">
                    <a:srgbClr val="292929"/>
                  </a:gs>
                  <a:gs pos="33000">
                    <a:srgbClr val="B2B2B2"/>
                  </a:gs>
                  <a:gs pos="37000">
                    <a:srgbClr val="FFFFFF"/>
                  </a:gs>
                  <a:gs pos="78999">
                    <a:srgbClr val="5F5F5F"/>
                  </a:gs>
                  <a:gs pos="87000">
                    <a:srgbClr val="5F5F5F"/>
                  </a:gs>
                  <a:gs pos="100000">
                    <a:srgbClr val="CBCBCB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6" name="Rectangle 309"/>
              <p:cNvSpPr>
                <a:spLocks noChangeArrowheads="1"/>
              </p:cNvSpPr>
              <p:nvPr/>
            </p:nvSpPr>
            <p:spPr bwMode="auto">
              <a:xfrm>
                <a:off x="3918" y="3747"/>
                <a:ext cx="41" cy="40"/>
              </a:xfrm>
              <a:prstGeom prst="rect">
                <a:avLst/>
              </a:prstGeom>
              <a:gradFill rotWithShape="1">
                <a:gsLst>
                  <a:gs pos="0">
                    <a:srgbClr val="EAEAEA"/>
                  </a:gs>
                  <a:gs pos="17999">
                    <a:srgbClr val="777777"/>
                  </a:gs>
                  <a:gs pos="31000">
                    <a:srgbClr val="292929"/>
                  </a:gs>
                  <a:gs pos="33000">
                    <a:srgbClr val="B2B2B2"/>
                  </a:gs>
                  <a:gs pos="37000">
                    <a:srgbClr val="FFFFFF"/>
                  </a:gs>
                  <a:gs pos="78999">
                    <a:srgbClr val="5F5F5F"/>
                  </a:gs>
                  <a:gs pos="87000">
                    <a:srgbClr val="5F5F5F"/>
                  </a:gs>
                  <a:gs pos="100000">
                    <a:srgbClr val="CBCBCB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7" name="Rectangle 310"/>
              <p:cNvSpPr>
                <a:spLocks noChangeArrowheads="1"/>
              </p:cNvSpPr>
              <p:nvPr/>
            </p:nvSpPr>
            <p:spPr bwMode="auto">
              <a:xfrm>
                <a:off x="4999" y="2465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EAEAEA"/>
                  </a:gs>
                  <a:gs pos="17999">
                    <a:srgbClr val="777777"/>
                  </a:gs>
                  <a:gs pos="31000">
                    <a:srgbClr val="292929"/>
                  </a:gs>
                  <a:gs pos="33000">
                    <a:srgbClr val="B2B2B2"/>
                  </a:gs>
                  <a:gs pos="37000">
                    <a:srgbClr val="FFFFFF"/>
                  </a:gs>
                  <a:gs pos="78999">
                    <a:srgbClr val="5F5F5F"/>
                  </a:gs>
                  <a:gs pos="87000">
                    <a:srgbClr val="5F5F5F"/>
                  </a:gs>
                  <a:gs pos="100000">
                    <a:srgbClr val="CBCBCB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8" name="Rectangle 311"/>
              <p:cNvSpPr>
                <a:spLocks noChangeArrowheads="1"/>
              </p:cNvSpPr>
              <p:nvPr/>
            </p:nvSpPr>
            <p:spPr bwMode="auto">
              <a:xfrm>
                <a:off x="4326" y="3353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EAEAEA"/>
                  </a:gs>
                  <a:gs pos="17999">
                    <a:srgbClr val="777777"/>
                  </a:gs>
                  <a:gs pos="31000">
                    <a:srgbClr val="292929"/>
                  </a:gs>
                  <a:gs pos="33000">
                    <a:srgbClr val="B2B2B2"/>
                  </a:gs>
                  <a:gs pos="37000">
                    <a:srgbClr val="FFFFFF"/>
                  </a:gs>
                  <a:gs pos="78999">
                    <a:srgbClr val="5F5F5F"/>
                  </a:gs>
                  <a:gs pos="87000">
                    <a:srgbClr val="5F5F5F"/>
                  </a:gs>
                  <a:gs pos="100000">
                    <a:srgbClr val="CBCBCB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09" name="Rectangle 312"/>
              <p:cNvSpPr>
                <a:spLocks noChangeArrowheads="1"/>
              </p:cNvSpPr>
              <p:nvPr/>
            </p:nvSpPr>
            <p:spPr bwMode="auto">
              <a:xfrm>
                <a:off x="4591" y="2977"/>
                <a:ext cx="40" cy="40"/>
              </a:xfrm>
              <a:prstGeom prst="rect">
                <a:avLst/>
              </a:prstGeom>
              <a:gradFill rotWithShape="1">
                <a:gsLst>
                  <a:gs pos="0">
                    <a:srgbClr val="825600"/>
                  </a:gs>
                  <a:gs pos="6500">
                    <a:srgbClr val="FFA800"/>
                  </a:gs>
                  <a:gs pos="14000">
                    <a:srgbClr val="825600"/>
                  </a:gs>
                  <a:gs pos="21500">
                    <a:srgbClr val="FFA800"/>
                  </a:gs>
                  <a:gs pos="28999">
                    <a:srgbClr val="825600"/>
                  </a:gs>
                  <a:gs pos="36000">
                    <a:srgbClr val="FFA800"/>
                  </a:gs>
                  <a:gs pos="43500">
                    <a:srgbClr val="825600"/>
                  </a:gs>
                  <a:gs pos="50000">
                    <a:srgbClr val="FFA800"/>
                  </a:gs>
                  <a:gs pos="56500">
                    <a:srgbClr val="825600"/>
                  </a:gs>
                  <a:gs pos="64000">
                    <a:srgbClr val="FFA800"/>
                  </a:gs>
                  <a:gs pos="71001">
                    <a:srgbClr val="825600"/>
                  </a:gs>
                  <a:gs pos="78500">
                    <a:srgbClr val="FFA800"/>
                  </a:gs>
                  <a:gs pos="86000">
                    <a:srgbClr val="825600"/>
                  </a:gs>
                  <a:gs pos="93500">
                    <a:srgbClr val="FFA800"/>
                  </a:gs>
                  <a:gs pos="100000">
                    <a:srgbClr val="825600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0" name="Rectangle 313"/>
              <p:cNvSpPr>
                <a:spLocks noChangeArrowheads="1"/>
              </p:cNvSpPr>
              <p:nvPr/>
            </p:nvSpPr>
            <p:spPr bwMode="auto">
              <a:xfrm>
                <a:off x="4102" y="3767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825600"/>
                  </a:gs>
                  <a:gs pos="6500">
                    <a:srgbClr val="FFA800"/>
                  </a:gs>
                  <a:gs pos="14000">
                    <a:srgbClr val="825600"/>
                  </a:gs>
                  <a:gs pos="21500">
                    <a:srgbClr val="FFA800"/>
                  </a:gs>
                  <a:gs pos="28999">
                    <a:srgbClr val="825600"/>
                  </a:gs>
                  <a:gs pos="36000">
                    <a:srgbClr val="FFA800"/>
                  </a:gs>
                  <a:gs pos="43500">
                    <a:srgbClr val="825600"/>
                  </a:gs>
                  <a:gs pos="50000">
                    <a:srgbClr val="FFA800"/>
                  </a:gs>
                  <a:gs pos="56500">
                    <a:srgbClr val="825600"/>
                  </a:gs>
                  <a:gs pos="64000">
                    <a:srgbClr val="FFA800"/>
                  </a:gs>
                  <a:gs pos="71001">
                    <a:srgbClr val="825600"/>
                  </a:gs>
                  <a:gs pos="78500">
                    <a:srgbClr val="FFA800"/>
                  </a:gs>
                  <a:gs pos="86000">
                    <a:srgbClr val="825600"/>
                  </a:gs>
                  <a:gs pos="93500">
                    <a:srgbClr val="FFA800"/>
                  </a:gs>
                  <a:gs pos="100000">
                    <a:srgbClr val="825600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1" name="Rectangle 314"/>
              <p:cNvSpPr>
                <a:spLocks noChangeArrowheads="1"/>
              </p:cNvSpPr>
              <p:nvPr/>
            </p:nvSpPr>
            <p:spPr bwMode="auto">
              <a:xfrm>
                <a:off x="4264" y="3017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825600"/>
                  </a:gs>
                  <a:gs pos="6500">
                    <a:srgbClr val="FFA800"/>
                  </a:gs>
                  <a:gs pos="14000">
                    <a:srgbClr val="825600"/>
                  </a:gs>
                  <a:gs pos="21500">
                    <a:srgbClr val="FFA800"/>
                  </a:gs>
                  <a:gs pos="28999">
                    <a:srgbClr val="825600"/>
                  </a:gs>
                  <a:gs pos="36000">
                    <a:srgbClr val="FFA800"/>
                  </a:gs>
                  <a:gs pos="43500">
                    <a:srgbClr val="825600"/>
                  </a:gs>
                  <a:gs pos="50000">
                    <a:srgbClr val="FFA800"/>
                  </a:gs>
                  <a:gs pos="56500">
                    <a:srgbClr val="825600"/>
                  </a:gs>
                  <a:gs pos="64000">
                    <a:srgbClr val="FFA800"/>
                  </a:gs>
                  <a:gs pos="71001">
                    <a:srgbClr val="825600"/>
                  </a:gs>
                  <a:gs pos="78500">
                    <a:srgbClr val="FFA800"/>
                  </a:gs>
                  <a:gs pos="86000">
                    <a:srgbClr val="825600"/>
                  </a:gs>
                  <a:gs pos="93500">
                    <a:srgbClr val="FFA800"/>
                  </a:gs>
                  <a:gs pos="100000">
                    <a:srgbClr val="825600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2" name="Rectangle 315"/>
              <p:cNvSpPr>
                <a:spLocks noChangeArrowheads="1"/>
              </p:cNvSpPr>
              <p:nvPr/>
            </p:nvSpPr>
            <p:spPr bwMode="auto">
              <a:xfrm>
                <a:off x="4040" y="3175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825600"/>
                  </a:gs>
                  <a:gs pos="6500">
                    <a:srgbClr val="FFA800"/>
                  </a:gs>
                  <a:gs pos="14000">
                    <a:srgbClr val="825600"/>
                  </a:gs>
                  <a:gs pos="21500">
                    <a:srgbClr val="FFA800"/>
                  </a:gs>
                  <a:gs pos="28999">
                    <a:srgbClr val="825600"/>
                  </a:gs>
                  <a:gs pos="36000">
                    <a:srgbClr val="FFA800"/>
                  </a:gs>
                  <a:gs pos="43500">
                    <a:srgbClr val="825600"/>
                  </a:gs>
                  <a:gs pos="50000">
                    <a:srgbClr val="FFA800"/>
                  </a:gs>
                  <a:gs pos="56500">
                    <a:srgbClr val="825600"/>
                  </a:gs>
                  <a:gs pos="64000">
                    <a:srgbClr val="FFA800"/>
                  </a:gs>
                  <a:gs pos="71001">
                    <a:srgbClr val="825600"/>
                  </a:gs>
                  <a:gs pos="78500">
                    <a:srgbClr val="FFA800"/>
                  </a:gs>
                  <a:gs pos="86000">
                    <a:srgbClr val="825600"/>
                  </a:gs>
                  <a:gs pos="93500">
                    <a:srgbClr val="FFA800"/>
                  </a:gs>
                  <a:gs pos="100000">
                    <a:srgbClr val="825600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3" name="Rectangle 316"/>
              <p:cNvSpPr>
                <a:spLocks noChangeArrowheads="1"/>
              </p:cNvSpPr>
              <p:nvPr/>
            </p:nvSpPr>
            <p:spPr bwMode="auto">
              <a:xfrm>
                <a:off x="5101" y="2840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825600"/>
                  </a:gs>
                  <a:gs pos="6500">
                    <a:srgbClr val="FFA800"/>
                  </a:gs>
                  <a:gs pos="14000">
                    <a:srgbClr val="825600"/>
                  </a:gs>
                  <a:gs pos="21500">
                    <a:srgbClr val="FFA800"/>
                  </a:gs>
                  <a:gs pos="28999">
                    <a:srgbClr val="825600"/>
                  </a:gs>
                  <a:gs pos="36000">
                    <a:srgbClr val="FFA800"/>
                  </a:gs>
                  <a:gs pos="43500">
                    <a:srgbClr val="825600"/>
                  </a:gs>
                  <a:gs pos="50000">
                    <a:srgbClr val="FFA800"/>
                  </a:gs>
                  <a:gs pos="56500">
                    <a:srgbClr val="825600"/>
                  </a:gs>
                  <a:gs pos="64000">
                    <a:srgbClr val="FFA800"/>
                  </a:gs>
                  <a:gs pos="71001">
                    <a:srgbClr val="825600"/>
                  </a:gs>
                  <a:gs pos="78500">
                    <a:srgbClr val="FFA800"/>
                  </a:gs>
                  <a:gs pos="86000">
                    <a:srgbClr val="825600"/>
                  </a:gs>
                  <a:gs pos="93500">
                    <a:srgbClr val="FFA800"/>
                  </a:gs>
                  <a:gs pos="100000">
                    <a:srgbClr val="825600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4" name="Rectangle 317"/>
              <p:cNvSpPr>
                <a:spLocks noChangeArrowheads="1"/>
              </p:cNvSpPr>
              <p:nvPr/>
            </p:nvSpPr>
            <p:spPr bwMode="auto">
              <a:xfrm>
                <a:off x="5061" y="2268"/>
                <a:ext cx="40" cy="39"/>
              </a:xfrm>
              <a:prstGeom prst="rect">
                <a:avLst/>
              </a:prstGeom>
              <a:gradFill rotWithShape="1">
                <a:gsLst>
                  <a:gs pos="0">
                    <a:srgbClr val="825600"/>
                  </a:gs>
                  <a:gs pos="6500">
                    <a:srgbClr val="FFA800"/>
                  </a:gs>
                  <a:gs pos="14000">
                    <a:srgbClr val="825600"/>
                  </a:gs>
                  <a:gs pos="21500">
                    <a:srgbClr val="FFA800"/>
                  </a:gs>
                  <a:gs pos="28999">
                    <a:srgbClr val="825600"/>
                  </a:gs>
                  <a:gs pos="36000">
                    <a:srgbClr val="FFA800"/>
                  </a:gs>
                  <a:gs pos="43500">
                    <a:srgbClr val="825600"/>
                  </a:gs>
                  <a:gs pos="50000">
                    <a:srgbClr val="FFA800"/>
                  </a:gs>
                  <a:gs pos="56500">
                    <a:srgbClr val="825600"/>
                  </a:gs>
                  <a:gs pos="64000">
                    <a:srgbClr val="FFA800"/>
                  </a:gs>
                  <a:gs pos="71001">
                    <a:srgbClr val="825600"/>
                  </a:gs>
                  <a:gs pos="78500">
                    <a:srgbClr val="FFA800"/>
                  </a:gs>
                  <a:gs pos="86000">
                    <a:srgbClr val="825600"/>
                  </a:gs>
                  <a:gs pos="93500">
                    <a:srgbClr val="FFA800"/>
                  </a:gs>
                  <a:gs pos="100000">
                    <a:srgbClr val="825600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5" name="Rectangle 318"/>
              <p:cNvSpPr>
                <a:spLocks noChangeArrowheads="1"/>
              </p:cNvSpPr>
              <p:nvPr/>
            </p:nvSpPr>
            <p:spPr bwMode="auto">
              <a:xfrm>
                <a:off x="5529" y="1854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825600"/>
                  </a:gs>
                  <a:gs pos="6500">
                    <a:srgbClr val="FFA800"/>
                  </a:gs>
                  <a:gs pos="14000">
                    <a:srgbClr val="825600"/>
                  </a:gs>
                  <a:gs pos="21500">
                    <a:srgbClr val="FFA800"/>
                  </a:gs>
                  <a:gs pos="28999">
                    <a:srgbClr val="825600"/>
                  </a:gs>
                  <a:gs pos="36000">
                    <a:srgbClr val="FFA800"/>
                  </a:gs>
                  <a:gs pos="43500">
                    <a:srgbClr val="825600"/>
                  </a:gs>
                  <a:gs pos="50000">
                    <a:srgbClr val="FFA800"/>
                  </a:gs>
                  <a:gs pos="56500">
                    <a:srgbClr val="825600"/>
                  </a:gs>
                  <a:gs pos="64000">
                    <a:srgbClr val="FFA800"/>
                  </a:gs>
                  <a:gs pos="71001">
                    <a:srgbClr val="825600"/>
                  </a:gs>
                  <a:gs pos="78500">
                    <a:srgbClr val="FFA800"/>
                  </a:gs>
                  <a:gs pos="86000">
                    <a:srgbClr val="825600"/>
                  </a:gs>
                  <a:gs pos="93500">
                    <a:srgbClr val="FFA800"/>
                  </a:gs>
                  <a:gs pos="100000">
                    <a:srgbClr val="825600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6" name="Rectangle 319"/>
              <p:cNvSpPr>
                <a:spLocks noChangeArrowheads="1"/>
              </p:cNvSpPr>
              <p:nvPr/>
            </p:nvSpPr>
            <p:spPr bwMode="auto">
              <a:xfrm>
                <a:off x="4282" y="3550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825600"/>
                  </a:gs>
                  <a:gs pos="6500">
                    <a:srgbClr val="FFA800"/>
                  </a:gs>
                  <a:gs pos="14000">
                    <a:srgbClr val="825600"/>
                  </a:gs>
                  <a:gs pos="21500">
                    <a:srgbClr val="FFA800"/>
                  </a:gs>
                  <a:gs pos="28999">
                    <a:srgbClr val="825600"/>
                  </a:gs>
                  <a:gs pos="36000">
                    <a:srgbClr val="FFA800"/>
                  </a:gs>
                  <a:gs pos="43500">
                    <a:srgbClr val="825600"/>
                  </a:gs>
                  <a:gs pos="50000">
                    <a:srgbClr val="FFA800"/>
                  </a:gs>
                  <a:gs pos="56500">
                    <a:srgbClr val="825600"/>
                  </a:gs>
                  <a:gs pos="64000">
                    <a:srgbClr val="FFA800"/>
                  </a:gs>
                  <a:gs pos="71001">
                    <a:srgbClr val="825600"/>
                  </a:gs>
                  <a:gs pos="78500">
                    <a:srgbClr val="FFA800"/>
                  </a:gs>
                  <a:gs pos="86000">
                    <a:srgbClr val="825600"/>
                  </a:gs>
                  <a:gs pos="93500">
                    <a:srgbClr val="FFA800"/>
                  </a:gs>
                  <a:gs pos="100000">
                    <a:srgbClr val="825600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7" name="Rectangle 341"/>
              <p:cNvSpPr>
                <a:spLocks noChangeArrowheads="1"/>
              </p:cNvSpPr>
              <p:nvPr/>
            </p:nvSpPr>
            <p:spPr bwMode="auto">
              <a:xfrm>
                <a:off x="4176" y="3081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FF8200"/>
                  </a:gs>
                  <a:gs pos="5000">
                    <a:srgbClr val="FF0000"/>
                  </a:gs>
                  <a:gs pos="17500">
                    <a:srgbClr val="BA0066"/>
                  </a:gs>
                  <a:gs pos="35001">
                    <a:srgbClr val="66008F"/>
                  </a:gs>
                  <a:gs pos="50000">
                    <a:srgbClr val="000082"/>
                  </a:gs>
                  <a:gs pos="64999">
                    <a:srgbClr val="66008F"/>
                  </a:gs>
                  <a:gs pos="82500">
                    <a:srgbClr val="BA0066"/>
                  </a:gs>
                  <a:gs pos="95000">
                    <a:srgbClr val="FF0000"/>
                  </a:gs>
                  <a:gs pos="100000">
                    <a:srgbClr val="FF8200"/>
                  </a:gs>
                </a:gsLst>
                <a:lin ang="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8" name="Rectangle 341"/>
              <p:cNvSpPr>
                <a:spLocks noChangeArrowheads="1"/>
              </p:cNvSpPr>
              <p:nvPr/>
            </p:nvSpPr>
            <p:spPr bwMode="auto">
              <a:xfrm>
                <a:off x="4711" y="3033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FF8200"/>
                  </a:gs>
                  <a:gs pos="5000">
                    <a:srgbClr val="FF0000"/>
                  </a:gs>
                  <a:gs pos="17500">
                    <a:srgbClr val="BA0066"/>
                  </a:gs>
                  <a:gs pos="35001">
                    <a:srgbClr val="66008F"/>
                  </a:gs>
                  <a:gs pos="50000">
                    <a:srgbClr val="000082"/>
                  </a:gs>
                  <a:gs pos="64999">
                    <a:srgbClr val="66008F"/>
                  </a:gs>
                  <a:gs pos="82500">
                    <a:srgbClr val="BA0066"/>
                  </a:gs>
                  <a:gs pos="95000">
                    <a:srgbClr val="FF0000"/>
                  </a:gs>
                  <a:gs pos="100000">
                    <a:srgbClr val="FF8200"/>
                  </a:gs>
                </a:gsLst>
                <a:lin ang="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19" name="Rectangle 341"/>
              <p:cNvSpPr>
                <a:spLocks noChangeArrowheads="1"/>
              </p:cNvSpPr>
              <p:nvPr/>
            </p:nvSpPr>
            <p:spPr bwMode="auto">
              <a:xfrm>
                <a:off x="5014" y="3235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FF8200"/>
                  </a:gs>
                  <a:gs pos="5000">
                    <a:srgbClr val="FF0000"/>
                  </a:gs>
                  <a:gs pos="17500">
                    <a:srgbClr val="BA0066"/>
                  </a:gs>
                  <a:gs pos="35001">
                    <a:srgbClr val="66008F"/>
                  </a:gs>
                  <a:gs pos="50000">
                    <a:srgbClr val="000082"/>
                  </a:gs>
                  <a:gs pos="64999">
                    <a:srgbClr val="66008F"/>
                  </a:gs>
                  <a:gs pos="82500">
                    <a:srgbClr val="BA0066"/>
                  </a:gs>
                  <a:gs pos="95000">
                    <a:srgbClr val="FF0000"/>
                  </a:gs>
                  <a:gs pos="100000">
                    <a:srgbClr val="FF8200"/>
                  </a:gs>
                </a:gsLst>
                <a:lin ang="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20" name="Rectangle 341"/>
              <p:cNvSpPr>
                <a:spLocks noChangeArrowheads="1"/>
              </p:cNvSpPr>
              <p:nvPr/>
            </p:nvSpPr>
            <p:spPr bwMode="auto">
              <a:xfrm>
                <a:off x="4536" y="2613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FF8200"/>
                  </a:gs>
                  <a:gs pos="5000">
                    <a:srgbClr val="FF0000"/>
                  </a:gs>
                  <a:gs pos="17500">
                    <a:srgbClr val="BA0066"/>
                  </a:gs>
                  <a:gs pos="35001">
                    <a:srgbClr val="66008F"/>
                  </a:gs>
                  <a:gs pos="50000">
                    <a:srgbClr val="000082"/>
                  </a:gs>
                  <a:gs pos="64999">
                    <a:srgbClr val="66008F"/>
                  </a:gs>
                  <a:gs pos="82500">
                    <a:srgbClr val="BA0066"/>
                  </a:gs>
                  <a:gs pos="95000">
                    <a:srgbClr val="FF0000"/>
                  </a:gs>
                  <a:gs pos="100000">
                    <a:srgbClr val="FF8200"/>
                  </a:gs>
                </a:gsLst>
                <a:lin ang="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21" name="Rectangle 341"/>
              <p:cNvSpPr>
                <a:spLocks noChangeArrowheads="1"/>
              </p:cNvSpPr>
              <p:nvPr/>
            </p:nvSpPr>
            <p:spPr bwMode="auto">
              <a:xfrm>
                <a:off x="4128" y="3561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FF8200"/>
                  </a:gs>
                  <a:gs pos="5000">
                    <a:srgbClr val="FF0000"/>
                  </a:gs>
                  <a:gs pos="17500">
                    <a:srgbClr val="BA0066"/>
                  </a:gs>
                  <a:gs pos="35001">
                    <a:srgbClr val="66008F"/>
                  </a:gs>
                  <a:gs pos="50000">
                    <a:srgbClr val="000082"/>
                  </a:gs>
                  <a:gs pos="64999">
                    <a:srgbClr val="66008F"/>
                  </a:gs>
                  <a:gs pos="82500">
                    <a:srgbClr val="BA0066"/>
                  </a:gs>
                  <a:gs pos="95000">
                    <a:srgbClr val="FF0000"/>
                  </a:gs>
                  <a:gs pos="100000">
                    <a:srgbClr val="FF8200"/>
                  </a:gs>
                </a:gsLst>
                <a:lin ang="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22" name="Rectangle 341"/>
              <p:cNvSpPr>
                <a:spLocks noChangeArrowheads="1"/>
              </p:cNvSpPr>
              <p:nvPr/>
            </p:nvSpPr>
            <p:spPr bwMode="auto">
              <a:xfrm>
                <a:off x="5232" y="2064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FF8200"/>
                  </a:gs>
                  <a:gs pos="5000">
                    <a:srgbClr val="FF0000"/>
                  </a:gs>
                  <a:gs pos="17500">
                    <a:srgbClr val="BA0066"/>
                  </a:gs>
                  <a:gs pos="35001">
                    <a:srgbClr val="66008F"/>
                  </a:gs>
                  <a:gs pos="50000">
                    <a:srgbClr val="000082"/>
                  </a:gs>
                  <a:gs pos="64999">
                    <a:srgbClr val="66008F"/>
                  </a:gs>
                  <a:gs pos="82500">
                    <a:srgbClr val="BA0066"/>
                  </a:gs>
                  <a:gs pos="95000">
                    <a:srgbClr val="FF0000"/>
                  </a:gs>
                  <a:gs pos="100000">
                    <a:srgbClr val="FF8200"/>
                  </a:gs>
                </a:gsLst>
                <a:lin ang="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23" name="Rectangle 341"/>
              <p:cNvSpPr>
                <a:spLocks noChangeArrowheads="1"/>
              </p:cNvSpPr>
              <p:nvPr/>
            </p:nvSpPr>
            <p:spPr bwMode="auto">
              <a:xfrm>
                <a:off x="4010" y="3360"/>
                <a:ext cx="41" cy="39"/>
              </a:xfrm>
              <a:prstGeom prst="rect">
                <a:avLst/>
              </a:prstGeom>
              <a:gradFill rotWithShape="1">
                <a:gsLst>
                  <a:gs pos="0">
                    <a:srgbClr val="FF8200"/>
                  </a:gs>
                  <a:gs pos="5000">
                    <a:srgbClr val="FF0000"/>
                  </a:gs>
                  <a:gs pos="17500">
                    <a:srgbClr val="BA0066"/>
                  </a:gs>
                  <a:gs pos="35001">
                    <a:srgbClr val="66008F"/>
                  </a:gs>
                  <a:gs pos="50000">
                    <a:srgbClr val="000082"/>
                  </a:gs>
                  <a:gs pos="64999">
                    <a:srgbClr val="66008F"/>
                  </a:gs>
                  <a:gs pos="82500">
                    <a:srgbClr val="BA0066"/>
                  </a:gs>
                  <a:gs pos="95000">
                    <a:srgbClr val="FF0000"/>
                  </a:gs>
                  <a:gs pos="100000">
                    <a:srgbClr val="FF8200"/>
                  </a:gs>
                </a:gsLst>
                <a:lin ang="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6152" name="Group 154"/>
            <p:cNvGrpSpPr>
              <a:grpSpLocks/>
            </p:cNvGrpSpPr>
            <p:nvPr/>
          </p:nvGrpSpPr>
          <p:grpSpPr bwMode="auto">
            <a:xfrm>
              <a:off x="158" y="764"/>
              <a:ext cx="2857" cy="3368"/>
              <a:chOff x="158" y="764"/>
              <a:chExt cx="2857" cy="3368"/>
            </a:xfrm>
          </p:grpSpPr>
          <p:sp>
            <p:nvSpPr>
              <p:cNvPr id="6153" name="Text Box 73"/>
              <p:cNvSpPr txBox="1">
                <a:spLocks noChangeArrowheads="1"/>
              </p:cNvSpPr>
              <p:nvPr/>
            </p:nvSpPr>
            <p:spPr bwMode="auto">
              <a:xfrm>
                <a:off x="205" y="764"/>
                <a:ext cx="2810" cy="33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1pPr>
                <a:lvl2pPr marL="742950" indent="-28575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2pPr>
                <a:lvl3pPr marL="11430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3pPr>
                <a:lvl4pPr marL="16002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4pPr>
                <a:lvl5pPr marL="2057400" indent="-228600"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5pPr>
                <a:lvl6pPr marL="25146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6pPr>
                <a:lvl7pPr marL="29718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7pPr>
                <a:lvl8pPr marL="34290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8pPr>
                <a:lvl9pPr marL="3886200" indent="-228600" eaLnBrk="0" fontAlgn="base" hangingPunct="0">
                  <a:lnSpc>
                    <a:spcPct val="82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defRPr sz="2400">
                    <a:solidFill>
                      <a:schemeClr val="bg1"/>
                    </a:solidFill>
                    <a:latin typeface="Times New Roman" pitchFamily="18" charset="0"/>
                    <a:ea typeface="Lucida Sans Unicode" pitchFamily="34" charset="0"/>
                    <a:cs typeface="Lucida Sans Unicode" pitchFamily="34" charset="0"/>
                  </a:defRPr>
                </a:lvl9pPr>
              </a:lstStyle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Produtos para a saúde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Insumos farmacêuticos, medicamentos e cosméticos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Sangue e hemoderivados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Análises físico-químicas e microbio p/ alimentação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Biotecnologia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Saneamento e abastecimento d’água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Radioproteção e dosimetria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Equipamentos de proteção individual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Produtos e dispositivos eletrônicos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TIC aplicáveis às novas mídias: TV Digital,              comunicação sem fio, internet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Geração, transmissão e distribuição de energia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Componentes e produtos da área de defesa e segurança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Biocombustíveis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Produtos de manufatura mecânica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Produtos de setores tradicionais: têxtil, couro e calçados, madeira e móveis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Instalações prediais e iluminação pública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Monitoramento ambiental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Transformados plásticos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Gravimetria, orientação magnética, intensidade de campo magnético e compatibilidade eletromagnética</a:t>
                </a:r>
              </a:p>
              <a:p>
                <a:pPr eaLnBrk="1" fontAlgn="auto" hangingPunct="1">
                  <a:spcBef>
                    <a:spcPct val="30000"/>
                  </a:spcBef>
                  <a:spcAft>
                    <a:spcPts val="0"/>
                  </a:spcAft>
                </a:pPr>
                <a:r>
                  <a:rPr lang="pt-BR" sz="1200" b="1">
                    <a:solidFill>
                      <a:prstClr val="black"/>
                    </a:solidFill>
                    <a:latin typeface="Arial" charset="0"/>
                  </a:rPr>
                  <a:t>Resíduos e Contaminantes em Alimentos </a:t>
                </a:r>
              </a:p>
            </p:txBody>
          </p:sp>
          <p:grpSp>
            <p:nvGrpSpPr>
              <p:cNvPr id="6154" name="Group 156"/>
              <p:cNvGrpSpPr>
                <a:grpSpLocks/>
              </p:cNvGrpSpPr>
              <p:nvPr/>
            </p:nvGrpSpPr>
            <p:grpSpPr bwMode="auto">
              <a:xfrm>
                <a:off x="158" y="810"/>
                <a:ext cx="68" cy="3270"/>
                <a:chOff x="158" y="810"/>
                <a:chExt cx="68" cy="3270"/>
              </a:xfrm>
            </p:grpSpPr>
            <p:sp>
              <p:nvSpPr>
                <p:cNvPr id="6155" name="Rectangle 323"/>
                <p:cNvSpPr>
                  <a:spLocks noChangeArrowheads="1"/>
                </p:cNvSpPr>
                <p:nvPr/>
              </p:nvSpPr>
              <p:spPr bwMode="auto">
                <a:xfrm>
                  <a:off x="158" y="810"/>
                  <a:ext cx="68" cy="68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56" name="Rectangle 324"/>
                <p:cNvSpPr>
                  <a:spLocks noChangeArrowheads="1"/>
                </p:cNvSpPr>
                <p:nvPr/>
              </p:nvSpPr>
              <p:spPr bwMode="auto">
                <a:xfrm>
                  <a:off x="158" y="960"/>
                  <a:ext cx="68" cy="68"/>
                </a:xfrm>
                <a:prstGeom prst="rect">
                  <a:avLst/>
                </a:prstGeom>
                <a:solidFill>
                  <a:schemeClr val="folHlink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57" name="Rectangle 325"/>
                <p:cNvSpPr>
                  <a:spLocks noChangeArrowheads="1"/>
                </p:cNvSpPr>
                <p:nvPr/>
              </p:nvSpPr>
              <p:spPr bwMode="auto">
                <a:xfrm>
                  <a:off x="158" y="1110"/>
                  <a:ext cx="68" cy="68"/>
                </a:xfrm>
                <a:prstGeom prst="rect">
                  <a:avLst/>
                </a:prstGeom>
                <a:solidFill>
                  <a:srgbClr val="FF99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58" name="Rectangle 326"/>
                <p:cNvSpPr>
                  <a:spLocks noChangeArrowheads="1"/>
                </p:cNvSpPr>
                <p:nvPr/>
              </p:nvSpPr>
              <p:spPr bwMode="auto">
                <a:xfrm>
                  <a:off x="158" y="1263"/>
                  <a:ext cx="68" cy="68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59" name="Rectangle 327"/>
                <p:cNvSpPr>
                  <a:spLocks noChangeArrowheads="1"/>
                </p:cNvSpPr>
                <p:nvPr/>
              </p:nvSpPr>
              <p:spPr bwMode="auto">
                <a:xfrm>
                  <a:off x="158" y="1558"/>
                  <a:ext cx="68" cy="68"/>
                </a:xfrm>
                <a:prstGeom prst="rect">
                  <a:avLst/>
                </a:prstGeom>
                <a:solidFill>
                  <a:srgbClr val="6600CC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0" name="Rectangle 328"/>
                <p:cNvSpPr>
                  <a:spLocks noChangeArrowheads="1"/>
                </p:cNvSpPr>
                <p:nvPr/>
              </p:nvSpPr>
              <p:spPr bwMode="auto">
                <a:xfrm>
                  <a:off x="158" y="1420"/>
                  <a:ext cx="68" cy="68"/>
                </a:xfrm>
                <a:prstGeom prst="rect">
                  <a:avLst/>
                </a:prstGeom>
                <a:solidFill>
                  <a:srgbClr val="996633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1" name="Rectangle 329"/>
                <p:cNvSpPr>
                  <a:spLocks noChangeArrowheads="1"/>
                </p:cNvSpPr>
                <p:nvPr/>
              </p:nvSpPr>
              <p:spPr bwMode="auto">
                <a:xfrm>
                  <a:off x="158" y="1717"/>
                  <a:ext cx="68" cy="68"/>
                </a:xfrm>
                <a:prstGeom prst="rect">
                  <a:avLst/>
                </a:prstGeom>
                <a:solidFill>
                  <a:srgbClr val="0099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2" name="Rectangle 330"/>
                <p:cNvSpPr>
                  <a:spLocks noChangeArrowheads="1"/>
                </p:cNvSpPr>
                <p:nvPr/>
              </p:nvSpPr>
              <p:spPr bwMode="auto">
                <a:xfrm>
                  <a:off x="158" y="1853"/>
                  <a:ext cx="68" cy="68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3" name="Rectangle 331"/>
                <p:cNvSpPr>
                  <a:spLocks noChangeArrowheads="1"/>
                </p:cNvSpPr>
                <p:nvPr/>
              </p:nvSpPr>
              <p:spPr bwMode="auto">
                <a:xfrm>
                  <a:off x="158" y="2012"/>
                  <a:ext cx="68" cy="68"/>
                </a:xfrm>
                <a:prstGeom prst="rect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4" name="Rectangle 332"/>
                <p:cNvSpPr>
                  <a:spLocks noChangeArrowheads="1"/>
                </p:cNvSpPr>
                <p:nvPr/>
              </p:nvSpPr>
              <p:spPr bwMode="auto">
                <a:xfrm>
                  <a:off x="158" y="2171"/>
                  <a:ext cx="68" cy="68"/>
                </a:xfrm>
                <a:prstGeom prst="rect">
                  <a:avLst/>
                </a:prstGeom>
                <a:solidFill>
                  <a:srgbClr val="00FF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5" name="Rectangle 333"/>
                <p:cNvSpPr>
                  <a:spLocks noChangeArrowheads="1"/>
                </p:cNvSpPr>
                <p:nvPr/>
              </p:nvSpPr>
              <p:spPr bwMode="auto">
                <a:xfrm>
                  <a:off x="158" y="2420"/>
                  <a:ext cx="68" cy="68"/>
                </a:xfrm>
                <a:prstGeom prst="rect">
                  <a:avLst/>
                </a:prstGeom>
                <a:solidFill>
                  <a:srgbClr val="6600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6" name="Rectangle 334"/>
                <p:cNvSpPr>
                  <a:spLocks noChangeArrowheads="1"/>
                </p:cNvSpPr>
                <p:nvPr/>
              </p:nvSpPr>
              <p:spPr bwMode="auto">
                <a:xfrm>
                  <a:off x="158" y="2567"/>
                  <a:ext cx="68" cy="68"/>
                </a:xfrm>
                <a:prstGeom prst="rect">
                  <a:avLst/>
                </a:prstGeom>
                <a:solidFill>
                  <a:srgbClr val="666699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7" name="Rectangle 335"/>
                <p:cNvSpPr>
                  <a:spLocks noChangeArrowheads="1"/>
                </p:cNvSpPr>
                <p:nvPr/>
              </p:nvSpPr>
              <p:spPr bwMode="auto">
                <a:xfrm>
                  <a:off x="158" y="2731"/>
                  <a:ext cx="68" cy="68"/>
                </a:xfrm>
                <a:prstGeom prst="rect">
                  <a:avLst/>
                </a:prstGeom>
                <a:solidFill>
                  <a:srgbClr val="0066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8" name="Rectangle 336"/>
                <p:cNvSpPr>
                  <a:spLocks noChangeArrowheads="1"/>
                </p:cNvSpPr>
                <p:nvPr/>
              </p:nvSpPr>
              <p:spPr bwMode="auto">
                <a:xfrm>
                  <a:off x="158" y="2874"/>
                  <a:ext cx="68" cy="68"/>
                </a:xfrm>
                <a:prstGeom prst="rect">
                  <a:avLst/>
                </a:prstGeom>
                <a:solidFill>
                  <a:srgbClr val="FF00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69" name="Rectangle 337"/>
                <p:cNvSpPr>
                  <a:spLocks noChangeArrowheads="1"/>
                </p:cNvSpPr>
                <p:nvPr/>
              </p:nvSpPr>
              <p:spPr bwMode="auto">
                <a:xfrm>
                  <a:off x="158" y="3025"/>
                  <a:ext cx="68" cy="68"/>
                </a:xfrm>
                <a:prstGeom prst="rect">
                  <a:avLst/>
                </a:prstGeom>
                <a:solidFill>
                  <a:srgbClr val="0000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70" name="Rectangle 338"/>
                <p:cNvSpPr>
                  <a:spLocks noChangeArrowheads="1"/>
                </p:cNvSpPr>
                <p:nvPr/>
              </p:nvSpPr>
              <p:spPr bwMode="auto">
                <a:xfrm>
                  <a:off x="158" y="3297"/>
                  <a:ext cx="68" cy="68"/>
                </a:xfrm>
                <a:prstGeom prst="rect">
                  <a:avLst/>
                </a:prstGeom>
                <a:gradFill rotWithShape="1">
                  <a:gsLst>
                    <a:gs pos="0">
                      <a:srgbClr val="DCEBF5"/>
                    </a:gs>
                    <a:gs pos="3999">
                      <a:srgbClr val="83A7C3"/>
                    </a:gs>
                    <a:gs pos="6500">
                      <a:srgbClr val="768FB9"/>
                    </a:gs>
                    <a:gs pos="10501">
                      <a:srgbClr val="83A7C3"/>
                    </a:gs>
                    <a:gs pos="25999">
                      <a:srgbClr val="FFFFFF"/>
                    </a:gs>
                    <a:gs pos="28000">
                      <a:srgbClr val="9C6563"/>
                    </a:gs>
                    <a:gs pos="28999">
                      <a:srgbClr val="80302D"/>
                    </a:gs>
                    <a:gs pos="35501">
                      <a:srgbClr val="C0524E"/>
                    </a:gs>
                    <a:gs pos="47000">
                      <a:srgbClr val="EBDAD4"/>
                    </a:gs>
                    <a:gs pos="50000">
                      <a:srgbClr val="55261C"/>
                    </a:gs>
                    <a:gs pos="53000">
                      <a:srgbClr val="EBDAD4"/>
                    </a:gs>
                    <a:gs pos="64500">
                      <a:srgbClr val="C0524E"/>
                    </a:gs>
                    <a:gs pos="71001">
                      <a:srgbClr val="80302D"/>
                    </a:gs>
                    <a:gs pos="72000">
                      <a:srgbClr val="9C6563"/>
                    </a:gs>
                    <a:gs pos="74001">
                      <a:srgbClr val="FFFFFF"/>
                    </a:gs>
                    <a:gs pos="89500">
                      <a:srgbClr val="83A7C3"/>
                    </a:gs>
                    <a:gs pos="93500">
                      <a:srgbClr val="768FB9"/>
                    </a:gs>
                    <a:gs pos="96001">
                      <a:srgbClr val="83A7C3"/>
                    </a:gs>
                    <a:gs pos="100000">
                      <a:srgbClr val="DCEBF5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71" name="Rectangle 339"/>
                <p:cNvSpPr>
                  <a:spLocks noChangeArrowheads="1"/>
                </p:cNvSpPr>
                <p:nvPr/>
              </p:nvSpPr>
              <p:spPr bwMode="auto">
                <a:xfrm>
                  <a:off x="158" y="3441"/>
                  <a:ext cx="68" cy="68"/>
                </a:xfrm>
                <a:prstGeom prst="rect">
                  <a:avLst/>
                </a:prstGeom>
                <a:gradFill rotWithShape="1">
                  <a:gsLst>
                    <a:gs pos="0">
                      <a:srgbClr val="4D0808"/>
                    </a:gs>
                    <a:gs pos="14999">
                      <a:srgbClr val="FF0300"/>
                    </a:gs>
                    <a:gs pos="27499">
                      <a:srgbClr val="FF7A00"/>
                    </a:gs>
                    <a:gs pos="50000">
                      <a:srgbClr val="FFF200"/>
                    </a:gs>
                    <a:gs pos="72501">
                      <a:srgbClr val="FF7A00"/>
                    </a:gs>
                    <a:gs pos="85001">
                      <a:srgbClr val="FF0300"/>
                    </a:gs>
                    <a:gs pos="100000">
                      <a:srgbClr val="4D0808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72" name="Rectangle 340"/>
                <p:cNvSpPr>
                  <a:spLocks noChangeArrowheads="1"/>
                </p:cNvSpPr>
                <p:nvPr/>
              </p:nvSpPr>
              <p:spPr bwMode="auto">
                <a:xfrm>
                  <a:off x="158" y="3577"/>
                  <a:ext cx="68" cy="68"/>
                </a:xfrm>
                <a:prstGeom prst="rect">
                  <a:avLst/>
                </a:prstGeom>
                <a:gradFill rotWithShape="1">
                  <a:gsLst>
                    <a:gs pos="0">
                      <a:srgbClr val="EAEAEA"/>
                    </a:gs>
                    <a:gs pos="17999">
                      <a:srgbClr val="777777"/>
                    </a:gs>
                    <a:gs pos="31000">
                      <a:srgbClr val="292929"/>
                    </a:gs>
                    <a:gs pos="33000">
                      <a:srgbClr val="B2B2B2"/>
                    </a:gs>
                    <a:gs pos="37000">
                      <a:srgbClr val="FFFFFF"/>
                    </a:gs>
                    <a:gs pos="78999">
                      <a:srgbClr val="5F5F5F"/>
                    </a:gs>
                    <a:gs pos="87000">
                      <a:srgbClr val="5F5F5F"/>
                    </a:gs>
                    <a:gs pos="100000">
                      <a:srgbClr val="CBCBCB"/>
                    </a:gs>
                  </a:gsLst>
                  <a:path path="shape">
                    <a:fillToRect l="50000" t="50000" r="50000" b="50000"/>
                  </a:path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73" name="Rectangle 341"/>
                <p:cNvSpPr>
                  <a:spLocks noChangeArrowheads="1"/>
                </p:cNvSpPr>
                <p:nvPr/>
              </p:nvSpPr>
              <p:spPr bwMode="auto">
                <a:xfrm>
                  <a:off x="158" y="3736"/>
                  <a:ext cx="68" cy="68"/>
                </a:xfrm>
                <a:prstGeom prst="rect">
                  <a:avLst/>
                </a:prstGeom>
                <a:gradFill rotWithShape="1">
                  <a:gsLst>
                    <a:gs pos="0">
                      <a:srgbClr val="825600"/>
                    </a:gs>
                    <a:gs pos="6500">
                      <a:srgbClr val="FFA800"/>
                    </a:gs>
                    <a:gs pos="14000">
                      <a:srgbClr val="825600"/>
                    </a:gs>
                    <a:gs pos="21500">
                      <a:srgbClr val="FFA800"/>
                    </a:gs>
                    <a:gs pos="28999">
                      <a:srgbClr val="825600"/>
                    </a:gs>
                    <a:gs pos="36000">
                      <a:srgbClr val="FFA800"/>
                    </a:gs>
                    <a:gs pos="43500">
                      <a:srgbClr val="825600"/>
                    </a:gs>
                    <a:gs pos="50000">
                      <a:srgbClr val="FFA800"/>
                    </a:gs>
                    <a:gs pos="56500">
                      <a:srgbClr val="825600"/>
                    </a:gs>
                    <a:gs pos="64000">
                      <a:srgbClr val="FFA800"/>
                    </a:gs>
                    <a:gs pos="71001">
                      <a:srgbClr val="825600"/>
                    </a:gs>
                    <a:gs pos="78500">
                      <a:srgbClr val="FFA800"/>
                    </a:gs>
                    <a:gs pos="86000">
                      <a:srgbClr val="825600"/>
                    </a:gs>
                    <a:gs pos="93500">
                      <a:srgbClr val="FFA800"/>
                    </a:gs>
                    <a:gs pos="100000">
                      <a:srgbClr val="825600"/>
                    </a:gs>
                  </a:gsLst>
                  <a:lin ang="27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6174" name="Rectangle 341"/>
                <p:cNvSpPr>
                  <a:spLocks noChangeArrowheads="1"/>
                </p:cNvSpPr>
                <p:nvPr/>
              </p:nvSpPr>
              <p:spPr bwMode="auto">
                <a:xfrm>
                  <a:off x="158" y="4012"/>
                  <a:ext cx="68" cy="68"/>
                </a:xfrm>
                <a:prstGeom prst="rect">
                  <a:avLst/>
                </a:prstGeom>
                <a:gradFill rotWithShape="1">
                  <a:gsLst>
                    <a:gs pos="0">
                      <a:srgbClr val="FF8200"/>
                    </a:gs>
                    <a:gs pos="5000">
                      <a:srgbClr val="FF0000"/>
                    </a:gs>
                    <a:gs pos="17500">
                      <a:srgbClr val="BA0066"/>
                    </a:gs>
                    <a:gs pos="35001">
                      <a:srgbClr val="66008F"/>
                    </a:gs>
                    <a:gs pos="50000">
                      <a:srgbClr val="000082"/>
                    </a:gs>
                    <a:gs pos="64999">
                      <a:srgbClr val="66008F"/>
                    </a:gs>
                    <a:gs pos="82500">
                      <a:srgbClr val="BA0066"/>
                    </a:gs>
                    <a:gs pos="95000">
                      <a:srgbClr val="FF0000"/>
                    </a:gs>
                    <a:gs pos="100000">
                      <a:srgbClr val="FF8200"/>
                    </a:gs>
                  </a:gsLst>
                  <a:lin ang="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p:grpSp>
        </p:grpSp>
      </p:grpSp>
      <p:sp>
        <p:nvSpPr>
          <p:cNvPr id="294063" name="Text Box 175"/>
          <p:cNvSpPr txBox="1">
            <a:spLocks noChangeArrowheads="1"/>
          </p:cNvSpPr>
          <p:nvPr/>
        </p:nvSpPr>
        <p:spPr bwMode="auto">
          <a:xfrm>
            <a:off x="2268538" y="115888"/>
            <a:ext cx="65516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b="1"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Redes Temáticas de Serviços Tecnológicos</a:t>
            </a:r>
          </a:p>
        </p:txBody>
      </p:sp>
    </p:spTree>
    <p:extLst>
      <p:ext uri="{BB962C8B-B14F-4D97-AF65-F5344CB8AC3E}">
        <p14:creationId xmlns:p14="http://schemas.microsoft.com/office/powerpoint/2010/main" val="1934342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2484438" y="234950"/>
            <a:ext cx="6300787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b="1" dirty="0"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rPr>
              <a:t>Redes Temáticas de Centros de Inovação</a:t>
            </a:r>
          </a:p>
        </p:txBody>
      </p:sp>
      <p:sp>
        <p:nvSpPr>
          <p:cNvPr id="13317" name="Text Box 3"/>
          <p:cNvSpPr txBox="1">
            <a:spLocks noChangeArrowheads="1"/>
          </p:cNvSpPr>
          <p:nvPr/>
        </p:nvSpPr>
        <p:spPr bwMode="auto">
          <a:xfrm>
            <a:off x="3024188" y="620713"/>
            <a:ext cx="5076825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>
              <a:tabLst>
                <a:tab pos="0" algn="l"/>
                <a:tab pos="8456613" algn="l"/>
                <a:tab pos="8905875" algn="l"/>
                <a:tab pos="9355138" algn="l"/>
              </a:tabLst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1pPr>
            <a:lvl2pPr marL="742950" indent="-285750">
              <a:tabLst>
                <a:tab pos="0" algn="l"/>
                <a:tab pos="8456613" algn="l"/>
                <a:tab pos="8905875" algn="l"/>
                <a:tab pos="9355138" algn="l"/>
              </a:tabLst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2pPr>
            <a:lvl3pPr marL="1143000" indent="-228600">
              <a:tabLst>
                <a:tab pos="0" algn="l"/>
                <a:tab pos="8456613" algn="l"/>
                <a:tab pos="8905875" algn="l"/>
                <a:tab pos="9355138" algn="l"/>
              </a:tabLst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3pPr>
            <a:lvl4pPr marL="1600200" indent="-228600">
              <a:tabLst>
                <a:tab pos="0" algn="l"/>
                <a:tab pos="8456613" algn="l"/>
                <a:tab pos="8905875" algn="l"/>
                <a:tab pos="9355138" algn="l"/>
              </a:tabLst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4pPr>
            <a:lvl5pPr marL="2057400" indent="-228600">
              <a:tabLst>
                <a:tab pos="0" algn="l"/>
                <a:tab pos="8456613" algn="l"/>
                <a:tab pos="8905875" algn="l"/>
                <a:tab pos="9355138" algn="l"/>
              </a:tabLst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8456613" algn="l"/>
                <a:tab pos="8905875" algn="l"/>
                <a:tab pos="9355138" algn="l"/>
              </a:tabLst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8456613" algn="l"/>
                <a:tab pos="8905875" algn="l"/>
                <a:tab pos="9355138" algn="l"/>
              </a:tabLst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8456613" algn="l"/>
                <a:tab pos="8905875" algn="l"/>
                <a:tab pos="9355138" algn="l"/>
              </a:tabLst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8456613" algn="l"/>
                <a:tab pos="8905875" algn="l"/>
                <a:tab pos="9355138" algn="l"/>
              </a:tabLst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eaLnBrk="1" fontAlgn="auto" hangingPunct="1">
              <a:spcBef>
                <a:spcPts val="1838"/>
              </a:spcBef>
              <a:spcAft>
                <a:spcPts val="0"/>
              </a:spcAft>
            </a:pPr>
            <a:r>
              <a:rPr lang="pt-BR" sz="1800">
                <a:solidFill>
                  <a:srgbClr val="000000"/>
                </a:solidFill>
                <a:latin typeface="Arial" charset="0"/>
                <a:cs typeface="Arial" charset="0"/>
              </a:rPr>
              <a:t>14 Redes SIBRATEC de Centros de Inovação</a:t>
            </a:r>
            <a:endParaRPr lang="en-GB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13318" name="Grupo 130"/>
          <p:cNvGrpSpPr>
            <a:grpSpLocks/>
          </p:cNvGrpSpPr>
          <p:nvPr/>
        </p:nvGrpSpPr>
        <p:grpSpPr bwMode="auto">
          <a:xfrm>
            <a:off x="180975" y="1268413"/>
            <a:ext cx="8855075" cy="5329237"/>
            <a:chOff x="180976" y="1557338"/>
            <a:chExt cx="8855075" cy="5040312"/>
          </a:xfrm>
        </p:grpSpPr>
        <p:grpSp>
          <p:nvGrpSpPr>
            <p:cNvPr id="13321" name="Group 119"/>
            <p:cNvGrpSpPr>
              <a:grpSpLocks/>
            </p:cNvGrpSpPr>
            <p:nvPr/>
          </p:nvGrpSpPr>
          <p:grpSpPr bwMode="auto">
            <a:xfrm>
              <a:off x="180976" y="1557338"/>
              <a:ext cx="8855075" cy="5040312"/>
              <a:chOff x="114" y="981"/>
              <a:chExt cx="5578" cy="3175"/>
            </a:xfrm>
          </p:grpSpPr>
          <p:grpSp>
            <p:nvGrpSpPr>
              <p:cNvPr id="13334" name="Group 2"/>
              <p:cNvGrpSpPr>
                <a:grpSpLocks/>
              </p:cNvGrpSpPr>
              <p:nvPr/>
            </p:nvGrpSpPr>
            <p:grpSpPr bwMode="auto">
              <a:xfrm>
                <a:off x="2063" y="981"/>
                <a:ext cx="3629" cy="3175"/>
                <a:chOff x="2001" y="1026"/>
                <a:chExt cx="3629" cy="3175"/>
              </a:xfrm>
            </p:grpSpPr>
            <p:pic>
              <p:nvPicPr>
                <p:cNvPr id="13351" name="Picture 4" descr="Mapa com estados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01" y="1026"/>
                  <a:ext cx="3629" cy="31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3352" name="Rectangle 5"/>
                <p:cNvSpPr>
                  <a:spLocks noChangeArrowheads="1"/>
                </p:cNvSpPr>
                <p:nvPr/>
              </p:nvSpPr>
              <p:spPr bwMode="auto">
                <a:xfrm>
                  <a:off x="4319" y="2618"/>
                  <a:ext cx="129" cy="148"/>
                </a:xfrm>
                <a:prstGeom prst="rect">
                  <a:avLst/>
                </a:prstGeom>
                <a:solidFill>
                  <a:srgbClr val="FFFF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53" name="Text Box 7"/>
                <p:cNvSpPr txBox="1">
                  <a:spLocks noChangeArrowheads="1"/>
                </p:cNvSpPr>
                <p:nvPr/>
              </p:nvSpPr>
              <p:spPr bwMode="auto">
                <a:xfrm>
                  <a:off x="4166" y="2640"/>
                  <a:ext cx="244" cy="1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400">
                      <a:solidFill>
                        <a:schemeClr val="bg1"/>
                      </a:solidFill>
                      <a:latin typeface="Times New Roman" pitchFamily="18" charset="0"/>
                      <a:ea typeface="Lucida Sans Unicode" pitchFamily="34" charset="0"/>
                      <a:cs typeface="Lucida Sans Unicode" pitchFamily="34" charset="0"/>
                    </a:defRPr>
                  </a:lvl1pPr>
                  <a:lvl2pPr marL="742950" indent="-285750">
                    <a:defRPr sz="2400">
                      <a:solidFill>
                        <a:schemeClr val="bg1"/>
                      </a:solidFill>
                      <a:latin typeface="Times New Roman" pitchFamily="18" charset="0"/>
                      <a:ea typeface="Lucida Sans Unicode" pitchFamily="34" charset="0"/>
                      <a:cs typeface="Lucida Sans Unicode" pitchFamily="34" charset="0"/>
                    </a:defRPr>
                  </a:lvl2pPr>
                  <a:lvl3pPr marL="1143000" indent="-228600">
                    <a:defRPr sz="2400">
                      <a:solidFill>
                        <a:schemeClr val="bg1"/>
                      </a:solidFill>
                      <a:latin typeface="Times New Roman" pitchFamily="18" charset="0"/>
                      <a:ea typeface="Lucida Sans Unicode" pitchFamily="34" charset="0"/>
                      <a:cs typeface="Lucida Sans Unicode" pitchFamily="34" charset="0"/>
                    </a:defRPr>
                  </a:lvl3pPr>
                  <a:lvl4pPr marL="1600200" indent="-228600">
                    <a:defRPr sz="2400">
                      <a:solidFill>
                        <a:schemeClr val="bg1"/>
                      </a:solidFill>
                      <a:latin typeface="Times New Roman" pitchFamily="18" charset="0"/>
                      <a:ea typeface="Lucida Sans Unicode" pitchFamily="34" charset="0"/>
                      <a:cs typeface="Lucida Sans Unicode" pitchFamily="34" charset="0"/>
                    </a:defRPr>
                  </a:lvl4pPr>
                  <a:lvl5pPr marL="2057400" indent="-228600">
                    <a:defRPr sz="2400">
                      <a:solidFill>
                        <a:schemeClr val="bg1"/>
                      </a:solidFill>
                      <a:latin typeface="Times New Roman" pitchFamily="18" charset="0"/>
                      <a:ea typeface="Lucida Sans Unicode" pitchFamily="34" charset="0"/>
                      <a:cs typeface="Lucida Sans Unicode" pitchFamily="34" charset="0"/>
                    </a:defRPr>
                  </a:lvl5pPr>
                  <a:lvl6pPr marL="2514600" indent="-228600" defTabSz="449263" eaLnBrk="0" fontAlgn="base" hangingPunct="0">
                    <a:lnSpc>
                      <a:spcPct val="82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defRPr sz="2400">
                      <a:solidFill>
                        <a:schemeClr val="bg1"/>
                      </a:solidFill>
                      <a:latin typeface="Times New Roman" pitchFamily="18" charset="0"/>
                      <a:ea typeface="Lucida Sans Unicode" pitchFamily="34" charset="0"/>
                      <a:cs typeface="Lucida Sans Unicode" pitchFamily="34" charset="0"/>
                    </a:defRPr>
                  </a:lvl6pPr>
                  <a:lvl7pPr marL="2971800" indent="-228600" defTabSz="449263" eaLnBrk="0" fontAlgn="base" hangingPunct="0">
                    <a:lnSpc>
                      <a:spcPct val="82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defRPr sz="2400">
                      <a:solidFill>
                        <a:schemeClr val="bg1"/>
                      </a:solidFill>
                      <a:latin typeface="Times New Roman" pitchFamily="18" charset="0"/>
                      <a:ea typeface="Lucida Sans Unicode" pitchFamily="34" charset="0"/>
                      <a:cs typeface="Lucida Sans Unicode" pitchFamily="34" charset="0"/>
                    </a:defRPr>
                  </a:lvl7pPr>
                  <a:lvl8pPr marL="3429000" indent="-228600" defTabSz="449263" eaLnBrk="0" fontAlgn="base" hangingPunct="0">
                    <a:lnSpc>
                      <a:spcPct val="82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defRPr sz="2400">
                      <a:solidFill>
                        <a:schemeClr val="bg1"/>
                      </a:solidFill>
                      <a:latin typeface="Times New Roman" pitchFamily="18" charset="0"/>
                      <a:ea typeface="Lucida Sans Unicode" pitchFamily="34" charset="0"/>
                      <a:cs typeface="Lucida Sans Unicode" pitchFamily="34" charset="0"/>
                    </a:defRPr>
                  </a:lvl8pPr>
                  <a:lvl9pPr marL="3886200" indent="-228600" defTabSz="449263" eaLnBrk="0" fontAlgn="base" hangingPunct="0">
                    <a:lnSpc>
                      <a:spcPct val="82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defRPr sz="2400">
                      <a:solidFill>
                        <a:schemeClr val="bg1"/>
                      </a:solidFill>
                      <a:latin typeface="Times New Roman" pitchFamily="18" charset="0"/>
                      <a:ea typeface="Lucida Sans Unicode" pitchFamily="34" charset="0"/>
                      <a:cs typeface="Lucida Sans Unicode" pitchFamily="34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200" b="1">
                      <a:solidFill>
                        <a:prstClr val="white"/>
                      </a:solidFill>
                    </a:rPr>
                    <a:t>DF</a:t>
                  </a:r>
                </a:p>
              </p:txBody>
            </p:sp>
            <p:sp>
              <p:nvSpPr>
                <p:cNvPr id="13354" name="Oval 8"/>
                <p:cNvSpPr>
                  <a:spLocks noChangeArrowheads="1"/>
                </p:cNvSpPr>
                <p:nvPr/>
              </p:nvSpPr>
              <p:spPr bwMode="auto">
                <a:xfrm>
                  <a:off x="3976" y="3826"/>
                  <a:ext cx="53" cy="47"/>
                </a:xfrm>
                <a:prstGeom prst="ellipse">
                  <a:avLst/>
                </a:prstGeom>
                <a:solidFill>
                  <a:srgbClr val="CC3300"/>
                </a:solidFill>
                <a:ln w="9525">
                  <a:solidFill>
                    <a:srgbClr val="CC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55" name="Oval 9"/>
                <p:cNvSpPr>
                  <a:spLocks noChangeArrowheads="1"/>
                </p:cNvSpPr>
                <p:nvPr/>
              </p:nvSpPr>
              <p:spPr bwMode="auto">
                <a:xfrm>
                  <a:off x="4771" y="2994"/>
                  <a:ext cx="52" cy="45"/>
                </a:xfrm>
                <a:prstGeom prst="ellipse">
                  <a:avLst/>
                </a:prstGeom>
                <a:solidFill>
                  <a:srgbClr val="663300"/>
                </a:solidFill>
                <a:ln w="9525">
                  <a:solidFill>
                    <a:srgbClr val="66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56" name="Oval 11"/>
                <p:cNvSpPr>
                  <a:spLocks noChangeArrowheads="1"/>
                </p:cNvSpPr>
                <p:nvPr/>
              </p:nvSpPr>
              <p:spPr bwMode="auto">
                <a:xfrm>
                  <a:off x="4794" y="3250"/>
                  <a:ext cx="52" cy="47"/>
                </a:xfrm>
                <a:prstGeom prst="ellipse">
                  <a:avLst/>
                </a:prstGeom>
                <a:solidFill>
                  <a:srgbClr val="009900"/>
                </a:solidFill>
                <a:ln w="9525">
                  <a:solidFill>
                    <a:srgbClr val="0099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57" name="Oval 13"/>
                <p:cNvSpPr>
                  <a:spLocks noChangeArrowheads="1"/>
                </p:cNvSpPr>
                <p:nvPr/>
              </p:nvSpPr>
              <p:spPr bwMode="auto">
                <a:xfrm>
                  <a:off x="2991" y="1825"/>
                  <a:ext cx="52" cy="47"/>
                </a:xfrm>
                <a:prstGeom prst="ellipse">
                  <a:avLst/>
                </a:prstGeom>
                <a:solidFill>
                  <a:srgbClr val="D60093"/>
                </a:solidFill>
                <a:ln w="9525">
                  <a:solidFill>
                    <a:srgbClr val="D6009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58" name="Oval 14"/>
                <p:cNvSpPr>
                  <a:spLocks noChangeArrowheads="1"/>
                </p:cNvSpPr>
                <p:nvPr/>
              </p:nvSpPr>
              <p:spPr bwMode="auto">
                <a:xfrm>
                  <a:off x="4689" y="3017"/>
                  <a:ext cx="53" cy="47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59" name="Oval 17"/>
                <p:cNvSpPr>
                  <a:spLocks noChangeArrowheads="1"/>
                </p:cNvSpPr>
                <p:nvPr/>
              </p:nvSpPr>
              <p:spPr bwMode="auto">
                <a:xfrm>
                  <a:off x="5540" y="2165"/>
                  <a:ext cx="52" cy="46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0" name="Oval 18"/>
                <p:cNvSpPr>
                  <a:spLocks noChangeArrowheads="1"/>
                </p:cNvSpPr>
                <p:nvPr/>
              </p:nvSpPr>
              <p:spPr bwMode="auto">
                <a:xfrm>
                  <a:off x="4749" y="3280"/>
                  <a:ext cx="53" cy="47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1" name="Oval 19"/>
                <p:cNvSpPr>
                  <a:spLocks noChangeArrowheads="1"/>
                </p:cNvSpPr>
                <p:nvPr/>
              </p:nvSpPr>
              <p:spPr bwMode="auto">
                <a:xfrm>
                  <a:off x="4064" y="3597"/>
                  <a:ext cx="51" cy="4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2" name="Oval 20"/>
                <p:cNvSpPr>
                  <a:spLocks noChangeArrowheads="1"/>
                </p:cNvSpPr>
                <p:nvPr/>
              </p:nvSpPr>
              <p:spPr bwMode="auto">
                <a:xfrm>
                  <a:off x="4658" y="3291"/>
                  <a:ext cx="53" cy="47"/>
                </a:xfrm>
                <a:prstGeom prst="ellipse">
                  <a:avLst/>
                </a:prstGeom>
                <a:solidFill>
                  <a:srgbClr val="663300"/>
                </a:solidFill>
                <a:ln w="9525">
                  <a:solidFill>
                    <a:srgbClr val="66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3" name="Oval 21"/>
                <p:cNvSpPr>
                  <a:spLocks noChangeArrowheads="1"/>
                </p:cNvSpPr>
                <p:nvPr/>
              </p:nvSpPr>
              <p:spPr bwMode="auto">
                <a:xfrm>
                  <a:off x="3908" y="3799"/>
                  <a:ext cx="53" cy="46"/>
                </a:xfrm>
                <a:prstGeom prst="ellipse">
                  <a:avLst/>
                </a:prstGeom>
                <a:solidFill>
                  <a:srgbClr val="663300"/>
                </a:solidFill>
                <a:ln w="9525">
                  <a:solidFill>
                    <a:srgbClr val="66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4" name="Oval 22"/>
                <p:cNvSpPr>
                  <a:spLocks noChangeArrowheads="1"/>
                </p:cNvSpPr>
                <p:nvPr/>
              </p:nvSpPr>
              <p:spPr bwMode="auto">
                <a:xfrm>
                  <a:off x="4191" y="3719"/>
                  <a:ext cx="53" cy="46"/>
                </a:xfrm>
                <a:prstGeom prst="ellipse">
                  <a:avLst/>
                </a:prstGeom>
                <a:solidFill>
                  <a:srgbClr val="663300"/>
                </a:solidFill>
                <a:ln w="9525">
                  <a:solidFill>
                    <a:srgbClr val="66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5" name="Oval 23"/>
                <p:cNvSpPr>
                  <a:spLocks noChangeArrowheads="1"/>
                </p:cNvSpPr>
                <p:nvPr/>
              </p:nvSpPr>
              <p:spPr bwMode="auto">
                <a:xfrm>
                  <a:off x="5561" y="2115"/>
                  <a:ext cx="54" cy="48"/>
                </a:xfrm>
                <a:prstGeom prst="ellipse">
                  <a:avLst/>
                </a:prstGeom>
                <a:solidFill>
                  <a:srgbClr val="663300"/>
                </a:solidFill>
                <a:ln w="9525">
                  <a:solidFill>
                    <a:srgbClr val="66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6" name="Oval 24"/>
                <p:cNvSpPr>
                  <a:spLocks noChangeArrowheads="1"/>
                </p:cNvSpPr>
                <p:nvPr/>
              </p:nvSpPr>
              <p:spPr bwMode="auto">
                <a:xfrm>
                  <a:off x="4700" y="2951"/>
                  <a:ext cx="53" cy="47"/>
                </a:xfrm>
                <a:prstGeom prst="ellipse">
                  <a:avLst/>
                </a:prstGeom>
                <a:solidFill>
                  <a:srgbClr val="009900"/>
                </a:solidFill>
                <a:ln w="9525">
                  <a:solidFill>
                    <a:srgbClr val="0099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7" name="Oval 26"/>
                <p:cNvSpPr>
                  <a:spLocks noChangeArrowheads="1"/>
                </p:cNvSpPr>
                <p:nvPr/>
              </p:nvSpPr>
              <p:spPr bwMode="auto">
                <a:xfrm>
                  <a:off x="4235" y="3669"/>
                  <a:ext cx="52" cy="46"/>
                </a:xfrm>
                <a:prstGeom prst="ellipse">
                  <a:avLst/>
                </a:prstGeom>
                <a:solidFill>
                  <a:srgbClr val="009900"/>
                </a:solidFill>
                <a:ln w="9525">
                  <a:solidFill>
                    <a:srgbClr val="0099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8" name="Oval 27"/>
                <p:cNvSpPr>
                  <a:spLocks noChangeArrowheads="1"/>
                </p:cNvSpPr>
                <p:nvPr/>
              </p:nvSpPr>
              <p:spPr bwMode="auto">
                <a:xfrm>
                  <a:off x="4857" y="2422"/>
                  <a:ext cx="52" cy="46"/>
                </a:xfrm>
                <a:prstGeom prst="ellipse">
                  <a:avLst/>
                </a:prstGeom>
                <a:solidFill>
                  <a:srgbClr val="009900"/>
                </a:solidFill>
                <a:ln w="9525">
                  <a:solidFill>
                    <a:srgbClr val="0099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69" name="Oval 28"/>
                <p:cNvSpPr>
                  <a:spLocks noChangeArrowheads="1"/>
                </p:cNvSpPr>
                <p:nvPr/>
              </p:nvSpPr>
              <p:spPr bwMode="auto">
                <a:xfrm>
                  <a:off x="5437" y="2064"/>
                  <a:ext cx="54" cy="47"/>
                </a:xfrm>
                <a:prstGeom prst="ellipse">
                  <a:avLst/>
                </a:prstGeom>
                <a:solidFill>
                  <a:srgbClr val="009900"/>
                </a:solidFill>
                <a:ln w="9525">
                  <a:solidFill>
                    <a:srgbClr val="0099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0" name="Oval 29"/>
                <p:cNvSpPr>
                  <a:spLocks noChangeArrowheads="1"/>
                </p:cNvSpPr>
                <p:nvPr/>
              </p:nvSpPr>
              <p:spPr bwMode="auto">
                <a:xfrm>
                  <a:off x="4929" y="2370"/>
                  <a:ext cx="52" cy="47"/>
                </a:xfrm>
                <a:prstGeom prst="ellipse">
                  <a:avLst/>
                </a:prstGeom>
                <a:solidFill>
                  <a:srgbClr val="CC3300"/>
                </a:solidFill>
                <a:ln w="9525">
                  <a:solidFill>
                    <a:srgbClr val="CC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1" name="Oval 30"/>
                <p:cNvSpPr>
                  <a:spLocks noChangeArrowheads="1"/>
                </p:cNvSpPr>
                <p:nvPr/>
              </p:nvSpPr>
              <p:spPr bwMode="auto">
                <a:xfrm>
                  <a:off x="2909" y="1767"/>
                  <a:ext cx="53" cy="47"/>
                </a:xfrm>
                <a:prstGeom prst="ellipse">
                  <a:avLst/>
                </a:prstGeom>
                <a:solidFill>
                  <a:srgbClr val="CC3300"/>
                </a:solidFill>
                <a:ln w="9525">
                  <a:solidFill>
                    <a:srgbClr val="CC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2" name="Oval 31"/>
                <p:cNvSpPr>
                  <a:spLocks noChangeArrowheads="1"/>
                </p:cNvSpPr>
                <p:nvPr/>
              </p:nvSpPr>
              <p:spPr bwMode="auto">
                <a:xfrm>
                  <a:off x="5437" y="2170"/>
                  <a:ext cx="53" cy="46"/>
                </a:xfrm>
                <a:prstGeom prst="ellipse">
                  <a:avLst/>
                </a:prstGeom>
                <a:solidFill>
                  <a:srgbClr val="CC3300"/>
                </a:solidFill>
                <a:ln w="9525">
                  <a:solidFill>
                    <a:srgbClr val="CC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3" name="Oval 32"/>
                <p:cNvSpPr>
                  <a:spLocks noChangeArrowheads="1"/>
                </p:cNvSpPr>
                <p:nvPr/>
              </p:nvSpPr>
              <p:spPr bwMode="auto">
                <a:xfrm>
                  <a:off x="4613" y="3040"/>
                  <a:ext cx="52" cy="48"/>
                </a:xfrm>
                <a:prstGeom prst="ellipse">
                  <a:avLst/>
                </a:prstGeom>
                <a:solidFill>
                  <a:srgbClr val="CC3300"/>
                </a:solidFill>
                <a:ln w="9525">
                  <a:solidFill>
                    <a:srgbClr val="CC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4" name="Oval 33"/>
                <p:cNvSpPr>
                  <a:spLocks noChangeArrowheads="1"/>
                </p:cNvSpPr>
                <p:nvPr/>
              </p:nvSpPr>
              <p:spPr bwMode="auto">
                <a:xfrm>
                  <a:off x="4915" y="2305"/>
                  <a:ext cx="54" cy="46"/>
                </a:xfrm>
                <a:prstGeom prst="ellipse">
                  <a:avLst/>
                </a:prstGeom>
                <a:solidFill>
                  <a:srgbClr val="660066"/>
                </a:solidFill>
                <a:ln w="9525">
                  <a:solidFill>
                    <a:srgbClr val="99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5" name="Oval 34"/>
                <p:cNvSpPr>
                  <a:spLocks noChangeArrowheads="1"/>
                </p:cNvSpPr>
                <p:nvPr/>
              </p:nvSpPr>
              <p:spPr bwMode="auto">
                <a:xfrm>
                  <a:off x="5381" y="1881"/>
                  <a:ext cx="54" cy="47"/>
                </a:xfrm>
                <a:prstGeom prst="ellipse">
                  <a:avLst/>
                </a:prstGeom>
                <a:solidFill>
                  <a:srgbClr val="660066"/>
                </a:solidFill>
                <a:ln w="9525">
                  <a:solidFill>
                    <a:srgbClr val="99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6" name="Oval 35"/>
                <p:cNvSpPr>
                  <a:spLocks noChangeArrowheads="1"/>
                </p:cNvSpPr>
                <p:nvPr/>
              </p:nvSpPr>
              <p:spPr bwMode="auto">
                <a:xfrm>
                  <a:off x="4241" y="3612"/>
                  <a:ext cx="52" cy="47"/>
                </a:xfrm>
                <a:prstGeom prst="ellipse">
                  <a:avLst/>
                </a:prstGeom>
                <a:solidFill>
                  <a:srgbClr val="660066"/>
                </a:solidFill>
                <a:ln w="9525">
                  <a:solidFill>
                    <a:srgbClr val="99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7" name="Oval 36"/>
                <p:cNvSpPr>
                  <a:spLocks noChangeArrowheads="1"/>
                </p:cNvSpPr>
                <p:nvPr/>
              </p:nvSpPr>
              <p:spPr bwMode="auto">
                <a:xfrm>
                  <a:off x="4788" y="3308"/>
                  <a:ext cx="53" cy="45"/>
                </a:xfrm>
                <a:prstGeom prst="ellipse">
                  <a:avLst/>
                </a:prstGeom>
                <a:solidFill>
                  <a:srgbClr val="660066"/>
                </a:solidFill>
                <a:ln w="9525">
                  <a:solidFill>
                    <a:srgbClr val="99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8" name="Oval 37"/>
                <p:cNvSpPr>
                  <a:spLocks noChangeArrowheads="1"/>
                </p:cNvSpPr>
                <p:nvPr/>
              </p:nvSpPr>
              <p:spPr bwMode="auto">
                <a:xfrm>
                  <a:off x="4678" y="2841"/>
                  <a:ext cx="53" cy="45"/>
                </a:xfrm>
                <a:prstGeom prst="ellipse">
                  <a:avLst/>
                </a:prstGeom>
                <a:solidFill>
                  <a:srgbClr val="660066"/>
                </a:solidFill>
                <a:ln w="9525">
                  <a:solidFill>
                    <a:srgbClr val="99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79" name="Oval 38"/>
                <p:cNvSpPr>
                  <a:spLocks noChangeArrowheads="1"/>
                </p:cNvSpPr>
                <p:nvPr/>
              </p:nvSpPr>
              <p:spPr bwMode="auto">
                <a:xfrm>
                  <a:off x="4632" y="2977"/>
                  <a:ext cx="53" cy="45"/>
                </a:xfrm>
                <a:prstGeom prst="ellipse">
                  <a:avLst/>
                </a:prstGeom>
                <a:solidFill>
                  <a:srgbClr val="D60093"/>
                </a:solidFill>
                <a:ln w="9525">
                  <a:solidFill>
                    <a:srgbClr val="D6009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80" name="Oval 39"/>
                <p:cNvSpPr>
                  <a:spLocks noChangeArrowheads="1"/>
                </p:cNvSpPr>
                <p:nvPr/>
              </p:nvSpPr>
              <p:spPr bwMode="auto">
                <a:xfrm>
                  <a:off x="4132" y="3592"/>
                  <a:ext cx="53" cy="47"/>
                </a:xfrm>
                <a:prstGeom prst="ellipse">
                  <a:avLst/>
                </a:prstGeom>
                <a:solidFill>
                  <a:srgbClr val="D60093"/>
                </a:solidFill>
                <a:ln w="9525">
                  <a:solidFill>
                    <a:srgbClr val="D6009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81" name="Oval 40"/>
                <p:cNvSpPr>
                  <a:spLocks noChangeArrowheads="1"/>
                </p:cNvSpPr>
                <p:nvPr/>
              </p:nvSpPr>
              <p:spPr bwMode="auto">
                <a:xfrm>
                  <a:off x="4854" y="2344"/>
                  <a:ext cx="51" cy="46"/>
                </a:xfrm>
                <a:prstGeom prst="ellipse">
                  <a:avLst/>
                </a:prstGeom>
                <a:solidFill>
                  <a:srgbClr val="D60093"/>
                </a:solidFill>
                <a:ln w="9525">
                  <a:solidFill>
                    <a:srgbClr val="D6009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82" name="Oval 41"/>
                <p:cNvSpPr>
                  <a:spLocks noChangeArrowheads="1"/>
                </p:cNvSpPr>
                <p:nvPr/>
              </p:nvSpPr>
              <p:spPr bwMode="auto">
                <a:xfrm>
                  <a:off x="5139" y="1814"/>
                  <a:ext cx="53" cy="46"/>
                </a:xfrm>
                <a:prstGeom prst="ellipse">
                  <a:avLst/>
                </a:prstGeom>
                <a:solidFill>
                  <a:srgbClr val="D60093"/>
                </a:solidFill>
                <a:ln w="9525">
                  <a:solidFill>
                    <a:srgbClr val="D6009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83" name="Oval 53"/>
                <p:cNvSpPr>
                  <a:spLocks noChangeArrowheads="1"/>
                </p:cNvSpPr>
                <p:nvPr/>
              </p:nvSpPr>
              <p:spPr bwMode="auto">
                <a:xfrm>
                  <a:off x="4360" y="3416"/>
                  <a:ext cx="53" cy="46"/>
                </a:xfrm>
                <a:prstGeom prst="ellipse">
                  <a:avLst/>
                </a:prstGeom>
                <a:solidFill>
                  <a:srgbClr val="D60093"/>
                </a:solidFill>
                <a:ln w="9525">
                  <a:solidFill>
                    <a:srgbClr val="D6009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84" name="Oval 54"/>
                <p:cNvSpPr>
                  <a:spLocks noChangeArrowheads="1"/>
                </p:cNvSpPr>
                <p:nvPr/>
              </p:nvSpPr>
              <p:spPr bwMode="auto">
                <a:xfrm>
                  <a:off x="4313" y="3370"/>
                  <a:ext cx="52" cy="46"/>
                </a:xfrm>
                <a:prstGeom prst="ellipse">
                  <a:avLst/>
                </a:prstGeom>
                <a:solidFill>
                  <a:srgbClr val="660066"/>
                </a:solidFill>
                <a:ln w="9525">
                  <a:solidFill>
                    <a:srgbClr val="99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85" name="Oval 56"/>
                <p:cNvSpPr>
                  <a:spLocks noChangeArrowheads="1"/>
                </p:cNvSpPr>
                <p:nvPr/>
              </p:nvSpPr>
              <p:spPr bwMode="auto">
                <a:xfrm>
                  <a:off x="4418" y="3287"/>
                  <a:ext cx="52" cy="45"/>
                </a:xfrm>
                <a:prstGeom prst="ellipse">
                  <a:avLst/>
                </a:prstGeom>
                <a:solidFill>
                  <a:srgbClr val="663300"/>
                </a:solidFill>
                <a:ln w="9525">
                  <a:solidFill>
                    <a:srgbClr val="66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86" name="Oval 57"/>
                <p:cNvSpPr>
                  <a:spLocks noChangeArrowheads="1"/>
                </p:cNvSpPr>
                <p:nvPr/>
              </p:nvSpPr>
              <p:spPr bwMode="auto">
                <a:xfrm>
                  <a:off x="4489" y="3328"/>
                  <a:ext cx="53" cy="4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87" name="Oval 64"/>
                <p:cNvSpPr>
                  <a:spLocks noChangeArrowheads="1"/>
                </p:cNvSpPr>
                <p:nvPr/>
              </p:nvSpPr>
              <p:spPr bwMode="auto">
                <a:xfrm>
                  <a:off x="4382" y="3359"/>
                  <a:ext cx="53" cy="47"/>
                </a:xfrm>
                <a:prstGeom prst="ellipse">
                  <a:avLst/>
                </a:prstGeom>
                <a:solidFill>
                  <a:srgbClr val="009900"/>
                </a:solidFill>
                <a:ln w="9525">
                  <a:solidFill>
                    <a:srgbClr val="0099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88" name="Oval 66"/>
                <p:cNvSpPr>
                  <a:spLocks noChangeArrowheads="1"/>
                </p:cNvSpPr>
                <p:nvPr/>
              </p:nvSpPr>
              <p:spPr bwMode="auto">
                <a:xfrm>
                  <a:off x="4256" y="3349"/>
                  <a:ext cx="53" cy="46"/>
                </a:xfrm>
                <a:prstGeom prst="ellipse">
                  <a:avLst/>
                </a:prstGeom>
                <a:solidFill>
                  <a:srgbClr val="CC3300"/>
                </a:solidFill>
                <a:ln w="9525">
                  <a:solidFill>
                    <a:srgbClr val="CC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13389" name="Oval 69"/>
                <p:cNvSpPr>
                  <a:spLocks noChangeArrowheads="1"/>
                </p:cNvSpPr>
                <p:nvPr/>
              </p:nvSpPr>
              <p:spPr bwMode="auto">
                <a:xfrm>
                  <a:off x="3893" y="3854"/>
                  <a:ext cx="53" cy="4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0" name="Oval 70"/>
                <p:cNvSpPr>
                  <a:spLocks noChangeArrowheads="1"/>
                </p:cNvSpPr>
                <p:nvPr/>
              </p:nvSpPr>
              <p:spPr bwMode="auto">
                <a:xfrm>
                  <a:off x="3830" y="3859"/>
                  <a:ext cx="54" cy="46"/>
                </a:xfrm>
                <a:prstGeom prst="ellipse">
                  <a:avLst/>
                </a:prstGeom>
                <a:solidFill>
                  <a:srgbClr val="009900"/>
                </a:solidFill>
                <a:ln w="9525">
                  <a:solidFill>
                    <a:srgbClr val="0099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1" name="Oval 35"/>
                <p:cNvSpPr>
                  <a:spLocks noChangeArrowheads="1"/>
                </p:cNvSpPr>
                <p:nvPr/>
              </p:nvSpPr>
              <p:spPr bwMode="auto">
                <a:xfrm>
                  <a:off x="3982" y="3914"/>
                  <a:ext cx="52" cy="46"/>
                </a:xfrm>
                <a:prstGeom prst="ellipse">
                  <a:avLst/>
                </a:prstGeom>
                <a:solidFill>
                  <a:srgbClr val="660066"/>
                </a:solidFill>
                <a:ln w="9525">
                  <a:solidFill>
                    <a:srgbClr val="99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2" name="Oval 21"/>
                <p:cNvSpPr>
                  <a:spLocks noChangeArrowheads="1"/>
                </p:cNvSpPr>
                <p:nvPr/>
              </p:nvSpPr>
              <p:spPr bwMode="auto">
                <a:xfrm>
                  <a:off x="4019" y="3486"/>
                  <a:ext cx="53" cy="45"/>
                </a:xfrm>
                <a:prstGeom prst="ellipse">
                  <a:avLst/>
                </a:prstGeom>
                <a:solidFill>
                  <a:srgbClr val="663300"/>
                </a:solidFill>
                <a:ln w="9525">
                  <a:solidFill>
                    <a:srgbClr val="66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3" name="Oval 39"/>
                <p:cNvSpPr>
                  <a:spLocks noChangeArrowheads="1"/>
                </p:cNvSpPr>
                <p:nvPr/>
              </p:nvSpPr>
              <p:spPr bwMode="auto">
                <a:xfrm>
                  <a:off x="4056" y="3827"/>
                  <a:ext cx="54" cy="47"/>
                </a:xfrm>
                <a:prstGeom prst="ellipse">
                  <a:avLst/>
                </a:prstGeom>
                <a:solidFill>
                  <a:srgbClr val="D60093"/>
                </a:solidFill>
                <a:ln w="9525">
                  <a:solidFill>
                    <a:srgbClr val="D6009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4" name="Oval 24"/>
                <p:cNvSpPr>
                  <a:spLocks noChangeArrowheads="1"/>
                </p:cNvSpPr>
                <p:nvPr/>
              </p:nvSpPr>
              <p:spPr bwMode="auto">
                <a:xfrm>
                  <a:off x="4030" y="3356"/>
                  <a:ext cx="52" cy="47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5" name="Oval 24"/>
                <p:cNvSpPr>
                  <a:spLocks noChangeArrowheads="1"/>
                </p:cNvSpPr>
                <p:nvPr/>
              </p:nvSpPr>
              <p:spPr bwMode="auto">
                <a:xfrm>
                  <a:off x="5380" y="2165"/>
                  <a:ext cx="52" cy="47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6" name="Oval 24"/>
                <p:cNvSpPr>
                  <a:spLocks noChangeArrowheads="1"/>
                </p:cNvSpPr>
                <p:nvPr/>
              </p:nvSpPr>
              <p:spPr bwMode="auto">
                <a:xfrm>
                  <a:off x="4711" y="3312"/>
                  <a:ext cx="52" cy="47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7" name="Oval 24"/>
                <p:cNvSpPr>
                  <a:spLocks noChangeArrowheads="1"/>
                </p:cNvSpPr>
                <p:nvPr/>
              </p:nvSpPr>
              <p:spPr bwMode="auto">
                <a:xfrm>
                  <a:off x="3761" y="3888"/>
                  <a:ext cx="53" cy="47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8" name="Oval 24"/>
                <p:cNvSpPr>
                  <a:spLocks noChangeArrowheads="1"/>
                </p:cNvSpPr>
                <p:nvPr/>
              </p:nvSpPr>
              <p:spPr bwMode="auto">
                <a:xfrm>
                  <a:off x="4192" y="3240"/>
                  <a:ext cx="53" cy="47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399" name="Oval 24"/>
                <p:cNvSpPr>
                  <a:spLocks noChangeArrowheads="1"/>
                </p:cNvSpPr>
                <p:nvPr/>
              </p:nvSpPr>
              <p:spPr bwMode="auto">
                <a:xfrm>
                  <a:off x="5131" y="2115"/>
                  <a:ext cx="53" cy="47"/>
                </a:xfrm>
                <a:prstGeom prst="ellipse">
                  <a:avLst/>
                </a:prstGeom>
                <a:solidFill>
                  <a:srgbClr val="990033"/>
                </a:solidFill>
                <a:ln w="9525">
                  <a:solidFill>
                    <a:srgbClr val="99003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0" name="Oval 24"/>
                <p:cNvSpPr>
                  <a:spLocks noChangeArrowheads="1"/>
                </p:cNvSpPr>
                <p:nvPr/>
              </p:nvSpPr>
              <p:spPr bwMode="auto">
                <a:xfrm>
                  <a:off x="4914" y="3291"/>
                  <a:ext cx="52" cy="47"/>
                </a:xfrm>
                <a:prstGeom prst="ellipse">
                  <a:avLst/>
                </a:prstGeom>
                <a:solidFill>
                  <a:srgbClr val="990033"/>
                </a:solidFill>
                <a:ln w="9525">
                  <a:solidFill>
                    <a:srgbClr val="99003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1" name="Oval 24"/>
                <p:cNvSpPr>
                  <a:spLocks noChangeArrowheads="1"/>
                </p:cNvSpPr>
                <p:nvPr/>
              </p:nvSpPr>
              <p:spPr bwMode="auto">
                <a:xfrm>
                  <a:off x="3848" y="3784"/>
                  <a:ext cx="52" cy="47"/>
                </a:xfrm>
                <a:prstGeom prst="ellipse">
                  <a:avLst/>
                </a:prstGeom>
                <a:solidFill>
                  <a:srgbClr val="990033"/>
                </a:solidFill>
                <a:ln w="9525">
                  <a:solidFill>
                    <a:srgbClr val="99003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2" name="Oval 24"/>
                <p:cNvSpPr>
                  <a:spLocks noChangeArrowheads="1"/>
                </p:cNvSpPr>
                <p:nvPr/>
              </p:nvSpPr>
              <p:spPr bwMode="auto">
                <a:xfrm>
                  <a:off x="4365" y="3201"/>
                  <a:ext cx="53" cy="47"/>
                </a:xfrm>
                <a:prstGeom prst="ellipse">
                  <a:avLst/>
                </a:prstGeom>
                <a:solidFill>
                  <a:srgbClr val="990033"/>
                </a:solidFill>
                <a:ln w="9525">
                  <a:solidFill>
                    <a:srgbClr val="99003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3" name="Oval 24"/>
                <p:cNvSpPr>
                  <a:spLocks noChangeArrowheads="1"/>
                </p:cNvSpPr>
                <p:nvPr/>
              </p:nvSpPr>
              <p:spPr bwMode="auto">
                <a:xfrm>
                  <a:off x="4377" y="2658"/>
                  <a:ext cx="52" cy="46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4" name="Oval 24"/>
                <p:cNvSpPr>
                  <a:spLocks noChangeArrowheads="1"/>
                </p:cNvSpPr>
                <p:nvPr/>
              </p:nvSpPr>
              <p:spPr bwMode="auto">
                <a:xfrm>
                  <a:off x="4849" y="3265"/>
                  <a:ext cx="52" cy="46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5" name="Oval 24"/>
                <p:cNvSpPr>
                  <a:spLocks noChangeArrowheads="1"/>
                </p:cNvSpPr>
                <p:nvPr/>
              </p:nvSpPr>
              <p:spPr bwMode="auto">
                <a:xfrm>
                  <a:off x="4149" y="3439"/>
                  <a:ext cx="53" cy="47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6" name="Oval 24"/>
                <p:cNvSpPr>
                  <a:spLocks noChangeArrowheads="1"/>
                </p:cNvSpPr>
                <p:nvPr/>
              </p:nvSpPr>
              <p:spPr bwMode="auto">
                <a:xfrm>
                  <a:off x="3771" y="3805"/>
                  <a:ext cx="52" cy="47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7" name="Oval 24"/>
                <p:cNvSpPr>
                  <a:spLocks noChangeArrowheads="1"/>
                </p:cNvSpPr>
                <p:nvPr/>
              </p:nvSpPr>
              <p:spPr bwMode="auto">
                <a:xfrm>
                  <a:off x="4331" y="3284"/>
                  <a:ext cx="53" cy="46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8" name="Oval 35"/>
                <p:cNvSpPr>
                  <a:spLocks noChangeArrowheads="1"/>
                </p:cNvSpPr>
                <p:nvPr/>
              </p:nvSpPr>
              <p:spPr bwMode="auto">
                <a:xfrm>
                  <a:off x="4107" y="3369"/>
                  <a:ext cx="52" cy="47"/>
                </a:xfrm>
                <a:prstGeom prst="ellipse">
                  <a:avLst/>
                </a:prstGeom>
                <a:solidFill>
                  <a:srgbClr val="660066"/>
                </a:solidFill>
                <a:ln w="9525">
                  <a:solidFill>
                    <a:srgbClr val="99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09" name="Oval 24"/>
                <p:cNvSpPr>
                  <a:spLocks noChangeArrowheads="1"/>
                </p:cNvSpPr>
                <p:nvPr/>
              </p:nvSpPr>
              <p:spPr bwMode="auto">
                <a:xfrm>
                  <a:off x="4354" y="2727"/>
                  <a:ext cx="45" cy="45"/>
                </a:xfrm>
                <a:prstGeom prst="ellipse">
                  <a:avLst/>
                </a:prstGeom>
                <a:solidFill>
                  <a:srgbClr val="009999"/>
                </a:solidFill>
                <a:ln w="9525">
                  <a:solidFill>
                    <a:srgbClr val="0099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0" name="Oval 24"/>
                <p:cNvSpPr>
                  <a:spLocks noChangeArrowheads="1"/>
                </p:cNvSpPr>
                <p:nvPr/>
              </p:nvSpPr>
              <p:spPr bwMode="auto">
                <a:xfrm>
                  <a:off x="4236" y="3284"/>
                  <a:ext cx="52" cy="46"/>
                </a:xfrm>
                <a:prstGeom prst="ellipse">
                  <a:avLst/>
                </a:prstGeom>
                <a:solidFill>
                  <a:srgbClr val="009999"/>
                </a:solidFill>
                <a:ln w="9525">
                  <a:solidFill>
                    <a:srgbClr val="0099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1" name="Oval 24"/>
                <p:cNvSpPr>
                  <a:spLocks noChangeArrowheads="1"/>
                </p:cNvSpPr>
                <p:nvPr/>
              </p:nvSpPr>
              <p:spPr bwMode="auto">
                <a:xfrm>
                  <a:off x="4849" y="3309"/>
                  <a:ext cx="52" cy="46"/>
                </a:xfrm>
                <a:prstGeom prst="ellipse">
                  <a:avLst/>
                </a:prstGeom>
                <a:solidFill>
                  <a:srgbClr val="009999"/>
                </a:solidFill>
                <a:ln w="9525">
                  <a:solidFill>
                    <a:srgbClr val="0099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2" name="Oval 24"/>
                <p:cNvSpPr>
                  <a:spLocks noChangeArrowheads="1"/>
                </p:cNvSpPr>
                <p:nvPr/>
              </p:nvSpPr>
              <p:spPr bwMode="auto">
                <a:xfrm>
                  <a:off x="4040" y="3640"/>
                  <a:ext cx="52" cy="46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3" name="Oval 24"/>
                <p:cNvSpPr>
                  <a:spLocks noChangeArrowheads="1"/>
                </p:cNvSpPr>
                <p:nvPr/>
              </p:nvSpPr>
              <p:spPr bwMode="auto">
                <a:xfrm>
                  <a:off x="4754" y="2852"/>
                  <a:ext cx="52" cy="46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4" name="Oval 24"/>
                <p:cNvSpPr>
                  <a:spLocks noChangeArrowheads="1"/>
                </p:cNvSpPr>
                <p:nvPr/>
              </p:nvSpPr>
              <p:spPr bwMode="auto">
                <a:xfrm>
                  <a:off x="5453" y="1902"/>
                  <a:ext cx="52" cy="47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5" name="Oval 24"/>
                <p:cNvSpPr>
                  <a:spLocks noChangeArrowheads="1"/>
                </p:cNvSpPr>
                <p:nvPr/>
              </p:nvSpPr>
              <p:spPr bwMode="auto">
                <a:xfrm>
                  <a:off x="4107" y="2808"/>
                  <a:ext cx="52" cy="47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6" name="Oval 39"/>
                <p:cNvSpPr>
                  <a:spLocks noChangeArrowheads="1"/>
                </p:cNvSpPr>
                <p:nvPr/>
              </p:nvSpPr>
              <p:spPr bwMode="auto">
                <a:xfrm>
                  <a:off x="3943" y="3486"/>
                  <a:ext cx="53" cy="47"/>
                </a:xfrm>
                <a:prstGeom prst="ellipse">
                  <a:avLst/>
                </a:prstGeom>
                <a:solidFill>
                  <a:srgbClr val="D60093"/>
                </a:solidFill>
                <a:ln w="9525">
                  <a:solidFill>
                    <a:srgbClr val="D6009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7" name="Oval 40"/>
                <p:cNvSpPr>
                  <a:spLocks noChangeArrowheads="1"/>
                </p:cNvSpPr>
                <p:nvPr/>
              </p:nvSpPr>
              <p:spPr bwMode="auto">
                <a:xfrm>
                  <a:off x="5215" y="2122"/>
                  <a:ext cx="52" cy="47"/>
                </a:xfrm>
                <a:prstGeom prst="ellipse">
                  <a:avLst/>
                </a:prstGeom>
                <a:solidFill>
                  <a:srgbClr val="D60093"/>
                </a:solidFill>
                <a:ln w="9525">
                  <a:solidFill>
                    <a:srgbClr val="D60093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8" name="Oval 40"/>
                <p:cNvSpPr>
                  <a:spLocks noChangeArrowheads="1"/>
                </p:cNvSpPr>
                <p:nvPr/>
              </p:nvSpPr>
              <p:spPr bwMode="auto">
                <a:xfrm>
                  <a:off x="5494" y="2115"/>
                  <a:ext cx="51" cy="46"/>
                </a:xfrm>
                <a:prstGeom prst="ellipse">
                  <a:avLst/>
                </a:prstGeom>
                <a:solidFill>
                  <a:srgbClr val="0066FF"/>
                </a:solidFill>
                <a:ln w="9525">
                  <a:solidFill>
                    <a:srgbClr val="0066F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19" name="Oval 40"/>
                <p:cNvSpPr>
                  <a:spLocks noChangeArrowheads="1"/>
                </p:cNvSpPr>
                <p:nvPr/>
              </p:nvSpPr>
              <p:spPr bwMode="auto">
                <a:xfrm>
                  <a:off x="3960" y="3614"/>
                  <a:ext cx="52" cy="47"/>
                </a:xfrm>
                <a:prstGeom prst="ellipse">
                  <a:avLst/>
                </a:prstGeom>
                <a:solidFill>
                  <a:srgbClr val="0066FF"/>
                </a:solidFill>
                <a:ln w="9525">
                  <a:solidFill>
                    <a:srgbClr val="0066F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0" name="Oval 40"/>
                <p:cNvSpPr>
                  <a:spLocks noChangeArrowheads="1"/>
                </p:cNvSpPr>
                <p:nvPr/>
              </p:nvSpPr>
              <p:spPr bwMode="auto">
                <a:xfrm>
                  <a:off x="3903" y="4002"/>
                  <a:ext cx="51" cy="47"/>
                </a:xfrm>
                <a:prstGeom prst="ellipse">
                  <a:avLst/>
                </a:prstGeom>
                <a:solidFill>
                  <a:srgbClr val="0066FF"/>
                </a:solidFill>
                <a:ln w="9525">
                  <a:solidFill>
                    <a:srgbClr val="0066F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1" name="Oval 23"/>
                <p:cNvSpPr>
                  <a:spLocks noChangeArrowheads="1"/>
                </p:cNvSpPr>
                <p:nvPr/>
              </p:nvSpPr>
              <p:spPr bwMode="auto">
                <a:xfrm>
                  <a:off x="4034" y="1796"/>
                  <a:ext cx="54" cy="48"/>
                </a:xfrm>
                <a:prstGeom prst="ellipse">
                  <a:avLst/>
                </a:prstGeom>
                <a:solidFill>
                  <a:srgbClr val="663300"/>
                </a:solidFill>
                <a:ln w="9525">
                  <a:solidFill>
                    <a:srgbClr val="6633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2" name="Oval 24"/>
                <p:cNvSpPr>
                  <a:spLocks noChangeArrowheads="1"/>
                </p:cNvSpPr>
                <p:nvPr/>
              </p:nvSpPr>
              <p:spPr bwMode="auto">
                <a:xfrm>
                  <a:off x="5562" y="1933"/>
                  <a:ext cx="53" cy="46"/>
                </a:xfrm>
                <a:prstGeom prst="ellipse">
                  <a:avLst/>
                </a:prstGeom>
                <a:solidFill>
                  <a:srgbClr val="009999"/>
                </a:solidFill>
                <a:ln w="9525">
                  <a:solidFill>
                    <a:srgbClr val="0099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3" name="Oval 24"/>
                <p:cNvSpPr>
                  <a:spLocks noChangeArrowheads="1"/>
                </p:cNvSpPr>
                <p:nvPr/>
              </p:nvSpPr>
              <p:spPr bwMode="auto">
                <a:xfrm>
                  <a:off x="5095" y="2159"/>
                  <a:ext cx="53" cy="46"/>
                </a:xfrm>
                <a:prstGeom prst="ellipse">
                  <a:avLst/>
                </a:prstGeom>
                <a:solidFill>
                  <a:srgbClr val="009999"/>
                </a:solidFill>
                <a:ln w="9525">
                  <a:solidFill>
                    <a:srgbClr val="0099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4" name="Oval 24"/>
                <p:cNvSpPr>
                  <a:spLocks noChangeArrowheads="1"/>
                </p:cNvSpPr>
                <p:nvPr/>
              </p:nvSpPr>
              <p:spPr bwMode="auto">
                <a:xfrm>
                  <a:off x="4224" y="3474"/>
                  <a:ext cx="52" cy="46"/>
                </a:xfrm>
                <a:prstGeom prst="ellipse">
                  <a:avLst/>
                </a:prstGeom>
                <a:solidFill>
                  <a:srgbClr val="009999"/>
                </a:solidFill>
                <a:ln w="9525">
                  <a:solidFill>
                    <a:srgbClr val="0099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5" name="Oval 24"/>
                <p:cNvSpPr>
                  <a:spLocks noChangeArrowheads="1"/>
                </p:cNvSpPr>
                <p:nvPr/>
              </p:nvSpPr>
              <p:spPr bwMode="auto">
                <a:xfrm>
                  <a:off x="4263" y="3724"/>
                  <a:ext cx="52" cy="46"/>
                </a:xfrm>
                <a:prstGeom prst="ellipse">
                  <a:avLst/>
                </a:prstGeom>
                <a:solidFill>
                  <a:srgbClr val="009999"/>
                </a:solidFill>
                <a:ln w="9525">
                  <a:solidFill>
                    <a:srgbClr val="0099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6" name="Oval 24"/>
                <p:cNvSpPr>
                  <a:spLocks noChangeArrowheads="1"/>
                </p:cNvSpPr>
                <p:nvPr/>
              </p:nvSpPr>
              <p:spPr bwMode="auto">
                <a:xfrm>
                  <a:off x="3952" y="3747"/>
                  <a:ext cx="52" cy="46"/>
                </a:xfrm>
                <a:prstGeom prst="ellipse">
                  <a:avLst/>
                </a:prstGeom>
                <a:solidFill>
                  <a:srgbClr val="009999"/>
                </a:solidFill>
                <a:ln w="9525">
                  <a:solidFill>
                    <a:srgbClr val="0099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7" name="Oval 24"/>
                <p:cNvSpPr>
                  <a:spLocks noChangeArrowheads="1"/>
                </p:cNvSpPr>
                <p:nvPr/>
              </p:nvSpPr>
              <p:spPr bwMode="auto">
                <a:xfrm>
                  <a:off x="4601" y="2745"/>
                  <a:ext cx="45" cy="45"/>
                </a:xfrm>
                <a:prstGeom prst="ellipse">
                  <a:avLst/>
                </a:prstGeom>
                <a:solidFill>
                  <a:srgbClr val="009999"/>
                </a:solidFill>
                <a:ln w="9525">
                  <a:solidFill>
                    <a:srgbClr val="0099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8" name="Oval 24"/>
                <p:cNvSpPr>
                  <a:spLocks noChangeArrowheads="1"/>
                </p:cNvSpPr>
                <p:nvPr/>
              </p:nvSpPr>
              <p:spPr bwMode="auto">
                <a:xfrm>
                  <a:off x="4014" y="2839"/>
                  <a:ext cx="52" cy="47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29" name="Oval 24"/>
                <p:cNvSpPr>
                  <a:spLocks noChangeArrowheads="1"/>
                </p:cNvSpPr>
                <p:nvPr/>
              </p:nvSpPr>
              <p:spPr bwMode="auto">
                <a:xfrm>
                  <a:off x="3833" y="3724"/>
                  <a:ext cx="52" cy="47"/>
                </a:xfrm>
                <a:prstGeom prst="ellipse">
                  <a:avLst/>
                </a:prstGeom>
                <a:solidFill>
                  <a:srgbClr val="B1AE22"/>
                </a:solidFill>
                <a:ln w="9525">
                  <a:solidFill>
                    <a:srgbClr val="B1AE2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0" name="Oval 24"/>
                <p:cNvSpPr>
                  <a:spLocks noChangeArrowheads="1"/>
                </p:cNvSpPr>
                <p:nvPr/>
              </p:nvSpPr>
              <p:spPr bwMode="auto">
                <a:xfrm>
                  <a:off x="4275" y="3148"/>
                  <a:ext cx="52" cy="47"/>
                </a:xfrm>
                <a:prstGeom prst="ellipse">
                  <a:avLst/>
                </a:prstGeom>
                <a:solidFill>
                  <a:srgbClr val="B1AE22"/>
                </a:solidFill>
                <a:ln w="9525">
                  <a:solidFill>
                    <a:srgbClr val="B1AE2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1" name="Oval 24"/>
                <p:cNvSpPr>
                  <a:spLocks noChangeArrowheads="1"/>
                </p:cNvSpPr>
                <p:nvPr/>
              </p:nvSpPr>
              <p:spPr bwMode="auto">
                <a:xfrm>
                  <a:off x="4037" y="2925"/>
                  <a:ext cx="52" cy="47"/>
                </a:xfrm>
                <a:prstGeom prst="ellipse">
                  <a:avLst/>
                </a:prstGeom>
                <a:solidFill>
                  <a:srgbClr val="B1AE22"/>
                </a:solidFill>
                <a:ln w="9525">
                  <a:solidFill>
                    <a:srgbClr val="B1AE2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2" name="Oval 24"/>
                <p:cNvSpPr>
                  <a:spLocks noChangeArrowheads="1"/>
                </p:cNvSpPr>
                <p:nvPr/>
              </p:nvSpPr>
              <p:spPr bwMode="auto">
                <a:xfrm>
                  <a:off x="5103" y="2069"/>
                  <a:ext cx="52" cy="47"/>
                </a:xfrm>
                <a:prstGeom prst="ellipse">
                  <a:avLst/>
                </a:prstGeom>
                <a:solidFill>
                  <a:srgbClr val="B1AE22"/>
                </a:solidFill>
                <a:ln w="9525">
                  <a:solidFill>
                    <a:srgbClr val="B1AE2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3" name="Oval 24"/>
                <p:cNvSpPr>
                  <a:spLocks noChangeArrowheads="1"/>
                </p:cNvSpPr>
                <p:nvPr/>
              </p:nvSpPr>
              <p:spPr bwMode="auto">
                <a:xfrm>
                  <a:off x="5329" y="1933"/>
                  <a:ext cx="52" cy="47"/>
                </a:xfrm>
                <a:prstGeom prst="ellipse">
                  <a:avLst/>
                </a:prstGeom>
                <a:solidFill>
                  <a:srgbClr val="B1AE22"/>
                </a:solidFill>
                <a:ln w="9525">
                  <a:solidFill>
                    <a:srgbClr val="B1AE2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4" name="Oval 41"/>
                <p:cNvSpPr>
                  <a:spLocks noChangeArrowheads="1"/>
                </p:cNvSpPr>
                <p:nvPr/>
              </p:nvSpPr>
              <p:spPr bwMode="auto">
                <a:xfrm>
                  <a:off x="5239" y="1842"/>
                  <a:ext cx="53" cy="46"/>
                </a:xfrm>
                <a:prstGeom prst="ellipse">
                  <a:avLst/>
                </a:prstGeom>
                <a:solidFill>
                  <a:srgbClr val="6600CC"/>
                </a:solidFill>
                <a:ln w="9525">
                  <a:solidFill>
                    <a:srgbClr val="66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5" name="Oval 41"/>
                <p:cNvSpPr>
                  <a:spLocks noChangeArrowheads="1"/>
                </p:cNvSpPr>
                <p:nvPr/>
              </p:nvSpPr>
              <p:spPr bwMode="auto">
                <a:xfrm>
                  <a:off x="4876" y="3180"/>
                  <a:ext cx="53" cy="46"/>
                </a:xfrm>
                <a:prstGeom prst="ellipse">
                  <a:avLst/>
                </a:prstGeom>
                <a:solidFill>
                  <a:srgbClr val="6600CC"/>
                </a:solidFill>
                <a:ln w="9525">
                  <a:solidFill>
                    <a:srgbClr val="66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6" name="Oval 41"/>
                <p:cNvSpPr>
                  <a:spLocks noChangeArrowheads="1"/>
                </p:cNvSpPr>
                <p:nvPr/>
              </p:nvSpPr>
              <p:spPr bwMode="auto">
                <a:xfrm>
                  <a:off x="4188" y="3158"/>
                  <a:ext cx="53" cy="46"/>
                </a:xfrm>
                <a:prstGeom prst="ellipse">
                  <a:avLst/>
                </a:prstGeom>
                <a:solidFill>
                  <a:srgbClr val="6600CC"/>
                </a:solidFill>
                <a:ln w="9525">
                  <a:solidFill>
                    <a:srgbClr val="66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7" name="Oval 41"/>
                <p:cNvSpPr>
                  <a:spLocks noChangeArrowheads="1"/>
                </p:cNvSpPr>
                <p:nvPr/>
              </p:nvSpPr>
              <p:spPr bwMode="auto">
                <a:xfrm>
                  <a:off x="3923" y="3339"/>
                  <a:ext cx="53" cy="46"/>
                </a:xfrm>
                <a:prstGeom prst="ellipse">
                  <a:avLst/>
                </a:prstGeom>
                <a:solidFill>
                  <a:srgbClr val="6600CC"/>
                </a:solidFill>
                <a:ln w="9525">
                  <a:solidFill>
                    <a:srgbClr val="66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8" name="Oval 41"/>
                <p:cNvSpPr>
                  <a:spLocks noChangeArrowheads="1"/>
                </p:cNvSpPr>
                <p:nvPr/>
              </p:nvSpPr>
              <p:spPr bwMode="auto">
                <a:xfrm>
                  <a:off x="3878" y="3611"/>
                  <a:ext cx="53" cy="46"/>
                </a:xfrm>
                <a:prstGeom prst="ellipse">
                  <a:avLst/>
                </a:prstGeom>
                <a:solidFill>
                  <a:srgbClr val="6600CC"/>
                </a:solidFill>
                <a:ln w="9525">
                  <a:solidFill>
                    <a:srgbClr val="6600CC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39" name="Oval 24"/>
                <p:cNvSpPr>
                  <a:spLocks noChangeArrowheads="1"/>
                </p:cNvSpPr>
                <p:nvPr/>
              </p:nvSpPr>
              <p:spPr bwMode="auto">
                <a:xfrm>
                  <a:off x="4642" y="1888"/>
                  <a:ext cx="52" cy="47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40" name="Oval 24"/>
                <p:cNvSpPr>
                  <a:spLocks noChangeArrowheads="1"/>
                </p:cNvSpPr>
                <p:nvPr/>
              </p:nvSpPr>
              <p:spPr bwMode="auto">
                <a:xfrm>
                  <a:off x="2971" y="1706"/>
                  <a:ext cx="52" cy="47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41" name="Oval 24"/>
                <p:cNvSpPr>
                  <a:spLocks noChangeArrowheads="1"/>
                </p:cNvSpPr>
                <p:nvPr/>
              </p:nvSpPr>
              <p:spPr bwMode="auto">
                <a:xfrm>
                  <a:off x="5368" y="2038"/>
                  <a:ext cx="52" cy="47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42" name="Oval 24"/>
                <p:cNvSpPr>
                  <a:spLocks noChangeArrowheads="1"/>
                </p:cNvSpPr>
                <p:nvPr/>
              </p:nvSpPr>
              <p:spPr bwMode="auto">
                <a:xfrm>
                  <a:off x="5164" y="2069"/>
                  <a:ext cx="52" cy="47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13443" name="Oval 24"/>
                <p:cNvSpPr>
                  <a:spLocks noChangeArrowheads="1"/>
                </p:cNvSpPr>
                <p:nvPr/>
              </p:nvSpPr>
              <p:spPr bwMode="auto">
                <a:xfrm>
                  <a:off x="5005" y="3067"/>
                  <a:ext cx="52" cy="46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33CC"/>
                    </a:solidFill>
                    <a:latin typeface="Verdana" pitchFamily="34" charset="0"/>
                  </a:endParaRPr>
                </a:p>
              </p:txBody>
            </p:sp>
          </p:grpSp>
          <p:grpSp>
            <p:nvGrpSpPr>
              <p:cNvPr id="13335" name="Group 102"/>
              <p:cNvGrpSpPr>
                <a:grpSpLocks/>
              </p:cNvGrpSpPr>
              <p:nvPr/>
            </p:nvGrpSpPr>
            <p:grpSpPr bwMode="auto">
              <a:xfrm>
                <a:off x="114" y="1261"/>
                <a:ext cx="3384" cy="2520"/>
                <a:chOff x="114" y="1261"/>
                <a:chExt cx="3384" cy="2520"/>
              </a:xfrm>
            </p:grpSpPr>
            <p:sp>
              <p:nvSpPr>
                <p:cNvPr id="5131" name="Text Box 73"/>
                <p:cNvSpPr txBox="1">
                  <a:spLocks noChangeArrowheads="1"/>
                </p:cNvSpPr>
                <p:nvPr/>
              </p:nvSpPr>
              <p:spPr bwMode="auto">
                <a:xfrm>
                  <a:off x="212" y="1261"/>
                  <a:ext cx="3286" cy="2520"/>
                </a:xfrm>
                <a:prstGeom prst="rect">
                  <a:avLst/>
                </a:prstGeom>
                <a:noFill/>
                <a:ln w="317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660066"/>
                      </a:solidFill>
                      <a:latin typeface="Arial" pitchFamily="34" charset="0"/>
                      <a:cs typeface="Arial" pitchFamily="34" charset="0"/>
                    </a:rPr>
                    <a:t>Manufatura e Bens de Capital</a:t>
                  </a: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CC3300"/>
                      </a:solidFill>
                      <a:latin typeface="Arial" pitchFamily="34" charset="0"/>
                      <a:cs typeface="Arial" pitchFamily="34" charset="0"/>
                    </a:rPr>
                    <a:t>Microeletrônica</a:t>
                  </a:r>
                  <a:endParaRPr lang="pt-BR" sz="1600" b="1" dirty="0">
                    <a:solidFill>
                      <a:srgbClr val="009999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D60093"/>
                      </a:solidFill>
                      <a:latin typeface="Arial" pitchFamily="34" charset="0"/>
                      <a:cs typeface="Arial" pitchFamily="34" charset="0"/>
                    </a:rPr>
                    <a:t>Eletrônica para Produtos</a:t>
                  </a:r>
                  <a:endParaRPr lang="pt-BR" sz="1600" b="1" dirty="0">
                    <a:solidFill>
                      <a:srgbClr val="009999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0066FF"/>
                      </a:solidFill>
                      <a:latin typeface="Arial" pitchFamily="34" charset="0"/>
                      <a:cs typeface="Arial" pitchFamily="34" charset="0"/>
                    </a:rPr>
                    <a:t>Vitivinicultura</a:t>
                  </a:r>
                  <a:endParaRPr lang="pt-BR" sz="1600" b="1" dirty="0">
                    <a:solidFill>
                      <a:srgbClr val="009999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663300"/>
                      </a:solidFill>
                      <a:latin typeface="Arial" pitchFamily="34" charset="0"/>
                      <a:cs typeface="Arial" pitchFamily="34" charset="0"/>
                    </a:rPr>
                    <a:t>Energia Solar Fotovoltaica</a:t>
                  </a:r>
                  <a:endParaRPr lang="pt-BR" sz="1600" b="1" dirty="0">
                    <a:solidFill>
                      <a:srgbClr val="009999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009900"/>
                      </a:solidFill>
                      <a:latin typeface="Arial" pitchFamily="34" charset="0"/>
                      <a:cs typeface="Arial" pitchFamily="34" charset="0"/>
                    </a:rPr>
                    <a:t>Plásticos e Borrachas</a:t>
                  </a:r>
                  <a:endParaRPr lang="pt-BR" sz="1600" b="1" dirty="0">
                    <a:solidFill>
                      <a:srgbClr val="009999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990033"/>
                      </a:solidFill>
                      <a:latin typeface="Arial" pitchFamily="34" charset="0"/>
                      <a:cs typeface="Arial" pitchFamily="34" charset="0"/>
                    </a:rPr>
                    <a:t>Visualização Avançada</a:t>
                  </a:r>
                  <a:endParaRPr lang="pt-BR" sz="1600" b="1" dirty="0">
                    <a:solidFill>
                      <a:srgbClr val="009999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 err="1">
                      <a:solidFill>
                        <a:srgbClr val="009999"/>
                      </a:solidFill>
                      <a:latin typeface="Arial" pitchFamily="34" charset="0"/>
                      <a:cs typeface="Arial" pitchFamily="34" charset="0"/>
                    </a:rPr>
                    <a:t>Bioetanol</a:t>
                  </a:r>
                  <a:endParaRPr lang="pt-BR" sz="1600" b="1" dirty="0">
                    <a:solidFill>
                      <a:srgbClr val="FF00FF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FF0000"/>
                      </a:solidFill>
                      <a:latin typeface="Arial" pitchFamily="34" charset="0"/>
                      <a:cs typeface="Arial" pitchFamily="34" charset="0"/>
                    </a:rPr>
                    <a:t>Equipamentos Medico, Hospitalar e odontológico</a:t>
                  </a: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Insumos para a Saúde Humana </a:t>
                  </a: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C0504D"/>
                      </a:solidFill>
                      <a:latin typeface="Arial" pitchFamily="34" charset="0"/>
                      <a:cs typeface="Arial" pitchFamily="34" charset="0"/>
                    </a:rPr>
                    <a:t>Tecnologias Digitais de Informação e Comunicação</a:t>
                  </a: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 err="1">
                      <a:solidFill>
                        <a:srgbClr val="B1AE22"/>
                      </a:solidFill>
                      <a:latin typeface="Arial" pitchFamily="34" charset="0"/>
                      <a:cs typeface="Arial" pitchFamily="34" charset="0"/>
                    </a:rPr>
                    <a:t>Nanocosméticos</a:t>
                  </a:r>
                  <a:endParaRPr lang="pt-BR" sz="1600" b="1" dirty="0">
                    <a:solidFill>
                      <a:srgbClr val="B1AE22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solidFill>
                        <a:srgbClr val="6600CC"/>
                      </a:solidFill>
                      <a:latin typeface="Arial" pitchFamily="34" charset="0"/>
                      <a:cs typeface="Arial" pitchFamily="34" charset="0"/>
                    </a:rPr>
                    <a:t>Veículos Elétricos</a:t>
                  </a:r>
                </a:p>
                <a:p>
                  <a:pPr eaLnBrk="1" fontAlgn="auto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pt-BR" sz="1600" b="1" dirty="0">
                      <a:ln>
                        <a:solidFill>
                          <a:srgbClr val="9BBB59">
                            <a:lumMod val="50000"/>
                          </a:srgbClr>
                        </a:solidFill>
                      </a:ln>
                      <a:solidFill>
                        <a:srgbClr val="FFC000"/>
                      </a:solidFill>
                      <a:latin typeface="Arial" pitchFamily="34" charset="0"/>
                      <a:cs typeface="Arial" pitchFamily="34" charset="0"/>
                    </a:rPr>
                    <a:t>Insumos para Saúde e Nutrição Animal</a:t>
                  </a:r>
                </a:p>
              </p:txBody>
            </p:sp>
            <p:grpSp>
              <p:nvGrpSpPr>
                <p:cNvPr id="13337" name="Group 104"/>
                <p:cNvGrpSpPr>
                  <a:grpSpLocks/>
                </p:cNvGrpSpPr>
                <p:nvPr/>
              </p:nvGrpSpPr>
              <p:grpSpPr bwMode="auto">
                <a:xfrm>
                  <a:off x="114" y="1308"/>
                  <a:ext cx="122" cy="2225"/>
                  <a:chOff x="114" y="1308"/>
                  <a:chExt cx="122" cy="2225"/>
                </a:xfrm>
              </p:grpSpPr>
              <p:sp>
                <p:nvSpPr>
                  <p:cNvPr id="13338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116" y="2016"/>
                    <a:ext cx="119" cy="118"/>
                  </a:xfrm>
                  <a:prstGeom prst="ellipse">
                    <a:avLst/>
                  </a:prstGeom>
                  <a:solidFill>
                    <a:srgbClr val="663300"/>
                  </a:solidFill>
                  <a:ln w="9525">
                    <a:solidFill>
                      <a:srgbClr val="663300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39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117" y="1308"/>
                    <a:ext cx="119" cy="118"/>
                  </a:xfrm>
                  <a:prstGeom prst="ellipse">
                    <a:avLst/>
                  </a:prstGeom>
                  <a:solidFill>
                    <a:srgbClr val="660066"/>
                  </a:solidFill>
                  <a:ln w="9525">
                    <a:solidFill>
                      <a:srgbClr val="9900CC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0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114" y="2708"/>
                    <a:ext cx="119" cy="118"/>
                  </a:xfrm>
                  <a:prstGeom prst="ellipse">
                    <a:avLst/>
                  </a:prstGeom>
                  <a:solidFill>
                    <a:srgbClr val="FF0000"/>
                  </a:solidFill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1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116" y="1670"/>
                    <a:ext cx="119" cy="118"/>
                  </a:xfrm>
                  <a:prstGeom prst="ellipse">
                    <a:avLst/>
                  </a:prstGeom>
                  <a:solidFill>
                    <a:srgbClr val="D60093"/>
                  </a:solidFill>
                  <a:ln w="9525">
                    <a:solidFill>
                      <a:srgbClr val="D60093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2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116" y="2187"/>
                    <a:ext cx="119" cy="118"/>
                  </a:xfrm>
                  <a:prstGeom prst="ellipse">
                    <a:avLst/>
                  </a:prstGeom>
                  <a:solidFill>
                    <a:srgbClr val="009900"/>
                  </a:solidFill>
                  <a:ln w="9525">
                    <a:solidFill>
                      <a:srgbClr val="009900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3" name="Oval 80"/>
                  <p:cNvSpPr>
                    <a:spLocks noChangeArrowheads="1"/>
                  </p:cNvSpPr>
                  <p:nvPr/>
                </p:nvSpPr>
                <p:spPr bwMode="auto">
                  <a:xfrm>
                    <a:off x="116" y="1498"/>
                    <a:ext cx="119" cy="118"/>
                  </a:xfrm>
                  <a:prstGeom prst="ellipse">
                    <a:avLst/>
                  </a:prstGeom>
                  <a:solidFill>
                    <a:srgbClr val="CC3300"/>
                  </a:solidFill>
                  <a:ln w="9525">
                    <a:solidFill>
                      <a:srgbClr val="CC3300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4" name="Oval 80"/>
                  <p:cNvSpPr>
                    <a:spLocks noChangeArrowheads="1"/>
                  </p:cNvSpPr>
                  <p:nvPr/>
                </p:nvSpPr>
                <p:spPr bwMode="auto">
                  <a:xfrm>
                    <a:off x="114" y="2879"/>
                    <a:ext cx="119" cy="118"/>
                  </a:xfrm>
                  <a:prstGeom prst="ellipse">
                    <a:avLst/>
                  </a:prstGeom>
                  <a:solidFill>
                    <a:schemeClr val="tx1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5" name="Oval 80"/>
                  <p:cNvSpPr>
                    <a:spLocks noChangeArrowheads="1"/>
                  </p:cNvSpPr>
                  <p:nvPr/>
                </p:nvSpPr>
                <p:spPr bwMode="auto">
                  <a:xfrm>
                    <a:off x="116" y="2362"/>
                    <a:ext cx="119" cy="118"/>
                  </a:xfrm>
                  <a:prstGeom prst="ellipse">
                    <a:avLst/>
                  </a:prstGeom>
                  <a:solidFill>
                    <a:srgbClr val="990033"/>
                  </a:solidFill>
                  <a:ln w="9525">
                    <a:solidFill>
                      <a:srgbClr val="990033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6" name="Oval 80"/>
                  <p:cNvSpPr>
                    <a:spLocks noChangeArrowheads="1"/>
                  </p:cNvSpPr>
                  <p:nvPr/>
                </p:nvSpPr>
                <p:spPr bwMode="auto">
                  <a:xfrm>
                    <a:off x="116" y="3057"/>
                    <a:ext cx="119" cy="118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9525">
                    <a:solidFill>
                      <a:schemeClr val="accent2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7" name="Oval 80"/>
                  <p:cNvSpPr>
                    <a:spLocks noChangeArrowheads="1"/>
                  </p:cNvSpPr>
                  <p:nvPr/>
                </p:nvSpPr>
                <p:spPr bwMode="auto">
                  <a:xfrm>
                    <a:off x="114" y="2536"/>
                    <a:ext cx="119" cy="118"/>
                  </a:xfrm>
                  <a:prstGeom prst="ellipse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9999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8" name="Oval 80"/>
                  <p:cNvSpPr>
                    <a:spLocks noChangeArrowheads="1"/>
                  </p:cNvSpPr>
                  <p:nvPr/>
                </p:nvSpPr>
                <p:spPr bwMode="auto">
                  <a:xfrm>
                    <a:off x="116" y="1844"/>
                    <a:ext cx="119" cy="118"/>
                  </a:xfrm>
                  <a:prstGeom prst="ellipse">
                    <a:avLst/>
                  </a:prstGeom>
                  <a:solidFill>
                    <a:srgbClr val="0066FF"/>
                  </a:solidFill>
                  <a:ln w="9525">
                    <a:solidFill>
                      <a:srgbClr val="0066FF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49" name="Oval 80"/>
                  <p:cNvSpPr>
                    <a:spLocks noChangeArrowheads="1"/>
                  </p:cNvSpPr>
                  <p:nvPr/>
                </p:nvSpPr>
                <p:spPr bwMode="auto">
                  <a:xfrm>
                    <a:off x="114" y="3228"/>
                    <a:ext cx="119" cy="118"/>
                  </a:xfrm>
                  <a:prstGeom prst="ellipse">
                    <a:avLst/>
                  </a:prstGeom>
                  <a:solidFill>
                    <a:srgbClr val="B1AE22"/>
                  </a:solidFill>
                  <a:ln w="9525">
                    <a:solidFill>
                      <a:srgbClr val="B1AE22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13350" name="Oval 80"/>
                  <p:cNvSpPr>
                    <a:spLocks noChangeArrowheads="1"/>
                  </p:cNvSpPr>
                  <p:nvPr/>
                </p:nvSpPr>
                <p:spPr bwMode="auto">
                  <a:xfrm>
                    <a:off x="116" y="3415"/>
                    <a:ext cx="119" cy="118"/>
                  </a:xfrm>
                  <a:prstGeom prst="ellipse">
                    <a:avLst/>
                  </a:prstGeom>
                  <a:solidFill>
                    <a:srgbClr val="6600CC"/>
                  </a:solidFill>
                  <a:ln w="9525">
                    <a:solidFill>
                      <a:srgbClr val="6600CC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pt-BR" sz="1800" b="1">
                      <a:solidFill>
                        <a:srgbClr val="0033CC"/>
                      </a:solidFill>
                      <a:latin typeface="Verdana" pitchFamily="34" charset="0"/>
                    </a:endParaRPr>
                  </a:p>
                </p:txBody>
              </p:sp>
            </p:grpSp>
          </p:grpSp>
        </p:grpSp>
        <p:sp>
          <p:nvSpPr>
            <p:cNvPr id="119" name="Oval 80"/>
            <p:cNvSpPr>
              <a:spLocks noChangeArrowheads="1"/>
            </p:cNvSpPr>
            <p:nvPr/>
          </p:nvSpPr>
          <p:spPr bwMode="auto">
            <a:xfrm>
              <a:off x="184151" y="5707300"/>
              <a:ext cx="188913" cy="187679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0" name="Oval 24"/>
            <p:cNvSpPr>
              <a:spLocks noChangeArrowheads="1"/>
            </p:cNvSpPr>
            <p:nvPr/>
          </p:nvSpPr>
          <p:spPr bwMode="auto">
            <a:xfrm>
              <a:off x="6588126" y="5467071"/>
              <a:ext cx="71438" cy="72069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1" name="Oval 24"/>
            <p:cNvSpPr>
              <a:spLocks noChangeArrowheads="1"/>
            </p:cNvSpPr>
            <p:nvPr/>
          </p:nvSpPr>
          <p:spPr bwMode="auto">
            <a:xfrm>
              <a:off x="7669214" y="4552697"/>
              <a:ext cx="71437" cy="72069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2" name="Oval 24"/>
            <p:cNvSpPr>
              <a:spLocks noChangeArrowheads="1"/>
            </p:cNvSpPr>
            <p:nvPr/>
          </p:nvSpPr>
          <p:spPr bwMode="auto">
            <a:xfrm>
              <a:off x="7164389" y="5279391"/>
              <a:ext cx="71437" cy="72069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3" name="Oval 24"/>
            <p:cNvSpPr>
              <a:spLocks noChangeArrowheads="1"/>
            </p:cNvSpPr>
            <p:nvPr/>
          </p:nvSpPr>
          <p:spPr bwMode="auto">
            <a:xfrm>
              <a:off x="6505576" y="5909993"/>
              <a:ext cx="71438" cy="72069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4" name="Oval 24"/>
            <p:cNvSpPr>
              <a:spLocks noChangeArrowheads="1"/>
            </p:cNvSpPr>
            <p:nvPr/>
          </p:nvSpPr>
          <p:spPr bwMode="auto">
            <a:xfrm>
              <a:off x="8821739" y="3357556"/>
              <a:ext cx="71437" cy="70568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5" name="Oval 24"/>
            <p:cNvSpPr>
              <a:spLocks noChangeArrowheads="1"/>
            </p:cNvSpPr>
            <p:nvPr/>
          </p:nvSpPr>
          <p:spPr bwMode="auto">
            <a:xfrm>
              <a:off x="6761164" y="5632229"/>
              <a:ext cx="71437" cy="72069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6" name="Oval 24"/>
            <p:cNvSpPr>
              <a:spLocks noChangeArrowheads="1"/>
            </p:cNvSpPr>
            <p:nvPr/>
          </p:nvSpPr>
          <p:spPr bwMode="auto">
            <a:xfrm>
              <a:off x="6011864" y="4797432"/>
              <a:ext cx="71437" cy="72069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7" name="Oval 24"/>
            <p:cNvSpPr>
              <a:spLocks noChangeArrowheads="1"/>
            </p:cNvSpPr>
            <p:nvPr/>
          </p:nvSpPr>
          <p:spPr bwMode="auto">
            <a:xfrm>
              <a:off x="6948489" y="4127792"/>
              <a:ext cx="71437" cy="70567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8" name="Oval 24"/>
            <p:cNvSpPr>
              <a:spLocks noChangeArrowheads="1"/>
            </p:cNvSpPr>
            <p:nvPr/>
          </p:nvSpPr>
          <p:spPr bwMode="auto">
            <a:xfrm>
              <a:off x="7575551" y="5096216"/>
              <a:ext cx="71438" cy="70568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29" name="Oval 24"/>
            <p:cNvSpPr>
              <a:spLocks noChangeArrowheads="1"/>
            </p:cNvSpPr>
            <p:nvPr/>
          </p:nvSpPr>
          <p:spPr bwMode="auto">
            <a:xfrm>
              <a:off x="8367714" y="2741969"/>
              <a:ext cx="71437" cy="70568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  <p:sp>
          <p:nvSpPr>
            <p:cNvPr id="130" name="Oval 24"/>
            <p:cNvSpPr>
              <a:spLocks noChangeArrowheads="1"/>
            </p:cNvSpPr>
            <p:nvPr/>
          </p:nvSpPr>
          <p:spPr bwMode="auto">
            <a:xfrm>
              <a:off x="8029576" y="3644331"/>
              <a:ext cx="71438" cy="72069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b="1">
                <a:solidFill>
                  <a:srgbClr val="0033CC"/>
                </a:solidFill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7898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Imagem 1" descr="fluxoembrapii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33538"/>
            <a:ext cx="9144000" cy="510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0" y="476672"/>
            <a:ext cx="9144000" cy="58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5" rIns="91429" bIns="45715">
            <a:spAutoFit/>
          </a:bodyPr>
          <a:lstStyle>
            <a:lvl1pPr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3200" dirty="0" smtClean="0">
                <a:solidFill>
                  <a:srgbClr val="336600"/>
                </a:solidFill>
                <a:latin typeface="Impact" pitchFamily="34" charset="0"/>
              </a:rPr>
              <a:t>Etapas do Processo de Inovação Tecnológica</a:t>
            </a:r>
            <a:endParaRPr lang="pt-BR" sz="3200" dirty="0">
              <a:solidFill>
                <a:srgbClr val="336600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522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050" name="Rectangle 2"/>
          <p:cNvSpPr>
            <a:spLocks noChangeArrowheads="1"/>
          </p:cNvSpPr>
          <p:nvPr/>
        </p:nvSpPr>
        <p:spPr bwMode="auto">
          <a:xfrm>
            <a:off x="691145" y="114313"/>
            <a:ext cx="800865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kumimoji="1" lang="pt-BR" sz="2800" b="1" dirty="0" smtClean="0">
                <a:solidFill>
                  <a:srgbClr val="1E3C78"/>
                </a:solidFill>
                <a:latin typeface="Arial"/>
              </a:rPr>
              <a:t>Ambiente de Pesquisa, Inovação e Integração</a:t>
            </a:r>
            <a:endParaRPr kumimoji="1" lang="pt-BR" sz="2800" b="1" dirty="0">
              <a:solidFill>
                <a:srgbClr val="1E3C78"/>
              </a:solidFill>
              <a:latin typeface="Arial"/>
            </a:endParaRPr>
          </a:p>
        </p:txBody>
      </p:sp>
      <p:sp>
        <p:nvSpPr>
          <p:cNvPr id="57" name="Text Box 4"/>
          <p:cNvSpPr txBox="1">
            <a:spLocks noChangeArrowheads="1"/>
          </p:cNvSpPr>
          <p:nvPr/>
        </p:nvSpPr>
        <p:spPr bwMode="auto">
          <a:xfrm>
            <a:off x="2770188" y="6015038"/>
            <a:ext cx="2449512" cy="307777"/>
          </a:xfrm>
          <a:prstGeom prst="rect">
            <a:avLst/>
          </a:prstGeom>
          <a:noFill/>
          <a:ln w="25400" cap="flat" cmpd="sng" algn="ctr">
            <a:noFill/>
            <a:prstDash val="solid"/>
            <a:headEnd/>
            <a:tailEnd/>
          </a:ln>
          <a:effectLst/>
        </p:spPr>
        <p:txBody>
          <a:bodyPr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400" b="1" kern="0" dirty="0" err="1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Estudantes</a:t>
            </a:r>
            <a:r>
              <a:rPr lang="en-US" sz="1400" b="1" kern="0" dirty="0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/</a:t>
            </a:r>
            <a:r>
              <a:rPr lang="en-US" sz="1400" b="1" kern="0" dirty="0" err="1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Pesquisadores</a:t>
            </a:r>
            <a:endParaRPr lang="en-US" sz="2000" b="1" kern="0" dirty="0">
              <a:solidFill>
                <a:srgbClr val="4F81BD">
                  <a:lumMod val="7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58" name="Text Box 6"/>
          <p:cNvSpPr txBox="1">
            <a:spLocks noChangeArrowheads="1"/>
          </p:cNvSpPr>
          <p:nvPr/>
        </p:nvSpPr>
        <p:spPr bwMode="auto">
          <a:xfrm>
            <a:off x="5624236" y="5422900"/>
            <a:ext cx="1179789" cy="501676"/>
          </a:xfrm>
          <a:prstGeom prst="rect">
            <a:avLst/>
          </a:prstGeom>
          <a:noFill/>
          <a:ln w="25400" cap="flat" cmpd="sng" algn="ctr">
            <a:noFill/>
            <a:prstDash val="solid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1" fontAlgn="auto" hangingPunct="1">
              <a:lnSpc>
                <a:spcPct val="7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400" b="1" kern="0" dirty="0" err="1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Profissionais</a:t>
            </a:r>
            <a:endParaRPr lang="en-US" sz="1400" b="1" kern="0" dirty="0" smtClean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algn="ctr" eaLnBrk="1" fontAlgn="auto" hangingPunct="1">
              <a:lnSpc>
                <a:spcPct val="7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do </a:t>
            </a:r>
            <a:r>
              <a:rPr lang="en-US" sz="1400" b="1" kern="0" dirty="0" err="1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Cliente</a:t>
            </a:r>
            <a:endParaRPr lang="en-US" sz="2000" b="1" kern="0" dirty="0">
              <a:solidFill>
                <a:srgbClr val="4F81BD">
                  <a:lumMod val="7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59" name="Retângulo de cantos arredondados 58"/>
          <p:cNvSpPr/>
          <p:nvPr/>
        </p:nvSpPr>
        <p:spPr>
          <a:xfrm>
            <a:off x="3657600" y="2414588"/>
            <a:ext cx="2443163" cy="2598737"/>
          </a:xfrm>
          <a:prstGeom prst="roundRect">
            <a:avLst/>
          </a:prstGeom>
          <a:gradFill flip="none" rotWithShape="1">
            <a:gsLst>
              <a:gs pos="0">
                <a:sysClr val="window" lastClr="FFFFFF">
                  <a:shade val="30000"/>
                  <a:satMod val="115000"/>
                </a:sysClr>
              </a:gs>
              <a:gs pos="50000">
                <a:sysClr val="window" lastClr="FFFFFF">
                  <a:shade val="67500"/>
                  <a:satMod val="115000"/>
                </a:sysClr>
              </a:gs>
              <a:gs pos="100000">
                <a:sysClr val="window" lastClr="FFFFFF">
                  <a:shade val="100000"/>
                  <a:satMod val="115000"/>
                </a:sysClr>
              </a:gs>
            </a:gsLst>
            <a:lin ang="0" scaled="1"/>
            <a:tileRect/>
          </a:gra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err="1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Centros</a:t>
            </a:r>
            <a:r>
              <a:rPr lang="en-US" sz="1800" b="1" kern="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de </a:t>
            </a:r>
            <a:r>
              <a:rPr lang="en-US" sz="1800" b="1" kern="0" dirty="0" err="1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Referência</a:t>
            </a:r>
            <a:endParaRPr lang="en-US" sz="1800" b="1" kern="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grpSp>
        <p:nvGrpSpPr>
          <p:cNvPr id="60" name="Grupo 83"/>
          <p:cNvGrpSpPr>
            <a:grpSpLocks/>
          </p:cNvGrpSpPr>
          <p:nvPr/>
        </p:nvGrpSpPr>
        <p:grpSpPr bwMode="auto">
          <a:xfrm>
            <a:off x="3937796" y="4351335"/>
            <a:ext cx="2002454" cy="531206"/>
            <a:chOff x="3638550" y="4797840"/>
            <a:chExt cx="1611110" cy="459960"/>
          </a:xfrm>
        </p:grpSpPr>
        <p:sp>
          <p:nvSpPr>
            <p:cNvPr id="61" name="Oval 20"/>
            <p:cNvSpPr>
              <a:spLocks noChangeArrowheads="1"/>
            </p:cNvSpPr>
            <p:nvPr/>
          </p:nvSpPr>
          <p:spPr bwMode="auto">
            <a:xfrm>
              <a:off x="3638550" y="4800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62" name="Oval 22"/>
            <p:cNvSpPr>
              <a:spLocks noChangeArrowheads="1"/>
            </p:cNvSpPr>
            <p:nvPr/>
          </p:nvSpPr>
          <p:spPr bwMode="auto">
            <a:xfrm>
              <a:off x="3790950" y="4800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63" name="Oval 23"/>
            <p:cNvSpPr>
              <a:spLocks noChangeArrowheads="1"/>
            </p:cNvSpPr>
            <p:nvPr/>
          </p:nvSpPr>
          <p:spPr bwMode="auto">
            <a:xfrm>
              <a:off x="4171950" y="4800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64" name="Oval 24"/>
            <p:cNvSpPr>
              <a:spLocks noChangeArrowheads="1"/>
            </p:cNvSpPr>
            <p:nvPr/>
          </p:nvSpPr>
          <p:spPr bwMode="auto">
            <a:xfrm>
              <a:off x="4324350" y="4800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65" name="Oval 25"/>
            <p:cNvSpPr>
              <a:spLocks noChangeArrowheads="1"/>
            </p:cNvSpPr>
            <p:nvPr/>
          </p:nvSpPr>
          <p:spPr bwMode="auto">
            <a:xfrm>
              <a:off x="4248150" y="49530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66" name="Oval 26"/>
            <p:cNvSpPr>
              <a:spLocks noChangeArrowheads="1"/>
            </p:cNvSpPr>
            <p:nvPr/>
          </p:nvSpPr>
          <p:spPr bwMode="auto">
            <a:xfrm>
              <a:off x="4400550" y="49530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67" name="Oval 27"/>
            <p:cNvSpPr>
              <a:spLocks noChangeArrowheads="1"/>
            </p:cNvSpPr>
            <p:nvPr/>
          </p:nvSpPr>
          <p:spPr bwMode="auto">
            <a:xfrm>
              <a:off x="4476750" y="4800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68" name="Oval 28"/>
            <p:cNvSpPr>
              <a:spLocks noChangeArrowheads="1"/>
            </p:cNvSpPr>
            <p:nvPr/>
          </p:nvSpPr>
          <p:spPr bwMode="auto">
            <a:xfrm>
              <a:off x="4324350" y="51054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69" name="Oval 29"/>
            <p:cNvSpPr>
              <a:spLocks noChangeArrowheads="1"/>
            </p:cNvSpPr>
            <p:nvPr/>
          </p:nvSpPr>
          <p:spPr bwMode="auto">
            <a:xfrm>
              <a:off x="4670037" y="4928741"/>
              <a:ext cx="152400" cy="152400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70" name="Oval 30"/>
            <p:cNvSpPr>
              <a:spLocks noChangeArrowheads="1"/>
            </p:cNvSpPr>
            <p:nvPr/>
          </p:nvSpPr>
          <p:spPr bwMode="auto">
            <a:xfrm>
              <a:off x="4930179" y="481467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71" name="Oval 31"/>
            <p:cNvSpPr>
              <a:spLocks noChangeArrowheads="1"/>
            </p:cNvSpPr>
            <p:nvPr/>
          </p:nvSpPr>
          <p:spPr bwMode="auto">
            <a:xfrm>
              <a:off x="4677363" y="5105400"/>
              <a:ext cx="152400" cy="152400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72" name="Oval 32"/>
            <p:cNvSpPr>
              <a:spLocks noChangeArrowheads="1"/>
            </p:cNvSpPr>
            <p:nvPr/>
          </p:nvSpPr>
          <p:spPr bwMode="auto">
            <a:xfrm>
              <a:off x="5021060" y="4964126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73" name="Oval 33"/>
            <p:cNvSpPr>
              <a:spLocks noChangeArrowheads="1"/>
            </p:cNvSpPr>
            <p:nvPr/>
          </p:nvSpPr>
          <p:spPr bwMode="auto">
            <a:xfrm>
              <a:off x="5097260" y="479784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</p:grpSp>
      <p:grpSp>
        <p:nvGrpSpPr>
          <p:cNvPr id="74" name="Grupo 84"/>
          <p:cNvGrpSpPr>
            <a:grpSpLocks/>
          </p:cNvGrpSpPr>
          <p:nvPr/>
        </p:nvGrpSpPr>
        <p:grpSpPr bwMode="auto">
          <a:xfrm>
            <a:off x="4527550" y="3070225"/>
            <a:ext cx="703263" cy="704850"/>
            <a:chOff x="4171950" y="3429000"/>
            <a:chExt cx="762000" cy="762000"/>
          </a:xfrm>
        </p:grpSpPr>
        <p:sp>
          <p:nvSpPr>
            <p:cNvPr id="75" name="Oval 21"/>
            <p:cNvSpPr>
              <a:spLocks noChangeArrowheads="1"/>
            </p:cNvSpPr>
            <p:nvPr/>
          </p:nvSpPr>
          <p:spPr bwMode="auto">
            <a:xfrm>
              <a:off x="4171950" y="4038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76" name="Oval 34"/>
            <p:cNvSpPr>
              <a:spLocks noChangeArrowheads="1"/>
            </p:cNvSpPr>
            <p:nvPr/>
          </p:nvSpPr>
          <p:spPr bwMode="auto">
            <a:xfrm>
              <a:off x="4324350" y="4038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77" name="Oval 35"/>
            <p:cNvSpPr>
              <a:spLocks noChangeArrowheads="1"/>
            </p:cNvSpPr>
            <p:nvPr/>
          </p:nvSpPr>
          <p:spPr bwMode="auto">
            <a:xfrm>
              <a:off x="4476750" y="4038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78" name="Oval 36"/>
            <p:cNvSpPr>
              <a:spLocks noChangeArrowheads="1"/>
            </p:cNvSpPr>
            <p:nvPr/>
          </p:nvSpPr>
          <p:spPr bwMode="auto">
            <a:xfrm>
              <a:off x="4629150" y="4038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79" name="Oval 37"/>
            <p:cNvSpPr>
              <a:spLocks noChangeArrowheads="1"/>
            </p:cNvSpPr>
            <p:nvPr/>
          </p:nvSpPr>
          <p:spPr bwMode="auto">
            <a:xfrm>
              <a:off x="4781550" y="40386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0" name="Oval 38"/>
            <p:cNvSpPr>
              <a:spLocks noChangeArrowheads="1"/>
            </p:cNvSpPr>
            <p:nvPr/>
          </p:nvSpPr>
          <p:spPr bwMode="auto">
            <a:xfrm>
              <a:off x="4248150" y="38862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1" name="Oval 39"/>
            <p:cNvSpPr>
              <a:spLocks noChangeArrowheads="1"/>
            </p:cNvSpPr>
            <p:nvPr/>
          </p:nvSpPr>
          <p:spPr bwMode="auto">
            <a:xfrm>
              <a:off x="4400550" y="38862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2" name="Oval 40"/>
            <p:cNvSpPr>
              <a:spLocks noChangeArrowheads="1"/>
            </p:cNvSpPr>
            <p:nvPr/>
          </p:nvSpPr>
          <p:spPr bwMode="auto">
            <a:xfrm>
              <a:off x="4552950" y="38862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3" name="Oval 41"/>
            <p:cNvSpPr>
              <a:spLocks noChangeArrowheads="1"/>
            </p:cNvSpPr>
            <p:nvPr/>
          </p:nvSpPr>
          <p:spPr bwMode="auto">
            <a:xfrm>
              <a:off x="4705350" y="38862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4" name="Oval 42"/>
            <p:cNvSpPr>
              <a:spLocks noChangeArrowheads="1"/>
            </p:cNvSpPr>
            <p:nvPr/>
          </p:nvSpPr>
          <p:spPr bwMode="auto">
            <a:xfrm>
              <a:off x="4324350" y="37338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5" name="Oval 43"/>
            <p:cNvSpPr>
              <a:spLocks noChangeArrowheads="1"/>
            </p:cNvSpPr>
            <p:nvPr/>
          </p:nvSpPr>
          <p:spPr bwMode="auto">
            <a:xfrm>
              <a:off x="4476750" y="37338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6" name="Oval 44"/>
            <p:cNvSpPr>
              <a:spLocks noChangeArrowheads="1"/>
            </p:cNvSpPr>
            <p:nvPr/>
          </p:nvSpPr>
          <p:spPr bwMode="auto">
            <a:xfrm>
              <a:off x="4629150" y="37338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7" name="Oval 45"/>
            <p:cNvSpPr>
              <a:spLocks noChangeArrowheads="1"/>
            </p:cNvSpPr>
            <p:nvPr/>
          </p:nvSpPr>
          <p:spPr bwMode="auto">
            <a:xfrm>
              <a:off x="4400550" y="35814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8" name="Oval 46"/>
            <p:cNvSpPr>
              <a:spLocks noChangeArrowheads="1"/>
            </p:cNvSpPr>
            <p:nvPr/>
          </p:nvSpPr>
          <p:spPr bwMode="auto">
            <a:xfrm>
              <a:off x="4552950" y="35814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  <p:sp>
          <p:nvSpPr>
            <p:cNvPr id="89" name="Oval 47"/>
            <p:cNvSpPr>
              <a:spLocks noChangeArrowheads="1"/>
            </p:cNvSpPr>
            <p:nvPr/>
          </p:nvSpPr>
          <p:spPr bwMode="auto">
            <a:xfrm>
              <a:off x="4476750" y="3429000"/>
              <a:ext cx="152400" cy="152400"/>
            </a:xfrm>
            <a:prstGeom prst="ellipse">
              <a:avLst/>
            </a:prstGeom>
            <a:solidFill>
              <a:srgbClr val="4F81BD"/>
            </a:solidFill>
            <a:ln w="9525">
              <a:solidFill>
                <a:srgbClr val="1F497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sysClr val="windowText" lastClr="000000"/>
                </a:solidFill>
                <a:latin typeface="Calibri" pitchFamily="34" charset="0"/>
              </a:endParaRPr>
            </a:p>
          </p:txBody>
        </p:sp>
      </p:grpSp>
      <p:sp>
        <p:nvSpPr>
          <p:cNvPr id="90" name="Pentágono 89"/>
          <p:cNvSpPr/>
          <p:nvPr/>
        </p:nvSpPr>
        <p:spPr>
          <a:xfrm>
            <a:off x="3348038" y="3844925"/>
            <a:ext cx="3182937" cy="331788"/>
          </a:xfrm>
          <a:prstGeom prst="homePlate">
            <a:avLst/>
          </a:prstGeom>
          <a:solidFill>
            <a:sysClr val="window" lastClr="FFFFFF"/>
          </a:solidFill>
          <a:ln w="9525" cap="flat" cmpd="sng" algn="ctr">
            <a:solidFill>
              <a:srgbClr val="1F497D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b="1" kern="0" dirty="0" smtClean="0">
                <a:solidFill>
                  <a:srgbClr val="0070C0"/>
                </a:solidFill>
                <a:latin typeface="Calibri"/>
              </a:rPr>
              <a:t>Projetos</a:t>
            </a:r>
            <a:endParaRPr lang="en-US" sz="1800" b="1" kern="0" dirty="0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91" name="Seta em forma de U 90"/>
          <p:cNvSpPr/>
          <p:nvPr/>
        </p:nvSpPr>
        <p:spPr>
          <a:xfrm flipH="1">
            <a:off x="4643438" y="1628775"/>
            <a:ext cx="3216275" cy="714375"/>
          </a:xfrm>
          <a:prstGeom prst="uturnArrow">
            <a:avLst>
              <a:gd name="adj1" fmla="val 27602"/>
              <a:gd name="adj2" fmla="val 25000"/>
              <a:gd name="adj3" fmla="val 25000"/>
              <a:gd name="adj4" fmla="val 43750"/>
              <a:gd name="adj5" fmla="val 100000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92" name="Seta dobrada 91"/>
          <p:cNvSpPr/>
          <p:nvPr/>
        </p:nvSpPr>
        <p:spPr>
          <a:xfrm rot="16200000" flipV="1">
            <a:off x="3074194" y="4274344"/>
            <a:ext cx="692150" cy="1439862"/>
          </a:xfrm>
          <a:prstGeom prst="bentArrow">
            <a:avLst>
              <a:gd name="adj1" fmla="val 13162"/>
              <a:gd name="adj2" fmla="val 15751"/>
              <a:gd name="adj3" fmla="val 16122"/>
              <a:gd name="adj4" fmla="val 43750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93" name="Text Box 60"/>
          <p:cNvSpPr txBox="1">
            <a:spLocks noChangeArrowheads="1"/>
          </p:cNvSpPr>
          <p:nvPr/>
        </p:nvSpPr>
        <p:spPr bwMode="auto">
          <a:xfrm>
            <a:off x="2771775" y="5340350"/>
            <a:ext cx="2016125" cy="307777"/>
          </a:xfrm>
          <a:prstGeom prst="rect">
            <a:avLst/>
          </a:prstGeom>
          <a:noFill/>
          <a:ln w="25400" cap="flat" cmpd="sng" algn="ctr">
            <a:noFill/>
            <a:prstDash val="solid"/>
            <a:headEnd/>
            <a:tailEnd/>
          </a:ln>
          <a:effectLst/>
        </p:spPr>
        <p:txBody>
          <a:bodyPr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400" b="1" kern="0" dirty="0" err="1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Cientistas</a:t>
            </a:r>
            <a:r>
              <a:rPr lang="en-US" sz="1400" b="1" kern="0" dirty="0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/</a:t>
            </a:r>
            <a:r>
              <a:rPr lang="en-US" sz="1400" b="1" kern="0" dirty="0" err="1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Especialistas</a:t>
            </a:r>
            <a:endParaRPr lang="en-US" sz="2000" b="1" kern="0" dirty="0">
              <a:solidFill>
                <a:srgbClr val="4F81BD">
                  <a:lumMod val="7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94" name="Seta dobrada 93"/>
          <p:cNvSpPr/>
          <p:nvPr/>
        </p:nvSpPr>
        <p:spPr>
          <a:xfrm rot="5400000" flipH="1" flipV="1">
            <a:off x="5946511" y="4422934"/>
            <a:ext cx="637279" cy="1281828"/>
          </a:xfrm>
          <a:prstGeom prst="bentArrow">
            <a:avLst>
              <a:gd name="adj1" fmla="val 13162"/>
              <a:gd name="adj2" fmla="val 15751"/>
              <a:gd name="adj3" fmla="val 16122"/>
              <a:gd name="adj4" fmla="val 43750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95" name="Text Box 6"/>
          <p:cNvSpPr txBox="1">
            <a:spLocks noChangeArrowheads="1"/>
          </p:cNvSpPr>
          <p:nvPr/>
        </p:nvSpPr>
        <p:spPr bwMode="auto">
          <a:xfrm>
            <a:off x="5772150" y="1628775"/>
            <a:ext cx="1031875" cy="252413"/>
          </a:xfrm>
          <a:prstGeom prst="rect">
            <a:avLst/>
          </a:prstGeom>
          <a:noFill/>
          <a:ln w="25400" cap="flat" cmpd="sng" algn="ctr">
            <a:noFill/>
            <a:prstDash val="solid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1" fontAlgn="auto" hangingPunct="1">
              <a:lnSpc>
                <a:spcPct val="7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400" b="1" kern="0" dirty="0" err="1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Demandas</a:t>
            </a:r>
            <a:endParaRPr lang="en-US" sz="2000" b="1" kern="0" dirty="0">
              <a:solidFill>
                <a:srgbClr val="4F81BD">
                  <a:lumMod val="7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96" name="Seta dobrada 95"/>
          <p:cNvSpPr/>
          <p:nvPr/>
        </p:nvSpPr>
        <p:spPr>
          <a:xfrm rot="16200000" flipV="1">
            <a:off x="3204369" y="4215606"/>
            <a:ext cx="1150938" cy="2447925"/>
          </a:xfrm>
          <a:prstGeom prst="bentArrow">
            <a:avLst>
              <a:gd name="adj1" fmla="val 10308"/>
              <a:gd name="adj2" fmla="val 13356"/>
              <a:gd name="adj3" fmla="val 13682"/>
              <a:gd name="adj4" fmla="val 43750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97" name="Retângulo de cantos arredondados 96"/>
          <p:cNvSpPr/>
          <p:nvPr/>
        </p:nvSpPr>
        <p:spPr>
          <a:xfrm>
            <a:off x="539750" y="1340768"/>
            <a:ext cx="2234543" cy="4809130"/>
          </a:xfrm>
          <a:prstGeom prst="round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smtClean="0">
                <a:solidFill>
                  <a:sysClr val="window" lastClr="FFFFFF"/>
                </a:solidFill>
                <a:latin typeface="Calibri"/>
              </a:rPr>
              <a:t>UNIVERSIDADE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err="1" smtClean="0">
                <a:solidFill>
                  <a:sysClr val="window" lastClr="FFFFFF"/>
                </a:solidFill>
                <a:latin typeface="Calibri"/>
              </a:rPr>
              <a:t>Centros</a:t>
            </a:r>
            <a:r>
              <a:rPr lang="en-US" sz="1800" b="1" kern="0" dirty="0" smtClean="0">
                <a:solidFill>
                  <a:sysClr val="window" lastClr="FFFFFF"/>
                </a:solidFill>
                <a:latin typeface="Calibri"/>
              </a:rPr>
              <a:t> de P&amp;D</a:t>
            </a:r>
            <a:endParaRPr lang="pt-BR" sz="1800" b="1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98" name="Retângulo de cantos arredondados 97"/>
          <p:cNvSpPr/>
          <p:nvPr/>
        </p:nvSpPr>
        <p:spPr>
          <a:xfrm>
            <a:off x="673479" y="2477715"/>
            <a:ext cx="2100814" cy="3576069"/>
          </a:xfrm>
          <a:prstGeom prst="round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err="1" smtClean="0">
                <a:solidFill>
                  <a:sysClr val="window" lastClr="FFFFFF"/>
                </a:solidFill>
                <a:latin typeface="Calibri"/>
              </a:rPr>
              <a:t>Faculdades</a:t>
            </a:r>
            <a:endParaRPr lang="en-US" sz="1800" b="1" kern="0" dirty="0" smtClean="0">
              <a:solidFill>
                <a:sysClr val="window" lastClr="FFFFFF"/>
              </a:solidFill>
              <a:latin typeface="Calibri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err="1" smtClean="0">
                <a:solidFill>
                  <a:sysClr val="window" lastClr="FFFFFF"/>
                </a:solidFill>
                <a:latin typeface="Calibri"/>
              </a:rPr>
              <a:t>Institutos</a:t>
            </a:r>
            <a:r>
              <a:rPr lang="en-US" sz="1800" b="1" kern="0" dirty="0">
                <a:solidFill>
                  <a:sysClr val="window" lastClr="FFFFFF"/>
                </a:solidFill>
                <a:latin typeface="Calibri"/>
              </a:rPr>
              <a:t>	</a:t>
            </a:r>
            <a:endParaRPr lang="pt-BR" sz="1800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99" name="Retângulo de cantos arredondados 98"/>
          <p:cNvSpPr/>
          <p:nvPr/>
        </p:nvSpPr>
        <p:spPr>
          <a:xfrm>
            <a:off x="827584" y="3318186"/>
            <a:ext cx="1966889" cy="2292155"/>
          </a:xfrm>
          <a:prstGeom prst="roundRect">
            <a:avLst/>
          </a:prstGeom>
          <a:gradFill rotWithShape="1">
            <a:gsLst>
              <a:gs pos="0">
                <a:srgbClr val="8064A2">
                  <a:shade val="51000"/>
                  <a:satMod val="130000"/>
                </a:srgbClr>
              </a:gs>
              <a:gs pos="80000">
                <a:srgbClr val="8064A2">
                  <a:shade val="93000"/>
                  <a:satMod val="130000"/>
                </a:srgbClr>
              </a:gs>
              <a:gs pos="100000">
                <a:srgbClr val="8064A2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smtClean="0">
                <a:solidFill>
                  <a:sysClr val="window" lastClr="FFFFFF"/>
                </a:solidFill>
                <a:latin typeface="Calibri"/>
              </a:rPr>
              <a:t>DEPARTMENTOS</a:t>
            </a:r>
            <a:endParaRPr lang="pt-BR" sz="1600" b="1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00" name="Retângulo de cantos arredondados 99"/>
          <p:cNvSpPr/>
          <p:nvPr/>
        </p:nvSpPr>
        <p:spPr>
          <a:xfrm>
            <a:off x="1043608" y="4058280"/>
            <a:ext cx="1730684" cy="1217589"/>
          </a:xfrm>
          <a:prstGeom prst="roundRec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700" b="1" kern="0" dirty="0" smtClean="0">
                <a:solidFill>
                  <a:sysClr val="window" lastClr="FFFFFF"/>
                </a:solidFill>
                <a:latin typeface="Calibri"/>
              </a:rPr>
              <a:t>LABORATORIOS</a:t>
            </a:r>
            <a:endParaRPr lang="pt-BR" sz="1700" b="1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01" name="Oval 54"/>
          <p:cNvSpPr>
            <a:spLocks noChangeArrowheads="1"/>
          </p:cNvSpPr>
          <p:nvPr/>
        </p:nvSpPr>
        <p:spPr bwMode="auto">
          <a:xfrm>
            <a:off x="1165126" y="4421163"/>
            <a:ext cx="1390650" cy="808037"/>
          </a:xfrm>
          <a:prstGeom prst="ellipse">
            <a:avLst/>
          </a:prstGeom>
          <a:solidFill>
            <a:srgbClr val="F79646">
              <a:lumMod val="20000"/>
              <a:lumOff val="80000"/>
              <a:alpha val="50195"/>
            </a:srgbClr>
          </a:solidFill>
          <a:ln w="9525">
            <a:solidFill>
              <a:sysClr val="windowText" lastClr="00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ysClr val="window" lastClr="FFFFFF"/>
                </a:solidFill>
                <a:latin typeface="Calibri" pitchFamily="34" charset="0"/>
              </a:rPr>
              <a:t>Prof.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err="1" smtClean="0">
                <a:solidFill>
                  <a:sysClr val="window" lastClr="FFFFFF"/>
                </a:solidFill>
                <a:latin typeface="Calibri" pitchFamily="34" charset="0"/>
              </a:rPr>
              <a:t>Célula</a:t>
            </a:r>
            <a:r>
              <a:rPr lang="en-US" sz="1400" b="1" kern="0" dirty="0" smtClean="0">
                <a:solidFill>
                  <a:sysClr val="window" lastClr="FFFFFF"/>
                </a:solidFill>
                <a:latin typeface="Calibri" pitchFamily="34" charset="0"/>
              </a:rPr>
              <a:t> d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err="1" smtClean="0">
                <a:solidFill>
                  <a:sysClr val="window" lastClr="FFFFFF"/>
                </a:solidFill>
                <a:latin typeface="Calibri" pitchFamily="34" charset="0"/>
              </a:rPr>
              <a:t>Competência</a:t>
            </a:r>
            <a:endParaRPr lang="pt-BR" sz="1400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02" name="Retângulo de cantos arredondados 101"/>
          <p:cNvSpPr/>
          <p:nvPr/>
        </p:nvSpPr>
        <p:spPr>
          <a:xfrm>
            <a:off x="6853238" y="2127250"/>
            <a:ext cx="1895475" cy="3960813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800" kern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103" name="Retângulo 58"/>
          <p:cNvSpPr>
            <a:spLocks noChangeArrowheads="1"/>
          </p:cNvSpPr>
          <p:nvPr/>
        </p:nvSpPr>
        <p:spPr bwMode="auto">
          <a:xfrm>
            <a:off x="7062788" y="3541713"/>
            <a:ext cx="1530350" cy="584775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err="1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Empresas</a:t>
            </a:r>
            <a:endParaRPr lang="en-US" sz="1600" b="1" kern="0" dirty="0" smtClean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err="1">
                <a:solidFill>
                  <a:srgbClr val="1F497D">
                    <a:lumMod val="75000"/>
                  </a:srgbClr>
                </a:solidFill>
                <a:latin typeface="Calibri"/>
              </a:rPr>
              <a:t>Grandes</a:t>
            </a:r>
            <a:endParaRPr lang="pt-BR" sz="1600" b="1" kern="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104" name="Retângulo 61"/>
          <p:cNvSpPr>
            <a:spLocks noChangeArrowheads="1"/>
          </p:cNvSpPr>
          <p:nvPr/>
        </p:nvSpPr>
        <p:spPr bwMode="auto">
          <a:xfrm>
            <a:off x="7062788" y="4348163"/>
            <a:ext cx="1530350" cy="584775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err="1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Empresas</a:t>
            </a:r>
            <a:endParaRPr lang="en-US" sz="1600" b="1" kern="0" dirty="0" smtClean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err="1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Médias</a:t>
            </a:r>
            <a:endParaRPr lang="pt-BR" sz="1600" b="1" kern="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105" name="Retângulo 63"/>
          <p:cNvSpPr>
            <a:spLocks noChangeArrowheads="1"/>
          </p:cNvSpPr>
          <p:nvPr/>
        </p:nvSpPr>
        <p:spPr bwMode="auto">
          <a:xfrm>
            <a:off x="7070725" y="5153025"/>
            <a:ext cx="1512888" cy="584775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err="1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Empresas</a:t>
            </a:r>
            <a:endParaRPr lang="en-US" sz="1600" b="1" kern="0" dirty="0" smtClean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err="1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Pequenas</a:t>
            </a:r>
            <a:endParaRPr lang="pt-BR" sz="1600" b="1" kern="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106" name="Retângulo 69"/>
          <p:cNvSpPr>
            <a:spLocks noChangeArrowheads="1"/>
          </p:cNvSpPr>
          <p:nvPr/>
        </p:nvSpPr>
        <p:spPr bwMode="auto">
          <a:xfrm>
            <a:off x="6804025" y="2447925"/>
            <a:ext cx="1944687" cy="830997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err="1" smtClean="0">
                <a:solidFill>
                  <a:srgbClr val="1F497D"/>
                </a:solidFill>
                <a:latin typeface="Calibri"/>
              </a:rPr>
              <a:t>Governo</a:t>
            </a:r>
            <a:r>
              <a:rPr lang="en-US" sz="1600" b="1" kern="0" dirty="0" smtClean="0">
                <a:solidFill>
                  <a:srgbClr val="1F497D"/>
                </a:solidFill>
                <a:latin typeface="Calibri"/>
              </a:rPr>
              <a:t> Federal</a:t>
            </a:r>
            <a:r>
              <a:rPr lang="en-US" sz="1600" b="1" kern="0" dirty="0">
                <a:solidFill>
                  <a:srgbClr val="1F497D"/>
                </a:solidFill>
                <a:latin typeface="Calibri"/>
              </a:rPr>
              <a:t>, </a:t>
            </a:r>
            <a:r>
              <a:rPr lang="en-US" sz="1600" b="1" kern="0" dirty="0" err="1" smtClean="0">
                <a:solidFill>
                  <a:srgbClr val="1F497D"/>
                </a:solidFill>
                <a:latin typeface="Calibri"/>
              </a:rPr>
              <a:t>Estadual</a:t>
            </a:r>
            <a:r>
              <a:rPr lang="en-US" sz="1600" b="1" kern="0" dirty="0" smtClean="0">
                <a:solidFill>
                  <a:srgbClr val="1F497D"/>
                </a:solidFill>
                <a:latin typeface="Calibri"/>
              </a:rPr>
              <a:t> e  Municipal</a:t>
            </a:r>
            <a:endParaRPr lang="en-US" sz="1600" b="1" kern="0" dirty="0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107" name="Seta dobrada 106"/>
          <p:cNvSpPr/>
          <p:nvPr/>
        </p:nvSpPr>
        <p:spPr>
          <a:xfrm rot="5400000" flipH="1" flipV="1">
            <a:off x="4828933" y="5329587"/>
            <a:ext cx="1562025" cy="758264"/>
          </a:xfrm>
          <a:prstGeom prst="bentArrow">
            <a:avLst>
              <a:gd name="adj1" fmla="val 13162"/>
              <a:gd name="adj2" fmla="val 15751"/>
              <a:gd name="adj3" fmla="val 16122"/>
              <a:gd name="adj4" fmla="val 43750"/>
            </a:avLst>
          </a:prstGeom>
          <a:solidFill>
            <a:srgbClr val="9BBB59">
              <a:lumMod val="60000"/>
              <a:lumOff val="4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08" name="Oval 29"/>
          <p:cNvSpPr>
            <a:spLocks noChangeArrowheads="1"/>
          </p:cNvSpPr>
          <p:nvPr/>
        </p:nvSpPr>
        <p:spPr bwMode="auto">
          <a:xfrm>
            <a:off x="5230813" y="4311595"/>
            <a:ext cx="189418" cy="176006"/>
          </a:xfrm>
          <a:prstGeom prst="ellipse">
            <a:avLst/>
          </a:prstGeom>
          <a:solidFill>
            <a:srgbClr val="00B050"/>
          </a:solidFill>
          <a:ln w="9525">
            <a:solidFill>
              <a:srgbClr val="1F497D"/>
            </a:solidFill>
            <a:round/>
            <a:headEnd/>
            <a:tailEnd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800" ker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109" name="CaixaDeTexto 108"/>
          <p:cNvSpPr txBox="1"/>
          <p:nvPr/>
        </p:nvSpPr>
        <p:spPr>
          <a:xfrm>
            <a:off x="5995173" y="6215224"/>
            <a:ext cx="2704622" cy="369332"/>
          </a:xfrm>
          <a:prstGeom prst="rect">
            <a:avLst/>
          </a:prstGeom>
          <a:solidFill>
            <a:srgbClr val="9BBB59">
              <a:lumMod val="60000"/>
              <a:lumOff val="40000"/>
            </a:srgbClr>
          </a:solidFill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kern="0" dirty="0" smtClean="0">
                <a:solidFill>
                  <a:sysClr val="windowText" lastClr="000000"/>
                </a:solidFill>
              </a:rPr>
              <a:t>Parceiros Internacionais</a:t>
            </a:r>
            <a:endParaRPr lang="pt-BR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107504" y="6474822"/>
            <a:ext cx="39519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solidFill>
                  <a:srgbClr val="000066"/>
                </a:solidFill>
              </a:rPr>
              <a:t>Fonte</a:t>
            </a:r>
            <a:r>
              <a:rPr lang="en-US" sz="1200" dirty="0" smtClean="0">
                <a:solidFill>
                  <a:srgbClr val="000066"/>
                </a:solidFill>
              </a:rPr>
              <a:t>: </a:t>
            </a:r>
            <a:r>
              <a:rPr lang="en-US" sz="1200" dirty="0" err="1" smtClean="0">
                <a:solidFill>
                  <a:srgbClr val="000066"/>
                </a:solidFill>
              </a:rPr>
              <a:t>Fundação</a:t>
            </a:r>
            <a:r>
              <a:rPr lang="en-US" sz="1200" dirty="0" smtClean="0">
                <a:solidFill>
                  <a:srgbClr val="000066"/>
                </a:solidFill>
              </a:rPr>
              <a:t> CERTI</a:t>
            </a:r>
            <a:endParaRPr lang="pt-BR" sz="1200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716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Imagem 2" descr="fluxoembrapii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12875"/>
            <a:ext cx="8891587" cy="5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0" y="476672"/>
            <a:ext cx="9144000" cy="58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5" rIns="91429" bIns="45715">
            <a:spAutoFit/>
          </a:bodyPr>
          <a:lstStyle>
            <a:lvl1pPr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8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Times New Roman" pitchFamily="18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3200" dirty="0" smtClean="0">
                <a:solidFill>
                  <a:srgbClr val="336600"/>
                </a:solidFill>
                <a:latin typeface="Impact" pitchFamily="34" charset="0"/>
              </a:rPr>
              <a:t>Etapas do Processo de Inovação Tecnológica</a:t>
            </a:r>
            <a:endParaRPr lang="pt-BR" sz="3200" dirty="0">
              <a:solidFill>
                <a:srgbClr val="336600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112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23528" y="1340768"/>
            <a:ext cx="4752528" cy="3733875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ü"/>
              <a:defRPr/>
            </a:pPr>
            <a:r>
              <a:rPr lang="pt-BR" sz="2400" dirty="0" smtClean="0"/>
              <a:t>Participantes</a:t>
            </a:r>
            <a:r>
              <a:rPr lang="pt-BR" sz="2400" dirty="0"/>
              <a:t>: Empresas Nacionais</a:t>
            </a:r>
            <a:r>
              <a:rPr lang="pt-BR" sz="2400" dirty="0" smtClean="0"/>
              <a:t>, Institutos Tecnológicos (</a:t>
            </a:r>
            <a:r>
              <a:rPr lang="pt-BR" sz="2400" b="1" dirty="0" smtClean="0">
                <a:solidFill>
                  <a:srgbClr val="C00000"/>
                </a:solidFill>
              </a:rPr>
              <a:t>INT</a:t>
            </a:r>
            <a:r>
              <a:rPr lang="pt-BR" sz="2400" dirty="0" smtClean="0"/>
              <a:t>, </a:t>
            </a:r>
            <a:r>
              <a:rPr lang="pt-BR" sz="2400" b="1" dirty="0" smtClean="0">
                <a:solidFill>
                  <a:srgbClr val="C00000"/>
                </a:solidFill>
              </a:rPr>
              <a:t>IPT</a:t>
            </a:r>
            <a:r>
              <a:rPr lang="pt-BR" sz="2400" dirty="0" smtClean="0"/>
              <a:t>, </a:t>
            </a:r>
            <a:r>
              <a:rPr lang="pt-BR" sz="2400" b="1" dirty="0" smtClean="0">
                <a:solidFill>
                  <a:srgbClr val="C00000"/>
                </a:solidFill>
              </a:rPr>
              <a:t>Senai/</a:t>
            </a:r>
            <a:r>
              <a:rPr lang="pt-BR" sz="2400" b="1" dirty="0" err="1" smtClean="0">
                <a:solidFill>
                  <a:srgbClr val="C00000"/>
                </a:solidFill>
              </a:rPr>
              <a:t>Cimatec</a:t>
            </a:r>
            <a:r>
              <a:rPr lang="pt-BR" sz="2400" dirty="0" smtClean="0"/>
              <a:t>);</a:t>
            </a:r>
          </a:p>
          <a:p>
            <a:pPr>
              <a:buFont typeface="Wingdings" pitchFamily="2" charset="2"/>
              <a:buChar char="ü"/>
              <a:defRPr/>
            </a:pPr>
            <a:endParaRPr lang="pt-BR" sz="1050" dirty="0"/>
          </a:p>
          <a:p>
            <a:pPr>
              <a:buFont typeface="Wingdings" pitchFamily="2" charset="2"/>
              <a:buChar char="ü"/>
              <a:defRPr/>
            </a:pPr>
            <a:r>
              <a:rPr lang="pt-BR" sz="2400" dirty="0" smtClean="0"/>
              <a:t>Alocação </a:t>
            </a:r>
            <a:r>
              <a:rPr lang="pt-BR" sz="2400" dirty="0"/>
              <a:t>de </a:t>
            </a:r>
            <a:r>
              <a:rPr lang="pt-BR" sz="2400" b="1" dirty="0">
                <a:solidFill>
                  <a:srgbClr val="C00000"/>
                </a:solidFill>
              </a:rPr>
              <a:t>recursos financeiros</a:t>
            </a:r>
            <a:r>
              <a:rPr lang="pt-BR" sz="2400" dirty="0"/>
              <a:t>: equânime (FNDCT, Instituição </a:t>
            </a:r>
            <a:r>
              <a:rPr lang="pt-BR" sz="2400" dirty="0" smtClean="0"/>
              <a:t>Tecnológica </a:t>
            </a:r>
            <a:r>
              <a:rPr lang="pt-BR" sz="2400" dirty="0"/>
              <a:t>e </a:t>
            </a:r>
            <a:r>
              <a:rPr lang="pt-BR" sz="2400" dirty="0" smtClean="0"/>
              <a:t>Empresa)</a:t>
            </a:r>
          </a:p>
          <a:p>
            <a:pPr>
              <a:buFont typeface="Wingdings" pitchFamily="2" charset="2"/>
              <a:buChar char="ü"/>
              <a:defRPr/>
            </a:pPr>
            <a:endParaRPr lang="pt-BR" sz="1050" dirty="0"/>
          </a:p>
          <a:p>
            <a:pPr>
              <a:buFont typeface="Wingdings" pitchFamily="2" charset="2"/>
              <a:buChar char="ü"/>
            </a:pPr>
            <a:r>
              <a:rPr lang="pt-BR" sz="2400" dirty="0" smtClean="0"/>
              <a:t>Duração: </a:t>
            </a:r>
            <a:r>
              <a:rPr lang="pt-BR" sz="2400" b="1" dirty="0" smtClean="0">
                <a:solidFill>
                  <a:srgbClr val="C00000"/>
                </a:solidFill>
              </a:rPr>
              <a:t>18 meses </a:t>
            </a:r>
            <a:r>
              <a:rPr lang="pt-BR" sz="2400" dirty="0" smtClean="0"/>
              <a:t>– final em Julho de 2013.</a:t>
            </a:r>
            <a:endParaRPr lang="pt-BR" sz="2400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1588" y="-5682"/>
            <a:ext cx="9144000" cy="765175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1422" tIns="45711" rIns="91422" bIns="45711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t-BR" sz="3600" b="1" dirty="0" smtClean="0">
                <a:solidFill>
                  <a:srgbClr val="FFFFFF"/>
                </a:solidFill>
                <a:latin typeface="Calibri" pitchFamily="34" charset="0"/>
              </a:rPr>
              <a:t>EMBRAPII:  </a:t>
            </a:r>
            <a:r>
              <a:rPr lang="pt-BR" sz="3600" dirty="0" smtClean="0">
                <a:solidFill>
                  <a:srgbClr val="FFFFFF"/>
                </a:solidFill>
                <a:latin typeface="Calibri" pitchFamily="34" charset="0"/>
              </a:rPr>
              <a:t>O Projeto Piloto</a:t>
            </a:r>
            <a:endParaRPr lang="pt-BR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1628800"/>
            <a:ext cx="2268252" cy="3024336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647564" y="5192032"/>
            <a:ext cx="817290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000" b="1" dirty="0" smtClean="0">
                <a:solidFill>
                  <a:prstClr val="black"/>
                </a:solidFill>
                <a:latin typeface="Calibri"/>
              </a:rPr>
              <a:t>Recursos: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pt-BR" sz="2000" dirty="0" smtClean="0">
                <a:solidFill>
                  <a:prstClr val="black"/>
                </a:solidFill>
                <a:latin typeface="Calibri"/>
              </a:rPr>
              <a:t>Acordo </a:t>
            </a:r>
            <a:r>
              <a:rPr lang="pt-BR" sz="2000" dirty="0">
                <a:solidFill>
                  <a:prstClr val="black"/>
                </a:solidFill>
                <a:latin typeface="Calibri"/>
              </a:rPr>
              <a:t>de Cooperação entre Finep e CNI, no valor de R$90,0 </a:t>
            </a:r>
            <a:r>
              <a:rPr lang="pt-BR" sz="2000" dirty="0" smtClean="0">
                <a:solidFill>
                  <a:prstClr val="black"/>
                </a:solidFill>
                <a:latin typeface="Calibri"/>
              </a:rPr>
              <a:t>milhões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pt-BR" sz="2000" dirty="0" smtClean="0">
                <a:solidFill>
                  <a:prstClr val="black"/>
                </a:solidFill>
                <a:latin typeface="Calibri"/>
              </a:rPr>
              <a:t>Em </a:t>
            </a:r>
            <a:r>
              <a:rPr lang="pt-BR" sz="2000" dirty="0">
                <a:solidFill>
                  <a:prstClr val="black"/>
                </a:solidFill>
                <a:latin typeface="Calibri"/>
              </a:rPr>
              <a:t>dezembro de </a:t>
            </a:r>
            <a:r>
              <a:rPr lang="pt-BR" sz="2000" dirty="0" smtClean="0">
                <a:solidFill>
                  <a:prstClr val="black"/>
                </a:solidFill>
                <a:latin typeface="Calibri"/>
              </a:rPr>
              <a:t>2011 desembolso de </a:t>
            </a:r>
            <a:r>
              <a:rPr lang="pt-BR" sz="2000" dirty="0">
                <a:solidFill>
                  <a:prstClr val="black"/>
                </a:solidFill>
                <a:latin typeface="Calibri"/>
              </a:rPr>
              <a:t>R$15,0 </a:t>
            </a:r>
            <a:r>
              <a:rPr lang="pt-BR" sz="2000" dirty="0" smtClean="0">
                <a:solidFill>
                  <a:prstClr val="black"/>
                </a:solidFill>
                <a:latin typeface="Calibri"/>
              </a:rPr>
              <a:t>milhões para a CNI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pt-BR" sz="2000" dirty="0" smtClean="0">
                <a:solidFill>
                  <a:prstClr val="black"/>
                </a:solidFill>
                <a:latin typeface="Calibri"/>
              </a:rPr>
              <a:t>Desembolso pela CNI de R$3,0 </a:t>
            </a:r>
            <a:r>
              <a:rPr lang="pt-BR" sz="2000" dirty="0">
                <a:solidFill>
                  <a:prstClr val="black"/>
                </a:solidFill>
                <a:latin typeface="Calibri"/>
              </a:rPr>
              <a:t>milhões para cada </a:t>
            </a:r>
            <a:r>
              <a:rPr lang="pt-BR" sz="2000" dirty="0" smtClean="0">
                <a:solidFill>
                  <a:prstClr val="black"/>
                </a:solidFill>
                <a:latin typeface="Calibri"/>
              </a:rPr>
              <a:t>participante.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endParaRPr lang="pt-BR" sz="20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89727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5"/>
          <p:cNvSpPr>
            <a:spLocks noChangeArrowheads="1"/>
          </p:cNvSpPr>
          <p:nvPr/>
        </p:nvSpPr>
        <p:spPr bwMode="auto">
          <a:xfrm>
            <a:off x="1588" y="-5682"/>
            <a:ext cx="9144000" cy="765175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1422" tIns="45711" rIns="91422" bIns="45711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t-BR" sz="3200" b="1" dirty="0" smtClean="0">
                <a:solidFill>
                  <a:srgbClr val="FFFFFF"/>
                </a:solidFill>
                <a:latin typeface="Calibri" pitchFamily="34" charset="0"/>
              </a:rPr>
              <a:t>EMBRAPII: E</a:t>
            </a:r>
            <a:r>
              <a:rPr lang="pt-BR" sz="3200" dirty="0" smtClean="0">
                <a:solidFill>
                  <a:srgbClr val="FFFFFF"/>
                </a:solidFill>
                <a:latin typeface="Calibri" pitchFamily="34" charset="0"/>
              </a:rPr>
              <a:t>scolha dos Institutos Pilotos</a:t>
            </a:r>
            <a:endParaRPr lang="pt-BR" sz="2000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7171" name="Grupo 15"/>
          <p:cNvGrpSpPr>
            <a:grpSpLocks/>
          </p:cNvGrpSpPr>
          <p:nvPr/>
        </p:nvGrpSpPr>
        <p:grpSpPr bwMode="auto">
          <a:xfrm>
            <a:off x="35496" y="1749437"/>
            <a:ext cx="9074590" cy="1485021"/>
            <a:chOff x="0" y="808948"/>
            <a:chExt cx="9144000" cy="1481021"/>
          </a:xfrm>
        </p:grpSpPr>
        <p:sp>
          <p:nvSpPr>
            <p:cNvPr id="11" name="Retângulo 10"/>
            <p:cNvSpPr/>
            <p:nvPr/>
          </p:nvSpPr>
          <p:spPr>
            <a:xfrm>
              <a:off x="0" y="808948"/>
              <a:ext cx="9144000" cy="1481021"/>
            </a:xfrm>
            <a:prstGeom prst="rect">
              <a:avLst/>
            </a:prstGeom>
            <a:ln w="38100"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altLang="ja-JP" sz="2800" b="1" kern="0" dirty="0">
                  <a:ln w="1905"/>
                  <a:solidFill>
                    <a:srgbClr val="00206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Instituto de Pesquisas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altLang="ja-JP" sz="2800" b="1" kern="0" dirty="0">
                  <a:ln w="1905"/>
                  <a:solidFill>
                    <a:srgbClr val="00206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Tecnológicas - IPT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b="1" kern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cs typeface="Arial" charset="0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pt-BR" b="1" kern="0" dirty="0" smtClean="0">
                  <a:ln w="1905"/>
                  <a:solidFill>
                    <a:srgbClr val="00206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 </a:t>
              </a:r>
              <a:r>
                <a:rPr lang="pt-BR" b="1" kern="0" dirty="0" err="1" smtClean="0">
                  <a:ln w="1905"/>
                  <a:solidFill>
                    <a:srgbClr val="80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Bionanotecnologia</a:t>
              </a:r>
              <a:endParaRPr lang="pt-BR" b="1" dirty="0">
                <a:ln w="1905"/>
                <a:solidFill>
                  <a:srgbClr val="8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</p:txBody>
        </p:sp>
        <p:pic>
          <p:nvPicPr>
            <p:cNvPr id="7179" name="Imagem 2" descr="nanocarreadores_orelha de porco.JP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6556" y="828183"/>
              <a:ext cx="4063400" cy="1461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172" name="Grupo 13"/>
          <p:cNvGrpSpPr>
            <a:grpSpLocks/>
          </p:cNvGrpSpPr>
          <p:nvPr/>
        </p:nvGrpSpPr>
        <p:grpSpPr bwMode="auto">
          <a:xfrm>
            <a:off x="0" y="3466599"/>
            <a:ext cx="9110086" cy="1546577"/>
            <a:chOff x="0" y="2708920"/>
            <a:chExt cx="9144000" cy="1547026"/>
          </a:xfrm>
        </p:grpSpPr>
        <p:sp>
          <p:nvSpPr>
            <p:cNvPr id="13" name="Retângulo 12"/>
            <p:cNvSpPr/>
            <p:nvPr/>
          </p:nvSpPr>
          <p:spPr>
            <a:xfrm>
              <a:off x="0" y="2708920"/>
              <a:ext cx="9144000" cy="1547026"/>
            </a:xfrm>
            <a:prstGeom prst="rect">
              <a:avLst/>
            </a:prstGeom>
            <a:ln w="38100"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altLang="ja-JP" sz="2800" b="1" kern="0" dirty="0">
                  <a:ln w="1905"/>
                  <a:solidFill>
                    <a:srgbClr val="00206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Instituto Nacional de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altLang="ja-JP" sz="2800" b="1" kern="0" dirty="0">
                  <a:ln w="1905"/>
                  <a:solidFill>
                    <a:srgbClr val="00206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Tecnologia - INT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b="1" kern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cs typeface="Arial" charset="0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pt-BR" sz="2800" b="1" kern="0" dirty="0" smtClean="0">
                  <a:ln w="1905"/>
                  <a:solidFill>
                    <a:srgbClr val="00206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 </a:t>
              </a:r>
              <a:r>
                <a:rPr lang="pt-BR" b="1" kern="0" dirty="0" smtClean="0">
                  <a:ln w="1905"/>
                  <a:solidFill>
                    <a:srgbClr val="80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Energia </a:t>
              </a:r>
              <a:r>
                <a:rPr lang="pt-BR" b="1" kern="0" dirty="0">
                  <a:ln w="1905"/>
                  <a:solidFill>
                    <a:srgbClr val="80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e Saúde</a:t>
              </a:r>
              <a:endParaRPr lang="pt-BR" b="1" dirty="0">
                <a:ln w="1905"/>
                <a:solidFill>
                  <a:srgbClr val="8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</p:txBody>
        </p:sp>
        <p:pic>
          <p:nvPicPr>
            <p:cNvPr id="7177" name="Imagem 3" descr="int2.jp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2677" y="2733569"/>
              <a:ext cx="4032448" cy="1500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173" name="Grupo 11"/>
          <p:cNvGrpSpPr>
            <a:grpSpLocks/>
          </p:cNvGrpSpPr>
          <p:nvPr/>
        </p:nvGrpSpPr>
        <p:grpSpPr bwMode="auto">
          <a:xfrm>
            <a:off x="0" y="5207421"/>
            <a:ext cx="9110086" cy="1428533"/>
            <a:chOff x="0" y="4797151"/>
            <a:chExt cx="9144000" cy="1428562"/>
          </a:xfrm>
        </p:grpSpPr>
        <p:sp>
          <p:nvSpPr>
            <p:cNvPr id="15" name="Retângulo 14"/>
            <p:cNvSpPr/>
            <p:nvPr/>
          </p:nvSpPr>
          <p:spPr>
            <a:xfrm>
              <a:off x="0" y="4797151"/>
              <a:ext cx="9144000" cy="1395155"/>
            </a:xfrm>
            <a:prstGeom prst="rect">
              <a:avLst/>
            </a:prstGeom>
            <a:ln w="38100"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altLang="ja-JP" sz="2800" b="1" kern="0" dirty="0" err="1">
                  <a:ln w="1905"/>
                  <a:solidFill>
                    <a:srgbClr val="00206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Cimatec</a:t>
              </a:r>
              <a:r>
                <a:rPr lang="pt-BR" altLang="ja-JP" sz="2800" b="1" kern="0" dirty="0">
                  <a:ln w="1905"/>
                  <a:solidFill>
                    <a:srgbClr val="00206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cs typeface="Arial" charset="0"/>
                </a:rPr>
                <a:t>/SENAI</a:t>
              </a:r>
            </a:p>
            <a:p>
              <a:pPr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pt-BR" sz="2800" b="1" kern="0" dirty="0" smtClean="0">
                  <a:ln w="1905"/>
                  <a:solidFill>
                    <a:srgbClr val="00206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ea typeface="ＭＳ Ｐゴシック" pitchFamily="34" charset="-128"/>
                  <a:cs typeface="Arial" charset="0"/>
                </a:rPr>
                <a:t> </a:t>
              </a:r>
              <a:r>
                <a:rPr lang="pt-BR" b="1" kern="0" dirty="0" smtClean="0">
                  <a:ln w="1905"/>
                  <a:solidFill>
                    <a:srgbClr val="80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ea typeface="ＭＳ Ｐゴシック" pitchFamily="34" charset="-128"/>
                  <a:cs typeface="Arial" charset="0"/>
                </a:rPr>
                <a:t>Automação </a:t>
              </a:r>
              <a:r>
                <a:rPr lang="pt-BR" b="1" kern="0" dirty="0">
                  <a:ln w="1905"/>
                  <a:solidFill>
                    <a:srgbClr val="80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ea typeface="ＭＳ Ｐゴシック" pitchFamily="34" charset="-128"/>
                  <a:cs typeface="Arial" charset="0"/>
                </a:rPr>
                <a:t>e </a:t>
              </a:r>
              <a:r>
                <a:rPr lang="pt-BR" b="1" kern="0" dirty="0" smtClean="0">
                  <a:ln w="1905"/>
                  <a:solidFill>
                    <a:srgbClr val="80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ea typeface="ＭＳ Ｐゴシック" pitchFamily="34" charset="-128"/>
                  <a:cs typeface="Arial" charset="0"/>
                </a:rPr>
                <a:t>Manufatura</a:t>
              </a:r>
              <a:endParaRPr lang="pt-BR" b="1" dirty="0">
                <a:ln w="1905"/>
                <a:solidFill>
                  <a:srgbClr val="8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ＭＳ Ｐゴシック" pitchFamily="34" charset="-128"/>
              </a:endParaRPr>
            </a:p>
          </p:txBody>
        </p:sp>
        <p:pic>
          <p:nvPicPr>
            <p:cNvPr id="7175" name="Picture 2" descr="http://www.aticenter.com.br/mestradomcti/mcti/uploads/Main/cimatec_v1e.png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2677" y="4835477"/>
              <a:ext cx="4047568" cy="1390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CaixaDeTexto 2"/>
          <p:cNvSpPr txBox="1"/>
          <p:nvPr/>
        </p:nvSpPr>
        <p:spPr>
          <a:xfrm>
            <a:off x="179512" y="868650"/>
            <a:ext cx="87772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000" b="1" dirty="0" smtClean="0">
                <a:solidFill>
                  <a:srgbClr val="1F497D"/>
                </a:solidFill>
                <a:latin typeface="Calibri"/>
              </a:rPr>
              <a:t>Instituições com </a:t>
            </a:r>
            <a:r>
              <a:rPr lang="pt-BR" sz="2000" b="1" i="1" dirty="0" err="1" smtClean="0">
                <a:solidFill>
                  <a:srgbClr val="1F497D"/>
                </a:solidFill>
                <a:latin typeface="Calibri"/>
              </a:rPr>
              <a:t>Know</a:t>
            </a:r>
            <a:r>
              <a:rPr lang="pt-BR" sz="2000" b="1" i="1" dirty="0" smtClean="0">
                <a:solidFill>
                  <a:srgbClr val="1F497D"/>
                </a:solidFill>
                <a:latin typeface="Calibri"/>
              </a:rPr>
              <a:t> </a:t>
            </a:r>
            <a:r>
              <a:rPr lang="pt-BR" sz="2000" b="1" i="1" dirty="0" err="1" smtClean="0">
                <a:solidFill>
                  <a:srgbClr val="1F497D"/>
                </a:solidFill>
                <a:latin typeface="Calibri"/>
              </a:rPr>
              <a:t>how</a:t>
            </a:r>
            <a:r>
              <a:rPr lang="pt-BR" sz="2000" b="1" i="1" dirty="0" smtClean="0">
                <a:solidFill>
                  <a:srgbClr val="1F497D"/>
                </a:solidFill>
                <a:latin typeface="Calibri"/>
              </a:rPr>
              <a:t> </a:t>
            </a:r>
            <a:r>
              <a:rPr lang="pt-BR" sz="2000" b="1" dirty="0" smtClean="0">
                <a:solidFill>
                  <a:srgbClr val="1F497D"/>
                </a:solidFill>
                <a:latin typeface="Calibri"/>
              </a:rPr>
              <a:t>e</a:t>
            </a:r>
            <a:r>
              <a:rPr lang="pt-BR" sz="2000" b="1" i="1" dirty="0" smtClean="0">
                <a:solidFill>
                  <a:srgbClr val="1F497D"/>
                </a:solidFill>
                <a:latin typeface="Calibri"/>
              </a:rPr>
              <a:t> </a:t>
            </a:r>
            <a:r>
              <a:rPr lang="pt-BR" sz="2000" b="1" dirty="0" smtClean="0">
                <a:solidFill>
                  <a:srgbClr val="1F497D"/>
                </a:solidFill>
                <a:latin typeface="Calibri"/>
              </a:rPr>
              <a:t>atuação nas áreas de interesse do Governo Federal.</a:t>
            </a:r>
          </a:p>
        </p:txBody>
      </p:sp>
      <p:sp>
        <p:nvSpPr>
          <p:cNvPr id="6" name="Seta para baixo 5"/>
          <p:cNvSpPr/>
          <p:nvPr/>
        </p:nvSpPr>
        <p:spPr>
          <a:xfrm>
            <a:off x="539552" y="1268760"/>
            <a:ext cx="864096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317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050" name="Rectangle 2"/>
          <p:cNvSpPr>
            <a:spLocks noChangeArrowheads="1"/>
          </p:cNvSpPr>
          <p:nvPr/>
        </p:nvSpPr>
        <p:spPr bwMode="auto">
          <a:xfrm>
            <a:off x="1" y="42860"/>
            <a:ext cx="9066212" cy="814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r>
              <a:rPr lang="pt-BR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itchFamily="34" charset="0"/>
              </a:rPr>
              <a:t>PNI - Programa Nacional de Apoio às</a:t>
            </a:r>
          </a:p>
          <a:p>
            <a:pPr algn="ctr" eaLnBrk="1" hangingPunct="1"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r>
              <a:rPr lang="pt-BR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itchFamily="34" charset="0"/>
              </a:rPr>
              <a:t>Incubadoras e aos Parques Tecnológicos  </a:t>
            </a:r>
          </a:p>
        </p:txBody>
      </p:sp>
      <p:pic>
        <p:nvPicPr>
          <p:cNvPr id="20" name="Picture 9" descr="Untitled-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27966" y="5465762"/>
            <a:ext cx="9185202" cy="1635646"/>
          </a:xfrm>
          <a:prstGeom prst="rect">
            <a:avLst/>
          </a:prstGeom>
          <a:noFill/>
        </p:spPr>
      </p:pic>
      <p:sp>
        <p:nvSpPr>
          <p:cNvPr id="11" name="AutoShape 20"/>
          <p:cNvSpPr>
            <a:spLocks noChangeArrowheads="1"/>
          </p:cNvSpPr>
          <p:nvPr/>
        </p:nvSpPr>
        <p:spPr bwMode="auto">
          <a:xfrm>
            <a:off x="5811482" y="865659"/>
            <a:ext cx="3224568" cy="1872208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800" b="1" kern="0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itchFamily="34" charset="0"/>
              </a:rPr>
              <a:t>PARQUE TECNOLÓGICO</a:t>
            </a: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Complexo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de desenvolvimento econômico e 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tecnológico,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que promove sinergia nas atividades de inovação entre empresas e ICT, com forte apoio dos governos federal, estadual, municipal, comunidade local e setor privado.</a:t>
            </a:r>
          </a:p>
        </p:txBody>
      </p:sp>
      <p:sp>
        <p:nvSpPr>
          <p:cNvPr id="12" name="AutoShape 20"/>
          <p:cNvSpPr>
            <a:spLocks noChangeArrowheads="1"/>
          </p:cNvSpPr>
          <p:nvPr/>
        </p:nvSpPr>
        <p:spPr bwMode="auto">
          <a:xfrm>
            <a:off x="2128556" y="867245"/>
            <a:ext cx="3523564" cy="1870621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800" b="1" kern="0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itchFamily="34" charset="0"/>
              </a:rPr>
              <a:t>INCUBADORA  DE EMPRESAS</a:t>
            </a: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endParaRPr lang="pt-BR" sz="1800" b="1" kern="0" dirty="0" smtClean="0">
              <a:solidFill>
                <a:srgbClr val="006600"/>
              </a:solidFill>
              <a:latin typeface="Corbel" pitchFamily="34" charset="0"/>
            </a:endParaRP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Apoio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ao empreendedorismo intensivo em conhecimento, que facilita a implantação de novas empresas cuja principal estratégia de negócios é a inovação tecnológica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.</a:t>
            </a:r>
            <a:endParaRPr lang="pt-BR" sz="1600" kern="0" dirty="0">
              <a:solidFill>
                <a:srgbClr val="006600"/>
              </a:solidFill>
              <a:latin typeface="Corbe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/>
        </p:nvSpPr>
        <p:spPr bwMode="auto">
          <a:xfrm>
            <a:off x="2123728" y="2838029"/>
            <a:ext cx="3523565" cy="2058492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 </a:t>
            </a:r>
            <a:r>
              <a:rPr lang="pt-BR" sz="1600" b="1" kern="0" dirty="0" smtClean="0">
                <a:solidFill>
                  <a:srgbClr val="006600"/>
                </a:solidFill>
                <a:latin typeface="Corbel" pitchFamily="34" charset="0"/>
              </a:rPr>
              <a:t>384 Incubadoras </a:t>
            </a:r>
            <a:r>
              <a:rPr lang="pt-BR" sz="1600" b="1" kern="0" dirty="0">
                <a:solidFill>
                  <a:srgbClr val="006600"/>
                </a:solidFill>
                <a:latin typeface="Corbel" pitchFamily="34" charset="0"/>
              </a:rPr>
              <a:t>de </a:t>
            </a:r>
            <a:r>
              <a:rPr lang="pt-BR" sz="1600" b="1" kern="0" dirty="0" smtClean="0">
                <a:solidFill>
                  <a:srgbClr val="006600"/>
                </a:solidFill>
                <a:latin typeface="Corbel" pitchFamily="34" charset="0"/>
              </a:rPr>
              <a:t>empresas</a:t>
            </a:r>
          </a:p>
          <a:p>
            <a:pPr eaLnBrk="1" fontAlgn="auto" hangingPunct="1"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 Empresas Incubadas / Graduadas:   2.640 / 2.510</a:t>
            </a:r>
          </a:p>
          <a:p>
            <a:pPr eaLnBrk="1" fontAlgn="auto" hangingPunct="1"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 Empregos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geradas nas empresas 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  incubadas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/ Graduadas: 16.390 / 29.900</a:t>
            </a:r>
          </a:p>
          <a:p>
            <a:pPr eaLnBrk="1" fontAlgn="auto" hangingPunct="1"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 Faturamento  nas empresas Incubadas / Graduadas): R$533milhões / R$4,1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bilhão</a:t>
            </a:r>
          </a:p>
          <a:p>
            <a:pPr algn="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200" i="1" kern="0" dirty="0" smtClean="0">
                <a:solidFill>
                  <a:srgbClr val="006600"/>
                </a:solidFill>
                <a:latin typeface="Corbel" pitchFamily="34" charset="0"/>
              </a:rPr>
              <a:t>FONTE</a:t>
            </a:r>
            <a:r>
              <a:rPr lang="pt-BR" sz="1200" i="1" kern="0" dirty="0">
                <a:solidFill>
                  <a:srgbClr val="006600"/>
                </a:solidFill>
                <a:latin typeface="Corbel" pitchFamily="34" charset="0"/>
              </a:rPr>
              <a:t>: ANPROTEC</a:t>
            </a:r>
          </a:p>
        </p:txBody>
      </p:sp>
      <p:sp>
        <p:nvSpPr>
          <p:cNvPr id="14" name="AutoShape 20"/>
          <p:cNvSpPr>
            <a:spLocks noChangeArrowheads="1"/>
          </p:cNvSpPr>
          <p:nvPr/>
        </p:nvSpPr>
        <p:spPr bwMode="auto">
          <a:xfrm>
            <a:off x="5791879" y="2839616"/>
            <a:ext cx="3274269" cy="2058491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 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  </a:t>
            </a:r>
            <a:r>
              <a:rPr lang="pt-BR" sz="1600" b="1" kern="0" dirty="0" smtClean="0">
                <a:solidFill>
                  <a:srgbClr val="006600"/>
                </a:solidFill>
                <a:latin typeface="Corbel" pitchFamily="34" charset="0"/>
              </a:rPr>
              <a:t>79  Iniciativas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em todas as regiões do 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país, sendo: </a:t>
            </a:r>
            <a:endParaRPr lang="pt-BR" sz="1600" kern="0" dirty="0">
              <a:solidFill>
                <a:srgbClr val="006600"/>
              </a:solidFill>
              <a:latin typeface="Corbel" pitchFamily="34" charset="0"/>
            </a:endParaRPr>
          </a:p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endParaRPr lang="pt-BR" sz="1600" kern="0" dirty="0">
              <a:solidFill>
                <a:srgbClr val="006600"/>
              </a:solidFill>
              <a:latin typeface="Corbel" pitchFamily="34" charset="0"/>
            </a:endParaRPr>
          </a:p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    - 26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em 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Operação;</a:t>
            </a:r>
            <a:endParaRPr lang="pt-BR" sz="1600" kern="0" dirty="0">
              <a:solidFill>
                <a:srgbClr val="006600"/>
              </a:solidFill>
              <a:latin typeface="Corbel" pitchFamily="34" charset="0"/>
            </a:endParaRPr>
          </a:p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endParaRPr lang="pt-BR" sz="1600" kern="0" dirty="0">
              <a:solidFill>
                <a:srgbClr val="006600"/>
              </a:solidFill>
              <a:latin typeface="Corbel" pitchFamily="34" charset="0"/>
            </a:endParaRPr>
          </a:p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    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- 19 em Processo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de 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Implantação;</a:t>
            </a:r>
            <a:endParaRPr lang="pt-BR" sz="1600" kern="0" dirty="0">
              <a:solidFill>
                <a:srgbClr val="006600"/>
              </a:solidFill>
              <a:latin typeface="Corbel" pitchFamily="34" charset="0"/>
            </a:endParaRPr>
          </a:p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     </a:t>
            </a:r>
          </a:p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 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   - 34 em Fase </a:t>
            </a:r>
            <a:r>
              <a:rPr lang="pt-BR" sz="1600" kern="0" dirty="0">
                <a:solidFill>
                  <a:srgbClr val="006600"/>
                </a:solidFill>
                <a:latin typeface="Corbel" pitchFamily="34" charset="0"/>
              </a:rPr>
              <a:t>de </a:t>
            </a:r>
            <a:r>
              <a:rPr lang="pt-BR" sz="1600" kern="0" dirty="0" smtClean="0">
                <a:solidFill>
                  <a:srgbClr val="006600"/>
                </a:solidFill>
                <a:latin typeface="Corbel" pitchFamily="34" charset="0"/>
              </a:rPr>
              <a:t>Projeto.</a:t>
            </a:r>
            <a:endParaRPr lang="pt-BR" sz="1600" kern="0" dirty="0">
              <a:solidFill>
                <a:srgbClr val="006600"/>
              </a:solidFill>
              <a:latin typeface="Corbel" pitchFamily="34" charset="0"/>
            </a:endParaRPr>
          </a:p>
        </p:txBody>
      </p:sp>
      <p:sp>
        <p:nvSpPr>
          <p:cNvPr id="15" name="AutoShape 20"/>
          <p:cNvSpPr>
            <a:spLocks noChangeArrowheads="1"/>
          </p:cNvSpPr>
          <p:nvPr/>
        </p:nvSpPr>
        <p:spPr bwMode="auto">
          <a:xfrm>
            <a:off x="2120618" y="5034187"/>
            <a:ext cx="3523565" cy="822354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sz="1800" b="1" kern="0" dirty="0" smtClean="0">
                <a:solidFill>
                  <a:srgbClr val="006600"/>
                </a:solidFill>
                <a:latin typeface="Corbel" pitchFamily="34" charset="0"/>
              </a:rPr>
              <a:t>R$ 7,5 milhões</a:t>
            </a:r>
            <a:endParaRPr lang="pt-BR" sz="1800" b="1" kern="0" dirty="0">
              <a:solidFill>
                <a:srgbClr val="006600"/>
              </a:solidFill>
              <a:latin typeface="Corbel" pitchFamily="34" charset="0"/>
            </a:endParaRPr>
          </a:p>
        </p:txBody>
      </p:sp>
      <p:sp>
        <p:nvSpPr>
          <p:cNvPr id="16" name="AutoShape 20"/>
          <p:cNvSpPr>
            <a:spLocks noChangeArrowheads="1"/>
          </p:cNvSpPr>
          <p:nvPr/>
        </p:nvSpPr>
        <p:spPr bwMode="auto">
          <a:xfrm>
            <a:off x="5787182" y="5042124"/>
            <a:ext cx="3274268" cy="822354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sz="1800" b="1" kern="0" dirty="0" smtClean="0">
                <a:solidFill>
                  <a:srgbClr val="006600"/>
                </a:solidFill>
                <a:latin typeface="Corbel" pitchFamily="34" charset="0"/>
              </a:rPr>
              <a:t>R$ 12,0 milhões</a:t>
            </a:r>
            <a:endParaRPr lang="pt-BR" sz="1800" b="1" kern="0" dirty="0">
              <a:solidFill>
                <a:srgbClr val="006600"/>
              </a:solidFill>
              <a:latin typeface="Corbel" pitchFamily="34" charset="0"/>
            </a:endParaRPr>
          </a:p>
        </p:txBody>
      </p:sp>
      <p:sp>
        <p:nvSpPr>
          <p:cNvPr id="17" name="AutoShape 20"/>
          <p:cNvSpPr>
            <a:spLocks noChangeArrowheads="1"/>
          </p:cNvSpPr>
          <p:nvPr/>
        </p:nvSpPr>
        <p:spPr bwMode="auto">
          <a:xfrm>
            <a:off x="251520" y="865659"/>
            <a:ext cx="1728192" cy="1872208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pt-BR" sz="1800" b="1" kern="0" dirty="0" smtClean="0">
                <a:solidFill>
                  <a:srgbClr val="006600"/>
                </a:solidFill>
                <a:latin typeface="Corbel" pitchFamily="34" charset="0"/>
              </a:rPr>
              <a:t>O QUE É</a:t>
            </a:r>
            <a:endParaRPr lang="pt-BR" sz="1800" b="1" kern="0" dirty="0">
              <a:solidFill>
                <a:srgbClr val="006600"/>
              </a:solidFill>
              <a:latin typeface="Corbel" pitchFamily="34" charset="0"/>
            </a:endParaRPr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auto">
          <a:xfrm>
            <a:off x="251520" y="2839616"/>
            <a:ext cx="1754829" cy="2058491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sz="1800" b="1" kern="0" dirty="0" smtClean="0">
                <a:solidFill>
                  <a:srgbClr val="006600"/>
                </a:solidFill>
                <a:latin typeface="Corbel" pitchFamily="34" charset="0"/>
              </a:rPr>
              <a:t>SITUAÇÃO ATUAL</a:t>
            </a:r>
            <a:endParaRPr lang="pt-BR" sz="1800" b="1" kern="0" dirty="0">
              <a:solidFill>
                <a:srgbClr val="006600"/>
              </a:solidFill>
              <a:latin typeface="Corbel" pitchFamily="34" charset="0"/>
            </a:endParaRPr>
          </a:p>
        </p:txBody>
      </p:sp>
      <p:sp>
        <p:nvSpPr>
          <p:cNvPr id="19" name="AutoShape 20"/>
          <p:cNvSpPr>
            <a:spLocks noChangeArrowheads="1"/>
          </p:cNvSpPr>
          <p:nvPr/>
        </p:nvSpPr>
        <p:spPr bwMode="auto">
          <a:xfrm>
            <a:off x="246823" y="5042124"/>
            <a:ext cx="1754828" cy="822354"/>
          </a:xfrm>
          <a:prstGeom prst="roundRect">
            <a:avLst>
              <a:gd name="adj" fmla="val 5583"/>
            </a:avLst>
          </a:prstGeom>
          <a:solidFill>
            <a:sysClr val="window" lastClr="FFFFFF">
              <a:alpha val="50195"/>
            </a:sysClr>
          </a:solidFill>
          <a:ln w="22225" algn="ctr">
            <a:solidFill>
              <a:srgbClr val="0066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pt-BR" sz="1700" b="1" kern="0" dirty="0" smtClean="0">
                <a:solidFill>
                  <a:srgbClr val="006600"/>
                </a:solidFill>
                <a:latin typeface="Corbel" pitchFamily="34" charset="0"/>
              </a:rPr>
              <a:t>INVESTIMENTOS</a:t>
            </a:r>
            <a:r>
              <a:rPr lang="pt-BR" sz="1800" b="1" kern="0" dirty="0" smtClean="0">
                <a:solidFill>
                  <a:srgbClr val="006600"/>
                </a:solidFill>
                <a:latin typeface="Corbel" pitchFamily="34" charset="0"/>
              </a:rPr>
              <a:t> (2011/2012)</a:t>
            </a:r>
            <a:endParaRPr lang="pt-BR" sz="1800" b="1" kern="0" dirty="0">
              <a:solidFill>
                <a:srgbClr val="006600"/>
              </a:solidFill>
              <a:latin typeface="Corbe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8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35496" y="62716"/>
            <a:ext cx="91085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pt-BR" sz="2000" dirty="0" smtClean="0">
                <a:solidFill>
                  <a:prstClr val="black"/>
                </a:solidFill>
                <a:latin typeface="Arial" pitchFamily="34" charset="0"/>
              </a:rPr>
              <a:t>LOCALIZAÇÃO DOS PARQUES E INCUBADORAS</a:t>
            </a:r>
            <a:endParaRPr lang="pt-BR" sz="2000" dirty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5451"/>
            <a:ext cx="9144000" cy="6302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tângulo 2"/>
          <p:cNvSpPr/>
          <p:nvPr/>
        </p:nvSpPr>
        <p:spPr>
          <a:xfrm>
            <a:off x="4283968" y="576064"/>
            <a:ext cx="4491413" cy="2606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BR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419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971600" y="908720"/>
            <a:ext cx="7128792" cy="7078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4000" b="1" dirty="0" smtClean="0">
                <a:solidFill>
                  <a:prstClr val="black"/>
                </a:solidFill>
                <a:latin typeface="Calibri"/>
              </a:rPr>
              <a:t>INCENTIVOS TECNOLÓGICOS</a:t>
            </a:r>
            <a:endParaRPr lang="pt-BR" sz="40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267744" y="2298352"/>
            <a:ext cx="4569071" cy="3647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Incentivos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Fiscais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(Lei do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Bem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Subvenção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Econômica</a:t>
            </a:r>
            <a:endParaRPr lang="en-US" sz="2200" b="1" dirty="0">
              <a:solidFill>
                <a:srgbClr val="002060"/>
              </a:solidFill>
              <a:latin typeface="Calibri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RH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Qualificados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(RHAE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Crédito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(c/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tx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de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juros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qualificadas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Compras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Governamentais</a:t>
            </a:r>
            <a:endParaRPr lang="en-US" sz="2200" b="1" dirty="0">
              <a:solidFill>
                <a:srgbClr val="002060"/>
              </a:solidFill>
              <a:latin typeface="Calibri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Fundos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de Capital de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Risco</a:t>
            </a:r>
            <a:endParaRPr lang="en-US" sz="2200" b="1" dirty="0" smtClean="0">
              <a:solidFill>
                <a:srgbClr val="002060"/>
              </a:solidFill>
              <a:latin typeface="Calibri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Ciência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Sem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</a:t>
            </a:r>
            <a:r>
              <a:rPr lang="en-US" sz="2200" b="1" dirty="0" err="1" smtClean="0">
                <a:solidFill>
                  <a:srgbClr val="002060"/>
                </a:solidFill>
                <a:latin typeface="Calibri"/>
              </a:rPr>
              <a:t>Fronteiras</a:t>
            </a:r>
            <a:r>
              <a:rPr lang="en-US" sz="2200" b="1" dirty="0" smtClean="0">
                <a:solidFill>
                  <a:srgbClr val="002060"/>
                </a:solidFill>
                <a:latin typeface="Calibri"/>
              </a:rPr>
              <a:t> </a:t>
            </a:r>
            <a:endParaRPr lang="en-US" sz="2200" b="1" dirty="0">
              <a:solidFill>
                <a:srgbClr val="00206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40445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-5448" y="6557979"/>
            <a:ext cx="472156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00" b="1" dirty="0">
                <a:solidFill>
                  <a:srgbClr val="000066"/>
                </a:solidFill>
                <a:latin typeface="Corbel" pitchFamily="34" charset="0"/>
              </a:rPr>
              <a:t>Fonte</a:t>
            </a:r>
            <a:r>
              <a:rPr lang="pt-BR" sz="1100" b="1" dirty="0" smtClean="0">
                <a:solidFill>
                  <a:srgbClr val="000066"/>
                </a:solidFill>
                <a:latin typeface="Corbel" pitchFamily="34" charset="0"/>
              </a:rPr>
              <a:t>: BNDES</a:t>
            </a:r>
            <a:r>
              <a:rPr lang="pt-BR" sz="1100" b="1" dirty="0">
                <a:solidFill>
                  <a:srgbClr val="000066"/>
                </a:solidFill>
                <a:latin typeface="Corbel" pitchFamily="34" charset="0"/>
              </a:rPr>
              <a:t>, Visão de Desenvolvimento, nº 36, 2007</a:t>
            </a: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395536" y="720431"/>
            <a:ext cx="8340725" cy="1052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2" tIns="45680" rIns="91352" bIns="45680"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600" b="1" dirty="0" smtClean="0">
                <a:solidFill>
                  <a:srgbClr val="C00000"/>
                </a:solidFill>
                <a:latin typeface="Corbel" pitchFamily="34" charset="0"/>
                <a:ea typeface="Arial Unicode MS" pitchFamily="34" charset="-128"/>
                <a:cs typeface="Arial Unicode MS" pitchFamily="34" charset="-128"/>
              </a:rPr>
              <a:t>Participação (%) dos setores intensivos em recursos naturais na exportação dos países, 2005 </a:t>
            </a:r>
          </a:p>
        </p:txBody>
      </p:sp>
      <p:grpSp>
        <p:nvGrpSpPr>
          <p:cNvPr id="185" name="Grupo 184"/>
          <p:cNvGrpSpPr/>
          <p:nvPr/>
        </p:nvGrpSpPr>
        <p:grpSpPr>
          <a:xfrm>
            <a:off x="0" y="1937089"/>
            <a:ext cx="9144000" cy="4300223"/>
            <a:chOff x="0" y="1721065"/>
            <a:chExt cx="9144000" cy="4300223"/>
          </a:xfrm>
        </p:grpSpPr>
        <p:graphicFrame>
          <p:nvGraphicFramePr>
            <p:cNvPr id="7" name="Gráfico 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41436235"/>
                </p:ext>
              </p:extLst>
            </p:nvPr>
          </p:nvGraphicFramePr>
          <p:xfrm>
            <a:off x="0" y="1721065"/>
            <a:ext cx="9144000" cy="364227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pSp>
          <p:nvGrpSpPr>
            <p:cNvPr id="183" name="Grupo 182"/>
            <p:cNvGrpSpPr/>
            <p:nvPr/>
          </p:nvGrpSpPr>
          <p:grpSpPr>
            <a:xfrm>
              <a:off x="854696" y="2229660"/>
              <a:ext cx="8038957" cy="2654339"/>
              <a:chOff x="854696" y="2229660"/>
              <a:chExt cx="8038957" cy="2654339"/>
            </a:xfrm>
          </p:grpSpPr>
          <p:grpSp>
            <p:nvGrpSpPr>
              <p:cNvPr id="3" name="Grupo 2"/>
              <p:cNvGrpSpPr/>
              <p:nvPr/>
            </p:nvGrpSpPr>
            <p:grpSpPr>
              <a:xfrm>
                <a:off x="854696" y="4535258"/>
                <a:ext cx="504000" cy="324000"/>
                <a:chOff x="0" y="4113080"/>
                <a:chExt cx="324000" cy="316632"/>
              </a:xfrm>
            </p:grpSpPr>
            <p:sp>
              <p:nvSpPr>
                <p:cNvPr id="18" name="Retângulo 17"/>
                <p:cNvSpPr/>
                <p:nvPr/>
              </p:nvSpPr>
              <p:spPr>
                <a:xfrm>
                  <a:off x="0" y="4411712"/>
                  <a:ext cx="324000" cy="18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9" name="Retângulo 18"/>
                <p:cNvSpPr/>
                <p:nvPr/>
              </p:nvSpPr>
              <p:spPr>
                <a:xfrm>
                  <a:off x="0" y="4396854"/>
                  <a:ext cx="324000" cy="108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0" name="Retângulo 39"/>
                <p:cNvSpPr/>
                <p:nvPr/>
              </p:nvSpPr>
              <p:spPr>
                <a:xfrm>
                  <a:off x="0" y="4324514"/>
                  <a:ext cx="324000" cy="648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1" name="Retângulo 40"/>
                <p:cNvSpPr/>
                <p:nvPr/>
              </p:nvSpPr>
              <p:spPr>
                <a:xfrm>
                  <a:off x="0" y="4250862"/>
                  <a:ext cx="324000" cy="648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2" name="Retângulo 61"/>
                <p:cNvSpPr/>
                <p:nvPr/>
              </p:nvSpPr>
              <p:spPr>
                <a:xfrm>
                  <a:off x="0" y="4179588"/>
                  <a:ext cx="324000" cy="612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0" name="Retângulo 79"/>
                <p:cNvSpPr/>
                <p:nvPr/>
              </p:nvSpPr>
              <p:spPr>
                <a:xfrm>
                  <a:off x="0" y="4113080"/>
                  <a:ext cx="324000" cy="612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81" name="Grupo 80"/>
              <p:cNvGrpSpPr/>
              <p:nvPr/>
            </p:nvGrpSpPr>
            <p:grpSpPr>
              <a:xfrm>
                <a:off x="1603393" y="4320671"/>
                <a:ext cx="504000" cy="554400"/>
                <a:chOff x="0" y="3891556"/>
                <a:chExt cx="324000" cy="539206"/>
              </a:xfrm>
            </p:grpSpPr>
            <p:sp>
              <p:nvSpPr>
                <p:cNvPr id="82" name="Retângulo 81"/>
                <p:cNvSpPr/>
                <p:nvPr/>
              </p:nvSpPr>
              <p:spPr>
                <a:xfrm>
                  <a:off x="0" y="4322762"/>
                  <a:ext cx="324000" cy="108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3" name="Retângulo 82"/>
                <p:cNvSpPr/>
                <p:nvPr/>
              </p:nvSpPr>
              <p:spPr>
                <a:xfrm>
                  <a:off x="0" y="4288646"/>
                  <a:ext cx="324000" cy="288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4" name="Retângulo 83"/>
                <p:cNvSpPr/>
                <p:nvPr/>
              </p:nvSpPr>
              <p:spPr>
                <a:xfrm>
                  <a:off x="0" y="4192058"/>
                  <a:ext cx="324000" cy="90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5" name="Retângulo 84"/>
                <p:cNvSpPr/>
                <p:nvPr/>
              </p:nvSpPr>
              <p:spPr>
                <a:xfrm>
                  <a:off x="0" y="4051050"/>
                  <a:ext cx="324000" cy="1296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6" name="Retângulo 85"/>
                <p:cNvSpPr/>
                <p:nvPr/>
              </p:nvSpPr>
              <p:spPr>
                <a:xfrm>
                  <a:off x="0" y="4013142"/>
                  <a:ext cx="324000" cy="324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7" name="Retângulo 86"/>
                <p:cNvSpPr/>
                <p:nvPr/>
              </p:nvSpPr>
              <p:spPr>
                <a:xfrm>
                  <a:off x="0" y="3940084"/>
                  <a:ext cx="324000" cy="648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8" name="Retângulo 87"/>
                <p:cNvSpPr/>
                <p:nvPr/>
              </p:nvSpPr>
              <p:spPr>
                <a:xfrm>
                  <a:off x="0" y="3891556"/>
                  <a:ext cx="324000" cy="360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89" name="Grupo 88"/>
              <p:cNvGrpSpPr/>
              <p:nvPr/>
            </p:nvGrpSpPr>
            <p:grpSpPr>
              <a:xfrm>
                <a:off x="2360182" y="4019999"/>
                <a:ext cx="504000" cy="864000"/>
                <a:chOff x="0" y="3615374"/>
                <a:chExt cx="324000" cy="815838"/>
              </a:xfrm>
            </p:grpSpPr>
            <p:sp>
              <p:nvSpPr>
                <p:cNvPr id="90" name="Retângulo 89"/>
                <p:cNvSpPr/>
                <p:nvPr/>
              </p:nvSpPr>
              <p:spPr>
                <a:xfrm>
                  <a:off x="0" y="4373612"/>
                  <a:ext cx="324000" cy="576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1" name="Retângulo 90"/>
                <p:cNvSpPr/>
                <p:nvPr/>
              </p:nvSpPr>
              <p:spPr>
                <a:xfrm>
                  <a:off x="0" y="4358014"/>
                  <a:ext cx="324000" cy="144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2" name="Retângulo 91"/>
                <p:cNvSpPr/>
                <p:nvPr/>
              </p:nvSpPr>
              <p:spPr>
                <a:xfrm>
                  <a:off x="0" y="3819310"/>
                  <a:ext cx="324000" cy="5364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Retângulo 92"/>
                <p:cNvSpPr/>
                <p:nvPr/>
              </p:nvSpPr>
              <p:spPr>
                <a:xfrm>
                  <a:off x="0" y="3715100"/>
                  <a:ext cx="324000" cy="936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Retângulo 93"/>
                <p:cNvSpPr/>
                <p:nvPr/>
              </p:nvSpPr>
              <p:spPr>
                <a:xfrm>
                  <a:off x="0" y="3685282"/>
                  <a:ext cx="324000" cy="18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Retângulo 94"/>
                <p:cNvSpPr/>
                <p:nvPr/>
              </p:nvSpPr>
              <p:spPr>
                <a:xfrm>
                  <a:off x="0" y="3660192"/>
                  <a:ext cx="324000" cy="216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6" name="Retângulo 95"/>
                <p:cNvSpPr/>
                <p:nvPr/>
              </p:nvSpPr>
              <p:spPr>
                <a:xfrm>
                  <a:off x="0" y="3615374"/>
                  <a:ext cx="324000" cy="288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7" name="Grupo 96"/>
              <p:cNvGrpSpPr/>
              <p:nvPr/>
            </p:nvGrpSpPr>
            <p:grpSpPr>
              <a:xfrm>
                <a:off x="3120834" y="3906373"/>
                <a:ext cx="504000" cy="972000"/>
                <a:chOff x="0" y="3507358"/>
                <a:chExt cx="324000" cy="929746"/>
              </a:xfrm>
            </p:grpSpPr>
            <p:sp>
              <p:nvSpPr>
                <p:cNvPr id="98" name="Retângulo 97"/>
                <p:cNvSpPr/>
                <p:nvPr/>
              </p:nvSpPr>
              <p:spPr>
                <a:xfrm>
                  <a:off x="0" y="4365104"/>
                  <a:ext cx="324000" cy="72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Retângulo 98"/>
                <p:cNvSpPr/>
                <p:nvPr/>
              </p:nvSpPr>
              <p:spPr>
                <a:xfrm>
                  <a:off x="0" y="4327004"/>
                  <a:ext cx="324000" cy="324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0" name="Retângulo 99"/>
                <p:cNvSpPr/>
                <p:nvPr/>
              </p:nvSpPr>
              <p:spPr>
                <a:xfrm>
                  <a:off x="0" y="3832462"/>
                  <a:ext cx="324000" cy="486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Retângulo 100"/>
                <p:cNvSpPr/>
                <p:nvPr/>
              </p:nvSpPr>
              <p:spPr>
                <a:xfrm>
                  <a:off x="0" y="3652340"/>
                  <a:ext cx="324000" cy="1728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Retângulo 101"/>
                <p:cNvSpPr/>
                <p:nvPr/>
              </p:nvSpPr>
              <p:spPr>
                <a:xfrm>
                  <a:off x="0" y="3608634"/>
                  <a:ext cx="324000" cy="396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3" name="Retângulo 102"/>
                <p:cNvSpPr/>
                <p:nvPr/>
              </p:nvSpPr>
              <p:spPr>
                <a:xfrm>
                  <a:off x="0" y="3547616"/>
                  <a:ext cx="324000" cy="468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Retângulo 103"/>
                <p:cNvSpPr/>
                <p:nvPr/>
              </p:nvSpPr>
              <p:spPr>
                <a:xfrm>
                  <a:off x="0" y="3507358"/>
                  <a:ext cx="324000" cy="360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05" name="Grupo 104"/>
              <p:cNvGrpSpPr/>
              <p:nvPr/>
            </p:nvGrpSpPr>
            <p:grpSpPr>
              <a:xfrm>
                <a:off x="3864775" y="3801990"/>
                <a:ext cx="504000" cy="1080000"/>
                <a:chOff x="0" y="3391100"/>
                <a:chExt cx="324000" cy="1044954"/>
              </a:xfrm>
            </p:grpSpPr>
            <p:sp>
              <p:nvSpPr>
                <p:cNvPr id="106" name="Retângulo 105"/>
                <p:cNvSpPr/>
                <p:nvPr/>
              </p:nvSpPr>
              <p:spPr>
                <a:xfrm>
                  <a:off x="0" y="4346054"/>
                  <a:ext cx="324000" cy="90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7" name="Retângulo 106"/>
                <p:cNvSpPr/>
                <p:nvPr/>
              </p:nvSpPr>
              <p:spPr>
                <a:xfrm>
                  <a:off x="0" y="4161040"/>
                  <a:ext cx="324000" cy="180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8" name="Retângulo 107"/>
                <p:cNvSpPr/>
                <p:nvPr/>
              </p:nvSpPr>
              <p:spPr>
                <a:xfrm>
                  <a:off x="0" y="3729382"/>
                  <a:ext cx="324000" cy="4284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9" name="Retângulo 108"/>
                <p:cNvSpPr/>
                <p:nvPr/>
              </p:nvSpPr>
              <p:spPr>
                <a:xfrm>
                  <a:off x="0" y="3481218"/>
                  <a:ext cx="324000" cy="2376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0" name="Retângulo 109"/>
                <p:cNvSpPr/>
                <p:nvPr/>
              </p:nvSpPr>
              <p:spPr>
                <a:xfrm>
                  <a:off x="0" y="3462584"/>
                  <a:ext cx="324000" cy="18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1" name="Retângulo 110"/>
                <p:cNvSpPr/>
                <p:nvPr/>
              </p:nvSpPr>
              <p:spPr>
                <a:xfrm>
                  <a:off x="0" y="3435158"/>
                  <a:ext cx="324000" cy="144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2" name="Retângulo 111"/>
                <p:cNvSpPr/>
                <p:nvPr/>
              </p:nvSpPr>
              <p:spPr>
                <a:xfrm>
                  <a:off x="0" y="3391100"/>
                  <a:ext cx="324000" cy="360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13" name="Grupo 112"/>
              <p:cNvGrpSpPr/>
              <p:nvPr/>
            </p:nvGrpSpPr>
            <p:grpSpPr>
              <a:xfrm>
                <a:off x="4625347" y="3317417"/>
                <a:ext cx="504000" cy="1548000"/>
                <a:chOff x="0" y="2918402"/>
                <a:chExt cx="324000" cy="1517652"/>
              </a:xfrm>
            </p:grpSpPr>
            <p:sp>
              <p:nvSpPr>
                <p:cNvPr id="114" name="Retângulo 113"/>
                <p:cNvSpPr/>
                <p:nvPr/>
              </p:nvSpPr>
              <p:spPr>
                <a:xfrm>
                  <a:off x="0" y="4346054"/>
                  <a:ext cx="324000" cy="90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5" name="Retângulo 114"/>
                <p:cNvSpPr/>
                <p:nvPr/>
              </p:nvSpPr>
              <p:spPr>
                <a:xfrm>
                  <a:off x="0" y="4250680"/>
                  <a:ext cx="324000" cy="90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6" name="Retângulo 115"/>
                <p:cNvSpPr/>
                <p:nvPr/>
              </p:nvSpPr>
              <p:spPr>
                <a:xfrm>
                  <a:off x="0" y="3507358"/>
                  <a:ext cx="324000" cy="738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7" name="Retângulo 116"/>
                <p:cNvSpPr/>
                <p:nvPr/>
              </p:nvSpPr>
              <p:spPr>
                <a:xfrm>
                  <a:off x="0" y="3344292"/>
                  <a:ext cx="324000" cy="1548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8" name="Retângulo 117"/>
                <p:cNvSpPr/>
                <p:nvPr/>
              </p:nvSpPr>
              <p:spPr>
                <a:xfrm>
                  <a:off x="0" y="3146284"/>
                  <a:ext cx="324000" cy="1908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9" name="Retângulo 118"/>
                <p:cNvSpPr/>
                <p:nvPr/>
              </p:nvSpPr>
              <p:spPr>
                <a:xfrm>
                  <a:off x="0" y="2950344"/>
                  <a:ext cx="324000" cy="1908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0" name="Retângulo 119"/>
                <p:cNvSpPr/>
                <p:nvPr/>
              </p:nvSpPr>
              <p:spPr>
                <a:xfrm>
                  <a:off x="0" y="2918402"/>
                  <a:ext cx="324000" cy="252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21" name="Grupo 120"/>
              <p:cNvGrpSpPr/>
              <p:nvPr/>
            </p:nvGrpSpPr>
            <p:grpSpPr>
              <a:xfrm>
                <a:off x="5371398" y="3083201"/>
                <a:ext cx="504000" cy="1800000"/>
                <a:chOff x="0" y="2707936"/>
                <a:chExt cx="324000" cy="1727076"/>
              </a:xfrm>
            </p:grpSpPr>
            <p:sp>
              <p:nvSpPr>
                <p:cNvPr id="122" name="Retângulo 121"/>
                <p:cNvSpPr/>
                <p:nvPr/>
              </p:nvSpPr>
              <p:spPr>
                <a:xfrm>
                  <a:off x="0" y="4111012"/>
                  <a:ext cx="324000" cy="324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3" name="Retângulo 122"/>
                <p:cNvSpPr/>
                <p:nvPr/>
              </p:nvSpPr>
              <p:spPr>
                <a:xfrm>
                  <a:off x="0" y="3866658"/>
                  <a:ext cx="324000" cy="2412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4" name="Retângulo 123"/>
                <p:cNvSpPr/>
                <p:nvPr/>
              </p:nvSpPr>
              <p:spPr>
                <a:xfrm>
                  <a:off x="0" y="3611794"/>
                  <a:ext cx="324000" cy="2484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5" name="Retângulo 124"/>
                <p:cNvSpPr/>
                <p:nvPr/>
              </p:nvSpPr>
              <p:spPr>
                <a:xfrm>
                  <a:off x="0" y="2989862"/>
                  <a:ext cx="324000" cy="6120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6" name="Retângulo 125"/>
                <p:cNvSpPr/>
                <p:nvPr/>
              </p:nvSpPr>
              <p:spPr>
                <a:xfrm>
                  <a:off x="0" y="2860412"/>
                  <a:ext cx="324000" cy="126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7" name="Retângulo 126"/>
                <p:cNvSpPr/>
                <p:nvPr/>
              </p:nvSpPr>
              <p:spPr>
                <a:xfrm>
                  <a:off x="0" y="2767488"/>
                  <a:ext cx="324000" cy="90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8" name="Retângulo 127"/>
                <p:cNvSpPr/>
                <p:nvPr/>
              </p:nvSpPr>
              <p:spPr>
                <a:xfrm>
                  <a:off x="0" y="2707936"/>
                  <a:ext cx="324000" cy="468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29" name="Grupo 128"/>
              <p:cNvGrpSpPr/>
              <p:nvPr/>
            </p:nvGrpSpPr>
            <p:grpSpPr>
              <a:xfrm>
                <a:off x="6121764" y="2792803"/>
                <a:ext cx="504000" cy="2088000"/>
                <a:chOff x="0" y="2399370"/>
                <a:chExt cx="324000" cy="2039916"/>
              </a:xfrm>
            </p:grpSpPr>
            <p:sp>
              <p:nvSpPr>
                <p:cNvPr id="130" name="Retângulo 129"/>
                <p:cNvSpPr/>
                <p:nvPr/>
              </p:nvSpPr>
              <p:spPr>
                <a:xfrm>
                  <a:off x="0" y="4259286"/>
                  <a:ext cx="324000" cy="180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1" name="Retângulo 130"/>
                <p:cNvSpPr/>
                <p:nvPr/>
              </p:nvSpPr>
              <p:spPr>
                <a:xfrm>
                  <a:off x="0" y="3368212"/>
                  <a:ext cx="324000" cy="882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2" name="Retângulo 131"/>
                <p:cNvSpPr/>
                <p:nvPr/>
              </p:nvSpPr>
              <p:spPr>
                <a:xfrm>
                  <a:off x="0" y="3283782"/>
                  <a:ext cx="324000" cy="756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3" name="Retângulo 132"/>
                <p:cNvSpPr/>
                <p:nvPr/>
              </p:nvSpPr>
              <p:spPr>
                <a:xfrm>
                  <a:off x="0" y="2737218"/>
                  <a:ext cx="324000" cy="5364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4" name="Retângulo 133"/>
                <p:cNvSpPr/>
                <p:nvPr/>
              </p:nvSpPr>
              <p:spPr>
                <a:xfrm>
                  <a:off x="0" y="2550002"/>
                  <a:ext cx="324000" cy="180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5" name="Retângulo 134"/>
                <p:cNvSpPr/>
                <p:nvPr/>
              </p:nvSpPr>
              <p:spPr>
                <a:xfrm>
                  <a:off x="0" y="2416308"/>
                  <a:ext cx="324000" cy="1296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6" name="Retângulo 135"/>
                <p:cNvSpPr/>
                <p:nvPr/>
              </p:nvSpPr>
              <p:spPr>
                <a:xfrm>
                  <a:off x="0" y="2399370"/>
                  <a:ext cx="324000" cy="144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upo 136"/>
              <p:cNvGrpSpPr/>
              <p:nvPr/>
            </p:nvGrpSpPr>
            <p:grpSpPr>
              <a:xfrm>
                <a:off x="6878634" y="2564904"/>
                <a:ext cx="504000" cy="2304000"/>
                <a:chOff x="8820000" y="2192904"/>
                <a:chExt cx="324000" cy="2238884"/>
              </a:xfrm>
            </p:grpSpPr>
            <p:sp>
              <p:nvSpPr>
                <p:cNvPr id="138" name="Retângulo 137"/>
                <p:cNvSpPr/>
                <p:nvPr/>
              </p:nvSpPr>
              <p:spPr>
                <a:xfrm>
                  <a:off x="8820000" y="4233788"/>
                  <a:ext cx="324000" cy="198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Retângulo 138"/>
                <p:cNvSpPr/>
                <p:nvPr/>
              </p:nvSpPr>
              <p:spPr>
                <a:xfrm>
                  <a:off x="8820000" y="3133878"/>
                  <a:ext cx="324000" cy="1098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Retângulo 139"/>
                <p:cNvSpPr/>
                <p:nvPr/>
              </p:nvSpPr>
              <p:spPr>
                <a:xfrm>
                  <a:off x="8820000" y="2731982"/>
                  <a:ext cx="324000" cy="396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Retângulo 140"/>
                <p:cNvSpPr/>
                <p:nvPr/>
              </p:nvSpPr>
              <p:spPr>
                <a:xfrm>
                  <a:off x="8820000" y="2264912"/>
                  <a:ext cx="324000" cy="4608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2" name="Retângulo 141"/>
                <p:cNvSpPr/>
                <p:nvPr/>
              </p:nvSpPr>
              <p:spPr>
                <a:xfrm>
                  <a:off x="8820000" y="2220156"/>
                  <a:ext cx="324000" cy="432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Retângulo 142"/>
                <p:cNvSpPr/>
                <p:nvPr/>
              </p:nvSpPr>
              <p:spPr>
                <a:xfrm>
                  <a:off x="8820000" y="2192904"/>
                  <a:ext cx="324000" cy="216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44" name="Grupo 143"/>
              <p:cNvGrpSpPr/>
              <p:nvPr/>
            </p:nvGrpSpPr>
            <p:grpSpPr>
              <a:xfrm>
                <a:off x="7627331" y="2348880"/>
                <a:ext cx="504000" cy="2520000"/>
                <a:chOff x="8820000" y="1982490"/>
                <a:chExt cx="324000" cy="2457766"/>
              </a:xfrm>
            </p:grpSpPr>
            <p:sp>
              <p:nvSpPr>
                <p:cNvPr id="145" name="Retângulo 144"/>
                <p:cNvSpPr/>
                <p:nvPr/>
              </p:nvSpPr>
              <p:spPr>
                <a:xfrm>
                  <a:off x="8820000" y="3882256"/>
                  <a:ext cx="324000" cy="558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6" name="Retângulo 145"/>
                <p:cNvSpPr/>
                <p:nvPr/>
              </p:nvSpPr>
              <p:spPr>
                <a:xfrm>
                  <a:off x="8820000" y="3797548"/>
                  <a:ext cx="324000" cy="792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Retângulo 146"/>
                <p:cNvSpPr/>
                <p:nvPr/>
              </p:nvSpPr>
              <p:spPr>
                <a:xfrm>
                  <a:off x="8820000" y="3197374"/>
                  <a:ext cx="324000" cy="594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Retângulo 147"/>
                <p:cNvSpPr/>
                <p:nvPr/>
              </p:nvSpPr>
              <p:spPr>
                <a:xfrm>
                  <a:off x="8820000" y="2056656"/>
                  <a:ext cx="324000" cy="11340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9" name="Retângulo 148"/>
                <p:cNvSpPr/>
                <p:nvPr/>
              </p:nvSpPr>
              <p:spPr>
                <a:xfrm>
                  <a:off x="8820000" y="2015476"/>
                  <a:ext cx="324000" cy="396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Retângulo 149"/>
                <p:cNvSpPr/>
                <p:nvPr/>
              </p:nvSpPr>
              <p:spPr>
                <a:xfrm>
                  <a:off x="8820000" y="1982490"/>
                  <a:ext cx="324000" cy="252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51" name="Grupo 150"/>
              <p:cNvGrpSpPr/>
              <p:nvPr/>
            </p:nvGrpSpPr>
            <p:grpSpPr>
              <a:xfrm>
                <a:off x="8389653" y="2229660"/>
                <a:ext cx="504000" cy="2646000"/>
                <a:chOff x="8820000" y="1863874"/>
                <a:chExt cx="324000" cy="2570112"/>
              </a:xfrm>
            </p:grpSpPr>
            <p:sp>
              <p:nvSpPr>
                <p:cNvPr id="152" name="Retângulo 151"/>
                <p:cNvSpPr/>
                <p:nvPr/>
              </p:nvSpPr>
              <p:spPr>
                <a:xfrm>
                  <a:off x="8820000" y="4415986"/>
                  <a:ext cx="324000" cy="18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3" name="Retângulo 152"/>
                <p:cNvSpPr/>
                <p:nvPr/>
              </p:nvSpPr>
              <p:spPr>
                <a:xfrm>
                  <a:off x="8820000" y="4246488"/>
                  <a:ext cx="324000" cy="162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4" name="Retângulo 153"/>
                <p:cNvSpPr/>
                <p:nvPr/>
              </p:nvSpPr>
              <p:spPr>
                <a:xfrm>
                  <a:off x="8820000" y="2060848"/>
                  <a:ext cx="324000" cy="2178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5" name="Retângulo 154"/>
                <p:cNvSpPr/>
                <p:nvPr/>
              </p:nvSpPr>
              <p:spPr>
                <a:xfrm>
                  <a:off x="8820000" y="2022566"/>
                  <a:ext cx="324000" cy="288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6" name="Retângulo 155"/>
                <p:cNvSpPr/>
                <p:nvPr/>
              </p:nvSpPr>
              <p:spPr>
                <a:xfrm>
                  <a:off x="8820000" y="1920226"/>
                  <a:ext cx="324000" cy="972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7" name="Retângulo 156"/>
                <p:cNvSpPr/>
                <p:nvPr/>
              </p:nvSpPr>
              <p:spPr>
                <a:xfrm>
                  <a:off x="8820000" y="1882924"/>
                  <a:ext cx="324000" cy="288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8" name="Retângulo 157"/>
                <p:cNvSpPr/>
                <p:nvPr/>
              </p:nvSpPr>
              <p:spPr>
                <a:xfrm>
                  <a:off x="8820000" y="1863874"/>
                  <a:ext cx="324000" cy="180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181" name="Grupo 180"/>
            <p:cNvGrpSpPr/>
            <p:nvPr/>
          </p:nvGrpSpPr>
          <p:grpSpPr>
            <a:xfrm>
              <a:off x="814068" y="5425479"/>
              <a:ext cx="8247458" cy="595809"/>
              <a:chOff x="1187624" y="4869160"/>
              <a:chExt cx="7200800" cy="595809"/>
            </a:xfrm>
          </p:grpSpPr>
          <p:grpSp>
            <p:nvGrpSpPr>
              <p:cNvPr id="159" name="Grupo 158"/>
              <p:cNvGrpSpPr/>
              <p:nvPr/>
            </p:nvGrpSpPr>
            <p:grpSpPr>
              <a:xfrm>
                <a:off x="1187624" y="4869160"/>
                <a:ext cx="1547664" cy="595809"/>
                <a:chOff x="0" y="5425479"/>
                <a:chExt cx="1547664" cy="595809"/>
              </a:xfrm>
            </p:grpSpPr>
            <p:sp>
              <p:nvSpPr>
                <p:cNvPr id="160" name="Retângulo 159"/>
                <p:cNvSpPr/>
                <p:nvPr/>
              </p:nvSpPr>
              <p:spPr>
                <a:xfrm>
                  <a:off x="0" y="5520481"/>
                  <a:ext cx="108000" cy="108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161" name="Retângulo 160"/>
                <p:cNvSpPr/>
                <p:nvPr/>
              </p:nvSpPr>
              <p:spPr>
                <a:xfrm>
                  <a:off x="0" y="5828613"/>
                  <a:ext cx="108000" cy="108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162" name="CaixaDeTexto 161"/>
                <p:cNvSpPr txBox="1"/>
                <p:nvPr/>
              </p:nvSpPr>
              <p:spPr>
                <a:xfrm>
                  <a:off x="71464" y="5425479"/>
                  <a:ext cx="147620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Agropecuária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  <p:sp>
              <p:nvSpPr>
                <p:cNvPr id="163" name="CaixaDeTexto 162"/>
                <p:cNvSpPr txBox="1"/>
                <p:nvPr/>
              </p:nvSpPr>
              <p:spPr>
                <a:xfrm>
                  <a:off x="71464" y="5713511"/>
                  <a:ext cx="147620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Madeira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</p:grpSp>
          <p:grpSp>
            <p:nvGrpSpPr>
              <p:cNvPr id="169" name="Grupo 168"/>
              <p:cNvGrpSpPr/>
              <p:nvPr/>
            </p:nvGrpSpPr>
            <p:grpSpPr>
              <a:xfrm>
                <a:off x="2808312" y="4869160"/>
                <a:ext cx="1786165" cy="595809"/>
                <a:chOff x="0" y="5425479"/>
                <a:chExt cx="1786165" cy="595809"/>
              </a:xfrm>
            </p:grpSpPr>
            <p:sp>
              <p:nvSpPr>
                <p:cNvPr id="170" name="Retângulo 169"/>
                <p:cNvSpPr/>
                <p:nvPr/>
              </p:nvSpPr>
              <p:spPr>
                <a:xfrm>
                  <a:off x="0" y="5520481"/>
                  <a:ext cx="108000" cy="108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171" name="Retângulo 170"/>
                <p:cNvSpPr/>
                <p:nvPr/>
              </p:nvSpPr>
              <p:spPr>
                <a:xfrm>
                  <a:off x="0" y="5828613"/>
                  <a:ext cx="108000" cy="108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172" name="CaixaDeTexto 171"/>
                <p:cNvSpPr txBox="1"/>
                <p:nvPr/>
              </p:nvSpPr>
              <p:spPr>
                <a:xfrm>
                  <a:off x="71464" y="5425479"/>
                  <a:ext cx="1714701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Extração mineral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  <p:sp>
              <p:nvSpPr>
                <p:cNvPr id="173" name="CaixaDeTexto 172"/>
                <p:cNvSpPr txBox="1"/>
                <p:nvPr/>
              </p:nvSpPr>
              <p:spPr>
                <a:xfrm>
                  <a:off x="71464" y="5713511"/>
                  <a:ext cx="147620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Papel e celulose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</p:grpSp>
          <p:grpSp>
            <p:nvGrpSpPr>
              <p:cNvPr id="174" name="Grupo 173"/>
              <p:cNvGrpSpPr/>
              <p:nvPr/>
            </p:nvGrpSpPr>
            <p:grpSpPr>
              <a:xfrm>
                <a:off x="4608512" y="4869160"/>
                <a:ext cx="1979711" cy="595809"/>
                <a:chOff x="0" y="5425479"/>
                <a:chExt cx="1737228" cy="595809"/>
              </a:xfrm>
            </p:grpSpPr>
            <p:sp>
              <p:nvSpPr>
                <p:cNvPr id="175" name="Retângulo 174"/>
                <p:cNvSpPr/>
                <p:nvPr/>
              </p:nvSpPr>
              <p:spPr>
                <a:xfrm>
                  <a:off x="0" y="5520481"/>
                  <a:ext cx="94772" cy="108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176" name="Retângulo 175"/>
                <p:cNvSpPr/>
                <p:nvPr/>
              </p:nvSpPr>
              <p:spPr>
                <a:xfrm>
                  <a:off x="0" y="5828613"/>
                  <a:ext cx="94772" cy="108000"/>
                </a:xfrm>
                <a:prstGeom prst="rect">
                  <a:avLst/>
                </a:prstGeom>
                <a:solidFill>
                  <a:srgbClr val="DC592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177" name="CaixaDeTexto 176"/>
                <p:cNvSpPr txBox="1"/>
                <p:nvPr/>
              </p:nvSpPr>
              <p:spPr>
                <a:xfrm>
                  <a:off x="71464" y="5425479"/>
                  <a:ext cx="157304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Petróleo e álcool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  <p:sp>
              <p:nvSpPr>
                <p:cNvPr id="178" name="CaixaDeTexto 177"/>
                <p:cNvSpPr txBox="1"/>
                <p:nvPr/>
              </p:nvSpPr>
              <p:spPr>
                <a:xfrm>
                  <a:off x="71464" y="5713511"/>
                  <a:ext cx="1665764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Prod. de Min. Ñ Met.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</p:grpSp>
          <p:sp>
            <p:nvSpPr>
              <p:cNvPr id="179" name="Retângulo 178"/>
              <p:cNvSpPr/>
              <p:nvPr/>
            </p:nvSpPr>
            <p:spPr>
              <a:xfrm>
                <a:off x="6624736" y="4964162"/>
                <a:ext cx="108000" cy="108000"/>
              </a:xfrm>
              <a:prstGeom prst="rect">
                <a:avLst/>
              </a:prstGeom>
              <a:solidFill>
                <a:srgbClr val="53A17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 b="1">
                  <a:solidFill>
                    <a:srgbClr val="002060"/>
                  </a:solidFill>
                </a:endParaRPr>
              </a:p>
            </p:txBody>
          </p:sp>
          <p:sp>
            <p:nvSpPr>
              <p:cNvPr id="180" name="CaixaDeTexto 179"/>
              <p:cNvSpPr txBox="1"/>
              <p:nvPr/>
            </p:nvSpPr>
            <p:spPr>
              <a:xfrm>
                <a:off x="6706175" y="4869160"/>
                <a:ext cx="16822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pt-BR" sz="1400" b="1" dirty="0" smtClean="0">
                    <a:solidFill>
                      <a:srgbClr val="002060"/>
                    </a:solidFill>
                    <a:latin typeface="Corbel" pitchFamily="34" charset="0"/>
                  </a:rPr>
                  <a:t>Alimentos e bebidas</a:t>
                </a:r>
                <a:endParaRPr lang="pt-BR" sz="1400" b="1" dirty="0">
                  <a:solidFill>
                    <a:srgbClr val="002060"/>
                  </a:solidFill>
                  <a:latin typeface="Corbel" pitchFamily="34" charset="0"/>
                </a:endParaRPr>
              </a:p>
            </p:txBody>
          </p:sp>
        </p:grpSp>
        <p:sp>
          <p:nvSpPr>
            <p:cNvPr id="184" name="Retângulo 183"/>
            <p:cNvSpPr/>
            <p:nvPr/>
          </p:nvSpPr>
          <p:spPr>
            <a:xfrm>
              <a:off x="5220072" y="1904957"/>
              <a:ext cx="792088" cy="2963971"/>
            </a:xfrm>
            <a:prstGeom prst="rect">
              <a:avLst/>
            </a:prstGeom>
            <a:solidFill>
              <a:srgbClr val="FFFFCC">
                <a:alpha val="25000"/>
              </a:srgbClr>
            </a:solidFill>
            <a:ln w="9525">
              <a:solidFill>
                <a:srgbClr val="C0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srgbClr val="FF0000"/>
                </a:solidFill>
              </a:endParaRPr>
            </a:p>
          </p:txBody>
        </p:sp>
      </p:grpSp>
      <p:sp>
        <p:nvSpPr>
          <p:cNvPr id="164" name="Rectangle 5"/>
          <p:cNvSpPr>
            <a:spLocks noChangeArrowheads="1"/>
          </p:cNvSpPr>
          <p:nvPr/>
        </p:nvSpPr>
        <p:spPr bwMode="auto">
          <a:xfrm>
            <a:off x="152400" y="695325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65" name="Imagem 15" descr="Logo_MCT_Corel_10_Curvas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7600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107504" y="1412776"/>
            <a:ext cx="2304256" cy="144016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453334" y="1556792"/>
            <a:ext cx="1670394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Incentivo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Fiscai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(Lei do Bem)</a:t>
            </a:r>
            <a:endParaRPr lang="pt-BR" sz="1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79512" y="3645024"/>
            <a:ext cx="2304256" cy="144016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433907" y="3915053"/>
            <a:ext cx="176182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Subvençã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Econômica</a:t>
            </a:r>
            <a:endParaRPr lang="pt-BR" sz="2800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8" name="Elipse 7"/>
          <p:cNvSpPr/>
          <p:nvPr/>
        </p:nvSpPr>
        <p:spPr>
          <a:xfrm>
            <a:off x="2267744" y="4941168"/>
            <a:ext cx="2304256" cy="144016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2454912" y="5085184"/>
            <a:ext cx="19818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RH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Qualificados</a:t>
            </a:r>
            <a:endParaRPr lang="pt-BR" sz="2800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10" name="Elipse 9"/>
          <p:cNvSpPr/>
          <p:nvPr/>
        </p:nvSpPr>
        <p:spPr>
          <a:xfrm>
            <a:off x="5364088" y="4869160"/>
            <a:ext cx="2304256" cy="144016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5673215" y="4941168"/>
            <a:ext cx="1778051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Fundos d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Capital d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Risco</a:t>
            </a:r>
            <a:endParaRPr lang="pt-BR" sz="2800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6156176" y="3212976"/>
            <a:ext cx="2664296" cy="144016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6228184" y="3356992"/>
            <a:ext cx="256912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Compras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Governamentai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Elipse 13"/>
          <p:cNvSpPr/>
          <p:nvPr/>
        </p:nvSpPr>
        <p:spPr>
          <a:xfrm>
            <a:off x="5963315" y="1268760"/>
            <a:ext cx="2304256" cy="144016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5819299" y="1340768"/>
            <a:ext cx="256912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srgbClr val="FF0000"/>
                </a:solidFill>
                <a:latin typeface="Calibri"/>
              </a:rPr>
              <a:t>Crédito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000" dirty="0" smtClean="0">
                <a:solidFill>
                  <a:prstClr val="black"/>
                </a:solidFill>
                <a:latin typeface="Calibri"/>
              </a:rPr>
              <a:t>com taxas juros equalizadas </a:t>
            </a:r>
          </a:p>
        </p:txBody>
      </p:sp>
      <p:sp>
        <p:nvSpPr>
          <p:cNvPr id="16" name="Elipse 15"/>
          <p:cNvSpPr/>
          <p:nvPr/>
        </p:nvSpPr>
        <p:spPr>
          <a:xfrm>
            <a:off x="2987824" y="2172345"/>
            <a:ext cx="2664296" cy="187714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3184286" y="2495798"/>
            <a:ext cx="225715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32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EMPRESA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32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INOVADORA</a:t>
            </a:r>
            <a:endParaRPr lang="pt-BR" sz="32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cxnSp>
        <p:nvCxnSpPr>
          <p:cNvPr id="19" name="Conector de seta reta 18"/>
          <p:cNvCxnSpPr/>
          <p:nvPr/>
        </p:nvCxnSpPr>
        <p:spPr>
          <a:xfrm>
            <a:off x="2411760" y="2348880"/>
            <a:ext cx="591452" cy="353070"/>
          </a:xfrm>
          <a:prstGeom prst="straightConnector1">
            <a:avLst/>
          </a:prstGeom>
          <a:ln cap="flat">
            <a:solidFill>
              <a:srgbClr val="00B0F0"/>
            </a:solidFill>
            <a:round/>
            <a:tailEnd type="arrow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/>
            <a:lightRig rig="harsh" dir="t"/>
          </a:scene3d>
          <a:sp3d prstMaterial="metal">
            <a:bevelB prst="relaxedInse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de seta reta 20"/>
          <p:cNvCxnSpPr/>
          <p:nvPr/>
        </p:nvCxnSpPr>
        <p:spPr>
          <a:xfrm flipH="1">
            <a:off x="5570549" y="2485926"/>
            <a:ext cx="585627" cy="222994"/>
          </a:xfrm>
          <a:prstGeom prst="straightConnector1">
            <a:avLst/>
          </a:prstGeom>
          <a:ln cap="flat">
            <a:solidFill>
              <a:srgbClr val="00B0F0"/>
            </a:solidFill>
            <a:round/>
            <a:tailEnd type="arrow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/>
            <a:lightRig rig="harsh" dir="t"/>
          </a:scene3d>
          <a:sp3d prstMaterial="metal">
            <a:bevelB prst="relaxedInse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de seta reta 22"/>
          <p:cNvCxnSpPr/>
          <p:nvPr/>
        </p:nvCxnSpPr>
        <p:spPr>
          <a:xfrm flipH="1" flipV="1">
            <a:off x="5673216" y="3412157"/>
            <a:ext cx="482960" cy="232867"/>
          </a:xfrm>
          <a:prstGeom prst="straightConnector1">
            <a:avLst/>
          </a:prstGeom>
          <a:ln cap="flat">
            <a:solidFill>
              <a:srgbClr val="00B0F0"/>
            </a:solidFill>
            <a:round/>
            <a:tailEnd type="arrow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/>
            <a:lightRig rig="harsh" dir="t"/>
          </a:scene3d>
          <a:sp3d prstMaterial="metal">
            <a:bevelB prst="relaxedInse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de seta reta 24"/>
          <p:cNvCxnSpPr/>
          <p:nvPr/>
        </p:nvCxnSpPr>
        <p:spPr>
          <a:xfrm flipH="1" flipV="1">
            <a:off x="5224855" y="3970219"/>
            <a:ext cx="787305" cy="826933"/>
          </a:xfrm>
          <a:prstGeom prst="straightConnector1">
            <a:avLst/>
          </a:prstGeom>
          <a:ln cap="flat">
            <a:solidFill>
              <a:srgbClr val="00B0F0"/>
            </a:solidFill>
            <a:round/>
            <a:tailEnd type="arrow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/>
            <a:lightRig rig="harsh" dir="t"/>
          </a:scene3d>
          <a:sp3d prstMaterial="metal">
            <a:bevelB prst="relaxedInse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de seta reta 26"/>
          <p:cNvCxnSpPr/>
          <p:nvPr/>
        </p:nvCxnSpPr>
        <p:spPr>
          <a:xfrm flipV="1">
            <a:off x="3635896" y="4149080"/>
            <a:ext cx="288032" cy="664915"/>
          </a:xfrm>
          <a:prstGeom prst="straightConnector1">
            <a:avLst/>
          </a:prstGeom>
          <a:ln cap="flat">
            <a:solidFill>
              <a:srgbClr val="00B0F0"/>
            </a:solidFill>
            <a:round/>
            <a:tailEnd type="arrow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/>
            <a:lightRig rig="harsh" dir="t"/>
          </a:scene3d>
          <a:sp3d prstMaterial="metal">
            <a:bevelB prst="relaxedInse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de seta reta 28"/>
          <p:cNvCxnSpPr/>
          <p:nvPr/>
        </p:nvCxnSpPr>
        <p:spPr>
          <a:xfrm flipV="1">
            <a:off x="2468380" y="3645024"/>
            <a:ext cx="591452" cy="360040"/>
          </a:xfrm>
          <a:prstGeom prst="straightConnector1">
            <a:avLst/>
          </a:prstGeom>
          <a:ln cap="flat">
            <a:solidFill>
              <a:srgbClr val="00B0F0"/>
            </a:solidFill>
            <a:round/>
            <a:tailEnd type="arrow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/>
            <a:lightRig rig="harsh" dir="t"/>
          </a:scene3d>
          <a:sp3d prstMaterial="metal">
            <a:bevelB prst="relaxedInse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aixaDeTexto 37"/>
          <p:cNvSpPr txBox="1"/>
          <p:nvPr/>
        </p:nvSpPr>
        <p:spPr>
          <a:xfrm>
            <a:off x="335606" y="188640"/>
            <a:ext cx="8556874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3200" dirty="0" smtClean="0">
                <a:solidFill>
                  <a:prstClr val="black"/>
                </a:solidFill>
                <a:latin typeface="Calibri"/>
              </a:rPr>
              <a:t>INSTRUMENTOS DE APOIO À CTI NAS EMPRESAS</a:t>
            </a:r>
            <a:endParaRPr lang="pt-BR" sz="32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64664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Line 2"/>
          <p:cNvSpPr>
            <a:spLocks noChangeShapeType="1"/>
          </p:cNvSpPr>
          <p:nvPr/>
        </p:nvSpPr>
        <p:spPr bwMode="auto">
          <a:xfrm>
            <a:off x="457200" y="903288"/>
            <a:ext cx="822960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219" name="Line 3"/>
          <p:cNvSpPr>
            <a:spLocks noChangeShapeType="1"/>
          </p:cNvSpPr>
          <p:nvPr/>
        </p:nvSpPr>
        <p:spPr bwMode="auto">
          <a:xfrm>
            <a:off x="2590800" y="3263900"/>
            <a:ext cx="0" cy="585152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220" name="Line 4"/>
          <p:cNvSpPr>
            <a:spLocks noChangeShapeType="1"/>
          </p:cNvSpPr>
          <p:nvPr/>
        </p:nvSpPr>
        <p:spPr bwMode="auto">
          <a:xfrm>
            <a:off x="8686800" y="903288"/>
            <a:ext cx="0" cy="585152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24" name="Tabe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941127"/>
              </p:ext>
            </p:extLst>
          </p:nvPr>
        </p:nvGraphicFramePr>
        <p:xfrm>
          <a:off x="179710" y="4581128"/>
          <a:ext cx="4032250" cy="214312"/>
        </p:xfrm>
        <a:graphic>
          <a:graphicData uri="http://schemas.openxmlformats.org/drawingml/2006/table">
            <a:tbl>
              <a:tblPr/>
              <a:tblGrid>
                <a:gridCol w="4032250"/>
              </a:tblGrid>
              <a:tr h="214312"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pt-BR" sz="1400" b="0" i="0" u="none" strike="noStrike" dirty="0" smtClean="0">
                          <a:solidFill>
                            <a:srgbClr val="17375D"/>
                          </a:solidFill>
                          <a:latin typeface="Arial" pitchFamily="34" charset="0"/>
                          <a:cs typeface="Arial" pitchFamily="34" charset="0"/>
                        </a:rPr>
                        <a:t> excluídas </a:t>
                      </a:r>
                      <a:r>
                        <a:rPr lang="pt-BR" sz="1400" b="0" i="0" u="none" strike="noStrike" dirty="0">
                          <a:solidFill>
                            <a:srgbClr val="17375D"/>
                          </a:solidFill>
                          <a:latin typeface="Arial" pitchFamily="34" charset="0"/>
                          <a:cs typeface="Arial" pitchFamily="34" charset="0"/>
                        </a:rPr>
                        <a:t>as empresas de informática até 200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25" name="Tabela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614675"/>
              </p:ext>
            </p:extLst>
          </p:nvPr>
        </p:nvGraphicFramePr>
        <p:xfrm>
          <a:off x="7956376" y="4509120"/>
          <a:ext cx="1152525" cy="214312"/>
        </p:xfrm>
        <a:graphic>
          <a:graphicData uri="http://schemas.openxmlformats.org/drawingml/2006/table">
            <a:tbl>
              <a:tblPr/>
              <a:tblGrid>
                <a:gridCol w="1152525"/>
              </a:tblGrid>
              <a:tr h="214312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17375D"/>
                          </a:solidFill>
                          <a:latin typeface="Arial" pitchFamily="34" charset="0"/>
                          <a:cs typeface="Arial" pitchFamily="34" charset="0"/>
                        </a:rPr>
                        <a:t>Fonte: </a:t>
                      </a:r>
                      <a:r>
                        <a:rPr lang="pt-BR" sz="1400" b="0" i="0" u="none" strike="noStrike" dirty="0" smtClean="0">
                          <a:solidFill>
                            <a:srgbClr val="17375D"/>
                          </a:solidFill>
                          <a:latin typeface="Arial" pitchFamily="34" charset="0"/>
                          <a:cs typeface="Arial" pitchFamily="34" charset="0"/>
                        </a:rPr>
                        <a:t>MCTI</a:t>
                      </a:r>
                      <a:endParaRPr lang="pt-BR" sz="1400" b="0" i="0" u="none" strike="noStrike" dirty="0">
                        <a:solidFill>
                          <a:srgbClr val="17375D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9225" name="Rectangle 8"/>
          <p:cNvSpPr>
            <a:spLocks noChangeArrowheads="1"/>
          </p:cNvSpPr>
          <p:nvPr/>
        </p:nvSpPr>
        <p:spPr bwMode="auto">
          <a:xfrm>
            <a:off x="251520" y="5517232"/>
            <a:ext cx="8640763" cy="590550"/>
          </a:xfrm>
          <a:prstGeom prst="rect">
            <a:avLst/>
          </a:prstGeom>
          <a:gradFill rotWithShape="1">
            <a:gsLst>
              <a:gs pos="0">
                <a:srgbClr val="FFCC00">
                  <a:alpha val="74001"/>
                </a:srgbClr>
              </a:gs>
              <a:gs pos="100000">
                <a:srgbClr val="FFFFCC">
                  <a:alpha val="21001"/>
                </a:srgbClr>
              </a:gs>
            </a:gsLst>
            <a:lin ang="0" scaled="1"/>
          </a:gra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600" b="1" dirty="0">
                <a:solidFill>
                  <a:srgbClr val="003366"/>
                </a:solidFill>
                <a:latin typeface="Calibri"/>
              </a:rPr>
              <a:t>R$ 8,6 bilhões aplicados em P&amp;D em 2010, </a:t>
            </a:r>
            <a:r>
              <a:rPr lang="pt-BR" sz="1600" b="1" dirty="0">
                <a:solidFill>
                  <a:srgbClr val="A50021"/>
                </a:solidFill>
                <a:latin typeface="Calibri"/>
              </a:rPr>
              <a:t>293% </a:t>
            </a:r>
            <a:r>
              <a:rPr lang="pt-BR" sz="1600" b="1" dirty="0">
                <a:solidFill>
                  <a:srgbClr val="003366"/>
                </a:solidFill>
                <a:latin typeface="Calibri"/>
              </a:rPr>
              <a:t>a mais em relação a 2006,</a:t>
            </a:r>
          </a:p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600" b="1" dirty="0">
                <a:solidFill>
                  <a:srgbClr val="003366"/>
                </a:solidFill>
                <a:latin typeface="Calibri"/>
              </a:rPr>
              <a:t>crescimento de 0,09% PIB para 0,23% PIB</a:t>
            </a:r>
          </a:p>
        </p:txBody>
      </p:sp>
      <p:sp>
        <p:nvSpPr>
          <p:cNvPr id="9226" name="Rectangle 7"/>
          <p:cNvSpPr>
            <a:spLocks noChangeArrowheads="1"/>
          </p:cNvSpPr>
          <p:nvPr/>
        </p:nvSpPr>
        <p:spPr bwMode="auto">
          <a:xfrm>
            <a:off x="251520" y="4854674"/>
            <a:ext cx="8640763" cy="590550"/>
          </a:xfrm>
          <a:prstGeom prst="rect">
            <a:avLst/>
          </a:prstGeom>
          <a:gradFill rotWithShape="1">
            <a:gsLst>
              <a:gs pos="0">
                <a:srgbClr val="FFCC00">
                  <a:alpha val="74001"/>
                </a:srgbClr>
              </a:gs>
              <a:gs pos="100000">
                <a:srgbClr val="FFFFCC">
                  <a:alpha val="21001"/>
                </a:srgbClr>
              </a:gs>
            </a:gsLst>
            <a:lin ang="0" scaled="1"/>
          </a:gra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600" b="1" dirty="0">
                <a:solidFill>
                  <a:srgbClr val="003366"/>
                </a:solidFill>
                <a:latin typeface="Calibri"/>
              </a:rPr>
              <a:t>875 empresas cadastradas e 639 empresas beneficiadas em 2010,</a:t>
            </a:r>
          </a:p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600" b="1" dirty="0">
                <a:solidFill>
                  <a:srgbClr val="990000"/>
                </a:solidFill>
                <a:latin typeface="Calibri"/>
              </a:rPr>
              <a:t>391%</a:t>
            </a:r>
            <a:r>
              <a:rPr lang="pt-BR" sz="1600" b="1" dirty="0">
                <a:solidFill>
                  <a:srgbClr val="003366"/>
                </a:solidFill>
                <a:latin typeface="Calibri"/>
              </a:rPr>
              <a:t> a mais em relação a 2006</a:t>
            </a:r>
          </a:p>
        </p:txBody>
      </p: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431885"/>
              </p:ext>
            </p:extLst>
          </p:nvPr>
        </p:nvGraphicFramePr>
        <p:xfrm>
          <a:off x="107504" y="717724"/>
          <a:ext cx="8934900" cy="371698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618983"/>
                <a:gridCol w="1261336"/>
                <a:gridCol w="1800200"/>
                <a:gridCol w="1224136"/>
                <a:gridCol w="1152128"/>
                <a:gridCol w="1878117"/>
              </a:tblGrid>
              <a:tr h="1112301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t-BR" sz="1600" u="none" strike="noStrike" dirty="0" smtClean="0"/>
                        <a:t>Renúncia</a:t>
                      </a:r>
                      <a:r>
                        <a:rPr lang="pt-BR" sz="1600" u="none" strike="noStrike" baseline="0" dirty="0" smtClean="0"/>
                        <a:t> Fiscal decorrente </a:t>
                      </a:r>
                      <a:r>
                        <a:rPr lang="pt-BR" sz="1600" u="none" strike="noStrike" dirty="0" smtClean="0"/>
                        <a:t>dos Investimentos </a:t>
                      </a:r>
                      <a:r>
                        <a:rPr lang="pt-BR" sz="1600" u="none" strike="noStrike" dirty="0"/>
                        <a:t>em P&amp;D </a:t>
                      </a:r>
                      <a:endParaRPr lang="pt-BR" sz="1600" u="none" strike="noStrike" dirty="0" smtClean="0"/>
                    </a:p>
                    <a:p>
                      <a:pPr algn="ctr" fontAlgn="ctr"/>
                      <a:r>
                        <a:rPr lang="pt-BR" sz="1600" u="none" strike="noStrike" dirty="0" smtClean="0"/>
                        <a:t>(</a:t>
                      </a:r>
                      <a:r>
                        <a:rPr lang="pt-BR" sz="1600" u="none" strike="noStrike" dirty="0"/>
                        <a:t>R$ milhões)</a:t>
                      </a:r>
                      <a:endParaRPr lang="pt-BR" sz="1600" b="1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t-BR" sz="1600" u="none" strike="noStrike" dirty="0"/>
                        <a:t>Investimentos </a:t>
                      </a:r>
                      <a:r>
                        <a:rPr lang="pt-BR" sz="1600" u="none" strike="noStrike" dirty="0" smtClean="0"/>
                        <a:t>Realizados pelas Empresas </a:t>
                      </a:r>
                      <a:r>
                        <a:rPr lang="pt-BR" sz="1600" u="none" strike="noStrike" dirty="0"/>
                        <a:t>em P&amp;D </a:t>
                      </a:r>
                      <a:endParaRPr lang="pt-BR" sz="1600" u="none" strike="noStrike" dirty="0" smtClean="0"/>
                    </a:p>
                    <a:p>
                      <a:pPr algn="ctr" fontAlgn="ctr"/>
                      <a:r>
                        <a:rPr lang="pt-BR" sz="1600" u="none" strike="noStrike" dirty="0" smtClean="0"/>
                        <a:t>(</a:t>
                      </a:r>
                      <a:r>
                        <a:rPr lang="pt-BR" sz="1600" u="none" strike="noStrike" dirty="0"/>
                        <a:t>R$ milhões)</a:t>
                      </a:r>
                      <a:endParaRPr lang="pt-BR" sz="1600" b="1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62871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/>
                        <a:t>Ano Calendário</a:t>
                      </a:r>
                      <a:endParaRPr lang="pt-BR" sz="1400" b="1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 smtClean="0"/>
                        <a:t>Nº</a:t>
                      </a:r>
                      <a:r>
                        <a:rPr lang="pt-BR" sz="1400" b="1" u="none" strike="noStrike" baseline="0" dirty="0" smtClean="0"/>
                        <a:t> de Empresas</a:t>
                      </a:r>
                      <a:endParaRPr lang="pt-BR" sz="1400" b="1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/>
                        <a:t>Total de Renuncia </a:t>
                      </a:r>
                      <a:endParaRPr lang="pt-BR" sz="1400" b="1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/>
                        <a:t>Capital</a:t>
                      </a:r>
                      <a:endParaRPr lang="pt-BR" sz="1400" b="1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/>
                        <a:t>Custeio</a:t>
                      </a:r>
                      <a:endParaRPr lang="pt-BR" sz="1400" b="1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/>
                        <a:t>Total de Investimentos</a:t>
                      </a:r>
                      <a:endParaRPr lang="pt-BR" sz="1400" b="1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noFill/>
                  </a:tcPr>
                </a:tc>
              </a:tr>
              <a:tr h="37705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2006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130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229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389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1.803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2.191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705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2007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300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884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558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4.580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5.138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9590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/>
                        <a:t>2008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460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1.582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889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7.915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8.804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9590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2009 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543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1.383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217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8.114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8.332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9590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2010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639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1.727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225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8.400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/>
                        <a:t>8.621</a:t>
                      </a:r>
                      <a:endParaRPr lang="pt-BR" sz="1400" b="0" i="0" u="none" strike="noStrike" dirty="0">
                        <a:solidFill>
                          <a:srgbClr val="0F253F"/>
                        </a:solidFill>
                        <a:latin typeface="Arial"/>
                      </a:endParaRPr>
                    </a:p>
                  </a:txBody>
                  <a:tcPr marL="8530" marR="8530" marT="852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302" name="Text Box 12"/>
          <p:cNvSpPr txBox="1">
            <a:spLocks noChangeArrowheads="1"/>
          </p:cNvSpPr>
          <p:nvPr/>
        </p:nvSpPr>
        <p:spPr bwMode="auto">
          <a:xfrm>
            <a:off x="960438" y="188640"/>
            <a:ext cx="7469187" cy="406400"/>
          </a:xfrm>
          <a:prstGeom prst="rect">
            <a:avLst/>
          </a:prstGeom>
          <a:gradFill rotWithShape="1">
            <a:gsLst>
              <a:gs pos="0">
                <a:srgbClr val="FFCC00">
                  <a:alpha val="78998"/>
                </a:srgbClr>
              </a:gs>
              <a:gs pos="100000">
                <a:srgbClr val="FFFF99">
                  <a:alpha val="49001"/>
                </a:srgbClr>
              </a:gs>
            </a:gsLst>
            <a:lin ang="0" scaled="1"/>
          </a:gra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000" b="1" i="1" dirty="0">
                <a:solidFill>
                  <a:srgbClr val="000066"/>
                </a:solidFill>
              </a:rPr>
              <a:t>Lei do Bem: incentivos fiscais à inovação tecnológica</a:t>
            </a: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251520" y="6258798"/>
            <a:ext cx="8640763" cy="369332"/>
          </a:xfrm>
          <a:prstGeom prst="rect">
            <a:avLst/>
          </a:prstGeom>
          <a:gradFill rotWithShape="1">
            <a:gsLst>
              <a:gs pos="0">
                <a:srgbClr val="FFCC00">
                  <a:alpha val="74001"/>
                </a:srgbClr>
              </a:gs>
              <a:gs pos="100000">
                <a:srgbClr val="FFFFCC">
                  <a:alpha val="21001"/>
                </a:srgbClr>
              </a:gs>
            </a:gsLst>
            <a:lin ang="0" scaled="1"/>
          </a:gra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b="1" dirty="0" smtClean="0">
                <a:solidFill>
                  <a:srgbClr val="0033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Ano-Base 2011 - Expectativa de recebimento de  informações de 1.000 empresas</a:t>
            </a:r>
            <a:endParaRPr lang="pt-BR" sz="1800" b="1" dirty="0">
              <a:solidFill>
                <a:srgbClr val="0033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2661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1" descr="Logo_FINEP_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624"/>
            <a:ext cx="10128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Text Box 10"/>
          <p:cNvSpPr txBox="1">
            <a:spLocks noChangeArrowheads="1"/>
          </p:cNvSpPr>
          <p:nvPr/>
        </p:nvSpPr>
        <p:spPr bwMode="auto">
          <a:xfrm>
            <a:off x="1403350" y="700193"/>
            <a:ext cx="756126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pt-BR" b="1" dirty="0" smtClean="0">
                <a:solidFill>
                  <a:srgbClr val="C00000"/>
                </a:solidFill>
                <a:latin typeface="Corbel" pitchFamily="34" charset="0"/>
              </a:rPr>
              <a:t>Subvenção Econômica para a Inovação Tecnológica</a:t>
            </a:r>
            <a:endParaRPr lang="pt-BR" b="1" dirty="0" smtClean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</p:txBody>
      </p:sp>
      <p:sp>
        <p:nvSpPr>
          <p:cNvPr id="3077" name="Rectangle 16"/>
          <p:cNvSpPr>
            <a:spLocks noChangeArrowheads="1"/>
          </p:cNvSpPr>
          <p:nvPr/>
        </p:nvSpPr>
        <p:spPr bwMode="auto">
          <a:xfrm>
            <a:off x="136525" y="1436688"/>
            <a:ext cx="4276725" cy="1055687"/>
          </a:xfrm>
          <a:prstGeom prst="rect">
            <a:avLst/>
          </a:prstGeom>
          <a:gradFill rotWithShape="1">
            <a:gsLst>
              <a:gs pos="0">
                <a:srgbClr val="CCCCFF">
                  <a:alpha val="40999"/>
                </a:srgbClr>
              </a:gs>
              <a:gs pos="100000">
                <a:srgbClr val="F4F4FF"/>
              </a:gs>
            </a:gsLst>
            <a:lin ang="0" scaled="1"/>
          </a:gradFill>
          <a:ln w="9525">
            <a:solidFill>
              <a:srgbClr val="0066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Valor do edital: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 R$ 300 milhões</a:t>
            </a:r>
          </a:p>
          <a:p>
            <a:pPr algn="just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Demanda: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 1.100 projetos, R$ 1,9 bilhão</a:t>
            </a:r>
          </a:p>
          <a:p>
            <a:pPr algn="just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Resultado: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 145 propostas aprovadas, </a:t>
            </a:r>
          </a:p>
          <a:p>
            <a:pPr algn="r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R$ 272,5 milhões</a:t>
            </a:r>
          </a:p>
        </p:txBody>
      </p:sp>
      <p:sp>
        <p:nvSpPr>
          <p:cNvPr id="3078" name="Rectangle 17"/>
          <p:cNvSpPr>
            <a:spLocks noChangeArrowheads="1"/>
          </p:cNvSpPr>
          <p:nvPr/>
        </p:nvSpPr>
        <p:spPr bwMode="auto">
          <a:xfrm>
            <a:off x="146050" y="1038225"/>
            <a:ext cx="7118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s-CL" sz="2000" b="1" dirty="0" smtClean="0">
                <a:solidFill>
                  <a:srgbClr val="A50021"/>
                </a:solidFill>
                <a:latin typeface="Corbel" pitchFamily="34" charset="0"/>
                <a:cs typeface="Arial" pitchFamily="34" charset="0"/>
              </a:rPr>
              <a:t>2006</a:t>
            </a:r>
          </a:p>
        </p:txBody>
      </p:sp>
      <p:sp>
        <p:nvSpPr>
          <p:cNvPr id="3079" name="Rectangle 17"/>
          <p:cNvSpPr>
            <a:spLocks noChangeArrowheads="1"/>
          </p:cNvSpPr>
          <p:nvPr/>
        </p:nvSpPr>
        <p:spPr bwMode="auto">
          <a:xfrm>
            <a:off x="142875" y="2463800"/>
            <a:ext cx="6958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s-CL" sz="2000" b="1" smtClean="0">
                <a:solidFill>
                  <a:srgbClr val="A50021"/>
                </a:solidFill>
                <a:latin typeface="Corbel" pitchFamily="34" charset="0"/>
                <a:cs typeface="Arial" pitchFamily="34" charset="0"/>
              </a:rPr>
              <a:t>2007</a:t>
            </a:r>
          </a:p>
        </p:txBody>
      </p:sp>
      <p:sp>
        <p:nvSpPr>
          <p:cNvPr id="3080" name="Rectangle 16"/>
          <p:cNvSpPr>
            <a:spLocks noChangeArrowheads="1"/>
          </p:cNvSpPr>
          <p:nvPr/>
        </p:nvSpPr>
        <p:spPr bwMode="auto">
          <a:xfrm>
            <a:off x="136525" y="2862263"/>
            <a:ext cx="4283075" cy="1055687"/>
          </a:xfrm>
          <a:prstGeom prst="rect">
            <a:avLst/>
          </a:prstGeom>
          <a:gradFill rotWithShape="1">
            <a:gsLst>
              <a:gs pos="0">
                <a:srgbClr val="CCCCFF">
                  <a:alpha val="40999"/>
                </a:srgbClr>
              </a:gs>
              <a:gs pos="100000">
                <a:srgbClr val="F4F4FF"/>
              </a:gs>
            </a:gsLst>
            <a:lin ang="0" scaled="1"/>
          </a:gradFill>
          <a:ln w="9525">
            <a:solidFill>
              <a:srgbClr val="0066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Valor do edital</a:t>
            </a:r>
            <a:r>
              <a:rPr lang="pt-BR" sz="1600" i="1" dirty="0" smtClean="0">
                <a:solidFill>
                  <a:srgbClr val="002060"/>
                </a:solidFill>
                <a:latin typeface="Corbel" pitchFamily="34" charset="0"/>
              </a:rPr>
              <a:t> </a:t>
            </a: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: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 R$ 450 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</a:rPr>
              <a:t>milhões</a:t>
            </a:r>
            <a:endParaRPr lang="pt-BR" sz="1600" b="1" dirty="0" smtClean="0">
              <a:solidFill>
                <a:srgbClr val="002060"/>
              </a:solidFill>
              <a:latin typeface="Corbel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Demanda: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 2.567 projetos, R$ 4,9 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</a:rPr>
              <a:t>bilhões</a:t>
            </a:r>
            <a:endParaRPr lang="pt-BR" sz="1600" b="1" dirty="0" smtClean="0">
              <a:solidFill>
                <a:srgbClr val="002060"/>
              </a:solidFill>
              <a:latin typeface="Corbel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Resultado: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 174 propostas aprovadas</a:t>
            </a:r>
            <a:r>
              <a:rPr lang="pt-BR" sz="1600" b="1" dirty="0" smtClean="0">
                <a:solidFill>
                  <a:srgbClr val="000066"/>
                </a:solidFill>
                <a:latin typeface="Corbel" pitchFamily="34" charset="0"/>
                <a:cs typeface="Arial" pitchFamily="34" charset="0"/>
              </a:rPr>
              <a:t>,</a:t>
            </a:r>
            <a:r>
              <a:rPr lang="pt-BR" sz="1600" b="1" dirty="0" smtClean="0">
                <a:solidFill>
                  <a:srgbClr val="000099"/>
                </a:solidFill>
                <a:latin typeface="Corbel" pitchFamily="34" charset="0"/>
                <a:cs typeface="Arial" pitchFamily="34" charset="0"/>
              </a:rPr>
              <a:t> </a:t>
            </a:r>
          </a:p>
          <a:p>
            <a:pPr algn="r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R$ 313,8 </a:t>
            </a:r>
            <a:r>
              <a:rPr lang="pt-BR" sz="1600" b="1" dirty="0" smtClean="0">
                <a:solidFill>
                  <a:srgbClr val="C00000"/>
                </a:solidFill>
                <a:latin typeface="Corbel" pitchFamily="34" charset="0"/>
              </a:rPr>
              <a:t>milhões</a:t>
            </a:r>
          </a:p>
        </p:txBody>
      </p:sp>
      <p:sp>
        <p:nvSpPr>
          <p:cNvPr id="3081" name="Rectangle 17"/>
          <p:cNvSpPr>
            <a:spLocks noChangeArrowheads="1"/>
          </p:cNvSpPr>
          <p:nvPr/>
        </p:nvSpPr>
        <p:spPr bwMode="auto">
          <a:xfrm>
            <a:off x="146050" y="3890963"/>
            <a:ext cx="7134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s-CL" sz="2000" b="1" smtClean="0">
                <a:solidFill>
                  <a:srgbClr val="A50021"/>
                </a:solidFill>
                <a:latin typeface="Corbel" pitchFamily="34" charset="0"/>
                <a:cs typeface="Arial" pitchFamily="34" charset="0"/>
              </a:rPr>
              <a:t>2008</a:t>
            </a:r>
          </a:p>
        </p:txBody>
      </p:sp>
      <p:sp>
        <p:nvSpPr>
          <p:cNvPr id="3082" name="Rectangle 16"/>
          <p:cNvSpPr>
            <a:spLocks noChangeArrowheads="1"/>
          </p:cNvSpPr>
          <p:nvPr/>
        </p:nvSpPr>
        <p:spPr bwMode="auto">
          <a:xfrm>
            <a:off x="123825" y="4287838"/>
            <a:ext cx="4264025" cy="1055687"/>
          </a:xfrm>
          <a:prstGeom prst="rect">
            <a:avLst/>
          </a:prstGeom>
          <a:gradFill rotWithShape="1">
            <a:gsLst>
              <a:gs pos="0">
                <a:srgbClr val="CCCCFF">
                  <a:alpha val="40999"/>
                </a:srgbClr>
              </a:gs>
              <a:gs pos="100000">
                <a:srgbClr val="F4F4FF"/>
              </a:gs>
            </a:gsLst>
            <a:lin ang="0" scaled="1"/>
          </a:gradFill>
          <a:ln w="9525">
            <a:solidFill>
              <a:srgbClr val="0033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Valor do edital: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 R$ 450 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</a:rPr>
              <a:t>milhões</a:t>
            </a:r>
            <a:endParaRPr lang="pt-BR" sz="1600" b="1" dirty="0" smtClean="0">
              <a:solidFill>
                <a:srgbClr val="002060"/>
              </a:solidFill>
              <a:latin typeface="Corbel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Demanda: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 2.665 projetos, R$ 6,0 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</a:rPr>
              <a:t>bilhões</a:t>
            </a:r>
            <a:endParaRPr lang="pt-BR" sz="1600" b="1" dirty="0" smtClean="0">
              <a:solidFill>
                <a:srgbClr val="002060"/>
              </a:solidFill>
              <a:latin typeface="Corbel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Resultado: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 245 propostas aprovadas, </a:t>
            </a:r>
          </a:p>
          <a:p>
            <a:pPr algn="r">
              <a:lnSpc>
                <a:spcPct val="90000"/>
              </a:lnSpc>
              <a:spcAft>
                <a:spcPct val="10000"/>
              </a:spcAft>
              <a:buFont typeface="Wingdings" pitchFamily="2" charset="2"/>
              <a:buNone/>
            </a:pPr>
            <a:r>
              <a:rPr lang="pt-BR" sz="1600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R$ 514,6 </a:t>
            </a:r>
            <a:r>
              <a:rPr lang="pt-BR" sz="1600" b="1" dirty="0" smtClean="0">
                <a:solidFill>
                  <a:srgbClr val="C00000"/>
                </a:solidFill>
                <a:latin typeface="Corbel" pitchFamily="34" charset="0"/>
              </a:rPr>
              <a:t>milhões</a:t>
            </a:r>
          </a:p>
        </p:txBody>
      </p:sp>
      <p:sp>
        <p:nvSpPr>
          <p:cNvPr id="3083" name="Rectangle 16"/>
          <p:cNvSpPr>
            <a:spLocks noChangeArrowheads="1"/>
          </p:cNvSpPr>
          <p:nvPr/>
        </p:nvSpPr>
        <p:spPr bwMode="auto">
          <a:xfrm>
            <a:off x="139700" y="5686425"/>
            <a:ext cx="4302125" cy="1055688"/>
          </a:xfrm>
          <a:prstGeom prst="rect">
            <a:avLst/>
          </a:prstGeom>
          <a:gradFill rotWithShape="1">
            <a:gsLst>
              <a:gs pos="0">
                <a:srgbClr val="CCCCFF">
                  <a:alpha val="40999"/>
                </a:srgbClr>
              </a:gs>
              <a:gs pos="100000">
                <a:srgbClr val="F4F4FF"/>
              </a:gs>
            </a:gsLst>
            <a:lin ang="0" scaled="1"/>
          </a:gradFill>
          <a:ln w="9525">
            <a:solidFill>
              <a:srgbClr val="0066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90000"/>
              </a:lnSpc>
              <a:spcAft>
                <a:spcPct val="10000"/>
              </a:spcAft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Valor do edital: 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R$ 450 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</a:rPr>
              <a:t>milhões</a:t>
            </a:r>
            <a:endParaRPr lang="pt-BR" sz="1600" b="1" dirty="0" smtClean="0">
              <a:solidFill>
                <a:srgbClr val="002060"/>
              </a:solidFill>
              <a:latin typeface="Corbel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Aft>
                <a:spcPct val="10000"/>
              </a:spcAft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Demanda: 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2.558 projetos, R$ 5,2 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</a:rPr>
              <a:t>bilhões</a:t>
            </a:r>
            <a:endParaRPr lang="pt-BR" sz="1600" b="1" dirty="0" smtClean="0">
              <a:solidFill>
                <a:srgbClr val="002060"/>
              </a:solidFill>
              <a:latin typeface="Corbel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Aft>
                <a:spcPct val="10000"/>
              </a:spcAft>
            </a:pPr>
            <a:r>
              <a:rPr lang="pt-BR" sz="16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Resultado: </a:t>
            </a:r>
            <a:r>
              <a:rPr lang="pt-BR" sz="16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261 propostas aprovadas, </a:t>
            </a:r>
          </a:p>
          <a:p>
            <a:pPr algn="r">
              <a:lnSpc>
                <a:spcPct val="90000"/>
              </a:lnSpc>
              <a:spcAft>
                <a:spcPct val="10000"/>
              </a:spcAft>
            </a:pPr>
            <a:r>
              <a:rPr lang="pt-BR" sz="1600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R$ 466 </a:t>
            </a:r>
            <a:r>
              <a:rPr lang="pt-BR" sz="1600" b="1" dirty="0" smtClean="0">
                <a:solidFill>
                  <a:srgbClr val="C00000"/>
                </a:solidFill>
                <a:latin typeface="Corbel" pitchFamily="34" charset="0"/>
              </a:rPr>
              <a:t>milhões</a:t>
            </a:r>
          </a:p>
        </p:txBody>
      </p:sp>
      <p:sp>
        <p:nvSpPr>
          <p:cNvPr id="3084" name="Rectangle 17"/>
          <p:cNvSpPr>
            <a:spLocks noChangeArrowheads="1"/>
          </p:cNvSpPr>
          <p:nvPr/>
        </p:nvSpPr>
        <p:spPr bwMode="auto">
          <a:xfrm>
            <a:off x="182563" y="5292725"/>
            <a:ext cx="7118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s-CL" sz="2000" b="1" smtClean="0">
                <a:solidFill>
                  <a:srgbClr val="A50021"/>
                </a:solidFill>
                <a:latin typeface="Corbel" pitchFamily="34" charset="0"/>
                <a:cs typeface="Arial" pitchFamily="34" charset="0"/>
              </a:rPr>
              <a:t>2009</a:t>
            </a:r>
          </a:p>
        </p:txBody>
      </p:sp>
      <p:sp>
        <p:nvSpPr>
          <p:cNvPr id="3085" name="Text Box 28"/>
          <p:cNvSpPr txBox="1">
            <a:spLocks noChangeArrowheads="1"/>
          </p:cNvSpPr>
          <p:nvPr/>
        </p:nvSpPr>
        <p:spPr bwMode="auto">
          <a:xfrm>
            <a:off x="4716463" y="2781300"/>
            <a:ext cx="4176712" cy="646113"/>
          </a:xfrm>
          <a:prstGeom prst="rect">
            <a:avLst/>
          </a:prstGeom>
          <a:noFill/>
          <a:ln w="9525">
            <a:solidFill>
              <a:srgbClr val="DDDDD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Distribuição % dos recursos </a:t>
            </a:r>
          </a:p>
          <a:p>
            <a:pPr algn="ctr" eaLnBrk="1" hangingPunct="1"/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por temas - 2010 </a:t>
            </a:r>
          </a:p>
        </p:txBody>
      </p:sp>
      <p:grpSp>
        <p:nvGrpSpPr>
          <p:cNvPr id="3086" name="Grupo 32"/>
          <p:cNvGrpSpPr>
            <a:grpSpLocks/>
          </p:cNvGrpSpPr>
          <p:nvPr/>
        </p:nvGrpSpPr>
        <p:grpSpPr bwMode="auto">
          <a:xfrm>
            <a:off x="4459288" y="3635375"/>
            <a:ext cx="4748212" cy="3106738"/>
            <a:chOff x="4412218" y="2852936"/>
            <a:chExt cx="4747548" cy="3106390"/>
          </a:xfrm>
        </p:grpSpPr>
        <p:graphicFrame>
          <p:nvGraphicFramePr>
            <p:cNvPr id="32" name="Gráfico 31"/>
            <p:cNvGraphicFramePr>
              <a:graphicFrameLocks/>
            </p:cNvGraphicFramePr>
            <p:nvPr/>
          </p:nvGraphicFramePr>
          <p:xfrm>
            <a:off x="4499992" y="3068960"/>
            <a:ext cx="4320480" cy="2736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3091" name="Grupo 36"/>
            <p:cNvGrpSpPr>
              <a:grpSpLocks/>
            </p:cNvGrpSpPr>
            <p:nvPr/>
          </p:nvGrpSpPr>
          <p:grpSpPr bwMode="auto">
            <a:xfrm>
              <a:off x="4412218" y="2852936"/>
              <a:ext cx="4747548" cy="3106390"/>
              <a:chOff x="4484666" y="2799367"/>
              <a:chExt cx="4747554" cy="3107600"/>
            </a:xfrm>
          </p:grpSpPr>
          <p:sp>
            <p:nvSpPr>
              <p:cNvPr id="3092" name="CaixaDeTexto 28"/>
              <p:cNvSpPr txBox="1">
                <a:spLocks noChangeArrowheads="1"/>
              </p:cNvSpPr>
              <p:nvPr/>
            </p:nvSpPr>
            <p:spPr bwMode="auto">
              <a:xfrm>
                <a:off x="4484666" y="3356658"/>
                <a:ext cx="876672" cy="3386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pt-BR" sz="1600" b="1" dirty="0" smtClean="0">
                    <a:solidFill>
                      <a:srgbClr val="002060"/>
                    </a:solidFill>
                    <a:latin typeface="Corbel" pitchFamily="34" charset="0"/>
                  </a:rPr>
                  <a:t>saúde</a:t>
                </a:r>
              </a:p>
            </p:txBody>
          </p:sp>
          <p:sp>
            <p:nvSpPr>
              <p:cNvPr id="3093" name="CaixaDeTexto 31"/>
              <p:cNvSpPr txBox="1">
                <a:spLocks noChangeArrowheads="1"/>
              </p:cNvSpPr>
              <p:nvPr/>
            </p:nvSpPr>
            <p:spPr bwMode="auto">
              <a:xfrm>
                <a:off x="5173215" y="2799367"/>
                <a:ext cx="576064" cy="3386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pt-BR" sz="1600" b="1" dirty="0" smtClean="0">
                    <a:solidFill>
                      <a:srgbClr val="002060"/>
                    </a:solidFill>
                    <a:latin typeface="Corbel" pitchFamily="34" charset="0"/>
                  </a:rPr>
                  <a:t>TICs</a:t>
                </a:r>
              </a:p>
            </p:txBody>
          </p:sp>
          <p:sp>
            <p:nvSpPr>
              <p:cNvPr id="3094" name="CaixaDeTexto 32"/>
              <p:cNvSpPr txBox="1">
                <a:spLocks noChangeArrowheads="1"/>
              </p:cNvSpPr>
              <p:nvPr/>
            </p:nvSpPr>
            <p:spPr bwMode="auto">
              <a:xfrm>
                <a:off x="7765275" y="3015475"/>
                <a:ext cx="1451179" cy="3386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pt-BR" sz="1600" b="1" dirty="0" smtClean="0">
                    <a:solidFill>
                      <a:srgbClr val="002060"/>
                    </a:solidFill>
                    <a:latin typeface="Corbel" pitchFamily="34" charset="0"/>
                  </a:rPr>
                  <a:t>biotecnologia</a:t>
                </a:r>
              </a:p>
            </p:txBody>
          </p:sp>
          <p:sp>
            <p:nvSpPr>
              <p:cNvPr id="3095" name="CaixaDeTexto 33"/>
              <p:cNvSpPr txBox="1">
                <a:spLocks noChangeArrowheads="1"/>
              </p:cNvSpPr>
              <p:nvPr/>
            </p:nvSpPr>
            <p:spPr bwMode="auto">
              <a:xfrm>
                <a:off x="7504472" y="5176557"/>
                <a:ext cx="1727748" cy="5850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pt-BR" sz="1600" b="1" dirty="0" smtClean="0">
                    <a:solidFill>
                      <a:srgbClr val="002060"/>
                    </a:solidFill>
                    <a:latin typeface="Corbel" pitchFamily="34" charset="0"/>
                  </a:rPr>
                  <a:t>desenvolvimento social</a:t>
                </a:r>
              </a:p>
            </p:txBody>
          </p:sp>
          <p:sp>
            <p:nvSpPr>
              <p:cNvPr id="3096" name="CaixaDeTexto 34"/>
              <p:cNvSpPr txBox="1">
                <a:spLocks noChangeArrowheads="1"/>
              </p:cNvSpPr>
              <p:nvPr/>
            </p:nvSpPr>
            <p:spPr bwMode="auto">
              <a:xfrm>
                <a:off x="6181330" y="5568281"/>
                <a:ext cx="1224136" cy="3386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pt-BR" sz="1600" b="1" dirty="0" smtClean="0">
                    <a:solidFill>
                      <a:srgbClr val="002060"/>
                    </a:solidFill>
                    <a:latin typeface="Corbel" pitchFamily="34" charset="0"/>
                  </a:rPr>
                  <a:t>defesa</a:t>
                </a:r>
              </a:p>
            </p:txBody>
          </p:sp>
          <p:sp>
            <p:nvSpPr>
              <p:cNvPr id="3097" name="CaixaDeTexto 35"/>
              <p:cNvSpPr txBox="1">
                <a:spLocks noChangeArrowheads="1"/>
              </p:cNvSpPr>
              <p:nvPr/>
            </p:nvSpPr>
            <p:spPr bwMode="auto">
              <a:xfrm>
                <a:off x="4531964" y="5270087"/>
                <a:ext cx="1224136" cy="3386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pt-BR" sz="1600" b="1" dirty="0" smtClean="0">
                    <a:solidFill>
                      <a:srgbClr val="002060"/>
                    </a:solidFill>
                    <a:latin typeface="Corbel" pitchFamily="34" charset="0"/>
                  </a:rPr>
                  <a:t>energia</a:t>
                </a:r>
              </a:p>
            </p:txBody>
          </p:sp>
        </p:grpSp>
      </p:grpSp>
      <p:sp>
        <p:nvSpPr>
          <p:cNvPr id="3087" name="Rectangle 16"/>
          <p:cNvSpPr>
            <a:spLocks noChangeArrowheads="1"/>
          </p:cNvSpPr>
          <p:nvPr/>
        </p:nvSpPr>
        <p:spPr bwMode="auto">
          <a:xfrm>
            <a:off x="4662488" y="1430338"/>
            <a:ext cx="4302125" cy="1173162"/>
          </a:xfrm>
          <a:prstGeom prst="rect">
            <a:avLst/>
          </a:prstGeom>
          <a:gradFill rotWithShape="1">
            <a:gsLst>
              <a:gs pos="0">
                <a:srgbClr val="CCCCFF">
                  <a:alpha val="40999"/>
                </a:srgbClr>
              </a:gs>
              <a:gs pos="100000">
                <a:srgbClr val="F4F4FF"/>
              </a:gs>
            </a:gsLst>
            <a:lin ang="0" scaled="1"/>
          </a:gradFill>
          <a:ln w="9525">
            <a:solidFill>
              <a:srgbClr val="0033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90000"/>
              </a:lnSpc>
              <a:spcAft>
                <a:spcPct val="10000"/>
              </a:spcAft>
            </a:pPr>
            <a:r>
              <a:rPr lang="pt-BR" sz="18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Valor do edital: </a:t>
            </a: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R$ 500 </a:t>
            </a: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</a:rPr>
              <a:t>milhões</a:t>
            </a:r>
            <a:endParaRPr lang="pt-BR" sz="1800" b="1" dirty="0" smtClean="0">
              <a:solidFill>
                <a:srgbClr val="002060"/>
              </a:solidFill>
              <a:latin typeface="Corbel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Aft>
                <a:spcPct val="10000"/>
              </a:spcAft>
            </a:pPr>
            <a:r>
              <a:rPr lang="pt-BR" sz="18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Demanda: </a:t>
            </a: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993 projetos, R$ 1,9 </a:t>
            </a: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</a:rPr>
              <a:t>bilhão</a:t>
            </a:r>
            <a:endParaRPr lang="pt-BR" sz="1800" b="1" dirty="0" smtClean="0">
              <a:solidFill>
                <a:srgbClr val="002060"/>
              </a:solidFill>
              <a:latin typeface="Corbel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Aft>
                <a:spcPct val="10000"/>
              </a:spcAft>
            </a:pPr>
            <a:r>
              <a:rPr lang="pt-BR" sz="1800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Resultado: </a:t>
            </a: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105 propostas aprovadas, </a:t>
            </a:r>
          </a:p>
          <a:p>
            <a:pPr algn="r">
              <a:lnSpc>
                <a:spcPct val="90000"/>
              </a:lnSpc>
              <a:spcAft>
                <a:spcPct val="10000"/>
              </a:spcAft>
            </a:pPr>
            <a:r>
              <a:rPr lang="pt-BR" sz="1800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R$ 242 </a:t>
            </a:r>
            <a:r>
              <a:rPr lang="pt-BR" sz="1800" b="1" dirty="0" smtClean="0">
                <a:solidFill>
                  <a:srgbClr val="C00000"/>
                </a:solidFill>
                <a:latin typeface="Corbel" pitchFamily="34" charset="0"/>
              </a:rPr>
              <a:t>milhões</a:t>
            </a:r>
          </a:p>
        </p:txBody>
      </p:sp>
      <p:sp>
        <p:nvSpPr>
          <p:cNvPr id="3088" name="Rectangle 17"/>
          <p:cNvSpPr>
            <a:spLocks noChangeArrowheads="1"/>
          </p:cNvSpPr>
          <p:nvPr/>
        </p:nvSpPr>
        <p:spPr bwMode="auto">
          <a:xfrm>
            <a:off x="4705350" y="1036638"/>
            <a:ext cx="80220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s-CL" b="1" dirty="0" smtClean="0">
                <a:solidFill>
                  <a:srgbClr val="A50021"/>
                </a:solidFill>
                <a:latin typeface="Corbel" pitchFamily="34" charset="0"/>
                <a:cs typeface="Arial" pitchFamily="34" charset="0"/>
              </a:rPr>
              <a:t>2010</a:t>
            </a:r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auto">
          <a:xfrm>
            <a:off x="152400" y="620688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 smtClean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26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8"/>
          <p:cNvSpPr txBox="1">
            <a:spLocks noChangeArrowheads="1"/>
          </p:cNvSpPr>
          <p:nvPr/>
        </p:nvSpPr>
        <p:spPr bwMode="auto">
          <a:xfrm>
            <a:off x="-5135" y="25460"/>
            <a:ext cx="5081191" cy="646331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 err="1" smtClean="0">
                <a:solidFill>
                  <a:srgbClr val="C00000"/>
                </a:solidFill>
              </a:rPr>
              <a:t>Programa</a:t>
            </a:r>
            <a:r>
              <a:rPr lang="en-US" sz="3600" b="1" dirty="0" smtClean="0">
                <a:solidFill>
                  <a:srgbClr val="C00000"/>
                </a:solidFill>
              </a:rPr>
              <a:t> RHAE</a:t>
            </a:r>
            <a:endParaRPr lang="en-US" sz="3600" b="1" dirty="0">
              <a:solidFill>
                <a:srgbClr val="C00000"/>
              </a:solidFill>
            </a:endParaRPr>
          </a:p>
        </p:txBody>
      </p:sp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152400" y="692696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 smtClean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" name="Text Box 35"/>
          <p:cNvSpPr txBox="1">
            <a:spLocks noChangeArrowheads="1"/>
          </p:cNvSpPr>
          <p:nvPr/>
        </p:nvSpPr>
        <p:spPr bwMode="auto">
          <a:xfrm>
            <a:off x="251520" y="764704"/>
            <a:ext cx="874008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t-BR" sz="2000" b="1" dirty="0" smtClean="0">
                <a:solidFill>
                  <a:srgbClr val="002060"/>
                </a:solidFill>
                <a:latin typeface="Corbel" pitchFamily="34" charset="0"/>
                <a:ea typeface="ヒラギノ角ゴ ProN W3"/>
                <a:cs typeface="ヒラギノ角ゴ ProN W3"/>
              </a:rPr>
              <a:t>Bolsas CNPq de Fomento </a:t>
            </a:r>
            <a:r>
              <a:rPr lang="pt-BR" sz="2000" b="1" dirty="0">
                <a:solidFill>
                  <a:srgbClr val="002060"/>
                </a:solidFill>
                <a:latin typeface="Corbel" pitchFamily="34" charset="0"/>
                <a:ea typeface="ヒラギノ角ゴ ProN W3"/>
                <a:cs typeface="ヒラギノ角ゴ ProN W3"/>
              </a:rPr>
              <a:t>Tecnológico para a inserção de pesquisadores nas micro, pequenas e médias </a:t>
            </a:r>
            <a:r>
              <a:rPr lang="pt-BR" sz="2000" b="1" dirty="0" smtClean="0">
                <a:solidFill>
                  <a:srgbClr val="002060"/>
                </a:solidFill>
                <a:latin typeface="Corbel" pitchFamily="34" charset="0"/>
                <a:ea typeface="ヒラギノ角ゴ ProN W3"/>
                <a:cs typeface="ヒラギノ角ゴ ProN W3"/>
              </a:rPr>
              <a:t>empresas, com contrapartida de 20% das empresas</a:t>
            </a:r>
          </a:p>
        </p:txBody>
      </p:sp>
      <p:graphicFrame>
        <p:nvGraphicFramePr>
          <p:cNvPr id="6" name="Group 1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050959"/>
              </p:ext>
            </p:extLst>
          </p:nvPr>
        </p:nvGraphicFramePr>
        <p:xfrm>
          <a:off x="457200" y="1556792"/>
          <a:ext cx="8229600" cy="3218745"/>
        </p:xfrm>
        <a:graphic>
          <a:graphicData uri="http://schemas.openxmlformats.org/drawingml/2006/table">
            <a:tbl>
              <a:tblPr/>
              <a:tblGrid>
                <a:gridCol w="1654175"/>
                <a:gridCol w="1622425"/>
                <a:gridCol w="1600200"/>
                <a:gridCol w="1676400"/>
                <a:gridCol w="1676400"/>
              </a:tblGrid>
              <a:tr h="4268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Bolsas RHAE</a:t>
                      </a:r>
                    </a:p>
                  </a:txBody>
                  <a:tcPr marT="45730" marB="4573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Edital MCT/SETEC/CNPq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32/2007</a:t>
                      </a:r>
                    </a:p>
                  </a:txBody>
                  <a:tcPr marT="45730" marB="4573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Edital MCT/SETEC/CNPq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Edital 67/2008</a:t>
                      </a:r>
                    </a:p>
                  </a:txBody>
                  <a:tcPr marT="45730" marB="4573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Edital MCT/SETEC/CNPq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Edital 62/2009</a:t>
                      </a:r>
                    </a:p>
                  </a:txBody>
                  <a:tcPr marT="45730" marB="4573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Edital MCT/SETEC/CNPq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Edital 75/2010</a:t>
                      </a:r>
                    </a:p>
                  </a:txBody>
                  <a:tcPr marT="45730" marB="4573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715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Doutores</a:t>
                      </a:r>
                      <a:endParaRPr kumimoji="0" lang="pt-BR" sz="18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93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30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12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17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715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Mestres</a:t>
                      </a:r>
                      <a:endParaRPr kumimoji="0" lang="pt-BR" sz="18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12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82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66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98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15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Técnicos DTI</a:t>
                      </a:r>
                      <a:endParaRPr kumimoji="0" lang="pt-BR" sz="18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96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55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80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89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4064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Técnicos ITI</a:t>
                      </a:r>
                      <a:endParaRPr kumimoji="0" lang="pt-BR" sz="18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84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223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52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13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5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Consultores EV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-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-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11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23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65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Apoio Técnico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-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-</a:t>
                      </a:r>
                      <a:endParaRPr kumimoji="0" lang="pt-BR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-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rbel" pitchFamily="34" charset="0"/>
                        </a:rPr>
                        <a:t>54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15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orbel" pitchFamily="34" charset="0"/>
                        </a:rPr>
                        <a:t>Total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orbel" pitchFamily="34" charset="0"/>
                        </a:rPr>
                        <a:t>385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orbel" pitchFamily="34" charset="0"/>
                        </a:rPr>
                        <a:t>690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orbel" pitchFamily="34" charset="0"/>
                        </a:rPr>
                        <a:t>621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orbel" pitchFamily="34" charset="0"/>
                        </a:rPr>
                        <a:t>694</a:t>
                      </a:r>
                    </a:p>
                  </a:txBody>
                  <a:tcPr marT="45730" marB="4573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Group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5534766"/>
              </p:ext>
            </p:extLst>
          </p:nvPr>
        </p:nvGraphicFramePr>
        <p:xfrm>
          <a:off x="457200" y="4772000"/>
          <a:ext cx="8229600" cy="457200"/>
        </p:xfrm>
        <a:graphic>
          <a:graphicData uri="http://schemas.openxmlformats.org/drawingml/2006/table">
            <a:tbl>
              <a:tblPr/>
              <a:tblGrid>
                <a:gridCol w="1649413"/>
                <a:gridCol w="1627187"/>
                <a:gridCol w="1600200"/>
                <a:gridCol w="1681163"/>
                <a:gridCol w="1671637"/>
              </a:tblGrid>
              <a:tr h="457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Recursos do Edital</a:t>
                      </a:r>
                    </a:p>
                  </a:txBody>
                  <a:tcPr marL="91423" marR="91423" marT="45798" marB="457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R$ 20 milhões</a:t>
                      </a:r>
                    </a:p>
                  </a:txBody>
                  <a:tcPr marL="91423" marR="91423" marT="45798" marB="457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R$ 26 milhões</a:t>
                      </a:r>
                    </a:p>
                  </a:txBody>
                  <a:tcPr marL="91423" marR="91423" marT="45798" marB="457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R$ 30 milhões</a:t>
                      </a:r>
                    </a:p>
                  </a:txBody>
                  <a:tcPr marL="91423" marR="91423" marT="45798" marB="457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R$ 40 milhões</a:t>
                      </a:r>
                    </a:p>
                  </a:txBody>
                  <a:tcPr marL="91423" marR="91423" marT="45798" marB="457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9959766"/>
              </p:ext>
            </p:extLst>
          </p:nvPr>
        </p:nvGraphicFramePr>
        <p:xfrm>
          <a:off x="457200" y="5157192"/>
          <a:ext cx="8229600" cy="371475"/>
        </p:xfrm>
        <a:graphic>
          <a:graphicData uri="http://schemas.openxmlformats.org/drawingml/2006/table">
            <a:tbl>
              <a:tblPr/>
              <a:tblGrid>
                <a:gridCol w="1646238"/>
                <a:gridCol w="1630362"/>
                <a:gridCol w="1600200"/>
                <a:gridCol w="1676400"/>
                <a:gridCol w="1676400"/>
              </a:tblGrid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Empresas beneficiadas</a:t>
                      </a:r>
                    </a:p>
                  </a:txBody>
                  <a:tcPr marL="91423" marR="91423" marT="45798" marB="457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131</a:t>
                      </a:r>
                    </a:p>
                  </a:txBody>
                  <a:tcPr marL="91423" marR="91423" marT="45798" marB="457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172</a:t>
                      </a:r>
                    </a:p>
                  </a:txBody>
                  <a:tcPr marL="91423" marR="91423" marT="45798" marB="457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186</a:t>
                      </a:r>
                    </a:p>
                  </a:txBody>
                  <a:tcPr marL="91423" marR="91423" marT="45798" marB="457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rbel" pitchFamily="34" charset="0"/>
                        </a:rPr>
                        <a:t>202</a:t>
                      </a:r>
                    </a:p>
                  </a:txBody>
                  <a:tcPr marL="91423" marR="91423" marT="45798" marB="457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9" name="Picture 15" descr="Logo-cnp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44624"/>
            <a:ext cx="1331913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382888" y="5805264"/>
            <a:ext cx="8365576" cy="3539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700" dirty="0" smtClean="0">
                <a:solidFill>
                  <a:prstClr val="black"/>
                </a:solidFill>
                <a:latin typeface="Calibri"/>
              </a:rPr>
              <a:t>Edital MCTI/SETEC/CNPq 17/2012 com R$ 60 milhões , incluindo também grandes empresas</a:t>
            </a:r>
            <a:endParaRPr lang="pt-BR" sz="17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32134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680345"/>
            <a:ext cx="6772275" cy="6133031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</p:pic>
      <p:sp>
        <p:nvSpPr>
          <p:cNvPr id="4" name="Elipse 3"/>
          <p:cNvSpPr/>
          <p:nvPr/>
        </p:nvSpPr>
        <p:spPr>
          <a:xfrm>
            <a:off x="2771800" y="1556792"/>
            <a:ext cx="3960440" cy="216024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0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to Nacional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000" dirty="0" smtClean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</a:rPr>
              <a:t>Margem Preferência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</a:rPr>
              <a:t>de até 25%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000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</a:rPr>
              <a:t>Margem Adicional para Tecnologia Nacional</a:t>
            </a:r>
            <a:endParaRPr lang="pt-BR" sz="1800" dirty="0">
              <a:solidFill>
                <a:prstClr val="black"/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6732240" y="980728"/>
            <a:ext cx="2088232" cy="100811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6876256" y="1196752"/>
            <a:ext cx="18158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Desenvolviment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>
                <a:solidFill>
                  <a:prstClr val="black"/>
                </a:solidFill>
                <a:latin typeface="Calibri"/>
              </a:rPr>
              <a:t>S</a:t>
            </a: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ocial</a:t>
            </a:r>
            <a:endParaRPr lang="pt-BR" sz="1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7020272" y="2276872"/>
            <a:ext cx="1872208" cy="100811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452320" y="2473732"/>
            <a:ext cx="10775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prstClr val="black"/>
                </a:solidFill>
                <a:latin typeface="Calibri"/>
              </a:rPr>
              <a:t>Saúde</a:t>
            </a:r>
            <a:endParaRPr lang="pt-BR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6948264" y="3429000"/>
            <a:ext cx="1944216" cy="100811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6228184" y="4581128"/>
            <a:ext cx="2088232" cy="100811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4283968" y="5085184"/>
            <a:ext cx="2088232" cy="100811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7164288" y="3645024"/>
            <a:ext cx="15633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prstClr val="black"/>
                </a:solidFill>
                <a:latin typeface="Calibri"/>
              </a:rPr>
              <a:t>Educação</a:t>
            </a:r>
            <a:endParaRPr lang="pt-BR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6732240" y="4797152"/>
            <a:ext cx="11712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prstClr val="black"/>
                </a:solidFill>
                <a:latin typeface="Calibri"/>
              </a:rPr>
              <a:t>Defesa</a:t>
            </a:r>
            <a:endParaRPr lang="pt-BR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5004048" y="5301208"/>
            <a:ext cx="6399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prstClr val="black"/>
                </a:solidFill>
                <a:latin typeface="Calibri"/>
              </a:rPr>
              <a:t>TIC</a:t>
            </a:r>
            <a:endParaRPr lang="pt-BR" sz="28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4" name="Conector de seta reta 13"/>
          <p:cNvCxnSpPr/>
          <p:nvPr/>
        </p:nvCxnSpPr>
        <p:spPr>
          <a:xfrm flipH="1" flipV="1">
            <a:off x="5084210" y="3789040"/>
            <a:ext cx="207870" cy="1171292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  <a:scene3d>
            <a:camera prst="orthographicFront"/>
            <a:lightRig rig="brightRoom" dir="t"/>
          </a:scene3d>
          <a:sp3d prstMaterial="legacyWireframe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de seta reta 17"/>
          <p:cNvCxnSpPr/>
          <p:nvPr/>
        </p:nvCxnSpPr>
        <p:spPr>
          <a:xfrm flipH="1" flipV="1">
            <a:off x="5868144" y="3645024"/>
            <a:ext cx="504056" cy="999400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  <a:scene3d>
            <a:camera prst="orthographicFront"/>
            <a:lightRig rig="brightRoom" dir="t"/>
          </a:scene3d>
          <a:sp3d prstMaterial="legacyWireframe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de seta reta 19"/>
          <p:cNvCxnSpPr/>
          <p:nvPr/>
        </p:nvCxnSpPr>
        <p:spPr>
          <a:xfrm flipH="1" flipV="1">
            <a:off x="6480212" y="3284984"/>
            <a:ext cx="442450" cy="504056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  <a:scene3d>
            <a:camera prst="orthographicFront"/>
            <a:lightRig rig="brightRoom" dir="t"/>
          </a:scene3d>
          <a:sp3d prstMaterial="legacyWireframe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de seta reta 21"/>
          <p:cNvCxnSpPr/>
          <p:nvPr/>
        </p:nvCxnSpPr>
        <p:spPr>
          <a:xfrm flipH="1">
            <a:off x="6768244" y="2636912"/>
            <a:ext cx="252028" cy="0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  <a:scene3d>
            <a:camera prst="orthographicFront"/>
            <a:lightRig rig="brightRoom" dir="t"/>
          </a:scene3d>
          <a:sp3d prstMaterial="legacyWireframe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de seta reta 23"/>
          <p:cNvCxnSpPr/>
          <p:nvPr/>
        </p:nvCxnSpPr>
        <p:spPr>
          <a:xfrm flipH="1">
            <a:off x="6588224" y="1808820"/>
            <a:ext cx="252028" cy="180020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  <a:scene3d>
            <a:camera prst="orthographicFront"/>
            <a:lightRig rig="brightRoom" dir="t"/>
          </a:scene3d>
          <a:sp3d prstMaterial="legacyWireframe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ipse 18"/>
          <p:cNvSpPr/>
          <p:nvPr/>
        </p:nvSpPr>
        <p:spPr>
          <a:xfrm>
            <a:off x="107504" y="1268760"/>
            <a:ext cx="1296144" cy="1008112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31" name="CaixaDeTexto 30"/>
          <p:cNvSpPr txBox="1"/>
          <p:nvPr/>
        </p:nvSpPr>
        <p:spPr>
          <a:xfrm>
            <a:off x="251520" y="1527175"/>
            <a:ext cx="10557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EEUU</a:t>
            </a:r>
            <a:endParaRPr lang="pt-BR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49" name="Elipse 48"/>
          <p:cNvSpPr/>
          <p:nvPr/>
        </p:nvSpPr>
        <p:spPr>
          <a:xfrm>
            <a:off x="107504" y="2996952"/>
            <a:ext cx="1296144" cy="1080120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white"/>
                </a:solidFill>
              </a:rPr>
              <a:t>c</a:t>
            </a:r>
            <a:endParaRPr lang="pt-BR" sz="1800" dirty="0">
              <a:solidFill>
                <a:prstClr val="white"/>
              </a:solidFill>
            </a:endParaRPr>
          </a:p>
        </p:txBody>
      </p:sp>
      <p:sp>
        <p:nvSpPr>
          <p:cNvPr id="1040" name="CaixaDeTexto 1039"/>
          <p:cNvSpPr txBox="1"/>
          <p:nvPr/>
        </p:nvSpPr>
        <p:spPr>
          <a:xfrm>
            <a:off x="188633" y="3265820"/>
            <a:ext cx="10709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Europa</a:t>
            </a:r>
            <a:endParaRPr lang="pt-BR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cxnSp>
        <p:nvCxnSpPr>
          <p:cNvPr id="51" name="Conector de seta reta 50"/>
          <p:cNvCxnSpPr/>
          <p:nvPr/>
        </p:nvCxnSpPr>
        <p:spPr>
          <a:xfrm flipH="1" flipV="1">
            <a:off x="1511660" y="3356992"/>
            <a:ext cx="180020" cy="144016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  <a:scene3d>
            <a:camera prst="orthographicFront">
              <a:rot lat="0" lon="10799978" rev="0"/>
            </a:camera>
            <a:lightRig rig="brightRoom" dir="t"/>
          </a:scene3d>
          <a:sp3d prstMaterial="legacyWireframe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4" name="CaixaDeTexto 1053"/>
          <p:cNvSpPr txBox="1"/>
          <p:nvPr/>
        </p:nvSpPr>
        <p:spPr>
          <a:xfrm>
            <a:off x="251520" y="97468"/>
            <a:ext cx="8640960" cy="52322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prstClr val="black"/>
                </a:solidFill>
                <a:latin typeface="Calibri"/>
              </a:rPr>
              <a:t>COMPRAS GOVERNAMENTAIS (Margens de Preferência) </a:t>
            </a:r>
            <a:endParaRPr lang="pt-BR" sz="28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75" name="Conector de seta reta 74"/>
          <p:cNvCxnSpPr/>
          <p:nvPr/>
        </p:nvCxnSpPr>
        <p:spPr>
          <a:xfrm flipH="1">
            <a:off x="1439652" y="1988840"/>
            <a:ext cx="396044" cy="117594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  <a:scene3d>
            <a:camera prst="orthographicFront">
              <a:rot lat="0" lon="10799978" rev="0"/>
            </a:camera>
            <a:lightRig rig="brightRoom" dir="t"/>
          </a:scene3d>
          <a:sp3d prstMaterial="legacyWireframe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ângulo 39"/>
          <p:cNvSpPr/>
          <p:nvPr/>
        </p:nvSpPr>
        <p:spPr>
          <a:xfrm>
            <a:off x="251520" y="5373216"/>
            <a:ext cx="3384376" cy="13681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251519" y="5373216"/>
            <a:ext cx="3384377" cy="135421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Déficit na Balança (US $ )</a:t>
            </a:r>
          </a:p>
          <a:p>
            <a:pPr marL="36000" indent="-10800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TIC: 18 bilhões</a:t>
            </a:r>
          </a:p>
          <a:p>
            <a:pPr marL="36000" indent="-10800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Fármacos/Instrumentos:  9 bilhões           </a:t>
            </a:r>
          </a:p>
          <a:p>
            <a:pPr marL="36000" indent="-10800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Produtos Químicos: 22 bilhões</a:t>
            </a:r>
          </a:p>
          <a:p>
            <a:pPr marL="36000" indent="-10800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600" dirty="0" smtClean="0">
                <a:solidFill>
                  <a:prstClr val="black"/>
                </a:solidFill>
                <a:latin typeface="Calibri"/>
              </a:rPr>
              <a:t>Máquinas/Equipamentos: 20 bilhões</a:t>
            </a:r>
          </a:p>
        </p:txBody>
      </p:sp>
      <p:cxnSp>
        <p:nvCxnSpPr>
          <p:cNvPr id="35" name="Conector de seta reta 34"/>
          <p:cNvCxnSpPr/>
          <p:nvPr/>
        </p:nvCxnSpPr>
        <p:spPr>
          <a:xfrm flipH="1" flipV="1">
            <a:off x="2473449" y="3717032"/>
            <a:ext cx="802407" cy="549642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  <a:scene3d>
            <a:camera prst="orthographicFront">
              <a:rot lat="0" lon="10799978" rev="0"/>
            </a:camera>
            <a:lightRig rig="brightRoom" dir="t"/>
          </a:scene3d>
          <a:sp3d prstMaterial="legacyWireframe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Elipse 66"/>
          <p:cNvSpPr/>
          <p:nvPr/>
        </p:nvSpPr>
        <p:spPr>
          <a:xfrm>
            <a:off x="971599" y="3906634"/>
            <a:ext cx="2016225" cy="1357993"/>
          </a:xfrm>
          <a:prstGeom prst="ellipse">
            <a:avLst/>
          </a:prstGeom>
          <a:solidFill>
            <a:srgbClr val="FF5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 dirty="0">
              <a:solidFill>
                <a:prstClr val="white"/>
              </a:solidFill>
            </a:endParaRPr>
          </a:p>
        </p:txBody>
      </p:sp>
      <p:sp>
        <p:nvSpPr>
          <p:cNvPr id="37" name="CaixaDeTexto 36"/>
          <p:cNvSpPr txBox="1"/>
          <p:nvPr/>
        </p:nvSpPr>
        <p:spPr>
          <a:xfrm>
            <a:off x="1259632" y="3936538"/>
            <a:ext cx="1473672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Ásia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(China/Índia,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Coréia do Sul,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 Japão)</a:t>
            </a:r>
            <a:endParaRPr lang="pt-BR" sz="18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42542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aixaDeTexto 22"/>
          <p:cNvSpPr txBox="1"/>
          <p:nvPr/>
        </p:nvSpPr>
        <p:spPr>
          <a:xfrm>
            <a:off x="2195736" y="1196752"/>
            <a:ext cx="4793107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pt-BR" sz="1800" dirty="0" smtClean="0">
              <a:solidFill>
                <a:srgbClr val="FF0000"/>
              </a:solidFill>
              <a:latin typeface="Calibri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 smtClean="0">
                <a:solidFill>
                  <a:srgbClr val="FF0000"/>
                </a:solidFill>
                <a:latin typeface="Calibri"/>
              </a:rPr>
              <a:t>Ambiente de Cooperação Academia/Empresa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>
                <a:solidFill>
                  <a:srgbClr val="FF0000"/>
                </a:solidFill>
                <a:latin typeface="Calibri"/>
              </a:rPr>
              <a:t>Instrumentos Legais de Cooperação;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>
                <a:solidFill>
                  <a:srgbClr val="FF0000"/>
                </a:solidFill>
                <a:latin typeface="Calibri"/>
              </a:rPr>
              <a:t>Prestação de </a:t>
            </a:r>
            <a:r>
              <a:rPr lang="pt-BR" sz="1800" dirty="0" smtClean="0">
                <a:solidFill>
                  <a:srgbClr val="FF0000"/>
                </a:solidFill>
                <a:latin typeface="Calibri"/>
              </a:rPr>
              <a:t>Contas Simplificada;</a:t>
            </a:r>
            <a:endParaRPr lang="pt-BR" sz="1800" dirty="0">
              <a:solidFill>
                <a:srgbClr val="FF0000"/>
              </a:solidFill>
              <a:latin typeface="Calibri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>
                <a:solidFill>
                  <a:srgbClr val="FF0000"/>
                </a:solidFill>
                <a:latin typeface="Calibri"/>
              </a:rPr>
              <a:t>Importação de Insumo/Equipamento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 smtClean="0">
                <a:solidFill>
                  <a:srgbClr val="FF0000"/>
                </a:solidFill>
                <a:latin typeface="Calibri"/>
              </a:rPr>
              <a:t>Infraestrutura Laboratorial e de Serviços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 smtClean="0">
                <a:solidFill>
                  <a:srgbClr val="FF0000"/>
                </a:solidFill>
                <a:latin typeface="Calibri"/>
              </a:rPr>
              <a:t>Desenvolvimento Tecnológico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 smtClean="0">
                <a:solidFill>
                  <a:srgbClr val="FF0000"/>
                </a:solidFill>
                <a:latin typeface="Calibri"/>
              </a:rPr>
              <a:t>Projetos Cooperativos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>
                <a:solidFill>
                  <a:srgbClr val="FF0000"/>
                </a:solidFill>
                <a:latin typeface="Calibri"/>
              </a:rPr>
              <a:t>Mobilidade Pesquisadores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>
                <a:solidFill>
                  <a:srgbClr val="FF0000"/>
                </a:solidFill>
                <a:latin typeface="Calibri"/>
              </a:rPr>
              <a:t>Participação nos Ganhos </a:t>
            </a:r>
            <a:r>
              <a:rPr lang="pt-BR" sz="1800" dirty="0" smtClean="0">
                <a:solidFill>
                  <a:srgbClr val="FF0000"/>
                </a:solidFill>
                <a:latin typeface="Calibri"/>
              </a:rPr>
              <a:t>Econômicos;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 smtClean="0">
                <a:solidFill>
                  <a:srgbClr val="FF0000"/>
                </a:solidFill>
                <a:latin typeface="Calibri"/>
              </a:rPr>
              <a:t>Novos instrumentos de Apoio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 smtClean="0">
                <a:solidFill>
                  <a:srgbClr val="FF0000"/>
                </a:solidFill>
                <a:latin typeface="Calibri"/>
              </a:rPr>
              <a:t>Incentivos Setoriais;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pt-BR" sz="1800" dirty="0" smtClean="0">
                <a:solidFill>
                  <a:srgbClr val="FF0000"/>
                </a:solidFill>
                <a:latin typeface="Calibri"/>
              </a:rPr>
              <a:t>Biodiversidade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>
                <a:solidFill>
                  <a:prstClr val="black"/>
                </a:solidFill>
                <a:latin typeface="Calibri"/>
              </a:rPr>
              <a:t> </a:t>
            </a: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        </a:t>
            </a:r>
            <a:endParaRPr lang="pt-BR" sz="1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0" y="6381328"/>
            <a:ext cx="9144000" cy="338554"/>
          </a:xfrm>
          <a:prstGeom prst="rect">
            <a:avLst/>
          </a:prstGeom>
          <a:gradFill rotWithShape="1">
            <a:gsLst>
              <a:gs pos="0">
                <a:srgbClr val="FFCC00">
                  <a:alpha val="74001"/>
                </a:srgbClr>
              </a:gs>
              <a:gs pos="100000">
                <a:srgbClr val="FFFFCC">
                  <a:alpha val="21001"/>
                </a:srgbClr>
              </a:gs>
            </a:gsLst>
            <a:lin ang="0" scaled="1"/>
          </a:gra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600" b="1" dirty="0" smtClean="0">
                <a:solidFill>
                  <a:srgbClr val="003366"/>
                </a:solidFill>
                <a:latin typeface="Calibri"/>
              </a:rPr>
              <a:t>2004/5                                                                   2012                                                                                                2017</a:t>
            </a:r>
            <a:endParaRPr lang="pt-BR" sz="1600" b="1" dirty="0">
              <a:solidFill>
                <a:srgbClr val="003366"/>
              </a:solidFill>
              <a:latin typeface="Calibri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5576" y="97468"/>
            <a:ext cx="7128792" cy="523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dirty="0" smtClean="0">
                <a:solidFill>
                  <a:prstClr val="black"/>
                </a:solidFill>
                <a:latin typeface="Calibri"/>
              </a:rPr>
              <a:t>MARCO LEGAL DA INOVAÇÃO</a:t>
            </a:r>
            <a:endParaRPr lang="pt-BR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2987824" y="982469"/>
            <a:ext cx="2405274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0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APERFEIÇOAMENTO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Seta para a direita 7"/>
          <p:cNvSpPr/>
          <p:nvPr/>
        </p:nvSpPr>
        <p:spPr>
          <a:xfrm>
            <a:off x="755576" y="6453335"/>
            <a:ext cx="2880320" cy="169278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9" name="Seta para a direita 8"/>
          <p:cNvSpPr/>
          <p:nvPr/>
        </p:nvSpPr>
        <p:spPr>
          <a:xfrm>
            <a:off x="4283968" y="6453336"/>
            <a:ext cx="4248472" cy="169277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10" name="Elipse 9"/>
          <p:cNvSpPr/>
          <p:nvPr/>
        </p:nvSpPr>
        <p:spPr>
          <a:xfrm>
            <a:off x="71500" y="2033973"/>
            <a:ext cx="2052228" cy="175506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135360" y="2433662"/>
            <a:ext cx="191565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Lei da Inovaçã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Lei do Bem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black"/>
                </a:solidFill>
                <a:latin typeface="Calibri"/>
              </a:rPr>
              <a:t>Outras Legislações</a:t>
            </a:r>
            <a:endParaRPr lang="pt-BR" sz="1800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4" name="Diagrama 13"/>
          <p:cNvGraphicFramePr/>
          <p:nvPr>
            <p:extLst>
              <p:ext uri="{D42A27DB-BD31-4B8C-83A1-F6EECF244321}">
                <p14:modId xmlns:p14="http://schemas.microsoft.com/office/powerpoint/2010/main" val="833831569"/>
              </p:ext>
            </p:extLst>
          </p:nvPr>
        </p:nvGraphicFramePr>
        <p:xfrm>
          <a:off x="5412433" y="2389336"/>
          <a:ext cx="405611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8" name="Conector de seta reta 17"/>
          <p:cNvCxnSpPr/>
          <p:nvPr/>
        </p:nvCxnSpPr>
        <p:spPr>
          <a:xfrm>
            <a:off x="6156176" y="4365104"/>
            <a:ext cx="2160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ta em curva para cima 23"/>
          <p:cNvSpPr/>
          <p:nvPr/>
        </p:nvSpPr>
        <p:spPr>
          <a:xfrm>
            <a:off x="35496" y="4293096"/>
            <a:ext cx="2304256" cy="1728192"/>
          </a:xfrm>
          <a:prstGeom prst="curvedUpArrow">
            <a:avLst/>
          </a:prstGeom>
          <a:scene3d>
            <a:camera prst="orthographicFront">
              <a:rot lat="0" lon="0" rev="19799999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25" name="Seta em curva para baixo 24"/>
          <p:cNvSpPr/>
          <p:nvPr/>
        </p:nvSpPr>
        <p:spPr>
          <a:xfrm>
            <a:off x="6197251" y="1196752"/>
            <a:ext cx="2983261" cy="1224136"/>
          </a:xfrm>
          <a:prstGeom prst="curvedDownArrow">
            <a:avLst/>
          </a:prstGeom>
          <a:scene3d>
            <a:camera prst="orthographicFront">
              <a:rot lat="300000" lon="0" rev="189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3" name="Seta para baixo 2"/>
          <p:cNvSpPr/>
          <p:nvPr/>
        </p:nvSpPr>
        <p:spPr>
          <a:xfrm>
            <a:off x="7308304" y="3501008"/>
            <a:ext cx="216024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21" name="Seta para baixo 20"/>
          <p:cNvSpPr/>
          <p:nvPr/>
        </p:nvSpPr>
        <p:spPr>
          <a:xfrm flipV="1">
            <a:off x="7308304" y="5013176"/>
            <a:ext cx="216024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26" name="Seta para baixo 25"/>
          <p:cNvSpPr/>
          <p:nvPr/>
        </p:nvSpPr>
        <p:spPr>
          <a:xfrm rot="5400000" flipV="1">
            <a:off x="6588224" y="4293096"/>
            <a:ext cx="216024" cy="21602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27" name="Seta para baixo 26"/>
          <p:cNvSpPr/>
          <p:nvPr/>
        </p:nvSpPr>
        <p:spPr>
          <a:xfrm rot="16200000" flipH="1" flipV="1">
            <a:off x="8028384" y="4293097"/>
            <a:ext cx="216024" cy="21602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61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467544" y="404664"/>
            <a:ext cx="5616624" cy="908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50800" tIns="50800" rIns="132080" bIns="50800" anchor="ctr"/>
          <a:lstStyle/>
          <a:p>
            <a:pPr marL="361950" indent="-215900"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b="1" dirty="0">
                <a:solidFill>
                  <a:srgbClr val="C00000"/>
                </a:solidFill>
                <a:latin typeface="Corbel" pitchFamily="34" charset="0"/>
              </a:rPr>
              <a:t>Ciência sem Fronteiras</a:t>
            </a:r>
          </a:p>
          <a:p>
            <a:pPr marL="361950" indent="-215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dirty="0" smtClean="0">
                <a:solidFill>
                  <a:srgbClr val="006600"/>
                </a:solidFill>
                <a:latin typeface="Corbel" pitchFamily="34" charset="0"/>
              </a:rPr>
              <a:t>                                  </a:t>
            </a:r>
            <a:r>
              <a:rPr lang="pt-BR" sz="2800" b="1" dirty="0" smtClean="0">
                <a:solidFill>
                  <a:srgbClr val="002060"/>
                </a:solidFill>
                <a:latin typeface="Corbel" pitchFamily="34" charset="0"/>
              </a:rPr>
              <a:t>Áreas Prioritárias</a:t>
            </a:r>
            <a:endParaRPr lang="pt-BR" sz="2800" b="1" dirty="0">
              <a:solidFill>
                <a:srgbClr val="002060"/>
              </a:solidFill>
              <a:latin typeface="Corbel" pitchFamily="34" charset="0"/>
            </a:endParaRPr>
          </a:p>
        </p:txBody>
      </p:sp>
      <p:grpSp>
        <p:nvGrpSpPr>
          <p:cNvPr id="7" name="Grupo 1"/>
          <p:cNvGrpSpPr>
            <a:grpSpLocks/>
          </p:cNvGrpSpPr>
          <p:nvPr/>
        </p:nvGrpSpPr>
        <p:grpSpPr bwMode="auto">
          <a:xfrm>
            <a:off x="107504" y="1611738"/>
            <a:ext cx="6408550" cy="4752000"/>
            <a:chOff x="323528" y="1277256"/>
            <a:chExt cx="6408273" cy="4752719"/>
          </a:xfrm>
        </p:grpSpPr>
        <p:sp>
          <p:nvSpPr>
            <p:cNvPr id="8" name="Retângulo de cantos arredondados 3"/>
            <p:cNvSpPr>
              <a:spLocks noChangeArrowheads="1"/>
            </p:cNvSpPr>
            <p:nvPr/>
          </p:nvSpPr>
          <p:spPr bwMode="auto">
            <a:xfrm>
              <a:off x="323528" y="1277256"/>
              <a:ext cx="3132398" cy="4752719"/>
            </a:xfrm>
            <a:prstGeom prst="roundRect">
              <a:avLst>
                <a:gd name="adj" fmla="val 7477"/>
              </a:avLst>
            </a:prstGeom>
            <a:solidFill>
              <a:schemeClr val="tx2">
                <a:lumMod val="20000"/>
                <a:lumOff val="80000"/>
              </a:schemeClr>
            </a:solidFill>
            <a:ln w="25400">
              <a:solidFill>
                <a:srgbClr val="002060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Engenharias e demais áreas tecnológicas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Ciências Exatas e da Terra: Física, Química, Geociências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Biologia, Ciências Biomédicas e da Saúde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Computação e tecnologias da informação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Tecnologia Aeroespacial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Fármacos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Produção Agrícola Sustentável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Petróleo, Gás e Carvão Mineral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Energias Renováveis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Tecnologia Mineral;</a:t>
              </a:r>
              <a:endParaRPr lang="pt-BR" sz="1600" dirty="0">
                <a:solidFill>
                  <a:srgbClr val="002060"/>
                </a:solidFill>
                <a:latin typeface="Corbel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9" name="Retângulo de cantos arredondados 3"/>
            <p:cNvSpPr>
              <a:spLocks noChangeArrowheads="1"/>
            </p:cNvSpPr>
            <p:nvPr/>
          </p:nvSpPr>
          <p:spPr bwMode="auto">
            <a:xfrm>
              <a:off x="3599936" y="1277257"/>
              <a:ext cx="3131865" cy="4752718"/>
            </a:xfrm>
            <a:prstGeom prst="roundRect">
              <a:avLst>
                <a:gd name="adj" fmla="val 7477"/>
              </a:avLst>
            </a:prstGeom>
            <a:solidFill>
              <a:schemeClr val="tx2">
                <a:lumMod val="20000"/>
                <a:lumOff val="80000"/>
              </a:schemeClr>
            </a:solidFill>
            <a:ln w="25400">
              <a:solidFill>
                <a:srgbClr val="002060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Tecnologia Nuclear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Biotecnologia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Nanotecnologia e Novos materiais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Tecnologias de Prevenção e Mitigação de Desastres Naturais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Tecnologias de transição para a economia verde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Biodiversidade e </a:t>
              </a:r>
              <a:r>
                <a:rPr lang="pt-BR" sz="1600" b="1" dirty="0" err="1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Bioprospecção</a:t>
              </a: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Ciências do Mar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Indústria criativa;</a:t>
              </a: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Novas Tecnologias de Engenharia </a:t>
              </a:r>
              <a:r>
                <a:rPr lang="pt-BR" sz="1600" b="1" dirty="0" smtClean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Construtiva;</a:t>
              </a:r>
              <a:endParaRPr lang="pt-BR" sz="1600" b="1" dirty="0">
                <a:solidFill>
                  <a:srgbClr val="002060"/>
                </a:solidFill>
                <a:latin typeface="Corbel" pitchFamily="34" charset="0"/>
                <a:ea typeface="ヒラギノ明朝 ProN W3"/>
                <a:cs typeface="ヒラギノ明朝 ProN W3"/>
              </a:endParaRPr>
            </a:p>
            <a:p>
              <a:pPr marL="361950" indent="-215900" eaLnBrk="1" fontAlgn="auto" hangingPunct="1">
                <a:spcBef>
                  <a:spcPts val="500"/>
                </a:spcBef>
                <a:spcAft>
                  <a:spcPts val="0"/>
                </a:spcAft>
                <a:buFontTx/>
                <a:buChar char="•"/>
              </a:pPr>
              <a:r>
                <a:rPr lang="pt-BR" sz="1600" b="1" dirty="0">
                  <a:solidFill>
                    <a:srgbClr val="002060"/>
                  </a:solidFill>
                  <a:latin typeface="Corbel" pitchFamily="34" charset="0"/>
                  <a:ea typeface="ヒラギノ明朝 ProN W3"/>
                  <a:cs typeface="ヒラギノ明朝 ProN W3"/>
                </a:rPr>
                <a:t>Formação de Tecnólogos.</a:t>
              </a:r>
              <a:endParaRPr lang="pt-BR" sz="1600" dirty="0">
                <a:solidFill>
                  <a:srgbClr val="002060"/>
                </a:solidFill>
                <a:latin typeface="Corbel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pic>
        <p:nvPicPr>
          <p:cNvPr id="10" name="Picture 1"/>
          <p:cNvPicPr>
            <a:picLocks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457" y="9094"/>
            <a:ext cx="1593850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aixaDeTexto 10"/>
          <p:cNvSpPr txBox="1"/>
          <p:nvPr/>
        </p:nvSpPr>
        <p:spPr>
          <a:xfrm>
            <a:off x="6588224" y="4046108"/>
            <a:ext cx="2376344" cy="98750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itchFamily="34" charset="0"/>
              </a:rPr>
              <a:t>75.000</a:t>
            </a:r>
            <a:r>
              <a:rPr lang="pt-BR" sz="2800" b="1" dirty="0" smtClean="0">
                <a:solidFill>
                  <a:srgbClr val="C00000"/>
                </a:solidFill>
                <a:latin typeface="Corbel" pitchFamily="34" charset="0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000" b="1" dirty="0" smtClean="0">
                <a:solidFill>
                  <a:srgbClr val="002060"/>
                </a:solidFill>
                <a:latin typeface="Corbel" pitchFamily="34" charset="0"/>
              </a:rPr>
              <a:t>Governo Federal</a:t>
            </a:r>
            <a:endParaRPr lang="pt-BR" sz="2000" b="1" dirty="0">
              <a:solidFill>
                <a:srgbClr val="002060"/>
              </a:solidFill>
              <a:latin typeface="Corbel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6588224" y="5177800"/>
            <a:ext cx="2376080" cy="98750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itchFamily="34" charset="0"/>
              </a:rPr>
              <a:t>26.000</a:t>
            </a:r>
            <a:r>
              <a:rPr lang="pt-BR" sz="3200" b="1" dirty="0" smtClean="0">
                <a:solidFill>
                  <a:srgbClr val="C00000"/>
                </a:solidFill>
                <a:latin typeface="Corbel" pitchFamily="34" charset="0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000" b="1" dirty="0" smtClean="0">
                <a:solidFill>
                  <a:srgbClr val="002060"/>
                </a:solidFill>
                <a:latin typeface="Corbel" pitchFamily="34" charset="0"/>
              </a:rPr>
              <a:t>Empresas</a:t>
            </a:r>
            <a:endParaRPr lang="pt-BR" sz="2000" b="1" dirty="0">
              <a:solidFill>
                <a:srgbClr val="002060"/>
              </a:solidFill>
              <a:latin typeface="Corbel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6588224" y="1579153"/>
            <a:ext cx="2376344" cy="2281476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4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itchFamily="34" charset="0"/>
              </a:rPr>
              <a:t>101.000</a:t>
            </a: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itchFamily="34" charset="0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z="2800" b="1" dirty="0" smtClean="0">
                <a:solidFill>
                  <a:srgbClr val="002060"/>
                </a:solidFill>
                <a:latin typeface="Corbel" pitchFamily="34" charset="0"/>
              </a:rPr>
              <a:t>bolsas de estudos no exterior</a:t>
            </a:r>
            <a:endParaRPr lang="pt-BR" sz="2800" b="1" dirty="0">
              <a:solidFill>
                <a:srgbClr val="002060"/>
              </a:solidFill>
              <a:latin typeface="Corbe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87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681" y="1052736"/>
            <a:ext cx="5507037" cy="5184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Box 35"/>
          <p:cNvSpPr txBox="1">
            <a:spLocks noChangeArrowheads="1"/>
          </p:cNvSpPr>
          <p:nvPr/>
        </p:nvSpPr>
        <p:spPr bwMode="auto">
          <a:xfrm>
            <a:off x="322386" y="4390072"/>
            <a:ext cx="4465638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357188" eaLnBrk="0" hangingPunct="0">
              <a:defRPr b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357188" eaLnBrk="0" hangingPunct="0">
              <a:defRPr b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357188" eaLnBrk="0" hangingPunct="0">
              <a:defRPr b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357188" eaLnBrk="0" hangingPunct="0">
              <a:defRPr b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357188" eaLnBrk="0" hangingPunct="0">
              <a:defRPr b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357188" eaLnBrk="0" fontAlgn="base" hangingPunct="0">
              <a:lnSpc>
                <a:spcPct val="125000"/>
              </a:lnSpc>
              <a:spcBef>
                <a:spcPct val="25000"/>
              </a:spcBef>
              <a:spcAft>
                <a:spcPct val="0"/>
              </a:spcAft>
              <a:buFont typeface="Wingdings" pitchFamily="2" charset="2"/>
              <a:buChar char="ü"/>
              <a:defRPr b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357188" eaLnBrk="0" fontAlgn="base" hangingPunct="0">
              <a:lnSpc>
                <a:spcPct val="125000"/>
              </a:lnSpc>
              <a:spcBef>
                <a:spcPct val="25000"/>
              </a:spcBef>
              <a:spcAft>
                <a:spcPct val="0"/>
              </a:spcAft>
              <a:buFont typeface="Wingdings" pitchFamily="2" charset="2"/>
              <a:buChar char="ü"/>
              <a:defRPr b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357188" eaLnBrk="0" fontAlgn="base" hangingPunct="0">
              <a:lnSpc>
                <a:spcPct val="125000"/>
              </a:lnSpc>
              <a:spcBef>
                <a:spcPct val="25000"/>
              </a:spcBef>
              <a:spcAft>
                <a:spcPct val="0"/>
              </a:spcAft>
              <a:buFont typeface="Wingdings" pitchFamily="2" charset="2"/>
              <a:buChar char="ü"/>
              <a:defRPr b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357188" eaLnBrk="0" fontAlgn="base" hangingPunct="0">
              <a:lnSpc>
                <a:spcPct val="125000"/>
              </a:lnSpc>
              <a:spcBef>
                <a:spcPct val="25000"/>
              </a:spcBef>
              <a:spcAft>
                <a:spcPct val="0"/>
              </a:spcAft>
              <a:buFont typeface="Wingdings" pitchFamily="2" charset="2"/>
              <a:buChar char="ü"/>
              <a:defRPr b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sz="2000" dirty="0" smtClean="0">
                <a:solidFill>
                  <a:srgbClr val="000066"/>
                </a:solidFill>
                <a:latin typeface="Corbel" pitchFamily="34" charset="0"/>
              </a:rPr>
              <a:t>16 estados com leis sancionadas:</a:t>
            </a:r>
          </a:p>
          <a:p>
            <a:pPr algn="ctr" eaLnBrk="1" hangingPunct="1"/>
            <a:r>
              <a:rPr lang="pt-BR" sz="2000" dirty="0" smtClean="0">
                <a:solidFill>
                  <a:srgbClr val="000066"/>
                </a:solidFill>
                <a:latin typeface="Corbel" pitchFamily="34" charset="0"/>
              </a:rPr>
              <a:t>AM, CE, PE, AL, SE, BA, GO,</a:t>
            </a:r>
          </a:p>
          <a:p>
            <a:pPr algn="ctr" eaLnBrk="1" hangingPunct="1"/>
            <a:r>
              <a:rPr lang="pt-BR" sz="2000" dirty="0" smtClean="0">
                <a:solidFill>
                  <a:srgbClr val="000066"/>
                </a:solidFill>
                <a:latin typeface="Corbel" pitchFamily="34" charset="0"/>
              </a:rPr>
              <a:t>MT, MS, TO, MG, ES, RJ, SP, SC e RS </a:t>
            </a:r>
          </a:p>
          <a:p>
            <a:pPr eaLnBrk="1" hangingPunct="1"/>
            <a:endParaRPr lang="pt-BR" sz="2000" dirty="0" smtClean="0">
              <a:solidFill>
                <a:srgbClr val="000066"/>
              </a:solidFill>
              <a:latin typeface="Corbel" pitchFamily="34" charset="0"/>
            </a:endParaRPr>
          </a:p>
          <a:p>
            <a:pPr eaLnBrk="1" hangingPunct="1"/>
            <a:r>
              <a:rPr lang="pt-BR" sz="2000" dirty="0" smtClean="0">
                <a:solidFill>
                  <a:srgbClr val="336600"/>
                </a:solidFill>
                <a:latin typeface="Corbel" pitchFamily="34" charset="0"/>
              </a:rPr>
              <a:t>1 UF com projeto de lei em tramitação</a:t>
            </a:r>
          </a:p>
          <a:p>
            <a:pPr eaLnBrk="1" hangingPunct="1"/>
            <a:r>
              <a:rPr lang="pt-BR" sz="2000" dirty="0" smtClean="0">
                <a:solidFill>
                  <a:srgbClr val="A50021"/>
                </a:solidFill>
                <a:latin typeface="Corbel" pitchFamily="34" charset="0"/>
              </a:rPr>
              <a:t>3 estados elaboraram minuta de lei</a:t>
            </a:r>
          </a:p>
        </p:txBody>
      </p:sp>
      <p:sp>
        <p:nvSpPr>
          <p:cNvPr id="6" name="Título 3"/>
          <p:cNvSpPr>
            <a:spLocks noGrp="1"/>
          </p:cNvSpPr>
          <p:nvPr>
            <p:ph type="title"/>
          </p:nvPr>
        </p:nvSpPr>
        <p:spPr>
          <a:xfrm>
            <a:off x="323528" y="83160"/>
            <a:ext cx="6093568" cy="572987"/>
          </a:xfrm>
        </p:spPr>
        <p:txBody>
          <a:bodyPr>
            <a:normAutofit fontScale="90000"/>
          </a:bodyPr>
          <a:lstStyle/>
          <a:p>
            <a:r>
              <a:rPr lang="pt-BR" sz="3200" b="1" dirty="0" smtClean="0">
                <a:solidFill>
                  <a:srgbClr val="C00000"/>
                </a:solidFill>
                <a:latin typeface="Corbel" pitchFamily="34" charset="0"/>
              </a:rPr>
              <a:t>Leis de Inovação estaduais</a:t>
            </a:r>
            <a:endParaRPr lang="pt-BR" sz="3200" b="1" dirty="0">
              <a:solidFill>
                <a:srgbClr val="C00000"/>
              </a:solidFill>
              <a:latin typeface="Corbel" pitchFamily="34" charset="0"/>
            </a:endParaRPr>
          </a:p>
        </p:txBody>
      </p:sp>
      <p:pic>
        <p:nvPicPr>
          <p:cNvPr id="8" name="Imagem 15" descr="Logo_MCT_Corel_10_Curvas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152400" y="692696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 smtClean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093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678"/>
          <p:cNvSpPr txBox="1">
            <a:spLocks noChangeArrowheads="1"/>
          </p:cNvSpPr>
          <p:nvPr/>
        </p:nvSpPr>
        <p:spPr bwMode="auto">
          <a:xfrm>
            <a:off x="5867400" y="4487863"/>
            <a:ext cx="3276600" cy="183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pt-BR" sz="3600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2014 </a:t>
            </a:r>
            <a:r>
              <a:rPr lang="pt-BR" sz="2000" i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(previsão)</a:t>
            </a: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pt-BR" sz="1800" b="1" dirty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Total de sedes: </a:t>
            </a: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63</a:t>
            </a:r>
            <a:endParaRPr lang="pt-BR" sz="1800" b="1" dirty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Total de campus: </a:t>
            </a: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321</a:t>
            </a:r>
            <a:endParaRPr lang="pt-BR" sz="1800" b="1" dirty="0" smtClean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Municípios atendidos: </a:t>
            </a: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275</a:t>
            </a:r>
          </a:p>
        </p:txBody>
      </p:sp>
      <p:sp>
        <p:nvSpPr>
          <p:cNvPr id="5" name="CaixaDeTexto 679"/>
          <p:cNvSpPr txBox="1">
            <a:spLocks noChangeArrowheads="1"/>
          </p:cNvSpPr>
          <p:nvPr/>
        </p:nvSpPr>
        <p:spPr bwMode="auto">
          <a:xfrm>
            <a:off x="2933700" y="4487863"/>
            <a:ext cx="3275013" cy="183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pt-BR" sz="3600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2010</a:t>
            </a:r>
            <a:endParaRPr lang="pt-BR" sz="2000" i="1" dirty="0" smtClean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pt-BR" sz="1800" b="1" dirty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Total de sedes: </a:t>
            </a: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59</a:t>
            </a:r>
            <a:endParaRPr lang="pt-BR" sz="1800" b="1" dirty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Total de campus: </a:t>
            </a: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274</a:t>
            </a:r>
            <a:endParaRPr lang="pt-BR" sz="1800" b="1" dirty="0" smtClean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Municípios atendidos: </a:t>
            </a: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230</a:t>
            </a:r>
          </a:p>
        </p:txBody>
      </p:sp>
      <p:sp>
        <p:nvSpPr>
          <p:cNvPr id="6" name="CaixaDeTexto 680"/>
          <p:cNvSpPr txBox="1">
            <a:spLocks noChangeArrowheads="1"/>
          </p:cNvSpPr>
          <p:nvPr/>
        </p:nvSpPr>
        <p:spPr bwMode="auto">
          <a:xfrm>
            <a:off x="0" y="4487863"/>
            <a:ext cx="3276600" cy="183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pt-BR" sz="3600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2002</a:t>
            </a:r>
            <a:endParaRPr lang="pt-BR" sz="2000" i="1" dirty="0" smtClean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pt-BR" sz="1800" b="1" dirty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Total de </a:t>
            </a: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sedes: </a:t>
            </a: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43</a:t>
            </a:r>
            <a:endParaRPr lang="pt-BR" sz="1800" b="1" dirty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Total de campus: </a:t>
            </a: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148</a:t>
            </a:r>
            <a:endParaRPr lang="pt-BR" sz="1800" b="1" dirty="0" smtClean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pt-BR" sz="1800" b="1" dirty="0" smtClean="0">
                <a:solidFill>
                  <a:srgbClr val="002060"/>
                </a:solidFill>
                <a:latin typeface="Corbel" pitchFamily="34" charset="0"/>
                <a:cs typeface="Arial" pitchFamily="34" charset="0"/>
              </a:rPr>
              <a:t>Municípios atendidos: </a:t>
            </a: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114</a:t>
            </a:r>
            <a:endParaRPr lang="pt-BR" sz="1800" b="1" dirty="0" smtClean="0">
              <a:solidFill>
                <a:srgbClr val="C00000"/>
              </a:solidFill>
              <a:latin typeface="Corbel" pitchFamily="34" charset="0"/>
              <a:cs typeface="Arial" pitchFamily="34" charset="0"/>
            </a:endParaRPr>
          </a:p>
        </p:txBody>
      </p:sp>
      <p:grpSp>
        <p:nvGrpSpPr>
          <p:cNvPr id="7" name="Grupo 674"/>
          <p:cNvGrpSpPr>
            <a:grpSpLocks/>
          </p:cNvGrpSpPr>
          <p:nvPr/>
        </p:nvGrpSpPr>
        <p:grpSpPr bwMode="auto">
          <a:xfrm>
            <a:off x="136525" y="1554163"/>
            <a:ext cx="2922588" cy="2879725"/>
            <a:chOff x="136525" y="1554212"/>
            <a:chExt cx="2922588" cy="2879725"/>
          </a:xfrm>
        </p:grpSpPr>
        <p:grpSp>
          <p:nvGrpSpPr>
            <p:cNvPr id="8" name="Grupo 680"/>
            <p:cNvGrpSpPr>
              <a:grpSpLocks/>
            </p:cNvGrpSpPr>
            <p:nvPr/>
          </p:nvGrpSpPr>
          <p:grpSpPr bwMode="auto">
            <a:xfrm>
              <a:off x="136525" y="1554212"/>
              <a:ext cx="2922588" cy="2879725"/>
              <a:chOff x="136525" y="1463675"/>
              <a:chExt cx="2922588" cy="2879725"/>
            </a:xfrm>
          </p:grpSpPr>
          <p:grpSp>
            <p:nvGrpSpPr>
              <p:cNvPr id="10" name="Grupo 292"/>
              <p:cNvGrpSpPr>
                <a:grpSpLocks/>
              </p:cNvGrpSpPr>
              <p:nvPr/>
            </p:nvGrpSpPr>
            <p:grpSpPr bwMode="auto">
              <a:xfrm>
                <a:off x="136525" y="1463675"/>
                <a:ext cx="2922588" cy="2879725"/>
                <a:chOff x="1274379" y="461924"/>
                <a:chExt cx="6156000" cy="6019176"/>
              </a:xfrm>
            </p:grpSpPr>
            <p:sp>
              <p:nvSpPr>
                <p:cNvPr id="116" name="Freeform 26"/>
                <p:cNvSpPr>
                  <a:spLocks noChangeAspect="1"/>
                </p:cNvSpPr>
                <p:nvPr/>
              </p:nvSpPr>
              <p:spPr bwMode="auto">
                <a:xfrm>
                  <a:off x="3611720" y="3922783"/>
                  <a:ext cx="1076715" cy="1065136"/>
                </a:xfrm>
                <a:custGeom>
                  <a:avLst/>
                  <a:gdLst>
                    <a:gd name="T0" fmla="*/ 2147483647 w 688"/>
                    <a:gd name="T1" fmla="*/ 2147483647 h 637"/>
                    <a:gd name="T2" fmla="*/ 2147483647 w 688"/>
                    <a:gd name="T3" fmla="*/ 2147483647 h 637"/>
                    <a:gd name="T4" fmla="*/ 2147483647 w 688"/>
                    <a:gd name="T5" fmla="*/ 2147483647 h 637"/>
                    <a:gd name="T6" fmla="*/ 2147483647 w 688"/>
                    <a:gd name="T7" fmla="*/ 2147483647 h 637"/>
                    <a:gd name="T8" fmla="*/ 2147483647 w 688"/>
                    <a:gd name="T9" fmla="*/ 2147483647 h 637"/>
                    <a:gd name="T10" fmla="*/ 2147483647 w 688"/>
                    <a:gd name="T11" fmla="*/ 2147483647 h 637"/>
                    <a:gd name="T12" fmla="*/ 2147483647 w 688"/>
                    <a:gd name="T13" fmla="*/ 2147483647 h 637"/>
                    <a:gd name="T14" fmla="*/ 2147483647 w 688"/>
                    <a:gd name="T15" fmla="*/ 2147483647 h 637"/>
                    <a:gd name="T16" fmla="*/ 2147483647 w 688"/>
                    <a:gd name="T17" fmla="*/ 2147483647 h 637"/>
                    <a:gd name="T18" fmla="*/ 2147483647 w 688"/>
                    <a:gd name="T19" fmla="*/ 2147483647 h 637"/>
                    <a:gd name="T20" fmla="*/ 2147483647 w 688"/>
                    <a:gd name="T21" fmla="*/ 2147483647 h 637"/>
                    <a:gd name="T22" fmla="*/ 2147483647 w 688"/>
                    <a:gd name="T23" fmla="*/ 2147483647 h 637"/>
                    <a:gd name="T24" fmla="*/ 2147483647 w 688"/>
                    <a:gd name="T25" fmla="*/ 2147483647 h 637"/>
                    <a:gd name="T26" fmla="*/ 2147483647 w 688"/>
                    <a:gd name="T27" fmla="*/ 2147483647 h 637"/>
                    <a:gd name="T28" fmla="*/ 2147483647 w 688"/>
                    <a:gd name="T29" fmla="*/ 2147483647 h 637"/>
                    <a:gd name="T30" fmla="*/ 2147483647 w 688"/>
                    <a:gd name="T31" fmla="*/ 2147483647 h 637"/>
                    <a:gd name="T32" fmla="*/ 2147483647 w 688"/>
                    <a:gd name="T33" fmla="*/ 2147483647 h 637"/>
                    <a:gd name="T34" fmla="*/ 2147483647 w 688"/>
                    <a:gd name="T35" fmla="*/ 2147483647 h 637"/>
                    <a:gd name="T36" fmla="*/ 2147483647 w 688"/>
                    <a:gd name="T37" fmla="*/ 2147483647 h 637"/>
                    <a:gd name="T38" fmla="*/ 2147483647 w 688"/>
                    <a:gd name="T39" fmla="*/ 2147483647 h 637"/>
                    <a:gd name="T40" fmla="*/ 2147483647 w 688"/>
                    <a:gd name="T41" fmla="*/ 2147483647 h 637"/>
                    <a:gd name="T42" fmla="*/ 2147483647 w 688"/>
                    <a:gd name="T43" fmla="*/ 2147483647 h 637"/>
                    <a:gd name="T44" fmla="*/ 2147483647 w 688"/>
                    <a:gd name="T45" fmla="*/ 2147483647 h 637"/>
                    <a:gd name="T46" fmla="*/ 2147483647 w 688"/>
                    <a:gd name="T47" fmla="*/ 2147483647 h 637"/>
                    <a:gd name="T48" fmla="*/ 2147483647 w 688"/>
                    <a:gd name="T49" fmla="*/ 2147483647 h 637"/>
                    <a:gd name="T50" fmla="*/ 2147483647 w 688"/>
                    <a:gd name="T51" fmla="*/ 2147483647 h 637"/>
                    <a:gd name="T52" fmla="*/ 2147483647 w 688"/>
                    <a:gd name="T53" fmla="*/ 2147483647 h 637"/>
                    <a:gd name="T54" fmla="*/ 2147483647 w 688"/>
                    <a:gd name="T55" fmla="*/ 2147483647 h 637"/>
                    <a:gd name="T56" fmla="*/ 2147483647 w 688"/>
                    <a:gd name="T57" fmla="*/ 2147483647 h 637"/>
                    <a:gd name="T58" fmla="*/ 2147483647 w 688"/>
                    <a:gd name="T59" fmla="*/ 2147483647 h 637"/>
                    <a:gd name="T60" fmla="*/ 2147483647 w 688"/>
                    <a:gd name="T61" fmla="*/ 2147483647 h 637"/>
                    <a:gd name="T62" fmla="*/ 2147483647 w 688"/>
                    <a:gd name="T63" fmla="*/ 2147483647 h 637"/>
                    <a:gd name="T64" fmla="*/ 2147483647 w 688"/>
                    <a:gd name="T65" fmla="*/ 2147483647 h 637"/>
                    <a:gd name="T66" fmla="*/ 2147483647 w 688"/>
                    <a:gd name="T67" fmla="*/ 2147483647 h 637"/>
                    <a:gd name="T68" fmla="*/ 2147483647 w 688"/>
                    <a:gd name="T69" fmla="*/ 2147483647 h 637"/>
                    <a:gd name="T70" fmla="*/ 2147483647 w 688"/>
                    <a:gd name="T71" fmla="*/ 2147483647 h 637"/>
                    <a:gd name="T72" fmla="*/ 2147483647 w 688"/>
                    <a:gd name="T73" fmla="*/ 2147483647 h 637"/>
                    <a:gd name="T74" fmla="*/ 2147483647 w 688"/>
                    <a:gd name="T75" fmla="*/ 2147483647 h 637"/>
                    <a:gd name="T76" fmla="*/ 2147483647 w 688"/>
                    <a:gd name="T77" fmla="*/ 2147483647 h 637"/>
                    <a:gd name="T78" fmla="*/ 2147483647 w 688"/>
                    <a:gd name="T79" fmla="*/ 2147483647 h 637"/>
                    <a:gd name="T80" fmla="*/ 2147483647 w 688"/>
                    <a:gd name="T81" fmla="*/ 2147483647 h 637"/>
                    <a:gd name="T82" fmla="*/ 2147483647 w 688"/>
                    <a:gd name="T83" fmla="*/ 2147483647 h 637"/>
                    <a:gd name="T84" fmla="*/ 2147483647 w 688"/>
                    <a:gd name="T85" fmla="*/ 2147483647 h 637"/>
                    <a:gd name="T86" fmla="*/ 2147483647 w 688"/>
                    <a:gd name="T87" fmla="*/ 2147483647 h 637"/>
                    <a:gd name="T88" fmla="*/ 2147483647 w 688"/>
                    <a:gd name="T89" fmla="*/ 2147483647 h 637"/>
                    <a:gd name="T90" fmla="*/ 2147483647 w 688"/>
                    <a:gd name="T91" fmla="*/ 2147483647 h 637"/>
                    <a:gd name="T92" fmla="*/ 2147483647 w 688"/>
                    <a:gd name="T93" fmla="*/ 2147483647 h 637"/>
                    <a:gd name="T94" fmla="*/ 2147483647 w 688"/>
                    <a:gd name="T95" fmla="*/ 2147483647 h 637"/>
                    <a:gd name="T96" fmla="*/ 2147483647 w 688"/>
                    <a:gd name="T97" fmla="*/ 2147483647 h 637"/>
                    <a:gd name="T98" fmla="*/ 2147483647 w 688"/>
                    <a:gd name="T99" fmla="*/ 2147483647 h 637"/>
                    <a:gd name="T100" fmla="*/ 2147483647 w 688"/>
                    <a:gd name="T101" fmla="*/ 2147483647 h 637"/>
                    <a:gd name="T102" fmla="*/ 2147483647 w 688"/>
                    <a:gd name="T103" fmla="*/ 2147483647 h 637"/>
                    <a:gd name="T104" fmla="*/ 2147483647 w 688"/>
                    <a:gd name="T105" fmla="*/ 2147483647 h 637"/>
                    <a:gd name="T106" fmla="*/ 2147483647 w 688"/>
                    <a:gd name="T107" fmla="*/ 2147483647 h 637"/>
                    <a:gd name="T108" fmla="*/ 2147483647 w 688"/>
                    <a:gd name="T109" fmla="*/ 2147483647 h 637"/>
                    <a:gd name="T110" fmla="*/ 2147483647 w 688"/>
                    <a:gd name="T111" fmla="*/ 2147483647 h 637"/>
                    <a:gd name="T112" fmla="*/ 2147483647 w 688"/>
                    <a:gd name="T113" fmla="*/ 2147483647 h 637"/>
                    <a:gd name="T114" fmla="*/ 2147483647 w 688"/>
                    <a:gd name="T115" fmla="*/ 2147483647 h 637"/>
                    <a:gd name="T116" fmla="*/ 2147483647 w 688"/>
                    <a:gd name="T117" fmla="*/ 2147483647 h 637"/>
                    <a:gd name="T118" fmla="*/ 2147483647 w 688"/>
                    <a:gd name="T119" fmla="*/ 2147483647 h 637"/>
                    <a:gd name="T120" fmla="*/ 2147483647 w 688"/>
                    <a:gd name="T121" fmla="*/ 2147483647 h 637"/>
                    <a:gd name="T122" fmla="*/ 2147483647 w 688"/>
                    <a:gd name="T123" fmla="*/ 2147483647 h 637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688"/>
                    <a:gd name="T187" fmla="*/ 0 h 637"/>
                    <a:gd name="T188" fmla="*/ 688 w 688"/>
                    <a:gd name="T189" fmla="*/ 637 h 637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688" h="637">
                      <a:moveTo>
                        <a:pt x="629" y="183"/>
                      </a:moveTo>
                      <a:lnTo>
                        <a:pt x="630" y="183"/>
                      </a:lnTo>
                      <a:lnTo>
                        <a:pt x="632" y="184"/>
                      </a:lnTo>
                      <a:lnTo>
                        <a:pt x="634" y="184"/>
                      </a:lnTo>
                      <a:lnTo>
                        <a:pt x="632" y="184"/>
                      </a:lnTo>
                      <a:lnTo>
                        <a:pt x="634" y="184"/>
                      </a:lnTo>
                      <a:lnTo>
                        <a:pt x="635" y="184"/>
                      </a:lnTo>
                      <a:lnTo>
                        <a:pt x="637" y="184"/>
                      </a:lnTo>
                      <a:lnTo>
                        <a:pt x="637" y="186"/>
                      </a:lnTo>
                      <a:lnTo>
                        <a:pt x="637" y="184"/>
                      </a:lnTo>
                      <a:lnTo>
                        <a:pt x="639" y="184"/>
                      </a:lnTo>
                      <a:lnTo>
                        <a:pt x="639" y="186"/>
                      </a:lnTo>
                      <a:lnTo>
                        <a:pt x="640" y="186"/>
                      </a:lnTo>
                      <a:lnTo>
                        <a:pt x="642" y="186"/>
                      </a:lnTo>
                      <a:lnTo>
                        <a:pt x="642" y="188"/>
                      </a:lnTo>
                      <a:lnTo>
                        <a:pt x="644" y="188"/>
                      </a:lnTo>
                      <a:lnTo>
                        <a:pt x="645" y="188"/>
                      </a:lnTo>
                      <a:lnTo>
                        <a:pt x="645" y="189"/>
                      </a:lnTo>
                      <a:lnTo>
                        <a:pt x="645" y="191"/>
                      </a:lnTo>
                      <a:lnTo>
                        <a:pt x="647" y="191"/>
                      </a:lnTo>
                      <a:lnTo>
                        <a:pt x="647" y="189"/>
                      </a:lnTo>
                      <a:lnTo>
                        <a:pt x="649" y="191"/>
                      </a:lnTo>
                      <a:lnTo>
                        <a:pt x="651" y="191"/>
                      </a:lnTo>
                      <a:lnTo>
                        <a:pt x="652" y="191"/>
                      </a:lnTo>
                      <a:lnTo>
                        <a:pt x="651" y="191"/>
                      </a:lnTo>
                      <a:lnTo>
                        <a:pt x="651" y="192"/>
                      </a:lnTo>
                      <a:lnTo>
                        <a:pt x="652" y="192"/>
                      </a:lnTo>
                      <a:lnTo>
                        <a:pt x="654" y="192"/>
                      </a:lnTo>
                      <a:lnTo>
                        <a:pt x="654" y="194"/>
                      </a:lnTo>
                      <a:lnTo>
                        <a:pt x="656" y="194"/>
                      </a:lnTo>
                      <a:lnTo>
                        <a:pt x="657" y="196"/>
                      </a:lnTo>
                      <a:lnTo>
                        <a:pt x="657" y="194"/>
                      </a:lnTo>
                      <a:lnTo>
                        <a:pt x="659" y="194"/>
                      </a:lnTo>
                      <a:lnTo>
                        <a:pt x="661" y="194"/>
                      </a:lnTo>
                      <a:lnTo>
                        <a:pt x="662" y="194"/>
                      </a:lnTo>
                      <a:lnTo>
                        <a:pt x="662" y="196"/>
                      </a:lnTo>
                      <a:lnTo>
                        <a:pt x="664" y="196"/>
                      </a:lnTo>
                      <a:lnTo>
                        <a:pt x="666" y="196"/>
                      </a:lnTo>
                      <a:lnTo>
                        <a:pt x="667" y="196"/>
                      </a:lnTo>
                      <a:lnTo>
                        <a:pt x="667" y="197"/>
                      </a:lnTo>
                      <a:lnTo>
                        <a:pt x="669" y="197"/>
                      </a:lnTo>
                      <a:lnTo>
                        <a:pt x="671" y="199"/>
                      </a:lnTo>
                      <a:lnTo>
                        <a:pt x="671" y="197"/>
                      </a:lnTo>
                      <a:lnTo>
                        <a:pt x="673" y="199"/>
                      </a:lnTo>
                      <a:lnTo>
                        <a:pt x="674" y="199"/>
                      </a:lnTo>
                      <a:lnTo>
                        <a:pt x="674" y="201"/>
                      </a:lnTo>
                      <a:lnTo>
                        <a:pt x="676" y="201"/>
                      </a:lnTo>
                      <a:lnTo>
                        <a:pt x="676" y="202"/>
                      </a:lnTo>
                      <a:lnTo>
                        <a:pt x="676" y="204"/>
                      </a:lnTo>
                      <a:lnTo>
                        <a:pt x="678" y="202"/>
                      </a:lnTo>
                      <a:lnTo>
                        <a:pt x="678" y="204"/>
                      </a:lnTo>
                      <a:lnTo>
                        <a:pt x="678" y="206"/>
                      </a:lnTo>
                      <a:lnTo>
                        <a:pt x="679" y="206"/>
                      </a:lnTo>
                      <a:lnTo>
                        <a:pt x="678" y="206"/>
                      </a:lnTo>
                      <a:lnTo>
                        <a:pt x="678" y="207"/>
                      </a:lnTo>
                      <a:lnTo>
                        <a:pt x="679" y="207"/>
                      </a:lnTo>
                      <a:lnTo>
                        <a:pt x="681" y="207"/>
                      </a:lnTo>
                      <a:lnTo>
                        <a:pt x="679" y="207"/>
                      </a:lnTo>
                      <a:lnTo>
                        <a:pt x="681" y="207"/>
                      </a:lnTo>
                      <a:lnTo>
                        <a:pt x="683" y="207"/>
                      </a:lnTo>
                      <a:lnTo>
                        <a:pt x="683" y="209"/>
                      </a:lnTo>
                      <a:lnTo>
                        <a:pt x="681" y="209"/>
                      </a:lnTo>
                      <a:lnTo>
                        <a:pt x="683" y="210"/>
                      </a:lnTo>
                      <a:lnTo>
                        <a:pt x="684" y="210"/>
                      </a:lnTo>
                      <a:lnTo>
                        <a:pt x="686" y="212"/>
                      </a:lnTo>
                      <a:lnTo>
                        <a:pt x="686" y="214"/>
                      </a:lnTo>
                      <a:lnTo>
                        <a:pt x="684" y="214"/>
                      </a:lnTo>
                      <a:lnTo>
                        <a:pt x="684" y="215"/>
                      </a:lnTo>
                      <a:lnTo>
                        <a:pt x="686" y="219"/>
                      </a:lnTo>
                      <a:lnTo>
                        <a:pt x="688" y="220"/>
                      </a:lnTo>
                      <a:lnTo>
                        <a:pt x="688" y="222"/>
                      </a:lnTo>
                      <a:lnTo>
                        <a:pt x="688" y="224"/>
                      </a:lnTo>
                      <a:lnTo>
                        <a:pt x="686" y="224"/>
                      </a:lnTo>
                      <a:lnTo>
                        <a:pt x="686" y="225"/>
                      </a:lnTo>
                      <a:lnTo>
                        <a:pt x="686" y="224"/>
                      </a:lnTo>
                      <a:lnTo>
                        <a:pt x="684" y="224"/>
                      </a:lnTo>
                      <a:lnTo>
                        <a:pt x="683" y="224"/>
                      </a:lnTo>
                      <a:lnTo>
                        <a:pt x="681" y="224"/>
                      </a:lnTo>
                      <a:lnTo>
                        <a:pt x="681" y="225"/>
                      </a:lnTo>
                      <a:lnTo>
                        <a:pt x="681" y="227"/>
                      </a:lnTo>
                      <a:lnTo>
                        <a:pt x="679" y="229"/>
                      </a:lnTo>
                      <a:lnTo>
                        <a:pt x="679" y="230"/>
                      </a:lnTo>
                      <a:lnTo>
                        <a:pt x="679" y="232"/>
                      </a:lnTo>
                      <a:lnTo>
                        <a:pt x="678" y="233"/>
                      </a:lnTo>
                      <a:lnTo>
                        <a:pt x="676" y="235"/>
                      </a:lnTo>
                      <a:lnTo>
                        <a:pt x="678" y="237"/>
                      </a:lnTo>
                      <a:lnTo>
                        <a:pt x="676" y="237"/>
                      </a:lnTo>
                      <a:lnTo>
                        <a:pt x="676" y="238"/>
                      </a:lnTo>
                      <a:lnTo>
                        <a:pt x="678" y="240"/>
                      </a:lnTo>
                      <a:lnTo>
                        <a:pt x="678" y="242"/>
                      </a:lnTo>
                      <a:lnTo>
                        <a:pt x="678" y="243"/>
                      </a:lnTo>
                      <a:lnTo>
                        <a:pt x="678" y="245"/>
                      </a:lnTo>
                      <a:lnTo>
                        <a:pt x="679" y="247"/>
                      </a:lnTo>
                      <a:lnTo>
                        <a:pt x="679" y="250"/>
                      </a:lnTo>
                      <a:lnTo>
                        <a:pt x="679" y="252"/>
                      </a:lnTo>
                      <a:lnTo>
                        <a:pt x="679" y="253"/>
                      </a:lnTo>
                      <a:lnTo>
                        <a:pt x="681" y="253"/>
                      </a:lnTo>
                      <a:lnTo>
                        <a:pt x="681" y="255"/>
                      </a:lnTo>
                      <a:lnTo>
                        <a:pt x="679" y="256"/>
                      </a:lnTo>
                      <a:lnTo>
                        <a:pt x="679" y="258"/>
                      </a:lnTo>
                      <a:lnTo>
                        <a:pt x="678" y="258"/>
                      </a:lnTo>
                      <a:lnTo>
                        <a:pt x="679" y="260"/>
                      </a:lnTo>
                      <a:lnTo>
                        <a:pt x="679" y="261"/>
                      </a:lnTo>
                      <a:lnTo>
                        <a:pt x="679" y="263"/>
                      </a:lnTo>
                      <a:lnTo>
                        <a:pt x="679" y="265"/>
                      </a:lnTo>
                      <a:lnTo>
                        <a:pt x="679" y="266"/>
                      </a:lnTo>
                      <a:lnTo>
                        <a:pt x="679" y="268"/>
                      </a:lnTo>
                      <a:lnTo>
                        <a:pt x="679" y="270"/>
                      </a:lnTo>
                      <a:lnTo>
                        <a:pt x="681" y="270"/>
                      </a:lnTo>
                      <a:lnTo>
                        <a:pt x="681" y="271"/>
                      </a:lnTo>
                      <a:lnTo>
                        <a:pt x="679" y="271"/>
                      </a:lnTo>
                      <a:lnTo>
                        <a:pt x="679" y="273"/>
                      </a:lnTo>
                      <a:lnTo>
                        <a:pt x="678" y="276"/>
                      </a:lnTo>
                      <a:lnTo>
                        <a:pt x="678" y="278"/>
                      </a:lnTo>
                      <a:lnTo>
                        <a:pt x="676" y="281"/>
                      </a:lnTo>
                      <a:lnTo>
                        <a:pt x="676" y="283"/>
                      </a:lnTo>
                      <a:lnTo>
                        <a:pt x="674" y="284"/>
                      </a:lnTo>
                      <a:lnTo>
                        <a:pt x="674" y="286"/>
                      </a:lnTo>
                      <a:lnTo>
                        <a:pt x="671" y="288"/>
                      </a:lnTo>
                      <a:lnTo>
                        <a:pt x="669" y="289"/>
                      </a:lnTo>
                      <a:lnTo>
                        <a:pt x="667" y="289"/>
                      </a:lnTo>
                      <a:lnTo>
                        <a:pt x="666" y="291"/>
                      </a:lnTo>
                      <a:lnTo>
                        <a:pt x="664" y="291"/>
                      </a:lnTo>
                      <a:lnTo>
                        <a:pt x="662" y="291"/>
                      </a:lnTo>
                      <a:lnTo>
                        <a:pt x="657" y="291"/>
                      </a:lnTo>
                      <a:lnTo>
                        <a:pt x="652" y="293"/>
                      </a:lnTo>
                      <a:lnTo>
                        <a:pt x="651" y="293"/>
                      </a:lnTo>
                      <a:lnTo>
                        <a:pt x="647" y="294"/>
                      </a:lnTo>
                      <a:lnTo>
                        <a:pt x="647" y="296"/>
                      </a:lnTo>
                      <a:lnTo>
                        <a:pt x="645" y="298"/>
                      </a:lnTo>
                      <a:lnTo>
                        <a:pt x="645" y="299"/>
                      </a:lnTo>
                      <a:lnTo>
                        <a:pt x="642" y="304"/>
                      </a:lnTo>
                      <a:lnTo>
                        <a:pt x="640" y="306"/>
                      </a:lnTo>
                      <a:lnTo>
                        <a:pt x="639" y="306"/>
                      </a:lnTo>
                      <a:lnTo>
                        <a:pt x="637" y="307"/>
                      </a:lnTo>
                      <a:lnTo>
                        <a:pt x="637" y="309"/>
                      </a:lnTo>
                      <a:lnTo>
                        <a:pt x="635" y="309"/>
                      </a:lnTo>
                      <a:lnTo>
                        <a:pt x="634" y="312"/>
                      </a:lnTo>
                      <a:lnTo>
                        <a:pt x="634" y="314"/>
                      </a:lnTo>
                      <a:lnTo>
                        <a:pt x="632" y="316"/>
                      </a:lnTo>
                      <a:lnTo>
                        <a:pt x="630" y="316"/>
                      </a:lnTo>
                      <a:lnTo>
                        <a:pt x="630" y="317"/>
                      </a:lnTo>
                      <a:lnTo>
                        <a:pt x="627" y="319"/>
                      </a:lnTo>
                      <a:lnTo>
                        <a:pt x="625" y="321"/>
                      </a:lnTo>
                      <a:lnTo>
                        <a:pt x="624" y="322"/>
                      </a:lnTo>
                      <a:lnTo>
                        <a:pt x="624" y="324"/>
                      </a:lnTo>
                      <a:lnTo>
                        <a:pt x="622" y="325"/>
                      </a:lnTo>
                      <a:lnTo>
                        <a:pt x="622" y="327"/>
                      </a:lnTo>
                      <a:lnTo>
                        <a:pt x="620" y="330"/>
                      </a:lnTo>
                      <a:lnTo>
                        <a:pt x="620" y="332"/>
                      </a:lnTo>
                      <a:lnTo>
                        <a:pt x="622" y="334"/>
                      </a:lnTo>
                      <a:lnTo>
                        <a:pt x="620" y="334"/>
                      </a:lnTo>
                      <a:lnTo>
                        <a:pt x="620" y="335"/>
                      </a:lnTo>
                      <a:lnTo>
                        <a:pt x="622" y="335"/>
                      </a:lnTo>
                      <a:lnTo>
                        <a:pt x="620" y="339"/>
                      </a:lnTo>
                      <a:lnTo>
                        <a:pt x="620" y="342"/>
                      </a:lnTo>
                      <a:lnTo>
                        <a:pt x="622" y="344"/>
                      </a:lnTo>
                      <a:lnTo>
                        <a:pt x="622" y="345"/>
                      </a:lnTo>
                      <a:lnTo>
                        <a:pt x="622" y="347"/>
                      </a:lnTo>
                      <a:lnTo>
                        <a:pt x="622" y="348"/>
                      </a:lnTo>
                      <a:lnTo>
                        <a:pt x="620" y="350"/>
                      </a:lnTo>
                      <a:lnTo>
                        <a:pt x="618" y="350"/>
                      </a:lnTo>
                      <a:lnTo>
                        <a:pt x="618" y="352"/>
                      </a:lnTo>
                      <a:lnTo>
                        <a:pt x="617" y="352"/>
                      </a:lnTo>
                      <a:lnTo>
                        <a:pt x="615" y="352"/>
                      </a:lnTo>
                      <a:lnTo>
                        <a:pt x="613" y="352"/>
                      </a:lnTo>
                      <a:lnTo>
                        <a:pt x="612" y="352"/>
                      </a:lnTo>
                      <a:lnTo>
                        <a:pt x="612" y="353"/>
                      </a:lnTo>
                      <a:lnTo>
                        <a:pt x="610" y="353"/>
                      </a:lnTo>
                      <a:lnTo>
                        <a:pt x="610" y="355"/>
                      </a:lnTo>
                      <a:lnTo>
                        <a:pt x="608" y="355"/>
                      </a:lnTo>
                      <a:lnTo>
                        <a:pt x="608" y="357"/>
                      </a:lnTo>
                      <a:lnTo>
                        <a:pt x="607" y="358"/>
                      </a:lnTo>
                      <a:lnTo>
                        <a:pt x="607" y="360"/>
                      </a:lnTo>
                      <a:lnTo>
                        <a:pt x="607" y="362"/>
                      </a:lnTo>
                      <a:lnTo>
                        <a:pt x="607" y="363"/>
                      </a:lnTo>
                      <a:lnTo>
                        <a:pt x="605" y="363"/>
                      </a:lnTo>
                      <a:lnTo>
                        <a:pt x="605" y="365"/>
                      </a:lnTo>
                      <a:lnTo>
                        <a:pt x="603" y="365"/>
                      </a:lnTo>
                      <a:lnTo>
                        <a:pt x="603" y="367"/>
                      </a:lnTo>
                      <a:lnTo>
                        <a:pt x="602" y="367"/>
                      </a:lnTo>
                      <a:lnTo>
                        <a:pt x="600" y="367"/>
                      </a:lnTo>
                      <a:lnTo>
                        <a:pt x="598" y="367"/>
                      </a:lnTo>
                      <a:lnTo>
                        <a:pt x="597" y="367"/>
                      </a:lnTo>
                      <a:lnTo>
                        <a:pt x="597" y="368"/>
                      </a:lnTo>
                      <a:lnTo>
                        <a:pt x="598" y="371"/>
                      </a:lnTo>
                      <a:lnTo>
                        <a:pt x="597" y="371"/>
                      </a:lnTo>
                      <a:lnTo>
                        <a:pt x="597" y="373"/>
                      </a:lnTo>
                      <a:lnTo>
                        <a:pt x="598" y="373"/>
                      </a:lnTo>
                      <a:lnTo>
                        <a:pt x="598" y="375"/>
                      </a:lnTo>
                      <a:lnTo>
                        <a:pt x="598" y="376"/>
                      </a:lnTo>
                      <a:lnTo>
                        <a:pt x="600" y="378"/>
                      </a:lnTo>
                      <a:lnTo>
                        <a:pt x="600" y="380"/>
                      </a:lnTo>
                      <a:lnTo>
                        <a:pt x="600" y="381"/>
                      </a:lnTo>
                      <a:lnTo>
                        <a:pt x="598" y="383"/>
                      </a:lnTo>
                      <a:lnTo>
                        <a:pt x="598" y="385"/>
                      </a:lnTo>
                      <a:lnTo>
                        <a:pt x="598" y="386"/>
                      </a:lnTo>
                      <a:lnTo>
                        <a:pt x="597" y="388"/>
                      </a:lnTo>
                      <a:lnTo>
                        <a:pt x="595" y="390"/>
                      </a:lnTo>
                      <a:lnTo>
                        <a:pt x="593" y="391"/>
                      </a:lnTo>
                      <a:lnTo>
                        <a:pt x="593" y="393"/>
                      </a:lnTo>
                      <a:lnTo>
                        <a:pt x="593" y="394"/>
                      </a:lnTo>
                      <a:lnTo>
                        <a:pt x="593" y="396"/>
                      </a:lnTo>
                      <a:lnTo>
                        <a:pt x="591" y="396"/>
                      </a:lnTo>
                      <a:lnTo>
                        <a:pt x="591" y="398"/>
                      </a:lnTo>
                      <a:lnTo>
                        <a:pt x="590" y="398"/>
                      </a:lnTo>
                      <a:lnTo>
                        <a:pt x="590" y="399"/>
                      </a:lnTo>
                      <a:lnTo>
                        <a:pt x="588" y="401"/>
                      </a:lnTo>
                      <a:lnTo>
                        <a:pt x="586" y="401"/>
                      </a:lnTo>
                      <a:lnTo>
                        <a:pt x="586" y="403"/>
                      </a:lnTo>
                      <a:lnTo>
                        <a:pt x="585" y="401"/>
                      </a:lnTo>
                      <a:lnTo>
                        <a:pt x="581" y="401"/>
                      </a:lnTo>
                      <a:lnTo>
                        <a:pt x="580" y="401"/>
                      </a:lnTo>
                      <a:lnTo>
                        <a:pt x="578" y="401"/>
                      </a:lnTo>
                      <a:lnTo>
                        <a:pt x="578" y="403"/>
                      </a:lnTo>
                      <a:lnTo>
                        <a:pt x="576" y="404"/>
                      </a:lnTo>
                      <a:lnTo>
                        <a:pt x="576" y="406"/>
                      </a:lnTo>
                      <a:lnTo>
                        <a:pt x="576" y="408"/>
                      </a:lnTo>
                      <a:lnTo>
                        <a:pt x="578" y="408"/>
                      </a:lnTo>
                      <a:lnTo>
                        <a:pt x="578" y="409"/>
                      </a:lnTo>
                      <a:lnTo>
                        <a:pt x="580" y="409"/>
                      </a:lnTo>
                      <a:lnTo>
                        <a:pt x="580" y="411"/>
                      </a:lnTo>
                      <a:lnTo>
                        <a:pt x="580" y="412"/>
                      </a:lnTo>
                      <a:lnTo>
                        <a:pt x="581" y="412"/>
                      </a:lnTo>
                      <a:lnTo>
                        <a:pt x="581" y="414"/>
                      </a:lnTo>
                      <a:lnTo>
                        <a:pt x="581" y="416"/>
                      </a:lnTo>
                      <a:lnTo>
                        <a:pt x="580" y="417"/>
                      </a:lnTo>
                      <a:lnTo>
                        <a:pt x="580" y="419"/>
                      </a:lnTo>
                      <a:lnTo>
                        <a:pt x="578" y="421"/>
                      </a:lnTo>
                      <a:lnTo>
                        <a:pt x="576" y="422"/>
                      </a:lnTo>
                      <a:lnTo>
                        <a:pt x="575" y="424"/>
                      </a:lnTo>
                      <a:lnTo>
                        <a:pt x="573" y="424"/>
                      </a:lnTo>
                      <a:lnTo>
                        <a:pt x="571" y="424"/>
                      </a:lnTo>
                      <a:lnTo>
                        <a:pt x="569" y="426"/>
                      </a:lnTo>
                      <a:lnTo>
                        <a:pt x="569" y="427"/>
                      </a:lnTo>
                      <a:lnTo>
                        <a:pt x="568" y="429"/>
                      </a:lnTo>
                      <a:lnTo>
                        <a:pt x="568" y="431"/>
                      </a:lnTo>
                      <a:lnTo>
                        <a:pt x="568" y="432"/>
                      </a:lnTo>
                      <a:lnTo>
                        <a:pt x="566" y="434"/>
                      </a:lnTo>
                      <a:lnTo>
                        <a:pt x="564" y="435"/>
                      </a:lnTo>
                      <a:lnTo>
                        <a:pt x="563" y="435"/>
                      </a:lnTo>
                      <a:lnTo>
                        <a:pt x="563" y="437"/>
                      </a:lnTo>
                      <a:lnTo>
                        <a:pt x="561" y="437"/>
                      </a:lnTo>
                      <a:lnTo>
                        <a:pt x="561" y="439"/>
                      </a:lnTo>
                      <a:lnTo>
                        <a:pt x="559" y="439"/>
                      </a:lnTo>
                      <a:lnTo>
                        <a:pt x="558" y="440"/>
                      </a:lnTo>
                      <a:lnTo>
                        <a:pt x="556" y="442"/>
                      </a:lnTo>
                      <a:lnTo>
                        <a:pt x="556" y="444"/>
                      </a:lnTo>
                      <a:lnTo>
                        <a:pt x="554" y="445"/>
                      </a:lnTo>
                      <a:lnTo>
                        <a:pt x="554" y="447"/>
                      </a:lnTo>
                      <a:lnTo>
                        <a:pt x="554" y="449"/>
                      </a:lnTo>
                      <a:lnTo>
                        <a:pt x="553" y="450"/>
                      </a:lnTo>
                      <a:lnTo>
                        <a:pt x="553" y="452"/>
                      </a:lnTo>
                      <a:lnTo>
                        <a:pt x="553" y="454"/>
                      </a:lnTo>
                      <a:lnTo>
                        <a:pt x="551" y="455"/>
                      </a:lnTo>
                      <a:lnTo>
                        <a:pt x="549" y="457"/>
                      </a:lnTo>
                      <a:lnTo>
                        <a:pt x="548" y="457"/>
                      </a:lnTo>
                      <a:lnTo>
                        <a:pt x="548" y="458"/>
                      </a:lnTo>
                      <a:lnTo>
                        <a:pt x="548" y="460"/>
                      </a:lnTo>
                      <a:lnTo>
                        <a:pt x="546" y="460"/>
                      </a:lnTo>
                      <a:lnTo>
                        <a:pt x="544" y="462"/>
                      </a:lnTo>
                      <a:lnTo>
                        <a:pt x="544" y="463"/>
                      </a:lnTo>
                      <a:lnTo>
                        <a:pt x="542" y="463"/>
                      </a:lnTo>
                      <a:lnTo>
                        <a:pt x="541" y="465"/>
                      </a:lnTo>
                      <a:lnTo>
                        <a:pt x="539" y="467"/>
                      </a:lnTo>
                      <a:lnTo>
                        <a:pt x="537" y="467"/>
                      </a:lnTo>
                      <a:lnTo>
                        <a:pt x="536" y="468"/>
                      </a:lnTo>
                      <a:lnTo>
                        <a:pt x="534" y="468"/>
                      </a:lnTo>
                      <a:lnTo>
                        <a:pt x="531" y="470"/>
                      </a:lnTo>
                      <a:lnTo>
                        <a:pt x="529" y="472"/>
                      </a:lnTo>
                      <a:lnTo>
                        <a:pt x="527" y="472"/>
                      </a:lnTo>
                      <a:lnTo>
                        <a:pt x="526" y="472"/>
                      </a:lnTo>
                      <a:lnTo>
                        <a:pt x="526" y="473"/>
                      </a:lnTo>
                      <a:lnTo>
                        <a:pt x="524" y="473"/>
                      </a:lnTo>
                      <a:lnTo>
                        <a:pt x="524" y="475"/>
                      </a:lnTo>
                      <a:lnTo>
                        <a:pt x="522" y="475"/>
                      </a:lnTo>
                      <a:lnTo>
                        <a:pt x="521" y="475"/>
                      </a:lnTo>
                      <a:lnTo>
                        <a:pt x="519" y="477"/>
                      </a:lnTo>
                      <a:lnTo>
                        <a:pt x="517" y="477"/>
                      </a:lnTo>
                      <a:lnTo>
                        <a:pt x="515" y="478"/>
                      </a:lnTo>
                      <a:lnTo>
                        <a:pt x="514" y="480"/>
                      </a:lnTo>
                      <a:lnTo>
                        <a:pt x="512" y="480"/>
                      </a:lnTo>
                      <a:lnTo>
                        <a:pt x="510" y="481"/>
                      </a:lnTo>
                      <a:lnTo>
                        <a:pt x="509" y="481"/>
                      </a:lnTo>
                      <a:lnTo>
                        <a:pt x="509" y="483"/>
                      </a:lnTo>
                      <a:lnTo>
                        <a:pt x="507" y="483"/>
                      </a:lnTo>
                      <a:lnTo>
                        <a:pt x="507" y="485"/>
                      </a:lnTo>
                      <a:lnTo>
                        <a:pt x="505" y="485"/>
                      </a:lnTo>
                      <a:lnTo>
                        <a:pt x="505" y="486"/>
                      </a:lnTo>
                      <a:lnTo>
                        <a:pt x="504" y="488"/>
                      </a:lnTo>
                      <a:lnTo>
                        <a:pt x="502" y="488"/>
                      </a:lnTo>
                      <a:lnTo>
                        <a:pt x="500" y="490"/>
                      </a:lnTo>
                      <a:lnTo>
                        <a:pt x="499" y="490"/>
                      </a:lnTo>
                      <a:lnTo>
                        <a:pt x="495" y="490"/>
                      </a:lnTo>
                      <a:lnTo>
                        <a:pt x="492" y="491"/>
                      </a:lnTo>
                      <a:lnTo>
                        <a:pt x="490" y="491"/>
                      </a:lnTo>
                      <a:lnTo>
                        <a:pt x="490" y="495"/>
                      </a:lnTo>
                      <a:lnTo>
                        <a:pt x="488" y="495"/>
                      </a:lnTo>
                      <a:lnTo>
                        <a:pt x="487" y="495"/>
                      </a:lnTo>
                      <a:lnTo>
                        <a:pt x="485" y="496"/>
                      </a:lnTo>
                      <a:lnTo>
                        <a:pt x="483" y="498"/>
                      </a:lnTo>
                      <a:lnTo>
                        <a:pt x="482" y="498"/>
                      </a:lnTo>
                      <a:lnTo>
                        <a:pt x="482" y="500"/>
                      </a:lnTo>
                      <a:lnTo>
                        <a:pt x="480" y="501"/>
                      </a:lnTo>
                      <a:lnTo>
                        <a:pt x="480" y="503"/>
                      </a:lnTo>
                      <a:lnTo>
                        <a:pt x="480" y="504"/>
                      </a:lnTo>
                      <a:lnTo>
                        <a:pt x="478" y="508"/>
                      </a:lnTo>
                      <a:lnTo>
                        <a:pt x="477" y="508"/>
                      </a:lnTo>
                      <a:lnTo>
                        <a:pt x="477" y="509"/>
                      </a:lnTo>
                      <a:lnTo>
                        <a:pt x="475" y="509"/>
                      </a:lnTo>
                      <a:lnTo>
                        <a:pt x="475" y="511"/>
                      </a:lnTo>
                      <a:lnTo>
                        <a:pt x="473" y="513"/>
                      </a:lnTo>
                      <a:lnTo>
                        <a:pt x="472" y="514"/>
                      </a:lnTo>
                      <a:lnTo>
                        <a:pt x="470" y="514"/>
                      </a:lnTo>
                      <a:lnTo>
                        <a:pt x="468" y="514"/>
                      </a:lnTo>
                      <a:lnTo>
                        <a:pt x="466" y="514"/>
                      </a:lnTo>
                      <a:lnTo>
                        <a:pt x="463" y="516"/>
                      </a:lnTo>
                      <a:lnTo>
                        <a:pt x="460" y="518"/>
                      </a:lnTo>
                      <a:lnTo>
                        <a:pt x="458" y="518"/>
                      </a:lnTo>
                      <a:lnTo>
                        <a:pt x="456" y="518"/>
                      </a:lnTo>
                      <a:lnTo>
                        <a:pt x="456" y="519"/>
                      </a:lnTo>
                      <a:lnTo>
                        <a:pt x="455" y="521"/>
                      </a:lnTo>
                      <a:lnTo>
                        <a:pt x="453" y="521"/>
                      </a:lnTo>
                      <a:lnTo>
                        <a:pt x="451" y="521"/>
                      </a:lnTo>
                      <a:lnTo>
                        <a:pt x="451" y="523"/>
                      </a:lnTo>
                      <a:lnTo>
                        <a:pt x="450" y="524"/>
                      </a:lnTo>
                      <a:lnTo>
                        <a:pt x="448" y="524"/>
                      </a:lnTo>
                      <a:lnTo>
                        <a:pt x="446" y="526"/>
                      </a:lnTo>
                      <a:lnTo>
                        <a:pt x="444" y="526"/>
                      </a:lnTo>
                      <a:lnTo>
                        <a:pt x="443" y="527"/>
                      </a:lnTo>
                      <a:lnTo>
                        <a:pt x="441" y="527"/>
                      </a:lnTo>
                      <a:lnTo>
                        <a:pt x="439" y="529"/>
                      </a:lnTo>
                      <a:lnTo>
                        <a:pt x="439" y="531"/>
                      </a:lnTo>
                      <a:lnTo>
                        <a:pt x="438" y="531"/>
                      </a:lnTo>
                      <a:lnTo>
                        <a:pt x="436" y="534"/>
                      </a:lnTo>
                      <a:lnTo>
                        <a:pt x="434" y="534"/>
                      </a:lnTo>
                      <a:lnTo>
                        <a:pt x="433" y="536"/>
                      </a:lnTo>
                      <a:lnTo>
                        <a:pt x="431" y="539"/>
                      </a:lnTo>
                      <a:lnTo>
                        <a:pt x="431" y="541"/>
                      </a:lnTo>
                      <a:lnTo>
                        <a:pt x="431" y="542"/>
                      </a:lnTo>
                      <a:lnTo>
                        <a:pt x="431" y="546"/>
                      </a:lnTo>
                      <a:lnTo>
                        <a:pt x="431" y="549"/>
                      </a:lnTo>
                      <a:lnTo>
                        <a:pt x="431" y="550"/>
                      </a:lnTo>
                      <a:lnTo>
                        <a:pt x="429" y="550"/>
                      </a:lnTo>
                      <a:lnTo>
                        <a:pt x="429" y="552"/>
                      </a:lnTo>
                      <a:lnTo>
                        <a:pt x="428" y="552"/>
                      </a:lnTo>
                      <a:lnTo>
                        <a:pt x="428" y="554"/>
                      </a:lnTo>
                      <a:lnTo>
                        <a:pt x="428" y="555"/>
                      </a:lnTo>
                      <a:lnTo>
                        <a:pt x="426" y="555"/>
                      </a:lnTo>
                      <a:lnTo>
                        <a:pt x="426" y="557"/>
                      </a:lnTo>
                      <a:lnTo>
                        <a:pt x="424" y="559"/>
                      </a:lnTo>
                      <a:lnTo>
                        <a:pt x="424" y="562"/>
                      </a:lnTo>
                      <a:lnTo>
                        <a:pt x="424" y="564"/>
                      </a:lnTo>
                      <a:lnTo>
                        <a:pt x="423" y="565"/>
                      </a:lnTo>
                      <a:lnTo>
                        <a:pt x="421" y="569"/>
                      </a:lnTo>
                      <a:lnTo>
                        <a:pt x="419" y="570"/>
                      </a:lnTo>
                      <a:lnTo>
                        <a:pt x="419" y="572"/>
                      </a:lnTo>
                      <a:lnTo>
                        <a:pt x="417" y="572"/>
                      </a:lnTo>
                      <a:lnTo>
                        <a:pt x="417" y="573"/>
                      </a:lnTo>
                      <a:lnTo>
                        <a:pt x="416" y="573"/>
                      </a:lnTo>
                      <a:lnTo>
                        <a:pt x="414" y="573"/>
                      </a:lnTo>
                      <a:lnTo>
                        <a:pt x="412" y="575"/>
                      </a:lnTo>
                      <a:lnTo>
                        <a:pt x="409" y="577"/>
                      </a:lnTo>
                      <a:lnTo>
                        <a:pt x="407" y="577"/>
                      </a:lnTo>
                      <a:lnTo>
                        <a:pt x="406" y="578"/>
                      </a:lnTo>
                      <a:lnTo>
                        <a:pt x="404" y="578"/>
                      </a:lnTo>
                      <a:lnTo>
                        <a:pt x="402" y="580"/>
                      </a:lnTo>
                      <a:lnTo>
                        <a:pt x="401" y="580"/>
                      </a:lnTo>
                      <a:lnTo>
                        <a:pt x="399" y="580"/>
                      </a:lnTo>
                      <a:lnTo>
                        <a:pt x="397" y="582"/>
                      </a:lnTo>
                      <a:lnTo>
                        <a:pt x="397" y="583"/>
                      </a:lnTo>
                      <a:lnTo>
                        <a:pt x="396" y="585"/>
                      </a:lnTo>
                      <a:lnTo>
                        <a:pt x="396" y="587"/>
                      </a:lnTo>
                      <a:lnTo>
                        <a:pt x="396" y="590"/>
                      </a:lnTo>
                      <a:lnTo>
                        <a:pt x="394" y="592"/>
                      </a:lnTo>
                      <a:lnTo>
                        <a:pt x="394" y="593"/>
                      </a:lnTo>
                      <a:lnTo>
                        <a:pt x="394" y="595"/>
                      </a:lnTo>
                      <a:lnTo>
                        <a:pt x="394" y="596"/>
                      </a:lnTo>
                      <a:lnTo>
                        <a:pt x="394" y="598"/>
                      </a:lnTo>
                      <a:lnTo>
                        <a:pt x="392" y="598"/>
                      </a:lnTo>
                      <a:lnTo>
                        <a:pt x="392" y="600"/>
                      </a:lnTo>
                      <a:lnTo>
                        <a:pt x="390" y="601"/>
                      </a:lnTo>
                      <a:lnTo>
                        <a:pt x="390" y="605"/>
                      </a:lnTo>
                      <a:lnTo>
                        <a:pt x="390" y="606"/>
                      </a:lnTo>
                      <a:lnTo>
                        <a:pt x="390" y="608"/>
                      </a:lnTo>
                      <a:lnTo>
                        <a:pt x="389" y="608"/>
                      </a:lnTo>
                      <a:lnTo>
                        <a:pt x="389" y="610"/>
                      </a:lnTo>
                      <a:lnTo>
                        <a:pt x="389" y="611"/>
                      </a:lnTo>
                      <a:lnTo>
                        <a:pt x="389" y="613"/>
                      </a:lnTo>
                      <a:lnTo>
                        <a:pt x="387" y="614"/>
                      </a:lnTo>
                      <a:lnTo>
                        <a:pt x="389" y="614"/>
                      </a:lnTo>
                      <a:lnTo>
                        <a:pt x="389" y="616"/>
                      </a:lnTo>
                      <a:lnTo>
                        <a:pt x="387" y="616"/>
                      </a:lnTo>
                      <a:lnTo>
                        <a:pt x="387" y="618"/>
                      </a:lnTo>
                      <a:lnTo>
                        <a:pt x="389" y="618"/>
                      </a:lnTo>
                      <a:lnTo>
                        <a:pt x="389" y="619"/>
                      </a:lnTo>
                      <a:lnTo>
                        <a:pt x="389" y="621"/>
                      </a:lnTo>
                      <a:lnTo>
                        <a:pt x="387" y="623"/>
                      </a:lnTo>
                      <a:lnTo>
                        <a:pt x="387" y="626"/>
                      </a:lnTo>
                      <a:lnTo>
                        <a:pt x="385" y="628"/>
                      </a:lnTo>
                      <a:lnTo>
                        <a:pt x="384" y="629"/>
                      </a:lnTo>
                      <a:lnTo>
                        <a:pt x="382" y="629"/>
                      </a:lnTo>
                      <a:lnTo>
                        <a:pt x="379" y="631"/>
                      </a:lnTo>
                      <a:lnTo>
                        <a:pt x="377" y="633"/>
                      </a:lnTo>
                      <a:lnTo>
                        <a:pt x="375" y="634"/>
                      </a:lnTo>
                      <a:lnTo>
                        <a:pt x="374" y="636"/>
                      </a:lnTo>
                      <a:lnTo>
                        <a:pt x="372" y="636"/>
                      </a:lnTo>
                      <a:lnTo>
                        <a:pt x="370" y="636"/>
                      </a:lnTo>
                      <a:lnTo>
                        <a:pt x="370" y="637"/>
                      </a:lnTo>
                      <a:lnTo>
                        <a:pt x="368" y="637"/>
                      </a:lnTo>
                      <a:lnTo>
                        <a:pt x="368" y="636"/>
                      </a:lnTo>
                      <a:lnTo>
                        <a:pt x="367" y="636"/>
                      </a:lnTo>
                      <a:lnTo>
                        <a:pt x="367" y="634"/>
                      </a:lnTo>
                      <a:lnTo>
                        <a:pt x="365" y="634"/>
                      </a:lnTo>
                      <a:lnTo>
                        <a:pt x="365" y="633"/>
                      </a:lnTo>
                      <a:lnTo>
                        <a:pt x="365" y="631"/>
                      </a:lnTo>
                      <a:lnTo>
                        <a:pt x="363" y="631"/>
                      </a:lnTo>
                      <a:lnTo>
                        <a:pt x="362" y="631"/>
                      </a:lnTo>
                      <a:lnTo>
                        <a:pt x="360" y="631"/>
                      </a:lnTo>
                      <a:lnTo>
                        <a:pt x="360" y="629"/>
                      </a:lnTo>
                      <a:lnTo>
                        <a:pt x="358" y="628"/>
                      </a:lnTo>
                      <a:lnTo>
                        <a:pt x="357" y="628"/>
                      </a:lnTo>
                      <a:lnTo>
                        <a:pt x="357" y="626"/>
                      </a:lnTo>
                      <a:lnTo>
                        <a:pt x="355" y="624"/>
                      </a:lnTo>
                      <a:lnTo>
                        <a:pt x="355" y="623"/>
                      </a:lnTo>
                      <a:lnTo>
                        <a:pt x="353" y="621"/>
                      </a:lnTo>
                      <a:lnTo>
                        <a:pt x="352" y="621"/>
                      </a:lnTo>
                      <a:lnTo>
                        <a:pt x="350" y="621"/>
                      </a:lnTo>
                      <a:lnTo>
                        <a:pt x="348" y="619"/>
                      </a:lnTo>
                      <a:lnTo>
                        <a:pt x="348" y="621"/>
                      </a:lnTo>
                      <a:lnTo>
                        <a:pt x="348" y="619"/>
                      </a:lnTo>
                      <a:lnTo>
                        <a:pt x="347" y="621"/>
                      </a:lnTo>
                      <a:lnTo>
                        <a:pt x="347" y="619"/>
                      </a:lnTo>
                      <a:lnTo>
                        <a:pt x="345" y="619"/>
                      </a:lnTo>
                      <a:lnTo>
                        <a:pt x="343" y="619"/>
                      </a:lnTo>
                      <a:lnTo>
                        <a:pt x="341" y="619"/>
                      </a:lnTo>
                      <a:lnTo>
                        <a:pt x="341" y="618"/>
                      </a:lnTo>
                      <a:lnTo>
                        <a:pt x="341" y="616"/>
                      </a:lnTo>
                      <a:lnTo>
                        <a:pt x="340" y="616"/>
                      </a:lnTo>
                      <a:lnTo>
                        <a:pt x="338" y="618"/>
                      </a:lnTo>
                      <a:lnTo>
                        <a:pt x="338" y="616"/>
                      </a:lnTo>
                      <a:lnTo>
                        <a:pt x="336" y="616"/>
                      </a:lnTo>
                      <a:lnTo>
                        <a:pt x="336" y="614"/>
                      </a:lnTo>
                      <a:lnTo>
                        <a:pt x="335" y="614"/>
                      </a:lnTo>
                      <a:lnTo>
                        <a:pt x="335" y="616"/>
                      </a:lnTo>
                      <a:lnTo>
                        <a:pt x="335" y="614"/>
                      </a:lnTo>
                      <a:lnTo>
                        <a:pt x="333" y="614"/>
                      </a:lnTo>
                      <a:lnTo>
                        <a:pt x="333" y="613"/>
                      </a:lnTo>
                      <a:lnTo>
                        <a:pt x="331" y="614"/>
                      </a:lnTo>
                      <a:lnTo>
                        <a:pt x="331" y="616"/>
                      </a:lnTo>
                      <a:lnTo>
                        <a:pt x="330" y="616"/>
                      </a:lnTo>
                      <a:lnTo>
                        <a:pt x="330" y="618"/>
                      </a:lnTo>
                      <a:lnTo>
                        <a:pt x="328" y="618"/>
                      </a:lnTo>
                      <a:lnTo>
                        <a:pt x="326" y="619"/>
                      </a:lnTo>
                      <a:lnTo>
                        <a:pt x="326" y="618"/>
                      </a:lnTo>
                      <a:lnTo>
                        <a:pt x="325" y="619"/>
                      </a:lnTo>
                      <a:lnTo>
                        <a:pt x="325" y="618"/>
                      </a:lnTo>
                      <a:lnTo>
                        <a:pt x="323" y="618"/>
                      </a:lnTo>
                      <a:lnTo>
                        <a:pt x="321" y="619"/>
                      </a:lnTo>
                      <a:lnTo>
                        <a:pt x="320" y="619"/>
                      </a:lnTo>
                      <a:lnTo>
                        <a:pt x="320" y="621"/>
                      </a:lnTo>
                      <a:lnTo>
                        <a:pt x="318" y="621"/>
                      </a:lnTo>
                      <a:lnTo>
                        <a:pt x="318" y="619"/>
                      </a:lnTo>
                      <a:lnTo>
                        <a:pt x="316" y="619"/>
                      </a:lnTo>
                      <a:lnTo>
                        <a:pt x="316" y="621"/>
                      </a:lnTo>
                      <a:lnTo>
                        <a:pt x="316" y="623"/>
                      </a:lnTo>
                      <a:lnTo>
                        <a:pt x="314" y="623"/>
                      </a:lnTo>
                      <a:lnTo>
                        <a:pt x="313" y="623"/>
                      </a:lnTo>
                      <a:lnTo>
                        <a:pt x="313" y="621"/>
                      </a:lnTo>
                      <a:lnTo>
                        <a:pt x="311" y="621"/>
                      </a:lnTo>
                      <a:lnTo>
                        <a:pt x="311" y="623"/>
                      </a:lnTo>
                      <a:lnTo>
                        <a:pt x="309" y="623"/>
                      </a:lnTo>
                      <a:lnTo>
                        <a:pt x="309" y="624"/>
                      </a:lnTo>
                      <a:lnTo>
                        <a:pt x="308" y="624"/>
                      </a:lnTo>
                      <a:lnTo>
                        <a:pt x="309" y="624"/>
                      </a:lnTo>
                      <a:lnTo>
                        <a:pt x="308" y="626"/>
                      </a:lnTo>
                      <a:lnTo>
                        <a:pt x="308" y="628"/>
                      </a:lnTo>
                      <a:lnTo>
                        <a:pt x="306" y="628"/>
                      </a:lnTo>
                      <a:lnTo>
                        <a:pt x="304" y="628"/>
                      </a:lnTo>
                      <a:lnTo>
                        <a:pt x="303" y="628"/>
                      </a:lnTo>
                      <a:lnTo>
                        <a:pt x="301" y="628"/>
                      </a:lnTo>
                      <a:lnTo>
                        <a:pt x="299" y="628"/>
                      </a:lnTo>
                      <a:lnTo>
                        <a:pt x="298" y="628"/>
                      </a:lnTo>
                      <a:lnTo>
                        <a:pt x="298" y="629"/>
                      </a:lnTo>
                      <a:lnTo>
                        <a:pt x="296" y="629"/>
                      </a:lnTo>
                      <a:lnTo>
                        <a:pt x="296" y="631"/>
                      </a:lnTo>
                      <a:lnTo>
                        <a:pt x="294" y="629"/>
                      </a:lnTo>
                      <a:lnTo>
                        <a:pt x="292" y="629"/>
                      </a:lnTo>
                      <a:lnTo>
                        <a:pt x="292" y="628"/>
                      </a:lnTo>
                      <a:lnTo>
                        <a:pt x="291" y="628"/>
                      </a:lnTo>
                      <a:lnTo>
                        <a:pt x="289" y="629"/>
                      </a:lnTo>
                      <a:lnTo>
                        <a:pt x="287" y="629"/>
                      </a:lnTo>
                      <a:lnTo>
                        <a:pt x="286" y="629"/>
                      </a:lnTo>
                      <a:lnTo>
                        <a:pt x="284" y="631"/>
                      </a:lnTo>
                      <a:lnTo>
                        <a:pt x="284" y="629"/>
                      </a:lnTo>
                      <a:lnTo>
                        <a:pt x="282" y="629"/>
                      </a:lnTo>
                      <a:lnTo>
                        <a:pt x="282" y="631"/>
                      </a:lnTo>
                      <a:lnTo>
                        <a:pt x="277" y="631"/>
                      </a:lnTo>
                      <a:lnTo>
                        <a:pt x="276" y="631"/>
                      </a:lnTo>
                      <a:lnTo>
                        <a:pt x="276" y="629"/>
                      </a:lnTo>
                      <a:lnTo>
                        <a:pt x="274" y="629"/>
                      </a:lnTo>
                      <a:lnTo>
                        <a:pt x="274" y="628"/>
                      </a:lnTo>
                      <a:lnTo>
                        <a:pt x="272" y="628"/>
                      </a:lnTo>
                      <a:lnTo>
                        <a:pt x="271" y="628"/>
                      </a:lnTo>
                      <a:lnTo>
                        <a:pt x="271" y="629"/>
                      </a:lnTo>
                      <a:lnTo>
                        <a:pt x="269" y="631"/>
                      </a:lnTo>
                      <a:lnTo>
                        <a:pt x="267" y="629"/>
                      </a:lnTo>
                      <a:lnTo>
                        <a:pt x="265" y="629"/>
                      </a:lnTo>
                      <a:lnTo>
                        <a:pt x="265" y="628"/>
                      </a:lnTo>
                      <a:lnTo>
                        <a:pt x="264" y="628"/>
                      </a:lnTo>
                      <a:lnTo>
                        <a:pt x="264" y="629"/>
                      </a:lnTo>
                      <a:lnTo>
                        <a:pt x="264" y="628"/>
                      </a:lnTo>
                      <a:lnTo>
                        <a:pt x="262" y="628"/>
                      </a:lnTo>
                      <a:lnTo>
                        <a:pt x="262" y="626"/>
                      </a:lnTo>
                      <a:lnTo>
                        <a:pt x="260" y="626"/>
                      </a:lnTo>
                      <a:lnTo>
                        <a:pt x="260" y="624"/>
                      </a:lnTo>
                      <a:lnTo>
                        <a:pt x="259" y="624"/>
                      </a:lnTo>
                      <a:lnTo>
                        <a:pt x="259" y="623"/>
                      </a:lnTo>
                      <a:lnTo>
                        <a:pt x="260" y="619"/>
                      </a:lnTo>
                      <a:lnTo>
                        <a:pt x="259" y="618"/>
                      </a:lnTo>
                      <a:lnTo>
                        <a:pt x="260" y="618"/>
                      </a:lnTo>
                      <a:lnTo>
                        <a:pt x="259" y="618"/>
                      </a:lnTo>
                      <a:lnTo>
                        <a:pt x="259" y="614"/>
                      </a:lnTo>
                      <a:lnTo>
                        <a:pt x="259" y="613"/>
                      </a:lnTo>
                      <a:lnTo>
                        <a:pt x="260" y="613"/>
                      </a:lnTo>
                      <a:lnTo>
                        <a:pt x="260" y="611"/>
                      </a:lnTo>
                      <a:lnTo>
                        <a:pt x="260" y="610"/>
                      </a:lnTo>
                      <a:lnTo>
                        <a:pt x="259" y="610"/>
                      </a:lnTo>
                      <a:lnTo>
                        <a:pt x="259" y="608"/>
                      </a:lnTo>
                      <a:lnTo>
                        <a:pt x="259" y="606"/>
                      </a:lnTo>
                      <a:lnTo>
                        <a:pt x="260" y="605"/>
                      </a:lnTo>
                      <a:lnTo>
                        <a:pt x="259" y="605"/>
                      </a:lnTo>
                      <a:lnTo>
                        <a:pt x="257" y="605"/>
                      </a:lnTo>
                      <a:lnTo>
                        <a:pt x="257" y="603"/>
                      </a:lnTo>
                      <a:lnTo>
                        <a:pt x="257" y="601"/>
                      </a:lnTo>
                      <a:lnTo>
                        <a:pt x="255" y="601"/>
                      </a:lnTo>
                      <a:lnTo>
                        <a:pt x="257" y="601"/>
                      </a:lnTo>
                      <a:lnTo>
                        <a:pt x="257" y="600"/>
                      </a:lnTo>
                      <a:lnTo>
                        <a:pt x="257" y="598"/>
                      </a:lnTo>
                      <a:lnTo>
                        <a:pt x="255" y="598"/>
                      </a:lnTo>
                      <a:lnTo>
                        <a:pt x="254" y="598"/>
                      </a:lnTo>
                      <a:lnTo>
                        <a:pt x="254" y="596"/>
                      </a:lnTo>
                      <a:lnTo>
                        <a:pt x="250" y="596"/>
                      </a:lnTo>
                      <a:lnTo>
                        <a:pt x="250" y="595"/>
                      </a:lnTo>
                      <a:lnTo>
                        <a:pt x="250" y="593"/>
                      </a:lnTo>
                      <a:lnTo>
                        <a:pt x="252" y="592"/>
                      </a:lnTo>
                      <a:lnTo>
                        <a:pt x="250" y="592"/>
                      </a:lnTo>
                      <a:lnTo>
                        <a:pt x="252" y="592"/>
                      </a:lnTo>
                      <a:lnTo>
                        <a:pt x="250" y="590"/>
                      </a:lnTo>
                      <a:lnTo>
                        <a:pt x="250" y="588"/>
                      </a:lnTo>
                      <a:lnTo>
                        <a:pt x="250" y="587"/>
                      </a:lnTo>
                      <a:lnTo>
                        <a:pt x="249" y="585"/>
                      </a:lnTo>
                      <a:lnTo>
                        <a:pt x="249" y="583"/>
                      </a:lnTo>
                      <a:lnTo>
                        <a:pt x="249" y="582"/>
                      </a:lnTo>
                      <a:lnTo>
                        <a:pt x="250" y="580"/>
                      </a:lnTo>
                      <a:lnTo>
                        <a:pt x="249" y="580"/>
                      </a:lnTo>
                      <a:lnTo>
                        <a:pt x="250" y="578"/>
                      </a:lnTo>
                      <a:lnTo>
                        <a:pt x="252" y="577"/>
                      </a:lnTo>
                      <a:lnTo>
                        <a:pt x="252" y="575"/>
                      </a:lnTo>
                      <a:lnTo>
                        <a:pt x="254" y="573"/>
                      </a:lnTo>
                      <a:lnTo>
                        <a:pt x="252" y="572"/>
                      </a:lnTo>
                      <a:lnTo>
                        <a:pt x="252" y="570"/>
                      </a:lnTo>
                      <a:lnTo>
                        <a:pt x="250" y="570"/>
                      </a:lnTo>
                      <a:lnTo>
                        <a:pt x="250" y="569"/>
                      </a:lnTo>
                      <a:lnTo>
                        <a:pt x="249" y="569"/>
                      </a:lnTo>
                      <a:lnTo>
                        <a:pt x="249" y="567"/>
                      </a:lnTo>
                      <a:lnTo>
                        <a:pt x="249" y="565"/>
                      </a:lnTo>
                      <a:lnTo>
                        <a:pt x="249" y="564"/>
                      </a:lnTo>
                      <a:lnTo>
                        <a:pt x="250" y="564"/>
                      </a:lnTo>
                      <a:lnTo>
                        <a:pt x="252" y="562"/>
                      </a:lnTo>
                      <a:lnTo>
                        <a:pt x="250" y="562"/>
                      </a:lnTo>
                      <a:lnTo>
                        <a:pt x="250" y="560"/>
                      </a:lnTo>
                      <a:lnTo>
                        <a:pt x="250" y="559"/>
                      </a:lnTo>
                      <a:lnTo>
                        <a:pt x="249" y="559"/>
                      </a:lnTo>
                      <a:lnTo>
                        <a:pt x="250" y="559"/>
                      </a:lnTo>
                      <a:lnTo>
                        <a:pt x="252" y="557"/>
                      </a:lnTo>
                      <a:lnTo>
                        <a:pt x="250" y="557"/>
                      </a:lnTo>
                      <a:lnTo>
                        <a:pt x="250" y="555"/>
                      </a:lnTo>
                      <a:lnTo>
                        <a:pt x="250" y="554"/>
                      </a:lnTo>
                      <a:lnTo>
                        <a:pt x="249" y="554"/>
                      </a:lnTo>
                      <a:lnTo>
                        <a:pt x="249" y="552"/>
                      </a:lnTo>
                      <a:lnTo>
                        <a:pt x="247" y="552"/>
                      </a:lnTo>
                      <a:lnTo>
                        <a:pt x="245" y="552"/>
                      </a:lnTo>
                      <a:lnTo>
                        <a:pt x="245" y="550"/>
                      </a:lnTo>
                      <a:lnTo>
                        <a:pt x="244" y="550"/>
                      </a:lnTo>
                      <a:lnTo>
                        <a:pt x="245" y="550"/>
                      </a:lnTo>
                      <a:lnTo>
                        <a:pt x="244" y="549"/>
                      </a:lnTo>
                      <a:lnTo>
                        <a:pt x="244" y="547"/>
                      </a:lnTo>
                      <a:lnTo>
                        <a:pt x="242" y="546"/>
                      </a:lnTo>
                      <a:lnTo>
                        <a:pt x="244" y="546"/>
                      </a:lnTo>
                      <a:lnTo>
                        <a:pt x="244" y="544"/>
                      </a:lnTo>
                      <a:lnTo>
                        <a:pt x="244" y="542"/>
                      </a:lnTo>
                      <a:lnTo>
                        <a:pt x="242" y="542"/>
                      </a:lnTo>
                      <a:lnTo>
                        <a:pt x="240" y="541"/>
                      </a:lnTo>
                      <a:lnTo>
                        <a:pt x="242" y="539"/>
                      </a:lnTo>
                      <a:lnTo>
                        <a:pt x="242" y="537"/>
                      </a:lnTo>
                      <a:lnTo>
                        <a:pt x="242" y="536"/>
                      </a:lnTo>
                      <a:lnTo>
                        <a:pt x="240" y="536"/>
                      </a:lnTo>
                      <a:lnTo>
                        <a:pt x="240" y="534"/>
                      </a:lnTo>
                      <a:lnTo>
                        <a:pt x="240" y="532"/>
                      </a:lnTo>
                      <a:lnTo>
                        <a:pt x="240" y="531"/>
                      </a:lnTo>
                      <a:lnTo>
                        <a:pt x="240" y="529"/>
                      </a:lnTo>
                      <a:lnTo>
                        <a:pt x="238" y="527"/>
                      </a:lnTo>
                      <a:lnTo>
                        <a:pt x="238" y="526"/>
                      </a:lnTo>
                      <a:lnTo>
                        <a:pt x="238" y="524"/>
                      </a:lnTo>
                      <a:lnTo>
                        <a:pt x="238" y="523"/>
                      </a:lnTo>
                      <a:lnTo>
                        <a:pt x="238" y="521"/>
                      </a:lnTo>
                      <a:lnTo>
                        <a:pt x="240" y="521"/>
                      </a:lnTo>
                      <a:lnTo>
                        <a:pt x="240" y="519"/>
                      </a:lnTo>
                      <a:lnTo>
                        <a:pt x="238" y="519"/>
                      </a:lnTo>
                      <a:lnTo>
                        <a:pt x="240" y="519"/>
                      </a:lnTo>
                      <a:lnTo>
                        <a:pt x="240" y="518"/>
                      </a:lnTo>
                      <a:lnTo>
                        <a:pt x="242" y="518"/>
                      </a:lnTo>
                      <a:lnTo>
                        <a:pt x="242" y="516"/>
                      </a:lnTo>
                      <a:lnTo>
                        <a:pt x="242" y="514"/>
                      </a:lnTo>
                      <a:lnTo>
                        <a:pt x="244" y="514"/>
                      </a:lnTo>
                      <a:lnTo>
                        <a:pt x="244" y="513"/>
                      </a:lnTo>
                      <a:lnTo>
                        <a:pt x="244" y="511"/>
                      </a:lnTo>
                      <a:lnTo>
                        <a:pt x="244" y="509"/>
                      </a:lnTo>
                      <a:lnTo>
                        <a:pt x="242" y="509"/>
                      </a:lnTo>
                      <a:lnTo>
                        <a:pt x="242" y="508"/>
                      </a:lnTo>
                      <a:lnTo>
                        <a:pt x="244" y="508"/>
                      </a:lnTo>
                      <a:lnTo>
                        <a:pt x="244" y="506"/>
                      </a:lnTo>
                      <a:lnTo>
                        <a:pt x="242" y="506"/>
                      </a:lnTo>
                      <a:lnTo>
                        <a:pt x="242" y="504"/>
                      </a:lnTo>
                      <a:lnTo>
                        <a:pt x="240" y="503"/>
                      </a:lnTo>
                      <a:lnTo>
                        <a:pt x="238" y="501"/>
                      </a:lnTo>
                      <a:lnTo>
                        <a:pt x="237" y="501"/>
                      </a:lnTo>
                      <a:lnTo>
                        <a:pt x="237" y="500"/>
                      </a:lnTo>
                      <a:lnTo>
                        <a:pt x="235" y="500"/>
                      </a:lnTo>
                      <a:lnTo>
                        <a:pt x="235" y="498"/>
                      </a:lnTo>
                      <a:lnTo>
                        <a:pt x="233" y="498"/>
                      </a:lnTo>
                      <a:lnTo>
                        <a:pt x="232" y="496"/>
                      </a:lnTo>
                      <a:lnTo>
                        <a:pt x="232" y="495"/>
                      </a:lnTo>
                      <a:lnTo>
                        <a:pt x="230" y="493"/>
                      </a:lnTo>
                      <a:lnTo>
                        <a:pt x="230" y="491"/>
                      </a:lnTo>
                      <a:lnTo>
                        <a:pt x="230" y="490"/>
                      </a:lnTo>
                      <a:lnTo>
                        <a:pt x="232" y="490"/>
                      </a:lnTo>
                      <a:lnTo>
                        <a:pt x="232" y="488"/>
                      </a:lnTo>
                      <a:lnTo>
                        <a:pt x="232" y="486"/>
                      </a:lnTo>
                      <a:lnTo>
                        <a:pt x="232" y="485"/>
                      </a:lnTo>
                      <a:lnTo>
                        <a:pt x="230" y="483"/>
                      </a:lnTo>
                      <a:lnTo>
                        <a:pt x="232" y="483"/>
                      </a:lnTo>
                      <a:lnTo>
                        <a:pt x="230" y="483"/>
                      </a:lnTo>
                      <a:lnTo>
                        <a:pt x="230" y="481"/>
                      </a:lnTo>
                      <a:lnTo>
                        <a:pt x="228" y="481"/>
                      </a:lnTo>
                      <a:lnTo>
                        <a:pt x="227" y="481"/>
                      </a:lnTo>
                      <a:lnTo>
                        <a:pt x="225" y="481"/>
                      </a:lnTo>
                      <a:lnTo>
                        <a:pt x="225" y="480"/>
                      </a:lnTo>
                      <a:lnTo>
                        <a:pt x="225" y="478"/>
                      </a:lnTo>
                      <a:lnTo>
                        <a:pt x="223" y="478"/>
                      </a:lnTo>
                      <a:lnTo>
                        <a:pt x="222" y="477"/>
                      </a:lnTo>
                      <a:lnTo>
                        <a:pt x="222" y="475"/>
                      </a:lnTo>
                      <a:lnTo>
                        <a:pt x="222" y="473"/>
                      </a:lnTo>
                      <a:lnTo>
                        <a:pt x="220" y="473"/>
                      </a:lnTo>
                      <a:lnTo>
                        <a:pt x="220" y="472"/>
                      </a:lnTo>
                      <a:lnTo>
                        <a:pt x="220" y="473"/>
                      </a:lnTo>
                      <a:lnTo>
                        <a:pt x="216" y="473"/>
                      </a:lnTo>
                      <a:lnTo>
                        <a:pt x="215" y="473"/>
                      </a:lnTo>
                      <a:lnTo>
                        <a:pt x="215" y="472"/>
                      </a:lnTo>
                      <a:lnTo>
                        <a:pt x="213" y="472"/>
                      </a:lnTo>
                      <a:lnTo>
                        <a:pt x="211" y="473"/>
                      </a:lnTo>
                      <a:lnTo>
                        <a:pt x="210" y="473"/>
                      </a:lnTo>
                      <a:lnTo>
                        <a:pt x="208" y="473"/>
                      </a:lnTo>
                      <a:lnTo>
                        <a:pt x="208" y="472"/>
                      </a:lnTo>
                      <a:lnTo>
                        <a:pt x="206" y="472"/>
                      </a:lnTo>
                      <a:lnTo>
                        <a:pt x="206" y="473"/>
                      </a:lnTo>
                      <a:lnTo>
                        <a:pt x="205" y="473"/>
                      </a:lnTo>
                      <a:lnTo>
                        <a:pt x="203" y="473"/>
                      </a:lnTo>
                      <a:lnTo>
                        <a:pt x="201" y="472"/>
                      </a:lnTo>
                      <a:lnTo>
                        <a:pt x="200" y="472"/>
                      </a:lnTo>
                      <a:lnTo>
                        <a:pt x="200" y="473"/>
                      </a:lnTo>
                      <a:lnTo>
                        <a:pt x="198" y="473"/>
                      </a:lnTo>
                      <a:lnTo>
                        <a:pt x="196" y="473"/>
                      </a:lnTo>
                      <a:lnTo>
                        <a:pt x="196" y="472"/>
                      </a:lnTo>
                      <a:lnTo>
                        <a:pt x="195" y="472"/>
                      </a:lnTo>
                      <a:lnTo>
                        <a:pt x="195" y="473"/>
                      </a:lnTo>
                      <a:lnTo>
                        <a:pt x="193" y="473"/>
                      </a:lnTo>
                      <a:lnTo>
                        <a:pt x="191" y="473"/>
                      </a:lnTo>
                      <a:lnTo>
                        <a:pt x="189" y="473"/>
                      </a:lnTo>
                      <a:lnTo>
                        <a:pt x="189" y="472"/>
                      </a:lnTo>
                      <a:lnTo>
                        <a:pt x="188" y="473"/>
                      </a:lnTo>
                      <a:lnTo>
                        <a:pt x="188" y="472"/>
                      </a:lnTo>
                      <a:lnTo>
                        <a:pt x="186" y="472"/>
                      </a:lnTo>
                      <a:lnTo>
                        <a:pt x="184" y="470"/>
                      </a:lnTo>
                      <a:lnTo>
                        <a:pt x="184" y="468"/>
                      </a:lnTo>
                      <a:lnTo>
                        <a:pt x="183" y="468"/>
                      </a:lnTo>
                      <a:lnTo>
                        <a:pt x="181" y="468"/>
                      </a:lnTo>
                      <a:lnTo>
                        <a:pt x="179" y="468"/>
                      </a:lnTo>
                      <a:lnTo>
                        <a:pt x="179" y="467"/>
                      </a:lnTo>
                      <a:lnTo>
                        <a:pt x="178" y="467"/>
                      </a:lnTo>
                      <a:lnTo>
                        <a:pt x="176" y="467"/>
                      </a:lnTo>
                      <a:lnTo>
                        <a:pt x="176" y="465"/>
                      </a:lnTo>
                      <a:lnTo>
                        <a:pt x="174" y="465"/>
                      </a:lnTo>
                      <a:lnTo>
                        <a:pt x="174" y="463"/>
                      </a:lnTo>
                      <a:lnTo>
                        <a:pt x="173" y="463"/>
                      </a:lnTo>
                      <a:lnTo>
                        <a:pt x="173" y="462"/>
                      </a:lnTo>
                      <a:lnTo>
                        <a:pt x="173" y="463"/>
                      </a:lnTo>
                      <a:lnTo>
                        <a:pt x="173" y="462"/>
                      </a:lnTo>
                      <a:lnTo>
                        <a:pt x="171" y="462"/>
                      </a:lnTo>
                      <a:lnTo>
                        <a:pt x="171" y="460"/>
                      </a:lnTo>
                      <a:lnTo>
                        <a:pt x="171" y="458"/>
                      </a:lnTo>
                      <a:lnTo>
                        <a:pt x="171" y="457"/>
                      </a:lnTo>
                      <a:lnTo>
                        <a:pt x="169" y="457"/>
                      </a:lnTo>
                      <a:lnTo>
                        <a:pt x="171" y="457"/>
                      </a:lnTo>
                      <a:lnTo>
                        <a:pt x="169" y="457"/>
                      </a:lnTo>
                      <a:lnTo>
                        <a:pt x="169" y="455"/>
                      </a:lnTo>
                      <a:lnTo>
                        <a:pt x="169" y="454"/>
                      </a:lnTo>
                      <a:lnTo>
                        <a:pt x="168" y="454"/>
                      </a:lnTo>
                      <a:lnTo>
                        <a:pt x="166" y="454"/>
                      </a:lnTo>
                      <a:lnTo>
                        <a:pt x="166" y="455"/>
                      </a:lnTo>
                      <a:lnTo>
                        <a:pt x="164" y="454"/>
                      </a:lnTo>
                      <a:lnTo>
                        <a:pt x="162" y="454"/>
                      </a:lnTo>
                      <a:lnTo>
                        <a:pt x="161" y="454"/>
                      </a:lnTo>
                      <a:lnTo>
                        <a:pt x="161" y="455"/>
                      </a:lnTo>
                      <a:lnTo>
                        <a:pt x="159" y="455"/>
                      </a:lnTo>
                      <a:lnTo>
                        <a:pt x="157" y="455"/>
                      </a:lnTo>
                      <a:lnTo>
                        <a:pt x="157" y="457"/>
                      </a:lnTo>
                      <a:lnTo>
                        <a:pt x="157" y="458"/>
                      </a:lnTo>
                      <a:lnTo>
                        <a:pt x="156" y="458"/>
                      </a:lnTo>
                      <a:lnTo>
                        <a:pt x="157" y="458"/>
                      </a:lnTo>
                      <a:lnTo>
                        <a:pt x="157" y="460"/>
                      </a:lnTo>
                      <a:lnTo>
                        <a:pt x="156" y="460"/>
                      </a:lnTo>
                      <a:lnTo>
                        <a:pt x="156" y="462"/>
                      </a:lnTo>
                      <a:lnTo>
                        <a:pt x="156" y="460"/>
                      </a:lnTo>
                      <a:lnTo>
                        <a:pt x="156" y="462"/>
                      </a:lnTo>
                      <a:lnTo>
                        <a:pt x="154" y="462"/>
                      </a:lnTo>
                      <a:lnTo>
                        <a:pt x="154" y="463"/>
                      </a:lnTo>
                      <a:lnTo>
                        <a:pt x="154" y="465"/>
                      </a:lnTo>
                      <a:lnTo>
                        <a:pt x="152" y="465"/>
                      </a:lnTo>
                      <a:lnTo>
                        <a:pt x="151" y="465"/>
                      </a:lnTo>
                      <a:lnTo>
                        <a:pt x="151" y="467"/>
                      </a:lnTo>
                      <a:lnTo>
                        <a:pt x="149" y="467"/>
                      </a:lnTo>
                      <a:lnTo>
                        <a:pt x="149" y="468"/>
                      </a:lnTo>
                      <a:lnTo>
                        <a:pt x="147" y="468"/>
                      </a:lnTo>
                      <a:lnTo>
                        <a:pt x="147" y="470"/>
                      </a:lnTo>
                      <a:lnTo>
                        <a:pt x="147" y="468"/>
                      </a:lnTo>
                      <a:lnTo>
                        <a:pt x="146" y="468"/>
                      </a:lnTo>
                      <a:lnTo>
                        <a:pt x="146" y="470"/>
                      </a:lnTo>
                      <a:lnTo>
                        <a:pt x="146" y="472"/>
                      </a:lnTo>
                      <a:lnTo>
                        <a:pt x="146" y="470"/>
                      </a:lnTo>
                      <a:lnTo>
                        <a:pt x="144" y="470"/>
                      </a:lnTo>
                      <a:lnTo>
                        <a:pt x="142" y="470"/>
                      </a:lnTo>
                      <a:lnTo>
                        <a:pt x="142" y="468"/>
                      </a:lnTo>
                      <a:lnTo>
                        <a:pt x="142" y="467"/>
                      </a:lnTo>
                      <a:lnTo>
                        <a:pt x="140" y="467"/>
                      </a:lnTo>
                      <a:lnTo>
                        <a:pt x="139" y="467"/>
                      </a:lnTo>
                      <a:lnTo>
                        <a:pt x="140" y="467"/>
                      </a:lnTo>
                      <a:lnTo>
                        <a:pt x="140" y="468"/>
                      </a:lnTo>
                      <a:lnTo>
                        <a:pt x="139" y="468"/>
                      </a:lnTo>
                      <a:lnTo>
                        <a:pt x="140" y="468"/>
                      </a:lnTo>
                      <a:lnTo>
                        <a:pt x="139" y="468"/>
                      </a:lnTo>
                      <a:lnTo>
                        <a:pt x="139" y="470"/>
                      </a:lnTo>
                      <a:lnTo>
                        <a:pt x="137" y="470"/>
                      </a:lnTo>
                      <a:lnTo>
                        <a:pt x="137" y="468"/>
                      </a:lnTo>
                      <a:lnTo>
                        <a:pt x="135" y="468"/>
                      </a:lnTo>
                      <a:lnTo>
                        <a:pt x="135" y="470"/>
                      </a:lnTo>
                      <a:lnTo>
                        <a:pt x="134" y="468"/>
                      </a:lnTo>
                      <a:lnTo>
                        <a:pt x="134" y="470"/>
                      </a:lnTo>
                      <a:lnTo>
                        <a:pt x="132" y="470"/>
                      </a:lnTo>
                      <a:lnTo>
                        <a:pt x="132" y="468"/>
                      </a:lnTo>
                      <a:lnTo>
                        <a:pt x="130" y="468"/>
                      </a:lnTo>
                      <a:lnTo>
                        <a:pt x="130" y="470"/>
                      </a:lnTo>
                      <a:lnTo>
                        <a:pt x="130" y="472"/>
                      </a:lnTo>
                      <a:lnTo>
                        <a:pt x="130" y="473"/>
                      </a:lnTo>
                      <a:lnTo>
                        <a:pt x="129" y="473"/>
                      </a:lnTo>
                      <a:lnTo>
                        <a:pt x="127" y="475"/>
                      </a:lnTo>
                      <a:lnTo>
                        <a:pt x="125" y="473"/>
                      </a:lnTo>
                      <a:lnTo>
                        <a:pt x="124" y="473"/>
                      </a:lnTo>
                      <a:lnTo>
                        <a:pt x="124" y="472"/>
                      </a:lnTo>
                      <a:lnTo>
                        <a:pt x="124" y="470"/>
                      </a:lnTo>
                      <a:lnTo>
                        <a:pt x="122" y="470"/>
                      </a:lnTo>
                      <a:lnTo>
                        <a:pt x="120" y="470"/>
                      </a:lnTo>
                      <a:lnTo>
                        <a:pt x="120" y="472"/>
                      </a:lnTo>
                      <a:lnTo>
                        <a:pt x="120" y="470"/>
                      </a:lnTo>
                      <a:lnTo>
                        <a:pt x="119" y="470"/>
                      </a:lnTo>
                      <a:lnTo>
                        <a:pt x="120" y="470"/>
                      </a:lnTo>
                      <a:lnTo>
                        <a:pt x="119" y="470"/>
                      </a:lnTo>
                      <a:lnTo>
                        <a:pt x="117" y="470"/>
                      </a:lnTo>
                      <a:lnTo>
                        <a:pt x="115" y="470"/>
                      </a:lnTo>
                      <a:lnTo>
                        <a:pt x="115" y="468"/>
                      </a:lnTo>
                      <a:lnTo>
                        <a:pt x="113" y="468"/>
                      </a:lnTo>
                      <a:lnTo>
                        <a:pt x="112" y="468"/>
                      </a:lnTo>
                      <a:lnTo>
                        <a:pt x="112" y="467"/>
                      </a:lnTo>
                      <a:lnTo>
                        <a:pt x="112" y="468"/>
                      </a:lnTo>
                      <a:lnTo>
                        <a:pt x="110" y="468"/>
                      </a:lnTo>
                      <a:lnTo>
                        <a:pt x="108" y="468"/>
                      </a:lnTo>
                      <a:lnTo>
                        <a:pt x="107" y="468"/>
                      </a:lnTo>
                      <a:lnTo>
                        <a:pt x="105" y="468"/>
                      </a:lnTo>
                      <a:lnTo>
                        <a:pt x="107" y="468"/>
                      </a:lnTo>
                      <a:lnTo>
                        <a:pt x="105" y="468"/>
                      </a:lnTo>
                      <a:lnTo>
                        <a:pt x="105" y="470"/>
                      </a:lnTo>
                      <a:lnTo>
                        <a:pt x="103" y="468"/>
                      </a:lnTo>
                      <a:lnTo>
                        <a:pt x="103" y="470"/>
                      </a:lnTo>
                      <a:lnTo>
                        <a:pt x="103" y="468"/>
                      </a:lnTo>
                      <a:lnTo>
                        <a:pt x="103" y="470"/>
                      </a:lnTo>
                      <a:lnTo>
                        <a:pt x="102" y="470"/>
                      </a:lnTo>
                      <a:lnTo>
                        <a:pt x="102" y="468"/>
                      </a:lnTo>
                      <a:lnTo>
                        <a:pt x="102" y="467"/>
                      </a:lnTo>
                      <a:lnTo>
                        <a:pt x="100" y="468"/>
                      </a:lnTo>
                      <a:lnTo>
                        <a:pt x="100" y="467"/>
                      </a:lnTo>
                      <a:lnTo>
                        <a:pt x="98" y="467"/>
                      </a:lnTo>
                      <a:lnTo>
                        <a:pt x="98" y="468"/>
                      </a:lnTo>
                      <a:lnTo>
                        <a:pt x="97" y="468"/>
                      </a:lnTo>
                      <a:lnTo>
                        <a:pt x="97" y="467"/>
                      </a:lnTo>
                      <a:lnTo>
                        <a:pt x="97" y="468"/>
                      </a:lnTo>
                      <a:lnTo>
                        <a:pt x="95" y="468"/>
                      </a:lnTo>
                      <a:lnTo>
                        <a:pt x="95" y="467"/>
                      </a:lnTo>
                      <a:lnTo>
                        <a:pt x="95" y="468"/>
                      </a:lnTo>
                      <a:lnTo>
                        <a:pt x="93" y="467"/>
                      </a:lnTo>
                      <a:lnTo>
                        <a:pt x="92" y="467"/>
                      </a:lnTo>
                      <a:lnTo>
                        <a:pt x="92" y="468"/>
                      </a:lnTo>
                      <a:lnTo>
                        <a:pt x="92" y="467"/>
                      </a:lnTo>
                      <a:lnTo>
                        <a:pt x="92" y="468"/>
                      </a:lnTo>
                      <a:lnTo>
                        <a:pt x="90" y="468"/>
                      </a:lnTo>
                      <a:lnTo>
                        <a:pt x="90" y="470"/>
                      </a:lnTo>
                      <a:lnTo>
                        <a:pt x="88" y="470"/>
                      </a:lnTo>
                      <a:lnTo>
                        <a:pt x="88" y="468"/>
                      </a:lnTo>
                      <a:lnTo>
                        <a:pt x="86" y="468"/>
                      </a:lnTo>
                      <a:lnTo>
                        <a:pt x="85" y="468"/>
                      </a:lnTo>
                      <a:lnTo>
                        <a:pt x="85" y="467"/>
                      </a:lnTo>
                      <a:lnTo>
                        <a:pt x="83" y="467"/>
                      </a:lnTo>
                      <a:lnTo>
                        <a:pt x="83" y="468"/>
                      </a:lnTo>
                      <a:lnTo>
                        <a:pt x="81" y="467"/>
                      </a:lnTo>
                      <a:lnTo>
                        <a:pt x="81" y="468"/>
                      </a:lnTo>
                      <a:lnTo>
                        <a:pt x="80" y="468"/>
                      </a:lnTo>
                      <a:lnTo>
                        <a:pt x="78" y="468"/>
                      </a:lnTo>
                      <a:lnTo>
                        <a:pt x="78" y="467"/>
                      </a:lnTo>
                      <a:lnTo>
                        <a:pt x="78" y="468"/>
                      </a:lnTo>
                      <a:lnTo>
                        <a:pt x="76" y="468"/>
                      </a:lnTo>
                      <a:lnTo>
                        <a:pt x="76" y="467"/>
                      </a:lnTo>
                      <a:lnTo>
                        <a:pt x="76" y="468"/>
                      </a:lnTo>
                      <a:lnTo>
                        <a:pt x="76" y="467"/>
                      </a:lnTo>
                      <a:lnTo>
                        <a:pt x="75" y="467"/>
                      </a:lnTo>
                      <a:lnTo>
                        <a:pt x="76" y="467"/>
                      </a:lnTo>
                      <a:lnTo>
                        <a:pt x="75" y="467"/>
                      </a:lnTo>
                      <a:lnTo>
                        <a:pt x="75" y="465"/>
                      </a:lnTo>
                      <a:lnTo>
                        <a:pt x="73" y="465"/>
                      </a:lnTo>
                      <a:lnTo>
                        <a:pt x="75" y="465"/>
                      </a:lnTo>
                      <a:lnTo>
                        <a:pt x="73" y="465"/>
                      </a:lnTo>
                      <a:lnTo>
                        <a:pt x="71" y="465"/>
                      </a:lnTo>
                      <a:lnTo>
                        <a:pt x="70" y="465"/>
                      </a:lnTo>
                      <a:lnTo>
                        <a:pt x="70" y="463"/>
                      </a:lnTo>
                      <a:lnTo>
                        <a:pt x="68" y="463"/>
                      </a:lnTo>
                      <a:lnTo>
                        <a:pt x="68" y="465"/>
                      </a:lnTo>
                      <a:lnTo>
                        <a:pt x="68" y="463"/>
                      </a:lnTo>
                      <a:lnTo>
                        <a:pt x="66" y="463"/>
                      </a:lnTo>
                      <a:lnTo>
                        <a:pt x="64" y="463"/>
                      </a:lnTo>
                      <a:lnTo>
                        <a:pt x="63" y="463"/>
                      </a:lnTo>
                      <a:lnTo>
                        <a:pt x="63" y="462"/>
                      </a:lnTo>
                      <a:lnTo>
                        <a:pt x="61" y="462"/>
                      </a:lnTo>
                      <a:lnTo>
                        <a:pt x="61" y="463"/>
                      </a:lnTo>
                      <a:lnTo>
                        <a:pt x="59" y="463"/>
                      </a:lnTo>
                      <a:lnTo>
                        <a:pt x="58" y="463"/>
                      </a:lnTo>
                      <a:lnTo>
                        <a:pt x="56" y="463"/>
                      </a:lnTo>
                      <a:lnTo>
                        <a:pt x="56" y="462"/>
                      </a:lnTo>
                      <a:lnTo>
                        <a:pt x="56" y="460"/>
                      </a:lnTo>
                      <a:lnTo>
                        <a:pt x="54" y="460"/>
                      </a:lnTo>
                      <a:lnTo>
                        <a:pt x="56" y="458"/>
                      </a:lnTo>
                      <a:lnTo>
                        <a:pt x="54" y="458"/>
                      </a:lnTo>
                      <a:lnTo>
                        <a:pt x="54" y="460"/>
                      </a:lnTo>
                      <a:lnTo>
                        <a:pt x="54" y="458"/>
                      </a:lnTo>
                      <a:lnTo>
                        <a:pt x="53" y="458"/>
                      </a:lnTo>
                      <a:lnTo>
                        <a:pt x="54" y="457"/>
                      </a:lnTo>
                      <a:lnTo>
                        <a:pt x="53" y="457"/>
                      </a:lnTo>
                      <a:lnTo>
                        <a:pt x="54" y="455"/>
                      </a:lnTo>
                      <a:lnTo>
                        <a:pt x="53" y="455"/>
                      </a:lnTo>
                      <a:lnTo>
                        <a:pt x="51" y="457"/>
                      </a:lnTo>
                      <a:lnTo>
                        <a:pt x="49" y="457"/>
                      </a:lnTo>
                      <a:lnTo>
                        <a:pt x="48" y="455"/>
                      </a:lnTo>
                      <a:lnTo>
                        <a:pt x="46" y="455"/>
                      </a:lnTo>
                      <a:lnTo>
                        <a:pt x="44" y="455"/>
                      </a:lnTo>
                      <a:lnTo>
                        <a:pt x="44" y="457"/>
                      </a:lnTo>
                      <a:lnTo>
                        <a:pt x="43" y="457"/>
                      </a:lnTo>
                      <a:lnTo>
                        <a:pt x="43" y="455"/>
                      </a:lnTo>
                      <a:lnTo>
                        <a:pt x="41" y="457"/>
                      </a:lnTo>
                      <a:lnTo>
                        <a:pt x="43" y="457"/>
                      </a:lnTo>
                      <a:lnTo>
                        <a:pt x="43" y="458"/>
                      </a:lnTo>
                      <a:lnTo>
                        <a:pt x="41" y="458"/>
                      </a:lnTo>
                      <a:lnTo>
                        <a:pt x="39" y="458"/>
                      </a:lnTo>
                      <a:lnTo>
                        <a:pt x="37" y="458"/>
                      </a:lnTo>
                      <a:lnTo>
                        <a:pt x="36" y="458"/>
                      </a:lnTo>
                      <a:lnTo>
                        <a:pt x="36" y="460"/>
                      </a:lnTo>
                      <a:lnTo>
                        <a:pt x="34" y="460"/>
                      </a:lnTo>
                      <a:lnTo>
                        <a:pt x="34" y="458"/>
                      </a:lnTo>
                      <a:lnTo>
                        <a:pt x="32" y="457"/>
                      </a:lnTo>
                      <a:lnTo>
                        <a:pt x="31" y="458"/>
                      </a:lnTo>
                      <a:lnTo>
                        <a:pt x="29" y="458"/>
                      </a:lnTo>
                      <a:lnTo>
                        <a:pt x="31" y="458"/>
                      </a:lnTo>
                      <a:lnTo>
                        <a:pt x="29" y="458"/>
                      </a:lnTo>
                      <a:lnTo>
                        <a:pt x="27" y="458"/>
                      </a:lnTo>
                      <a:lnTo>
                        <a:pt x="26" y="458"/>
                      </a:lnTo>
                      <a:lnTo>
                        <a:pt x="24" y="458"/>
                      </a:lnTo>
                      <a:lnTo>
                        <a:pt x="24" y="457"/>
                      </a:lnTo>
                      <a:lnTo>
                        <a:pt x="22" y="457"/>
                      </a:lnTo>
                      <a:lnTo>
                        <a:pt x="22" y="455"/>
                      </a:lnTo>
                      <a:lnTo>
                        <a:pt x="22" y="454"/>
                      </a:lnTo>
                      <a:lnTo>
                        <a:pt x="21" y="455"/>
                      </a:lnTo>
                      <a:lnTo>
                        <a:pt x="21" y="454"/>
                      </a:lnTo>
                      <a:lnTo>
                        <a:pt x="21" y="455"/>
                      </a:lnTo>
                      <a:lnTo>
                        <a:pt x="19" y="455"/>
                      </a:lnTo>
                      <a:lnTo>
                        <a:pt x="17" y="455"/>
                      </a:lnTo>
                      <a:lnTo>
                        <a:pt x="17" y="454"/>
                      </a:lnTo>
                      <a:lnTo>
                        <a:pt x="19" y="454"/>
                      </a:lnTo>
                      <a:lnTo>
                        <a:pt x="17" y="452"/>
                      </a:lnTo>
                      <a:lnTo>
                        <a:pt x="16" y="452"/>
                      </a:lnTo>
                      <a:lnTo>
                        <a:pt x="16" y="450"/>
                      </a:lnTo>
                      <a:lnTo>
                        <a:pt x="16" y="449"/>
                      </a:lnTo>
                      <a:lnTo>
                        <a:pt x="17" y="449"/>
                      </a:lnTo>
                      <a:lnTo>
                        <a:pt x="19" y="449"/>
                      </a:lnTo>
                      <a:lnTo>
                        <a:pt x="19" y="447"/>
                      </a:lnTo>
                      <a:lnTo>
                        <a:pt x="21" y="447"/>
                      </a:lnTo>
                      <a:lnTo>
                        <a:pt x="21" y="445"/>
                      </a:lnTo>
                      <a:lnTo>
                        <a:pt x="21" y="444"/>
                      </a:lnTo>
                      <a:lnTo>
                        <a:pt x="22" y="442"/>
                      </a:lnTo>
                      <a:lnTo>
                        <a:pt x="22" y="440"/>
                      </a:lnTo>
                      <a:lnTo>
                        <a:pt x="22" y="439"/>
                      </a:lnTo>
                      <a:lnTo>
                        <a:pt x="22" y="437"/>
                      </a:lnTo>
                      <a:lnTo>
                        <a:pt x="24" y="435"/>
                      </a:lnTo>
                      <a:lnTo>
                        <a:pt x="26" y="435"/>
                      </a:lnTo>
                      <a:lnTo>
                        <a:pt x="24" y="435"/>
                      </a:lnTo>
                      <a:lnTo>
                        <a:pt x="22" y="434"/>
                      </a:lnTo>
                      <a:lnTo>
                        <a:pt x="21" y="434"/>
                      </a:lnTo>
                      <a:lnTo>
                        <a:pt x="19" y="432"/>
                      </a:lnTo>
                      <a:lnTo>
                        <a:pt x="21" y="432"/>
                      </a:lnTo>
                      <a:lnTo>
                        <a:pt x="22" y="431"/>
                      </a:lnTo>
                      <a:lnTo>
                        <a:pt x="24" y="429"/>
                      </a:lnTo>
                      <a:lnTo>
                        <a:pt x="24" y="427"/>
                      </a:lnTo>
                      <a:lnTo>
                        <a:pt x="26" y="426"/>
                      </a:lnTo>
                      <a:lnTo>
                        <a:pt x="24" y="426"/>
                      </a:lnTo>
                      <a:lnTo>
                        <a:pt x="22" y="424"/>
                      </a:lnTo>
                      <a:lnTo>
                        <a:pt x="22" y="422"/>
                      </a:lnTo>
                      <a:lnTo>
                        <a:pt x="24" y="421"/>
                      </a:lnTo>
                      <a:lnTo>
                        <a:pt x="26" y="421"/>
                      </a:lnTo>
                      <a:lnTo>
                        <a:pt x="26" y="419"/>
                      </a:lnTo>
                      <a:lnTo>
                        <a:pt x="27" y="419"/>
                      </a:lnTo>
                      <a:lnTo>
                        <a:pt x="27" y="417"/>
                      </a:lnTo>
                      <a:lnTo>
                        <a:pt x="26" y="417"/>
                      </a:lnTo>
                      <a:lnTo>
                        <a:pt x="26" y="416"/>
                      </a:lnTo>
                      <a:lnTo>
                        <a:pt x="24" y="416"/>
                      </a:lnTo>
                      <a:lnTo>
                        <a:pt x="22" y="414"/>
                      </a:lnTo>
                      <a:lnTo>
                        <a:pt x="22" y="412"/>
                      </a:lnTo>
                      <a:lnTo>
                        <a:pt x="22" y="411"/>
                      </a:lnTo>
                      <a:lnTo>
                        <a:pt x="24" y="409"/>
                      </a:lnTo>
                      <a:lnTo>
                        <a:pt x="26" y="409"/>
                      </a:lnTo>
                      <a:lnTo>
                        <a:pt x="24" y="409"/>
                      </a:lnTo>
                      <a:lnTo>
                        <a:pt x="24" y="408"/>
                      </a:lnTo>
                      <a:lnTo>
                        <a:pt x="22" y="408"/>
                      </a:lnTo>
                      <a:lnTo>
                        <a:pt x="21" y="408"/>
                      </a:lnTo>
                      <a:lnTo>
                        <a:pt x="21" y="406"/>
                      </a:lnTo>
                      <a:lnTo>
                        <a:pt x="19" y="404"/>
                      </a:lnTo>
                      <a:lnTo>
                        <a:pt x="21" y="403"/>
                      </a:lnTo>
                      <a:lnTo>
                        <a:pt x="21" y="401"/>
                      </a:lnTo>
                      <a:lnTo>
                        <a:pt x="22" y="401"/>
                      </a:lnTo>
                      <a:lnTo>
                        <a:pt x="22" y="399"/>
                      </a:lnTo>
                      <a:lnTo>
                        <a:pt x="24" y="399"/>
                      </a:lnTo>
                      <a:lnTo>
                        <a:pt x="24" y="398"/>
                      </a:lnTo>
                      <a:lnTo>
                        <a:pt x="24" y="396"/>
                      </a:lnTo>
                      <a:lnTo>
                        <a:pt x="26" y="393"/>
                      </a:lnTo>
                      <a:lnTo>
                        <a:pt x="26" y="391"/>
                      </a:lnTo>
                      <a:lnTo>
                        <a:pt x="27" y="390"/>
                      </a:lnTo>
                      <a:lnTo>
                        <a:pt x="29" y="388"/>
                      </a:lnTo>
                      <a:lnTo>
                        <a:pt x="29" y="386"/>
                      </a:lnTo>
                      <a:lnTo>
                        <a:pt x="31" y="386"/>
                      </a:lnTo>
                      <a:lnTo>
                        <a:pt x="31" y="385"/>
                      </a:lnTo>
                      <a:lnTo>
                        <a:pt x="31" y="383"/>
                      </a:lnTo>
                      <a:lnTo>
                        <a:pt x="29" y="383"/>
                      </a:lnTo>
                      <a:lnTo>
                        <a:pt x="27" y="383"/>
                      </a:lnTo>
                      <a:lnTo>
                        <a:pt x="26" y="383"/>
                      </a:lnTo>
                      <a:lnTo>
                        <a:pt x="26" y="381"/>
                      </a:lnTo>
                      <a:lnTo>
                        <a:pt x="24" y="381"/>
                      </a:lnTo>
                      <a:lnTo>
                        <a:pt x="24" y="380"/>
                      </a:lnTo>
                      <a:lnTo>
                        <a:pt x="26" y="380"/>
                      </a:lnTo>
                      <a:lnTo>
                        <a:pt x="27" y="378"/>
                      </a:lnTo>
                      <a:lnTo>
                        <a:pt x="29" y="378"/>
                      </a:lnTo>
                      <a:lnTo>
                        <a:pt x="29" y="376"/>
                      </a:lnTo>
                      <a:lnTo>
                        <a:pt x="31" y="376"/>
                      </a:lnTo>
                      <a:lnTo>
                        <a:pt x="31" y="375"/>
                      </a:lnTo>
                      <a:lnTo>
                        <a:pt x="31" y="373"/>
                      </a:lnTo>
                      <a:lnTo>
                        <a:pt x="31" y="371"/>
                      </a:lnTo>
                      <a:lnTo>
                        <a:pt x="31" y="370"/>
                      </a:lnTo>
                      <a:lnTo>
                        <a:pt x="29" y="367"/>
                      </a:lnTo>
                      <a:lnTo>
                        <a:pt x="31" y="365"/>
                      </a:lnTo>
                      <a:lnTo>
                        <a:pt x="31" y="363"/>
                      </a:lnTo>
                      <a:lnTo>
                        <a:pt x="31" y="362"/>
                      </a:lnTo>
                      <a:lnTo>
                        <a:pt x="29" y="362"/>
                      </a:lnTo>
                      <a:lnTo>
                        <a:pt x="29" y="360"/>
                      </a:lnTo>
                      <a:lnTo>
                        <a:pt x="29" y="358"/>
                      </a:lnTo>
                      <a:lnTo>
                        <a:pt x="31" y="357"/>
                      </a:lnTo>
                      <a:lnTo>
                        <a:pt x="32" y="355"/>
                      </a:lnTo>
                      <a:lnTo>
                        <a:pt x="32" y="353"/>
                      </a:lnTo>
                      <a:lnTo>
                        <a:pt x="34" y="352"/>
                      </a:lnTo>
                      <a:lnTo>
                        <a:pt x="34" y="350"/>
                      </a:lnTo>
                      <a:lnTo>
                        <a:pt x="34" y="348"/>
                      </a:lnTo>
                      <a:lnTo>
                        <a:pt x="32" y="348"/>
                      </a:lnTo>
                      <a:lnTo>
                        <a:pt x="31" y="350"/>
                      </a:lnTo>
                      <a:lnTo>
                        <a:pt x="29" y="350"/>
                      </a:lnTo>
                      <a:lnTo>
                        <a:pt x="29" y="348"/>
                      </a:lnTo>
                      <a:lnTo>
                        <a:pt x="27" y="347"/>
                      </a:lnTo>
                      <a:lnTo>
                        <a:pt x="27" y="345"/>
                      </a:lnTo>
                      <a:lnTo>
                        <a:pt x="26" y="345"/>
                      </a:lnTo>
                      <a:lnTo>
                        <a:pt x="24" y="345"/>
                      </a:lnTo>
                      <a:lnTo>
                        <a:pt x="24" y="344"/>
                      </a:lnTo>
                      <a:lnTo>
                        <a:pt x="26" y="344"/>
                      </a:lnTo>
                      <a:lnTo>
                        <a:pt x="27" y="342"/>
                      </a:lnTo>
                      <a:lnTo>
                        <a:pt x="29" y="340"/>
                      </a:lnTo>
                      <a:lnTo>
                        <a:pt x="31" y="339"/>
                      </a:lnTo>
                      <a:lnTo>
                        <a:pt x="29" y="339"/>
                      </a:lnTo>
                      <a:lnTo>
                        <a:pt x="29" y="337"/>
                      </a:lnTo>
                      <a:lnTo>
                        <a:pt x="27" y="335"/>
                      </a:lnTo>
                      <a:lnTo>
                        <a:pt x="26" y="335"/>
                      </a:lnTo>
                      <a:lnTo>
                        <a:pt x="24" y="335"/>
                      </a:lnTo>
                      <a:lnTo>
                        <a:pt x="22" y="335"/>
                      </a:lnTo>
                      <a:lnTo>
                        <a:pt x="21" y="335"/>
                      </a:lnTo>
                      <a:lnTo>
                        <a:pt x="22" y="332"/>
                      </a:lnTo>
                      <a:lnTo>
                        <a:pt x="22" y="330"/>
                      </a:lnTo>
                      <a:lnTo>
                        <a:pt x="24" y="330"/>
                      </a:lnTo>
                      <a:lnTo>
                        <a:pt x="26" y="330"/>
                      </a:lnTo>
                      <a:lnTo>
                        <a:pt x="29" y="332"/>
                      </a:lnTo>
                      <a:lnTo>
                        <a:pt x="29" y="330"/>
                      </a:lnTo>
                      <a:lnTo>
                        <a:pt x="29" y="329"/>
                      </a:lnTo>
                      <a:lnTo>
                        <a:pt x="29" y="327"/>
                      </a:lnTo>
                      <a:lnTo>
                        <a:pt x="27" y="327"/>
                      </a:lnTo>
                      <a:lnTo>
                        <a:pt x="26" y="325"/>
                      </a:lnTo>
                      <a:lnTo>
                        <a:pt x="26" y="324"/>
                      </a:lnTo>
                      <a:lnTo>
                        <a:pt x="24" y="324"/>
                      </a:lnTo>
                      <a:lnTo>
                        <a:pt x="22" y="324"/>
                      </a:lnTo>
                      <a:lnTo>
                        <a:pt x="21" y="327"/>
                      </a:lnTo>
                      <a:lnTo>
                        <a:pt x="19" y="327"/>
                      </a:lnTo>
                      <a:lnTo>
                        <a:pt x="17" y="327"/>
                      </a:lnTo>
                      <a:lnTo>
                        <a:pt x="17" y="325"/>
                      </a:lnTo>
                      <a:lnTo>
                        <a:pt x="19" y="324"/>
                      </a:lnTo>
                      <a:lnTo>
                        <a:pt x="19" y="322"/>
                      </a:lnTo>
                      <a:lnTo>
                        <a:pt x="19" y="321"/>
                      </a:lnTo>
                      <a:lnTo>
                        <a:pt x="17" y="321"/>
                      </a:lnTo>
                      <a:lnTo>
                        <a:pt x="16" y="319"/>
                      </a:lnTo>
                      <a:lnTo>
                        <a:pt x="16" y="317"/>
                      </a:lnTo>
                      <a:lnTo>
                        <a:pt x="16" y="316"/>
                      </a:lnTo>
                      <a:lnTo>
                        <a:pt x="17" y="316"/>
                      </a:lnTo>
                      <a:lnTo>
                        <a:pt x="17" y="314"/>
                      </a:lnTo>
                      <a:lnTo>
                        <a:pt x="16" y="314"/>
                      </a:lnTo>
                      <a:lnTo>
                        <a:pt x="16" y="311"/>
                      </a:lnTo>
                      <a:lnTo>
                        <a:pt x="16" y="309"/>
                      </a:lnTo>
                      <a:lnTo>
                        <a:pt x="16" y="307"/>
                      </a:lnTo>
                      <a:lnTo>
                        <a:pt x="17" y="304"/>
                      </a:lnTo>
                      <a:lnTo>
                        <a:pt x="17" y="302"/>
                      </a:lnTo>
                      <a:lnTo>
                        <a:pt x="16" y="301"/>
                      </a:lnTo>
                      <a:lnTo>
                        <a:pt x="14" y="299"/>
                      </a:lnTo>
                      <a:lnTo>
                        <a:pt x="12" y="299"/>
                      </a:lnTo>
                      <a:lnTo>
                        <a:pt x="10" y="298"/>
                      </a:lnTo>
                      <a:lnTo>
                        <a:pt x="9" y="298"/>
                      </a:lnTo>
                      <a:lnTo>
                        <a:pt x="9" y="296"/>
                      </a:lnTo>
                      <a:lnTo>
                        <a:pt x="7" y="293"/>
                      </a:lnTo>
                      <a:lnTo>
                        <a:pt x="7" y="291"/>
                      </a:lnTo>
                      <a:lnTo>
                        <a:pt x="7" y="289"/>
                      </a:lnTo>
                      <a:lnTo>
                        <a:pt x="9" y="288"/>
                      </a:lnTo>
                      <a:lnTo>
                        <a:pt x="9" y="286"/>
                      </a:lnTo>
                      <a:lnTo>
                        <a:pt x="7" y="286"/>
                      </a:lnTo>
                      <a:lnTo>
                        <a:pt x="7" y="284"/>
                      </a:lnTo>
                      <a:lnTo>
                        <a:pt x="5" y="284"/>
                      </a:lnTo>
                      <a:lnTo>
                        <a:pt x="5" y="286"/>
                      </a:lnTo>
                      <a:lnTo>
                        <a:pt x="4" y="286"/>
                      </a:lnTo>
                      <a:lnTo>
                        <a:pt x="4" y="288"/>
                      </a:lnTo>
                      <a:lnTo>
                        <a:pt x="2" y="288"/>
                      </a:lnTo>
                      <a:lnTo>
                        <a:pt x="2" y="286"/>
                      </a:lnTo>
                      <a:lnTo>
                        <a:pt x="0" y="286"/>
                      </a:lnTo>
                      <a:lnTo>
                        <a:pt x="0" y="284"/>
                      </a:lnTo>
                      <a:lnTo>
                        <a:pt x="0" y="283"/>
                      </a:lnTo>
                      <a:lnTo>
                        <a:pt x="2" y="283"/>
                      </a:lnTo>
                      <a:lnTo>
                        <a:pt x="2" y="281"/>
                      </a:lnTo>
                      <a:lnTo>
                        <a:pt x="4" y="281"/>
                      </a:lnTo>
                      <a:lnTo>
                        <a:pt x="5" y="281"/>
                      </a:lnTo>
                      <a:lnTo>
                        <a:pt x="5" y="279"/>
                      </a:lnTo>
                      <a:lnTo>
                        <a:pt x="4" y="279"/>
                      </a:lnTo>
                      <a:lnTo>
                        <a:pt x="4" y="278"/>
                      </a:lnTo>
                      <a:lnTo>
                        <a:pt x="2" y="279"/>
                      </a:lnTo>
                      <a:lnTo>
                        <a:pt x="0" y="278"/>
                      </a:lnTo>
                      <a:lnTo>
                        <a:pt x="2" y="278"/>
                      </a:lnTo>
                      <a:lnTo>
                        <a:pt x="2" y="276"/>
                      </a:lnTo>
                      <a:lnTo>
                        <a:pt x="4" y="276"/>
                      </a:lnTo>
                      <a:lnTo>
                        <a:pt x="5" y="276"/>
                      </a:lnTo>
                      <a:lnTo>
                        <a:pt x="5" y="275"/>
                      </a:lnTo>
                      <a:lnTo>
                        <a:pt x="7" y="275"/>
                      </a:lnTo>
                      <a:lnTo>
                        <a:pt x="7" y="273"/>
                      </a:lnTo>
                      <a:lnTo>
                        <a:pt x="9" y="271"/>
                      </a:lnTo>
                      <a:lnTo>
                        <a:pt x="10" y="271"/>
                      </a:lnTo>
                      <a:lnTo>
                        <a:pt x="12" y="271"/>
                      </a:lnTo>
                      <a:lnTo>
                        <a:pt x="12" y="270"/>
                      </a:lnTo>
                      <a:lnTo>
                        <a:pt x="14" y="268"/>
                      </a:lnTo>
                      <a:lnTo>
                        <a:pt x="16" y="268"/>
                      </a:lnTo>
                      <a:lnTo>
                        <a:pt x="17" y="268"/>
                      </a:lnTo>
                      <a:lnTo>
                        <a:pt x="19" y="268"/>
                      </a:lnTo>
                      <a:lnTo>
                        <a:pt x="19" y="266"/>
                      </a:lnTo>
                      <a:lnTo>
                        <a:pt x="21" y="265"/>
                      </a:lnTo>
                      <a:lnTo>
                        <a:pt x="22" y="263"/>
                      </a:lnTo>
                      <a:lnTo>
                        <a:pt x="22" y="265"/>
                      </a:lnTo>
                      <a:lnTo>
                        <a:pt x="24" y="265"/>
                      </a:lnTo>
                      <a:lnTo>
                        <a:pt x="26" y="266"/>
                      </a:lnTo>
                      <a:lnTo>
                        <a:pt x="27" y="263"/>
                      </a:lnTo>
                      <a:lnTo>
                        <a:pt x="29" y="261"/>
                      </a:lnTo>
                      <a:lnTo>
                        <a:pt x="31" y="260"/>
                      </a:lnTo>
                      <a:lnTo>
                        <a:pt x="4" y="240"/>
                      </a:lnTo>
                      <a:lnTo>
                        <a:pt x="16" y="215"/>
                      </a:lnTo>
                      <a:lnTo>
                        <a:pt x="37" y="173"/>
                      </a:lnTo>
                      <a:lnTo>
                        <a:pt x="44" y="173"/>
                      </a:lnTo>
                      <a:lnTo>
                        <a:pt x="46" y="171"/>
                      </a:lnTo>
                      <a:lnTo>
                        <a:pt x="46" y="169"/>
                      </a:lnTo>
                      <a:lnTo>
                        <a:pt x="44" y="169"/>
                      </a:lnTo>
                      <a:lnTo>
                        <a:pt x="44" y="168"/>
                      </a:lnTo>
                      <a:lnTo>
                        <a:pt x="43" y="168"/>
                      </a:lnTo>
                      <a:lnTo>
                        <a:pt x="43" y="161"/>
                      </a:lnTo>
                      <a:lnTo>
                        <a:pt x="39" y="161"/>
                      </a:lnTo>
                      <a:lnTo>
                        <a:pt x="58" y="100"/>
                      </a:lnTo>
                      <a:lnTo>
                        <a:pt x="64" y="99"/>
                      </a:lnTo>
                      <a:lnTo>
                        <a:pt x="68" y="99"/>
                      </a:lnTo>
                      <a:lnTo>
                        <a:pt x="66" y="97"/>
                      </a:lnTo>
                      <a:lnTo>
                        <a:pt x="66" y="96"/>
                      </a:lnTo>
                      <a:lnTo>
                        <a:pt x="64" y="96"/>
                      </a:lnTo>
                      <a:lnTo>
                        <a:pt x="63" y="96"/>
                      </a:lnTo>
                      <a:lnTo>
                        <a:pt x="58" y="91"/>
                      </a:lnTo>
                      <a:lnTo>
                        <a:pt x="54" y="82"/>
                      </a:lnTo>
                      <a:lnTo>
                        <a:pt x="53" y="77"/>
                      </a:lnTo>
                      <a:lnTo>
                        <a:pt x="51" y="76"/>
                      </a:lnTo>
                      <a:lnTo>
                        <a:pt x="43" y="61"/>
                      </a:lnTo>
                      <a:lnTo>
                        <a:pt x="46" y="61"/>
                      </a:lnTo>
                      <a:lnTo>
                        <a:pt x="46" y="59"/>
                      </a:lnTo>
                      <a:lnTo>
                        <a:pt x="43" y="56"/>
                      </a:lnTo>
                      <a:lnTo>
                        <a:pt x="44" y="53"/>
                      </a:lnTo>
                      <a:lnTo>
                        <a:pt x="43" y="51"/>
                      </a:lnTo>
                      <a:lnTo>
                        <a:pt x="41" y="50"/>
                      </a:lnTo>
                      <a:lnTo>
                        <a:pt x="39" y="48"/>
                      </a:lnTo>
                      <a:lnTo>
                        <a:pt x="39" y="46"/>
                      </a:lnTo>
                      <a:lnTo>
                        <a:pt x="37" y="46"/>
                      </a:lnTo>
                      <a:lnTo>
                        <a:pt x="37" y="45"/>
                      </a:lnTo>
                      <a:lnTo>
                        <a:pt x="37" y="43"/>
                      </a:lnTo>
                      <a:lnTo>
                        <a:pt x="37" y="41"/>
                      </a:lnTo>
                      <a:lnTo>
                        <a:pt x="37" y="43"/>
                      </a:lnTo>
                      <a:lnTo>
                        <a:pt x="37" y="41"/>
                      </a:lnTo>
                      <a:lnTo>
                        <a:pt x="37" y="40"/>
                      </a:lnTo>
                      <a:lnTo>
                        <a:pt x="36" y="40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6" y="36"/>
                      </a:lnTo>
                      <a:lnTo>
                        <a:pt x="37" y="36"/>
                      </a:lnTo>
                      <a:lnTo>
                        <a:pt x="39" y="36"/>
                      </a:lnTo>
                      <a:lnTo>
                        <a:pt x="39" y="38"/>
                      </a:lnTo>
                      <a:lnTo>
                        <a:pt x="41" y="38"/>
                      </a:lnTo>
                      <a:lnTo>
                        <a:pt x="41" y="36"/>
                      </a:lnTo>
                      <a:lnTo>
                        <a:pt x="41" y="35"/>
                      </a:lnTo>
                      <a:lnTo>
                        <a:pt x="43" y="35"/>
                      </a:lnTo>
                      <a:lnTo>
                        <a:pt x="44" y="35"/>
                      </a:lnTo>
                      <a:lnTo>
                        <a:pt x="44" y="36"/>
                      </a:lnTo>
                      <a:lnTo>
                        <a:pt x="44" y="38"/>
                      </a:lnTo>
                      <a:lnTo>
                        <a:pt x="44" y="40"/>
                      </a:lnTo>
                      <a:lnTo>
                        <a:pt x="46" y="41"/>
                      </a:lnTo>
                      <a:lnTo>
                        <a:pt x="44" y="41"/>
                      </a:lnTo>
                      <a:lnTo>
                        <a:pt x="46" y="41"/>
                      </a:lnTo>
                      <a:lnTo>
                        <a:pt x="46" y="43"/>
                      </a:lnTo>
                      <a:lnTo>
                        <a:pt x="46" y="45"/>
                      </a:lnTo>
                      <a:lnTo>
                        <a:pt x="48" y="45"/>
                      </a:lnTo>
                      <a:lnTo>
                        <a:pt x="46" y="45"/>
                      </a:lnTo>
                      <a:lnTo>
                        <a:pt x="48" y="46"/>
                      </a:lnTo>
                      <a:lnTo>
                        <a:pt x="48" y="48"/>
                      </a:lnTo>
                      <a:lnTo>
                        <a:pt x="46" y="50"/>
                      </a:lnTo>
                      <a:lnTo>
                        <a:pt x="48" y="51"/>
                      </a:lnTo>
                      <a:lnTo>
                        <a:pt x="46" y="51"/>
                      </a:lnTo>
                      <a:lnTo>
                        <a:pt x="48" y="51"/>
                      </a:lnTo>
                      <a:lnTo>
                        <a:pt x="48" y="53"/>
                      </a:lnTo>
                      <a:lnTo>
                        <a:pt x="49" y="53"/>
                      </a:lnTo>
                      <a:lnTo>
                        <a:pt x="51" y="53"/>
                      </a:lnTo>
                      <a:lnTo>
                        <a:pt x="51" y="51"/>
                      </a:lnTo>
                      <a:lnTo>
                        <a:pt x="53" y="53"/>
                      </a:lnTo>
                      <a:lnTo>
                        <a:pt x="53" y="54"/>
                      </a:lnTo>
                      <a:lnTo>
                        <a:pt x="53" y="56"/>
                      </a:lnTo>
                      <a:lnTo>
                        <a:pt x="54" y="56"/>
                      </a:lnTo>
                      <a:lnTo>
                        <a:pt x="54" y="58"/>
                      </a:lnTo>
                      <a:lnTo>
                        <a:pt x="53" y="58"/>
                      </a:lnTo>
                      <a:lnTo>
                        <a:pt x="54" y="58"/>
                      </a:lnTo>
                      <a:lnTo>
                        <a:pt x="54" y="59"/>
                      </a:lnTo>
                      <a:lnTo>
                        <a:pt x="56" y="59"/>
                      </a:lnTo>
                      <a:lnTo>
                        <a:pt x="58" y="59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59" y="63"/>
                      </a:lnTo>
                      <a:lnTo>
                        <a:pt x="61" y="63"/>
                      </a:lnTo>
                      <a:lnTo>
                        <a:pt x="61" y="64"/>
                      </a:lnTo>
                      <a:lnTo>
                        <a:pt x="63" y="64"/>
                      </a:lnTo>
                      <a:lnTo>
                        <a:pt x="64" y="64"/>
                      </a:lnTo>
                      <a:lnTo>
                        <a:pt x="66" y="64"/>
                      </a:lnTo>
                      <a:lnTo>
                        <a:pt x="66" y="66"/>
                      </a:lnTo>
                      <a:lnTo>
                        <a:pt x="66" y="68"/>
                      </a:lnTo>
                      <a:lnTo>
                        <a:pt x="68" y="68"/>
                      </a:lnTo>
                      <a:lnTo>
                        <a:pt x="68" y="69"/>
                      </a:lnTo>
                      <a:lnTo>
                        <a:pt x="70" y="68"/>
                      </a:lnTo>
                      <a:lnTo>
                        <a:pt x="70" y="66"/>
                      </a:lnTo>
                      <a:lnTo>
                        <a:pt x="71" y="64"/>
                      </a:lnTo>
                      <a:lnTo>
                        <a:pt x="73" y="64"/>
                      </a:lnTo>
                      <a:lnTo>
                        <a:pt x="73" y="63"/>
                      </a:lnTo>
                      <a:lnTo>
                        <a:pt x="75" y="63"/>
                      </a:lnTo>
                      <a:lnTo>
                        <a:pt x="75" y="61"/>
                      </a:lnTo>
                      <a:lnTo>
                        <a:pt x="76" y="61"/>
                      </a:lnTo>
                      <a:lnTo>
                        <a:pt x="76" y="63"/>
                      </a:lnTo>
                      <a:lnTo>
                        <a:pt x="78" y="63"/>
                      </a:lnTo>
                      <a:lnTo>
                        <a:pt x="80" y="63"/>
                      </a:lnTo>
                      <a:lnTo>
                        <a:pt x="81" y="63"/>
                      </a:lnTo>
                      <a:lnTo>
                        <a:pt x="81" y="61"/>
                      </a:lnTo>
                      <a:lnTo>
                        <a:pt x="83" y="59"/>
                      </a:lnTo>
                      <a:lnTo>
                        <a:pt x="83" y="61"/>
                      </a:lnTo>
                      <a:lnTo>
                        <a:pt x="85" y="61"/>
                      </a:lnTo>
                      <a:lnTo>
                        <a:pt x="83" y="61"/>
                      </a:lnTo>
                      <a:lnTo>
                        <a:pt x="85" y="61"/>
                      </a:lnTo>
                      <a:lnTo>
                        <a:pt x="86" y="61"/>
                      </a:lnTo>
                      <a:lnTo>
                        <a:pt x="88" y="61"/>
                      </a:lnTo>
                      <a:lnTo>
                        <a:pt x="88" y="59"/>
                      </a:lnTo>
                      <a:lnTo>
                        <a:pt x="90" y="61"/>
                      </a:lnTo>
                      <a:lnTo>
                        <a:pt x="90" y="59"/>
                      </a:lnTo>
                      <a:lnTo>
                        <a:pt x="88" y="59"/>
                      </a:lnTo>
                      <a:lnTo>
                        <a:pt x="88" y="58"/>
                      </a:lnTo>
                      <a:lnTo>
                        <a:pt x="88" y="59"/>
                      </a:lnTo>
                      <a:lnTo>
                        <a:pt x="90" y="58"/>
                      </a:lnTo>
                      <a:lnTo>
                        <a:pt x="92" y="58"/>
                      </a:lnTo>
                      <a:lnTo>
                        <a:pt x="93" y="58"/>
                      </a:lnTo>
                      <a:lnTo>
                        <a:pt x="95" y="58"/>
                      </a:lnTo>
                      <a:lnTo>
                        <a:pt x="97" y="58"/>
                      </a:lnTo>
                      <a:lnTo>
                        <a:pt x="98" y="56"/>
                      </a:lnTo>
                      <a:lnTo>
                        <a:pt x="100" y="56"/>
                      </a:lnTo>
                      <a:lnTo>
                        <a:pt x="100" y="58"/>
                      </a:lnTo>
                      <a:lnTo>
                        <a:pt x="100" y="56"/>
                      </a:lnTo>
                      <a:lnTo>
                        <a:pt x="102" y="56"/>
                      </a:lnTo>
                      <a:lnTo>
                        <a:pt x="103" y="54"/>
                      </a:lnTo>
                      <a:lnTo>
                        <a:pt x="105" y="53"/>
                      </a:lnTo>
                      <a:lnTo>
                        <a:pt x="107" y="53"/>
                      </a:lnTo>
                      <a:lnTo>
                        <a:pt x="108" y="51"/>
                      </a:lnTo>
                      <a:lnTo>
                        <a:pt x="108" y="50"/>
                      </a:lnTo>
                      <a:lnTo>
                        <a:pt x="110" y="50"/>
                      </a:lnTo>
                      <a:lnTo>
                        <a:pt x="110" y="48"/>
                      </a:lnTo>
                      <a:lnTo>
                        <a:pt x="112" y="48"/>
                      </a:lnTo>
                      <a:lnTo>
                        <a:pt x="112" y="46"/>
                      </a:lnTo>
                      <a:lnTo>
                        <a:pt x="113" y="46"/>
                      </a:lnTo>
                      <a:lnTo>
                        <a:pt x="113" y="45"/>
                      </a:lnTo>
                      <a:lnTo>
                        <a:pt x="113" y="43"/>
                      </a:lnTo>
                      <a:lnTo>
                        <a:pt x="115" y="43"/>
                      </a:lnTo>
                      <a:lnTo>
                        <a:pt x="115" y="41"/>
                      </a:lnTo>
                      <a:lnTo>
                        <a:pt x="113" y="41"/>
                      </a:lnTo>
                      <a:lnTo>
                        <a:pt x="113" y="40"/>
                      </a:lnTo>
                      <a:lnTo>
                        <a:pt x="113" y="38"/>
                      </a:lnTo>
                      <a:lnTo>
                        <a:pt x="115" y="38"/>
                      </a:lnTo>
                      <a:lnTo>
                        <a:pt x="117" y="38"/>
                      </a:lnTo>
                      <a:lnTo>
                        <a:pt x="117" y="36"/>
                      </a:lnTo>
                      <a:lnTo>
                        <a:pt x="119" y="36"/>
                      </a:lnTo>
                      <a:lnTo>
                        <a:pt x="119" y="35"/>
                      </a:lnTo>
                      <a:lnTo>
                        <a:pt x="120" y="35"/>
                      </a:lnTo>
                      <a:lnTo>
                        <a:pt x="122" y="35"/>
                      </a:lnTo>
                      <a:lnTo>
                        <a:pt x="124" y="35"/>
                      </a:lnTo>
                      <a:lnTo>
                        <a:pt x="124" y="33"/>
                      </a:lnTo>
                      <a:lnTo>
                        <a:pt x="125" y="31"/>
                      </a:lnTo>
                      <a:lnTo>
                        <a:pt x="124" y="31"/>
                      </a:lnTo>
                      <a:lnTo>
                        <a:pt x="124" y="30"/>
                      </a:lnTo>
                      <a:lnTo>
                        <a:pt x="125" y="30"/>
                      </a:lnTo>
                      <a:lnTo>
                        <a:pt x="125" y="28"/>
                      </a:lnTo>
                      <a:lnTo>
                        <a:pt x="127" y="28"/>
                      </a:lnTo>
                      <a:lnTo>
                        <a:pt x="129" y="28"/>
                      </a:lnTo>
                      <a:lnTo>
                        <a:pt x="129" y="27"/>
                      </a:lnTo>
                      <a:lnTo>
                        <a:pt x="127" y="27"/>
                      </a:lnTo>
                      <a:lnTo>
                        <a:pt x="127" y="25"/>
                      </a:lnTo>
                      <a:lnTo>
                        <a:pt x="129" y="27"/>
                      </a:lnTo>
                      <a:lnTo>
                        <a:pt x="129" y="25"/>
                      </a:lnTo>
                      <a:lnTo>
                        <a:pt x="127" y="25"/>
                      </a:lnTo>
                      <a:lnTo>
                        <a:pt x="127" y="23"/>
                      </a:lnTo>
                      <a:lnTo>
                        <a:pt x="127" y="22"/>
                      </a:lnTo>
                      <a:lnTo>
                        <a:pt x="129" y="22"/>
                      </a:lnTo>
                      <a:lnTo>
                        <a:pt x="130" y="22"/>
                      </a:lnTo>
                      <a:lnTo>
                        <a:pt x="132" y="22"/>
                      </a:lnTo>
                      <a:lnTo>
                        <a:pt x="132" y="20"/>
                      </a:lnTo>
                      <a:lnTo>
                        <a:pt x="134" y="18"/>
                      </a:lnTo>
                      <a:lnTo>
                        <a:pt x="134" y="17"/>
                      </a:lnTo>
                      <a:lnTo>
                        <a:pt x="134" y="15"/>
                      </a:lnTo>
                      <a:lnTo>
                        <a:pt x="135" y="15"/>
                      </a:lnTo>
                      <a:lnTo>
                        <a:pt x="137" y="15"/>
                      </a:lnTo>
                      <a:lnTo>
                        <a:pt x="137" y="13"/>
                      </a:lnTo>
                      <a:lnTo>
                        <a:pt x="139" y="13"/>
                      </a:lnTo>
                      <a:lnTo>
                        <a:pt x="139" y="15"/>
                      </a:lnTo>
                      <a:lnTo>
                        <a:pt x="140" y="15"/>
                      </a:lnTo>
                      <a:lnTo>
                        <a:pt x="142" y="15"/>
                      </a:lnTo>
                      <a:lnTo>
                        <a:pt x="142" y="17"/>
                      </a:lnTo>
                      <a:lnTo>
                        <a:pt x="144" y="17"/>
                      </a:lnTo>
                      <a:lnTo>
                        <a:pt x="144" y="15"/>
                      </a:lnTo>
                      <a:lnTo>
                        <a:pt x="146" y="17"/>
                      </a:lnTo>
                      <a:lnTo>
                        <a:pt x="146" y="15"/>
                      </a:lnTo>
                      <a:lnTo>
                        <a:pt x="144" y="15"/>
                      </a:lnTo>
                      <a:lnTo>
                        <a:pt x="146" y="15"/>
                      </a:lnTo>
                      <a:lnTo>
                        <a:pt x="147" y="17"/>
                      </a:lnTo>
                      <a:lnTo>
                        <a:pt x="147" y="15"/>
                      </a:lnTo>
                      <a:lnTo>
                        <a:pt x="149" y="17"/>
                      </a:lnTo>
                      <a:lnTo>
                        <a:pt x="149" y="15"/>
                      </a:lnTo>
                      <a:lnTo>
                        <a:pt x="149" y="17"/>
                      </a:lnTo>
                      <a:lnTo>
                        <a:pt x="151" y="15"/>
                      </a:lnTo>
                      <a:lnTo>
                        <a:pt x="152" y="17"/>
                      </a:lnTo>
                      <a:lnTo>
                        <a:pt x="152" y="15"/>
                      </a:lnTo>
                      <a:lnTo>
                        <a:pt x="151" y="15"/>
                      </a:lnTo>
                      <a:lnTo>
                        <a:pt x="152" y="15"/>
                      </a:lnTo>
                      <a:lnTo>
                        <a:pt x="154" y="15"/>
                      </a:lnTo>
                      <a:lnTo>
                        <a:pt x="156" y="15"/>
                      </a:lnTo>
                      <a:lnTo>
                        <a:pt x="157" y="15"/>
                      </a:lnTo>
                      <a:lnTo>
                        <a:pt x="157" y="13"/>
                      </a:lnTo>
                      <a:lnTo>
                        <a:pt x="157" y="15"/>
                      </a:lnTo>
                      <a:lnTo>
                        <a:pt x="157" y="13"/>
                      </a:lnTo>
                      <a:lnTo>
                        <a:pt x="159" y="13"/>
                      </a:lnTo>
                      <a:lnTo>
                        <a:pt x="157" y="13"/>
                      </a:lnTo>
                      <a:lnTo>
                        <a:pt x="157" y="12"/>
                      </a:lnTo>
                      <a:lnTo>
                        <a:pt x="157" y="13"/>
                      </a:lnTo>
                      <a:lnTo>
                        <a:pt x="159" y="12"/>
                      </a:lnTo>
                      <a:lnTo>
                        <a:pt x="159" y="13"/>
                      </a:lnTo>
                      <a:lnTo>
                        <a:pt x="161" y="13"/>
                      </a:lnTo>
                      <a:lnTo>
                        <a:pt x="162" y="13"/>
                      </a:lnTo>
                      <a:lnTo>
                        <a:pt x="162" y="15"/>
                      </a:lnTo>
                      <a:lnTo>
                        <a:pt x="162" y="13"/>
                      </a:lnTo>
                      <a:lnTo>
                        <a:pt x="164" y="13"/>
                      </a:lnTo>
                      <a:lnTo>
                        <a:pt x="164" y="15"/>
                      </a:lnTo>
                      <a:lnTo>
                        <a:pt x="164" y="17"/>
                      </a:lnTo>
                      <a:lnTo>
                        <a:pt x="166" y="15"/>
                      </a:lnTo>
                      <a:lnTo>
                        <a:pt x="168" y="13"/>
                      </a:lnTo>
                      <a:lnTo>
                        <a:pt x="168" y="15"/>
                      </a:lnTo>
                      <a:lnTo>
                        <a:pt x="168" y="13"/>
                      </a:lnTo>
                      <a:lnTo>
                        <a:pt x="169" y="13"/>
                      </a:lnTo>
                      <a:lnTo>
                        <a:pt x="169" y="12"/>
                      </a:lnTo>
                      <a:lnTo>
                        <a:pt x="171" y="12"/>
                      </a:lnTo>
                      <a:lnTo>
                        <a:pt x="173" y="12"/>
                      </a:lnTo>
                      <a:lnTo>
                        <a:pt x="173" y="10"/>
                      </a:lnTo>
                      <a:lnTo>
                        <a:pt x="174" y="10"/>
                      </a:lnTo>
                      <a:lnTo>
                        <a:pt x="173" y="10"/>
                      </a:lnTo>
                      <a:lnTo>
                        <a:pt x="173" y="12"/>
                      </a:lnTo>
                      <a:lnTo>
                        <a:pt x="174" y="12"/>
                      </a:lnTo>
                      <a:lnTo>
                        <a:pt x="176" y="12"/>
                      </a:lnTo>
                      <a:lnTo>
                        <a:pt x="176" y="10"/>
                      </a:lnTo>
                      <a:lnTo>
                        <a:pt x="178" y="10"/>
                      </a:lnTo>
                      <a:lnTo>
                        <a:pt x="178" y="12"/>
                      </a:lnTo>
                      <a:lnTo>
                        <a:pt x="178" y="10"/>
                      </a:lnTo>
                      <a:lnTo>
                        <a:pt x="179" y="10"/>
                      </a:lnTo>
                      <a:lnTo>
                        <a:pt x="179" y="8"/>
                      </a:lnTo>
                      <a:lnTo>
                        <a:pt x="181" y="8"/>
                      </a:lnTo>
                      <a:lnTo>
                        <a:pt x="181" y="7"/>
                      </a:lnTo>
                      <a:lnTo>
                        <a:pt x="181" y="8"/>
                      </a:lnTo>
                      <a:lnTo>
                        <a:pt x="183" y="8"/>
                      </a:lnTo>
                      <a:lnTo>
                        <a:pt x="181" y="7"/>
                      </a:lnTo>
                      <a:lnTo>
                        <a:pt x="183" y="7"/>
                      </a:lnTo>
                      <a:lnTo>
                        <a:pt x="183" y="5"/>
                      </a:lnTo>
                      <a:lnTo>
                        <a:pt x="184" y="5"/>
                      </a:lnTo>
                      <a:lnTo>
                        <a:pt x="184" y="7"/>
                      </a:lnTo>
                      <a:lnTo>
                        <a:pt x="186" y="7"/>
                      </a:lnTo>
                      <a:lnTo>
                        <a:pt x="184" y="5"/>
                      </a:lnTo>
                      <a:lnTo>
                        <a:pt x="186" y="5"/>
                      </a:lnTo>
                      <a:lnTo>
                        <a:pt x="186" y="7"/>
                      </a:lnTo>
                      <a:lnTo>
                        <a:pt x="186" y="5"/>
                      </a:lnTo>
                      <a:lnTo>
                        <a:pt x="188" y="5"/>
                      </a:lnTo>
                      <a:lnTo>
                        <a:pt x="188" y="4"/>
                      </a:lnTo>
                      <a:lnTo>
                        <a:pt x="189" y="4"/>
                      </a:lnTo>
                      <a:lnTo>
                        <a:pt x="188" y="4"/>
                      </a:lnTo>
                      <a:lnTo>
                        <a:pt x="189" y="4"/>
                      </a:lnTo>
                      <a:lnTo>
                        <a:pt x="191" y="4"/>
                      </a:lnTo>
                      <a:lnTo>
                        <a:pt x="191" y="2"/>
                      </a:lnTo>
                      <a:lnTo>
                        <a:pt x="193" y="2"/>
                      </a:lnTo>
                      <a:lnTo>
                        <a:pt x="193" y="4"/>
                      </a:lnTo>
                      <a:lnTo>
                        <a:pt x="193" y="2"/>
                      </a:lnTo>
                      <a:lnTo>
                        <a:pt x="195" y="2"/>
                      </a:lnTo>
                      <a:lnTo>
                        <a:pt x="195" y="0"/>
                      </a:lnTo>
                      <a:lnTo>
                        <a:pt x="196" y="0"/>
                      </a:lnTo>
                      <a:lnTo>
                        <a:pt x="196" y="2"/>
                      </a:lnTo>
                      <a:lnTo>
                        <a:pt x="198" y="2"/>
                      </a:lnTo>
                      <a:lnTo>
                        <a:pt x="200" y="2"/>
                      </a:lnTo>
                      <a:lnTo>
                        <a:pt x="201" y="2"/>
                      </a:lnTo>
                      <a:lnTo>
                        <a:pt x="203" y="2"/>
                      </a:lnTo>
                      <a:lnTo>
                        <a:pt x="205" y="4"/>
                      </a:lnTo>
                      <a:lnTo>
                        <a:pt x="206" y="4"/>
                      </a:lnTo>
                      <a:lnTo>
                        <a:pt x="206" y="5"/>
                      </a:lnTo>
                      <a:lnTo>
                        <a:pt x="205" y="5"/>
                      </a:lnTo>
                      <a:lnTo>
                        <a:pt x="205" y="7"/>
                      </a:lnTo>
                      <a:lnTo>
                        <a:pt x="206" y="7"/>
                      </a:lnTo>
                      <a:lnTo>
                        <a:pt x="206" y="8"/>
                      </a:lnTo>
                      <a:lnTo>
                        <a:pt x="206" y="7"/>
                      </a:lnTo>
                      <a:lnTo>
                        <a:pt x="208" y="8"/>
                      </a:lnTo>
                      <a:lnTo>
                        <a:pt x="206" y="8"/>
                      </a:lnTo>
                      <a:lnTo>
                        <a:pt x="208" y="8"/>
                      </a:lnTo>
                      <a:lnTo>
                        <a:pt x="210" y="8"/>
                      </a:lnTo>
                      <a:lnTo>
                        <a:pt x="211" y="8"/>
                      </a:lnTo>
                      <a:lnTo>
                        <a:pt x="210" y="8"/>
                      </a:lnTo>
                      <a:lnTo>
                        <a:pt x="211" y="10"/>
                      </a:lnTo>
                      <a:lnTo>
                        <a:pt x="211" y="12"/>
                      </a:lnTo>
                      <a:lnTo>
                        <a:pt x="213" y="10"/>
                      </a:lnTo>
                      <a:lnTo>
                        <a:pt x="213" y="8"/>
                      </a:lnTo>
                      <a:lnTo>
                        <a:pt x="213" y="10"/>
                      </a:lnTo>
                      <a:lnTo>
                        <a:pt x="215" y="10"/>
                      </a:lnTo>
                      <a:lnTo>
                        <a:pt x="216" y="10"/>
                      </a:lnTo>
                      <a:lnTo>
                        <a:pt x="215" y="10"/>
                      </a:lnTo>
                      <a:lnTo>
                        <a:pt x="216" y="12"/>
                      </a:lnTo>
                      <a:lnTo>
                        <a:pt x="216" y="10"/>
                      </a:lnTo>
                      <a:lnTo>
                        <a:pt x="216" y="12"/>
                      </a:lnTo>
                      <a:lnTo>
                        <a:pt x="218" y="12"/>
                      </a:lnTo>
                      <a:lnTo>
                        <a:pt x="218" y="10"/>
                      </a:lnTo>
                      <a:lnTo>
                        <a:pt x="220" y="12"/>
                      </a:lnTo>
                      <a:lnTo>
                        <a:pt x="222" y="12"/>
                      </a:lnTo>
                      <a:lnTo>
                        <a:pt x="222" y="13"/>
                      </a:lnTo>
                      <a:lnTo>
                        <a:pt x="222" y="12"/>
                      </a:lnTo>
                      <a:lnTo>
                        <a:pt x="223" y="12"/>
                      </a:lnTo>
                      <a:lnTo>
                        <a:pt x="223" y="13"/>
                      </a:lnTo>
                      <a:lnTo>
                        <a:pt x="222" y="13"/>
                      </a:lnTo>
                      <a:lnTo>
                        <a:pt x="223" y="13"/>
                      </a:lnTo>
                      <a:lnTo>
                        <a:pt x="225" y="13"/>
                      </a:lnTo>
                      <a:lnTo>
                        <a:pt x="225" y="15"/>
                      </a:lnTo>
                      <a:lnTo>
                        <a:pt x="227" y="15"/>
                      </a:lnTo>
                      <a:lnTo>
                        <a:pt x="227" y="17"/>
                      </a:lnTo>
                      <a:lnTo>
                        <a:pt x="227" y="15"/>
                      </a:lnTo>
                      <a:lnTo>
                        <a:pt x="228" y="17"/>
                      </a:lnTo>
                      <a:lnTo>
                        <a:pt x="228" y="15"/>
                      </a:lnTo>
                      <a:lnTo>
                        <a:pt x="230" y="17"/>
                      </a:lnTo>
                      <a:lnTo>
                        <a:pt x="232" y="17"/>
                      </a:lnTo>
                      <a:lnTo>
                        <a:pt x="233" y="18"/>
                      </a:lnTo>
                      <a:lnTo>
                        <a:pt x="233" y="17"/>
                      </a:lnTo>
                      <a:lnTo>
                        <a:pt x="235" y="18"/>
                      </a:lnTo>
                      <a:lnTo>
                        <a:pt x="235" y="17"/>
                      </a:lnTo>
                      <a:lnTo>
                        <a:pt x="237" y="18"/>
                      </a:lnTo>
                      <a:lnTo>
                        <a:pt x="237" y="17"/>
                      </a:lnTo>
                      <a:lnTo>
                        <a:pt x="237" y="18"/>
                      </a:lnTo>
                      <a:lnTo>
                        <a:pt x="238" y="18"/>
                      </a:lnTo>
                      <a:lnTo>
                        <a:pt x="238" y="17"/>
                      </a:lnTo>
                      <a:lnTo>
                        <a:pt x="238" y="18"/>
                      </a:lnTo>
                      <a:lnTo>
                        <a:pt x="240" y="18"/>
                      </a:lnTo>
                      <a:lnTo>
                        <a:pt x="240" y="17"/>
                      </a:lnTo>
                      <a:lnTo>
                        <a:pt x="240" y="18"/>
                      </a:lnTo>
                      <a:lnTo>
                        <a:pt x="242" y="18"/>
                      </a:lnTo>
                      <a:lnTo>
                        <a:pt x="242" y="20"/>
                      </a:lnTo>
                      <a:lnTo>
                        <a:pt x="244" y="20"/>
                      </a:lnTo>
                      <a:lnTo>
                        <a:pt x="244" y="18"/>
                      </a:lnTo>
                      <a:lnTo>
                        <a:pt x="244" y="20"/>
                      </a:lnTo>
                      <a:lnTo>
                        <a:pt x="245" y="20"/>
                      </a:lnTo>
                      <a:lnTo>
                        <a:pt x="245" y="22"/>
                      </a:lnTo>
                      <a:lnTo>
                        <a:pt x="247" y="22"/>
                      </a:lnTo>
                      <a:lnTo>
                        <a:pt x="245" y="23"/>
                      </a:lnTo>
                      <a:lnTo>
                        <a:pt x="245" y="25"/>
                      </a:lnTo>
                      <a:lnTo>
                        <a:pt x="247" y="23"/>
                      </a:lnTo>
                      <a:lnTo>
                        <a:pt x="247" y="25"/>
                      </a:lnTo>
                      <a:lnTo>
                        <a:pt x="247" y="27"/>
                      </a:lnTo>
                      <a:lnTo>
                        <a:pt x="249" y="27"/>
                      </a:lnTo>
                      <a:lnTo>
                        <a:pt x="250" y="28"/>
                      </a:lnTo>
                      <a:lnTo>
                        <a:pt x="252" y="28"/>
                      </a:lnTo>
                      <a:lnTo>
                        <a:pt x="252" y="30"/>
                      </a:lnTo>
                      <a:lnTo>
                        <a:pt x="254" y="30"/>
                      </a:lnTo>
                      <a:lnTo>
                        <a:pt x="255" y="30"/>
                      </a:lnTo>
                      <a:lnTo>
                        <a:pt x="257" y="30"/>
                      </a:lnTo>
                      <a:lnTo>
                        <a:pt x="257" y="31"/>
                      </a:lnTo>
                      <a:lnTo>
                        <a:pt x="259" y="31"/>
                      </a:lnTo>
                      <a:lnTo>
                        <a:pt x="259" y="33"/>
                      </a:lnTo>
                      <a:lnTo>
                        <a:pt x="259" y="31"/>
                      </a:lnTo>
                      <a:lnTo>
                        <a:pt x="259" y="33"/>
                      </a:lnTo>
                      <a:lnTo>
                        <a:pt x="260" y="33"/>
                      </a:lnTo>
                      <a:lnTo>
                        <a:pt x="262" y="33"/>
                      </a:lnTo>
                      <a:lnTo>
                        <a:pt x="264" y="33"/>
                      </a:lnTo>
                      <a:lnTo>
                        <a:pt x="265" y="33"/>
                      </a:lnTo>
                      <a:lnTo>
                        <a:pt x="267" y="35"/>
                      </a:lnTo>
                      <a:lnTo>
                        <a:pt x="267" y="36"/>
                      </a:lnTo>
                      <a:lnTo>
                        <a:pt x="269" y="36"/>
                      </a:lnTo>
                      <a:lnTo>
                        <a:pt x="271" y="36"/>
                      </a:lnTo>
                      <a:lnTo>
                        <a:pt x="271" y="35"/>
                      </a:lnTo>
                      <a:lnTo>
                        <a:pt x="271" y="36"/>
                      </a:lnTo>
                      <a:lnTo>
                        <a:pt x="272" y="36"/>
                      </a:lnTo>
                      <a:lnTo>
                        <a:pt x="272" y="35"/>
                      </a:lnTo>
                      <a:lnTo>
                        <a:pt x="274" y="35"/>
                      </a:lnTo>
                      <a:lnTo>
                        <a:pt x="274" y="36"/>
                      </a:lnTo>
                      <a:lnTo>
                        <a:pt x="272" y="36"/>
                      </a:lnTo>
                      <a:lnTo>
                        <a:pt x="274" y="36"/>
                      </a:lnTo>
                      <a:lnTo>
                        <a:pt x="274" y="38"/>
                      </a:lnTo>
                      <a:lnTo>
                        <a:pt x="276" y="38"/>
                      </a:lnTo>
                      <a:lnTo>
                        <a:pt x="276" y="36"/>
                      </a:lnTo>
                      <a:lnTo>
                        <a:pt x="276" y="38"/>
                      </a:lnTo>
                      <a:lnTo>
                        <a:pt x="277" y="38"/>
                      </a:lnTo>
                      <a:lnTo>
                        <a:pt x="277" y="40"/>
                      </a:lnTo>
                      <a:lnTo>
                        <a:pt x="277" y="41"/>
                      </a:lnTo>
                      <a:lnTo>
                        <a:pt x="277" y="40"/>
                      </a:lnTo>
                      <a:lnTo>
                        <a:pt x="279" y="40"/>
                      </a:lnTo>
                      <a:lnTo>
                        <a:pt x="279" y="41"/>
                      </a:lnTo>
                      <a:lnTo>
                        <a:pt x="279" y="40"/>
                      </a:lnTo>
                      <a:lnTo>
                        <a:pt x="279" y="41"/>
                      </a:lnTo>
                      <a:lnTo>
                        <a:pt x="279" y="40"/>
                      </a:lnTo>
                      <a:lnTo>
                        <a:pt x="279" y="41"/>
                      </a:lnTo>
                      <a:lnTo>
                        <a:pt x="281" y="41"/>
                      </a:lnTo>
                      <a:lnTo>
                        <a:pt x="279" y="41"/>
                      </a:lnTo>
                      <a:lnTo>
                        <a:pt x="281" y="43"/>
                      </a:lnTo>
                      <a:lnTo>
                        <a:pt x="282" y="41"/>
                      </a:lnTo>
                      <a:lnTo>
                        <a:pt x="282" y="43"/>
                      </a:lnTo>
                      <a:lnTo>
                        <a:pt x="284" y="43"/>
                      </a:lnTo>
                      <a:lnTo>
                        <a:pt x="284" y="45"/>
                      </a:lnTo>
                      <a:lnTo>
                        <a:pt x="286" y="45"/>
                      </a:lnTo>
                      <a:lnTo>
                        <a:pt x="284" y="45"/>
                      </a:lnTo>
                      <a:lnTo>
                        <a:pt x="286" y="45"/>
                      </a:lnTo>
                      <a:lnTo>
                        <a:pt x="287" y="45"/>
                      </a:lnTo>
                      <a:lnTo>
                        <a:pt x="289" y="46"/>
                      </a:lnTo>
                      <a:lnTo>
                        <a:pt x="289" y="45"/>
                      </a:lnTo>
                      <a:lnTo>
                        <a:pt x="291" y="45"/>
                      </a:lnTo>
                      <a:lnTo>
                        <a:pt x="291" y="43"/>
                      </a:lnTo>
                      <a:lnTo>
                        <a:pt x="292" y="43"/>
                      </a:lnTo>
                      <a:lnTo>
                        <a:pt x="292" y="45"/>
                      </a:lnTo>
                      <a:lnTo>
                        <a:pt x="292" y="43"/>
                      </a:lnTo>
                      <a:lnTo>
                        <a:pt x="294" y="45"/>
                      </a:lnTo>
                      <a:lnTo>
                        <a:pt x="294" y="43"/>
                      </a:lnTo>
                      <a:lnTo>
                        <a:pt x="294" y="45"/>
                      </a:lnTo>
                      <a:lnTo>
                        <a:pt x="296" y="45"/>
                      </a:lnTo>
                      <a:lnTo>
                        <a:pt x="298" y="45"/>
                      </a:lnTo>
                      <a:lnTo>
                        <a:pt x="299" y="45"/>
                      </a:lnTo>
                      <a:lnTo>
                        <a:pt x="299" y="43"/>
                      </a:lnTo>
                      <a:lnTo>
                        <a:pt x="299" y="45"/>
                      </a:lnTo>
                      <a:lnTo>
                        <a:pt x="299" y="43"/>
                      </a:lnTo>
                      <a:lnTo>
                        <a:pt x="299" y="45"/>
                      </a:lnTo>
                      <a:lnTo>
                        <a:pt x="299" y="43"/>
                      </a:lnTo>
                      <a:lnTo>
                        <a:pt x="301" y="43"/>
                      </a:lnTo>
                      <a:lnTo>
                        <a:pt x="301" y="45"/>
                      </a:lnTo>
                      <a:lnTo>
                        <a:pt x="301" y="43"/>
                      </a:lnTo>
                      <a:lnTo>
                        <a:pt x="301" y="45"/>
                      </a:lnTo>
                      <a:lnTo>
                        <a:pt x="303" y="45"/>
                      </a:lnTo>
                      <a:lnTo>
                        <a:pt x="301" y="45"/>
                      </a:lnTo>
                      <a:lnTo>
                        <a:pt x="303" y="45"/>
                      </a:lnTo>
                      <a:lnTo>
                        <a:pt x="303" y="43"/>
                      </a:lnTo>
                      <a:lnTo>
                        <a:pt x="304" y="43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8" y="41"/>
                      </a:lnTo>
                      <a:lnTo>
                        <a:pt x="309" y="41"/>
                      </a:lnTo>
                      <a:lnTo>
                        <a:pt x="311" y="41"/>
                      </a:lnTo>
                      <a:lnTo>
                        <a:pt x="311" y="43"/>
                      </a:lnTo>
                      <a:lnTo>
                        <a:pt x="313" y="43"/>
                      </a:lnTo>
                      <a:lnTo>
                        <a:pt x="314" y="43"/>
                      </a:lnTo>
                      <a:lnTo>
                        <a:pt x="314" y="41"/>
                      </a:lnTo>
                      <a:lnTo>
                        <a:pt x="316" y="41"/>
                      </a:lnTo>
                      <a:lnTo>
                        <a:pt x="318" y="41"/>
                      </a:lnTo>
                      <a:lnTo>
                        <a:pt x="320" y="40"/>
                      </a:lnTo>
                      <a:lnTo>
                        <a:pt x="321" y="40"/>
                      </a:lnTo>
                      <a:lnTo>
                        <a:pt x="321" y="38"/>
                      </a:lnTo>
                      <a:lnTo>
                        <a:pt x="323" y="38"/>
                      </a:lnTo>
                      <a:lnTo>
                        <a:pt x="325" y="38"/>
                      </a:lnTo>
                      <a:lnTo>
                        <a:pt x="325" y="36"/>
                      </a:lnTo>
                      <a:lnTo>
                        <a:pt x="323" y="36"/>
                      </a:lnTo>
                      <a:lnTo>
                        <a:pt x="325" y="36"/>
                      </a:lnTo>
                      <a:lnTo>
                        <a:pt x="325" y="35"/>
                      </a:lnTo>
                      <a:lnTo>
                        <a:pt x="325" y="33"/>
                      </a:lnTo>
                      <a:lnTo>
                        <a:pt x="326" y="33"/>
                      </a:lnTo>
                      <a:lnTo>
                        <a:pt x="328" y="33"/>
                      </a:lnTo>
                      <a:lnTo>
                        <a:pt x="330" y="33"/>
                      </a:lnTo>
                      <a:lnTo>
                        <a:pt x="330" y="31"/>
                      </a:lnTo>
                      <a:lnTo>
                        <a:pt x="331" y="31"/>
                      </a:lnTo>
                      <a:lnTo>
                        <a:pt x="333" y="31"/>
                      </a:lnTo>
                      <a:lnTo>
                        <a:pt x="333" y="30"/>
                      </a:lnTo>
                      <a:lnTo>
                        <a:pt x="335" y="30"/>
                      </a:lnTo>
                      <a:lnTo>
                        <a:pt x="335" y="31"/>
                      </a:lnTo>
                      <a:lnTo>
                        <a:pt x="336" y="31"/>
                      </a:lnTo>
                      <a:lnTo>
                        <a:pt x="336" y="30"/>
                      </a:lnTo>
                      <a:lnTo>
                        <a:pt x="338" y="31"/>
                      </a:lnTo>
                      <a:lnTo>
                        <a:pt x="338" y="30"/>
                      </a:lnTo>
                      <a:lnTo>
                        <a:pt x="340" y="30"/>
                      </a:lnTo>
                      <a:lnTo>
                        <a:pt x="340" y="28"/>
                      </a:lnTo>
                      <a:lnTo>
                        <a:pt x="341" y="28"/>
                      </a:lnTo>
                      <a:lnTo>
                        <a:pt x="341" y="30"/>
                      </a:lnTo>
                      <a:lnTo>
                        <a:pt x="343" y="30"/>
                      </a:lnTo>
                      <a:lnTo>
                        <a:pt x="345" y="30"/>
                      </a:lnTo>
                      <a:lnTo>
                        <a:pt x="347" y="30"/>
                      </a:lnTo>
                      <a:lnTo>
                        <a:pt x="348" y="30"/>
                      </a:lnTo>
                      <a:lnTo>
                        <a:pt x="350" y="30"/>
                      </a:lnTo>
                      <a:lnTo>
                        <a:pt x="350" y="31"/>
                      </a:lnTo>
                      <a:lnTo>
                        <a:pt x="352" y="31"/>
                      </a:lnTo>
                      <a:lnTo>
                        <a:pt x="350" y="31"/>
                      </a:lnTo>
                      <a:lnTo>
                        <a:pt x="350" y="33"/>
                      </a:lnTo>
                      <a:lnTo>
                        <a:pt x="352" y="33"/>
                      </a:lnTo>
                      <a:lnTo>
                        <a:pt x="350" y="33"/>
                      </a:lnTo>
                      <a:lnTo>
                        <a:pt x="352" y="33"/>
                      </a:lnTo>
                      <a:lnTo>
                        <a:pt x="352" y="35"/>
                      </a:lnTo>
                      <a:lnTo>
                        <a:pt x="353" y="35"/>
                      </a:lnTo>
                      <a:lnTo>
                        <a:pt x="355" y="35"/>
                      </a:lnTo>
                      <a:lnTo>
                        <a:pt x="357" y="35"/>
                      </a:lnTo>
                      <a:lnTo>
                        <a:pt x="357" y="36"/>
                      </a:lnTo>
                      <a:lnTo>
                        <a:pt x="357" y="38"/>
                      </a:lnTo>
                      <a:lnTo>
                        <a:pt x="358" y="38"/>
                      </a:lnTo>
                      <a:lnTo>
                        <a:pt x="360" y="38"/>
                      </a:lnTo>
                      <a:lnTo>
                        <a:pt x="360" y="40"/>
                      </a:lnTo>
                      <a:lnTo>
                        <a:pt x="360" y="38"/>
                      </a:lnTo>
                      <a:lnTo>
                        <a:pt x="360" y="40"/>
                      </a:lnTo>
                      <a:lnTo>
                        <a:pt x="360" y="41"/>
                      </a:lnTo>
                      <a:lnTo>
                        <a:pt x="360" y="43"/>
                      </a:lnTo>
                      <a:lnTo>
                        <a:pt x="358" y="43"/>
                      </a:lnTo>
                      <a:lnTo>
                        <a:pt x="360" y="45"/>
                      </a:lnTo>
                      <a:lnTo>
                        <a:pt x="362" y="45"/>
                      </a:lnTo>
                      <a:lnTo>
                        <a:pt x="362" y="46"/>
                      </a:lnTo>
                      <a:lnTo>
                        <a:pt x="362" y="45"/>
                      </a:lnTo>
                      <a:lnTo>
                        <a:pt x="362" y="46"/>
                      </a:lnTo>
                      <a:lnTo>
                        <a:pt x="363" y="46"/>
                      </a:lnTo>
                      <a:lnTo>
                        <a:pt x="365" y="46"/>
                      </a:lnTo>
                      <a:lnTo>
                        <a:pt x="367" y="46"/>
                      </a:lnTo>
                      <a:lnTo>
                        <a:pt x="368" y="46"/>
                      </a:lnTo>
                      <a:lnTo>
                        <a:pt x="370" y="46"/>
                      </a:lnTo>
                      <a:lnTo>
                        <a:pt x="370" y="45"/>
                      </a:lnTo>
                      <a:lnTo>
                        <a:pt x="372" y="45"/>
                      </a:lnTo>
                      <a:lnTo>
                        <a:pt x="372" y="43"/>
                      </a:lnTo>
                      <a:lnTo>
                        <a:pt x="374" y="43"/>
                      </a:lnTo>
                      <a:lnTo>
                        <a:pt x="375" y="43"/>
                      </a:lnTo>
                      <a:lnTo>
                        <a:pt x="377" y="43"/>
                      </a:lnTo>
                      <a:lnTo>
                        <a:pt x="377" y="41"/>
                      </a:lnTo>
                      <a:lnTo>
                        <a:pt x="379" y="41"/>
                      </a:lnTo>
                      <a:lnTo>
                        <a:pt x="380" y="41"/>
                      </a:lnTo>
                      <a:lnTo>
                        <a:pt x="382" y="41"/>
                      </a:lnTo>
                      <a:lnTo>
                        <a:pt x="382" y="43"/>
                      </a:lnTo>
                      <a:lnTo>
                        <a:pt x="382" y="41"/>
                      </a:lnTo>
                      <a:lnTo>
                        <a:pt x="384" y="43"/>
                      </a:lnTo>
                      <a:lnTo>
                        <a:pt x="384" y="41"/>
                      </a:lnTo>
                      <a:lnTo>
                        <a:pt x="385" y="43"/>
                      </a:lnTo>
                      <a:lnTo>
                        <a:pt x="385" y="41"/>
                      </a:lnTo>
                      <a:lnTo>
                        <a:pt x="385" y="43"/>
                      </a:lnTo>
                      <a:lnTo>
                        <a:pt x="385" y="41"/>
                      </a:lnTo>
                      <a:lnTo>
                        <a:pt x="387" y="41"/>
                      </a:lnTo>
                      <a:lnTo>
                        <a:pt x="387" y="43"/>
                      </a:lnTo>
                      <a:lnTo>
                        <a:pt x="389" y="43"/>
                      </a:lnTo>
                      <a:lnTo>
                        <a:pt x="389" y="41"/>
                      </a:lnTo>
                      <a:lnTo>
                        <a:pt x="389" y="40"/>
                      </a:lnTo>
                      <a:lnTo>
                        <a:pt x="390" y="40"/>
                      </a:lnTo>
                      <a:lnTo>
                        <a:pt x="390" y="38"/>
                      </a:lnTo>
                      <a:lnTo>
                        <a:pt x="390" y="36"/>
                      </a:lnTo>
                      <a:lnTo>
                        <a:pt x="390" y="35"/>
                      </a:lnTo>
                      <a:lnTo>
                        <a:pt x="392" y="35"/>
                      </a:lnTo>
                      <a:lnTo>
                        <a:pt x="390" y="35"/>
                      </a:lnTo>
                      <a:lnTo>
                        <a:pt x="390" y="33"/>
                      </a:lnTo>
                      <a:lnTo>
                        <a:pt x="390" y="31"/>
                      </a:lnTo>
                      <a:lnTo>
                        <a:pt x="392" y="31"/>
                      </a:lnTo>
                      <a:lnTo>
                        <a:pt x="392" y="30"/>
                      </a:lnTo>
                      <a:lnTo>
                        <a:pt x="394" y="30"/>
                      </a:lnTo>
                      <a:lnTo>
                        <a:pt x="396" y="30"/>
                      </a:lnTo>
                      <a:lnTo>
                        <a:pt x="396" y="28"/>
                      </a:lnTo>
                      <a:lnTo>
                        <a:pt x="397" y="28"/>
                      </a:lnTo>
                      <a:lnTo>
                        <a:pt x="397" y="30"/>
                      </a:lnTo>
                      <a:lnTo>
                        <a:pt x="397" y="28"/>
                      </a:lnTo>
                      <a:lnTo>
                        <a:pt x="399" y="28"/>
                      </a:lnTo>
                      <a:lnTo>
                        <a:pt x="401" y="28"/>
                      </a:lnTo>
                      <a:lnTo>
                        <a:pt x="401" y="27"/>
                      </a:lnTo>
                      <a:lnTo>
                        <a:pt x="402" y="27"/>
                      </a:lnTo>
                      <a:lnTo>
                        <a:pt x="402" y="25"/>
                      </a:lnTo>
                      <a:lnTo>
                        <a:pt x="404" y="25"/>
                      </a:lnTo>
                      <a:lnTo>
                        <a:pt x="404" y="23"/>
                      </a:lnTo>
                      <a:lnTo>
                        <a:pt x="406" y="23"/>
                      </a:lnTo>
                      <a:lnTo>
                        <a:pt x="406" y="22"/>
                      </a:lnTo>
                      <a:lnTo>
                        <a:pt x="407" y="22"/>
                      </a:lnTo>
                      <a:lnTo>
                        <a:pt x="407" y="20"/>
                      </a:lnTo>
                      <a:lnTo>
                        <a:pt x="409" y="20"/>
                      </a:lnTo>
                      <a:lnTo>
                        <a:pt x="409" y="18"/>
                      </a:lnTo>
                      <a:lnTo>
                        <a:pt x="411" y="18"/>
                      </a:lnTo>
                      <a:lnTo>
                        <a:pt x="412" y="18"/>
                      </a:lnTo>
                      <a:lnTo>
                        <a:pt x="412" y="17"/>
                      </a:lnTo>
                      <a:lnTo>
                        <a:pt x="411" y="17"/>
                      </a:lnTo>
                      <a:lnTo>
                        <a:pt x="412" y="17"/>
                      </a:lnTo>
                      <a:lnTo>
                        <a:pt x="412" y="15"/>
                      </a:lnTo>
                      <a:lnTo>
                        <a:pt x="412" y="13"/>
                      </a:lnTo>
                      <a:lnTo>
                        <a:pt x="414" y="12"/>
                      </a:lnTo>
                      <a:lnTo>
                        <a:pt x="416" y="12"/>
                      </a:lnTo>
                      <a:lnTo>
                        <a:pt x="417" y="12"/>
                      </a:lnTo>
                      <a:lnTo>
                        <a:pt x="417" y="10"/>
                      </a:lnTo>
                      <a:lnTo>
                        <a:pt x="417" y="8"/>
                      </a:lnTo>
                      <a:lnTo>
                        <a:pt x="419" y="8"/>
                      </a:lnTo>
                      <a:lnTo>
                        <a:pt x="417" y="8"/>
                      </a:lnTo>
                      <a:lnTo>
                        <a:pt x="419" y="8"/>
                      </a:lnTo>
                      <a:lnTo>
                        <a:pt x="421" y="7"/>
                      </a:lnTo>
                      <a:lnTo>
                        <a:pt x="423" y="7"/>
                      </a:lnTo>
                      <a:lnTo>
                        <a:pt x="424" y="7"/>
                      </a:lnTo>
                      <a:lnTo>
                        <a:pt x="426" y="8"/>
                      </a:lnTo>
                      <a:lnTo>
                        <a:pt x="424" y="31"/>
                      </a:lnTo>
                      <a:lnTo>
                        <a:pt x="424" y="46"/>
                      </a:lnTo>
                      <a:lnTo>
                        <a:pt x="423" y="48"/>
                      </a:lnTo>
                      <a:lnTo>
                        <a:pt x="423" y="46"/>
                      </a:lnTo>
                      <a:lnTo>
                        <a:pt x="421" y="46"/>
                      </a:lnTo>
                      <a:lnTo>
                        <a:pt x="421" y="48"/>
                      </a:lnTo>
                      <a:lnTo>
                        <a:pt x="419" y="48"/>
                      </a:lnTo>
                      <a:lnTo>
                        <a:pt x="417" y="48"/>
                      </a:lnTo>
                      <a:lnTo>
                        <a:pt x="416" y="48"/>
                      </a:lnTo>
                      <a:lnTo>
                        <a:pt x="414" y="48"/>
                      </a:lnTo>
                      <a:lnTo>
                        <a:pt x="412" y="48"/>
                      </a:lnTo>
                      <a:lnTo>
                        <a:pt x="412" y="50"/>
                      </a:lnTo>
                      <a:lnTo>
                        <a:pt x="411" y="50"/>
                      </a:lnTo>
                      <a:lnTo>
                        <a:pt x="409" y="50"/>
                      </a:lnTo>
                      <a:lnTo>
                        <a:pt x="409" y="51"/>
                      </a:lnTo>
                      <a:lnTo>
                        <a:pt x="409" y="53"/>
                      </a:lnTo>
                      <a:lnTo>
                        <a:pt x="407" y="53"/>
                      </a:lnTo>
                      <a:lnTo>
                        <a:pt x="407" y="54"/>
                      </a:lnTo>
                      <a:lnTo>
                        <a:pt x="406" y="54"/>
                      </a:lnTo>
                      <a:lnTo>
                        <a:pt x="406" y="56"/>
                      </a:lnTo>
                      <a:lnTo>
                        <a:pt x="406" y="58"/>
                      </a:lnTo>
                      <a:lnTo>
                        <a:pt x="404" y="58"/>
                      </a:lnTo>
                      <a:lnTo>
                        <a:pt x="406" y="59"/>
                      </a:lnTo>
                      <a:lnTo>
                        <a:pt x="404" y="59"/>
                      </a:lnTo>
                      <a:lnTo>
                        <a:pt x="404" y="61"/>
                      </a:lnTo>
                      <a:lnTo>
                        <a:pt x="402" y="61"/>
                      </a:lnTo>
                      <a:lnTo>
                        <a:pt x="402" y="63"/>
                      </a:lnTo>
                      <a:lnTo>
                        <a:pt x="401" y="63"/>
                      </a:lnTo>
                      <a:lnTo>
                        <a:pt x="402" y="64"/>
                      </a:lnTo>
                      <a:lnTo>
                        <a:pt x="401" y="64"/>
                      </a:lnTo>
                      <a:lnTo>
                        <a:pt x="401" y="66"/>
                      </a:lnTo>
                      <a:lnTo>
                        <a:pt x="401" y="68"/>
                      </a:lnTo>
                      <a:lnTo>
                        <a:pt x="401" y="69"/>
                      </a:lnTo>
                      <a:lnTo>
                        <a:pt x="401" y="71"/>
                      </a:lnTo>
                      <a:lnTo>
                        <a:pt x="401" y="69"/>
                      </a:lnTo>
                      <a:lnTo>
                        <a:pt x="402" y="71"/>
                      </a:lnTo>
                      <a:lnTo>
                        <a:pt x="402" y="69"/>
                      </a:lnTo>
                      <a:lnTo>
                        <a:pt x="402" y="71"/>
                      </a:lnTo>
                      <a:lnTo>
                        <a:pt x="404" y="71"/>
                      </a:lnTo>
                      <a:lnTo>
                        <a:pt x="404" y="69"/>
                      </a:lnTo>
                      <a:lnTo>
                        <a:pt x="404" y="71"/>
                      </a:lnTo>
                      <a:lnTo>
                        <a:pt x="404" y="69"/>
                      </a:lnTo>
                      <a:lnTo>
                        <a:pt x="406" y="69"/>
                      </a:lnTo>
                      <a:lnTo>
                        <a:pt x="407" y="69"/>
                      </a:lnTo>
                      <a:lnTo>
                        <a:pt x="407" y="71"/>
                      </a:lnTo>
                      <a:lnTo>
                        <a:pt x="407" y="69"/>
                      </a:lnTo>
                      <a:lnTo>
                        <a:pt x="409" y="71"/>
                      </a:lnTo>
                      <a:lnTo>
                        <a:pt x="407" y="71"/>
                      </a:lnTo>
                      <a:lnTo>
                        <a:pt x="409" y="71"/>
                      </a:lnTo>
                      <a:lnTo>
                        <a:pt x="411" y="71"/>
                      </a:lnTo>
                      <a:lnTo>
                        <a:pt x="411" y="73"/>
                      </a:lnTo>
                      <a:lnTo>
                        <a:pt x="411" y="71"/>
                      </a:lnTo>
                      <a:lnTo>
                        <a:pt x="411" y="73"/>
                      </a:lnTo>
                      <a:lnTo>
                        <a:pt x="412" y="73"/>
                      </a:lnTo>
                      <a:lnTo>
                        <a:pt x="412" y="74"/>
                      </a:lnTo>
                      <a:lnTo>
                        <a:pt x="414" y="74"/>
                      </a:lnTo>
                      <a:lnTo>
                        <a:pt x="414" y="76"/>
                      </a:lnTo>
                      <a:lnTo>
                        <a:pt x="414" y="74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6" y="77"/>
                      </a:lnTo>
                      <a:lnTo>
                        <a:pt x="417" y="77"/>
                      </a:lnTo>
                      <a:lnTo>
                        <a:pt x="419" y="77"/>
                      </a:lnTo>
                      <a:lnTo>
                        <a:pt x="421" y="77"/>
                      </a:lnTo>
                      <a:lnTo>
                        <a:pt x="423" y="77"/>
                      </a:lnTo>
                      <a:lnTo>
                        <a:pt x="424" y="79"/>
                      </a:lnTo>
                      <a:lnTo>
                        <a:pt x="424" y="77"/>
                      </a:lnTo>
                      <a:lnTo>
                        <a:pt x="424" y="79"/>
                      </a:lnTo>
                      <a:lnTo>
                        <a:pt x="426" y="79"/>
                      </a:lnTo>
                      <a:lnTo>
                        <a:pt x="424" y="79"/>
                      </a:lnTo>
                      <a:lnTo>
                        <a:pt x="426" y="77"/>
                      </a:lnTo>
                      <a:lnTo>
                        <a:pt x="428" y="77"/>
                      </a:lnTo>
                      <a:lnTo>
                        <a:pt x="426" y="77"/>
                      </a:lnTo>
                      <a:lnTo>
                        <a:pt x="428" y="76"/>
                      </a:lnTo>
                      <a:lnTo>
                        <a:pt x="429" y="76"/>
                      </a:lnTo>
                      <a:lnTo>
                        <a:pt x="431" y="76"/>
                      </a:lnTo>
                      <a:lnTo>
                        <a:pt x="433" y="76"/>
                      </a:lnTo>
                      <a:lnTo>
                        <a:pt x="433" y="77"/>
                      </a:lnTo>
                      <a:lnTo>
                        <a:pt x="434" y="77"/>
                      </a:lnTo>
                      <a:lnTo>
                        <a:pt x="434" y="79"/>
                      </a:lnTo>
                      <a:lnTo>
                        <a:pt x="436" y="79"/>
                      </a:lnTo>
                      <a:lnTo>
                        <a:pt x="438" y="77"/>
                      </a:lnTo>
                      <a:lnTo>
                        <a:pt x="438" y="79"/>
                      </a:lnTo>
                      <a:lnTo>
                        <a:pt x="439" y="79"/>
                      </a:lnTo>
                      <a:lnTo>
                        <a:pt x="441" y="79"/>
                      </a:lnTo>
                      <a:lnTo>
                        <a:pt x="443" y="81"/>
                      </a:lnTo>
                      <a:lnTo>
                        <a:pt x="444" y="81"/>
                      </a:lnTo>
                      <a:lnTo>
                        <a:pt x="446" y="81"/>
                      </a:lnTo>
                      <a:lnTo>
                        <a:pt x="446" y="79"/>
                      </a:lnTo>
                      <a:lnTo>
                        <a:pt x="446" y="81"/>
                      </a:lnTo>
                      <a:lnTo>
                        <a:pt x="448" y="79"/>
                      </a:lnTo>
                      <a:lnTo>
                        <a:pt x="448" y="77"/>
                      </a:lnTo>
                      <a:lnTo>
                        <a:pt x="450" y="77"/>
                      </a:lnTo>
                      <a:lnTo>
                        <a:pt x="450" y="76"/>
                      </a:lnTo>
                      <a:lnTo>
                        <a:pt x="450" y="77"/>
                      </a:lnTo>
                      <a:lnTo>
                        <a:pt x="451" y="76"/>
                      </a:lnTo>
                      <a:lnTo>
                        <a:pt x="451" y="77"/>
                      </a:lnTo>
                      <a:lnTo>
                        <a:pt x="451" y="76"/>
                      </a:lnTo>
                      <a:lnTo>
                        <a:pt x="451" y="77"/>
                      </a:lnTo>
                      <a:lnTo>
                        <a:pt x="453" y="77"/>
                      </a:lnTo>
                      <a:lnTo>
                        <a:pt x="455" y="79"/>
                      </a:lnTo>
                      <a:lnTo>
                        <a:pt x="456" y="79"/>
                      </a:lnTo>
                      <a:lnTo>
                        <a:pt x="456" y="77"/>
                      </a:lnTo>
                      <a:lnTo>
                        <a:pt x="456" y="79"/>
                      </a:lnTo>
                      <a:lnTo>
                        <a:pt x="458" y="77"/>
                      </a:lnTo>
                      <a:lnTo>
                        <a:pt x="458" y="79"/>
                      </a:lnTo>
                      <a:lnTo>
                        <a:pt x="458" y="77"/>
                      </a:lnTo>
                      <a:lnTo>
                        <a:pt x="460" y="79"/>
                      </a:lnTo>
                      <a:lnTo>
                        <a:pt x="460" y="77"/>
                      </a:lnTo>
                      <a:lnTo>
                        <a:pt x="461" y="77"/>
                      </a:lnTo>
                      <a:lnTo>
                        <a:pt x="463" y="77"/>
                      </a:lnTo>
                      <a:lnTo>
                        <a:pt x="468" y="77"/>
                      </a:lnTo>
                      <a:lnTo>
                        <a:pt x="468" y="79"/>
                      </a:lnTo>
                      <a:lnTo>
                        <a:pt x="470" y="79"/>
                      </a:lnTo>
                      <a:lnTo>
                        <a:pt x="472" y="79"/>
                      </a:lnTo>
                      <a:lnTo>
                        <a:pt x="472" y="81"/>
                      </a:lnTo>
                      <a:lnTo>
                        <a:pt x="473" y="81"/>
                      </a:lnTo>
                      <a:lnTo>
                        <a:pt x="475" y="81"/>
                      </a:lnTo>
                      <a:lnTo>
                        <a:pt x="483" y="81"/>
                      </a:lnTo>
                      <a:lnTo>
                        <a:pt x="483" y="82"/>
                      </a:lnTo>
                      <a:lnTo>
                        <a:pt x="482" y="82"/>
                      </a:lnTo>
                      <a:lnTo>
                        <a:pt x="480" y="82"/>
                      </a:lnTo>
                      <a:lnTo>
                        <a:pt x="478" y="82"/>
                      </a:lnTo>
                      <a:lnTo>
                        <a:pt x="478" y="84"/>
                      </a:lnTo>
                      <a:lnTo>
                        <a:pt x="477" y="84"/>
                      </a:lnTo>
                      <a:lnTo>
                        <a:pt x="477" y="86"/>
                      </a:lnTo>
                      <a:lnTo>
                        <a:pt x="478" y="89"/>
                      </a:lnTo>
                      <a:lnTo>
                        <a:pt x="478" y="91"/>
                      </a:lnTo>
                      <a:lnTo>
                        <a:pt x="478" y="92"/>
                      </a:lnTo>
                      <a:lnTo>
                        <a:pt x="480" y="97"/>
                      </a:lnTo>
                      <a:lnTo>
                        <a:pt x="480" y="99"/>
                      </a:lnTo>
                      <a:lnTo>
                        <a:pt x="480" y="100"/>
                      </a:lnTo>
                      <a:lnTo>
                        <a:pt x="480" y="102"/>
                      </a:lnTo>
                      <a:lnTo>
                        <a:pt x="482" y="102"/>
                      </a:lnTo>
                      <a:lnTo>
                        <a:pt x="482" y="104"/>
                      </a:lnTo>
                      <a:lnTo>
                        <a:pt x="482" y="105"/>
                      </a:lnTo>
                      <a:lnTo>
                        <a:pt x="482" y="107"/>
                      </a:lnTo>
                      <a:lnTo>
                        <a:pt x="483" y="107"/>
                      </a:lnTo>
                      <a:lnTo>
                        <a:pt x="483" y="109"/>
                      </a:lnTo>
                      <a:lnTo>
                        <a:pt x="485" y="109"/>
                      </a:lnTo>
                      <a:lnTo>
                        <a:pt x="487" y="109"/>
                      </a:lnTo>
                      <a:lnTo>
                        <a:pt x="487" y="110"/>
                      </a:lnTo>
                      <a:lnTo>
                        <a:pt x="488" y="110"/>
                      </a:lnTo>
                      <a:lnTo>
                        <a:pt x="488" y="109"/>
                      </a:lnTo>
                      <a:lnTo>
                        <a:pt x="490" y="107"/>
                      </a:lnTo>
                      <a:lnTo>
                        <a:pt x="492" y="105"/>
                      </a:lnTo>
                      <a:lnTo>
                        <a:pt x="493" y="105"/>
                      </a:lnTo>
                      <a:lnTo>
                        <a:pt x="495" y="105"/>
                      </a:lnTo>
                      <a:lnTo>
                        <a:pt x="497" y="105"/>
                      </a:lnTo>
                      <a:lnTo>
                        <a:pt x="499" y="105"/>
                      </a:lnTo>
                      <a:lnTo>
                        <a:pt x="504" y="107"/>
                      </a:lnTo>
                      <a:lnTo>
                        <a:pt x="505" y="107"/>
                      </a:lnTo>
                      <a:lnTo>
                        <a:pt x="507" y="107"/>
                      </a:lnTo>
                      <a:lnTo>
                        <a:pt x="509" y="107"/>
                      </a:lnTo>
                      <a:lnTo>
                        <a:pt x="510" y="107"/>
                      </a:lnTo>
                      <a:lnTo>
                        <a:pt x="512" y="109"/>
                      </a:lnTo>
                      <a:lnTo>
                        <a:pt x="514" y="110"/>
                      </a:lnTo>
                      <a:lnTo>
                        <a:pt x="514" y="112"/>
                      </a:lnTo>
                      <a:lnTo>
                        <a:pt x="512" y="112"/>
                      </a:lnTo>
                      <a:lnTo>
                        <a:pt x="512" y="114"/>
                      </a:lnTo>
                      <a:lnTo>
                        <a:pt x="510" y="114"/>
                      </a:lnTo>
                      <a:lnTo>
                        <a:pt x="510" y="115"/>
                      </a:lnTo>
                      <a:lnTo>
                        <a:pt x="509" y="117"/>
                      </a:lnTo>
                      <a:lnTo>
                        <a:pt x="507" y="117"/>
                      </a:lnTo>
                      <a:lnTo>
                        <a:pt x="505" y="117"/>
                      </a:lnTo>
                      <a:lnTo>
                        <a:pt x="504" y="117"/>
                      </a:lnTo>
                      <a:lnTo>
                        <a:pt x="502" y="117"/>
                      </a:lnTo>
                      <a:lnTo>
                        <a:pt x="502" y="119"/>
                      </a:lnTo>
                      <a:lnTo>
                        <a:pt x="502" y="120"/>
                      </a:lnTo>
                      <a:lnTo>
                        <a:pt x="500" y="122"/>
                      </a:lnTo>
                      <a:lnTo>
                        <a:pt x="499" y="123"/>
                      </a:lnTo>
                      <a:lnTo>
                        <a:pt x="499" y="125"/>
                      </a:lnTo>
                      <a:lnTo>
                        <a:pt x="497" y="125"/>
                      </a:lnTo>
                      <a:lnTo>
                        <a:pt x="495" y="125"/>
                      </a:lnTo>
                      <a:lnTo>
                        <a:pt x="495" y="127"/>
                      </a:lnTo>
                      <a:lnTo>
                        <a:pt x="493" y="127"/>
                      </a:lnTo>
                      <a:lnTo>
                        <a:pt x="493" y="128"/>
                      </a:lnTo>
                      <a:lnTo>
                        <a:pt x="495" y="130"/>
                      </a:lnTo>
                      <a:lnTo>
                        <a:pt x="495" y="132"/>
                      </a:lnTo>
                      <a:lnTo>
                        <a:pt x="497" y="132"/>
                      </a:lnTo>
                      <a:lnTo>
                        <a:pt x="497" y="133"/>
                      </a:lnTo>
                      <a:lnTo>
                        <a:pt x="497" y="135"/>
                      </a:lnTo>
                      <a:lnTo>
                        <a:pt x="499" y="135"/>
                      </a:lnTo>
                      <a:lnTo>
                        <a:pt x="499" y="137"/>
                      </a:lnTo>
                      <a:lnTo>
                        <a:pt x="500" y="137"/>
                      </a:lnTo>
                      <a:lnTo>
                        <a:pt x="502" y="137"/>
                      </a:lnTo>
                      <a:lnTo>
                        <a:pt x="504" y="138"/>
                      </a:lnTo>
                      <a:lnTo>
                        <a:pt x="505" y="138"/>
                      </a:lnTo>
                      <a:lnTo>
                        <a:pt x="505" y="140"/>
                      </a:lnTo>
                      <a:lnTo>
                        <a:pt x="507" y="140"/>
                      </a:lnTo>
                      <a:lnTo>
                        <a:pt x="509" y="140"/>
                      </a:lnTo>
                      <a:lnTo>
                        <a:pt x="510" y="140"/>
                      </a:lnTo>
                      <a:lnTo>
                        <a:pt x="512" y="140"/>
                      </a:lnTo>
                      <a:lnTo>
                        <a:pt x="514" y="140"/>
                      </a:lnTo>
                      <a:lnTo>
                        <a:pt x="514" y="142"/>
                      </a:lnTo>
                      <a:lnTo>
                        <a:pt x="515" y="142"/>
                      </a:lnTo>
                      <a:lnTo>
                        <a:pt x="517" y="142"/>
                      </a:lnTo>
                      <a:lnTo>
                        <a:pt x="519" y="142"/>
                      </a:lnTo>
                      <a:lnTo>
                        <a:pt x="519" y="140"/>
                      </a:lnTo>
                      <a:lnTo>
                        <a:pt x="521" y="140"/>
                      </a:lnTo>
                      <a:lnTo>
                        <a:pt x="522" y="140"/>
                      </a:lnTo>
                      <a:lnTo>
                        <a:pt x="524" y="142"/>
                      </a:lnTo>
                      <a:lnTo>
                        <a:pt x="526" y="142"/>
                      </a:lnTo>
                      <a:lnTo>
                        <a:pt x="527" y="142"/>
                      </a:lnTo>
                      <a:lnTo>
                        <a:pt x="529" y="142"/>
                      </a:lnTo>
                      <a:lnTo>
                        <a:pt x="531" y="140"/>
                      </a:lnTo>
                      <a:lnTo>
                        <a:pt x="532" y="138"/>
                      </a:lnTo>
                      <a:lnTo>
                        <a:pt x="534" y="138"/>
                      </a:lnTo>
                      <a:lnTo>
                        <a:pt x="536" y="138"/>
                      </a:lnTo>
                      <a:lnTo>
                        <a:pt x="536" y="140"/>
                      </a:lnTo>
                      <a:lnTo>
                        <a:pt x="537" y="140"/>
                      </a:lnTo>
                      <a:lnTo>
                        <a:pt x="539" y="140"/>
                      </a:lnTo>
                      <a:lnTo>
                        <a:pt x="541" y="142"/>
                      </a:lnTo>
                      <a:lnTo>
                        <a:pt x="542" y="142"/>
                      </a:lnTo>
                      <a:lnTo>
                        <a:pt x="544" y="142"/>
                      </a:lnTo>
                      <a:lnTo>
                        <a:pt x="544" y="143"/>
                      </a:lnTo>
                      <a:lnTo>
                        <a:pt x="544" y="145"/>
                      </a:lnTo>
                      <a:lnTo>
                        <a:pt x="546" y="145"/>
                      </a:lnTo>
                      <a:lnTo>
                        <a:pt x="546" y="146"/>
                      </a:lnTo>
                      <a:lnTo>
                        <a:pt x="548" y="146"/>
                      </a:lnTo>
                      <a:lnTo>
                        <a:pt x="548" y="148"/>
                      </a:lnTo>
                      <a:lnTo>
                        <a:pt x="549" y="150"/>
                      </a:lnTo>
                      <a:lnTo>
                        <a:pt x="549" y="151"/>
                      </a:lnTo>
                      <a:lnTo>
                        <a:pt x="551" y="151"/>
                      </a:lnTo>
                      <a:lnTo>
                        <a:pt x="553" y="151"/>
                      </a:lnTo>
                      <a:lnTo>
                        <a:pt x="553" y="153"/>
                      </a:lnTo>
                      <a:lnTo>
                        <a:pt x="554" y="153"/>
                      </a:lnTo>
                      <a:lnTo>
                        <a:pt x="554" y="155"/>
                      </a:lnTo>
                      <a:lnTo>
                        <a:pt x="556" y="155"/>
                      </a:lnTo>
                      <a:lnTo>
                        <a:pt x="558" y="155"/>
                      </a:lnTo>
                      <a:lnTo>
                        <a:pt x="559" y="155"/>
                      </a:lnTo>
                      <a:lnTo>
                        <a:pt x="561" y="155"/>
                      </a:lnTo>
                      <a:lnTo>
                        <a:pt x="563" y="155"/>
                      </a:lnTo>
                      <a:lnTo>
                        <a:pt x="564" y="155"/>
                      </a:lnTo>
                      <a:lnTo>
                        <a:pt x="566" y="156"/>
                      </a:lnTo>
                      <a:lnTo>
                        <a:pt x="568" y="156"/>
                      </a:lnTo>
                      <a:lnTo>
                        <a:pt x="569" y="156"/>
                      </a:lnTo>
                      <a:lnTo>
                        <a:pt x="569" y="158"/>
                      </a:lnTo>
                      <a:lnTo>
                        <a:pt x="571" y="158"/>
                      </a:lnTo>
                      <a:lnTo>
                        <a:pt x="569" y="158"/>
                      </a:lnTo>
                      <a:lnTo>
                        <a:pt x="571" y="158"/>
                      </a:lnTo>
                      <a:lnTo>
                        <a:pt x="571" y="160"/>
                      </a:lnTo>
                      <a:lnTo>
                        <a:pt x="573" y="160"/>
                      </a:lnTo>
                      <a:lnTo>
                        <a:pt x="573" y="161"/>
                      </a:lnTo>
                      <a:lnTo>
                        <a:pt x="573" y="160"/>
                      </a:lnTo>
                      <a:lnTo>
                        <a:pt x="573" y="161"/>
                      </a:lnTo>
                      <a:lnTo>
                        <a:pt x="573" y="160"/>
                      </a:lnTo>
                      <a:lnTo>
                        <a:pt x="575" y="160"/>
                      </a:lnTo>
                      <a:lnTo>
                        <a:pt x="575" y="161"/>
                      </a:lnTo>
                      <a:lnTo>
                        <a:pt x="576" y="161"/>
                      </a:lnTo>
                      <a:lnTo>
                        <a:pt x="576" y="163"/>
                      </a:lnTo>
                      <a:lnTo>
                        <a:pt x="575" y="163"/>
                      </a:lnTo>
                      <a:lnTo>
                        <a:pt x="576" y="163"/>
                      </a:lnTo>
                      <a:lnTo>
                        <a:pt x="576" y="165"/>
                      </a:lnTo>
                      <a:lnTo>
                        <a:pt x="578" y="165"/>
                      </a:lnTo>
                      <a:lnTo>
                        <a:pt x="576" y="165"/>
                      </a:lnTo>
                      <a:lnTo>
                        <a:pt x="578" y="165"/>
                      </a:lnTo>
                      <a:lnTo>
                        <a:pt x="578" y="166"/>
                      </a:lnTo>
                      <a:lnTo>
                        <a:pt x="578" y="165"/>
                      </a:lnTo>
                      <a:lnTo>
                        <a:pt x="578" y="166"/>
                      </a:lnTo>
                      <a:lnTo>
                        <a:pt x="580" y="166"/>
                      </a:lnTo>
                      <a:lnTo>
                        <a:pt x="580" y="165"/>
                      </a:lnTo>
                      <a:lnTo>
                        <a:pt x="581" y="166"/>
                      </a:lnTo>
                      <a:lnTo>
                        <a:pt x="581" y="165"/>
                      </a:lnTo>
                      <a:lnTo>
                        <a:pt x="581" y="166"/>
                      </a:lnTo>
                      <a:lnTo>
                        <a:pt x="583" y="166"/>
                      </a:lnTo>
                      <a:lnTo>
                        <a:pt x="585" y="168"/>
                      </a:lnTo>
                      <a:lnTo>
                        <a:pt x="583" y="168"/>
                      </a:lnTo>
                      <a:lnTo>
                        <a:pt x="585" y="168"/>
                      </a:lnTo>
                      <a:lnTo>
                        <a:pt x="586" y="166"/>
                      </a:lnTo>
                      <a:lnTo>
                        <a:pt x="586" y="168"/>
                      </a:lnTo>
                      <a:lnTo>
                        <a:pt x="588" y="168"/>
                      </a:lnTo>
                      <a:lnTo>
                        <a:pt x="588" y="166"/>
                      </a:lnTo>
                      <a:lnTo>
                        <a:pt x="588" y="168"/>
                      </a:lnTo>
                      <a:lnTo>
                        <a:pt x="588" y="166"/>
                      </a:lnTo>
                      <a:lnTo>
                        <a:pt x="590" y="166"/>
                      </a:lnTo>
                      <a:lnTo>
                        <a:pt x="590" y="168"/>
                      </a:lnTo>
                      <a:lnTo>
                        <a:pt x="591" y="168"/>
                      </a:lnTo>
                      <a:lnTo>
                        <a:pt x="591" y="166"/>
                      </a:lnTo>
                      <a:lnTo>
                        <a:pt x="591" y="168"/>
                      </a:lnTo>
                      <a:lnTo>
                        <a:pt x="593" y="168"/>
                      </a:lnTo>
                      <a:lnTo>
                        <a:pt x="593" y="169"/>
                      </a:lnTo>
                      <a:lnTo>
                        <a:pt x="595" y="169"/>
                      </a:lnTo>
                      <a:lnTo>
                        <a:pt x="597" y="171"/>
                      </a:lnTo>
                      <a:lnTo>
                        <a:pt x="597" y="173"/>
                      </a:lnTo>
                      <a:lnTo>
                        <a:pt x="598" y="173"/>
                      </a:lnTo>
                      <a:lnTo>
                        <a:pt x="598" y="174"/>
                      </a:lnTo>
                      <a:lnTo>
                        <a:pt x="600" y="174"/>
                      </a:lnTo>
                      <a:lnTo>
                        <a:pt x="602" y="174"/>
                      </a:lnTo>
                      <a:lnTo>
                        <a:pt x="600" y="174"/>
                      </a:lnTo>
                      <a:lnTo>
                        <a:pt x="602" y="174"/>
                      </a:lnTo>
                      <a:lnTo>
                        <a:pt x="603" y="174"/>
                      </a:lnTo>
                      <a:lnTo>
                        <a:pt x="603" y="176"/>
                      </a:lnTo>
                      <a:lnTo>
                        <a:pt x="605" y="176"/>
                      </a:lnTo>
                      <a:lnTo>
                        <a:pt x="605" y="178"/>
                      </a:lnTo>
                      <a:lnTo>
                        <a:pt x="607" y="178"/>
                      </a:lnTo>
                      <a:lnTo>
                        <a:pt x="608" y="178"/>
                      </a:lnTo>
                      <a:lnTo>
                        <a:pt x="610" y="178"/>
                      </a:lnTo>
                      <a:lnTo>
                        <a:pt x="610" y="179"/>
                      </a:lnTo>
                      <a:lnTo>
                        <a:pt x="612" y="179"/>
                      </a:lnTo>
                      <a:lnTo>
                        <a:pt x="613" y="179"/>
                      </a:lnTo>
                      <a:lnTo>
                        <a:pt x="613" y="181"/>
                      </a:lnTo>
                      <a:lnTo>
                        <a:pt x="615" y="181"/>
                      </a:lnTo>
                      <a:lnTo>
                        <a:pt x="617" y="181"/>
                      </a:lnTo>
                      <a:lnTo>
                        <a:pt x="617" y="183"/>
                      </a:lnTo>
                      <a:lnTo>
                        <a:pt x="618" y="183"/>
                      </a:lnTo>
                      <a:lnTo>
                        <a:pt x="620" y="183"/>
                      </a:lnTo>
                      <a:lnTo>
                        <a:pt x="620" y="181"/>
                      </a:lnTo>
                      <a:lnTo>
                        <a:pt x="622" y="183"/>
                      </a:lnTo>
                      <a:lnTo>
                        <a:pt x="624" y="183"/>
                      </a:lnTo>
                      <a:lnTo>
                        <a:pt x="624" y="181"/>
                      </a:lnTo>
                      <a:lnTo>
                        <a:pt x="625" y="181"/>
                      </a:lnTo>
                      <a:lnTo>
                        <a:pt x="625" y="183"/>
                      </a:lnTo>
                      <a:lnTo>
                        <a:pt x="625" y="181"/>
                      </a:lnTo>
                      <a:lnTo>
                        <a:pt x="625" y="183"/>
                      </a:lnTo>
                      <a:lnTo>
                        <a:pt x="627" y="183"/>
                      </a:lnTo>
                      <a:lnTo>
                        <a:pt x="629" y="183"/>
                      </a:lnTo>
                      <a:close/>
                    </a:path>
                  </a:pathLst>
                </a:custGeom>
                <a:solidFill>
                  <a:srgbClr val="FFFFE1"/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black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17" name="Freeform 2"/>
                <p:cNvSpPr>
                  <a:spLocks noChangeAspect="1" noEditPoints="1"/>
                </p:cNvSpPr>
                <p:nvPr/>
              </p:nvSpPr>
              <p:spPr bwMode="auto">
                <a:xfrm>
                  <a:off x="6102876" y="1862195"/>
                  <a:ext cx="1327503" cy="875999"/>
                </a:xfrm>
                <a:custGeom>
                  <a:avLst/>
                  <a:gdLst>
                    <a:gd name="T0" fmla="*/ 2147483647 w 851"/>
                    <a:gd name="T1" fmla="*/ 2147483647 h 523"/>
                    <a:gd name="T2" fmla="*/ 2147483647 w 851"/>
                    <a:gd name="T3" fmla="*/ 2147483647 h 523"/>
                    <a:gd name="T4" fmla="*/ 2147483647 w 851"/>
                    <a:gd name="T5" fmla="*/ 2147483647 h 523"/>
                    <a:gd name="T6" fmla="*/ 2147483647 w 851"/>
                    <a:gd name="T7" fmla="*/ 2147483647 h 523"/>
                    <a:gd name="T8" fmla="*/ 2147483647 w 851"/>
                    <a:gd name="T9" fmla="*/ 2147483647 h 523"/>
                    <a:gd name="T10" fmla="*/ 2147483647 w 851"/>
                    <a:gd name="T11" fmla="*/ 2147483647 h 523"/>
                    <a:gd name="T12" fmla="*/ 2147483647 w 851"/>
                    <a:gd name="T13" fmla="*/ 2147483647 h 523"/>
                    <a:gd name="T14" fmla="*/ 2147483647 w 851"/>
                    <a:gd name="T15" fmla="*/ 2147483647 h 523"/>
                    <a:gd name="T16" fmla="*/ 2147483647 w 851"/>
                    <a:gd name="T17" fmla="*/ 2147483647 h 523"/>
                    <a:gd name="T18" fmla="*/ 2147483647 w 851"/>
                    <a:gd name="T19" fmla="*/ 2147483647 h 523"/>
                    <a:gd name="T20" fmla="*/ 2147483647 w 851"/>
                    <a:gd name="T21" fmla="*/ 2147483647 h 523"/>
                    <a:gd name="T22" fmla="*/ 2147483647 w 851"/>
                    <a:gd name="T23" fmla="*/ 2147483647 h 523"/>
                    <a:gd name="T24" fmla="*/ 2147483647 w 851"/>
                    <a:gd name="T25" fmla="*/ 2147483647 h 523"/>
                    <a:gd name="T26" fmla="*/ 2147483647 w 851"/>
                    <a:gd name="T27" fmla="*/ 2147483647 h 523"/>
                    <a:gd name="T28" fmla="*/ 2147483647 w 851"/>
                    <a:gd name="T29" fmla="*/ 2147483647 h 523"/>
                    <a:gd name="T30" fmla="*/ 2147483647 w 851"/>
                    <a:gd name="T31" fmla="*/ 2147483647 h 523"/>
                    <a:gd name="T32" fmla="*/ 2147483647 w 851"/>
                    <a:gd name="T33" fmla="*/ 2147483647 h 523"/>
                    <a:gd name="T34" fmla="*/ 2147483647 w 851"/>
                    <a:gd name="T35" fmla="*/ 2147483647 h 523"/>
                    <a:gd name="T36" fmla="*/ 2147483647 w 851"/>
                    <a:gd name="T37" fmla="*/ 2147483647 h 523"/>
                    <a:gd name="T38" fmla="*/ 2147483647 w 851"/>
                    <a:gd name="T39" fmla="*/ 2147483647 h 523"/>
                    <a:gd name="T40" fmla="*/ 2147483647 w 851"/>
                    <a:gd name="T41" fmla="*/ 2147483647 h 523"/>
                    <a:gd name="T42" fmla="*/ 2147483647 w 851"/>
                    <a:gd name="T43" fmla="*/ 2147483647 h 523"/>
                    <a:gd name="T44" fmla="*/ 2147483647 w 851"/>
                    <a:gd name="T45" fmla="*/ 2147483647 h 523"/>
                    <a:gd name="T46" fmla="*/ 2147483647 w 851"/>
                    <a:gd name="T47" fmla="*/ 2147483647 h 523"/>
                    <a:gd name="T48" fmla="*/ 2147483647 w 851"/>
                    <a:gd name="T49" fmla="*/ 2147483647 h 523"/>
                    <a:gd name="T50" fmla="*/ 2147483647 w 851"/>
                    <a:gd name="T51" fmla="*/ 2147483647 h 523"/>
                    <a:gd name="T52" fmla="*/ 2147483647 w 851"/>
                    <a:gd name="T53" fmla="*/ 2147483647 h 523"/>
                    <a:gd name="T54" fmla="*/ 2147483647 w 851"/>
                    <a:gd name="T55" fmla="*/ 2147483647 h 523"/>
                    <a:gd name="T56" fmla="*/ 2147483647 w 851"/>
                    <a:gd name="T57" fmla="*/ 2147483647 h 523"/>
                    <a:gd name="T58" fmla="*/ 2147483647 w 851"/>
                    <a:gd name="T59" fmla="*/ 2147483647 h 523"/>
                    <a:gd name="T60" fmla="*/ 2147483647 w 851"/>
                    <a:gd name="T61" fmla="*/ 2147483647 h 523"/>
                    <a:gd name="T62" fmla="*/ 2147483647 w 851"/>
                    <a:gd name="T63" fmla="*/ 2147483647 h 523"/>
                    <a:gd name="T64" fmla="*/ 2147483647 w 851"/>
                    <a:gd name="T65" fmla="*/ 2147483647 h 523"/>
                    <a:gd name="T66" fmla="*/ 2147483647 w 851"/>
                    <a:gd name="T67" fmla="*/ 2147483647 h 523"/>
                    <a:gd name="T68" fmla="*/ 2147483647 w 851"/>
                    <a:gd name="T69" fmla="*/ 2147483647 h 523"/>
                    <a:gd name="T70" fmla="*/ 2147483647 w 851"/>
                    <a:gd name="T71" fmla="*/ 2147483647 h 523"/>
                    <a:gd name="T72" fmla="*/ 2147483647 w 851"/>
                    <a:gd name="T73" fmla="*/ 2147483647 h 523"/>
                    <a:gd name="T74" fmla="*/ 2147483647 w 851"/>
                    <a:gd name="T75" fmla="*/ 2147483647 h 523"/>
                    <a:gd name="T76" fmla="*/ 2147483647 w 851"/>
                    <a:gd name="T77" fmla="*/ 2147483647 h 523"/>
                    <a:gd name="T78" fmla="*/ 2147483647 w 851"/>
                    <a:gd name="T79" fmla="*/ 2147483647 h 523"/>
                    <a:gd name="T80" fmla="*/ 2147483647 w 851"/>
                    <a:gd name="T81" fmla="*/ 2147483647 h 523"/>
                    <a:gd name="T82" fmla="*/ 2147483647 w 851"/>
                    <a:gd name="T83" fmla="*/ 2147483647 h 523"/>
                    <a:gd name="T84" fmla="*/ 2147483647 w 851"/>
                    <a:gd name="T85" fmla="*/ 2147483647 h 523"/>
                    <a:gd name="T86" fmla="*/ 2147483647 w 851"/>
                    <a:gd name="T87" fmla="*/ 2147483647 h 523"/>
                    <a:gd name="T88" fmla="*/ 2147483647 w 851"/>
                    <a:gd name="T89" fmla="*/ 2147483647 h 523"/>
                    <a:gd name="T90" fmla="*/ 2147483647 w 851"/>
                    <a:gd name="T91" fmla="*/ 2147483647 h 523"/>
                    <a:gd name="T92" fmla="*/ 2147483647 w 851"/>
                    <a:gd name="T93" fmla="*/ 2147483647 h 523"/>
                    <a:gd name="T94" fmla="*/ 2147483647 w 851"/>
                    <a:gd name="T95" fmla="*/ 2147483647 h 523"/>
                    <a:gd name="T96" fmla="*/ 2147483647 w 851"/>
                    <a:gd name="T97" fmla="*/ 2147483647 h 523"/>
                    <a:gd name="T98" fmla="*/ 2147483647 w 851"/>
                    <a:gd name="T99" fmla="*/ 2147483647 h 523"/>
                    <a:gd name="T100" fmla="*/ 2147483647 w 851"/>
                    <a:gd name="T101" fmla="*/ 2147483647 h 523"/>
                    <a:gd name="T102" fmla="*/ 2147483647 w 851"/>
                    <a:gd name="T103" fmla="*/ 2147483647 h 523"/>
                    <a:gd name="T104" fmla="*/ 2147483647 w 851"/>
                    <a:gd name="T105" fmla="*/ 2147483647 h 523"/>
                    <a:gd name="T106" fmla="*/ 2147483647 w 851"/>
                    <a:gd name="T107" fmla="*/ 2147483647 h 523"/>
                    <a:gd name="T108" fmla="*/ 2147483647 w 851"/>
                    <a:gd name="T109" fmla="*/ 2147483647 h 523"/>
                    <a:gd name="T110" fmla="*/ 2147483647 w 851"/>
                    <a:gd name="T111" fmla="*/ 2147483647 h 523"/>
                    <a:gd name="T112" fmla="*/ 2147483647 w 851"/>
                    <a:gd name="T113" fmla="*/ 2147483647 h 523"/>
                    <a:gd name="T114" fmla="*/ 2147483647 w 851"/>
                    <a:gd name="T115" fmla="*/ 2147483647 h 523"/>
                    <a:gd name="T116" fmla="*/ 2147483647 w 851"/>
                    <a:gd name="T117" fmla="*/ 2147483647 h 523"/>
                    <a:gd name="T118" fmla="*/ 2147483647 w 851"/>
                    <a:gd name="T119" fmla="*/ 2147483647 h 523"/>
                    <a:gd name="T120" fmla="*/ 2147483647 w 851"/>
                    <a:gd name="T121" fmla="*/ 2147483647 h 523"/>
                    <a:gd name="T122" fmla="*/ 2147483647 w 851"/>
                    <a:gd name="T123" fmla="*/ 2147483647 h 523"/>
                    <a:gd name="T124" fmla="*/ 2147483647 w 851"/>
                    <a:gd name="T125" fmla="*/ 2147483647 h 523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51"/>
                    <a:gd name="T190" fmla="*/ 0 h 523"/>
                    <a:gd name="T191" fmla="*/ 851 w 851"/>
                    <a:gd name="T192" fmla="*/ 523 h 523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51" h="523">
                      <a:moveTo>
                        <a:pt x="304" y="502"/>
                      </a:moveTo>
                      <a:lnTo>
                        <a:pt x="304" y="504"/>
                      </a:lnTo>
                      <a:lnTo>
                        <a:pt x="302" y="504"/>
                      </a:lnTo>
                      <a:lnTo>
                        <a:pt x="302" y="505"/>
                      </a:lnTo>
                      <a:lnTo>
                        <a:pt x="300" y="505"/>
                      </a:lnTo>
                      <a:lnTo>
                        <a:pt x="299" y="505"/>
                      </a:lnTo>
                      <a:lnTo>
                        <a:pt x="299" y="507"/>
                      </a:lnTo>
                      <a:lnTo>
                        <a:pt x="297" y="507"/>
                      </a:lnTo>
                      <a:lnTo>
                        <a:pt x="297" y="509"/>
                      </a:lnTo>
                      <a:lnTo>
                        <a:pt x="295" y="509"/>
                      </a:lnTo>
                      <a:lnTo>
                        <a:pt x="294" y="505"/>
                      </a:lnTo>
                      <a:lnTo>
                        <a:pt x="292" y="499"/>
                      </a:lnTo>
                      <a:lnTo>
                        <a:pt x="290" y="499"/>
                      </a:lnTo>
                      <a:lnTo>
                        <a:pt x="290" y="497"/>
                      </a:lnTo>
                      <a:lnTo>
                        <a:pt x="292" y="496"/>
                      </a:lnTo>
                      <a:lnTo>
                        <a:pt x="290" y="496"/>
                      </a:lnTo>
                      <a:lnTo>
                        <a:pt x="290" y="494"/>
                      </a:lnTo>
                      <a:lnTo>
                        <a:pt x="288" y="492"/>
                      </a:lnTo>
                      <a:lnTo>
                        <a:pt x="287" y="491"/>
                      </a:lnTo>
                      <a:lnTo>
                        <a:pt x="287" y="489"/>
                      </a:lnTo>
                      <a:lnTo>
                        <a:pt x="288" y="489"/>
                      </a:lnTo>
                      <a:lnTo>
                        <a:pt x="288" y="487"/>
                      </a:lnTo>
                      <a:lnTo>
                        <a:pt x="287" y="486"/>
                      </a:lnTo>
                      <a:lnTo>
                        <a:pt x="288" y="486"/>
                      </a:lnTo>
                      <a:lnTo>
                        <a:pt x="288" y="484"/>
                      </a:lnTo>
                      <a:lnTo>
                        <a:pt x="290" y="484"/>
                      </a:lnTo>
                      <a:lnTo>
                        <a:pt x="290" y="482"/>
                      </a:lnTo>
                      <a:lnTo>
                        <a:pt x="290" y="481"/>
                      </a:lnTo>
                      <a:lnTo>
                        <a:pt x="288" y="479"/>
                      </a:lnTo>
                      <a:lnTo>
                        <a:pt x="288" y="477"/>
                      </a:lnTo>
                      <a:lnTo>
                        <a:pt x="287" y="477"/>
                      </a:lnTo>
                      <a:lnTo>
                        <a:pt x="285" y="477"/>
                      </a:lnTo>
                      <a:lnTo>
                        <a:pt x="283" y="479"/>
                      </a:lnTo>
                      <a:lnTo>
                        <a:pt x="282" y="481"/>
                      </a:lnTo>
                      <a:lnTo>
                        <a:pt x="280" y="482"/>
                      </a:lnTo>
                      <a:lnTo>
                        <a:pt x="278" y="482"/>
                      </a:lnTo>
                      <a:lnTo>
                        <a:pt x="277" y="482"/>
                      </a:lnTo>
                      <a:lnTo>
                        <a:pt x="275" y="481"/>
                      </a:lnTo>
                      <a:lnTo>
                        <a:pt x="273" y="481"/>
                      </a:lnTo>
                      <a:lnTo>
                        <a:pt x="272" y="479"/>
                      </a:lnTo>
                      <a:lnTo>
                        <a:pt x="270" y="477"/>
                      </a:lnTo>
                      <a:lnTo>
                        <a:pt x="270" y="476"/>
                      </a:lnTo>
                      <a:lnTo>
                        <a:pt x="270" y="474"/>
                      </a:lnTo>
                      <a:lnTo>
                        <a:pt x="268" y="474"/>
                      </a:lnTo>
                      <a:lnTo>
                        <a:pt x="268" y="473"/>
                      </a:lnTo>
                      <a:lnTo>
                        <a:pt x="270" y="473"/>
                      </a:lnTo>
                      <a:lnTo>
                        <a:pt x="270" y="471"/>
                      </a:lnTo>
                      <a:lnTo>
                        <a:pt x="272" y="471"/>
                      </a:lnTo>
                      <a:lnTo>
                        <a:pt x="273" y="469"/>
                      </a:lnTo>
                      <a:lnTo>
                        <a:pt x="273" y="468"/>
                      </a:lnTo>
                      <a:lnTo>
                        <a:pt x="273" y="466"/>
                      </a:lnTo>
                      <a:lnTo>
                        <a:pt x="273" y="464"/>
                      </a:lnTo>
                      <a:lnTo>
                        <a:pt x="270" y="464"/>
                      </a:lnTo>
                      <a:lnTo>
                        <a:pt x="270" y="463"/>
                      </a:lnTo>
                      <a:lnTo>
                        <a:pt x="267" y="463"/>
                      </a:lnTo>
                      <a:lnTo>
                        <a:pt x="265" y="463"/>
                      </a:lnTo>
                      <a:lnTo>
                        <a:pt x="263" y="464"/>
                      </a:lnTo>
                      <a:lnTo>
                        <a:pt x="263" y="466"/>
                      </a:lnTo>
                      <a:lnTo>
                        <a:pt x="261" y="466"/>
                      </a:lnTo>
                      <a:lnTo>
                        <a:pt x="261" y="468"/>
                      </a:lnTo>
                      <a:lnTo>
                        <a:pt x="260" y="469"/>
                      </a:lnTo>
                      <a:lnTo>
                        <a:pt x="260" y="471"/>
                      </a:lnTo>
                      <a:lnTo>
                        <a:pt x="260" y="473"/>
                      </a:lnTo>
                      <a:lnTo>
                        <a:pt x="260" y="474"/>
                      </a:lnTo>
                      <a:lnTo>
                        <a:pt x="260" y="476"/>
                      </a:lnTo>
                      <a:lnTo>
                        <a:pt x="258" y="477"/>
                      </a:lnTo>
                      <a:lnTo>
                        <a:pt x="256" y="477"/>
                      </a:lnTo>
                      <a:lnTo>
                        <a:pt x="255" y="477"/>
                      </a:lnTo>
                      <a:lnTo>
                        <a:pt x="255" y="476"/>
                      </a:lnTo>
                      <a:lnTo>
                        <a:pt x="253" y="476"/>
                      </a:lnTo>
                      <a:lnTo>
                        <a:pt x="253" y="474"/>
                      </a:lnTo>
                      <a:lnTo>
                        <a:pt x="253" y="473"/>
                      </a:lnTo>
                      <a:lnTo>
                        <a:pt x="253" y="471"/>
                      </a:lnTo>
                      <a:lnTo>
                        <a:pt x="251" y="469"/>
                      </a:lnTo>
                      <a:lnTo>
                        <a:pt x="251" y="468"/>
                      </a:lnTo>
                      <a:lnTo>
                        <a:pt x="251" y="466"/>
                      </a:lnTo>
                      <a:lnTo>
                        <a:pt x="250" y="466"/>
                      </a:lnTo>
                      <a:lnTo>
                        <a:pt x="250" y="464"/>
                      </a:lnTo>
                      <a:lnTo>
                        <a:pt x="248" y="464"/>
                      </a:lnTo>
                      <a:lnTo>
                        <a:pt x="246" y="464"/>
                      </a:lnTo>
                      <a:lnTo>
                        <a:pt x="246" y="463"/>
                      </a:lnTo>
                      <a:lnTo>
                        <a:pt x="245" y="463"/>
                      </a:lnTo>
                      <a:lnTo>
                        <a:pt x="245" y="461"/>
                      </a:lnTo>
                      <a:lnTo>
                        <a:pt x="243" y="461"/>
                      </a:lnTo>
                      <a:lnTo>
                        <a:pt x="241" y="459"/>
                      </a:lnTo>
                      <a:lnTo>
                        <a:pt x="239" y="459"/>
                      </a:lnTo>
                      <a:lnTo>
                        <a:pt x="238" y="459"/>
                      </a:lnTo>
                      <a:lnTo>
                        <a:pt x="236" y="459"/>
                      </a:lnTo>
                      <a:lnTo>
                        <a:pt x="234" y="459"/>
                      </a:lnTo>
                      <a:lnTo>
                        <a:pt x="233" y="459"/>
                      </a:lnTo>
                      <a:lnTo>
                        <a:pt x="231" y="459"/>
                      </a:lnTo>
                      <a:lnTo>
                        <a:pt x="229" y="459"/>
                      </a:lnTo>
                      <a:lnTo>
                        <a:pt x="229" y="461"/>
                      </a:lnTo>
                      <a:lnTo>
                        <a:pt x="228" y="461"/>
                      </a:lnTo>
                      <a:lnTo>
                        <a:pt x="226" y="459"/>
                      </a:lnTo>
                      <a:lnTo>
                        <a:pt x="224" y="458"/>
                      </a:lnTo>
                      <a:lnTo>
                        <a:pt x="223" y="456"/>
                      </a:lnTo>
                      <a:lnTo>
                        <a:pt x="221" y="456"/>
                      </a:lnTo>
                      <a:lnTo>
                        <a:pt x="221" y="454"/>
                      </a:lnTo>
                      <a:lnTo>
                        <a:pt x="219" y="454"/>
                      </a:lnTo>
                      <a:lnTo>
                        <a:pt x="218" y="454"/>
                      </a:lnTo>
                      <a:lnTo>
                        <a:pt x="214" y="453"/>
                      </a:lnTo>
                      <a:lnTo>
                        <a:pt x="212" y="453"/>
                      </a:lnTo>
                      <a:lnTo>
                        <a:pt x="211" y="453"/>
                      </a:lnTo>
                      <a:lnTo>
                        <a:pt x="209" y="453"/>
                      </a:lnTo>
                      <a:lnTo>
                        <a:pt x="209" y="451"/>
                      </a:lnTo>
                      <a:lnTo>
                        <a:pt x="207" y="451"/>
                      </a:lnTo>
                      <a:lnTo>
                        <a:pt x="206" y="451"/>
                      </a:lnTo>
                      <a:lnTo>
                        <a:pt x="204" y="453"/>
                      </a:lnTo>
                      <a:lnTo>
                        <a:pt x="202" y="451"/>
                      </a:lnTo>
                      <a:lnTo>
                        <a:pt x="202" y="453"/>
                      </a:lnTo>
                      <a:lnTo>
                        <a:pt x="201" y="453"/>
                      </a:lnTo>
                      <a:lnTo>
                        <a:pt x="201" y="451"/>
                      </a:lnTo>
                      <a:lnTo>
                        <a:pt x="201" y="450"/>
                      </a:lnTo>
                      <a:lnTo>
                        <a:pt x="199" y="448"/>
                      </a:lnTo>
                      <a:lnTo>
                        <a:pt x="201" y="448"/>
                      </a:lnTo>
                      <a:lnTo>
                        <a:pt x="201" y="446"/>
                      </a:lnTo>
                      <a:lnTo>
                        <a:pt x="201" y="445"/>
                      </a:lnTo>
                      <a:lnTo>
                        <a:pt x="199" y="445"/>
                      </a:lnTo>
                      <a:lnTo>
                        <a:pt x="199" y="443"/>
                      </a:lnTo>
                      <a:lnTo>
                        <a:pt x="197" y="443"/>
                      </a:lnTo>
                      <a:lnTo>
                        <a:pt x="197" y="441"/>
                      </a:lnTo>
                      <a:lnTo>
                        <a:pt x="197" y="440"/>
                      </a:lnTo>
                      <a:lnTo>
                        <a:pt x="196" y="438"/>
                      </a:lnTo>
                      <a:lnTo>
                        <a:pt x="194" y="438"/>
                      </a:lnTo>
                      <a:lnTo>
                        <a:pt x="192" y="438"/>
                      </a:lnTo>
                      <a:lnTo>
                        <a:pt x="191" y="438"/>
                      </a:lnTo>
                      <a:lnTo>
                        <a:pt x="189" y="436"/>
                      </a:lnTo>
                      <a:lnTo>
                        <a:pt x="187" y="436"/>
                      </a:lnTo>
                      <a:lnTo>
                        <a:pt x="185" y="436"/>
                      </a:lnTo>
                      <a:lnTo>
                        <a:pt x="184" y="436"/>
                      </a:lnTo>
                      <a:lnTo>
                        <a:pt x="184" y="438"/>
                      </a:lnTo>
                      <a:lnTo>
                        <a:pt x="182" y="438"/>
                      </a:lnTo>
                      <a:lnTo>
                        <a:pt x="180" y="438"/>
                      </a:lnTo>
                      <a:lnTo>
                        <a:pt x="180" y="440"/>
                      </a:lnTo>
                      <a:lnTo>
                        <a:pt x="179" y="440"/>
                      </a:lnTo>
                      <a:lnTo>
                        <a:pt x="179" y="441"/>
                      </a:lnTo>
                      <a:lnTo>
                        <a:pt x="177" y="441"/>
                      </a:lnTo>
                      <a:lnTo>
                        <a:pt x="175" y="441"/>
                      </a:lnTo>
                      <a:lnTo>
                        <a:pt x="174" y="441"/>
                      </a:lnTo>
                      <a:lnTo>
                        <a:pt x="174" y="443"/>
                      </a:lnTo>
                      <a:lnTo>
                        <a:pt x="172" y="443"/>
                      </a:lnTo>
                      <a:lnTo>
                        <a:pt x="170" y="445"/>
                      </a:lnTo>
                      <a:lnTo>
                        <a:pt x="169" y="445"/>
                      </a:lnTo>
                      <a:lnTo>
                        <a:pt x="169" y="446"/>
                      </a:lnTo>
                      <a:lnTo>
                        <a:pt x="167" y="446"/>
                      </a:lnTo>
                      <a:lnTo>
                        <a:pt x="165" y="448"/>
                      </a:lnTo>
                      <a:lnTo>
                        <a:pt x="163" y="446"/>
                      </a:lnTo>
                      <a:lnTo>
                        <a:pt x="163" y="448"/>
                      </a:lnTo>
                      <a:lnTo>
                        <a:pt x="162" y="448"/>
                      </a:lnTo>
                      <a:lnTo>
                        <a:pt x="160" y="448"/>
                      </a:lnTo>
                      <a:lnTo>
                        <a:pt x="158" y="448"/>
                      </a:lnTo>
                      <a:lnTo>
                        <a:pt x="157" y="448"/>
                      </a:lnTo>
                      <a:lnTo>
                        <a:pt x="157" y="450"/>
                      </a:lnTo>
                      <a:lnTo>
                        <a:pt x="158" y="453"/>
                      </a:lnTo>
                      <a:lnTo>
                        <a:pt x="158" y="454"/>
                      </a:lnTo>
                      <a:lnTo>
                        <a:pt x="160" y="454"/>
                      </a:lnTo>
                      <a:lnTo>
                        <a:pt x="158" y="456"/>
                      </a:lnTo>
                      <a:lnTo>
                        <a:pt x="158" y="458"/>
                      </a:lnTo>
                      <a:lnTo>
                        <a:pt x="160" y="458"/>
                      </a:lnTo>
                      <a:lnTo>
                        <a:pt x="160" y="459"/>
                      </a:lnTo>
                      <a:lnTo>
                        <a:pt x="158" y="459"/>
                      </a:lnTo>
                      <a:lnTo>
                        <a:pt x="157" y="461"/>
                      </a:lnTo>
                      <a:lnTo>
                        <a:pt x="155" y="459"/>
                      </a:lnTo>
                      <a:lnTo>
                        <a:pt x="153" y="459"/>
                      </a:lnTo>
                      <a:lnTo>
                        <a:pt x="152" y="459"/>
                      </a:lnTo>
                      <a:lnTo>
                        <a:pt x="152" y="461"/>
                      </a:lnTo>
                      <a:lnTo>
                        <a:pt x="150" y="461"/>
                      </a:lnTo>
                      <a:lnTo>
                        <a:pt x="148" y="463"/>
                      </a:lnTo>
                      <a:lnTo>
                        <a:pt x="147" y="463"/>
                      </a:lnTo>
                      <a:lnTo>
                        <a:pt x="147" y="461"/>
                      </a:lnTo>
                      <a:lnTo>
                        <a:pt x="145" y="461"/>
                      </a:lnTo>
                      <a:lnTo>
                        <a:pt x="143" y="463"/>
                      </a:lnTo>
                      <a:lnTo>
                        <a:pt x="142" y="463"/>
                      </a:lnTo>
                      <a:lnTo>
                        <a:pt x="140" y="463"/>
                      </a:lnTo>
                      <a:lnTo>
                        <a:pt x="138" y="463"/>
                      </a:lnTo>
                      <a:lnTo>
                        <a:pt x="138" y="464"/>
                      </a:lnTo>
                      <a:lnTo>
                        <a:pt x="138" y="466"/>
                      </a:lnTo>
                      <a:lnTo>
                        <a:pt x="138" y="468"/>
                      </a:lnTo>
                      <a:lnTo>
                        <a:pt x="140" y="469"/>
                      </a:lnTo>
                      <a:lnTo>
                        <a:pt x="140" y="471"/>
                      </a:lnTo>
                      <a:lnTo>
                        <a:pt x="140" y="473"/>
                      </a:lnTo>
                      <a:lnTo>
                        <a:pt x="140" y="474"/>
                      </a:lnTo>
                      <a:lnTo>
                        <a:pt x="138" y="476"/>
                      </a:lnTo>
                      <a:lnTo>
                        <a:pt x="136" y="477"/>
                      </a:lnTo>
                      <a:lnTo>
                        <a:pt x="136" y="479"/>
                      </a:lnTo>
                      <a:lnTo>
                        <a:pt x="135" y="479"/>
                      </a:lnTo>
                      <a:lnTo>
                        <a:pt x="135" y="481"/>
                      </a:lnTo>
                      <a:lnTo>
                        <a:pt x="133" y="482"/>
                      </a:lnTo>
                      <a:lnTo>
                        <a:pt x="131" y="484"/>
                      </a:lnTo>
                      <a:lnTo>
                        <a:pt x="130" y="484"/>
                      </a:lnTo>
                      <a:lnTo>
                        <a:pt x="128" y="484"/>
                      </a:lnTo>
                      <a:lnTo>
                        <a:pt x="126" y="484"/>
                      </a:lnTo>
                      <a:lnTo>
                        <a:pt x="125" y="484"/>
                      </a:lnTo>
                      <a:lnTo>
                        <a:pt x="123" y="484"/>
                      </a:lnTo>
                      <a:lnTo>
                        <a:pt x="121" y="484"/>
                      </a:lnTo>
                      <a:lnTo>
                        <a:pt x="121" y="486"/>
                      </a:lnTo>
                      <a:lnTo>
                        <a:pt x="120" y="487"/>
                      </a:lnTo>
                      <a:lnTo>
                        <a:pt x="118" y="487"/>
                      </a:lnTo>
                      <a:lnTo>
                        <a:pt x="118" y="489"/>
                      </a:lnTo>
                      <a:lnTo>
                        <a:pt x="116" y="489"/>
                      </a:lnTo>
                      <a:lnTo>
                        <a:pt x="115" y="489"/>
                      </a:lnTo>
                      <a:lnTo>
                        <a:pt x="113" y="489"/>
                      </a:lnTo>
                      <a:lnTo>
                        <a:pt x="113" y="487"/>
                      </a:lnTo>
                      <a:lnTo>
                        <a:pt x="111" y="487"/>
                      </a:lnTo>
                      <a:lnTo>
                        <a:pt x="109" y="486"/>
                      </a:lnTo>
                      <a:lnTo>
                        <a:pt x="109" y="484"/>
                      </a:lnTo>
                      <a:lnTo>
                        <a:pt x="108" y="484"/>
                      </a:lnTo>
                      <a:lnTo>
                        <a:pt x="106" y="484"/>
                      </a:lnTo>
                      <a:lnTo>
                        <a:pt x="104" y="484"/>
                      </a:lnTo>
                      <a:lnTo>
                        <a:pt x="104" y="486"/>
                      </a:lnTo>
                      <a:lnTo>
                        <a:pt x="103" y="486"/>
                      </a:lnTo>
                      <a:lnTo>
                        <a:pt x="103" y="487"/>
                      </a:lnTo>
                      <a:lnTo>
                        <a:pt x="101" y="489"/>
                      </a:lnTo>
                      <a:lnTo>
                        <a:pt x="101" y="492"/>
                      </a:lnTo>
                      <a:lnTo>
                        <a:pt x="101" y="494"/>
                      </a:lnTo>
                      <a:lnTo>
                        <a:pt x="101" y="496"/>
                      </a:lnTo>
                      <a:lnTo>
                        <a:pt x="101" y="497"/>
                      </a:lnTo>
                      <a:lnTo>
                        <a:pt x="101" y="499"/>
                      </a:lnTo>
                      <a:lnTo>
                        <a:pt x="99" y="500"/>
                      </a:lnTo>
                      <a:lnTo>
                        <a:pt x="99" y="502"/>
                      </a:lnTo>
                      <a:lnTo>
                        <a:pt x="99" y="504"/>
                      </a:lnTo>
                      <a:lnTo>
                        <a:pt x="99" y="505"/>
                      </a:lnTo>
                      <a:lnTo>
                        <a:pt x="98" y="505"/>
                      </a:lnTo>
                      <a:lnTo>
                        <a:pt x="98" y="507"/>
                      </a:lnTo>
                      <a:lnTo>
                        <a:pt x="98" y="509"/>
                      </a:lnTo>
                      <a:lnTo>
                        <a:pt x="96" y="509"/>
                      </a:lnTo>
                      <a:lnTo>
                        <a:pt x="96" y="510"/>
                      </a:lnTo>
                      <a:lnTo>
                        <a:pt x="98" y="512"/>
                      </a:lnTo>
                      <a:lnTo>
                        <a:pt x="96" y="512"/>
                      </a:lnTo>
                      <a:lnTo>
                        <a:pt x="96" y="514"/>
                      </a:lnTo>
                      <a:lnTo>
                        <a:pt x="94" y="514"/>
                      </a:lnTo>
                      <a:lnTo>
                        <a:pt x="93" y="514"/>
                      </a:lnTo>
                      <a:lnTo>
                        <a:pt x="91" y="514"/>
                      </a:lnTo>
                      <a:lnTo>
                        <a:pt x="91" y="512"/>
                      </a:lnTo>
                      <a:lnTo>
                        <a:pt x="89" y="512"/>
                      </a:lnTo>
                      <a:lnTo>
                        <a:pt x="87" y="512"/>
                      </a:lnTo>
                      <a:lnTo>
                        <a:pt x="86" y="515"/>
                      </a:lnTo>
                      <a:lnTo>
                        <a:pt x="86" y="517"/>
                      </a:lnTo>
                      <a:lnTo>
                        <a:pt x="84" y="517"/>
                      </a:lnTo>
                      <a:lnTo>
                        <a:pt x="82" y="517"/>
                      </a:lnTo>
                      <a:lnTo>
                        <a:pt x="81" y="517"/>
                      </a:lnTo>
                      <a:lnTo>
                        <a:pt x="79" y="517"/>
                      </a:lnTo>
                      <a:lnTo>
                        <a:pt x="77" y="517"/>
                      </a:lnTo>
                      <a:lnTo>
                        <a:pt x="77" y="519"/>
                      </a:lnTo>
                      <a:lnTo>
                        <a:pt x="77" y="520"/>
                      </a:lnTo>
                      <a:lnTo>
                        <a:pt x="76" y="520"/>
                      </a:lnTo>
                      <a:lnTo>
                        <a:pt x="76" y="522"/>
                      </a:lnTo>
                      <a:lnTo>
                        <a:pt x="74" y="522"/>
                      </a:lnTo>
                      <a:lnTo>
                        <a:pt x="72" y="522"/>
                      </a:lnTo>
                      <a:lnTo>
                        <a:pt x="71" y="523"/>
                      </a:lnTo>
                      <a:lnTo>
                        <a:pt x="69" y="523"/>
                      </a:lnTo>
                      <a:lnTo>
                        <a:pt x="67" y="523"/>
                      </a:lnTo>
                      <a:lnTo>
                        <a:pt x="67" y="522"/>
                      </a:lnTo>
                      <a:lnTo>
                        <a:pt x="64" y="522"/>
                      </a:lnTo>
                      <a:lnTo>
                        <a:pt x="62" y="522"/>
                      </a:lnTo>
                      <a:lnTo>
                        <a:pt x="60" y="520"/>
                      </a:lnTo>
                      <a:lnTo>
                        <a:pt x="57" y="520"/>
                      </a:lnTo>
                      <a:lnTo>
                        <a:pt x="55" y="520"/>
                      </a:lnTo>
                      <a:lnTo>
                        <a:pt x="57" y="519"/>
                      </a:lnTo>
                      <a:lnTo>
                        <a:pt x="55" y="517"/>
                      </a:lnTo>
                      <a:lnTo>
                        <a:pt x="57" y="517"/>
                      </a:lnTo>
                      <a:lnTo>
                        <a:pt x="59" y="515"/>
                      </a:lnTo>
                      <a:lnTo>
                        <a:pt x="57" y="515"/>
                      </a:lnTo>
                      <a:lnTo>
                        <a:pt x="59" y="514"/>
                      </a:lnTo>
                      <a:lnTo>
                        <a:pt x="57" y="514"/>
                      </a:lnTo>
                      <a:lnTo>
                        <a:pt x="57" y="512"/>
                      </a:lnTo>
                      <a:lnTo>
                        <a:pt x="59" y="512"/>
                      </a:lnTo>
                      <a:lnTo>
                        <a:pt x="59" y="510"/>
                      </a:lnTo>
                      <a:lnTo>
                        <a:pt x="59" y="509"/>
                      </a:lnTo>
                      <a:lnTo>
                        <a:pt x="57" y="509"/>
                      </a:lnTo>
                      <a:lnTo>
                        <a:pt x="57" y="507"/>
                      </a:lnTo>
                      <a:lnTo>
                        <a:pt x="59" y="507"/>
                      </a:lnTo>
                      <a:lnTo>
                        <a:pt x="59" y="505"/>
                      </a:lnTo>
                      <a:lnTo>
                        <a:pt x="59" y="507"/>
                      </a:lnTo>
                      <a:lnTo>
                        <a:pt x="60" y="507"/>
                      </a:lnTo>
                      <a:lnTo>
                        <a:pt x="62" y="505"/>
                      </a:lnTo>
                      <a:lnTo>
                        <a:pt x="60" y="505"/>
                      </a:lnTo>
                      <a:lnTo>
                        <a:pt x="62" y="505"/>
                      </a:lnTo>
                      <a:lnTo>
                        <a:pt x="64" y="504"/>
                      </a:lnTo>
                      <a:lnTo>
                        <a:pt x="64" y="502"/>
                      </a:lnTo>
                      <a:lnTo>
                        <a:pt x="64" y="500"/>
                      </a:lnTo>
                      <a:lnTo>
                        <a:pt x="62" y="500"/>
                      </a:lnTo>
                      <a:lnTo>
                        <a:pt x="64" y="499"/>
                      </a:lnTo>
                      <a:lnTo>
                        <a:pt x="64" y="497"/>
                      </a:lnTo>
                      <a:lnTo>
                        <a:pt x="66" y="496"/>
                      </a:lnTo>
                      <a:lnTo>
                        <a:pt x="66" y="494"/>
                      </a:lnTo>
                      <a:lnTo>
                        <a:pt x="64" y="494"/>
                      </a:lnTo>
                      <a:lnTo>
                        <a:pt x="64" y="492"/>
                      </a:lnTo>
                      <a:lnTo>
                        <a:pt x="62" y="492"/>
                      </a:lnTo>
                      <a:lnTo>
                        <a:pt x="60" y="492"/>
                      </a:lnTo>
                      <a:lnTo>
                        <a:pt x="60" y="491"/>
                      </a:lnTo>
                      <a:lnTo>
                        <a:pt x="59" y="491"/>
                      </a:lnTo>
                      <a:lnTo>
                        <a:pt x="57" y="489"/>
                      </a:lnTo>
                      <a:lnTo>
                        <a:pt x="57" y="491"/>
                      </a:lnTo>
                      <a:lnTo>
                        <a:pt x="57" y="489"/>
                      </a:lnTo>
                      <a:lnTo>
                        <a:pt x="55" y="489"/>
                      </a:lnTo>
                      <a:lnTo>
                        <a:pt x="55" y="487"/>
                      </a:lnTo>
                      <a:lnTo>
                        <a:pt x="54" y="489"/>
                      </a:lnTo>
                      <a:lnTo>
                        <a:pt x="54" y="487"/>
                      </a:lnTo>
                      <a:lnTo>
                        <a:pt x="52" y="487"/>
                      </a:lnTo>
                      <a:lnTo>
                        <a:pt x="52" y="486"/>
                      </a:lnTo>
                      <a:lnTo>
                        <a:pt x="50" y="486"/>
                      </a:lnTo>
                      <a:lnTo>
                        <a:pt x="50" y="484"/>
                      </a:lnTo>
                      <a:lnTo>
                        <a:pt x="50" y="482"/>
                      </a:lnTo>
                      <a:lnTo>
                        <a:pt x="50" y="481"/>
                      </a:lnTo>
                      <a:lnTo>
                        <a:pt x="49" y="481"/>
                      </a:lnTo>
                      <a:lnTo>
                        <a:pt x="49" y="479"/>
                      </a:lnTo>
                      <a:lnTo>
                        <a:pt x="49" y="477"/>
                      </a:lnTo>
                      <a:lnTo>
                        <a:pt x="47" y="477"/>
                      </a:lnTo>
                      <a:lnTo>
                        <a:pt x="47" y="474"/>
                      </a:lnTo>
                      <a:lnTo>
                        <a:pt x="47" y="473"/>
                      </a:lnTo>
                      <a:lnTo>
                        <a:pt x="45" y="471"/>
                      </a:lnTo>
                      <a:lnTo>
                        <a:pt x="45" y="469"/>
                      </a:lnTo>
                      <a:lnTo>
                        <a:pt x="44" y="469"/>
                      </a:lnTo>
                      <a:lnTo>
                        <a:pt x="44" y="468"/>
                      </a:lnTo>
                      <a:lnTo>
                        <a:pt x="44" y="466"/>
                      </a:lnTo>
                      <a:lnTo>
                        <a:pt x="42" y="466"/>
                      </a:lnTo>
                      <a:lnTo>
                        <a:pt x="42" y="464"/>
                      </a:lnTo>
                      <a:lnTo>
                        <a:pt x="40" y="464"/>
                      </a:lnTo>
                      <a:lnTo>
                        <a:pt x="39" y="464"/>
                      </a:lnTo>
                      <a:lnTo>
                        <a:pt x="37" y="464"/>
                      </a:lnTo>
                      <a:lnTo>
                        <a:pt x="37" y="463"/>
                      </a:lnTo>
                      <a:lnTo>
                        <a:pt x="35" y="463"/>
                      </a:lnTo>
                      <a:lnTo>
                        <a:pt x="33" y="463"/>
                      </a:lnTo>
                      <a:lnTo>
                        <a:pt x="32" y="464"/>
                      </a:lnTo>
                      <a:lnTo>
                        <a:pt x="30" y="464"/>
                      </a:lnTo>
                      <a:lnTo>
                        <a:pt x="30" y="463"/>
                      </a:lnTo>
                      <a:lnTo>
                        <a:pt x="32" y="463"/>
                      </a:lnTo>
                      <a:lnTo>
                        <a:pt x="32" y="461"/>
                      </a:lnTo>
                      <a:lnTo>
                        <a:pt x="30" y="461"/>
                      </a:lnTo>
                      <a:lnTo>
                        <a:pt x="30" y="459"/>
                      </a:lnTo>
                      <a:lnTo>
                        <a:pt x="28" y="459"/>
                      </a:lnTo>
                      <a:lnTo>
                        <a:pt x="27" y="459"/>
                      </a:lnTo>
                      <a:lnTo>
                        <a:pt x="25" y="459"/>
                      </a:lnTo>
                      <a:lnTo>
                        <a:pt x="23" y="459"/>
                      </a:lnTo>
                      <a:lnTo>
                        <a:pt x="23" y="458"/>
                      </a:lnTo>
                      <a:lnTo>
                        <a:pt x="23" y="456"/>
                      </a:lnTo>
                      <a:lnTo>
                        <a:pt x="22" y="456"/>
                      </a:lnTo>
                      <a:lnTo>
                        <a:pt x="22" y="454"/>
                      </a:lnTo>
                      <a:lnTo>
                        <a:pt x="22" y="453"/>
                      </a:lnTo>
                      <a:lnTo>
                        <a:pt x="23" y="453"/>
                      </a:lnTo>
                      <a:lnTo>
                        <a:pt x="23" y="451"/>
                      </a:lnTo>
                      <a:lnTo>
                        <a:pt x="22" y="451"/>
                      </a:lnTo>
                      <a:lnTo>
                        <a:pt x="20" y="451"/>
                      </a:lnTo>
                      <a:lnTo>
                        <a:pt x="18" y="453"/>
                      </a:lnTo>
                      <a:lnTo>
                        <a:pt x="17" y="451"/>
                      </a:lnTo>
                      <a:lnTo>
                        <a:pt x="17" y="453"/>
                      </a:lnTo>
                      <a:lnTo>
                        <a:pt x="17" y="451"/>
                      </a:lnTo>
                      <a:lnTo>
                        <a:pt x="17" y="453"/>
                      </a:lnTo>
                      <a:lnTo>
                        <a:pt x="15" y="451"/>
                      </a:lnTo>
                      <a:lnTo>
                        <a:pt x="15" y="453"/>
                      </a:lnTo>
                      <a:lnTo>
                        <a:pt x="13" y="451"/>
                      </a:lnTo>
                      <a:lnTo>
                        <a:pt x="11" y="451"/>
                      </a:lnTo>
                      <a:lnTo>
                        <a:pt x="11" y="453"/>
                      </a:lnTo>
                      <a:lnTo>
                        <a:pt x="10" y="453"/>
                      </a:lnTo>
                      <a:lnTo>
                        <a:pt x="8" y="453"/>
                      </a:lnTo>
                      <a:lnTo>
                        <a:pt x="8" y="454"/>
                      </a:lnTo>
                      <a:lnTo>
                        <a:pt x="6" y="454"/>
                      </a:lnTo>
                      <a:lnTo>
                        <a:pt x="5" y="454"/>
                      </a:lnTo>
                      <a:lnTo>
                        <a:pt x="5" y="453"/>
                      </a:lnTo>
                      <a:lnTo>
                        <a:pt x="3" y="453"/>
                      </a:lnTo>
                      <a:lnTo>
                        <a:pt x="3" y="454"/>
                      </a:lnTo>
                      <a:lnTo>
                        <a:pt x="1" y="454"/>
                      </a:lnTo>
                      <a:lnTo>
                        <a:pt x="1" y="453"/>
                      </a:lnTo>
                      <a:lnTo>
                        <a:pt x="0" y="453"/>
                      </a:lnTo>
                      <a:lnTo>
                        <a:pt x="0" y="451"/>
                      </a:lnTo>
                      <a:lnTo>
                        <a:pt x="1" y="451"/>
                      </a:lnTo>
                      <a:lnTo>
                        <a:pt x="3" y="451"/>
                      </a:lnTo>
                      <a:lnTo>
                        <a:pt x="5" y="450"/>
                      </a:lnTo>
                      <a:lnTo>
                        <a:pt x="6" y="448"/>
                      </a:lnTo>
                      <a:lnTo>
                        <a:pt x="8" y="448"/>
                      </a:lnTo>
                      <a:lnTo>
                        <a:pt x="10" y="448"/>
                      </a:lnTo>
                      <a:lnTo>
                        <a:pt x="11" y="448"/>
                      </a:lnTo>
                      <a:lnTo>
                        <a:pt x="11" y="446"/>
                      </a:lnTo>
                      <a:lnTo>
                        <a:pt x="13" y="446"/>
                      </a:lnTo>
                      <a:lnTo>
                        <a:pt x="13" y="445"/>
                      </a:lnTo>
                      <a:lnTo>
                        <a:pt x="15" y="445"/>
                      </a:lnTo>
                      <a:lnTo>
                        <a:pt x="13" y="443"/>
                      </a:lnTo>
                      <a:lnTo>
                        <a:pt x="13" y="441"/>
                      </a:lnTo>
                      <a:lnTo>
                        <a:pt x="15" y="441"/>
                      </a:lnTo>
                      <a:lnTo>
                        <a:pt x="17" y="441"/>
                      </a:lnTo>
                      <a:lnTo>
                        <a:pt x="18" y="441"/>
                      </a:lnTo>
                      <a:lnTo>
                        <a:pt x="18" y="440"/>
                      </a:lnTo>
                      <a:lnTo>
                        <a:pt x="18" y="438"/>
                      </a:lnTo>
                      <a:lnTo>
                        <a:pt x="20" y="438"/>
                      </a:lnTo>
                      <a:lnTo>
                        <a:pt x="20" y="436"/>
                      </a:lnTo>
                      <a:lnTo>
                        <a:pt x="22" y="436"/>
                      </a:lnTo>
                      <a:lnTo>
                        <a:pt x="23" y="436"/>
                      </a:lnTo>
                      <a:lnTo>
                        <a:pt x="23" y="435"/>
                      </a:lnTo>
                      <a:lnTo>
                        <a:pt x="25" y="435"/>
                      </a:lnTo>
                      <a:lnTo>
                        <a:pt x="25" y="433"/>
                      </a:lnTo>
                      <a:lnTo>
                        <a:pt x="27" y="431"/>
                      </a:lnTo>
                      <a:lnTo>
                        <a:pt x="27" y="430"/>
                      </a:lnTo>
                      <a:lnTo>
                        <a:pt x="28" y="430"/>
                      </a:lnTo>
                      <a:lnTo>
                        <a:pt x="28" y="431"/>
                      </a:lnTo>
                      <a:lnTo>
                        <a:pt x="28" y="430"/>
                      </a:lnTo>
                      <a:lnTo>
                        <a:pt x="28" y="428"/>
                      </a:lnTo>
                      <a:lnTo>
                        <a:pt x="30" y="428"/>
                      </a:lnTo>
                      <a:lnTo>
                        <a:pt x="30" y="427"/>
                      </a:lnTo>
                      <a:lnTo>
                        <a:pt x="32" y="427"/>
                      </a:lnTo>
                      <a:lnTo>
                        <a:pt x="32" y="425"/>
                      </a:lnTo>
                      <a:lnTo>
                        <a:pt x="33" y="425"/>
                      </a:lnTo>
                      <a:lnTo>
                        <a:pt x="33" y="423"/>
                      </a:lnTo>
                      <a:lnTo>
                        <a:pt x="35" y="423"/>
                      </a:lnTo>
                      <a:lnTo>
                        <a:pt x="37" y="425"/>
                      </a:lnTo>
                      <a:lnTo>
                        <a:pt x="39" y="427"/>
                      </a:lnTo>
                      <a:lnTo>
                        <a:pt x="40" y="427"/>
                      </a:lnTo>
                      <a:lnTo>
                        <a:pt x="40" y="428"/>
                      </a:lnTo>
                      <a:lnTo>
                        <a:pt x="42" y="427"/>
                      </a:lnTo>
                      <a:lnTo>
                        <a:pt x="44" y="425"/>
                      </a:lnTo>
                      <a:lnTo>
                        <a:pt x="42" y="423"/>
                      </a:lnTo>
                      <a:lnTo>
                        <a:pt x="44" y="423"/>
                      </a:lnTo>
                      <a:lnTo>
                        <a:pt x="44" y="422"/>
                      </a:lnTo>
                      <a:lnTo>
                        <a:pt x="44" y="420"/>
                      </a:lnTo>
                      <a:lnTo>
                        <a:pt x="45" y="420"/>
                      </a:lnTo>
                      <a:lnTo>
                        <a:pt x="47" y="420"/>
                      </a:lnTo>
                      <a:lnTo>
                        <a:pt x="47" y="422"/>
                      </a:lnTo>
                      <a:lnTo>
                        <a:pt x="49" y="422"/>
                      </a:lnTo>
                      <a:lnTo>
                        <a:pt x="50" y="422"/>
                      </a:lnTo>
                      <a:lnTo>
                        <a:pt x="50" y="420"/>
                      </a:lnTo>
                      <a:lnTo>
                        <a:pt x="50" y="418"/>
                      </a:lnTo>
                      <a:lnTo>
                        <a:pt x="50" y="417"/>
                      </a:lnTo>
                      <a:lnTo>
                        <a:pt x="52" y="417"/>
                      </a:lnTo>
                      <a:lnTo>
                        <a:pt x="54" y="417"/>
                      </a:lnTo>
                      <a:lnTo>
                        <a:pt x="54" y="415"/>
                      </a:lnTo>
                      <a:lnTo>
                        <a:pt x="54" y="413"/>
                      </a:lnTo>
                      <a:lnTo>
                        <a:pt x="55" y="413"/>
                      </a:lnTo>
                      <a:lnTo>
                        <a:pt x="54" y="412"/>
                      </a:lnTo>
                      <a:lnTo>
                        <a:pt x="54" y="410"/>
                      </a:lnTo>
                      <a:lnTo>
                        <a:pt x="55" y="410"/>
                      </a:lnTo>
                      <a:lnTo>
                        <a:pt x="55" y="408"/>
                      </a:lnTo>
                      <a:lnTo>
                        <a:pt x="57" y="408"/>
                      </a:lnTo>
                      <a:lnTo>
                        <a:pt x="59" y="408"/>
                      </a:lnTo>
                      <a:lnTo>
                        <a:pt x="59" y="407"/>
                      </a:lnTo>
                      <a:lnTo>
                        <a:pt x="60" y="407"/>
                      </a:lnTo>
                      <a:lnTo>
                        <a:pt x="62" y="407"/>
                      </a:lnTo>
                      <a:lnTo>
                        <a:pt x="62" y="405"/>
                      </a:lnTo>
                      <a:lnTo>
                        <a:pt x="64" y="404"/>
                      </a:lnTo>
                      <a:lnTo>
                        <a:pt x="66" y="404"/>
                      </a:lnTo>
                      <a:lnTo>
                        <a:pt x="66" y="402"/>
                      </a:lnTo>
                      <a:lnTo>
                        <a:pt x="66" y="400"/>
                      </a:lnTo>
                      <a:lnTo>
                        <a:pt x="67" y="402"/>
                      </a:lnTo>
                      <a:lnTo>
                        <a:pt x="67" y="400"/>
                      </a:lnTo>
                      <a:lnTo>
                        <a:pt x="67" y="402"/>
                      </a:lnTo>
                      <a:lnTo>
                        <a:pt x="67" y="400"/>
                      </a:lnTo>
                      <a:lnTo>
                        <a:pt x="69" y="400"/>
                      </a:lnTo>
                      <a:lnTo>
                        <a:pt x="71" y="400"/>
                      </a:lnTo>
                      <a:lnTo>
                        <a:pt x="72" y="400"/>
                      </a:lnTo>
                      <a:lnTo>
                        <a:pt x="72" y="399"/>
                      </a:lnTo>
                      <a:lnTo>
                        <a:pt x="72" y="397"/>
                      </a:lnTo>
                      <a:lnTo>
                        <a:pt x="71" y="397"/>
                      </a:lnTo>
                      <a:lnTo>
                        <a:pt x="71" y="395"/>
                      </a:lnTo>
                      <a:lnTo>
                        <a:pt x="72" y="395"/>
                      </a:lnTo>
                      <a:lnTo>
                        <a:pt x="72" y="394"/>
                      </a:lnTo>
                      <a:lnTo>
                        <a:pt x="74" y="390"/>
                      </a:lnTo>
                      <a:lnTo>
                        <a:pt x="76" y="387"/>
                      </a:lnTo>
                      <a:lnTo>
                        <a:pt x="77" y="384"/>
                      </a:lnTo>
                      <a:lnTo>
                        <a:pt x="77" y="382"/>
                      </a:lnTo>
                      <a:lnTo>
                        <a:pt x="77" y="381"/>
                      </a:lnTo>
                      <a:lnTo>
                        <a:pt x="77" y="379"/>
                      </a:lnTo>
                      <a:lnTo>
                        <a:pt x="77" y="377"/>
                      </a:lnTo>
                      <a:lnTo>
                        <a:pt x="76" y="377"/>
                      </a:lnTo>
                      <a:lnTo>
                        <a:pt x="76" y="376"/>
                      </a:lnTo>
                      <a:lnTo>
                        <a:pt x="74" y="376"/>
                      </a:lnTo>
                      <a:lnTo>
                        <a:pt x="76" y="376"/>
                      </a:lnTo>
                      <a:lnTo>
                        <a:pt x="76" y="374"/>
                      </a:lnTo>
                      <a:lnTo>
                        <a:pt x="77" y="374"/>
                      </a:lnTo>
                      <a:lnTo>
                        <a:pt x="77" y="372"/>
                      </a:lnTo>
                      <a:lnTo>
                        <a:pt x="79" y="372"/>
                      </a:lnTo>
                      <a:lnTo>
                        <a:pt x="79" y="371"/>
                      </a:lnTo>
                      <a:lnTo>
                        <a:pt x="79" y="367"/>
                      </a:lnTo>
                      <a:lnTo>
                        <a:pt x="77" y="367"/>
                      </a:lnTo>
                      <a:lnTo>
                        <a:pt x="76" y="366"/>
                      </a:lnTo>
                      <a:lnTo>
                        <a:pt x="74" y="366"/>
                      </a:lnTo>
                      <a:lnTo>
                        <a:pt x="72" y="366"/>
                      </a:lnTo>
                      <a:lnTo>
                        <a:pt x="71" y="366"/>
                      </a:lnTo>
                      <a:lnTo>
                        <a:pt x="69" y="366"/>
                      </a:lnTo>
                      <a:lnTo>
                        <a:pt x="67" y="366"/>
                      </a:lnTo>
                      <a:lnTo>
                        <a:pt x="66" y="366"/>
                      </a:lnTo>
                      <a:lnTo>
                        <a:pt x="66" y="364"/>
                      </a:lnTo>
                      <a:lnTo>
                        <a:pt x="64" y="364"/>
                      </a:lnTo>
                      <a:lnTo>
                        <a:pt x="64" y="363"/>
                      </a:lnTo>
                      <a:lnTo>
                        <a:pt x="64" y="361"/>
                      </a:lnTo>
                      <a:lnTo>
                        <a:pt x="66" y="359"/>
                      </a:lnTo>
                      <a:lnTo>
                        <a:pt x="67" y="356"/>
                      </a:lnTo>
                      <a:lnTo>
                        <a:pt x="67" y="354"/>
                      </a:lnTo>
                      <a:lnTo>
                        <a:pt x="67" y="353"/>
                      </a:lnTo>
                      <a:lnTo>
                        <a:pt x="67" y="351"/>
                      </a:lnTo>
                      <a:lnTo>
                        <a:pt x="67" y="349"/>
                      </a:lnTo>
                      <a:lnTo>
                        <a:pt x="64" y="346"/>
                      </a:lnTo>
                      <a:lnTo>
                        <a:pt x="62" y="344"/>
                      </a:lnTo>
                      <a:lnTo>
                        <a:pt x="62" y="343"/>
                      </a:lnTo>
                      <a:lnTo>
                        <a:pt x="60" y="341"/>
                      </a:lnTo>
                      <a:lnTo>
                        <a:pt x="60" y="340"/>
                      </a:lnTo>
                      <a:lnTo>
                        <a:pt x="60" y="338"/>
                      </a:lnTo>
                      <a:lnTo>
                        <a:pt x="62" y="336"/>
                      </a:lnTo>
                      <a:lnTo>
                        <a:pt x="66" y="336"/>
                      </a:lnTo>
                      <a:lnTo>
                        <a:pt x="67" y="335"/>
                      </a:lnTo>
                      <a:lnTo>
                        <a:pt x="67" y="333"/>
                      </a:lnTo>
                      <a:lnTo>
                        <a:pt x="69" y="333"/>
                      </a:lnTo>
                      <a:lnTo>
                        <a:pt x="71" y="333"/>
                      </a:lnTo>
                      <a:lnTo>
                        <a:pt x="72" y="331"/>
                      </a:lnTo>
                      <a:lnTo>
                        <a:pt x="74" y="331"/>
                      </a:lnTo>
                      <a:lnTo>
                        <a:pt x="76" y="330"/>
                      </a:lnTo>
                      <a:lnTo>
                        <a:pt x="77" y="326"/>
                      </a:lnTo>
                      <a:lnTo>
                        <a:pt x="77" y="325"/>
                      </a:lnTo>
                      <a:lnTo>
                        <a:pt x="79" y="325"/>
                      </a:lnTo>
                      <a:lnTo>
                        <a:pt x="79" y="323"/>
                      </a:lnTo>
                      <a:lnTo>
                        <a:pt x="81" y="325"/>
                      </a:lnTo>
                      <a:lnTo>
                        <a:pt x="82" y="325"/>
                      </a:lnTo>
                      <a:lnTo>
                        <a:pt x="84" y="325"/>
                      </a:lnTo>
                      <a:lnTo>
                        <a:pt x="86" y="326"/>
                      </a:lnTo>
                      <a:lnTo>
                        <a:pt x="87" y="326"/>
                      </a:lnTo>
                      <a:lnTo>
                        <a:pt x="89" y="326"/>
                      </a:lnTo>
                      <a:lnTo>
                        <a:pt x="89" y="328"/>
                      </a:lnTo>
                      <a:lnTo>
                        <a:pt x="91" y="328"/>
                      </a:lnTo>
                      <a:lnTo>
                        <a:pt x="93" y="328"/>
                      </a:lnTo>
                      <a:lnTo>
                        <a:pt x="94" y="328"/>
                      </a:lnTo>
                      <a:lnTo>
                        <a:pt x="94" y="326"/>
                      </a:lnTo>
                      <a:lnTo>
                        <a:pt x="96" y="325"/>
                      </a:lnTo>
                      <a:lnTo>
                        <a:pt x="98" y="323"/>
                      </a:lnTo>
                      <a:lnTo>
                        <a:pt x="99" y="323"/>
                      </a:lnTo>
                      <a:lnTo>
                        <a:pt x="99" y="321"/>
                      </a:lnTo>
                      <a:lnTo>
                        <a:pt x="101" y="321"/>
                      </a:lnTo>
                      <a:lnTo>
                        <a:pt x="104" y="323"/>
                      </a:lnTo>
                      <a:lnTo>
                        <a:pt x="106" y="323"/>
                      </a:lnTo>
                      <a:lnTo>
                        <a:pt x="106" y="325"/>
                      </a:lnTo>
                      <a:lnTo>
                        <a:pt x="108" y="325"/>
                      </a:lnTo>
                      <a:lnTo>
                        <a:pt x="108" y="326"/>
                      </a:lnTo>
                      <a:lnTo>
                        <a:pt x="109" y="326"/>
                      </a:lnTo>
                      <a:lnTo>
                        <a:pt x="109" y="328"/>
                      </a:lnTo>
                      <a:lnTo>
                        <a:pt x="111" y="330"/>
                      </a:lnTo>
                      <a:lnTo>
                        <a:pt x="113" y="330"/>
                      </a:lnTo>
                      <a:lnTo>
                        <a:pt x="115" y="328"/>
                      </a:lnTo>
                      <a:lnTo>
                        <a:pt x="116" y="328"/>
                      </a:lnTo>
                      <a:lnTo>
                        <a:pt x="118" y="328"/>
                      </a:lnTo>
                      <a:lnTo>
                        <a:pt x="120" y="328"/>
                      </a:lnTo>
                      <a:lnTo>
                        <a:pt x="121" y="326"/>
                      </a:lnTo>
                      <a:lnTo>
                        <a:pt x="123" y="326"/>
                      </a:lnTo>
                      <a:lnTo>
                        <a:pt x="125" y="328"/>
                      </a:lnTo>
                      <a:lnTo>
                        <a:pt x="126" y="328"/>
                      </a:lnTo>
                      <a:lnTo>
                        <a:pt x="128" y="328"/>
                      </a:lnTo>
                      <a:lnTo>
                        <a:pt x="128" y="330"/>
                      </a:lnTo>
                      <a:lnTo>
                        <a:pt x="128" y="328"/>
                      </a:lnTo>
                      <a:lnTo>
                        <a:pt x="130" y="326"/>
                      </a:lnTo>
                      <a:lnTo>
                        <a:pt x="131" y="326"/>
                      </a:lnTo>
                      <a:lnTo>
                        <a:pt x="133" y="326"/>
                      </a:lnTo>
                      <a:lnTo>
                        <a:pt x="135" y="326"/>
                      </a:lnTo>
                      <a:lnTo>
                        <a:pt x="136" y="326"/>
                      </a:lnTo>
                      <a:lnTo>
                        <a:pt x="136" y="325"/>
                      </a:lnTo>
                      <a:lnTo>
                        <a:pt x="138" y="326"/>
                      </a:lnTo>
                      <a:lnTo>
                        <a:pt x="140" y="326"/>
                      </a:lnTo>
                      <a:lnTo>
                        <a:pt x="140" y="325"/>
                      </a:lnTo>
                      <a:lnTo>
                        <a:pt x="142" y="325"/>
                      </a:lnTo>
                      <a:lnTo>
                        <a:pt x="143" y="325"/>
                      </a:lnTo>
                      <a:lnTo>
                        <a:pt x="145" y="325"/>
                      </a:lnTo>
                      <a:lnTo>
                        <a:pt x="147" y="325"/>
                      </a:lnTo>
                      <a:lnTo>
                        <a:pt x="148" y="325"/>
                      </a:lnTo>
                      <a:lnTo>
                        <a:pt x="150" y="325"/>
                      </a:lnTo>
                      <a:lnTo>
                        <a:pt x="152" y="325"/>
                      </a:lnTo>
                      <a:lnTo>
                        <a:pt x="152" y="323"/>
                      </a:lnTo>
                      <a:lnTo>
                        <a:pt x="153" y="323"/>
                      </a:lnTo>
                      <a:lnTo>
                        <a:pt x="155" y="323"/>
                      </a:lnTo>
                      <a:lnTo>
                        <a:pt x="157" y="323"/>
                      </a:lnTo>
                      <a:lnTo>
                        <a:pt x="158" y="323"/>
                      </a:lnTo>
                      <a:lnTo>
                        <a:pt x="160" y="323"/>
                      </a:lnTo>
                      <a:lnTo>
                        <a:pt x="162" y="323"/>
                      </a:lnTo>
                      <a:lnTo>
                        <a:pt x="162" y="325"/>
                      </a:lnTo>
                      <a:lnTo>
                        <a:pt x="163" y="325"/>
                      </a:lnTo>
                      <a:lnTo>
                        <a:pt x="165" y="325"/>
                      </a:lnTo>
                      <a:lnTo>
                        <a:pt x="165" y="326"/>
                      </a:lnTo>
                      <a:lnTo>
                        <a:pt x="167" y="326"/>
                      </a:lnTo>
                      <a:lnTo>
                        <a:pt x="167" y="328"/>
                      </a:lnTo>
                      <a:lnTo>
                        <a:pt x="169" y="330"/>
                      </a:lnTo>
                      <a:lnTo>
                        <a:pt x="170" y="330"/>
                      </a:lnTo>
                      <a:lnTo>
                        <a:pt x="172" y="330"/>
                      </a:lnTo>
                      <a:lnTo>
                        <a:pt x="172" y="331"/>
                      </a:lnTo>
                      <a:lnTo>
                        <a:pt x="174" y="331"/>
                      </a:lnTo>
                      <a:lnTo>
                        <a:pt x="174" y="333"/>
                      </a:lnTo>
                      <a:lnTo>
                        <a:pt x="175" y="333"/>
                      </a:lnTo>
                      <a:lnTo>
                        <a:pt x="177" y="335"/>
                      </a:lnTo>
                      <a:lnTo>
                        <a:pt x="177" y="336"/>
                      </a:lnTo>
                      <a:lnTo>
                        <a:pt x="180" y="336"/>
                      </a:lnTo>
                      <a:lnTo>
                        <a:pt x="182" y="336"/>
                      </a:lnTo>
                      <a:lnTo>
                        <a:pt x="182" y="338"/>
                      </a:lnTo>
                      <a:lnTo>
                        <a:pt x="184" y="338"/>
                      </a:lnTo>
                      <a:lnTo>
                        <a:pt x="185" y="338"/>
                      </a:lnTo>
                      <a:lnTo>
                        <a:pt x="187" y="340"/>
                      </a:lnTo>
                      <a:lnTo>
                        <a:pt x="189" y="340"/>
                      </a:lnTo>
                      <a:lnTo>
                        <a:pt x="189" y="341"/>
                      </a:lnTo>
                      <a:lnTo>
                        <a:pt x="191" y="341"/>
                      </a:lnTo>
                      <a:lnTo>
                        <a:pt x="191" y="343"/>
                      </a:lnTo>
                      <a:lnTo>
                        <a:pt x="192" y="343"/>
                      </a:lnTo>
                      <a:lnTo>
                        <a:pt x="192" y="344"/>
                      </a:lnTo>
                      <a:lnTo>
                        <a:pt x="194" y="344"/>
                      </a:lnTo>
                      <a:lnTo>
                        <a:pt x="194" y="346"/>
                      </a:lnTo>
                      <a:lnTo>
                        <a:pt x="194" y="348"/>
                      </a:lnTo>
                      <a:lnTo>
                        <a:pt x="196" y="349"/>
                      </a:lnTo>
                      <a:lnTo>
                        <a:pt x="197" y="351"/>
                      </a:lnTo>
                      <a:lnTo>
                        <a:pt x="196" y="349"/>
                      </a:lnTo>
                      <a:lnTo>
                        <a:pt x="196" y="351"/>
                      </a:lnTo>
                      <a:lnTo>
                        <a:pt x="194" y="353"/>
                      </a:lnTo>
                      <a:lnTo>
                        <a:pt x="194" y="354"/>
                      </a:lnTo>
                      <a:lnTo>
                        <a:pt x="194" y="356"/>
                      </a:lnTo>
                      <a:lnTo>
                        <a:pt x="196" y="356"/>
                      </a:lnTo>
                      <a:lnTo>
                        <a:pt x="197" y="356"/>
                      </a:lnTo>
                      <a:lnTo>
                        <a:pt x="199" y="358"/>
                      </a:lnTo>
                      <a:lnTo>
                        <a:pt x="201" y="358"/>
                      </a:lnTo>
                      <a:lnTo>
                        <a:pt x="201" y="359"/>
                      </a:lnTo>
                      <a:lnTo>
                        <a:pt x="202" y="359"/>
                      </a:lnTo>
                      <a:lnTo>
                        <a:pt x="202" y="358"/>
                      </a:lnTo>
                      <a:lnTo>
                        <a:pt x="204" y="358"/>
                      </a:lnTo>
                      <a:lnTo>
                        <a:pt x="204" y="359"/>
                      </a:lnTo>
                      <a:lnTo>
                        <a:pt x="206" y="359"/>
                      </a:lnTo>
                      <a:lnTo>
                        <a:pt x="207" y="361"/>
                      </a:lnTo>
                      <a:lnTo>
                        <a:pt x="209" y="361"/>
                      </a:lnTo>
                      <a:lnTo>
                        <a:pt x="211" y="361"/>
                      </a:lnTo>
                      <a:lnTo>
                        <a:pt x="211" y="363"/>
                      </a:lnTo>
                      <a:lnTo>
                        <a:pt x="212" y="364"/>
                      </a:lnTo>
                      <a:lnTo>
                        <a:pt x="214" y="366"/>
                      </a:lnTo>
                      <a:lnTo>
                        <a:pt x="214" y="367"/>
                      </a:lnTo>
                      <a:lnTo>
                        <a:pt x="214" y="369"/>
                      </a:lnTo>
                      <a:lnTo>
                        <a:pt x="214" y="371"/>
                      </a:lnTo>
                      <a:lnTo>
                        <a:pt x="214" y="372"/>
                      </a:lnTo>
                      <a:lnTo>
                        <a:pt x="214" y="374"/>
                      </a:lnTo>
                      <a:lnTo>
                        <a:pt x="216" y="372"/>
                      </a:lnTo>
                      <a:lnTo>
                        <a:pt x="218" y="372"/>
                      </a:lnTo>
                      <a:lnTo>
                        <a:pt x="218" y="371"/>
                      </a:lnTo>
                      <a:lnTo>
                        <a:pt x="219" y="371"/>
                      </a:lnTo>
                      <a:lnTo>
                        <a:pt x="221" y="371"/>
                      </a:lnTo>
                      <a:lnTo>
                        <a:pt x="221" y="369"/>
                      </a:lnTo>
                      <a:lnTo>
                        <a:pt x="223" y="369"/>
                      </a:lnTo>
                      <a:lnTo>
                        <a:pt x="223" y="371"/>
                      </a:lnTo>
                      <a:lnTo>
                        <a:pt x="223" y="372"/>
                      </a:lnTo>
                      <a:lnTo>
                        <a:pt x="224" y="372"/>
                      </a:lnTo>
                      <a:lnTo>
                        <a:pt x="226" y="372"/>
                      </a:lnTo>
                      <a:lnTo>
                        <a:pt x="228" y="372"/>
                      </a:lnTo>
                      <a:lnTo>
                        <a:pt x="226" y="371"/>
                      </a:lnTo>
                      <a:lnTo>
                        <a:pt x="228" y="371"/>
                      </a:lnTo>
                      <a:lnTo>
                        <a:pt x="228" y="369"/>
                      </a:lnTo>
                      <a:lnTo>
                        <a:pt x="229" y="367"/>
                      </a:lnTo>
                      <a:lnTo>
                        <a:pt x="228" y="367"/>
                      </a:lnTo>
                      <a:lnTo>
                        <a:pt x="228" y="366"/>
                      </a:lnTo>
                      <a:lnTo>
                        <a:pt x="229" y="366"/>
                      </a:lnTo>
                      <a:lnTo>
                        <a:pt x="229" y="364"/>
                      </a:lnTo>
                      <a:lnTo>
                        <a:pt x="231" y="364"/>
                      </a:lnTo>
                      <a:lnTo>
                        <a:pt x="231" y="363"/>
                      </a:lnTo>
                      <a:lnTo>
                        <a:pt x="233" y="363"/>
                      </a:lnTo>
                      <a:lnTo>
                        <a:pt x="233" y="364"/>
                      </a:lnTo>
                      <a:lnTo>
                        <a:pt x="234" y="364"/>
                      </a:lnTo>
                      <a:lnTo>
                        <a:pt x="234" y="363"/>
                      </a:lnTo>
                      <a:lnTo>
                        <a:pt x="234" y="361"/>
                      </a:lnTo>
                      <a:lnTo>
                        <a:pt x="236" y="361"/>
                      </a:lnTo>
                      <a:lnTo>
                        <a:pt x="236" y="359"/>
                      </a:lnTo>
                      <a:lnTo>
                        <a:pt x="236" y="361"/>
                      </a:lnTo>
                      <a:lnTo>
                        <a:pt x="238" y="361"/>
                      </a:lnTo>
                      <a:lnTo>
                        <a:pt x="239" y="361"/>
                      </a:lnTo>
                      <a:lnTo>
                        <a:pt x="241" y="359"/>
                      </a:lnTo>
                      <a:lnTo>
                        <a:pt x="241" y="358"/>
                      </a:lnTo>
                      <a:lnTo>
                        <a:pt x="239" y="358"/>
                      </a:lnTo>
                      <a:lnTo>
                        <a:pt x="239" y="356"/>
                      </a:lnTo>
                      <a:lnTo>
                        <a:pt x="241" y="356"/>
                      </a:lnTo>
                      <a:lnTo>
                        <a:pt x="243" y="356"/>
                      </a:lnTo>
                      <a:lnTo>
                        <a:pt x="245" y="356"/>
                      </a:lnTo>
                      <a:lnTo>
                        <a:pt x="246" y="354"/>
                      </a:lnTo>
                      <a:lnTo>
                        <a:pt x="246" y="356"/>
                      </a:lnTo>
                      <a:lnTo>
                        <a:pt x="248" y="356"/>
                      </a:lnTo>
                      <a:lnTo>
                        <a:pt x="248" y="354"/>
                      </a:lnTo>
                      <a:lnTo>
                        <a:pt x="248" y="353"/>
                      </a:lnTo>
                      <a:lnTo>
                        <a:pt x="250" y="353"/>
                      </a:lnTo>
                      <a:lnTo>
                        <a:pt x="250" y="351"/>
                      </a:lnTo>
                      <a:lnTo>
                        <a:pt x="250" y="353"/>
                      </a:lnTo>
                      <a:lnTo>
                        <a:pt x="251" y="351"/>
                      </a:lnTo>
                      <a:lnTo>
                        <a:pt x="251" y="353"/>
                      </a:lnTo>
                      <a:lnTo>
                        <a:pt x="253" y="353"/>
                      </a:lnTo>
                      <a:lnTo>
                        <a:pt x="253" y="354"/>
                      </a:lnTo>
                      <a:lnTo>
                        <a:pt x="255" y="354"/>
                      </a:lnTo>
                      <a:lnTo>
                        <a:pt x="255" y="356"/>
                      </a:lnTo>
                      <a:lnTo>
                        <a:pt x="255" y="354"/>
                      </a:lnTo>
                      <a:lnTo>
                        <a:pt x="256" y="356"/>
                      </a:lnTo>
                      <a:lnTo>
                        <a:pt x="256" y="358"/>
                      </a:lnTo>
                      <a:lnTo>
                        <a:pt x="258" y="359"/>
                      </a:lnTo>
                      <a:lnTo>
                        <a:pt x="260" y="359"/>
                      </a:lnTo>
                      <a:lnTo>
                        <a:pt x="260" y="361"/>
                      </a:lnTo>
                      <a:lnTo>
                        <a:pt x="260" y="363"/>
                      </a:lnTo>
                      <a:lnTo>
                        <a:pt x="261" y="363"/>
                      </a:lnTo>
                      <a:lnTo>
                        <a:pt x="261" y="364"/>
                      </a:lnTo>
                      <a:lnTo>
                        <a:pt x="263" y="364"/>
                      </a:lnTo>
                      <a:lnTo>
                        <a:pt x="263" y="363"/>
                      </a:lnTo>
                      <a:lnTo>
                        <a:pt x="263" y="364"/>
                      </a:lnTo>
                      <a:lnTo>
                        <a:pt x="265" y="364"/>
                      </a:lnTo>
                      <a:lnTo>
                        <a:pt x="267" y="364"/>
                      </a:lnTo>
                      <a:lnTo>
                        <a:pt x="268" y="363"/>
                      </a:lnTo>
                      <a:lnTo>
                        <a:pt x="268" y="364"/>
                      </a:lnTo>
                      <a:lnTo>
                        <a:pt x="267" y="364"/>
                      </a:lnTo>
                      <a:lnTo>
                        <a:pt x="268" y="364"/>
                      </a:lnTo>
                      <a:lnTo>
                        <a:pt x="270" y="364"/>
                      </a:lnTo>
                      <a:lnTo>
                        <a:pt x="272" y="364"/>
                      </a:lnTo>
                      <a:lnTo>
                        <a:pt x="272" y="363"/>
                      </a:lnTo>
                      <a:lnTo>
                        <a:pt x="273" y="363"/>
                      </a:lnTo>
                      <a:lnTo>
                        <a:pt x="275" y="363"/>
                      </a:lnTo>
                      <a:lnTo>
                        <a:pt x="277" y="363"/>
                      </a:lnTo>
                      <a:lnTo>
                        <a:pt x="277" y="361"/>
                      </a:lnTo>
                      <a:lnTo>
                        <a:pt x="278" y="363"/>
                      </a:lnTo>
                      <a:lnTo>
                        <a:pt x="280" y="363"/>
                      </a:lnTo>
                      <a:lnTo>
                        <a:pt x="280" y="361"/>
                      </a:lnTo>
                      <a:lnTo>
                        <a:pt x="282" y="361"/>
                      </a:lnTo>
                      <a:lnTo>
                        <a:pt x="283" y="361"/>
                      </a:lnTo>
                      <a:lnTo>
                        <a:pt x="285" y="361"/>
                      </a:lnTo>
                      <a:lnTo>
                        <a:pt x="285" y="363"/>
                      </a:lnTo>
                      <a:lnTo>
                        <a:pt x="287" y="363"/>
                      </a:lnTo>
                      <a:lnTo>
                        <a:pt x="288" y="363"/>
                      </a:lnTo>
                      <a:lnTo>
                        <a:pt x="290" y="363"/>
                      </a:lnTo>
                      <a:lnTo>
                        <a:pt x="288" y="364"/>
                      </a:lnTo>
                      <a:lnTo>
                        <a:pt x="288" y="366"/>
                      </a:lnTo>
                      <a:lnTo>
                        <a:pt x="287" y="367"/>
                      </a:lnTo>
                      <a:lnTo>
                        <a:pt x="288" y="367"/>
                      </a:lnTo>
                      <a:lnTo>
                        <a:pt x="290" y="367"/>
                      </a:lnTo>
                      <a:lnTo>
                        <a:pt x="292" y="369"/>
                      </a:lnTo>
                      <a:lnTo>
                        <a:pt x="297" y="371"/>
                      </a:lnTo>
                      <a:lnTo>
                        <a:pt x="297" y="369"/>
                      </a:lnTo>
                      <a:lnTo>
                        <a:pt x="299" y="369"/>
                      </a:lnTo>
                      <a:lnTo>
                        <a:pt x="300" y="371"/>
                      </a:lnTo>
                      <a:lnTo>
                        <a:pt x="300" y="369"/>
                      </a:lnTo>
                      <a:lnTo>
                        <a:pt x="300" y="367"/>
                      </a:lnTo>
                      <a:lnTo>
                        <a:pt x="302" y="367"/>
                      </a:lnTo>
                      <a:lnTo>
                        <a:pt x="305" y="369"/>
                      </a:lnTo>
                      <a:lnTo>
                        <a:pt x="307" y="369"/>
                      </a:lnTo>
                      <a:lnTo>
                        <a:pt x="307" y="371"/>
                      </a:lnTo>
                      <a:lnTo>
                        <a:pt x="309" y="371"/>
                      </a:lnTo>
                      <a:lnTo>
                        <a:pt x="310" y="371"/>
                      </a:lnTo>
                      <a:lnTo>
                        <a:pt x="312" y="371"/>
                      </a:lnTo>
                      <a:lnTo>
                        <a:pt x="312" y="369"/>
                      </a:lnTo>
                      <a:lnTo>
                        <a:pt x="310" y="369"/>
                      </a:lnTo>
                      <a:lnTo>
                        <a:pt x="310" y="367"/>
                      </a:lnTo>
                      <a:lnTo>
                        <a:pt x="310" y="366"/>
                      </a:lnTo>
                      <a:lnTo>
                        <a:pt x="312" y="366"/>
                      </a:lnTo>
                      <a:lnTo>
                        <a:pt x="314" y="366"/>
                      </a:lnTo>
                      <a:lnTo>
                        <a:pt x="316" y="366"/>
                      </a:lnTo>
                      <a:lnTo>
                        <a:pt x="317" y="366"/>
                      </a:lnTo>
                      <a:lnTo>
                        <a:pt x="317" y="364"/>
                      </a:lnTo>
                      <a:lnTo>
                        <a:pt x="319" y="366"/>
                      </a:lnTo>
                      <a:lnTo>
                        <a:pt x="321" y="366"/>
                      </a:lnTo>
                      <a:lnTo>
                        <a:pt x="322" y="366"/>
                      </a:lnTo>
                      <a:lnTo>
                        <a:pt x="322" y="364"/>
                      </a:lnTo>
                      <a:lnTo>
                        <a:pt x="324" y="363"/>
                      </a:lnTo>
                      <a:lnTo>
                        <a:pt x="326" y="363"/>
                      </a:lnTo>
                      <a:lnTo>
                        <a:pt x="326" y="361"/>
                      </a:lnTo>
                      <a:lnTo>
                        <a:pt x="326" y="359"/>
                      </a:lnTo>
                      <a:lnTo>
                        <a:pt x="327" y="359"/>
                      </a:lnTo>
                      <a:lnTo>
                        <a:pt x="327" y="361"/>
                      </a:lnTo>
                      <a:lnTo>
                        <a:pt x="329" y="359"/>
                      </a:lnTo>
                      <a:lnTo>
                        <a:pt x="327" y="359"/>
                      </a:lnTo>
                      <a:lnTo>
                        <a:pt x="327" y="358"/>
                      </a:lnTo>
                      <a:lnTo>
                        <a:pt x="329" y="358"/>
                      </a:lnTo>
                      <a:lnTo>
                        <a:pt x="331" y="356"/>
                      </a:lnTo>
                      <a:lnTo>
                        <a:pt x="331" y="354"/>
                      </a:lnTo>
                      <a:lnTo>
                        <a:pt x="334" y="354"/>
                      </a:lnTo>
                      <a:lnTo>
                        <a:pt x="336" y="354"/>
                      </a:lnTo>
                      <a:lnTo>
                        <a:pt x="337" y="353"/>
                      </a:lnTo>
                      <a:lnTo>
                        <a:pt x="339" y="353"/>
                      </a:lnTo>
                      <a:lnTo>
                        <a:pt x="341" y="353"/>
                      </a:lnTo>
                      <a:lnTo>
                        <a:pt x="341" y="351"/>
                      </a:lnTo>
                      <a:lnTo>
                        <a:pt x="343" y="351"/>
                      </a:lnTo>
                      <a:lnTo>
                        <a:pt x="343" y="349"/>
                      </a:lnTo>
                      <a:lnTo>
                        <a:pt x="344" y="349"/>
                      </a:lnTo>
                      <a:lnTo>
                        <a:pt x="344" y="348"/>
                      </a:lnTo>
                      <a:lnTo>
                        <a:pt x="346" y="348"/>
                      </a:lnTo>
                      <a:lnTo>
                        <a:pt x="348" y="346"/>
                      </a:lnTo>
                      <a:lnTo>
                        <a:pt x="348" y="344"/>
                      </a:lnTo>
                      <a:lnTo>
                        <a:pt x="349" y="343"/>
                      </a:lnTo>
                      <a:lnTo>
                        <a:pt x="351" y="343"/>
                      </a:lnTo>
                      <a:lnTo>
                        <a:pt x="353" y="343"/>
                      </a:lnTo>
                      <a:lnTo>
                        <a:pt x="354" y="343"/>
                      </a:lnTo>
                      <a:lnTo>
                        <a:pt x="354" y="341"/>
                      </a:lnTo>
                      <a:lnTo>
                        <a:pt x="358" y="341"/>
                      </a:lnTo>
                      <a:lnTo>
                        <a:pt x="359" y="338"/>
                      </a:lnTo>
                      <a:lnTo>
                        <a:pt x="361" y="338"/>
                      </a:lnTo>
                      <a:lnTo>
                        <a:pt x="363" y="338"/>
                      </a:lnTo>
                      <a:lnTo>
                        <a:pt x="363" y="336"/>
                      </a:lnTo>
                      <a:lnTo>
                        <a:pt x="363" y="335"/>
                      </a:lnTo>
                      <a:lnTo>
                        <a:pt x="364" y="335"/>
                      </a:lnTo>
                      <a:lnTo>
                        <a:pt x="364" y="333"/>
                      </a:lnTo>
                      <a:lnTo>
                        <a:pt x="363" y="333"/>
                      </a:lnTo>
                      <a:lnTo>
                        <a:pt x="364" y="333"/>
                      </a:lnTo>
                      <a:lnTo>
                        <a:pt x="366" y="333"/>
                      </a:lnTo>
                      <a:lnTo>
                        <a:pt x="366" y="331"/>
                      </a:lnTo>
                      <a:lnTo>
                        <a:pt x="366" y="330"/>
                      </a:lnTo>
                      <a:lnTo>
                        <a:pt x="366" y="328"/>
                      </a:lnTo>
                      <a:lnTo>
                        <a:pt x="368" y="328"/>
                      </a:lnTo>
                      <a:lnTo>
                        <a:pt x="371" y="328"/>
                      </a:lnTo>
                      <a:lnTo>
                        <a:pt x="373" y="326"/>
                      </a:lnTo>
                      <a:lnTo>
                        <a:pt x="373" y="328"/>
                      </a:lnTo>
                      <a:lnTo>
                        <a:pt x="375" y="328"/>
                      </a:lnTo>
                      <a:lnTo>
                        <a:pt x="376" y="326"/>
                      </a:lnTo>
                      <a:lnTo>
                        <a:pt x="378" y="326"/>
                      </a:lnTo>
                      <a:lnTo>
                        <a:pt x="380" y="326"/>
                      </a:lnTo>
                      <a:lnTo>
                        <a:pt x="380" y="325"/>
                      </a:lnTo>
                      <a:lnTo>
                        <a:pt x="380" y="323"/>
                      </a:lnTo>
                      <a:lnTo>
                        <a:pt x="381" y="321"/>
                      </a:lnTo>
                      <a:lnTo>
                        <a:pt x="383" y="321"/>
                      </a:lnTo>
                      <a:lnTo>
                        <a:pt x="385" y="321"/>
                      </a:lnTo>
                      <a:lnTo>
                        <a:pt x="386" y="320"/>
                      </a:lnTo>
                      <a:lnTo>
                        <a:pt x="388" y="320"/>
                      </a:lnTo>
                      <a:lnTo>
                        <a:pt x="390" y="320"/>
                      </a:lnTo>
                      <a:lnTo>
                        <a:pt x="392" y="320"/>
                      </a:lnTo>
                      <a:lnTo>
                        <a:pt x="392" y="321"/>
                      </a:lnTo>
                      <a:lnTo>
                        <a:pt x="393" y="321"/>
                      </a:lnTo>
                      <a:lnTo>
                        <a:pt x="395" y="321"/>
                      </a:lnTo>
                      <a:lnTo>
                        <a:pt x="395" y="323"/>
                      </a:lnTo>
                      <a:lnTo>
                        <a:pt x="397" y="323"/>
                      </a:lnTo>
                      <a:lnTo>
                        <a:pt x="397" y="325"/>
                      </a:lnTo>
                      <a:lnTo>
                        <a:pt x="398" y="326"/>
                      </a:lnTo>
                      <a:lnTo>
                        <a:pt x="398" y="325"/>
                      </a:lnTo>
                      <a:lnTo>
                        <a:pt x="400" y="325"/>
                      </a:lnTo>
                      <a:lnTo>
                        <a:pt x="400" y="326"/>
                      </a:lnTo>
                      <a:lnTo>
                        <a:pt x="402" y="326"/>
                      </a:lnTo>
                      <a:lnTo>
                        <a:pt x="403" y="326"/>
                      </a:lnTo>
                      <a:lnTo>
                        <a:pt x="403" y="328"/>
                      </a:lnTo>
                      <a:lnTo>
                        <a:pt x="403" y="326"/>
                      </a:lnTo>
                      <a:lnTo>
                        <a:pt x="405" y="328"/>
                      </a:lnTo>
                      <a:lnTo>
                        <a:pt x="407" y="328"/>
                      </a:lnTo>
                      <a:lnTo>
                        <a:pt x="407" y="330"/>
                      </a:lnTo>
                      <a:lnTo>
                        <a:pt x="408" y="330"/>
                      </a:lnTo>
                      <a:lnTo>
                        <a:pt x="410" y="330"/>
                      </a:lnTo>
                      <a:lnTo>
                        <a:pt x="408" y="331"/>
                      </a:lnTo>
                      <a:lnTo>
                        <a:pt x="410" y="331"/>
                      </a:lnTo>
                      <a:lnTo>
                        <a:pt x="412" y="331"/>
                      </a:lnTo>
                      <a:lnTo>
                        <a:pt x="410" y="333"/>
                      </a:lnTo>
                      <a:lnTo>
                        <a:pt x="412" y="333"/>
                      </a:lnTo>
                      <a:lnTo>
                        <a:pt x="412" y="335"/>
                      </a:lnTo>
                      <a:lnTo>
                        <a:pt x="410" y="335"/>
                      </a:lnTo>
                      <a:lnTo>
                        <a:pt x="412" y="336"/>
                      </a:lnTo>
                      <a:lnTo>
                        <a:pt x="413" y="336"/>
                      </a:lnTo>
                      <a:lnTo>
                        <a:pt x="413" y="338"/>
                      </a:lnTo>
                      <a:lnTo>
                        <a:pt x="415" y="340"/>
                      </a:lnTo>
                      <a:lnTo>
                        <a:pt x="413" y="340"/>
                      </a:lnTo>
                      <a:lnTo>
                        <a:pt x="412" y="340"/>
                      </a:lnTo>
                      <a:lnTo>
                        <a:pt x="410" y="340"/>
                      </a:lnTo>
                      <a:lnTo>
                        <a:pt x="410" y="341"/>
                      </a:lnTo>
                      <a:lnTo>
                        <a:pt x="408" y="341"/>
                      </a:lnTo>
                      <a:lnTo>
                        <a:pt x="407" y="341"/>
                      </a:lnTo>
                      <a:lnTo>
                        <a:pt x="407" y="343"/>
                      </a:lnTo>
                      <a:lnTo>
                        <a:pt x="405" y="341"/>
                      </a:lnTo>
                      <a:lnTo>
                        <a:pt x="405" y="343"/>
                      </a:lnTo>
                      <a:lnTo>
                        <a:pt x="403" y="343"/>
                      </a:lnTo>
                      <a:lnTo>
                        <a:pt x="403" y="344"/>
                      </a:lnTo>
                      <a:lnTo>
                        <a:pt x="402" y="344"/>
                      </a:lnTo>
                      <a:lnTo>
                        <a:pt x="400" y="344"/>
                      </a:lnTo>
                      <a:lnTo>
                        <a:pt x="400" y="346"/>
                      </a:lnTo>
                      <a:lnTo>
                        <a:pt x="398" y="346"/>
                      </a:lnTo>
                      <a:lnTo>
                        <a:pt x="397" y="348"/>
                      </a:lnTo>
                      <a:lnTo>
                        <a:pt x="397" y="349"/>
                      </a:lnTo>
                      <a:lnTo>
                        <a:pt x="395" y="349"/>
                      </a:lnTo>
                      <a:lnTo>
                        <a:pt x="395" y="351"/>
                      </a:lnTo>
                      <a:lnTo>
                        <a:pt x="395" y="353"/>
                      </a:lnTo>
                      <a:lnTo>
                        <a:pt x="393" y="353"/>
                      </a:lnTo>
                      <a:lnTo>
                        <a:pt x="393" y="354"/>
                      </a:lnTo>
                      <a:lnTo>
                        <a:pt x="395" y="354"/>
                      </a:lnTo>
                      <a:lnTo>
                        <a:pt x="395" y="356"/>
                      </a:lnTo>
                      <a:lnTo>
                        <a:pt x="397" y="356"/>
                      </a:lnTo>
                      <a:lnTo>
                        <a:pt x="397" y="358"/>
                      </a:lnTo>
                      <a:lnTo>
                        <a:pt x="398" y="359"/>
                      </a:lnTo>
                      <a:lnTo>
                        <a:pt x="398" y="361"/>
                      </a:lnTo>
                      <a:lnTo>
                        <a:pt x="400" y="363"/>
                      </a:lnTo>
                      <a:lnTo>
                        <a:pt x="400" y="364"/>
                      </a:lnTo>
                      <a:lnTo>
                        <a:pt x="398" y="364"/>
                      </a:lnTo>
                      <a:lnTo>
                        <a:pt x="398" y="366"/>
                      </a:lnTo>
                      <a:lnTo>
                        <a:pt x="398" y="367"/>
                      </a:lnTo>
                      <a:lnTo>
                        <a:pt x="397" y="367"/>
                      </a:lnTo>
                      <a:lnTo>
                        <a:pt x="397" y="369"/>
                      </a:lnTo>
                      <a:lnTo>
                        <a:pt x="397" y="367"/>
                      </a:lnTo>
                      <a:lnTo>
                        <a:pt x="395" y="367"/>
                      </a:lnTo>
                      <a:lnTo>
                        <a:pt x="393" y="367"/>
                      </a:lnTo>
                      <a:lnTo>
                        <a:pt x="393" y="369"/>
                      </a:lnTo>
                      <a:lnTo>
                        <a:pt x="392" y="369"/>
                      </a:lnTo>
                      <a:lnTo>
                        <a:pt x="390" y="369"/>
                      </a:lnTo>
                      <a:lnTo>
                        <a:pt x="390" y="371"/>
                      </a:lnTo>
                      <a:lnTo>
                        <a:pt x="392" y="371"/>
                      </a:lnTo>
                      <a:lnTo>
                        <a:pt x="392" y="372"/>
                      </a:lnTo>
                      <a:lnTo>
                        <a:pt x="390" y="372"/>
                      </a:lnTo>
                      <a:lnTo>
                        <a:pt x="390" y="374"/>
                      </a:lnTo>
                      <a:lnTo>
                        <a:pt x="390" y="376"/>
                      </a:lnTo>
                      <a:lnTo>
                        <a:pt x="388" y="376"/>
                      </a:lnTo>
                      <a:lnTo>
                        <a:pt x="388" y="377"/>
                      </a:lnTo>
                      <a:lnTo>
                        <a:pt x="386" y="377"/>
                      </a:lnTo>
                      <a:lnTo>
                        <a:pt x="385" y="377"/>
                      </a:lnTo>
                      <a:lnTo>
                        <a:pt x="383" y="379"/>
                      </a:lnTo>
                      <a:lnTo>
                        <a:pt x="383" y="377"/>
                      </a:lnTo>
                      <a:lnTo>
                        <a:pt x="383" y="379"/>
                      </a:lnTo>
                      <a:lnTo>
                        <a:pt x="383" y="381"/>
                      </a:lnTo>
                      <a:lnTo>
                        <a:pt x="381" y="382"/>
                      </a:lnTo>
                      <a:lnTo>
                        <a:pt x="381" y="381"/>
                      </a:lnTo>
                      <a:lnTo>
                        <a:pt x="381" y="382"/>
                      </a:lnTo>
                      <a:lnTo>
                        <a:pt x="380" y="382"/>
                      </a:lnTo>
                      <a:lnTo>
                        <a:pt x="380" y="384"/>
                      </a:lnTo>
                      <a:lnTo>
                        <a:pt x="381" y="384"/>
                      </a:lnTo>
                      <a:lnTo>
                        <a:pt x="381" y="386"/>
                      </a:lnTo>
                      <a:lnTo>
                        <a:pt x="381" y="384"/>
                      </a:lnTo>
                      <a:lnTo>
                        <a:pt x="383" y="384"/>
                      </a:lnTo>
                      <a:lnTo>
                        <a:pt x="385" y="384"/>
                      </a:lnTo>
                      <a:lnTo>
                        <a:pt x="386" y="384"/>
                      </a:lnTo>
                      <a:lnTo>
                        <a:pt x="388" y="384"/>
                      </a:lnTo>
                      <a:lnTo>
                        <a:pt x="390" y="384"/>
                      </a:lnTo>
                      <a:lnTo>
                        <a:pt x="392" y="384"/>
                      </a:lnTo>
                      <a:lnTo>
                        <a:pt x="392" y="382"/>
                      </a:lnTo>
                      <a:lnTo>
                        <a:pt x="393" y="382"/>
                      </a:lnTo>
                      <a:lnTo>
                        <a:pt x="395" y="382"/>
                      </a:lnTo>
                      <a:lnTo>
                        <a:pt x="395" y="384"/>
                      </a:lnTo>
                      <a:lnTo>
                        <a:pt x="395" y="386"/>
                      </a:lnTo>
                      <a:lnTo>
                        <a:pt x="397" y="386"/>
                      </a:lnTo>
                      <a:lnTo>
                        <a:pt x="397" y="387"/>
                      </a:lnTo>
                      <a:lnTo>
                        <a:pt x="397" y="386"/>
                      </a:lnTo>
                      <a:lnTo>
                        <a:pt x="398" y="386"/>
                      </a:lnTo>
                      <a:lnTo>
                        <a:pt x="398" y="387"/>
                      </a:lnTo>
                      <a:lnTo>
                        <a:pt x="398" y="389"/>
                      </a:lnTo>
                      <a:lnTo>
                        <a:pt x="398" y="390"/>
                      </a:lnTo>
                      <a:lnTo>
                        <a:pt x="398" y="392"/>
                      </a:lnTo>
                      <a:lnTo>
                        <a:pt x="398" y="394"/>
                      </a:lnTo>
                      <a:lnTo>
                        <a:pt x="400" y="394"/>
                      </a:lnTo>
                      <a:lnTo>
                        <a:pt x="398" y="395"/>
                      </a:lnTo>
                      <a:lnTo>
                        <a:pt x="398" y="397"/>
                      </a:lnTo>
                      <a:lnTo>
                        <a:pt x="400" y="397"/>
                      </a:lnTo>
                      <a:lnTo>
                        <a:pt x="400" y="399"/>
                      </a:lnTo>
                      <a:lnTo>
                        <a:pt x="398" y="399"/>
                      </a:lnTo>
                      <a:lnTo>
                        <a:pt x="398" y="400"/>
                      </a:lnTo>
                      <a:lnTo>
                        <a:pt x="398" y="402"/>
                      </a:lnTo>
                      <a:lnTo>
                        <a:pt x="397" y="402"/>
                      </a:lnTo>
                      <a:lnTo>
                        <a:pt x="398" y="402"/>
                      </a:lnTo>
                      <a:lnTo>
                        <a:pt x="398" y="404"/>
                      </a:lnTo>
                      <a:lnTo>
                        <a:pt x="400" y="404"/>
                      </a:lnTo>
                      <a:lnTo>
                        <a:pt x="402" y="402"/>
                      </a:lnTo>
                      <a:lnTo>
                        <a:pt x="402" y="404"/>
                      </a:lnTo>
                      <a:lnTo>
                        <a:pt x="400" y="404"/>
                      </a:lnTo>
                      <a:lnTo>
                        <a:pt x="400" y="405"/>
                      </a:lnTo>
                      <a:lnTo>
                        <a:pt x="400" y="407"/>
                      </a:lnTo>
                      <a:lnTo>
                        <a:pt x="400" y="408"/>
                      </a:lnTo>
                      <a:lnTo>
                        <a:pt x="402" y="408"/>
                      </a:lnTo>
                      <a:lnTo>
                        <a:pt x="403" y="408"/>
                      </a:lnTo>
                      <a:lnTo>
                        <a:pt x="405" y="408"/>
                      </a:lnTo>
                      <a:lnTo>
                        <a:pt x="405" y="407"/>
                      </a:lnTo>
                      <a:lnTo>
                        <a:pt x="407" y="408"/>
                      </a:lnTo>
                      <a:lnTo>
                        <a:pt x="405" y="408"/>
                      </a:lnTo>
                      <a:lnTo>
                        <a:pt x="405" y="410"/>
                      </a:lnTo>
                      <a:lnTo>
                        <a:pt x="405" y="412"/>
                      </a:lnTo>
                      <a:lnTo>
                        <a:pt x="407" y="412"/>
                      </a:lnTo>
                      <a:lnTo>
                        <a:pt x="408" y="412"/>
                      </a:lnTo>
                      <a:lnTo>
                        <a:pt x="410" y="412"/>
                      </a:lnTo>
                      <a:lnTo>
                        <a:pt x="410" y="413"/>
                      </a:lnTo>
                      <a:lnTo>
                        <a:pt x="412" y="413"/>
                      </a:lnTo>
                      <a:lnTo>
                        <a:pt x="412" y="415"/>
                      </a:lnTo>
                      <a:lnTo>
                        <a:pt x="413" y="413"/>
                      </a:lnTo>
                      <a:lnTo>
                        <a:pt x="413" y="415"/>
                      </a:lnTo>
                      <a:lnTo>
                        <a:pt x="415" y="413"/>
                      </a:lnTo>
                      <a:lnTo>
                        <a:pt x="417" y="413"/>
                      </a:lnTo>
                      <a:lnTo>
                        <a:pt x="419" y="413"/>
                      </a:lnTo>
                      <a:lnTo>
                        <a:pt x="419" y="412"/>
                      </a:lnTo>
                      <a:lnTo>
                        <a:pt x="420" y="412"/>
                      </a:lnTo>
                      <a:lnTo>
                        <a:pt x="422" y="410"/>
                      </a:lnTo>
                      <a:lnTo>
                        <a:pt x="422" y="408"/>
                      </a:lnTo>
                      <a:lnTo>
                        <a:pt x="424" y="408"/>
                      </a:lnTo>
                      <a:lnTo>
                        <a:pt x="425" y="407"/>
                      </a:lnTo>
                      <a:lnTo>
                        <a:pt x="427" y="407"/>
                      </a:lnTo>
                      <a:lnTo>
                        <a:pt x="429" y="407"/>
                      </a:lnTo>
                      <a:lnTo>
                        <a:pt x="429" y="405"/>
                      </a:lnTo>
                      <a:lnTo>
                        <a:pt x="430" y="405"/>
                      </a:lnTo>
                      <a:lnTo>
                        <a:pt x="432" y="405"/>
                      </a:lnTo>
                      <a:lnTo>
                        <a:pt x="432" y="404"/>
                      </a:lnTo>
                      <a:lnTo>
                        <a:pt x="434" y="404"/>
                      </a:lnTo>
                      <a:lnTo>
                        <a:pt x="435" y="405"/>
                      </a:lnTo>
                      <a:lnTo>
                        <a:pt x="437" y="404"/>
                      </a:lnTo>
                      <a:lnTo>
                        <a:pt x="437" y="402"/>
                      </a:lnTo>
                      <a:lnTo>
                        <a:pt x="439" y="402"/>
                      </a:lnTo>
                      <a:lnTo>
                        <a:pt x="440" y="402"/>
                      </a:lnTo>
                      <a:lnTo>
                        <a:pt x="439" y="400"/>
                      </a:lnTo>
                      <a:lnTo>
                        <a:pt x="440" y="402"/>
                      </a:lnTo>
                      <a:lnTo>
                        <a:pt x="442" y="400"/>
                      </a:lnTo>
                      <a:lnTo>
                        <a:pt x="442" y="399"/>
                      </a:lnTo>
                      <a:lnTo>
                        <a:pt x="444" y="399"/>
                      </a:lnTo>
                      <a:lnTo>
                        <a:pt x="446" y="399"/>
                      </a:lnTo>
                      <a:lnTo>
                        <a:pt x="447" y="399"/>
                      </a:lnTo>
                      <a:lnTo>
                        <a:pt x="447" y="397"/>
                      </a:lnTo>
                      <a:lnTo>
                        <a:pt x="449" y="397"/>
                      </a:lnTo>
                      <a:lnTo>
                        <a:pt x="449" y="395"/>
                      </a:lnTo>
                      <a:lnTo>
                        <a:pt x="447" y="395"/>
                      </a:lnTo>
                      <a:lnTo>
                        <a:pt x="446" y="395"/>
                      </a:lnTo>
                      <a:lnTo>
                        <a:pt x="446" y="394"/>
                      </a:lnTo>
                      <a:lnTo>
                        <a:pt x="446" y="392"/>
                      </a:lnTo>
                      <a:lnTo>
                        <a:pt x="447" y="392"/>
                      </a:lnTo>
                      <a:lnTo>
                        <a:pt x="449" y="390"/>
                      </a:lnTo>
                      <a:lnTo>
                        <a:pt x="447" y="389"/>
                      </a:lnTo>
                      <a:lnTo>
                        <a:pt x="449" y="389"/>
                      </a:lnTo>
                      <a:lnTo>
                        <a:pt x="449" y="387"/>
                      </a:lnTo>
                      <a:lnTo>
                        <a:pt x="449" y="386"/>
                      </a:lnTo>
                      <a:lnTo>
                        <a:pt x="449" y="384"/>
                      </a:lnTo>
                      <a:lnTo>
                        <a:pt x="449" y="382"/>
                      </a:lnTo>
                      <a:lnTo>
                        <a:pt x="452" y="382"/>
                      </a:lnTo>
                      <a:lnTo>
                        <a:pt x="454" y="382"/>
                      </a:lnTo>
                      <a:lnTo>
                        <a:pt x="452" y="382"/>
                      </a:lnTo>
                      <a:lnTo>
                        <a:pt x="454" y="381"/>
                      </a:lnTo>
                      <a:lnTo>
                        <a:pt x="452" y="379"/>
                      </a:lnTo>
                      <a:lnTo>
                        <a:pt x="454" y="379"/>
                      </a:lnTo>
                      <a:lnTo>
                        <a:pt x="454" y="377"/>
                      </a:lnTo>
                      <a:lnTo>
                        <a:pt x="456" y="377"/>
                      </a:lnTo>
                      <a:lnTo>
                        <a:pt x="457" y="377"/>
                      </a:lnTo>
                      <a:lnTo>
                        <a:pt x="459" y="379"/>
                      </a:lnTo>
                      <a:lnTo>
                        <a:pt x="461" y="379"/>
                      </a:lnTo>
                      <a:lnTo>
                        <a:pt x="462" y="379"/>
                      </a:lnTo>
                      <a:lnTo>
                        <a:pt x="462" y="381"/>
                      </a:lnTo>
                      <a:lnTo>
                        <a:pt x="462" y="379"/>
                      </a:lnTo>
                      <a:lnTo>
                        <a:pt x="464" y="379"/>
                      </a:lnTo>
                      <a:lnTo>
                        <a:pt x="466" y="379"/>
                      </a:lnTo>
                      <a:lnTo>
                        <a:pt x="466" y="377"/>
                      </a:lnTo>
                      <a:lnTo>
                        <a:pt x="468" y="376"/>
                      </a:lnTo>
                      <a:lnTo>
                        <a:pt x="466" y="376"/>
                      </a:lnTo>
                      <a:lnTo>
                        <a:pt x="468" y="376"/>
                      </a:lnTo>
                      <a:lnTo>
                        <a:pt x="468" y="374"/>
                      </a:lnTo>
                      <a:lnTo>
                        <a:pt x="468" y="372"/>
                      </a:lnTo>
                      <a:lnTo>
                        <a:pt x="466" y="371"/>
                      </a:lnTo>
                      <a:lnTo>
                        <a:pt x="468" y="371"/>
                      </a:lnTo>
                      <a:lnTo>
                        <a:pt x="468" y="369"/>
                      </a:lnTo>
                      <a:lnTo>
                        <a:pt x="469" y="369"/>
                      </a:lnTo>
                      <a:lnTo>
                        <a:pt x="471" y="369"/>
                      </a:lnTo>
                      <a:lnTo>
                        <a:pt x="473" y="369"/>
                      </a:lnTo>
                      <a:lnTo>
                        <a:pt x="474" y="369"/>
                      </a:lnTo>
                      <a:lnTo>
                        <a:pt x="476" y="369"/>
                      </a:lnTo>
                      <a:lnTo>
                        <a:pt x="478" y="369"/>
                      </a:lnTo>
                      <a:lnTo>
                        <a:pt x="479" y="369"/>
                      </a:lnTo>
                      <a:lnTo>
                        <a:pt x="481" y="369"/>
                      </a:lnTo>
                      <a:lnTo>
                        <a:pt x="481" y="371"/>
                      </a:lnTo>
                      <a:lnTo>
                        <a:pt x="483" y="371"/>
                      </a:lnTo>
                      <a:lnTo>
                        <a:pt x="483" y="369"/>
                      </a:lnTo>
                      <a:lnTo>
                        <a:pt x="484" y="367"/>
                      </a:lnTo>
                      <a:lnTo>
                        <a:pt x="484" y="366"/>
                      </a:lnTo>
                      <a:lnTo>
                        <a:pt x="486" y="366"/>
                      </a:lnTo>
                      <a:lnTo>
                        <a:pt x="488" y="366"/>
                      </a:lnTo>
                      <a:lnTo>
                        <a:pt x="488" y="367"/>
                      </a:lnTo>
                      <a:lnTo>
                        <a:pt x="489" y="367"/>
                      </a:lnTo>
                      <a:lnTo>
                        <a:pt x="491" y="367"/>
                      </a:lnTo>
                      <a:lnTo>
                        <a:pt x="493" y="367"/>
                      </a:lnTo>
                      <a:lnTo>
                        <a:pt x="493" y="369"/>
                      </a:lnTo>
                      <a:lnTo>
                        <a:pt x="495" y="369"/>
                      </a:lnTo>
                      <a:lnTo>
                        <a:pt x="495" y="367"/>
                      </a:lnTo>
                      <a:lnTo>
                        <a:pt x="496" y="367"/>
                      </a:lnTo>
                      <a:lnTo>
                        <a:pt x="498" y="366"/>
                      </a:lnTo>
                      <a:lnTo>
                        <a:pt x="500" y="366"/>
                      </a:lnTo>
                      <a:lnTo>
                        <a:pt x="501" y="366"/>
                      </a:lnTo>
                      <a:lnTo>
                        <a:pt x="503" y="367"/>
                      </a:lnTo>
                      <a:lnTo>
                        <a:pt x="501" y="367"/>
                      </a:lnTo>
                      <a:lnTo>
                        <a:pt x="501" y="369"/>
                      </a:lnTo>
                      <a:lnTo>
                        <a:pt x="503" y="369"/>
                      </a:lnTo>
                      <a:lnTo>
                        <a:pt x="503" y="367"/>
                      </a:lnTo>
                      <a:lnTo>
                        <a:pt x="505" y="367"/>
                      </a:lnTo>
                      <a:lnTo>
                        <a:pt x="505" y="369"/>
                      </a:lnTo>
                      <a:lnTo>
                        <a:pt x="506" y="369"/>
                      </a:lnTo>
                      <a:lnTo>
                        <a:pt x="508" y="369"/>
                      </a:lnTo>
                      <a:lnTo>
                        <a:pt x="508" y="367"/>
                      </a:lnTo>
                      <a:lnTo>
                        <a:pt x="510" y="367"/>
                      </a:lnTo>
                      <a:lnTo>
                        <a:pt x="511" y="367"/>
                      </a:lnTo>
                      <a:lnTo>
                        <a:pt x="513" y="367"/>
                      </a:lnTo>
                      <a:lnTo>
                        <a:pt x="515" y="367"/>
                      </a:lnTo>
                      <a:lnTo>
                        <a:pt x="516" y="367"/>
                      </a:lnTo>
                      <a:lnTo>
                        <a:pt x="518" y="367"/>
                      </a:lnTo>
                      <a:lnTo>
                        <a:pt x="518" y="366"/>
                      </a:lnTo>
                      <a:lnTo>
                        <a:pt x="518" y="364"/>
                      </a:lnTo>
                      <a:lnTo>
                        <a:pt x="520" y="364"/>
                      </a:lnTo>
                      <a:lnTo>
                        <a:pt x="520" y="363"/>
                      </a:lnTo>
                      <a:lnTo>
                        <a:pt x="522" y="363"/>
                      </a:lnTo>
                      <a:lnTo>
                        <a:pt x="523" y="364"/>
                      </a:lnTo>
                      <a:lnTo>
                        <a:pt x="525" y="363"/>
                      </a:lnTo>
                      <a:lnTo>
                        <a:pt x="527" y="363"/>
                      </a:lnTo>
                      <a:lnTo>
                        <a:pt x="528" y="363"/>
                      </a:lnTo>
                      <a:lnTo>
                        <a:pt x="530" y="361"/>
                      </a:lnTo>
                      <a:lnTo>
                        <a:pt x="532" y="361"/>
                      </a:lnTo>
                      <a:lnTo>
                        <a:pt x="533" y="359"/>
                      </a:lnTo>
                      <a:lnTo>
                        <a:pt x="535" y="359"/>
                      </a:lnTo>
                      <a:lnTo>
                        <a:pt x="537" y="358"/>
                      </a:lnTo>
                      <a:lnTo>
                        <a:pt x="537" y="359"/>
                      </a:lnTo>
                      <a:lnTo>
                        <a:pt x="538" y="359"/>
                      </a:lnTo>
                      <a:lnTo>
                        <a:pt x="540" y="359"/>
                      </a:lnTo>
                      <a:lnTo>
                        <a:pt x="542" y="358"/>
                      </a:lnTo>
                      <a:lnTo>
                        <a:pt x="544" y="358"/>
                      </a:lnTo>
                      <a:lnTo>
                        <a:pt x="544" y="356"/>
                      </a:lnTo>
                      <a:lnTo>
                        <a:pt x="545" y="354"/>
                      </a:lnTo>
                      <a:lnTo>
                        <a:pt x="547" y="354"/>
                      </a:lnTo>
                      <a:lnTo>
                        <a:pt x="549" y="354"/>
                      </a:lnTo>
                      <a:lnTo>
                        <a:pt x="549" y="356"/>
                      </a:lnTo>
                      <a:lnTo>
                        <a:pt x="550" y="356"/>
                      </a:lnTo>
                      <a:lnTo>
                        <a:pt x="550" y="354"/>
                      </a:lnTo>
                      <a:lnTo>
                        <a:pt x="550" y="356"/>
                      </a:lnTo>
                      <a:lnTo>
                        <a:pt x="552" y="354"/>
                      </a:lnTo>
                      <a:lnTo>
                        <a:pt x="554" y="354"/>
                      </a:lnTo>
                      <a:lnTo>
                        <a:pt x="554" y="353"/>
                      </a:lnTo>
                      <a:lnTo>
                        <a:pt x="552" y="353"/>
                      </a:lnTo>
                      <a:lnTo>
                        <a:pt x="552" y="351"/>
                      </a:lnTo>
                      <a:lnTo>
                        <a:pt x="554" y="351"/>
                      </a:lnTo>
                      <a:lnTo>
                        <a:pt x="554" y="349"/>
                      </a:lnTo>
                      <a:lnTo>
                        <a:pt x="554" y="348"/>
                      </a:lnTo>
                      <a:lnTo>
                        <a:pt x="554" y="349"/>
                      </a:lnTo>
                      <a:lnTo>
                        <a:pt x="552" y="349"/>
                      </a:lnTo>
                      <a:lnTo>
                        <a:pt x="552" y="348"/>
                      </a:lnTo>
                      <a:lnTo>
                        <a:pt x="552" y="346"/>
                      </a:lnTo>
                      <a:lnTo>
                        <a:pt x="554" y="346"/>
                      </a:lnTo>
                      <a:lnTo>
                        <a:pt x="554" y="344"/>
                      </a:lnTo>
                      <a:lnTo>
                        <a:pt x="554" y="343"/>
                      </a:lnTo>
                      <a:lnTo>
                        <a:pt x="555" y="341"/>
                      </a:lnTo>
                      <a:lnTo>
                        <a:pt x="555" y="336"/>
                      </a:lnTo>
                      <a:lnTo>
                        <a:pt x="557" y="336"/>
                      </a:lnTo>
                      <a:lnTo>
                        <a:pt x="559" y="336"/>
                      </a:lnTo>
                      <a:lnTo>
                        <a:pt x="560" y="336"/>
                      </a:lnTo>
                      <a:lnTo>
                        <a:pt x="560" y="338"/>
                      </a:lnTo>
                      <a:lnTo>
                        <a:pt x="562" y="338"/>
                      </a:lnTo>
                      <a:lnTo>
                        <a:pt x="564" y="338"/>
                      </a:lnTo>
                      <a:lnTo>
                        <a:pt x="564" y="336"/>
                      </a:lnTo>
                      <a:lnTo>
                        <a:pt x="565" y="336"/>
                      </a:lnTo>
                      <a:lnTo>
                        <a:pt x="567" y="336"/>
                      </a:lnTo>
                      <a:lnTo>
                        <a:pt x="567" y="335"/>
                      </a:lnTo>
                      <a:lnTo>
                        <a:pt x="569" y="335"/>
                      </a:lnTo>
                      <a:lnTo>
                        <a:pt x="569" y="333"/>
                      </a:lnTo>
                      <a:lnTo>
                        <a:pt x="571" y="333"/>
                      </a:lnTo>
                      <a:lnTo>
                        <a:pt x="571" y="331"/>
                      </a:lnTo>
                      <a:lnTo>
                        <a:pt x="572" y="333"/>
                      </a:lnTo>
                      <a:lnTo>
                        <a:pt x="572" y="331"/>
                      </a:lnTo>
                      <a:lnTo>
                        <a:pt x="574" y="333"/>
                      </a:lnTo>
                      <a:lnTo>
                        <a:pt x="574" y="331"/>
                      </a:lnTo>
                      <a:lnTo>
                        <a:pt x="576" y="331"/>
                      </a:lnTo>
                      <a:lnTo>
                        <a:pt x="576" y="330"/>
                      </a:lnTo>
                      <a:lnTo>
                        <a:pt x="579" y="330"/>
                      </a:lnTo>
                      <a:lnTo>
                        <a:pt x="581" y="330"/>
                      </a:lnTo>
                      <a:lnTo>
                        <a:pt x="582" y="330"/>
                      </a:lnTo>
                      <a:lnTo>
                        <a:pt x="584" y="330"/>
                      </a:lnTo>
                      <a:lnTo>
                        <a:pt x="584" y="331"/>
                      </a:lnTo>
                      <a:lnTo>
                        <a:pt x="586" y="331"/>
                      </a:lnTo>
                      <a:lnTo>
                        <a:pt x="586" y="330"/>
                      </a:lnTo>
                      <a:lnTo>
                        <a:pt x="587" y="330"/>
                      </a:lnTo>
                      <a:lnTo>
                        <a:pt x="587" y="331"/>
                      </a:lnTo>
                      <a:lnTo>
                        <a:pt x="589" y="331"/>
                      </a:lnTo>
                      <a:lnTo>
                        <a:pt x="591" y="331"/>
                      </a:lnTo>
                      <a:lnTo>
                        <a:pt x="592" y="331"/>
                      </a:lnTo>
                      <a:lnTo>
                        <a:pt x="594" y="331"/>
                      </a:lnTo>
                      <a:lnTo>
                        <a:pt x="596" y="331"/>
                      </a:lnTo>
                      <a:lnTo>
                        <a:pt x="598" y="333"/>
                      </a:lnTo>
                      <a:lnTo>
                        <a:pt x="599" y="333"/>
                      </a:lnTo>
                      <a:lnTo>
                        <a:pt x="601" y="335"/>
                      </a:lnTo>
                      <a:lnTo>
                        <a:pt x="603" y="336"/>
                      </a:lnTo>
                      <a:lnTo>
                        <a:pt x="604" y="336"/>
                      </a:lnTo>
                      <a:lnTo>
                        <a:pt x="604" y="338"/>
                      </a:lnTo>
                      <a:lnTo>
                        <a:pt x="604" y="340"/>
                      </a:lnTo>
                      <a:lnTo>
                        <a:pt x="604" y="341"/>
                      </a:lnTo>
                      <a:lnTo>
                        <a:pt x="606" y="343"/>
                      </a:lnTo>
                      <a:lnTo>
                        <a:pt x="606" y="344"/>
                      </a:lnTo>
                      <a:lnTo>
                        <a:pt x="608" y="344"/>
                      </a:lnTo>
                      <a:lnTo>
                        <a:pt x="608" y="343"/>
                      </a:lnTo>
                      <a:lnTo>
                        <a:pt x="609" y="343"/>
                      </a:lnTo>
                      <a:lnTo>
                        <a:pt x="611" y="344"/>
                      </a:lnTo>
                      <a:lnTo>
                        <a:pt x="613" y="344"/>
                      </a:lnTo>
                      <a:lnTo>
                        <a:pt x="611" y="344"/>
                      </a:lnTo>
                      <a:lnTo>
                        <a:pt x="613" y="344"/>
                      </a:lnTo>
                      <a:lnTo>
                        <a:pt x="614" y="344"/>
                      </a:lnTo>
                      <a:lnTo>
                        <a:pt x="616" y="344"/>
                      </a:lnTo>
                      <a:lnTo>
                        <a:pt x="618" y="344"/>
                      </a:lnTo>
                      <a:lnTo>
                        <a:pt x="618" y="346"/>
                      </a:lnTo>
                      <a:lnTo>
                        <a:pt x="618" y="348"/>
                      </a:lnTo>
                      <a:lnTo>
                        <a:pt x="620" y="348"/>
                      </a:lnTo>
                      <a:lnTo>
                        <a:pt x="620" y="349"/>
                      </a:lnTo>
                      <a:lnTo>
                        <a:pt x="620" y="351"/>
                      </a:lnTo>
                      <a:lnTo>
                        <a:pt x="621" y="351"/>
                      </a:lnTo>
                      <a:lnTo>
                        <a:pt x="621" y="353"/>
                      </a:lnTo>
                      <a:lnTo>
                        <a:pt x="620" y="354"/>
                      </a:lnTo>
                      <a:lnTo>
                        <a:pt x="620" y="356"/>
                      </a:lnTo>
                      <a:lnTo>
                        <a:pt x="618" y="358"/>
                      </a:lnTo>
                      <a:lnTo>
                        <a:pt x="618" y="359"/>
                      </a:lnTo>
                      <a:lnTo>
                        <a:pt x="618" y="361"/>
                      </a:lnTo>
                      <a:lnTo>
                        <a:pt x="620" y="361"/>
                      </a:lnTo>
                      <a:lnTo>
                        <a:pt x="620" y="363"/>
                      </a:lnTo>
                      <a:lnTo>
                        <a:pt x="620" y="364"/>
                      </a:lnTo>
                      <a:lnTo>
                        <a:pt x="618" y="367"/>
                      </a:lnTo>
                      <a:lnTo>
                        <a:pt x="618" y="369"/>
                      </a:lnTo>
                      <a:lnTo>
                        <a:pt x="618" y="371"/>
                      </a:lnTo>
                      <a:lnTo>
                        <a:pt x="618" y="372"/>
                      </a:lnTo>
                      <a:lnTo>
                        <a:pt x="618" y="374"/>
                      </a:lnTo>
                      <a:lnTo>
                        <a:pt x="618" y="376"/>
                      </a:lnTo>
                      <a:lnTo>
                        <a:pt x="620" y="376"/>
                      </a:lnTo>
                      <a:lnTo>
                        <a:pt x="620" y="377"/>
                      </a:lnTo>
                      <a:lnTo>
                        <a:pt x="620" y="379"/>
                      </a:lnTo>
                      <a:lnTo>
                        <a:pt x="620" y="381"/>
                      </a:lnTo>
                      <a:lnTo>
                        <a:pt x="620" y="382"/>
                      </a:lnTo>
                      <a:lnTo>
                        <a:pt x="618" y="384"/>
                      </a:lnTo>
                      <a:lnTo>
                        <a:pt x="618" y="386"/>
                      </a:lnTo>
                      <a:lnTo>
                        <a:pt x="618" y="387"/>
                      </a:lnTo>
                      <a:lnTo>
                        <a:pt x="618" y="389"/>
                      </a:lnTo>
                      <a:lnTo>
                        <a:pt x="616" y="389"/>
                      </a:lnTo>
                      <a:lnTo>
                        <a:pt x="616" y="390"/>
                      </a:lnTo>
                      <a:lnTo>
                        <a:pt x="614" y="395"/>
                      </a:lnTo>
                      <a:lnTo>
                        <a:pt x="613" y="397"/>
                      </a:lnTo>
                      <a:lnTo>
                        <a:pt x="613" y="399"/>
                      </a:lnTo>
                      <a:lnTo>
                        <a:pt x="611" y="399"/>
                      </a:lnTo>
                      <a:lnTo>
                        <a:pt x="611" y="400"/>
                      </a:lnTo>
                      <a:lnTo>
                        <a:pt x="611" y="402"/>
                      </a:lnTo>
                      <a:lnTo>
                        <a:pt x="611" y="404"/>
                      </a:lnTo>
                      <a:lnTo>
                        <a:pt x="611" y="405"/>
                      </a:lnTo>
                      <a:lnTo>
                        <a:pt x="611" y="407"/>
                      </a:lnTo>
                      <a:lnTo>
                        <a:pt x="609" y="407"/>
                      </a:lnTo>
                      <a:lnTo>
                        <a:pt x="609" y="408"/>
                      </a:lnTo>
                      <a:lnTo>
                        <a:pt x="608" y="408"/>
                      </a:lnTo>
                      <a:lnTo>
                        <a:pt x="608" y="410"/>
                      </a:lnTo>
                      <a:lnTo>
                        <a:pt x="608" y="412"/>
                      </a:lnTo>
                      <a:lnTo>
                        <a:pt x="608" y="413"/>
                      </a:lnTo>
                      <a:lnTo>
                        <a:pt x="608" y="415"/>
                      </a:lnTo>
                      <a:lnTo>
                        <a:pt x="608" y="417"/>
                      </a:lnTo>
                      <a:lnTo>
                        <a:pt x="608" y="418"/>
                      </a:lnTo>
                      <a:lnTo>
                        <a:pt x="608" y="420"/>
                      </a:lnTo>
                      <a:lnTo>
                        <a:pt x="606" y="420"/>
                      </a:lnTo>
                      <a:lnTo>
                        <a:pt x="608" y="420"/>
                      </a:lnTo>
                      <a:lnTo>
                        <a:pt x="606" y="425"/>
                      </a:lnTo>
                      <a:lnTo>
                        <a:pt x="604" y="427"/>
                      </a:lnTo>
                      <a:lnTo>
                        <a:pt x="604" y="428"/>
                      </a:lnTo>
                      <a:lnTo>
                        <a:pt x="604" y="430"/>
                      </a:lnTo>
                      <a:lnTo>
                        <a:pt x="603" y="430"/>
                      </a:lnTo>
                      <a:lnTo>
                        <a:pt x="603" y="431"/>
                      </a:lnTo>
                      <a:lnTo>
                        <a:pt x="603" y="433"/>
                      </a:lnTo>
                      <a:lnTo>
                        <a:pt x="603" y="435"/>
                      </a:lnTo>
                      <a:lnTo>
                        <a:pt x="603" y="436"/>
                      </a:lnTo>
                      <a:lnTo>
                        <a:pt x="603" y="438"/>
                      </a:lnTo>
                      <a:lnTo>
                        <a:pt x="601" y="438"/>
                      </a:lnTo>
                      <a:lnTo>
                        <a:pt x="603" y="438"/>
                      </a:lnTo>
                      <a:lnTo>
                        <a:pt x="601" y="438"/>
                      </a:lnTo>
                      <a:lnTo>
                        <a:pt x="599" y="438"/>
                      </a:lnTo>
                      <a:lnTo>
                        <a:pt x="599" y="440"/>
                      </a:lnTo>
                      <a:lnTo>
                        <a:pt x="598" y="441"/>
                      </a:lnTo>
                      <a:lnTo>
                        <a:pt x="598" y="443"/>
                      </a:lnTo>
                      <a:lnTo>
                        <a:pt x="598" y="445"/>
                      </a:lnTo>
                      <a:lnTo>
                        <a:pt x="596" y="445"/>
                      </a:lnTo>
                      <a:lnTo>
                        <a:pt x="596" y="446"/>
                      </a:lnTo>
                      <a:lnTo>
                        <a:pt x="596" y="448"/>
                      </a:lnTo>
                      <a:lnTo>
                        <a:pt x="596" y="450"/>
                      </a:lnTo>
                      <a:lnTo>
                        <a:pt x="594" y="450"/>
                      </a:lnTo>
                      <a:lnTo>
                        <a:pt x="592" y="450"/>
                      </a:lnTo>
                      <a:lnTo>
                        <a:pt x="594" y="451"/>
                      </a:lnTo>
                      <a:lnTo>
                        <a:pt x="596" y="451"/>
                      </a:lnTo>
                      <a:lnTo>
                        <a:pt x="596" y="453"/>
                      </a:lnTo>
                      <a:lnTo>
                        <a:pt x="594" y="453"/>
                      </a:lnTo>
                      <a:lnTo>
                        <a:pt x="594" y="454"/>
                      </a:lnTo>
                      <a:lnTo>
                        <a:pt x="594" y="456"/>
                      </a:lnTo>
                      <a:lnTo>
                        <a:pt x="592" y="456"/>
                      </a:lnTo>
                      <a:lnTo>
                        <a:pt x="592" y="458"/>
                      </a:lnTo>
                      <a:lnTo>
                        <a:pt x="592" y="459"/>
                      </a:lnTo>
                      <a:lnTo>
                        <a:pt x="591" y="461"/>
                      </a:lnTo>
                      <a:lnTo>
                        <a:pt x="591" y="463"/>
                      </a:lnTo>
                      <a:lnTo>
                        <a:pt x="589" y="464"/>
                      </a:lnTo>
                      <a:lnTo>
                        <a:pt x="589" y="466"/>
                      </a:lnTo>
                      <a:lnTo>
                        <a:pt x="591" y="466"/>
                      </a:lnTo>
                      <a:lnTo>
                        <a:pt x="589" y="468"/>
                      </a:lnTo>
                      <a:lnTo>
                        <a:pt x="589" y="469"/>
                      </a:lnTo>
                      <a:lnTo>
                        <a:pt x="587" y="471"/>
                      </a:lnTo>
                      <a:lnTo>
                        <a:pt x="587" y="469"/>
                      </a:lnTo>
                      <a:lnTo>
                        <a:pt x="586" y="469"/>
                      </a:lnTo>
                      <a:lnTo>
                        <a:pt x="584" y="469"/>
                      </a:lnTo>
                      <a:lnTo>
                        <a:pt x="584" y="468"/>
                      </a:lnTo>
                      <a:lnTo>
                        <a:pt x="584" y="469"/>
                      </a:lnTo>
                      <a:lnTo>
                        <a:pt x="582" y="469"/>
                      </a:lnTo>
                      <a:lnTo>
                        <a:pt x="581" y="469"/>
                      </a:lnTo>
                      <a:lnTo>
                        <a:pt x="581" y="468"/>
                      </a:lnTo>
                      <a:lnTo>
                        <a:pt x="579" y="468"/>
                      </a:lnTo>
                      <a:lnTo>
                        <a:pt x="579" y="469"/>
                      </a:lnTo>
                      <a:lnTo>
                        <a:pt x="579" y="468"/>
                      </a:lnTo>
                      <a:lnTo>
                        <a:pt x="577" y="468"/>
                      </a:lnTo>
                      <a:lnTo>
                        <a:pt x="576" y="468"/>
                      </a:lnTo>
                      <a:lnTo>
                        <a:pt x="569" y="466"/>
                      </a:lnTo>
                      <a:lnTo>
                        <a:pt x="565" y="464"/>
                      </a:lnTo>
                      <a:lnTo>
                        <a:pt x="564" y="464"/>
                      </a:lnTo>
                      <a:lnTo>
                        <a:pt x="562" y="464"/>
                      </a:lnTo>
                      <a:lnTo>
                        <a:pt x="560" y="464"/>
                      </a:lnTo>
                      <a:lnTo>
                        <a:pt x="559" y="464"/>
                      </a:lnTo>
                      <a:lnTo>
                        <a:pt x="559" y="463"/>
                      </a:lnTo>
                      <a:lnTo>
                        <a:pt x="559" y="461"/>
                      </a:lnTo>
                      <a:lnTo>
                        <a:pt x="559" y="463"/>
                      </a:lnTo>
                      <a:lnTo>
                        <a:pt x="559" y="461"/>
                      </a:lnTo>
                      <a:lnTo>
                        <a:pt x="557" y="463"/>
                      </a:lnTo>
                      <a:lnTo>
                        <a:pt x="555" y="463"/>
                      </a:lnTo>
                      <a:lnTo>
                        <a:pt x="554" y="463"/>
                      </a:lnTo>
                      <a:lnTo>
                        <a:pt x="554" y="461"/>
                      </a:lnTo>
                      <a:lnTo>
                        <a:pt x="554" y="463"/>
                      </a:lnTo>
                      <a:lnTo>
                        <a:pt x="552" y="463"/>
                      </a:lnTo>
                      <a:lnTo>
                        <a:pt x="552" y="461"/>
                      </a:lnTo>
                      <a:lnTo>
                        <a:pt x="552" y="463"/>
                      </a:lnTo>
                      <a:lnTo>
                        <a:pt x="550" y="463"/>
                      </a:lnTo>
                      <a:lnTo>
                        <a:pt x="549" y="463"/>
                      </a:lnTo>
                      <a:lnTo>
                        <a:pt x="549" y="464"/>
                      </a:lnTo>
                      <a:lnTo>
                        <a:pt x="547" y="464"/>
                      </a:lnTo>
                      <a:lnTo>
                        <a:pt x="547" y="466"/>
                      </a:lnTo>
                      <a:lnTo>
                        <a:pt x="545" y="466"/>
                      </a:lnTo>
                      <a:lnTo>
                        <a:pt x="544" y="466"/>
                      </a:lnTo>
                      <a:lnTo>
                        <a:pt x="544" y="468"/>
                      </a:lnTo>
                      <a:lnTo>
                        <a:pt x="542" y="468"/>
                      </a:lnTo>
                      <a:lnTo>
                        <a:pt x="540" y="468"/>
                      </a:lnTo>
                      <a:lnTo>
                        <a:pt x="540" y="469"/>
                      </a:lnTo>
                      <a:lnTo>
                        <a:pt x="538" y="469"/>
                      </a:lnTo>
                      <a:lnTo>
                        <a:pt x="537" y="469"/>
                      </a:lnTo>
                      <a:lnTo>
                        <a:pt x="535" y="469"/>
                      </a:lnTo>
                      <a:lnTo>
                        <a:pt x="533" y="469"/>
                      </a:lnTo>
                      <a:lnTo>
                        <a:pt x="533" y="471"/>
                      </a:lnTo>
                      <a:lnTo>
                        <a:pt x="533" y="469"/>
                      </a:lnTo>
                      <a:lnTo>
                        <a:pt x="533" y="471"/>
                      </a:lnTo>
                      <a:lnTo>
                        <a:pt x="532" y="471"/>
                      </a:lnTo>
                      <a:lnTo>
                        <a:pt x="530" y="471"/>
                      </a:lnTo>
                      <a:lnTo>
                        <a:pt x="530" y="469"/>
                      </a:lnTo>
                      <a:lnTo>
                        <a:pt x="528" y="469"/>
                      </a:lnTo>
                      <a:lnTo>
                        <a:pt x="528" y="468"/>
                      </a:lnTo>
                      <a:lnTo>
                        <a:pt x="530" y="466"/>
                      </a:lnTo>
                      <a:lnTo>
                        <a:pt x="528" y="466"/>
                      </a:lnTo>
                      <a:lnTo>
                        <a:pt x="530" y="466"/>
                      </a:lnTo>
                      <a:lnTo>
                        <a:pt x="528" y="466"/>
                      </a:lnTo>
                      <a:lnTo>
                        <a:pt x="530" y="466"/>
                      </a:lnTo>
                      <a:lnTo>
                        <a:pt x="528" y="466"/>
                      </a:lnTo>
                      <a:lnTo>
                        <a:pt x="528" y="464"/>
                      </a:lnTo>
                      <a:lnTo>
                        <a:pt x="527" y="464"/>
                      </a:lnTo>
                      <a:lnTo>
                        <a:pt x="527" y="466"/>
                      </a:lnTo>
                      <a:lnTo>
                        <a:pt x="525" y="466"/>
                      </a:lnTo>
                      <a:lnTo>
                        <a:pt x="525" y="468"/>
                      </a:lnTo>
                      <a:lnTo>
                        <a:pt x="525" y="466"/>
                      </a:lnTo>
                      <a:lnTo>
                        <a:pt x="523" y="468"/>
                      </a:lnTo>
                      <a:lnTo>
                        <a:pt x="523" y="466"/>
                      </a:lnTo>
                      <a:lnTo>
                        <a:pt x="523" y="468"/>
                      </a:lnTo>
                      <a:lnTo>
                        <a:pt x="523" y="466"/>
                      </a:lnTo>
                      <a:lnTo>
                        <a:pt x="523" y="468"/>
                      </a:lnTo>
                      <a:lnTo>
                        <a:pt x="522" y="468"/>
                      </a:lnTo>
                      <a:lnTo>
                        <a:pt x="522" y="466"/>
                      </a:lnTo>
                      <a:lnTo>
                        <a:pt x="520" y="466"/>
                      </a:lnTo>
                      <a:lnTo>
                        <a:pt x="518" y="466"/>
                      </a:lnTo>
                      <a:lnTo>
                        <a:pt x="516" y="466"/>
                      </a:lnTo>
                      <a:lnTo>
                        <a:pt x="515" y="468"/>
                      </a:lnTo>
                      <a:lnTo>
                        <a:pt x="513" y="468"/>
                      </a:lnTo>
                      <a:lnTo>
                        <a:pt x="513" y="469"/>
                      </a:lnTo>
                      <a:lnTo>
                        <a:pt x="511" y="469"/>
                      </a:lnTo>
                      <a:lnTo>
                        <a:pt x="510" y="469"/>
                      </a:lnTo>
                      <a:lnTo>
                        <a:pt x="510" y="471"/>
                      </a:lnTo>
                      <a:lnTo>
                        <a:pt x="510" y="469"/>
                      </a:lnTo>
                      <a:lnTo>
                        <a:pt x="508" y="469"/>
                      </a:lnTo>
                      <a:lnTo>
                        <a:pt x="508" y="471"/>
                      </a:lnTo>
                      <a:lnTo>
                        <a:pt x="506" y="471"/>
                      </a:lnTo>
                      <a:lnTo>
                        <a:pt x="505" y="471"/>
                      </a:lnTo>
                      <a:lnTo>
                        <a:pt x="503" y="471"/>
                      </a:lnTo>
                      <a:lnTo>
                        <a:pt x="501" y="471"/>
                      </a:lnTo>
                      <a:lnTo>
                        <a:pt x="500" y="473"/>
                      </a:lnTo>
                      <a:lnTo>
                        <a:pt x="500" y="474"/>
                      </a:lnTo>
                      <a:lnTo>
                        <a:pt x="498" y="474"/>
                      </a:lnTo>
                      <a:lnTo>
                        <a:pt x="496" y="474"/>
                      </a:lnTo>
                      <a:lnTo>
                        <a:pt x="496" y="476"/>
                      </a:lnTo>
                      <a:lnTo>
                        <a:pt x="496" y="477"/>
                      </a:lnTo>
                      <a:lnTo>
                        <a:pt x="498" y="477"/>
                      </a:lnTo>
                      <a:lnTo>
                        <a:pt x="498" y="479"/>
                      </a:lnTo>
                      <a:lnTo>
                        <a:pt x="496" y="481"/>
                      </a:lnTo>
                      <a:lnTo>
                        <a:pt x="498" y="481"/>
                      </a:lnTo>
                      <a:lnTo>
                        <a:pt x="496" y="482"/>
                      </a:lnTo>
                      <a:lnTo>
                        <a:pt x="495" y="482"/>
                      </a:lnTo>
                      <a:lnTo>
                        <a:pt x="493" y="482"/>
                      </a:lnTo>
                      <a:lnTo>
                        <a:pt x="491" y="482"/>
                      </a:lnTo>
                      <a:lnTo>
                        <a:pt x="489" y="482"/>
                      </a:lnTo>
                      <a:lnTo>
                        <a:pt x="488" y="484"/>
                      </a:lnTo>
                      <a:lnTo>
                        <a:pt x="488" y="486"/>
                      </a:lnTo>
                      <a:lnTo>
                        <a:pt x="486" y="486"/>
                      </a:lnTo>
                      <a:lnTo>
                        <a:pt x="486" y="487"/>
                      </a:lnTo>
                      <a:lnTo>
                        <a:pt x="486" y="489"/>
                      </a:lnTo>
                      <a:lnTo>
                        <a:pt x="484" y="489"/>
                      </a:lnTo>
                      <a:lnTo>
                        <a:pt x="484" y="487"/>
                      </a:lnTo>
                      <a:lnTo>
                        <a:pt x="483" y="489"/>
                      </a:lnTo>
                      <a:lnTo>
                        <a:pt x="483" y="491"/>
                      </a:lnTo>
                      <a:lnTo>
                        <a:pt x="483" y="492"/>
                      </a:lnTo>
                      <a:lnTo>
                        <a:pt x="484" y="492"/>
                      </a:lnTo>
                      <a:lnTo>
                        <a:pt x="484" y="494"/>
                      </a:lnTo>
                      <a:lnTo>
                        <a:pt x="486" y="494"/>
                      </a:lnTo>
                      <a:lnTo>
                        <a:pt x="486" y="496"/>
                      </a:lnTo>
                      <a:lnTo>
                        <a:pt x="484" y="496"/>
                      </a:lnTo>
                      <a:lnTo>
                        <a:pt x="483" y="496"/>
                      </a:lnTo>
                      <a:lnTo>
                        <a:pt x="484" y="496"/>
                      </a:lnTo>
                      <a:lnTo>
                        <a:pt x="483" y="496"/>
                      </a:lnTo>
                      <a:lnTo>
                        <a:pt x="483" y="494"/>
                      </a:lnTo>
                      <a:lnTo>
                        <a:pt x="483" y="496"/>
                      </a:lnTo>
                      <a:lnTo>
                        <a:pt x="483" y="494"/>
                      </a:lnTo>
                      <a:lnTo>
                        <a:pt x="481" y="494"/>
                      </a:lnTo>
                      <a:lnTo>
                        <a:pt x="481" y="496"/>
                      </a:lnTo>
                      <a:lnTo>
                        <a:pt x="479" y="496"/>
                      </a:lnTo>
                      <a:lnTo>
                        <a:pt x="478" y="496"/>
                      </a:lnTo>
                      <a:lnTo>
                        <a:pt x="478" y="497"/>
                      </a:lnTo>
                      <a:lnTo>
                        <a:pt x="476" y="497"/>
                      </a:lnTo>
                      <a:lnTo>
                        <a:pt x="474" y="497"/>
                      </a:lnTo>
                      <a:lnTo>
                        <a:pt x="474" y="499"/>
                      </a:lnTo>
                      <a:lnTo>
                        <a:pt x="473" y="499"/>
                      </a:lnTo>
                      <a:lnTo>
                        <a:pt x="471" y="499"/>
                      </a:lnTo>
                      <a:lnTo>
                        <a:pt x="469" y="499"/>
                      </a:lnTo>
                      <a:lnTo>
                        <a:pt x="468" y="500"/>
                      </a:lnTo>
                      <a:lnTo>
                        <a:pt x="468" y="499"/>
                      </a:lnTo>
                      <a:lnTo>
                        <a:pt x="466" y="499"/>
                      </a:lnTo>
                      <a:lnTo>
                        <a:pt x="464" y="500"/>
                      </a:lnTo>
                      <a:lnTo>
                        <a:pt x="462" y="500"/>
                      </a:lnTo>
                      <a:lnTo>
                        <a:pt x="462" y="502"/>
                      </a:lnTo>
                      <a:lnTo>
                        <a:pt x="462" y="500"/>
                      </a:lnTo>
                      <a:lnTo>
                        <a:pt x="462" y="502"/>
                      </a:lnTo>
                      <a:lnTo>
                        <a:pt x="461" y="502"/>
                      </a:lnTo>
                      <a:lnTo>
                        <a:pt x="461" y="504"/>
                      </a:lnTo>
                      <a:lnTo>
                        <a:pt x="449" y="507"/>
                      </a:lnTo>
                      <a:lnTo>
                        <a:pt x="449" y="509"/>
                      </a:lnTo>
                      <a:lnTo>
                        <a:pt x="447" y="509"/>
                      </a:lnTo>
                      <a:lnTo>
                        <a:pt x="447" y="507"/>
                      </a:lnTo>
                      <a:lnTo>
                        <a:pt x="446" y="507"/>
                      </a:lnTo>
                      <a:lnTo>
                        <a:pt x="444" y="507"/>
                      </a:lnTo>
                      <a:lnTo>
                        <a:pt x="442" y="504"/>
                      </a:lnTo>
                      <a:lnTo>
                        <a:pt x="435" y="504"/>
                      </a:lnTo>
                      <a:lnTo>
                        <a:pt x="432" y="505"/>
                      </a:lnTo>
                      <a:lnTo>
                        <a:pt x="429" y="505"/>
                      </a:lnTo>
                      <a:lnTo>
                        <a:pt x="427" y="505"/>
                      </a:lnTo>
                      <a:lnTo>
                        <a:pt x="427" y="504"/>
                      </a:lnTo>
                      <a:lnTo>
                        <a:pt x="425" y="504"/>
                      </a:lnTo>
                      <a:lnTo>
                        <a:pt x="424" y="504"/>
                      </a:lnTo>
                      <a:lnTo>
                        <a:pt x="424" y="505"/>
                      </a:lnTo>
                      <a:lnTo>
                        <a:pt x="422" y="505"/>
                      </a:lnTo>
                      <a:lnTo>
                        <a:pt x="420" y="505"/>
                      </a:lnTo>
                      <a:lnTo>
                        <a:pt x="420" y="507"/>
                      </a:lnTo>
                      <a:lnTo>
                        <a:pt x="420" y="509"/>
                      </a:lnTo>
                      <a:lnTo>
                        <a:pt x="420" y="510"/>
                      </a:lnTo>
                      <a:lnTo>
                        <a:pt x="419" y="510"/>
                      </a:lnTo>
                      <a:lnTo>
                        <a:pt x="419" y="512"/>
                      </a:lnTo>
                      <a:lnTo>
                        <a:pt x="419" y="514"/>
                      </a:lnTo>
                      <a:lnTo>
                        <a:pt x="417" y="514"/>
                      </a:lnTo>
                      <a:lnTo>
                        <a:pt x="415" y="514"/>
                      </a:lnTo>
                      <a:lnTo>
                        <a:pt x="415" y="512"/>
                      </a:lnTo>
                      <a:lnTo>
                        <a:pt x="413" y="512"/>
                      </a:lnTo>
                      <a:lnTo>
                        <a:pt x="412" y="510"/>
                      </a:lnTo>
                      <a:lnTo>
                        <a:pt x="412" y="509"/>
                      </a:lnTo>
                      <a:lnTo>
                        <a:pt x="412" y="507"/>
                      </a:lnTo>
                      <a:lnTo>
                        <a:pt x="410" y="507"/>
                      </a:lnTo>
                      <a:lnTo>
                        <a:pt x="410" y="509"/>
                      </a:lnTo>
                      <a:lnTo>
                        <a:pt x="408" y="507"/>
                      </a:lnTo>
                      <a:lnTo>
                        <a:pt x="408" y="509"/>
                      </a:lnTo>
                      <a:lnTo>
                        <a:pt x="407" y="509"/>
                      </a:lnTo>
                      <a:lnTo>
                        <a:pt x="407" y="507"/>
                      </a:lnTo>
                      <a:lnTo>
                        <a:pt x="407" y="505"/>
                      </a:lnTo>
                      <a:lnTo>
                        <a:pt x="407" y="504"/>
                      </a:lnTo>
                      <a:lnTo>
                        <a:pt x="405" y="502"/>
                      </a:lnTo>
                      <a:lnTo>
                        <a:pt x="403" y="502"/>
                      </a:lnTo>
                      <a:lnTo>
                        <a:pt x="403" y="500"/>
                      </a:lnTo>
                      <a:lnTo>
                        <a:pt x="402" y="500"/>
                      </a:lnTo>
                      <a:lnTo>
                        <a:pt x="402" y="502"/>
                      </a:lnTo>
                      <a:lnTo>
                        <a:pt x="400" y="502"/>
                      </a:lnTo>
                      <a:lnTo>
                        <a:pt x="400" y="504"/>
                      </a:lnTo>
                      <a:lnTo>
                        <a:pt x="398" y="504"/>
                      </a:lnTo>
                      <a:lnTo>
                        <a:pt x="397" y="504"/>
                      </a:lnTo>
                      <a:lnTo>
                        <a:pt x="397" y="502"/>
                      </a:lnTo>
                      <a:lnTo>
                        <a:pt x="398" y="502"/>
                      </a:lnTo>
                      <a:lnTo>
                        <a:pt x="398" y="500"/>
                      </a:lnTo>
                      <a:lnTo>
                        <a:pt x="395" y="499"/>
                      </a:lnTo>
                      <a:lnTo>
                        <a:pt x="393" y="499"/>
                      </a:lnTo>
                      <a:lnTo>
                        <a:pt x="393" y="500"/>
                      </a:lnTo>
                      <a:lnTo>
                        <a:pt x="392" y="500"/>
                      </a:lnTo>
                      <a:lnTo>
                        <a:pt x="392" y="499"/>
                      </a:lnTo>
                      <a:lnTo>
                        <a:pt x="392" y="497"/>
                      </a:lnTo>
                      <a:lnTo>
                        <a:pt x="390" y="497"/>
                      </a:lnTo>
                      <a:lnTo>
                        <a:pt x="390" y="496"/>
                      </a:lnTo>
                      <a:lnTo>
                        <a:pt x="388" y="496"/>
                      </a:lnTo>
                      <a:lnTo>
                        <a:pt x="388" y="494"/>
                      </a:lnTo>
                      <a:lnTo>
                        <a:pt x="386" y="494"/>
                      </a:lnTo>
                      <a:lnTo>
                        <a:pt x="386" y="492"/>
                      </a:lnTo>
                      <a:lnTo>
                        <a:pt x="385" y="491"/>
                      </a:lnTo>
                      <a:lnTo>
                        <a:pt x="385" y="489"/>
                      </a:lnTo>
                      <a:lnTo>
                        <a:pt x="383" y="489"/>
                      </a:lnTo>
                      <a:lnTo>
                        <a:pt x="383" y="487"/>
                      </a:lnTo>
                      <a:lnTo>
                        <a:pt x="381" y="487"/>
                      </a:lnTo>
                      <a:lnTo>
                        <a:pt x="381" y="486"/>
                      </a:lnTo>
                      <a:lnTo>
                        <a:pt x="378" y="486"/>
                      </a:lnTo>
                      <a:lnTo>
                        <a:pt x="376" y="484"/>
                      </a:lnTo>
                      <a:lnTo>
                        <a:pt x="375" y="484"/>
                      </a:lnTo>
                      <a:lnTo>
                        <a:pt x="373" y="482"/>
                      </a:lnTo>
                      <a:lnTo>
                        <a:pt x="371" y="481"/>
                      </a:lnTo>
                      <a:lnTo>
                        <a:pt x="370" y="481"/>
                      </a:lnTo>
                      <a:lnTo>
                        <a:pt x="368" y="481"/>
                      </a:lnTo>
                      <a:lnTo>
                        <a:pt x="366" y="479"/>
                      </a:lnTo>
                      <a:lnTo>
                        <a:pt x="366" y="476"/>
                      </a:lnTo>
                      <a:lnTo>
                        <a:pt x="364" y="476"/>
                      </a:lnTo>
                      <a:lnTo>
                        <a:pt x="363" y="476"/>
                      </a:lnTo>
                      <a:lnTo>
                        <a:pt x="363" y="474"/>
                      </a:lnTo>
                      <a:lnTo>
                        <a:pt x="361" y="476"/>
                      </a:lnTo>
                      <a:lnTo>
                        <a:pt x="359" y="476"/>
                      </a:lnTo>
                      <a:lnTo>
                        <a:pt x="358" y="476"/>
                      </a:lnTo>
                      <a:lnTo>
                        <a:pt x="356" y="476"/>
                      </a:lnTo>
                      <a:lnTo>
                        <a:pt x="354" y="477"/>
                      </a:lnTo>
                      <a:lnTo>
                        <a:pt x="354" y="479"/>
                      </a:lnTo>
                      <a:lnTo>
                        <a:pt x="354" y="481"/>
                      </a:lnTo>
                      <a:lnTo>
                        <a:pt x="353" y="481"/>
                      </a:lnTo>
                      <a:lnTo>
                        <a:pt x="351" y="481"/>
                      </a:lnTo>
                      <a:lnTo>
                        <a:pt x="349" y="479"/>
                      </a:lnTo>
                      <a:lnTo>
                        <a:pt x="351" y="479"/>
                      </a:lnTo>
                      <a:lnTo>
                        <a:pt x="351" y="477"/>
                      </a:lnTo>
                      <a:lnTo>
                        <a:pt x="349" y="477"/>
                      </a:lnTo>
                      <a:lnTo>
                        <a:pt x="348" y="479"/>
                      </a:lnTo>
                      <a:lnTo>
                        <a:pt x="348" y="477"/>
                      </a:lnTo>
                      <a:lnTo>
                        <a:pt x="346" y="477"/>
                      </a:lnTo>
                      <a:lnTo>
                        <a:pt x="348" y="477"/>
                      </a:lnTo>
                      <a:lnTo>
                        <a:pt x="348" y="476"/>
                      </a:lnTo>
                      <a:lnTo>
                        <a:pt x="348" y="474"/>
                      </a:lnTo>
                      <a:lnTo>
                        <a:pt x="346" y="474"/>
                      </a:lnTo>
                      <a:lnTo>
                        <a:pt x="346" y="473"/>
                      </a:lnTo>
                      <a:lnTo>
                        <a:pt x="346" y="471"/>
                      </a:lnTo>
                      <a:lnTo>
                        <a:pt x="344" y="471"/>
                      </a:lnTo>
                      <a:lnTo>
                        <a:pt x="344" y="469"/>
                      </a:lnTo>
                      <a:lnTo>
                        <a:pt x="344" y="468"/>
                      </a:lnTo>
                      <a:lnTo>
                        <a:pt x="343" y="468"/>
                      </a:lnTo>
                      <a:lnTo>
                        <a:pt x="343" y="466"/>
                      </a:lnTo>
                      <a:lnTo>
                        <a:pt x="341" y="466"/>
                      </a:lnTo>
                      <a:lnTo>
                        <a:pt x="341" y="464"/>
                      </a:lnTo>
                      <a:lnTo>
                        <a:pt x="341" y="466"/>
                      </a:lnTo>
                      <a:lnTo>
                        <a:pt x="339" y="466"/>
                      </a:lnTo>
                      <a:lnTo>
                        <a:pt x="337" y="466"/>
                      </a:lnTo>
                      <a:lnTo>
                        <a:pt x="337" y="468"/>
                      </a:lnTo>
                      <a:lnTo>
                        <a:pt x="336" y="468"/>
                      </a:lnTo>
                      <a:lnTo>
                        <a:pt x="334" y="468"/>
                      </a:lnTo>
                      <a:lnTo>
                        <a:pt x="334" y="469"/>
                      </a:lnTo>
                      <a:lnTo>
                        <a:pt x="336" y="469"/>
                      </a:lnTo>
                      <a:lnTo>
                        <a:pt x="336" y="471"/>
                      </a:lnTo>
                      <a:lnTo>
                        <a:pt x="334" y="471"/>
                      </a:lnTo>
                      <a:lnTo>
                        <a:pt x="334" y="473"/>
                      </a:lnTo>
                      <a:lnTo>
                        <a:pt x="334" y="476"/>
                      </a:lnTo>
                      <a:lnTo>
                        <a:pt x="334" y="477"/>
                      </a:lnTo>
                      <a:lnTo>
                        <a:pt x="332" y="477"/>
                      </a:lnTo>
                      <a:lnTo>
                        <a:pt x="332" y="479"/>
                      </a:lnTo>
                      <a:lnTo>
                        <a:pt x="331" y="479"/>
                      </a:lnTo>
                      <a:lnTo>
                        <a:pt x="329" y="481"/>
                      </a:lnTo>
                      <a:lnTo>
                        <a:pt x="331" y="481"/>
                      </a:lnTo>
                      <a:lnTo>
                        <a:pt x="329" y="482"/>
                      </a:lnTo>
                      <a:lnTo>
                        <a:pt x="327" y="482"/>
                      </a:lnTo>
                      <a:lnTo>
                        <a:pt x="327" y="484"/>
                      </a:lnTo>
                      <a:lnTo>
                        <a:pt x="326" y="484"/>
                      </a:lnTo>
                      <a:lnTo>
                        <a:pt x="324" y="486"/>
                      </a:lnTo>
                      <a:lnTo>
                        <a:pt x="324" y="487"/>
                      </a:lnTo>
                      <a:lnTo>
                        <a:pt x="322" y="487"/>
                      </a:lnTo>
                      <a:lnTo>
                        <a:pt x="322" y="489"/>
                      </a:lnTo>
                      <a:lnTo>
                        <a:pt x="322" y="491"/>
                      </a:lnTo>
                      <a:lnTo>
                        <a:pt x="321" y="491"/>
                      </a:lnTo>
                      <a:lnTo>
                        <a:pt x="321" y="492"/>
                      </a:lnTo>
                      <a:lnTo>
                        <a:pt x="319" y="492"/>
                      </a:lnTo>
                      <a:lnTo>
                        <a:pt x="319" y="494"/>
                      </a:lnTo>
                      <a:lnTo>
                        <a:pt x="319" y="492"/>
                      </a:lnTo>
                      <a:lnTo>
                        <a:pt x="317" y="494"/>
                      </a:lnTo>
                      <a:lnTo>
                        <a:pt x="316" y="494"/>
                      </a:lnTo>
                      <a:lnTo>
                        <a:pt x="314" y="494"/>
                      </a:lnTo>
                      <a:lnTo>
                        <a:pt x="312" y="494"/>
                      </a:lnTo>
                      <a:lnTo>
                        <a:pt x="312" y="496"/>
                      </a:lnTo>
                      <a:lnTo>
                        <a:pt x="310" y="494"/>
                      </a:lnTo>
                      <a:lnTo>
                        <a:pt x="309" y="496"/>
                      </a:lnTo>
                      <a:lnTo>
                        <a:pt x="307" y="497"/>
                      </a:lnTo>
                      <a:lnTo>
                        <a:pt x="305" y="499"/>
                      </a:lnTo>
                      <a:lnTo>
                        <a:pt x="304" y="499"/>
                      </a:lnTo>
                      <a:lnTo>
                        <a:pt x="304" y="500"/>
                      </a:lnTo>
                      <a:lnTo>
                        <a:pt x="304" y="502"/>
                      </a:lnTo>
                      <a:close/>
                      <a:moveTo>
                        <a:pt x="849" y="1"/>
                      </a:moveTo>
                      <a:lnTo>
                        <a:pt x="849" y="0"/>
                      </a:lnTo>
                      <a:lnTo>
                        <a:pt x="851" y="0"/>
                      </a:lnTo>
                      <a:lnTo>
                        <a:pt x="851" y="1"/>
                      </a:lnTo>
                      <a:lnTo>
                        <a:pt x="849" y="1"/>
                      </a:lnTo>
                      <a:close/>
                      <a:moveTo>
                        <a:pt x="849" y="1"/>
                      </a:moveTo>
                      <a:lnTo>
                        <a:pt x="849" y="3"/>
                      </a:lnTo>
                      <a:lnTo>
                        <a:pt x="849" y="1"/>
                      </a:lnTo>
                      <a:close/>
                      <a:moveTo>
                        <a:pt x="848" y="3"/>
                      </a:moveTo>
                      <a:lnTo>
                        <a:pt x="849" y="3"/>
                      </a:lnTo>
                      <a:lnTo>
                        <a:pt x="849" y="4"/>
                      </a:lnTo>
                      <a:lnTo>
                        <a:pt x="848" y="4"/>
                      </a:lnTo>
                      <a:lnTo>
                        <a:pt x="848" y="6"/>
                      </a:lnTo>
                      <a:lnTo>
                        <a:pt x="848" y="4"/>
                      </a:lnTo>
                      <a:lnTo>
                        <a:pt x="848" y="6"/>
                      </a:lnTo>
                      <a:lnTo>
                        <a:pt x="846" y="6"/>
                      </a:lnTo>
                      <a:lnTo>
                        <a:pt x="848" y="6"/>
                      </a:lnTo>
                      <a:lnTo>
                        <a:pt x="846" y="6"/>
                      </a:lnTo>
                      <a:lnTo>
                        <a:pt x="844" y="6"/>
                      </a:lnTo>
                      <a:lnTo>
                        <a:pt x="842" y="6"/>
                      </a:lnTo>
                      <a:lnTo>
                        <a:pt x="844" y="6"/>
                      </a:lnTo>
                      <a:lnTo>
                        <a:pt x="844" y="4"/>
                      </a:lnTo>
                      <a:lnTo>
                        <a:pt x="846" y="4"/>
                      </a:lnTo>
                      <a:lnTo>
                        <a:pt x="844" y="4"/>
                      </a:lnTo>
                      <a:lnTo>
                        <a:pt x="846" y="4"/>
                      </a:lnTo>
                      <a:lnTo>
                        <a:pt x="846" y="3"/>
                      </a:lnTo>
                      <a:lnTo>
                        <a:pt x="848" y="3"/>
                      </a:lnTo>
                      <a:close/>
                      <a:moveTo>
                        <a:pt x="846" y="4"/>
                      </a:moveTo>
                      <a:lnTo>
                        <a:pt x="844" y="4"/>
                      </a:lnTo>
                      <a:lnTo>
                        <a:pt x="846" y="4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18" name="Freeform 3"/>
                <p:cNvSpPr>
                  <a:spLocks noChangeAspect="1" noEditPoints="1"/>
                </p:cNvSpPr>
                <p:nvPr/>
              </p:nvSpPr>
              <p:spPr bwMode="auto">
                <a:xfrm>
                  <a:off x="6484073" y="2203967"/>
                  <a:ext cx="591860" cy="351727"/>
                </a:xfrm>
                <a:custGeom>
                  <a:avLst/>
                  <a:gdLst>
                    <a:gd name="T0" fmla="*/ 2147483647 w 377"/>
                    <a:gd name="T1" fmla="*/ 2147483647 h 210"/>
                    <a:gd name="T2" fmla="*/ 2147483647 w 377"/>
                    <a:gd name="T3" fmla="*/ 2147483647 h 210"/>
                    <a:gd name="T4" fmla="*/ 2147483647 w 377"/>
                    <a:gd name="T5" fmla="*/ 2147483647 h 210"/>
                    <a:gd name="T6" fmla="*/ 2147483647 w 377"/>
                    <a:gd name="T7" fmla="*/ 2147483647 h 210"/>
                    <a:gd name="T8" fmla="*/ 2147483647 w 377"/>
                    <a:gd name="T9" fmla="*/ 2147483647 h 210"/>
                    <a:gd name="T10" fmla="*/ 2147483647 w 377"/>
                    <a:gd name="T11" fmla="*/ 2147483647 h 210"/>
                    <a:gd name="T12" fmla="*/ 2147483647 w 377"/>
                    <a:gd name="T13" fmla="*/ 2147483647 h 210"/>
                    <a:gd name="T14" fmla="*/ 2147483647 w 377"/>
                    <a:gd name="T15" fmla="*/ 2147483647 h 210"/>
                    <a:gd name="T16" fmla="*/ 2147483647 w 377"/>
                    <a:gd name="T17" fmla="*/ 2147483647 h 210"/>
                    <a:gd name="T18" fmla="*/ 2147483647 w 377"/>
                    <a:gd name="T19" fmla="*/ 2147483647 h 210"/>
                    <a:gd name="T20" fmla="*/ 2147483647 w 377"/>
                    <a:gd name="T21" fmla="*/ 2147483647 h 210"/>
                    <a:gd name="T22" fmla="*/ 2147483647 w 377"/>
                    <a:gd name="T23" fmla="*/ 2147483647 h 210"/>
                    <a:gd name="T24" fmla="*/ 2147483647 w 377"/>
                    <a:gd name="T25" fmla="*/ 2147483647 h 210"/>
                    <a:gd name="T26" fmla="*/ 2147483647 w 377"/>
                    <a:gd name="T27" fmla="*/ 2147483647 h 210"/>
                    <a:gd name="T28" fmla="*/ 2147483647 w 377"/>
                    <a:gd name="T29" fmla="*/ 2147483647 h 210"/>
                    <a:gd name="T30" fmla="*/ 2147483647 w 377"/>
                    <a:gd name="T31" fmla="*/ 2147483647 h 210"/>
                    <a:gd name="T32" fmla="*/ 2147483647 w 377"/>
                    <a:gd name="T33" fmla="*/ 2147483647 h 210"/>
                    <a:gd name="T34" fmla="*/ 2147483647 w 377"/>
                    <a:gd name="T35" fmla="*/ 2147483647 h 210"/>
                    <a:gd name="T36" fmla="*/ 2147483647 w 377"/>
                    <a:gd name="T37" fmla="*/ 2147483647 h 210"/>
                    <a:gd name="T38" fmla="*/ 2147483647 w 377"/>
                    <a:gd name="T39" fmla="*/ 2147483647 h 210"/>
                    <a:gd name="T40" fmla="*/ 2147483647 w 377"/>
                    <a:gd name="T41" fmla="*/ 2147483647 h 210"/>
                    <a:gd name="T42" fmla="*/ 2147483647 w 377"/>
                    <a:gd name="T43" fmla="*/ 2147483647 h 210"/>
                    <a:gd name="T44" fmla="*/ 2147483647 w 377"/>
                    <a:gd name="T45" fmla="*/ 2147483647 h 210"/>
                    <a:gd name="T46" fmla="*/ 2147483647 w 377"/>
                    <a:gd name="T47" fmla="*/ 2147483647 h 210"/>
                    <a:gd name="T48" fmla="*/ 2147483647 w 377"/>
                    <a:gd name="T49" fmla="*/ 2147483647 h 210"/>
                    <a:gd name="T50" fmla="*/ 2147483647 w 377"/>
                    <a:gd name="T51" fmla="*/ 2147483647 h 210"/>
                    <a:gd name="T52" fmla="*/ 2147483647 w 377"/>
                    <a:gd name="T53" fmla="*/ 2147483647 h 210"/>
                    <a:gd name="T54" fmla="*/ 2147483647 w 377"/>
                    <a:gd name="T55" fmla="*/ 2147483647 h 210"/>
                    <a:gd name="T56" fmla="*/ 2147483647 w 377"/>
                    <a:gd name="T57" fmla="*/ 2147483647 h 210"/>
                    <a:gd name="T58" fmla="*/ 2147483647 w 377"/>
                    <a:gd name="T59" fmla="*/ 2147483647 h 210"/>
                    <a:gd name="T60" fmla="*/ 2147483647 w 377"/>
                    <a:gd name="T61" fmla="*/ 2147483647 h 210"/>
                    <a:gd name="T62" fmla="*/ 2147483647 w 377"/>
                    <a:gd name="T63" fmla="*/ 2147483647 h 210"/>
                    <a:gd name="T64" fmla="*/ 2147483647 w 377"/>
                    <a:gd name="T65" fmla="*/ 2147483647 h 210"/>
                    <a:gd name="T66" fmla="*/ 2147483647 w 377"/>
                    <a:gd name="T67" fmla="*/ 2147483647 h 210"/>
                    <a:gd name="T68" fmla="*/ 2147483647 w 377"/>
                    <a:gd name="T69" fmla="*/ 2147483647 h 210"/>
                    <a:gd name="T70" fmla="*/ 2147483647 w 377"/>
                    <a:gd name="T71" fmla="*/ 2147483647 h 210"/>
                    <a:gd name="T72" fmla="*/ 2147483647 w 377"/>
                    <a:gd name="T73" fmla="*/ 2147483647 h 210"/>
                    <a:gd name="T74" fmla="*/ 2147483647 w 377"/>
                    <a:gd name="T75" fmla="*/ 2147483647 h 210"/>
                    <a:gd name="T76" fmla="*/ 2147483647 w 377"/>
                    <a:gd name="T77" fmla="*/ 2147483647 h 210"/>
                    <a:gd name="T78" fmla="*/ 2147483647 w 377"/>
                    <a:gd name="T79" fmla="*/ 2147483647 h 210"/>
                    <a:gd name="T80" fmla="*/ 2147483647 w 377"/>
                    <a:gd name="T81" fmla="*/ 2147483647 h 210"/>
                    <a:gd name="T82" fmla="*/ 2147483647 w 377"/>
                    <a:gd name="T83" fmla="*/ 2147483647 h 210"/>
                    <a:gd name="T84" fmla="*/ 2147483647 w 377"/>
                    <a:gd name="T85" fmla="*/ 2147483647 h 210"/>
                    <a:gd name="T86" fmla="*/ 2147483647 w 377"/>
                    <a:gd name="T87" fmla="*/ 2147483647 h 210"/>
                    <a:gd name="T88" fmla="*/ 2147483647 w 377"/>
                    <a:gd name="T89" fmla="*/ 2147483647 h 210"/>
                    <a:gd name="T90" fmla="*/ 2147483647 w 377"/>
                    <a:gd name="T91" fmla="*/ 2147483647 h 210"/>
                    <a:gd name="T92" fmla="*/ 2147483647 w 377"/>
                    <a:gd name="T93" fmla="*/ 2147483647 h 210"/>
                    <a:gd name="T94" fmla="*/ 2147483647 w 377"/>
                    <a:gd name="T95" fmla="*/ 2147483647 h 210"/>
                    <a:gd name="T96" fmla="*/ 2147483647 w 377"/>
                    <a:gd name="T97" fmla="*/ 2147483647 h 210"/>
                    <a:gd name="T98" fmla="*/ 2147483647 w 377"/>
                    <a:gd name="T99" fmla="*/ 2147483647 h 210"/>
                    <a:gd name="T100" fmla="*/ 2147483647 w 377"/>
                    <a:gd name="T101" fmla="*/ 2147483647 h 210"/>
                    <a:gd name="T102" fmla="*/ 2147483647 w 377"/>
                    <a:gd name="T103" fmla="*/ 2147483647 h 210"/>
                    <a:gd name="T104" fmla="*/ 2147483647 w 377"/>
                    <a:gd name="T105" fmla="*/ 2147483647 h 210"/>
                    <a:gd name="T106" fmla="*/ 2147483647 w 377"/>
                    <a:gd name="T107" fmla="*/ 2147483647 h 210"/>
                    <a:gd name="T108" fmla="*/ 2147483647 w 377"/>
                    <a:gd name="T109" fmla="*/ 2147483647 h 210"/>
                    <a:gd name="T110" fmla="*/ 2147483647 w 377"/>
                    <a:gd name="T111" fmla="*/ 2147483647 h 210"/>
                    <a:gd name="T112" fmla="*/ 2147483647 w 377"/>
                    <a:gd name="T113" fmla="*/ 2147483647 h 210"/>
                    <a:gd name="T114" fmla="*/ 2147483647 w 377"/>
                    <a:gd name="T115" fmla="*/ 2147483647 h 210"/>
                    <a:gd name="T116" fmla="*/ 2147483647 w 377"/>
                    <a:gd name="T117" fmla="*/ 2147483647 h 210"/>
                    <a:gd name="T118" fmla="*/ 2147483647 w 377"/>
                    <a:gd name="T119" fmla="*/ 2147483647 h 210"/>
                    <a:gd name="T120" fmla="*/ 2147483647 w 377"/>
                    <a:gd name="T121" fmla="*/ 2147483647 h 21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77"/>
                    <a:gd name="T184" fmla="*/ 0 h 210"/>
                    <a:gd name="T185" fmla="*/ 377 w 377"/>
                    <a:gd name="T186" fmla="*/ 210 h 21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77" h="210">
                      <a:moveTo>
                        <a:pt x="21" y="36"/>
                      </a:move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2" y="33"/>
                      </a:lnTo>
                      <a:lnTo>
                        <a:pt x="22" y="34"/>
                      </a:lnTo>
                      <a:lnTo>
                        <a:pt x="21" y="34"/>
                      </a:lnTo>
                      <a:lnTo>
                        <a:pt x="19" y="34"/>
                      </a:lnTo>
                      <a:lnTo>
                        <a:pt x="17" y="34"/>
                      </a:lnTo>
                      <a:lnTo>
                        <a:pt x="15" y="34"/>
                      </a:lnTo>
                      <a:lnTo>
                        <a:pt x="15" y="33"/>
                      </a:lnTo>
                      <a:lnTo>
                        <a:pt x="17" y="33"/>
                      </a:lnTo>
                      <a:lnTo>
                        <a:pt x="17" y="31"/>
                      </a:lnTo>
                      <a:lnTo>
                        <a:pt x="19" y="31"/>
                      </a:lnTo>
                      <a:lnTo>
                        <a:pt x="21" y="33"/>
                      </a:lnTo>
                      <a:lnTo>
                        <a:pt x="22" y="33"/>
                      </a:lnTo>
                      <a:lnTo>
                        <a:pt x="22" y="31"/>
                      </a:lnTo>
                      <a:lnTo>
                        <a:pt x="22" y="29"/>
                      </a:lnTo>
                      <a:lnTo>
                        <a:pt x="24" y="29"/>
                      </a:lnTo>
                      <a:lnTo>
                        <a:pt x="26" y="29"/>
                      </a:lnTo>
                      <a:lnTo>
                        <a:pt x="27" y="29"/>
                      </a:lnTo>
                      <a:lnTo>
                        <a:pt x="26" y="29"/>
                      </a:lnTo>
                      <a:lnTo>
                        <a:pt x="26" y="31"/>
                      </a:lnTo>
                      <a:lnTo>
                        <a:pt x="26" y="33"/>
                      </a:lnTo>
                      <a:lnTo>
                        <a:pt x="26" y="34"/>
                      </a:lnTo>
                      <a:lnTo>
                        <a:pt x="26" y="36"/>
                      </a:lnTo>
                      <a:lnTo>
                        <a:pt x="27" y="38"/>
                      </a:lnTo>
                      <a:lnTo>
                        <a:pt x="29" y="38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2" y="34"/>
                      </a:lnTo>
                      <a:lnTo>
                        <a:pt x="34" y="34"/>
                      </a:lnTo>
                      <a:lnTo>
                        <a:pt x="36" y="36"/>
                      </a:lnTo>
                      <a:lnTo>
                        <a:pt x="36" y="38"/>
                      </a:lnTo>
                      <a:lnTo>
                        <a:pt x="37" y="39"/>
                      </a:lnTo>
                      <a:lnTo>
                        <a:pt x="36" y="39"/>
                      </a:lnTo>
                      <a:lnTo>
                        <a:pt x="37" y="39"/>
                      </a:lnTo>
                      <a:lnTo>
                        <a:pt x="39" y="38"/>
                      </a:lnTo>
                      <a:lnTo>
                        <a:pt x="39" y="39"/>
                      </a:lnTo>
                      <a:lnTo>
                        <a:pt x="41" y="39"/>
                      </a:lnTo>
                      <a:lnTo>
                        <a:pt x="41" y="41"/>
                      </a:lnTo>
                      <a:lnTo>
                        <a:pt x="42" y="41"/>
                      </a:lnTo>
                      <a:lnTo>
                        <a:pt x="42" y="43"/>
                      </a:lnTo>
                      <a:lnTo>
                        <a:pt x="44" y="43"/>
                      </a:lnTo>
                      <a:lnTo>
                        <a:pt x="46" y="43"/>
                      </a:lnTo>
                      <a:lnTo>
                        <a:pt x="48" y="43"/>
                      </a:lnTo>
                      <a:lnTo>
                        <a:pt x="49" y="43"/>
                      </a:lnTo>
                      <a:lnTo>
                        <a:pt x="51" y="43"/>
                      </a:lnTo>
                      <a:lnTo>
                        <a:pt x="53" y="43"/>
                      </a:lnTo>
                      <a:lnTo>
                        <a:pt x="54" y="43"/>
                      </a:lnTo>
                      <a:lnTo>
                        <a:pt x="56" y="43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6"/>
                      </a:lnTo>
                      <a:lnTo>
                        <a:pt x="61" y="46"/>
                      </a:lnTo>
                      <a:lnTo>
                        <a:pt x="61" y="44"/>
                      </a:lnTo>
                      <a:lnTo>
                        <a:pt x="63" y="44"/>
                      </a:lnTo>
                      <a:lnTo>
                        <a:pt x="63" y="43"/>
                      </a:lnTo>
                      <a:lnTo>
                        <a:pt x="64" y="43"/>
                      </a:lnTo>
                      <a:lnTo>
                        <a:pt x="64" y="41"/>
                      </a:lnTo>
                      <a:lnTo>
                        <a:pt x="66" y="39"/>
                      </a:lnTo>
                      <a:lnTo>
                        <a:pt x="68" y="39"/>
                      </a:lnTo>
                      <a:lnTo>
                        <a:pt x="68" y="38"/>
                      </a:lnTo>
                      <a:lnTo>
                        <a:pt x="68" y="39"/>
                      </a:lnTo>
                      <a:lnTo>
                        <a:pt x="68" y="41"/>
                      </a:lnTo>
                      <a:lnTo>
                        <a:pt x="70" y="41"/>
                      </a:lnTo>
                      <a:lnTo>
                        <a:pt x="71" y="41"/>
                      </a:lnTo>
                      <a:lnTo>
                        <a:pt x="71" y="39"/>
                      </a:lnTo>
                      <a:lnTo>
                        <a:pt x="70" y="39"/>
                      </a:lnTo>
                      <a:lnTo>
                        <a:pt x="70" y="38"/>
                      </a:lnTo>
                      <a:lnTo>
                        <a:pt x="71" y="38"/>
                      </a:lnTo>
                      <a:lnTo>
                        <a:pt x="71" y="36"/>
                      </a:lnTo>
                      <a:lnTo>
                        <a:pt x="73" y="36"/>
                      </a:lnTo>
                      <a:lnTo>
                        <a:pt x="75" y="36"/>
                      </a:lnTo>
                      <a:lnTo>
                        <a:pt x="75" y="34"/>
                      </a:lnTo>
                      <a:lnTo>
                        <a:pt x="76" y="34"/>
                      </a:lnTo>
                      <a:lnTo>
                        <a:pt x="78" y="34"/>
                      </a:lnTo>
                      <a:lnTo>
                        <a:pt x="80" y="34"/>
                      </a:lnTo>
                      <a:lnTo>
                        <a:pt x="80" y="33"/>
                      </a:lnTo>
                      <a:lnTo>
                        <a:pt x="81" y="34"/>
                      </a:lnTo>
                      <a:lnTo>
                        <a:pt x="83" y="34"/>
                      </a:lnTo>
                      <a:lnTo>
                        <a:pt x="83" y="33"/>
                      </a:lnTo>
                      <a:lnTo>
                        <a:pt x="85" y="33"/>
                      </a:lnTo>
                      <a:lnTo>
                        <a:pt x="85" y="31"/>
                      </a:lnTo>
                      <a:lnTo>
                        <a:pt x="86" y="31"/>
                      </a:lnTo>
                      <a:lnTo>
                        <a:pt x="86" y="29"/>
                      </a:lnTo>
                      <a:lnTo>
                        <a:pt x="88" y="29"/>
                      </a:lnTo>
                      <a:lnTo>
                        <a:pt x="88" y="28"/>
                      </a:lnTo>
                      <a:lnTo>
                        <a:pt x="86" y="28"/>
                      </a:lnTo>
                      <a:lnTo>
                        <a:pt x="88" y="28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88" y="26"/>
                      </a:lnTo>
                      <a:lnTo>
                        <a:pt x="90" y="24"/>
                      </a:lnTo>
                      <a:lnTo>
                        <a:pt x="91" y="24"/>
                      </a:lnTo>
                      <a:lnTo>
                        <a:pt x="93" y="24"/>
                      </a:lnTo>
                      <a:lnTo>
                        <a:pt x="95" y="24"/>
                      </a:lnTo>
                      <a:lnTo>
                        <a:pt x="95" y="23"/>
                      </a:lnTo>
                      <a:lnTo>
                        <a:pt x="97" y="23"/>
                      </a:lnTo>
                      <a:lnTo>
                        <a:pt x="97" y="21"/>
                      </a:lnTo>
                      <a:lnTo>
                        <a:pt x="95" y="23"/>
                      </a:lnTo>
                      <a:lnTo>
                        <a:pt x="95" y="21"/>
                      </a:lnTo>
                      <a:lnTo>
                        <a:pt x="93" y="20"/>
                      </a:lnTo>
                      <a:lnTo>
                        <a:pt x="95" y="20"/>
                      </a:lnTo>
                      <a:lnTo>
                        <a:pt x="93" y="18"/>
                      </a:lnTo>
                      <a:lnTo>
                        <a:pt x="95" y="18"/>
                      </a:lnTo>
                      <a:lnTo>
                        <a:pt x="95" y="16"/>
                      </a:lnTo>
                      <a:lnTo>
                        <a:pt x="97" y="15"/>
                      </a:lnTo>
                      <a:lnTo>
                        <a:pt x="98" y="15"/>
                      </a:lnTo>
                      <a:lnTo>
                        <a:pt x="100" y="15"/>
                      </a:lnTo>
                      <a:lnTo>
                        <a:pt x="102" y="15"/>
                      </a:lnTo>
                      <a:lnTo>
                        <a:pt x="102" y="16"/>
                      </a:lnTo>
                      <a:lnTo>
                        <a:pt x="103" y="16"/>
                      </a:lnTo>
                      <a:lnTo>
                        <a:pt x="105" y="16"/>
                      </a:lnTo>
                      <a:lnTo>
                        <a:pt x="107" y="15"/>
                      </a:lnTo>
                      <a:lnTo>
                        <a:pt x="108" y="15"/>
                      </a:lnTo>
                      <a:lnTo>
                        <a:pt x="110" y="13"/>
                      </a:lnTo>
                      <a:lnTo>
                        <a:pt x="110" y="11"/>
                      </a:lnTo>
                      <a:lnTo>
                        <a:pt x="112" y="11"/>
                      </a:lnTo>
                      <a:lnTo>
                        <a:pt x="113" y="11"/>
                      </a:lnTo>
                      <a:lnTo>
                        <a:pt x="113" y="13"/>
                      </a:lnTo>
                      <a:lnTo>
                        <a:pt x="115" y="11"/>
                      </a:lnTo>
                      <a:lnTo>
                        <a:pt x="120" y="10"/>
                      </a:lnTo>
                      <a:lnTo>
                        <a:pt x="122" y="10"/>
                      </a:lnTo>
                      <a:lnTo>
                        <a:pt x="125" y="8"/>
                      </a:lnTo>
                      <a:lnTo>
                        <a:pt x="129" y="8"/>
                      </a:lnTo>
                      <a:lnTo>
                        <a:pt x="130" y="5"/>
                      </a:lnTo>
                      <a:lnTo>
                        <a:pt x="132" y="5"/>
                      </a:lnTo>
                      <a:lnTo>
                        <a:pt x="134" y="5"/>
                      </a:lnTo>
                      <a:lnTo>
                        <a:pt x="135" y="3"/>
                      </a:lnTo>
                      <a:lnTo>
                        <a:pt x="137" y="3"/>
                      </a:lnTo>
                      <a:lnTo>
                        <a:pt x="139" y="3"/>
                      </a:lnTo>
                      <a:lnTo>
                        <a:pt x="140" y="3"/>
                      </a:lnTo>
                      <a:lnTo>
                        <a:pt x="142" y="1"/>
                      </a:lnTo>
                      <a:lnTo>
                        <a:pt x="142" y="0"/>
                      </a:lnTo>
                      <a:lnTo>
                        <a:pt x="144" y="0"/>
                      </a:lnTo>
                      <a:lnTo>
                        <a:pt x="146" y="0"/>
                      </a:lnTo>
                      <a:lnTo>
                        <a:pt x="146" y="1"/>
                      </a:lnTo>
                      <a:lnTo>
                        <a:pt x="147" y="1"/>
                      </a:lnTo>
                      <a:lnTo>
                        <a:pt x="149" y="1"/>
                      </a:lnTo>
                      <a:lnTo>
                        <a:pt x="151" y="1"/>
                      </a:lnTo>
                      <a:lnTo>
                        <a:pt x="149" y="6"/>
                      </a:lnTo>
                      <a:lnTo>
                        <a:pt x="152" y="11"/>
                      </a:lnTo>
                      <a:lnTo>
                        <a:pt x="151" y="11"/>
                      </a:lnTo>
                      <a:lnTo>
                        <a:pt x="149" y="11"/>
                      </a:lnTo>
                      <a:lnTo>
                        <a:pt x="144" y="16"/>
                      </a:lnTo>
                      <a:lnTo>
                        <a:pt x="140" y="18"/>
                      </a:lnTo>
                      <a:lnTo>
                        <a:pt x="140" y="21"/>
                      </a:lnTo>
                      <a:lnTo>
                        <a:pt x="137" y="24"/>
                      </a:lnTo>
                      <a:lnTo>
                        <a:pt x="132" y="28"/>
                      </a:lnTo>
                      <a:lnTo>
                        <a:pt x="129" y="34"/>
                      </a:lnTo>
                      <a:lnTo>
                        <a:pt x="129" y="36"/>
                      </a:lnTo>
                      <a:lnTo>
                        <a:pt x="129" y="38"/>
                      </a:lnTo>
                      <a:lnTo>
                        <a:pt x="129" y="39"/>
                      </a:lnTo>
                      <a:lnTo>
                        <a:pt x="130" y="41"/>
                      </a:lnTo>
                      <a:lnTo>
                        <a:pt x="129" y="43"/>
                      </a:lnTo>
                      <a:lnTo>
                        <a:pt x="130" y="43"/>
                      </a:lnTo>
                      <a:lnTo>
                        <a:pt x="130" y="44"/>
                      </a:lnTo>
                      <a:lnTo>
                        <a:pt x="130" y="46"/>
                      </a:lnTo>
                      <a:lnTo>
                        <a:pt x="129" y="46"/>
                      </a:lnTo>
                      <a:lnTo>
                        <a:pt x="129" y="47"/>
                      </a:lnTo>
                      <a:lnTo>
                        <a:pt x="127" y="47"/>
                      </a:lnTo>
                      <a:lnTo>
                        <a:pt x="125" y="47"/>
                      </a:lnTo>
                      <a:lnTo>
                        <a:pt x="124" y="47"/>
                      </a:lnTo>
                      <a:lnTo>
                        <a:pt x="122" y="47"/>
                      </a:lnTo>
                      <a:lnTo>
                        <a:pt x="122" y="49"/>
                      </a:lnTo>
                      <a:lnTo>
                        <a:pt x="122" y="51"/>
                      </a:lnTo>
                      <a:lnTo>
                        <a:pt x="122" y="52"/>
                      </a:lnTo>
                      <a:lnTo>
                        <a:pt x="122" y="54"/>
                      </a:lnTo>
                      <a:lnTo>
                        <a:pt x="122" y="56"/>
                      </a:lnTo>
                      <a:lnTo>
                        <a:pt x="122" y="57"/>
                      </a:lnTo>
                      <a:lnTo>
                        <a:pt x="122" y="59"/>
                      </a:lnTo>
                      <a:lnTo>
                        <a:pt x="122" y="61"/>
                      </a:lnTo>
                      <a:lnTo>
                        <a:pt x="122" y="62"/>
                      </a:lnTo>
                      <a:lnTo>
                        <a:pt x="125" y="61"/>
                      </a:lnTo>
                      <a:lnTo>
                        <a:pt x="127" y="61"/>
                      </a:lnTo>
                      <a:lnTo>
                        <a:pt x="129" y="61"/>
                      </a:lnTo>
                      <a:lnTo>
                        <a:pt x="130" y="61"/>
                      </a:lnTo>
                      <a:lnTo>
                        <a:pt x="132" y="61"/>
                      </a:lnTo>
                      <a:lnTo>
                        <a:pt x="132" y="62"/>
                      </a:lnTo>
                      <a:lnTo>
                        <a:pt x="134" y="62"/>
                      </a:lnTo>
                      <a:lnTo>
                        <a:pt x="137" y="61"/>
                      </a:lnTo>
                      <a:lnTo>
                        <a:pt x="137" y="62"/>
                      </a:lnTo>
                      <a:lnTo>
                        <a:pt x="139" y="62"/>
                      </a:lnTo>
                      <a:lnTo>
                        <a:pt x="140" y="64"/>
                      </a:lnTo>
                      <a:lnTo>
                        <a:pt x="142" y="64"/>
                      </a:lnTo>
                      <a:lnTo>
                        <a:pt x="142" y="66"/>
                      </a:lnTo>
                      <a:lnTo>
                        <a:pt x="142" y="67"/>
                      </a:lnTo>
                      <a:lnTo>
                        <a:pt x="140" y="69"/>
                      </a:lnTo>
                      <a:lnTo>
                        <a:pt x="142" y="69"/>
                      </a:lnTo>
                      <a:lnTo>
                        <a:pt x="142" y="70"/>
                      </a:lnTo>
                      <a:lnTo>
                        <a:pt x="142" y="72"/>
                      </a:lnTo>
                      <a:lnTo>
                        <a:pt x="144" y="72"/>
                      </a:lnTo>
                      <a:lnTo>
                        <a:pt x="144" y="74"/>
                      </a:lnTo>
                      <a:lnTo>
                        <a:pt x="146" y="74"/>
                      </a:lnTo>
                      <a:lnTo>
                        <a:pt x="147" y="74"/>
                      </a:lnTo>
                      <a:lnTo>
                        <a:pt x="149" y="74"/>
                      </a:lnTo>
                      <a:lnTo>
                        <a:pt x="149" y="72"/>
                      </a:lnTo>
                      <a:lnTo>
                        <a:pt x="151" y="70"/>
                      </a:lnTo>
                      <a:lnTo>
                        <a:pt x="152" y="70"/>
                      </a:lnTo>
                      <a:lnTo>
                        <a:pt x="152" y="69"/>
                      </a:lnTo>
                      <a:lnTo>
                        <a:pt x="154" y="69"/>
                      </a:lnTo>
                      <a:lnTo>
                        <a:pt x="154" y="70"/>
                      </a:lnTo>
                      <a:lnTo>
                        <a:pt x="156" y="70"/>
                      </a:lnTo>
                      <a:lnTo>
                        <a:pt x="157" y="72"/>
                      </a:lnTo>
                      <a:lnTo>
                        <a:pt x="159" y="72"/>
                      </a:lnTo>
                      <a:lnTo>
                        <a:pt x="159" y="70"/>
                      </a:lnTo>
                      <a:lnTo>
                        <a:pt x="161" y="70"/>
                      </a:lnTo>
                      <a:lnTo>
                        <a:pt x="162" y="69"/>
                      </a:lnTo>
                      <a:lnTo>
                        <a:pt x="162" y="67"/>
                      </a:lnTo>
                      <a:lnTo>
                        <a:pt x="161" y="67"/>
                      </a:lnTo>
                      <a:lnTo>
                        <a:pt x="164" y="66"/>
                      </a:lnTo>
                      <a:lnTo>
                        <a:pt x="166" y="62"/>
                      </a:lnTo>
                      <a:lnTo>
                        <a:pt x="167" y="62"/>
                      </a:lnTo>
                      <a:lnTo>
                        <a:pt x="169" y="62"/>
                      </a:lnTo>
                      <a:lnTo>
                        <a:pt x="171" y="70"/>
                      </a:lnTo>
                      <a:lnTo>
                        <a:pt x="176" y="67"/>
                      </a:lnTo>
                      <a:lnTo>
                        <a:pt x="179" y="66"/>
                      </a:lnTo>
                      <a:lnTo>
                        <a:pt x="183" y="64"/>
                      </a:lnTo>
                      <a:lnTo>
                        <a:pt x="184" y="64"/>
                      </a:lnTo>
                      <a:lnTo>
                        <a:pt x="184" y="66"/>
                      </a:lnTo>
                      <a:lnTo>
                        <a:pt x="184" y="67"/>
                      </a:lnTo>
                      <a:lnTo>
                        <a:pt x="186" y="67"/>
                      </a:lnTo>
                      <a:lnTo>
                        <a:pt x="188" y="67"/>
                      </a:lnTo>
                      <a:lnTo>
                        <a:pt x="188" y="69"/>
                      </a:lnTo>
                      <a:lnTo>
                        <a:pt x="189" y="69"/>
                      </a:lnTo>
                      <a:lnTo>
                        <a:pt x="188" y="70"/>
                      </a:lnTo>
                      <a:lnTo>
                        <a:pt x="188" y="72"/>
                      </a:lnTo>
                      <a:lnTo>
                        <a:pt x="189" y="72"/>
                      </a:lnTo>
                      <a:lnTo>
                        <a:pt x="191" y="72"/>
                      </a:lnTo>
                      <a:lnTo>
                        <a:pt x="193" y="72"/>
                      </a:lnTo>
                      <a:lnTo>
                        <a:pt x="193" y="74"/>
                      </a:lnTo>
                      <a:lnTo>
                        <a:pt x="193" y="75"/>
                      </a:lnTo>
                      <a:lnTo>
                        <a:pt x="191" y="75"/>
                      </a:lnTo>
                      <a:lnTo>
                        <a:pt x="191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9" y="82"/>
                      </a:lnTo>
                      <a:lnTo>
                        <a:pt x="189" y="84"/>
                      </a:lnTo>
                      <a:lnTo>
                        <a:pt x="189" y="85"/>
                      </a:lnTo>
                      <a:lnTo>
                        <a:pt x="191" y="87"/>
                      </a:lnTo>
                      <a:lnTo>
                        <a:pt x="193" y="87"/>
                      </a:lnTo>
                      <a:lnTo>
                        <a:pt x="194" y="89"/>
                      </a:lnTo>
                      <a:lnTo>
                        <a:pt x="194" y="87"/>
                      </a:lnTo>
                      <a:lnTo>
                        <a:pt x="196" y="87"/>
                      </a:lnTo>
                      <a:lnTo>
                        <a:pt x="196" y="85"/>
                      </a:lnTo>
                      <a:lnTo>
                        <a:pt x="196" y="84"/>
                      </a:lnTo>
                      <a:lnTo>
                        <a:pt x="196" y="82"/>
                      </a:lnTo>
                      <a:lnTo>
                        <a:pt x="198" y="82"/>
                      </a:lnTo>
                      <a:lnTo>
                        <a:pt x="198" y="84"/>
                      </a:lnTo>
                      <a:lnTo>
                        <a:pt x="200" y="84"/>
                      </a:lnTo>
                      <a:lnTo>
                        <a:pt x="201" y="84"/>
                      </a:lnTo>
                      <a:lnTo>
                        <a:pt x="203" y="84"/>
                      </a:lnTo>
                      <a:lnTo>
                        <a:pt x="205" y="84"/>
                      </a:lnTo>
                      <a:lnTo>
                        <a:pt x="208" y="82"/>
                      </a:lnTo>
                      <a:lnTo>
                        <a:pt x="210" y="82"/>
                      </a:lnTo>
                      <a:lnTo>
                        <a:pt x="210" y="80"/>
                      </a:lnTo>
                      <a:lnTo>
                        <a:pt x="210" y="79"/>
                      </a:lnTo>
                      <a:lnTo>
                        <a:pt x="211" y="77"/>
                      </a:lnTo>
                      <a:lnTo>
                        <a:pt x="211" y="75"/>
                      </a:lnTo>
                      <a:lnTo>
                        <a:pt x="210" y="75"/>
                      </a:lnTo>
                      <a:lnTo>
                        <a:pt x="211" y="74"/>
                      </a:lnTo>
                      <a:lnTo>
                        <a:pt x="213" y="74"/>
                      </a:lnTo>
                      <a:lnTo>
                        <a:pt x="213" y="72"/>
                      </a:lnTo>
                      <a:lnTo>
                        <a:pt x="215" y="70"/>
                      </a:lnTo>
                      <a:lnTo>
                        <a:pt x="215" y="69"/>
                      </a:lnTo>
                      <a:lnTo>
                        <a:pt x="213" y="67"/>
                      </a:lnTo>
                      <a:lnTo>
                        <a:pt x="215" y="67"/>
                      </a:lnTo>
                      <a:lnTo>
                        <a:pt x="213" y="66"/>
                      </a:lnTo>
                      <a:lnTo>
                        <a:pt x="211" y="66"/>
                      </a:lnTo>
                      <a:lnTo>
                        <a:pt x="211" y="64"/>
                      </a:lnTo>
                      <a:lnTo>
                        <a:pt x="210" y="66"/>
                      </a:lnTo>
                      <a:lnTo>
                        <a:pt x="210" y="64"/>
                      </a:lnTo>
                      <a:lnTo>
                        <a:pt x="210" y="62"/>
                      </a:lnTo>
                      <a:lnTo>
                        <a:pt x="208" y="62"/>
                      </a:lnTo>
                      <a:lnTo>
                        <a:pt x="210" y="62"/>
                      </a:lnTo>
                      <a:lnTo>
                        <a:pt x="210" y="61"/>
                      </a:lnTo>
                      <a:lnTo>
                        <a:pt x="210" y="59"/>
                      </a:lnTo>
                      <a:lnTo>
                        <a:pt x="210" y="57"/>
                      </a:lnTo>
                      <a:lnTo>
                        <a:pt x="211" y="57"/>
                      </a:lnTo>
                      <a:lnTo>
                        <a:pt x="211" y="56"/>
                      </a:lnTo>
                      <a:lnTo>
                        <a:pt x="211" y="54"/>
                      </a:lnTo>
                      <a:lnTo>
                        <a:pt x="213" y="52"/>
                      </a:lnTo>
                      <a:lnTo>
                        <a:pt x="211" y="52"/>
                      </a:lnTo>
                      <a:lnTo>
                        <a:pt x="213" y="52"/>
                      </a:lnTo>
                      <a:lnTo>
                        <a:pt x="215" y="52"/>
                      </a:lnTo>
                      <a:lnTo>
                        <a:pt x="215" y="54"/>
                      </a:lnTo>
                      <a:lnTo>
                        <a:pt x="216" y="54"/>
                      </a:lnTo>
                      <a:lnTo>
                        <a:pt x="216" y="56"/>
                      </a:lnTo>
                      <a:lnTo>
                        <a:pt x="218" y="56"/>
                      </a:lnTo>
                      <a:lnTo>
                        <a:pt x="218" y="54"/>
                      </a:lnTo>
                      <a:lnTo>
                        <a:pt x="220" y="54"/>
                      </a:lnTo>
                      <a:lnTo>
                        <a:pt x="220" y="56"/>
                      </a:lnTo>
                      <a:lnTo>
                        <a:pt x="220" y="54"/>
                      </a:lnTo>
                      <a:lnTo>
                        <a:pt x="220" y="52"/>
                      </a:lnTo>
                      <a:lnTo>
                        <a:pt x="220" y="51"/>
                      </a:lnTo>
                      <a:lnTo>
                        <a:pt x="222" y="51"/>
                      </a:lnTo>
                      <a:lnTo>
                        <a:pt x="220" y="49"/>
                      </a:lnTo>
                      <a:lnTo>
                        <a:pt x="220" y="47"/>
                      </a:lnTo>
                      <a:lnTo>
                        <a:pt x="218" y="47"/>
                      </a:lnTo>
                      <a:lnTo>
                        <a:pt x="216" y="47"/>
                      </a:lnTo>
                      <a:lnTo>
                        <a:pt x="216" y="46"/>
                      </a:lnTo>
                      <a:lnTo>
                        <a:pt x="216" y="44"/>
                      </a:lnTo>
                      <a:lnTo>
                        <a:pt x="215" y="44"/>
                      </a:lnTo>
                      <a:lnTo>
                        <a:pt x="213" y="44"/>
                      </a:lnTo>
                      <a:lnTo>
                        <a:pt x="211" y="44"/>
                      </a:lnTo>
                      <a:lnTo>
                        <a:pt x="211" y="43"/>
                      </a:lnTo>
                      <a:lnTo>
                        <a:pt x="211" y="41"/>
                      </a:lnTo>
                      <a:lnTo>
                        <a:pt x="211" y="39"/>
                      </a:lnTo>
                      <a:lnTo>
                        <a:pt x="211" y="38"/>
                      </a:lnTo>
                      <a:lnTo>
                        <a:pt x="213" y="36"/>
                      </a:lnTo>
                      <a:lnTo>
                        <a:pt x="213" y="34"/>
                      </a:lnTo>
                      <a:lnTo>
                        <a:pt x="213" y="33"/>
                      </a:lnTo>
                      <a:lnTo>
                        <a:pt x="215" y="33"/>
                      </a:lnTo>
                      <a:lnTo>
                        <a:pt x="215" y="31"/>
                      </a:lnTo>
                      <a:lnTo>
                        <a:pt x="222" y="31"/>
                      </a:lnTo>
                      <a:lnTo>
                        <a:pt x="225" y="24"/>
                      </a:lnTo>
                      <a:lnTo>
                        <a:pt x="228" y="26"/>
                      </a:lnTo>
                      <a:lnTo>
                        <a:pt x="228" y="24"/>
                      </a:lnTo>
                      <a:lnTo>
                        <a:pt x="230" y="24"/>
                      </a:lnTo>
                      <a:lnTo>
                        <a:pt x="232" y="24"/>
                      </a:lnTo>
                      <a:lnTo>
                        <a:pt x="232" y="23"/>
                      </a:lnTo>
                      <a:lnTo>
                        <a:pt x="233" y="23"/>
                      </a:lnTo>
                      <a:lnTo>
                        <a:pt x="233" y="24"/>
                      </a:lnTo>
                      <a:lnTo>
                        <a:pt x="235" y="24"/>
                      </a:lnTo>
                      <a:lnTo>
                        <a:pt x="235" y="26"/>
                      </a:lnTo>
                      <a:lnTo>
                        <a:pt x="235" y="28"/>
                      </a:lnTo>
                      <a:lnTo>
                        <a:pt x="235" y="29"/>
                      </a:lnTo>
                      <a:lnTo>
                        <a:pt x="233" y="31"/>
                      </a:lnTo>
                      <a:lnTo>
                        <a:pt x="233" y="33"/>
                      </a:lnTo>
                      <a:lnTo>
                        <a:pt x="233" y="34"/>
                      </a:lnTo>
                      <a:lnTo>
                        <a:pt x="235" y="34"/>
                      </a:lnTo>
                      <a:lnTo>
                        <a:pt x="237" y="34"/>
                      </a:lnTo>
                      <a:lnTo>
                        <a:pt x="237" y="36"/>
                      </a:lnTo>
                      <a:lnTo>
                        <a:pt x="238" y="36"/>
                      </a:lnTo>
                      <a:lnTo>
                        <a:pt x="238" y="38"/>
                      </a:lnTo>
                      <a:lnTo>
                        <a:pt x="240" y="38"/>
                      </a:lnTo>
                      <a:lnTo>
                        <a:pt x="245" y="36"/>
                      </a:lnTo>
                      <a:lnTo>
                        <a:pt x="247" y="38"/>
                      </a:lnTo>
                      <a:lnTo>
                        <a:pt x="249" y="38"/>
                      </a:lnTo>
                      <a:lnTo>
                        <a:pt x="252" y="38"/>
                      </a:lnTo>
                      <a:lnTo>
                        <a:pt x="252" y="36"/>
                      </a:lnTo>
                      <a:lnTo>
                        <a:pt x="254" y="36"/>
                      </a:lnTo>
                      <a:lnTo>
                        <a:pt x="255" y="36"/>
                      </a:lnTo>
                      <a:lnTo>
                        <a:pt x="255" y="38"/>
                      </a:lnTo>
                      <a:lnTo>
                        <a:pt x="255" y="39"/>
                      </a:lnTo>
                      <a:lnTo>
                        <a:pt x="257" y="39"/>
                      </a:lnTo>
                      <a:lnTo>
                        <a:pt x="255" y="39"/>
                      </a:lnTo>
                      <a:lnTo>
                        <a:pt x="257" y="39"/>
                      </a:lnTo>
                      <a:lnTo>
                        <a:pt x="257" y="38"/>
                      </a:lnTo>
                      <a:lnTo>
                        <a:pt x="259" y="38"/>
                      </a:lnTo>
                      <a:lnTo>
                        <a:pt x="259" y="39"/>
                      </a:lnTo>
                      <a:lnTo>
                        <a:pt x="260" y="39"/>
                      </a:lnTo>
                      <a:lnTo>
                        <a:pt x="260" y="41"/>
                      </a:lnTo>
                      <a:lnTo>
                        <a:pt x="260" y="39"/>
                      </a:lnTo>
                      <a:lnTo>
                        <a:pt x="260" y="41"/>
                      </a:lnTo>
                      <a:lnTo>
                        <a:pt x="262" y="41"/>
                      </a:lnTo>
                      <a:lnTo>
                        <a:pt x="262" y="43"/>
                      </a:lnTo>
                      <a:lnTo>
                        <a:pt x="264" y="43"/>
                      </a:lnTo>
                      <a:lnTo>
                        <a:pt x="265" y="43"/>
                      </a:lnTo>
                      <a:lnTo>
                        <a:pt x="267" y="43"/>
                      </a:lnTo>
                      <a:lnTo>
                        <a:pt x="277" y="41"/>
                      </a:lnTo>
                      <a:lnTo>
                        <a:pt x="279" y="43"/>
                      </a:lnTo>
                      <a:lnTo>
                        <a:pt x="284" y="41"/>
                      </a:lnTo>
                      <a:lnTo>
                        <a:pt x="286" y="41"/>
                      </a:lnTo>
                      <a:lnTo>
                        <a:pt x="287" y="41"/>
                      </a:lnTo>
                      <a:lnTo>
                        <a:pt x="289" y="41"/>
                      </a:lnTo>
                      <a:lnTo>
                        <a:pt x="291" y="39"/>
                      </a:lnTo>
                      <a:lnTo>
                        <a:pt x="292" y="39"/>
                      </a:lnTo>
                      <a:lnTo>
                        <a:pt x="294" y="39"/>
                      </a:lnTo>
                      <a:lnTo>
                        <a:pt x="294" y="38"/>
                      </a:lnTo>
                      <a:lnTo>
                        <a:pt x="294" y="39"/>
                      </a:lnTo>
                      <a:lnTo>
                        <a:pt x="294" y="38"/>
                      </a:lnTo>
                      <a:lnTo>
                        <a:pt x="294" y="39"/>
                      </a:lnTo>
                      <a:lnTo>
                        <a:pt x="296" y="39"/>
                      </a:lnTo>
                      <a:lnTo>
                        <a:pt x="298" y="39"/>
                      </a:lnTo>
                      <a:lnTo>
                        <a:pt x="299" y="39"/>
                      </a:lnTo>
                      <a:lnTo>
                        <a:pt x="301" y="41"/>
                      </a:lnTo>
                      <a:lnTo>
                        <a:pt x="301" y="43"/>
                      </a:lnTo>
                      <a:lnTo>
                        <a:pt x="303" y="43"/>
                      </a:lnTo>
                      <a:lnTo>
                        <a:pt x="304" y="43"/>
                      </a:lnTo>
                      <a:lnTo>
                        <a:pt x="304" y="41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8" y="41"/>
                      </a:lnTo>
                      <a:lnTo>
                        <a:pt x="309" y="41"/>
                      </a:lnTo>
                      <a:lnTo>
                        <a:pt x="311" y="41"/>
                      </a:lnTo>
                      <a:lnTo>
                        <a:pt x="311" y="43"/>
                      </a:lnTo>
                      <a:lnTo>
                        <a:pt x="311" y="41"/>
                      </a:lnTo>
                      <a:lnTo>
                        <a:pt x="313" y="41"/>
                      </a:lnTo>
                      <a:lnTo>
                        <a:pt x="314" y="43"/>
                      </a:lnTo>
                      <a:lnTo>
                        <a:pt x="314" y="41"/>
                      </a:lnTo>
                      <a:lnTo>
                        <a:pt x="314" y="43"/>
                      </a:lnTo>
                      <a:lnTo>
                        <a:pt x="316" y="43"/>
                      </a:lnTo>
                      <a:lnTo>
                        <a:pt x="318" y="43"/>
                      </a:lnTo>
                      <a:lnTo>
                        <a:pt x="319" y="43"/>
                      </a:lnTo>
                      <a:lnTo>
                        <a:pt x="319" y="44"/>
                      </a:lnTo>
                      <a:lnTo>
                        <a:pt x="321" y="46"/>
                      </a:lnTo>
                      <a:lnTo>
                        <a:pt x="323" y="46"/>
                      </a:lnTo>
                      <a:lnTo>
                        <a:pt x="325" y="47"/>
                      </a:lnTo>
                      <a:lnTo>
                        <a:pt x="331" y="47"/>
                      </a:lnTo>
                      <a:lnTo>
                        <a:pt x="333" y="46"/>
                      </a:lnTo>
                      <a:lnTo>
                        <a:pt x="335" y="46"/>
                      </a:lnTo>
                      <a:lnTo>
                        <a:pt x="335" y="44"/>
                      </a:lnTo>
                      <a:lnTo>
                        <a:pt x="336" y="44"/>
                      </a:lnTo>
                      <a:lnTo>
                        <a:pt x="336" y="46"/>
                      </a:lnTo>
                      <a:lnTo>
                        <a:pt x="336" y="47"/>
                      </a:lnTo>
                      <a:lnTo>
                        <a:pt x="338" y="47"/>
                      </a:lnTo>
                      <a:lnTo>
                        <a:pt x="340" y="47"/>
                      </a:lnTo>
                      <a:lnTo>
                        <a:pt x="340" y="49"/>
                      </a:lnTo>
                      <a:lnTo>
                        <a:pt x="341" y="49"/>
                      </a:lnTo>
                      <a:lnTo>
                        <a:pt x="341" y="47"/>
                      </a:lnTo>
                      <a:lnTo>
                        <a:pt x="343" y="47"/>
                      </a:lnTo>
                      <a:lnTo>
                        <a:pt x="345" y="46"/>
                      </a:lnTo>
                      <a:lnTo>
                        <a:pt x="345" y="44"/>
                      </a:lnTo>
                      <a:lnTo>
                        <a:pt x="346" y="44"/>
                      </a:lnTo>
                      <a:lnTo>
                        <a:pt x="346" y="43"/>
                      </a:lnTo>
                      <a:lnTo>
                        <a:pt x="348" y="43"/>
                      </a:lnTo>
                      <a:lnTo>
                        <a:pt x="348" y="44"/>
                      </a:lnTo>
                      <a:lnTo>
                        <a:pt x="350" y="44"/>
                      </a:lnTo>
                      <a:lnTo>
                        <a:pt x="350" y="46"/>
                      </a:lnTo>
                      <a:lnTo>
                        <a:pt x="352" y="46"/>
                      </a:lnTo>
                      <a:lnTo>
                        <a:pt x="353" y="44"/>
                      </a:lnTo>
                      <a:lnTo>
                        <a:pt x="355" y="44"/>
                      </a:lnTo>
                      <a:lnTo>
                        <a:pt x="357" y="44"/>
                      </a:lnTo>
                      <a:lnTo>
                        <a:pt x="357" y="43"/>
                      </a:lnTo>
                      <a:lnTo>
                        <a:pt x="357" y="44"/>
                      </a:lnTo>
                      <a:lnTo>
                        <a:pt x="358" y="43"/>
                      </a:lnTo>
                      <a:lnTo>
                        <a:pt x="360" y="43"/>
                      </a:lnTo>
                      <a:lnTo>
                        <a:pt x="360" y="44"/>
                      </a:lnTo>
                      <a:lnTo>
                        <a:pt x="360" y="47"/>
                      </a:lnTo>
                      <a:lnTo>
                        <a:pt x="360" y="52"/>
                      </a:lnTo>
                      <a:lnTo>
                        <a:pt x="360" y="56"/>
                      </a:lnTo>
                      <a:lnTo>
                        <a:pt x="362" y="59"/>
                      </a:lnTo>
                      <a:lnTo>
                        <a:pt x="362" y="61"/>
                      </a:lnTo>
                      <a:lnTo>
                        <a:pt x="363" y="61"/>
                      </a:lnTo>
                      <a:lnTo>
                        <a:pt x="363" y="62"/>
                      </a:lnTo>
                      <a:lnTo>
                        <a:pt x="363" y="64"/>
                      </a:lnTo>
                      <a:lnTo>
                        <a:pt x="363" y="66"/>
                      </a:lnTo>
                      <a:lnTo>
                        <a:pt x="362" y="67"/>
                      </a:lnTo>
                      <a:lnTo>
                        <a:pt x="363" y="67"/>
                      </a:lnTo>
                      <a:lnTo>
                        <a:pt x="363" y="69"/>
                      </a:lnTo>
                      <a:lnTo>
                        <a:pt x="365" y="70"/>
                      </a:lnTo>
                      <a:lnTo>
                        <a:pt x="365" y="72"/>
                      </a:lnTo>
                      <a:lnTo>
                        <a:pt x="365" y="75"/>
                      </a:lnTo>
                      <a:lnTo>
                        <a:pt x="365" y="77"/>
                      </a:lnTo>
                      <a:lnTo>
                        <a:pt x="367" y="77"/>
                      </a:lnTo>
                      <a:lnTo>
                        <a:pt x="367" y="79"/>
                      </a:lnTo>
                      <a:lnTo>
                        <a:pt x="368" y="80"/>
                      </a:lnTo>
                      <a:lnTo>
                        <a:pt x="370" y="80"/>
                      </a:lnTo>
                      <a:lnTo>
                        <a:pt x="370" y="82"/>
                      </a:lnTo>
                      <a:lnTo>
                        <a:pt x="368" y="84"/>
                      </a:lnTo>
                      <a:lnTo>
                        <a:pt x="370" y="85"/>
                      </a:lnTo>
                      <a:lnTo>
                        <a:pt x="370" y="87"/>
                      </a:lnTo>
                      <a:lnTo>
                        <a:pt x="368" y="87"/>
                      </a:lnTo>
                      <a:lnTo>
                        <a:pt x="368" y="89"/>
                      </a:lnTo>
                      <a:lnTo>
                        <a:pt x="368" y="90"/>
                      </a:lnTo>
                      <a:lnTo>
                        <a:pt x="370" y="92"/>
                      </a:lnTo>
                      <a:lnTo>
                        <a:pt x="370" y="90"/>
                      </a:lnTo>
                      <a:lnTo>
                        <a:pt x="372" y="90"/>
                      </a:lnTo>
                      <a:lnTo>
                        <a:pt x="372" y="89"/>
                      </a:lnTo>
                      <a:lnTo>
                        <a:pt x="372" y="87"/>
                      </a:lnTo>
                      <a:lnTo>
                        <a:pt x="374" y="87"/>
                      </a:lnTo>
                      <a:lnTo>
                        <a:pt x="374" y="90"/>
                      </a:lnTo>
                      <a:lnTo>
                        <a:pt x="374" y="92"/>
                      </a:lnTo>
                      <a:lnTo>
                        <a:pt x="372" y="93"/>
                      </a:lnTo>
                      <a:lnTo>
                        <a:pt x="372" y="95"/>
                      </a:lnTo>
                      <a:lnTo>
                        <a:pt x="372" y="97"/>
                      </a:lnTo>
                      <a:lnTo>
                        <a:pt x="372" y="98"/>
                      </a:lnTo>
                      <a:lnTo>
                        <a:pt x="374" y="100"/>
                      </a:lnTo>
                      <a:lnTo>
                        <a:pt x="374" y="102"/>
                      </a:lnTo>
                      <a:lnTo>
                        <a:pt x="375" y="103"/>
                      </a:lnTo>
                      <a:lnTo>
                        <a:pt x="377" y="103"/>
                      </a:lnTo>
                      <a:lnTo>
                        <a:pt x="375" y="105"/>
                      </a:lnTo>
                      <a:lnTo>
                        <a:pt x="375" y="108"/>
                      </a:lnTo>
                      <a:lnTo>
                        <a:pt x="375" y="110"/>
                      </a:lnTo>
                      <a:lnTo>
                        <a:pt x="375" y="112"/>
                      </a:lnTo>
                      <a:lnTo>
                        <a:pt x="375" y="113"/>
                      </a:lnTo>
                      <a:lnTo>
                        <a:pt x="375" y="115"/>
                      </a:lnTo>
                      <a:lnTo>
                        <a:pt x="375" y="116"/>
                      </a:lnTo>
                      <a:lnTo>
                        <a:pt x="375" y="118"/>
                      </a:lnTo>
                      <a:lnTo>
                        <a:pt x="375" y="120"/>
                      </a:lnTo>
                      <a:lnTo>
                        <a:pt x="377" y="120"/>
                      </a:lnTo>
                      <a:lnTo>
                        <a:pt x="375" y="120"/>
                      </a:lnTo>
                      <a:lnTo>
                        <a:pt x="375" y="121"/>
                      </a:lnTo>
                      <a:lnTo>
                        <a:pt x="375" y="123"/>
                      </a:lnTo>
                      <a:lnTo>
                        <a:pt x="375" y="125"/>
                      </a:lnTo>
                      <a:lnTo>
                        <a:pt x="375" y="128"/>
                      </a:lnTo>
                      <a:lnTo>
                        <a:pt x="375" y="130"/>
                      </a:lnTo>
                      <a:lnTo>
                        <a:pt x="375" y="131"/>
                      </a:lnTo>
                      <a:lnTo>
                        <a:pt x="375" y="133"/>
                      </a:lnTo>
                      <a:lnTo>
                        <a:pt x="374" y="135"/>
                      </a:lnTo>
                      <a:lnTo>
                        <a:pt x="375" y="136"/>
                      </a:lnTo>
                      <a:lnTo>
                        <a:pt x="374" y="138"/>
                      </a:lnTo>
                      <a:lnTo>
                        <a:pt x="374" y="139"/>
                      </a:lnTo>
                      <a:lnTo>
                        <a:pt x="372" y="139"/>
                      </a:lnTo>
                      <a:lnTo>
                        <a:pt x="370" y="139"/>
                      </a:lnTo>
                      <a:lnTo>
                        <a:pt x="368" y="139"/>
                      </a:lnTo>
                      <a:lnTo>
                        <a:pt x="367" y="139"/>
                      </a:lnTo>
                      <a:lnTo>
                        <a:pt x="365" y="139"/>
                      </a:lnTo>
                      <a:lnTo>
                        <a:pt x="367" y="139"/>
                      </a:lnTo>
                      <a:lnTo>
                        <a:pt x="365" y="139"/>
                      </a:lnTo>
                      <a:lnTo>
                        <a:pt x="363" y="138"/>
                      </a:lnTo>
                      <a:lnTo>
                        <a:pt x="362" y="138"/>
                      </a:lnTo>
                      <a:lnTo>
                        <a:pt x="362" y="139"/>
                      </a:lnTo>
                      <a:lnTo>
                        <a:pt x="360" y="139"/>
                      </a:lnTo>
                      <a:lnTo>
                        <a:pt x="360" y="138"/>
                      </a:lnTo>
                      <a:lnTo>
                        <a:pt x="358" y="136"/>
                      </a:lnTo>
                      <a:lnTo>
                        <a:pt x="358" y="135"/>
                      </a:lnTo>
                      <a:lnTo>
                        <a:pt x="358" y="133"/>
                      </a:lnTo>
                      <a:lnTo>
                        <a:pt x="358" y="131"/>
                      </a:lnTo>
                      <a:lnTo>
                        <a:pt x="357" y="131"/>
                      </a:lnTo>
                      <a:lnTo>
                        <a:pt x="355" y="130"/>
                      </a:lnTo>
                      <a:lnTo>
                        <a:pt x="353" y="128"/>
                      </a:lnTo>
                      <a:lnTo>
                        <a:pt x="352" y="128"/>
                      </a:lnTo>
                      <a:lnTo>
                        <a:pt x="350" y="126"/>
                      </a:lnTo>
                      <a:lnTo>
                        <a:pt x="348" y="126"/>
                      </a:lnTo>
                      <a:lnTo>
                        <a:pt x="346" y="126"/>
                      </a:lnTo>
                      <a:lnTo>
                        <a:pt x="345" y="126"/>
                      </a:lnTo>
                      <a:lnTo>
                        <a:pt x="343" y="126"/>
                      </a:lnTo>
                      <a:lnTo>
                        <a:pt x="341" y="126"/>
                      </a:lnTo>
                      <a:lnTo>
                        <a:pt x="341" y="125"/>
                      </a:lnTo>
                      <a:lnTo>
                        <a:pt x="340" y="125"/>
                      </a:lnTo>
                      <a:lnTo>
                        <a:pt x="340" y="126"/>
                      </a:lnTo>
                      <a:lnTo>
                        <a:pt x="338" y="126"/>
                      </a:lnTo>
                      <a:lnTo>
                        <a:pt x="338" y="125"/>
                      </a:lnTo>
                      <a:lnTo>
                        <a:pt x="336" y="125"/>
                      </a:lnTo>
                      <a:lnTo>
                        <a:pt x="335" y="125"/>
                      </a:lnTo>
                      <a:lnTo>
                        <a:pt x="333" y="125"/>
                      </a:lnTo>
                      <a:lnTo>
                        <a:pt x="330" y="125"/>
                      </a:lnTo>
                      <a:lnTo>
                        <a:pt x="330" y="126"/>
                      </a:lnTo>
                      <a:lnTo>
                        <a:pt x="328" y="126"/>
                      </a:lnTo>
                      <a:lnTo>
                        <a:pt x="328" y="128"/>
                      </a:lnTo>
                      <a:lnTo>
                        <a:pt x="326" y="126"/>
                      </a:lnTo>
                      <a:lnTo>
                        <a:pt x="326" y="128"/>
                      </a:lnTo>
                      <a:lnTo>
                        <a:pt x="325" y="126"/>
                      </a:lnTo>
                      <a:lnTo>
                        <a:pt x="325" y="128"/>
                      </a:lnTo>
                      <a:lnTo>
                        <a:pt x="323" y="128"/>
                      </a:lnTo>
                      <a:lnTo>
                        <a:pt x="323" y="130"/>
                      </a:lnTo>
                      <a:lnTo>
                        <a:pt x="321" y="130"/>
                      </a:lnTo>
                      <a:lnTo>
                        <a:pt x="321" y="131"/>
                      </a:lnTo>
                      <a:lnTo>
                        <a:pt x="319" y="131"/>
                      </a:lnTo>
                      <a:lnTo>
                        <a:pt x="318" y="131"/>
                      </a:lnTo>
                      <a:lnTo>
                        <a:pt x="318" y="133"/>
                      </a:lnTo>
                      <a:lnTo>
                        <a:pt x="316" y="133"/>
                      </a:lnTo>
                      <a:lnTo>
                        <a:pt x="314" y="133"/>
                      </a:lnTo>
                      <a:lnTo>
                        <a:pt x="314" y="131"/>
                      </a:lnTo>
                      <a:lnTo>
                        <a:pt x="313" y="131"/>
                      </a:lnTo>
                      <a:lnTo>
                        <a:pt x="311" y="131"/>
                      </a:lnTo>
                      <a:lnTo>
                        <a:pt x="309" y="131"/>
                      </a:lnTo>
                      <a:lnTo>
                        <a:pt x="309" y="136"/>
                      </a:lnTo>
                      <a:lnTo>
                        <a:pt x="308" y="138"/>
                      </a:lnTo>
                      <a:lnTo>
                        <a:pt x="308" y="139"/>
                      </a:lnTo>
                      <a:lnTo>
                        <a:pt x="308" y="141"/>
                      </a:lnTo>
                      <a:lnTo>
                        <a:pt x="306" y="141"/>
                      </a:lnTo>
                      <a:lnTo>
                        <a:pt x="306" y="143"/>
                      </a:lnTo>
                      <a:lnTo>
                        <a:pt x="306" y="144"/>
                      </a:lnTo>
                      <a:lnTo>
                        <a:pt x="308" y="144"/>
                      </a:lnTo>
                      <a:lnTo>
                        <a:pt x="308" y="143"/>
                      </a:lnTo>
                      <a:lnTo>
                        <a:pt x="308" y="144"/>
                      </a:lnTo>
                      <a:lnTo>
                        <a:pt x="308" y="146"/>
                      </a:lnTo>
                      <a:lnTo>
                        <a:pt x="306" y="146"/>
                      </a:lnTo>
                      <a:lnTo>
                        <a:pt x="306" y="148"/>
                      </a:lnTo>
                      <a:lnTo>
                        <a:pt x="308" y="148"/>
                      </a:lnTo>
                      <a:lnTo>
                        <a:pt x="308" y="149"/>
                      </a:lnTo>
                      <a:lnTo>
                        <a:pt x="306" y="149"/>
                      </a:lnTo>
                      <a:lnTo>
                        <a:pt x="304" y="151"/>
                      </a:lnTo>
                      <a:lnTo>
                        <a:pt x="304" y="149"/>
                      </a:lnTo>
                      <a:lnTo>
                        <a:pt x="304" y="151"/>
                      </a:lnTo>
                      <a:lnTo>
                        <a:pt x="303" y="151"/>
                      </a:lnTo>
                      <a:lnTo>
                        <a:pt x="303" y="149"/>
                      </a:lnTo>
                      <a:lnTo>
                        <a:pt x="301" y="149"/>
                      </a:lnTo>
                      <a:lnTo>
                        <a:pt x="299" y="149"/>
                      </a:lnTo>
                      <a:lnTo>
                        <a:pt x="298" y="151"/>
                      </a:lnTo>
                      <a:lnTo>
                        <a:pt x="298" y="153"/>
                      </a:lnTo>
                      <a:lnTo>
                        <a:pt x="296" y="153"/>
                      </a:lnTo>
                      <a:lnTo>
                        <a:pt x="294" y="154"/>
                      </a:lnTo>
                      <a:lnTo>
                        <a:pt x="292" y="154"/>
                      </a:lnTo>
                      <a:lnTo>
                        <a:pt x="291" y="154"/>
                      </a:lnTo>
                      <a:lnTo>
                        <a:pt x="291" y="153"/>
                      </a:lnTo>
                      <a:lnTo>
                        <a:pt x="289" y="154"/>
                      </a:lnTo>
                      <a:lnTo>
                        <a:pt x="287" y="154"/>
                      </a:lnTo>
                      <a:lnTo>
                        <a:pt x="286" y="156"/>
                      </a:lnTo>
                      <a:lnTo>
                        <a:pt x="284" y="156"/>
                      </a:lnTo>
                      <a:lnTo>
                        <a:pt x="282" y="158"/>
                      </a:lnTo>
                      <a:lnTo>
                        <a:pt x="281" y="158"/>
                      </a:lnTo>
                      <a:lnTo>
                        <a:pt x="279" y="158"/>
                      </a:lnTo>
                      <a:lnTo>
                        <a:pt x="277" y="159"/>
                      </a:lnTo>
                      <a:lnTo>
                        <a:pt x="276" y="158"/>
                      </a:lnTo>
                      <a:lnTo>
                        <a:pt x="274" y="158"/>
                      </a:lnTo>
                      <a:lnTo>
                        <a:pt x="274" y="159"/>
                      </a:lnTo>
                      <a:lnTo>
                        <a:pt x="272" y="159"/>
                      </a:lnTo>
                      <a:lnTo>
                        <a:pt x="272" y="161"/>
                      </a:lnTo>
                      <a:lnTo>
                        <a:pt x="272" y="162"/>
                      </a:lnTo>
                      <a:lnTo>
                        <a:pt x="270" y="162"/>
                      </a:lnTo>
                      <a:lnTo>
                        <a:pt x="269" y="162"/>
                      </a:lnTo>
                      <a:lnTo>
                        <a:pt x="267" y="162"/>
                      </a:lnTo>
                      <a:lnTo>
                        <a:pt x="265" y="162"/>
                      </a:lnTo>
                      <a:lnTo>
                        <a:pt x="264" y="162"/>
                      </a:lnTo>
                      <a:lnTo>
                        <a:pt x="262" y="162"/>
                      </a:lnTo>
                      <a:lnTo>
                        <a:pt x="262" y="164"/>
                      </a:lnTo>
                      <a:lnTo>
                        <a:pt x="260" y="164"/>
                      </a:lnTo>
                      <a:lnTo>
                        <a:pt x="259" y="164"/>
                      </a:lnTo>
                      <a:lnTo>
                        <a:pt x="259" y="162"/>
                      </a:lnTo>
                      <a:lnTo>
                        <a:pt x="257" y="162"/>
                      </a:lnTo>
                      <a:lnTo>
                        <a:pt x="257" y="164"/>
                      </a:lnTo>
                      <a:lnTo>
                        <a:pt x="255" y="164"/>
                      </a:lnTo>
                      <a:lnTo>
                        <a:pt x="255" y="162"/>
                      </a:lnTo>
                      <a:lnTo>
                        <a:pt x="257" y="162"/>
                      </a:lnTo>
                      <a:lnTo>
                        <a:pt x="255" y="161"/>
                      </a:lnTo>
                      <a:lnTo>
                        <a:pt x="254" y="161"/>
                      </a:lnTo>
                      <a:lnTo>
                        <a:pt x="252" y="161"/>
                      </a:lnTo>
                      <a:lnTo>
                        <a:pt x="250" y="162"/>
                      </a:lnTo>
                      <a:lnTo>
                        <a:pt x="249" y="162"/>
                      </a:lnTo>
                      <a:lnTo>
                        <a:pt x="249" y="164"/>
                      </a:lnTo>
                      <a:lnTo>
                        <a:pt x="247" y="164"/>
                      </a:lnTo>
                      <a:lnTo>
                        <a:pt x="247" y="162"/>
                      </a:lnTo>
                      <a:lnTo>
                        <a:pt x="245" y="162"/>
                      </a:lnTo>
                      <a:lnTo>
                        <a:pt x="243" y="162"/>
                      </a:lnTo>
                      <a:lnTo>
                        <a:pt x="242" y="162"/>
                      </a:lnTo>
                      <a:lnTo>
                        <a:pt x="242" y="161"/>
                      </a:lnTo>
                      <a:lnTo>
                        <a:pt x="240" y="161"/>
                      </a:lnTo>
                      <a:lnTo>
                        <a:pt x="238" y="161"/>
                      </a:lnTo>
                      <a:lnTo>
                        <a:pt x="238" y="162"/>
                      </a:lnTo>
                      <a:lnTo>
                        <a:pt x="237" y="164"/>
                      </a:lnTo>
                      <a:lnTo>
                        <a:pt x="237" y="166"/>
                      </a:lnTo>
                      <a:lnTo>
                        <a:pt x="235" y="166"/>
                      </a:lnTo>
                      <a:lnTo>
                        <a:pt x="235" y="164"/>
                      </a:lnTo>
                      <a:lnTo>
                        <a:pt x="233" y="164"/>
                      </a:lnTo>
                      <a:lnTo>
                        <a:pt x="232" y="164"/>
                      </a:lnTo>
                      <a:lnTo>
                        <a:pt x="230" y="164"/>
                      </a:lnTo>
                      <a:lnTo>
                        <a:pt x="228" y="164"/>
                      </a:lnTo>
                      <a:lnTo>
                        <a:pt x="227" y="164"/>
                      </a:lnTo>
                      <a:lnTo>
                        <a:pt x="225" y="164"/>
                      </a:lnTo>
                      <a:lnTo>
                        <a:pt x="223" y="164"/>
                      </a:lnTo>
                      <a:lnTo>
                        <a:pt x="222" y="164"/>
                      </a:lnTo>
                      <a:lnTo>
                        <a:pt x="222" y="166"/>
                      </a:lnTo>
                      <a:lnTo>
                        <a:pt x="220" y="166"/>
                      </a:lnTo>
                      <a:lnTo>
                        <a:pt x="222" y="167"/>
                      </a:lnTo>
                      <a:lnTo>
                        <a:pt x="222" y="169"/>
                      </a:lnTo>
                      <a:lnTo>
                        <a:pt x="222" y="171"/>
                      </a:lnTo>
                      <a:lnTo>
                        <a:pt x="220" y="171"/>
                      </a:lnTo>
                      <a:lnTo>
                        <a:pt x="222" y="171"/>
                      </a:lnTo>
                      <a:lnTo>
                        <a:pt x="220" y="172"/>
                      </a:lnTo>
                      <a:lnTo>
                        <a:pt x="220" y="174"/>
                      </a:lnTo>
                      <a:lnTo>
                        <a:pt x="218" y="174"/>
                      </a:lnTo>
                      <a:lnTo>
                        <a:pt x="216" y="174"/>
                      </a:lnTo>
                      <a:lnTo>
                        <a:pt x="216" y="176"/>
                      </a:lnTo>
                      <a:lnTo>
                        <a:pt x="216" y="174"/>
                      </a:lnTo>
                      <a:lnTo>
                        <a:pt x="215" y="174"/>
                      </a:lnTo>
                      <a:lnTo>
                        <a:pt x="213" y="174"/>
                      </a:lnTo>
                      <a:lnTo>
                        <a:pt x="211" y="172"/>
                      </a:lnTo>
                      <a:lnTo>
                        <a:pt x="210" y="172"/>
                      </a:lnTo>
                      <a:lnTo>
                        <a:pt x="208" y="172"/>
                      </a:lnTo>
                      <a:lnTo>
                        <a:pt x="208" y="174"/>
                      </a:lnTo>
                      <a:lnTo>
                        <a:pt x="206" y="174"/>
                      </a:lnTo>
                      <a:lnTo>
                        <a:pt x="208" y="176"/>
                      </a:lnTo>
                      <a:lnTo>
                        <a:pt x="206" y="177"/>
                      </a:lnTo>
                      <a:lnTo>
                        <a:pt x="208" y="177"/>
                      </a:lnTo>
                      <a:lnTo>
                        <a:pt x="206" y="177"/>
                      </a:lnTo>
                      <a:lnTo>
                        <a:pt x="203" y="177"/>
                      </a:lnTo>
                      <a:lnTo>
                        <a:pt x="203" y="179"/>
                      </a:lnTo>
                      <a:lnTo>
                        <a:pt x="203" y="181"/>
                      </a:lnTo>
                      <a:lnTo>
                        <a:pt x="203" y="182"/>
                      </a:lnTo>
                      <a:lnTo>
                        <a:pt x="203" y="184"/>
                      </a:lnTo>
                      <a:lnTo>
                        <a:pt x="201" y="184"/>
                      </a:lnTo>
                      <a:lnTo>
                        <a:pt x="203" y="185"/>
                      </a:lnTo>
                      <a:lnTo>
                        <a:pt x="201" y="187"/>
                      </a:lnTo>
                      <a:lnTo>
                        <a:pt x="200" y="187"/>
                      </a:lnTo>
                      <a:lnTo>
                        <a:pt x="200" y="189"/>
                      </a:lnTo>
                      <a:lnTo>
                        <a:pt x="200" y="190"/>
                      </a:lnTo>
                      <a:lnTo>
                        <a:pt x="201" y="190"/>
                      </a:lnTo>
                      <a:lnTo>
                        <a:pt x="203" y="190"/>
                      </a:lnTo>
                      <a:lnTo>
                        <a:pt x="203" y="192"/>
                      </a:lnTo>
                      <a:lnTo>
                        <a:pt x="201" y="192"/>
                      </a:lnTo>
                      <a:lnTo>
                        <a:pt x="201" y="194"/>
                      </a:lnTo>
                      <a:lnTo>
                        <a:pt x="200" y="194"/>
                      </a:lnTo>
                      <a:lnTo>
                        <a:pt x="198" y="194"/>
                      </a:lnTo>
                      <a:lnTo>
                        <a:pt x="196" y="194"/>
                      </a:lnTo>
                      <a:lnTo>
                        <a:pt x="196" y="195"/>
                      </a:lnTo>
                      <a:lnTo>
                        <a:pt x="194" y="197"/>
                      </a:lnTo>
                      <a:lnTo>
                        <a:pt x="193" y="195"/>
                      </a:lnTo>
                      <a:lnTo>
                        <a:pt x="194" y="197"/>
                      </a:lnTo>
                      <a:lnTo>
                        <a:pt x="193" y="197"/>
                      </a:lnTo>
                      <a:lnTo>
                        <a:pt x="191" y="197"/>
                      </a:lnTo>
                      <a:lnTo>
                        <a:pt x="191" y="199"/>
                      </a:lnTo>
                      <a:lnTo>
                        <a:pt x="189" y="200"/>
                      </a:lnTo>
                      <a:lnTo>
                        <a:pt x="188" y="199"/>
                      </a:lnTo>
                      <a:lnTo>
                        <a:pt x="186" y="199"/>
                      </a:lnTo>
                      <a:lnTo>
                        <a:pt x="186" y="200"/>
                      </a:lnTo>
                      <a:lnTo>
                        <a:pt x="184" y="200"/>
                      </a:lnTo>
                      <a:lnTo>
                        <a:pt x="183" y="200"/>
                      </a:lnTo>
                      <a:lnTo>
                        <a:pt x="183" y="202"/>
                      </a:lnTo>
                      <a:lnTo>
                        <a:pt x="181" y="202"/>
                      </a:lnTo>
                      <a:lnTo>
                        <a:pt x="179" y="202"/>
                      </a:lnTo>
                      <a:lnTo>
                        <a:pt x="178" y="203"/>
                      </a:lnTo>
                      <a:lnTo>
                        <a:pt x="176" y="203"/>
                      </a:lnTo>
                      <a:lnTo>
                        <a:pt x="176" y="205"/>
                      </a:lnTo>
                      <a:lnTo>
                        <a:pt x="174" y="207"/>
                      </a:lnTo>
                      <a:lnTo>
                        <a:pt x="173" y="207"/>
                      </a:lnTo>
                      <a:lnTo>
                        <a:pt x="173" y="208"/>
                      </a:lnTo>
                      <a:lnTo>
                        <a:pt x="171" y="208"/>
                      </a:lnTo>
                      <a:lnTo>
                        <a:pt x="169" y="208"/>
                      </a:lnTo>
                      <a:lnTo>
                        <a:pt x="167" y="210"/>
                      </a:lnTo>
                      <a:lnTo>
                        <a:pt x="167" y="208"/>
                      </a:lnTo>
                      <a:lnTo>
                        <a:pt x="166" y="210"/>
                      </a:lnTo>
                      <a:lnTo>
                        <a:pt x="166" y="208"/>
                      </a:lnTo>
                      <a:lnTo>
                        <a:pt x="164" y="208"/>
                      </a:lnTo>
                      <a:lnTo>
                        <a:pt x="164" y="207"/>
                      </a:lnTo>
                      <a:lnTo>
                        <a:pt x="162" y="207"/>
                      </a:lnTo>
                      <a:lnTo>
                        <a:pt x="161" y="207"/>
                      </a:lnTo>
                      <a:lnTo>
                        <a:pt x="159" y="207"/>
                      </a:lnTo>
                      <a:lnTo>
                        <a:pt x="159" y="205"/>
                      </a:lnTo>
                      <a:lnTo>
                        <a:pt x="159" y="203"/>
                      </a:lnTo>
                      <a:lnTo>
                        <a:pt x="161" y="203"/>
                      </a:lnTo>
                      <a:lnTo>
                        <a:pt x="159" y="202"/>
                      </a:lnTo>
                      <a:lnTo>
                        <a:pt x="159" y="203"/>
                      </a:lnTo>
                      <a:lnTo>
                        <a:pt x="157" y="203"/>
                      </a:lnTo>
                      <a:lnTo>
                        <a:pt x="156" y="203"/>
                      </a:lnTo>
                      <a:lnTo>
                        <a:pt x="154" y="203"/>
                      </a:lnTo>
                      <a:lnTo>
                        <a:pt x="154" y="202"/>
                      </a:lnTo>
                      <a:lnTo>
                        <a:pt x="154" y="200"/>
                      </a:lnTo>
                      <a:lnTo>
                        <a:pt x="154" y="199"/>
                      </a:lnTo>
                      <a:lnTo>
                        <a:pt x="156" y="199"/>
                      </a:lnTo>
                      <a:lnTo>
                        <a:pt x="156" y="197"/>
                      </a:lnTo>
                      <a:lnTo>
                        <a:pt x="154" y="199"/>
                      </a:lnTo>
                      <a:lnTo>
                        <a:pt x="152" y="199"/>
                      </a:lnTo>
                      <a:lnTo>
                        <a:pt x="152" y="197"/>
                      </a:lnTo>
                      <a:lnTo>
                        <a:pt x="151" y="197"/>
                      </a:lnTo>
                      <a:lnTo>
                        <a:pt x="152" y="197"/>
                      </a:lnTo>
                      <a:lnTo>
                        <a:pt x="152" y="195"/>
                      </a:lnTo>
                      <a:lnTo>
                        <a:pt x="152" y="194"/>
                      </a:lnTo>
                      <a:lnTo>
                        <a:pt x="154" y="194"/>
                      </a:lnTo>
                      <a:lnTo>
                        <a:pt x="154" y="192"/>
                      </a:lnTo>
                      <a:lnTo>
                        <a:pt x="152" y="192"/>
                      </a:lnTo>
                      <a:lnTo>
                        <a:pt x="152" y="190"/>
                      </a:lnTo>
                      <a:lnTo>
                        <a:pt x="154" y="189"/>
                      </a:lnTo>
                      <a:lnTo>
                        <a:pt x="152" y="189"/>
                      </a:lnTo>
                      <a:lnTo>
                        <a:pt x="152" y="187"/>
                      </a:lnTo>
                      <a:lnTo>
                        <a:pt x="152" y="185"/>
                      </a:lnTo>
                      <a:lnTo>
                        <a:pt x="152" y="184"/>
                      </a:lnTo>
                      <a:lnTo>
                        <a:pt x="152" y="182"/>
                      </a:lnTo>
                      <a:lnTo>
                        <a:pt x="152" y="181"/>
                      </a:lnTo>
                      <a:lnTo>
                        <a:pt x="151" y="181"/>
                      </a:lnTo>
                      <a:lnTo>
                        <a:pt x="151" y="182"/>
                      </a:lnTo>
                      <a:lnTo>
                        <a:pt x="151" y="181"/>
                      </a:lnTo>
                      <a:lnTo>
                        <a:pt x="149" y="181"/>
                      </a:lnTo>
                      <a:lnTo>
                        <a:pt x="149" y="179"/>
                      </a:lnTo>
                      <a:lnTo>
                        <a:pt x="149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6" y="179"/>
                      </a:lnTo>
                      <a:lnTo>
                        <a:pt x="144" y="179"/>
                      </a:lnTo>
                      <a:lnTo>
                        <a:pt x="142" y="179"/>
                      </a:lnTo>
                      <a:lnTo>
                        <a:pt x="140" y="179"/>
                      </a:lnTo>
                      <a:lnTo>
                        <a:pt x="139" y="179"/>
                      </a:lnTo>
                      <a:lnTo>
                        <a:pt x="137" y="179"/>
                      </a:lnTo>
                      <a:lnTo>
                        <a:pt x="135" y="179"/>
                      </a:lnTo>
                      <a:lnTo>
                        <a:pt x="135" y="181"/>
                      </a:lnTo>
                      <a:lnTo>
                        <a:pt x="135" y="179"/>
                      </a:lnTo>
                      <a:lnTo>
                        <a:pt x="134" y="179"/>
                      </a:lnTo>
                      <a:lnTo>
                        <a:pt x="134" y="177"/>
                      </a:lnTo>
                      <a:lnTo>
                        <a:pt x="135" y="177"/>
                      </a:lnTo>
                      <a:lnTo>
                        <a:pt x="135" y="176"/>
                      </a:lnTo>
                      <a:lnTo>
                        <a:pt x="135" y="177"/>
                      </a:lnTo>
                      <a:lnTo>
                        <a:pt x="137" y="176"/>
                      </a:lnTo>
                      <a:lnTo>
                        <a:pt x="137" y="174"/>
                      </a:lnTo>
                      <a:lnTo>
                        <a:pt x="137" y="172"/>
                      </a:lnTo>
                      <a:lnTo>
                        <a:pt x="137" y="174"/>
                      </a:lnTo>
                      <a:lnTo>
                        <a:pt x="139" y="172"/>
                      </a:lnTo>
                      <a:lnTo>
                        <a:pt x="140" y="172"/>
                      </a:lnTo>
                      <a:lnTo>
                        <a:pt x="142" y="172"/>
                      </a:lnTo>
                      <a:lnTo>
                        <a:pt x="142" y="171"/>
                      </a:lnTo>
                      <a:lnTo>
                        <a:pt x="144" y="171"/>
                      </a:lnTo>
                      <a:lnTo>
                        <a:pt x="144" y="169"/>
                      </a:lnTo>
                      <a:lnTo>
                        <a:pt x="144" y="167"/>
                      </a:lnTo>
                      <a:lnTo>
                        <a:pt x="146" y="167"/>
                      </a:lnTo>
                      <a:lnTo>
                        <a:pt x="146" y="166"/>
                      </a:lnTo>
                      <a:lnTo>
                        <a:pt x="144" y="166"/>
                      </a:lnTo>
                      <a:lnTo>
                        <a:pt x="144" y="164"/>
                      </a:lnTo>
                      <a:lnTo>
                        <a:pt x="146" y="164"/>
                      </a:lnTo>
                      <a:lnTo>
                        <a:pt x="147" y="164"/>
                      </a:lnTo>
                      <a:lnTo>
                        <a:pt x="147" y="162"/>
                      </a:lnTo>
                      <a:lnTo>
                        <a:pt x="149" y="162"/>
                      </a:lnTo>
                      <a:lnTo>
                        <a:pt x="151" y="162"/>
                      </a:lnTo>
                      <a:lnTo>
                        <a:pt x="151" y="164"/>
                      </a:lnTo>
                      <a:lnTo>
                        <a:pt x="151" y="162"/>
                      </a:lnTo>
                      <a:lnTo>
                        <a:pt x="152" y="162"/>
                      </a:lnTo>
                      <a:lnTo>
                        <a:pt x="152" y="161"/>
                      </a:lnTo>
                      <a:lnTo>
                        <a:pt x="152" y="159"/>
                      </a:lnTo>
                      <a:lnTo>
                        <a:pt x="154" y="159"/>
                      </a:lnTo>
                      <a:lnTo>
                        <a:pt x="154" y="158"/>
                      </a:lnTo>
                      <a:lnTo>
                        <a:pt x="152" y="156"/>
                      </a:lnTo>
                      <a:lnTo>
                        <a:pt x="152" y="154"/>
                      </a:lnTo>
                      <a:lnTo>
                        <a:pt x="151" y="153"/>
                      </a:lnTo>
                      <a:lnTo>
                        <a:pt x="151" y="151"/>
                      </a:lnTo>
                      <a:lnTo>
                        <a:pt x="149" y="151"/>
                      </a:lnTo>
                      <a:lnTo>
                        <a:pt x="149" y="149"/>
                      </a:lnTo>
                      <a:lnTo>
                        <a:pt x="147" y="149"/>
                      </a:lnTo>
                      <a:lnTo>
                        <a:pt x="147" y="148"/>
                      </a:lnTo>
                      <a:lnTo>
                        <a:pt x="149" y="148"/>
                      </a:lnTo>
                      <a:lnTo>
                        <a:pt x="149" y="146"/>
                      </a:lnTo>
                      <a:lnTo>
                        <a:pt x="149" y="144"/>
                      </a:lnTo>
                      <a:lnTo>
                        <a:pt x="151" y="144"/>
                      </a:lnTo>
                      <a:lnTo>
                        <a:pt x="151" y="143"/>
                      </a:lnTo>
                      <a:lnTo>
                        <a:pt x="152" y="141"/>
                      </a:lnTo>
                      <a:lnTo>
                        <a:pt x="154" y="141"/>
                      </a:lnTo>
                      <a:lnTo>
                        <a:pt x="154" y="139"/>
                      </a:lnTo>
                      <a:lnTo>
                        <a:pt x="156" y="139"/>
                      </a:lnTo>
                      <a:lnTo>
                        <a:pt x="157" y="139"/>
                      </a:lnTo>
                      <a:lnTo>
                        <a:pt x="157" y="138"/>
                      </a:lnTo>
                      <a:lnTo>
                        <a:pt x="159" y="138"/>
                      </a:lnTo>
                      <a:lnTo>
                        <a:pt x="159" y="136"/>
                      </a:lnTo>
                      <a:lnTo>
                        <a:pt x="161" y="138"/>
                      </a:lnTo>
                      <a:lnTo>
                        <a:pt x="161" y="136"/>
                      </a:lnTo>
                      <a:lnTo>
                        <a:pt x="162" y="136"/>
                      </a:lnTo>
                      <a:lnTo>
                        <a:pt x="164" y="136"/>
                      </a:lnTo>
                      <a:lnTo>
                        <a:pt x="164" y="135"/>
                      </a:lnTo>
                      <a:lnTo>
                        <a:pt x="166" y="135"/>
                      </a:lnTo>
                      <a:lnTo>
                        <a:pt x="167" y="135"/>
                      </a:lnTo>
                      <a:lnTo>
                        <a:pt x="169" y="135"/>
                      </a:lnTo>
                      <a:lnTo>
                        <a:pt x="167" y="133"/>
                      </a:lnTo>
                      <a:lnTo>
                        <a:pt x="167" y="131"/>
                      </a:lnTo>
                      <a:lnTo>
                        <a:pt x="166" y="131"/>
                      </a:lnTo>
                      <a:lnTo>
                        <a:pt x="164" y="130"/>
                      </a:lnTo>
                      <a:lnTo>
                        <a:pt x="166" y="130"/>
                      </a:lnTo>
                      <a:lnTo>
                        <a:pt x="166" y="128"/>
                      </a:lnTo>
                      <a:lnTo>
                        <a:pt x="164" y="128"/>
                      </a:lnTo>
                      <a:lnTo>
                        <a:pt x="166" y="126"/>
                      </a:lnTo>
                      <a:lnTo>
                        <a:pt x="164" y="126"/>
                      </a:lnTo>
                      <a:lnTo>
                        <a:pt x="162" y="126"/>
                      </a:lnTo>
                      <a:lnTo>
                        <a:pt x="164" y="125"/>
                      </a:lnTo>
                      <a:lnTo>
                        <a:pt x="162" y="125"/>
                      </a:lnTo>
                      <a:lnTo>
                        <a:pt x="161" y="125"/>
                      </a:lnTo>
                      <a:lnTo>
                        <a:pt x="161" y="123"/>
                      </a:lnTo>
                      <a:lnTo>
                        <a:pt x="159" y="123"/>
                      </a:lnTo>
                      <a:lnTo>
                        <a:pt x="157" y="121"/>
                      </a:lnTo>
                      <a:lnTo>
                        <a:pt x="157" y="123"/>
                      </a:lnTo>
                      <a:lnTo>
                        <a:pt x="157" y="121"/>
                      </a:lnTo>
                      <a:lnTo>
                        <a:pt x="156" y="121"/>
                      </a:lnTo>
                      <a:lnTo>
                        <a:pt x="154" y="121"/>
                      </a:lnTo>
                      <a:lnTo>
                        <a:pt x="154" y="120"/>
                      </a:lnTo>
                      <a:lnTo>
                        <a:pt x="152" y="120"/>
                      </a:lnTo>
                      <a:lnTo>
                        <a:pt x="152" y="121"/>
                      </a:lnTo>
                      <a:lnTo>
                        <a:pt x="151" y="120"/>
                      </a:lnTo>
                      <a:lnTo>
                        <a:pt x="151" y="118"/>
                      </a:lnTo>
                      <a:lnTo>
                        <a:pt x="149" y="118"/>
                      </a:lnTo>
                      <a:lnTo>
                        <a:pt x="149" y="116"/>
                      </a:lnTo>
                      <a:lnTo>
                        <a:pt x="147" y="116"/>
                      </a:lnTo>
                      <a:lnTo>
                        <a:pt x="146" y="116"/>
                      </a:lnTo>
                      <a:lnTo>
                        <a:pt x="146" y="115"/>
                      </a:lnTo>
                      <a:lnTo>
                        <a:pt x="144" y="115"/>
                      </a:lnTo>
                      <a:lnTo>
                        <a:pt x="142" y="115"/>
                      </a:lnTo>
                      <a:lnTo>
                        <a:pt x="140" y="115"/>
                      </a:lnTo>
                      <a:lnTo>
                        <a:pt x="139" y="116"/>
                      </a:lnTo>
                      <a:lnTo>
                        <a:pt x="137" y="116"/>
                      </a:lnTo>
                      <a:lnTo>
                        <a:pt x="135" y="116"/>
                      </a:lnTo>
                      <a:lnTo>
                        <a:pt x="134" y="118"/>
                      </a:lnTo>
                      <a:lnTo>
                        <a:pt x="134" y="120"/>
                      </a:lnTo>
                      <a:lnTo>
                        <a:pt x="134" y="121"/>
                      </a:lnTo>
                      <a:lnTo>
                        <a:pt x="132" y="121"/>
                      </a:lnTo>
                      <a:lnTo>
                        <a:pt x="130" y="121"/>
                      </a:lnTo>
                      <a:lnTo>
                        <a:pt x="129" y="123"/>
                      </a:lnTo>
                      <a:lnTo>
                        <a:pt x="127" y="123"/>
                      </a:lnTo>
                      <a:lnTo>
                        <a:pt x="127" y="121"/>
                      </a:lnTo>
                      <a:lnTo>
                        <a:pt x="125" y="123"/>
                      </a:lnTo>
                      <a:lnTo>
                        <a:pt x="122" y="123"/>
                      </a:lnTo>
                      <a:lnTo>
                        <a:pt x="120" y="123"/>
                      </a:lnTo>
                      <a:lnTo>
                        <a:pt x="120" y="125"/>
                      </a:lnTo>
                      <a:lnTo>
                        <a:pt x="120" y="126"/>
                      </a:lnTo>
                      <a:lnTo>
                        <a:pt x="120" y="128"/>
                      </a:lnTo>
                      <a:lnTo>
                        <a:pt x="118" y="128"/>
                      </a:lnTo>
                      <a:lnTo>
                        <a:pt x="117" y="128"/>
                      </a:lnTo>
                      <a:lnTo>
                        <a:pt x="118" y="128"/>
                      </a:lnTo>
                      <a:lnTo>
                        <a:pt x="118" y="130"/>
                      </a:lnTo>
                      <a:lnTo>
                        <a:pt x="117" y="130"/>
                      </a:lnTo>
                      <a:lnTo>
                        <a:pt x="117" y="131"/>
                      </a:lnTo>
                      <a:lnTo>
                        <a:pt x="117" y="133"/>
                      </a:lnTo>
                      <a:lnTo>
                        <a:pt x="115" y="133"/>
                      </a:lnTo>
                      <a:lnTo>
                        <a:pt x="113" y="133"/>
                      </a:lnTo>
                      <a:lnTo>
                        <a:pt x="112" y="136"/>
                      </a:lnTo>
                      <a:lnTo>
                        <a:pt x="108" y="136"/>
                      </a:lnTo>
                      <a:lnTo>
                        <a:pt x="108" y="138"/>
                      </a:lnTo>
                      <a:lnTo>
                        <a:pt x="107" y="138"/>
                      </a:lnTo>
                      <a:lnTo>
                        <a:pt x="105" y="138"/>
                      </a:lnTo>
                      <a:lnTo>
                        <a:pt x="103" y="138"/>
                      </a:lnTo>
                      <a:lnTo>
                        <a:pt x="102" y="139"/>
                      </a:lnTo>
                      <a:lnTo>
                        <a:pt x="102" y="141"/>
                      </a:lnTo>
                      <a:lnTo>
                        <a:pt x="100" y="143"/>
                      </a:lnTo>
                      <a:lnTo>
                        <a:pt x="98" y="143"/>
                      </a:lnTo>
                      <a:lnTo>
                        <a:pt x="98" y="144"/>
                      </a:lnTo>
                      <a:lnTo>
                        <a:pt x="97" y="144"/>
                      </a:lnTo>
                      <a:lnTo>
                        <a:pt x="97" y="146"/>
                      </a:lnTo>
                      <a:lnTo>
                        <a:pt x="95" y="146"/>
                      </a:lnTo>
                      <a:lnTo>
                        <a:pt x="95" y="148"/>
                      </a:lnTo>
                      <a:lnTo>
                        <a:pt x="93" y="148"/>
                      </a:lnTo>
                      <a:lnTo>
                        <a:pt x="91" y="148"/>
                      </a:lnTo>
                      <a:lnTo>
                        <a:pt x="90" y="149"/>
                      </a:lnTo>
                      <a:lnTo>
                        <a:pt x="88" y="149"/>
                      </a:lnTo>
                      <a:lnTo>
                        <a:pt x="85" y="149"/>
                      </a:lnTo>
                      <a:lnTo>
                        <a:pt x="85" y="151"/>
                      </a:lnTo>
                      <a:lnTo>
                        <a:pt x="83" y="153"/>
                      </a:lnTo>
                      <a:lnTo>
                        <a:pt x="81" y="153"/>
                      </a:lnTo>
                      <a:lnTo>
                        <a:pt x="81" y="154"/>
                      </a:lnTo>
                      <a:lnTo>
                        <a:pt x="83" y="154"/>
                      </a:lnTo>
                      <a:lnTo>
                        <a:pt x="81" y="156"/>
                      </a:lnTo>
                      <a:lnTo>
                        <a:pt x="81" y="154"/>
                      </a:lnTo>
                      <a:lnTo>
                        <a:pt x="80" y="154"/>
                      </a:lnTo>
                      <a:lnTo>
                        <a:pt x="80" y="156"/>
                      </a:lnTo>
                      <a:lnTo>
                        <a:pt x="80" y="158"/>
                      </a:lnTo>
                      <a:lnTo>
                        <a:pt x="78" y="158"/>
                      </a:lnTo>
                      <a:lnTo>
                        <a:pt x="76" y="159"/>
                      </a:lnTo>
                      <a:lnTo>
                        <a:pt x="76" y="161"/>
                      </a:lnTo>
                      <a:lnTo>
                        <a:pt x="75" y="161"/>
                      </a:lnTo>
                      <a:lnTo>
                        <a:pt x="73" y="161"/>
                      </a:lnTo>
                      <a:lnTo>
                        <a:pt x="71" y="159"/>
                      </a:lnTo>
                      <a:lnTo>
                        <a:pt x="71" y="161"/>
                      </a:lnTo>
                      <a:lnTo>
                        <a:pt x="70" y="161"/>
                      </a:lnTo>
                      <a:lnTo>
                        <a:pt x="68" y="161"/>
                      </a:lnTo>
                      <a:lnTo>
                        <a:pt x="66" y="161"/>
                      </a:lnTo>
                      <a:lnTo>
                        <a:pt x="64" y="161"/>
                      </a:lnTo>
                      <a:lnTo>
                        <a:pt x="64" y="162"/>
                      </a:lnTo>
                      <a:lnTo>
                        <a:pt x="64" y="164"/>
                      </a:lnTo>
                      <a:lnTo>
                        <a:pt x="66" y="164"/>
                      </a:lnTo>
                      <a:lnTo>
                        <a:pt x="66" y="166"/>
                      </a:lnTo>
                      <a:lnTo>
                        <a:pt x="64" y="166"/>
                      </a:lnTo>
                      <a:lnTo>
                        <a:pt x="63" y="166"/>
                      </a:lnTo>
                      <a:lnTo>
                        <a:pt x="61" y="166"/>
                      </a:lnTo>
                      <a:lnTo>
                        <a:pt x="61" y="164"/>
                      </a:lnTo>
                      <a:lnTo>
                        <a:pt x="59" y="164"/>
                      </a:lnTo>
                      <a:lnTo>
                        <a:pt x="56" y="162"/>
                      </a:lnTo>
                      <a:lnTo>
                        <a:pt x="54" y="162"/>
                      </a:lnTo>
                      <a:lnTo>
                        <a:pt x="54" y="164"/>
                      </a:lnTo>
                      <a:lnTo>
                        <a:pt x="54" y="166"/>
                      </a:lnTo>
                      <a:lnTo>
                        <a:pt x="53" y="164"/>
                      </a:lnTo>
                      <a:lnTo>
                        <a:pt x="51" y="164"/>
                      </a:lnTo>
                      <a:lnTo>
                        <a:pt x="51" y="166"/>
                      </a:lnTo>
                      <a:lnTo>
                        <a:pt x="46" y="164"/>
                      </a:lnTo>
                      <a:lnTo>
                        <a:pt x="44" y="162"/>
                      </a:lnTo>
                      <a:lnTo>
                        <a:pt x="42" y="162"/>
                      </a:lnTo>
                      <a:lnTo>
                        <a:pt x="41" y="162"/>
                      </a:lnTo>
                      <a:lnTo>
                        <a:pt x="42" y="161"/>
                      </a:lnTo>
                      <a:lnTo>
                        <a:pt x="42" y="159"/>
                      </a:lnTo>
                      <a:lnTo>
                        <a:pt x="44" y="158"/>
                      </a:lnTo>
                      <a:lnTo>
                        <a:pt x="42" y="158"/>
                      </a:lnTo>
                      <a:lnTo>
                        <a:pt x="41" y="158"/>
                      </a:lnTo>
                      <a:lnTo>
                        <a:pt x="39" y="158"/>
                      </a:lnTo>
                      <a:lnTo>
                        <a:pt x="39" y="156"/>
                      </a:lnTo>
                      <a:lnTo>
                        <a:pt x="37" y="156"/>
                      </a:lnTo>
                      <a:lnTo>
                        <a:pt x="36" y="156"/>
                      </a:lnTo>
                      <a:lnTo>
                        <a:pt x="34" y="156"/>
                      </a:lnTo>
                      <a:lnTo>
                        <a:pt x="34" y="158"/>
                      </a:lnTo>
                      <a:lnTo>
                        <a:pt x="32" y="158"/>
                      </a:lnTo>
                      <a:lnTo>
                        <a:pt x="31" y="156"/>
                      </a:lnTo>
                      <a:lnTo>
                        <a:pt x="31" y="158"/>
                      </a:lnTo>
                      <a:lnTo>
                        <a:pt x="29" y="158"/>
                      </a:lnTo>
                      <a:lnTo>
                        <a:pt x="27" y="158"/>
                      </a:lnTo>
                      <a:lnTo>
                        <a:pt x="26" y="158"/>
                      </a:lnTo>
                      <a:lnTo>
                        <a:pt x="26" y="159"/>
                      </a:lnTo>
                      <a:lnTo>
                        <a:pt x="24" y="159"/>
                      </a:lnTo>
                      <a:lnTo>
                        <a:pt x="22" y="159"/>
                      </a:lnTo>
                      <a:lnTo>
                        <a:pt x="21" y="159"/>
                      </a:lnTo>
                      <a:lnTo>
                        <a:pt x="22" y="159"/>
                      </a:lnTo>
                      <a:lnTo>
                        <a:pt x="22" y="158"/>
                      </a:lnTo>
                      <a:lnTo>
                        <a:pt x="21" y="159"/>
                      </a:lnTo>
                      <a:lnTo>
                        <a:pt x="19" y="159"/>
                      </a:lnTo>
                      <a:lnTo>
                        <a:pt x="17" y="159"/>
                      </a:lnTo>
                      <a:lnTo>
                        <a:pt x="17" y="158"/>
                      </a:lnTo>
                      <a:lnTo>
                        <a:pt x="17" y="159"/>
                      </a:lnTo>
                      <a:lnTo>
                        <a:pt x="15" y="159"/>
                      </a:lnTo>
                      <a:lnTo>
                        <a:pt x="15" y="158"/>
                      </a:lnTo>
                      <a:lnTo>
                        <a:pt x="14" y="158"/>
                      </a:lnTo>
                      <a:lnTo>
                        <a:pt x="14" y="156"/>
                      </a:lnTo>
                      <a:lnTo>
                        <a:pt x="14" y="154"/>
                      </a:lnTo>
                      <a:lnTo>
                        <a:pt x="12" y="154"/>
                      </a:lnTo>
                      <a:lnTo>
                        <a:pt x="10" y="153"/>
                      </a:lnTo>
                      <a:lnTo>
                        <a:pt x="10" y="151"/>
                      </a:lnTo>
                      <a:lnTo>
                        <a:pt x="9" y="149"/>
                      </a:lnTo>
                      <a:lnTo>
                        <a:pt x="9" y="151"/>
                      </a:lnTo>
                      <a:lnTo>
                        <a:pt x="9" y="149"/>
                      </a:lnTo>
                      <a:lnTo>
                        <a:pt x="7" y="149"/>
                      </a:lnTo>
                      <a:lnTo>
                        <a:pt x="7" y="148"/>
                      </a:lnTo>
                      <a:lnTo>
                        <a:pt x="5" y="148"/>
                      </a:lnTo>
                      <a:lnTo>
                        <a:pt x="5" y="146"/>
                      </a:lnTo>
                      <a:lnTo>
                        <a:pt x="4" y="148"/>
                      </a:lnTo>
                      <a:lnTo>
                        <a:pt x="4" y="146"/>
                      </a:lnTo>
                      <a:lnTo>
                        <a:pt x="5" y="146"/>
                      </a:lnTo>
                      <a:lnTo>
                        <a:pt x="5" y="144"/>
                      </a:lnTo>
                      <a:lnTo>
                        <a:pt x="4" y="144"/>
                      </a:lnTo>
                      <a:lnTo>
                        <a:pt x="5" y="144"/>
                      </a:lnTo>
                      <a:lnTo>
                        <a:pt x="5" y="143"/>
                      </a:lnTo>
                      <a:lnTo>
                        <a:pt x="7" y="143"/>
                      </a:lnTo>
                      <a:lnTo>
                        <a:pt x="9" y="143"/>
                      </a:lnTo>
                      <a:lnTo>
                        <a:pt x="9" y="141"/>
                      </a:lnTo>
                      <a:lnTo>
                        <a:pt x="10" y="141"/>
                      </a:lnTo>
                      <a:lnTo>
                        <a:pt x="10" y="139"/>
                      </a:lnTo>
                      <a:lnTo>
                        <a:pt x="10" y="138"/>
                      </a:lnTo>
                      <a:lnTo>
                        <a:pt x="10" y="136"/>
                      </a:lnTo>
                      <a:lnTo>
                        <a:pt x="12" y="135"/>
                      </a:lnTo>
                      <a:lnTo>
                        <a:pt x="12" y="133"/>
                      </a:lnTo>
                      <a:lnTo>
                        <a:pt x="10" y="133"/>
                      </a:lnTo>
                      <a:lnTo>
                        <a:pt x="10" y="131"/>
                      </a:lnTo>
                      <a:lnTo>
                        <a:pt x="12" y="131"/>
                      </a:lnTo>
                      <a:lnTo>
                        <a:pt x="14" y="131"/>
                      </a:lnTo>
                      <a:lnTo>
                        <a:pt x="15" y="131"/>
                      </a:lnTo>
                      <a:lnTo>
                        <a:pt x="15" y="130"/>
                      </a:lnTo>
                      <a:lnTo>
                        <a:pt x="17" y="130"/>
                      </a:lnTo>
                      <a:lnTo>
                        <a:pt x="17" y="128"/>
                      </a:lnTo>
                      <a:lnTo>
                        <a:pt x="15" y="128"/>
                      </a:lnTo>
                      <a:lnTo>
                        <a:pt x="15" y="126"/>
                      </a:lnTo>
                      <a:lnTo>
                        <a:pt x="17" y="126"/>
                      </a:lnTo>
                      <a:lnTo>
                        <a:pt x="17" y="125"/>
                      </a:lnTo>
                      <a:lnTo>
                        <a:pt x="17" y="123"/>
                      </a:lnTo>
                      <a:lnTo>
                        <a:pt x="19" y="123"/>
                      </a:lnTo>
                      <a:lnTo>
                        <a:pt x="19" y="121"/>
                      </a:lnTo>
                      <a:lnTo>
                        <a:pt x="21" y="121"/>
                      </a:lnTo>
                      <a:lnTo>
                        <a:pt x="21" y="120"/>
                      </a:lnTo>
                      <a:lnTo>
                        <a:pt x="21" y="118"/>
                      </a:lnTo>
                      <a:lnTo>
                        <a:pt x="21" y="116"/>
                      </a:lnTo>
                      <a:lnTo>
                        <a:pt x="21" y="115"/>
                      </a:lnTo>
                      <a:lnTo>
                        <a:pt x="21" y="113"/>
                      </a:lnTo>
                      <a:lnTo>
                        <a:pt x="19" y="113"/>
                      </a:lnTo>
                      <a:lnTo>
                        <a:pt x="21" y="112"/>
                      </a:lnTo>
                      <a:lnTo>
                        <a:pt x="19" y="112"/>
                      </a:lnTo>
                      <a:lnTo>
                        <a:pt x="17" y="112"/>
                      </a:lnTo>
                      <a:lnTo>
                        <a:pt x="17" y="113"/>
                      </a:lnTo>
                      <a:lnTo>
                        <a:pt x="15" y="112"/>
                      </a:lnTo>
                      <a:lnTo>
                        <a:pt x="14" y="112"/>
                      </a:lnTo>
                      <a:lnTo>
                        <a:pt x="14" y="110"/>
                      </a:lnTo>
                      <a:lnTo>
                        <a:pt x="14" y="108"/>
                      </a:lnTo>
                      <a:lnTo>
                        <a:pt x="12" y="107"/>
                      </a:lnTo>
                      <a:lnTo>
                        <a:pt x="10" y="107"/>
                      </a:lnTo>
                      <a:lnTo>
                        <a:pt x="9" y="107"/>
                      </a:lnTo>
                      <a:lnTo>
                        <a:pt x="7" y="107"/>
                      </a:lnTo>
                      <a:lnTo>
                        <a:pt x="7" y="105"/>
                      </a:lnTo>
                      <a:lnTo>
                        <a:pt x="9" y="105"/>
                      </a:lnTo>
                      <a:lnTo>
                        <a:pt x="7" y="105"/>
                      </a:lnTo>
                      <a:lnTo>
                        <a:pt x="7" y="103"/>
                      </a:lnTo>
                      <a:lnTo>
                        <a:pt x="9" y="103"/>
                      </a:lnTo>
                      <a:lnTo>
                        <a:pt x="7" y="102"/>
                      </a:lnTo>
                      <a:lnTo>
                        <a:pt x="9" y="102"/>
                      </a:lnTo>
                      <a:lnTo>
                        <a:pt x="9" y="100"/>
                      </a:lnTo>
                      <a:lnTo>
                        <a:pt x="10" y="98"/>
                      </a:lnTo>
                      <a:lnTo>
                        <a:pt x="9" y="97"/>
                      </a:lnTo>
                      <a:lnTo>
                        <a:pt x="9" y="95"/>
                      </a:lnTo>
                      <a:lnTo>
                        <a:pt x="7" y="93"/>
                      </a:lnTo>
                      <a:lnTo>
                        <a:pt x="7" y="92"/>
                      </a:lnTo>
                      <a:lnTo>
                        <a:pt x="5" y="92"/>
                      </a:lnTo>
                      <a:lnTo>
                        <a:pt x="4" y="90"/>
                      </a:lnTo>
                      <a:lnTo>
                        <a:pt x="2" y="90"/>
                      </a:lnTo>
                      <a:lnTo>
                        <a:pt x="0" y="89"/>
                      </a:lnTo>
                      <a:lnTo>
                        <a:pt x="0" y="87"/>
                      </a:lnTo>
                      <a:lnTo>
                        <a:pt x="2" y="87"/>
                      </a:lnTo>
                      <a:lnTo>
                        <a:pt x="2" y="85"/>
                      </a:lnTo>
                      <a:lnTo>
                        <a:pt x="0" y="85"/>
                      </a:lnTo>
                      <a:lnTo>
                        <a:pt x="0" y="84"/>
                      </a:lnTo>
                      <a:lnTo>
                        <a:pt x="0" y="82"/>
                      </a:lnTo>
                      <a:lnTo>
                        <a:pt x="0" y="80"/>
                      </a:lnTo>
                      <a:lnTo>
                        <a:pt x="2" y="80"/>
                      </a:lnTo>
                      <a:lnTo>
                        <a:pt x="4" y="79"/>
                      </a:lnTo>
                      <a:lnTo>
                        <a:pt x="5" y="77"/>
                      </a:lnTo>
                      <a:lnTo>
                        <a:pt x="5" y="79"/>
                      </a:lnTo>
                      <a:lnTo>
                        <a:pt x="5" y="77"/>
                      </a:lnTo>
                      <a:lnTo>
                        <a:pt x="7" y="77"/>
                      </a:lnTo>
                      <a:lnTo>
                        <a:pt x="9" y="75"/>
                      </a:lnTo>
                      <a:lnTo>
                        <a:pt x="7" y="74"/>
                      </a:lnTo>
                      <a:lnTo>
                        <a:pt x="9" y="74"/>
                      </a:lnTo>
                      <a:lnTo>
                        <a:pt x="10" y="74"/>
                      </a:lnTo>
                      <a:lnTo>
                        <a:pt x="10" y="72"/>
                      </a:lnTo>
                      <a:lnTo>
                        <a:pt x="12" y="72"/>
                      </a:lnTo>
                      <a:lnTo>
                        <a:pt x="12" y="70"/>
                      </a:lnTo>
                      <a:lnTo>
                        <a:pt x="10" y="70"/>
                      </a:lnTo>
                      <a:lnTo>
                        <a:pt x="12" y="70"/>
                      </a:lnTo>
                      <a:lnTo>
                        <a:pt x="14" y="70"/>
                      </a:lnTo>
                      <a:lnTo>
                        <a:pt x="14" y="69"/>
                      </a:lnTo>
                      <a:lnTo>
                        <a:pt x="12" y="69"/>
                      </a:lnTo>
                      <a:lnTo>
                        <a:pt x="12" y="67"/>
                      </a:lnTo>
                      <a:lnTo>
                        <a:pt x="10" y="67"/>
                      </a:lnTo>
                      <a:lnTo>
                        <a:pt x="10" y="66"/>
                      </a:lnTo>
                      <a:lnTo>
                        <a:pt x="10" y="64"/>
                      </a:lnTo>
                      <a:lnTo>
                        <a:pt x="9" y="64"/>
                      </a:lnTo>
                      <a:lnTo>
                        <a:pt x="7" y="64"/>
                      </a:lnTo>
                      <a:lnTo>
                        <a:pt x="9" y="62"/>
                      </a:lnTo>
                      <a:lnTo>
                        <a:pt x="9" y="61"/>
                      </a:lnTo>
                      <a:lnTo>
                        <a:pt x="9" y="59"/>
                      </a:lnTo>
                      <a:lnTo>
                        <a:pt x="10" y="59"/>
                      </a:lnTo>
                      <a:lnTo>
                        <a:pt x="10" y="57"/>
                      </a:lnTo>
                      <a:lnTo>
                        <a:pt x="10" y="56"/>
                      </a:lnTo>
                      <a:lnTo>
                        <a:pt x="10" y="54"/>
                      </a:lnTo>
                      <a:lnTo>
                        <a:pt x="12" y="54"/>
                      </a:lnTo>
                      <a:lnTo>
                        <a:pt x="12" y="52"/>
                      </a:lnTo>
                      <a:lnTo>
                        <a:pt x="10" y="51"/>
                      </a:lnTo>
                      <a:lnTo>
                        <a:pt x="12" y="49"/>
                      </a:lnTo>
                      <a:lnTo>
                        <a:pt x="12" y="47"/>
                      </a:lnTo>
                      <a:lnTo>
                        <a:pt x="14" y="47"/>
                      </a:lnTo>
                      <a:lnTo>
                        <a:pt x="14" y="46"/>
                      </a:lnTo>
                      <a:lnTo>
                        <a:pt x="14" y="44"/>
                      </a:lnTo>
                      <a:lnTo>
                        <a:pt x="15" y="44"/>
                      </a:lnTo>
                      <a:lnTo>
                        <a:pt x="15" y="43"/>
                      </a:lnTo>
                      <a:lnTo>
                        <a:pt x="17" y="43"/>
                      </a:lnTo>
                      <a:lnTo>
                        <a:pt x="17" y="41"/>
                      </a:lnTo>
                      <a:lnTo>
                        <a:pt x="19" y="41"/>
                      </a:lnTo>
                      <a:lnTo>
                        <a:pt x="19" y="39"/>
                      </a:lnTo>
                      <a:lnTo>
                        <a:pt x="19" y="38"/>
                      </a:lnTo>
                      <a:lnTo>
                        <a:pt x="21" y="36"/>
                      </a:lnTo>
                      <a:close/>
                      <a:moveTo>
                        <a:pt x="368" y="89"/>
                      </a:moveTo>
                      <a:lnTo>
                        <a:pt x="370" y="87"/>
                      </a:lnTo>
                      <a:lnTo>
                        <a:pt x="370" y="89"/>
                      </a:lnTo>
                      <a:lnTo>
                        <a:pt x="372" y="89"/>
                      </a:lnTo>
                      <a:lnTo>
                        <a:pt x="370" y="90"/>
                      </a:lnTo>
                      <a:lnTo>
                        <a:pt x="368" y="89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19" name="Freeform 5"/>
                <p:cNvSpPr>
                  <a:spLocks noChangeAspect="1"/>
                </p:cNvSpPr>
                <p:nvPr/>
              </p:nvSpPr>
              <p:spPr bwMode="auto">
                <a:xfrm>
                  <a:off x="3691972" y="5455782"/>
                  <a:ext cx="1177030" cy="1025318"/>
                </a:xfrm>
                <a:custGeom>
                  <a:avLst/>
                  <a:gdLst>
                    <a:gd name="T0" fmla="*/ 2147483647 w 753"/>
                    <a:gd name="T1" fmla="*/ 2147483647 h 614"/>
                    <a:gd name="T2" fmla="*/ 2147483647 w 753"/>
                    <a:gd name="T3" fmla="*/ 2147483647 h 614"/>
                    <a:gd name="T4" fmla="*/ 2147483647 w 753"/>
                    <a:gd name="T5" fmla="*/ 2147483647 h 614"/>
                    <a:gd name="T6" fmla="*/ 2147483647 w 753"/>
                    <a:gd name="T7" fmla="*/ 2147483647 h 614"/>
                    <a:gd name="T8" fmla="*/ 2147483647 w 753"/>
                    <a:gd name="T9" fmla="*/ 2147483647 h 614"/>
                    <a:gd name="T10" fmla="*/ 2147483647 w 753"/>
                    <a:gd name="T11" fmla="*/ 2147483647 h 614"/>
                    <a:gd name="T12" fmla="*/ 2147483647 w 753"/>
                    <a:gd name="T13" fmla="*/ 2147483647 h 614"/>
                    <a:gd name="T14" fmla="*/ 2147483647 w 753"/>
                    <a:gd name="T15" fmla="*/ 2147483647 h 614"/>
                    <a:gd name="T16" fmla="*/ 2147483647 w 753"/>
                    <a:gd name="T17" fmla="*/ 2147483647 h 614"/>
                    <a:gd name="T18" fmla="*/ 2147483647 w 753"/>
                    <a:gd name="T19" fmla="*/ 2147483647 h 614"/>
                    <a:gd name="T20" fmla="*/ 2147483647 w 753"/>
                    <a:gd name="T21" fmla="*/ 2147483647 h 614"/>
                    <a:gd name="T22" fmla="*/ 2147483647 w 753"/>
                    <a:gd name="T23" fmla="*/ 2147483647 h 614"/>
                    <a:gd name="T24" fmla="*/ 2147483647 w 753"/>
                    <a:gd name="T25" fmla="*/ 2147483647 h 614"/>
                    <a:gd name="T26" fmla="*/ 2147483647 w 753"/>
                    <a:gd name="T27" fmla="*/ 2147483647 h 614"/>
                    <a:gd name="T28" fmla="*/ 2147483647 w 753"/>
                    <a:gd name="T29" fmla="*/ 2147483647 h 614"/>
                    <a:gd name="T30" fmla="*/ 2147483647 w 753"/>
                    <a:gd name="T31" fmla="*/ 2147483647 h 614"/>
                    <a:gd name="T32" fmla="*/ 2147483647 w 753"/>
                    <a:gd name="T33" fmla="*/ 2147483647 h 614"/>
                    <a:gd name="T34" fmla="*/ 2147483647 w 753"/>
                    <a:gd name="T35" fmla="*/ 2147483647 h 614"/>
                    <a:gd name="T36" fmla="*/ 2147483647 w 753"/>
                    <a:gd name="T37" fmla="*/ 2147483647 h 614"/>
                    <a:gd name="T38" fmla="*/ 2147483647 w 753"/>
                    <a:gd name="T39" fmla="*/ 2147483647 h 614"/>
                    <a:gd name="T40" fmla="*/ 2147483647 w 753"/>
                    <a:gd name="T41" fmla="*/ 2147483647 h 614"/>
                    <a:gd name="T42" fmla="*/ 2147483647 w 753"/>
                    <a:gd name="T43" fmla="*/ 2147483647 h 614"/>
                    <a:gd name="T44" fmla="*/ 2147483647 w 753"/>
                    <a:gd name="T45" fmla="*/ 2147483647 h 614"/>
                    <a:gd name="T46" fmla="*/ 2147483647 w 753"/>
                    <a:gd name="T47" fmla="*/ 2147483647 h 614"/>
                    <a:gd name="T48" fmla="*/ 2147483647 w 753"/>
                    <a:gd name="T49" fmla="*/ 2147483647 h 614"/>
                    <a:gd name="T50" fmla="*/ 2147483647 w 753"/>
                    <a:gd name="T51" fmla="*/ 2147483647 h 614"/>
                    <a:gd name="T52" fmla="*/ 2147483647 w 753"/>
                    <a:gd name="T53" fmla="*/ 2147483647 h 614"/>
                    <a:gd name="T54" fmla="*/ 2147483647 w 753"/>
                    <a:gd name="T55" fmla="*/ 2147483647 h 614"/>
                    <a:gd name="T56" fmla="*/ 2147483647 w 753"/>
                    <a:gd name="T57" fmla="*/ 2147483647 h 614"/>
                    <a:gd name="T58" fmla="*/ 2147483647 w 753"/>
                    <a:gd name="T59" fmla="*/ 2147483647 h 614"/>
                    <a:gd name="T60" fmla="*/ 2147483647 w 753"/>
                    <a:gd name="T61" fmla="*/ 2147483647 h 614"/>
                    <a:gd name="T62" fmla="*/ 2147483647 w 753"/>
                    <a:gd name="T63" fmla="*/ 0 h 614"/>
                    <a:gd name="T64" fmla="*/ 2147483647 w 753"/>
                    <a:gd name="T65" fmla="*/ 2147483647 h 614"/>
                    <a:gd name="T66" fmla="*/ 2147483647 w 753"/>
                    <a:gd name="T67" fmla="*/ 2147483647 h 614"/>
                    <a:gd name="T68" fmla="*/ 2147483647 w 753"/>
                    <a:gd name="T69" fmla="*/ 2147483647 h 614"/>
                    <a:gd name="T70" fmla="*/ 2147483647 w 753"/>
                    <a:gd name="T71" fmla="*/ 2147483647 h 614"/>
                    <a:gd name="T72" fmla="*/ 2147483647 w 753"/>
                    <a:gd name="T73" fmla="*/ 2147483647 h 614"/>
                    <a:gd name="T74" fmla="*/ 2147483647 w 753"/>
                    <a:gd name="T75" fmla="*/ 2147483647 h 614"/>
                    <a:gd name="T76" fmla="*/ 2147483647 w 753"/>
                    <a:gd name="T77" fmla="*/ 2147483647 h 614"/>
                    <a:gd name="T78" fmla="*/ 2147483647 w 753"/>
                    <a:gd name="T79" fmla="*/ 2147483647 h 614"/>
                    <a:gd name="T80" fmla="*/ 2147483647 w 753"/>
                    <a:gd name="T81" fmla="*/ 2147483647 h 614"/>
                    <a:gd name="T82" fmla="*/ 2147483647 w 753"/>
                    <a:gd name="T83" fmla="*/ 2147483647 h 614"/>
                    <a:gd name="T84" fmla="*/ 2147483647 w 753"/>
                    <a:gd name="T85" fmla="*/ 2147483647 h 614"/>
                    <a:gd name="T86" fmla="*/ 2147483647 w 753"/>
                    <a:gd name="T87" fmla="*/ 2147483647 h 614"/>
                    <a:gd name="T88" fmla="*/ 2147483647 w 753"/>
                    <a:gd name="T89" fmla="*/ 2147483647 h 614"/>
                    <a:gd name="T90" fmla="*/ 2147483647 w 753"/>
                    <a:gd name="T91" fmla="*/ 2147483647 h 614"/>
                    <a:gd name="T92" fmla="*/ 2147483647 w 753"/>
                    <a:gd name="T93" fmla="*/ 2147483647 h 614"/>
                    <a:gd name="T94" fmla="*/ 2147483647 w 753"/>
                    <a:gd name="T95" fmla="*/ 2147483647 h 614"/>
                    <a:gd name="T96" fmla="*/ 2147483647 w 753"/>
                    <a:gd name="T97" fmla="*/ 2147483647 h 614"/>
                    <a:gd name="T98" fmla="*/ 2147483647 w 753"/>
                    <a:gd name="T99" fmla="*/ 2147483647 h 614"/>
                    <a:gd name="T100" fmla="*/ 2147483647 w 753"/>
                    <a:gd name="T101" fmla="*/ 2147483647 h 614"/>
                    <a:gd name="T102" fmla="*/ 2147483647 w 753"/>
                    <a:gd name="T103" fmla="*/ 2147483647 h 614"/>
                    <a:gd name="T104" fmla="*/ 2147483647 w 753"/>
                    <a:gd name="T105" fmla="*/ 2147483647 h 614"/>
                    <a:gd name="T106" fmla="*/ 2147483647 w 753"/>
                    <a:gd name="T107" fmla="*/ 2147483647 h 614"/>
                    <a:gd name="T108" fmla="*/ 2147483647 w 753"/>
                    <a:gd name="T109" fmla="*/ 2147483647 h 614"/>
                    <a:gd name="T110" fmla="*/ 2147483647 w 753"/>
                    <a:gd name="T111" fmla="*/ 2147483647 h 614"/>
                    <a:gd name="T112" fmla="*/ 2147483647 w 753"/>
                    <a:gd name="T113" fmla="*/ 2147483647 h 614"/>
                    <a:gd name="T114" fmla="*/ 2147483647 w 753"/>
                    <a:gd name="T115" fmla="*/ 2147483647 h 614"/>
                    <a:gd name="T116" fmla="*/ 2147483647 w 753"/>
                    <a:gd name="T117" fmla="*/ 2147483647 h 614"/>
                    <a:gd name="T118" fmla="*/ 2147483647 w 753"/>
                    <a:gd name="T119" fmla="*/ 2147483647 h 614"/>
                    <a:gd name="T120" fmla="*/ 2147483647 w 753"/>
                    <a:gd name="T121" fmla="*/ 2147483647 h 614"/>
                    <a:gd name="T122" fmla="*/ 2147483647 w 753"/>
                    <a:gd name="T123" fmla="*/ 2147483647 h 614"/>
                    <a:gd name="T124" fmla="*/ 2147483647 w 753"/>
                    <a:gd name="T125" fmla="*/ 2147483647 h 61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753"/>
                    <a:gd name="T190" fmla="*/ 0 h 614"/>
                    <a:gd name="T191" fmla="*/ 753 w 753"/>
                    <a:gd name="T192" fmla="*/ 614 h 61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753" h="614">
                      <a:moveTo>
                        <a:pt x="424" y="514"/>
                      </a:moveTo>
                      <a:lnTo>
                        <a:pt x="422" y="514"/>
                      </a:lnTo>
                      <a:lnTo>
                        <a:pt x="422" y="512"/>
                      </a:lnTo>
                      <a:lnTo>
                        <a:pt x="419" y="512"/>
                      </a:lnTo>
                      <a:lnTo>
                        <a:pt x="417" y="512"/>
                      </a:lnTo>
                      <a:lnTo>
                        <a:pt x="417" y="511"/>
                      </a:lnTo>
                      <a:lnTo>
                        <a:pt x="417" y="509"/>
                      </a:lnTo>
                      <a:lnTo>
                        <a:pt x="415" y="509"/>
                      </a:lnTo>
                      <a:lnTo>
                        <a:pt x="414" y="509"/>
                      </a:lnTo>
                      <a:lnTo>
                        <a:pt x="414" y="511"/>
                      </a:lnTo>
                      <a:lnTo>
                        <a:pt x="412" y="511"/>
                      </a:lnTo>
                      <a:lnTo>
                        <a:pt x="410" y="509"/>
                      </a:lnTo>
                      <a:lnTo>
                        <a:pt x="409" y="509"/>
                      </a:lnTo>
                      <a:lnTo>
                        <a:pt x="409" y="507"/>
                      </a:lnTo>
                      <a:lnTo>
                        <a:pt x="407" y="507"/>
                      </a:lnTo>
                      <a:lnTo>
                        <a:pt x="405" y="507"/>
                      </a:lnTo>
                      <a:lnTo>
                        <a:pt x="405" y="506"/>
                      </a:lnTo>
                      <a:lnTo>
                        <a:pt x="404" y="506"/>
                      </a:lnTo>
                      <a:lnTo>
                        <a:pt x="404" y="507"/>
                      </a:lnTo>
                      <a:lnTo>
                        <a:pt x="402" y="507"/>
                      </a:lnTo>
                      <a:lnTo>
                        <a:pt x="400" y="506"/>
                      </a:lnTo>
                      <a:lnTo>
                        <a:pt x="400" y="504"/>
                      </a:lnTo>
                      <a:lnTo>
                        <a:pt x="399" y="506"/>
                      </a:lnTo>
                      <a:lnTo>
                        <a:pt x="399" y="504"/>
                      </a:lnTo>
                      <a:lnTo>
                        <a:pt x="397" y="503"/>
                      </a:lnTo>
                      <a:lnTo>
                        <a:pt x="397" y="501"/>
                      </a:lnTo>
                      <a:lnTo>
                        <a:pt x="395" y="499"/>
                      </a:lnTo>
                      <a:lnTo>
                        <a:pt x="395" y="498"/>
                      </a:lnTo>
                      <a:lnTo>
                        <a:pt x="393" y="498"/>
                      </a:lnTo>
                      <a:lnTo>
                        <a:pt x="392" y="498"/>
                      </a:lnTo>
                      <a:lnTo>
                        <a:pt x="390" y="498"/>
                      </a:lnTo>
                      <a:lnTo>
                        <a:pt x="388" y="498"/>
                      </a:lnTo>
                      <a:lnTo>
                        <a:pt x="387" y="498"/>
                      </a:lnTo>
                      <a:lnTo>
                        <a:pt x="387" y="496"/>
                      </a:lnTo>
                      <a:lnTo>
                        <a:pt x="385" y="496"/>
                      </a:lnTo>
                      <a:lnTo>
                        <a:pt x="385" y="494"/>
                      </a:lnTo>
                      <a:lnTo>
                        <a:pt x="383" y="494"/>
                      </a:lnTo>
                      <a:lnTo>
                        <a:pt x="383" y="493"/>
                      </a:lnTo>
                      <a:lnTo>
                        <a:pt x="382" y="493"/>
                      </a:lnTo>
                      <a:lnTo>
                        <a:pt x="382" y="491"/>
                      </a:lnTo>
                      <a:lnTo>
                        <a:pt x="382" y="489"/>
                      </a:lnTo>
                      <a:lnTo>
                        <a:pt x="380" y="489"/>
                      </a:lnTo>
                      <a:lnTo>
                        <a:pt x="378" y="489"/>
                      </a:lnTo>
                      <a:lnTo>
                        <a:pt x="378" y="488"/>
                      </a:lnTo>
                      <a:lnTo>
                        <a:pt x="380" y="486"/>
                      </a:lnTo>
                      <a:lnTo>
                        <a:pt x="378" y="485"/>
                      </a:lnTo>
                      <a:lnTo>
                        <a:pt x="378" y="483"/>
                      </a:lnTo>
                      <a:lnTo>
                        <a:pt x="378" y="481"/>
                      </a:lnTo>
                      <a:lnTo>
                        <a:pt x="378" y="480"/>
                      </a:lnTo>
                      <a:lnTo>
                        <a:pt x="377" y="480"/>
                      </a:lnTo>
                      <a:lnTo>
                        <a:pt x="377" y="478"/>
                      </a:lnTo>
                      <a:lnTo>
                        <a:pt x="375" y="478"/>
                      </a:lnTo>
                      <a:lnTo>
                        <a:pt x="375" y="476"/>
                      </a:lnTo>
                      <a:lnTo>
                        <a:pt x="375" y="475"/>
                      </a:lnTo>
                      <a:lnTo>
                        <a:pt x="375" y="473"/>
                      </a:lnTo>
                      <a:lnTo>
                        <a:pt x="373" y="473"/>
                      </a:lnTo>
                      <a:lnTo>
                        <a:pt x="372" y="471"/>
                      </a:lnTo>
                      <a:lnTo>
                        <a:pt x="373" y="471"/>
                      </a:lnTo>
                      <a:lnTo>
                        <a:pt x="372" y="471"/>
                      </a:lnTo>
                      <a:lnTo>
                        <a:pt x="372" y="470"/>
                      </a:lnTo>
                      <a:lnTo>
                        <a:pt x="372" y="468"/>
                      </a:lnTo>
                      <a:lnTo>
                        <a:pt x="370" y="468"/>
                      </a:lnTo>
                      <a:lnTo>
                        <a:pt x="372" y="466"/>
                      </a:lnTo>
                      <a:lnTo>
                        <a:pt x="370" y="466"/>
                      </a:lnTo>
                      <a:lnTo>
                        <a:pt x="370" y="465"/>
                      </a:lnTo>
                      <a:lnTo>
                        <a:pt x="370" y="463"/>
                      </a:lnTo>
                      <a:lnTo>
                        <a:pt x="372" y="463"/>
                      </a:lnTo>
                      <a:lnTo>
                        <a:pt x="370" y="462"/>
                      </a:lnTo>
                      <a:lnTo>
                        <a:pt x="368" y="462"/>
                      </a:lnTo>
                      <a:lnTo>
                        <a:pt x="368" y="460"/>
                      </a:lnTo>
                      <a:lnTo>
                        <a:pt x="368" y="462"/>
                      </a:lnTo>
                      <a:lnTo>
                        <a:pt x="368" y="460"/>
                      </a:lnTo>
                      <a:lnTo>
                        <a:pt x="368" y="462"/>
                      </a:lnTo>
                      <a:lnTo>
                        <a:pt x="366" y="462"/>
                      </a:lnTo>
                      <a:lnTo>
                        <a:pt x="366" y="460"/>
                      </a:lnTo>
                      <a:lnTo>
                        <a:pt x="365" y="460"/>
                      </a:lnTo>
                      <a:lnTo>
                        <a:pt x="363" y="460"/>
                      </a:lnTo>
                      <a:lnTo>
                        <a:pt x="363" y="458"/>
                      </a:lnTo>
                      <a:lnTo>
                        <a:pt x="361" y="458"/>
                      </a:lnTo>
                      <a:lnTo>
                        <a:pt x="360" y="458"/>
                      </a:lnTo>
                      <a:lnTo>
                        <a:pt x="361" y="458"/>
                      </a:lnTo>
                      <a:lnTo>
                        <a:pt x="360" y="457"/>
                      </a:lnTo>
                      <a:lnTo>
                        <a:pt x="358" y="455"/>
                      </a:lnTo>
                      <a:lnTo>
                        <a:pt x="360" y="455"/>
                      </a:lnTo>
                      <a:lnTo>
                        <a:pt x="358" y="455"/>
                      </a:lnTo>
                      <a:lnTo>
                        <a:pt x="358" y="453"/>
                      </a:lnTo>
                      <a:lnTo>
                        <a:pt x="360" y="453"/>
                      </a:lnTo>
                      <a:lnTo>
                        <a:pt x="358" y="453"/>
                      </a:lnTo>
                      <a:lnTo>
                        <a:pt x="356" y="453"/>
                      </a:lnTo>
                      <a:lnTo>
                        <a:pt x="355" y="453"/>
                      </a:lnTo>
                      <a:lnTo>
                        <a:pt x="355" y="452"/>
                      </a:lnTo>
                      <a:lnTo>
                        <a:pt x="353" y="452"/>
                      </a:lnTo>
                      <a:lnTo>
                        <a:pt x="353" y="450"/>
                      </a:lnTo>
                      <a:lnTo>
                        <a:pt x="351" y="450"/>
                      </a:lnTo>
                      <a:lnTo>
                        <a:pt x="350" y="450"/>
                      </a:lnTo>
                      <a:lnTo>
                        <a:pt x="348" y="450"/>
                      </a:lnTo>
                      <a:lnTo>
                        <a:pt x="348" y="448"/>
                      </a:lnTo>
                      <a:lnTo>
                        <a:pt x="348" y="447"/>
                      </a:lnTo>
                      <a:lnTo>
                        <a:pt x="346" y="447"/>
                      </a:lnTo>
                      <a:lnTo>
                        <a:pt x="346" y="445"/>
                      </a:lnTo>
                      <a:lnTo>
                        <a:pt x="346" y="447"/>
                      </a:lnTo>
                      <a:lnTo>
                        <a:pt x="346" y="445"/>
                      </a:lnTo>
                      <a:lnTo>
                        <a:pt x="345" y="445"/>
                      </a:lnTo>
                      <a:lnTo>
                        <a:pt x="343" y="445"/>
                      </a:lnTo>
                      <a:lnTo>
                        <a:pt x="345" y="445"/>
                      </a:lnTo>
                      <a:lnTo>
                        <a:pt x="343" y="445"/>
                      </a:lnTo>
                      <a:lnTo>
                        <a:pt x="343" y="443"/>
                      </a:lnTo>
                      <a:lnTo>
                        <a:pt x="343" y="445"/>
                      </a:lnTo>
                      <a:lnTo>
                        <a:pt x="341" y="445"/>
                      </a:lnTo>
                      <a:lnTo>
                        <a:pt x="343" y="443"/>
                      </a:lnTo>
                      <a:lnTo>
                        <a:pt x="341" y="443"/>
                      </a:lnTo>
                      <a:lnTo>
                        <a:pt x="341" y="445"/>
                      </a:lnTo>
                      <a:lnTo>
                        <a:pt x="339" y="445"/>
                      </a:lnTo>
                      <a:lnTo>
                        <a:pt x="339" y="447"/>
                      </a:lnTo>
                      <a:lnTo>
                        <a:pt x="338" y="447"/>
                      </a:lnTo>
                      <a:lnTo>
                        <a:pt x="336" y="447"/>
                      </a:lnTo>
                      <a:lnTo>
                        <a:pt x="336" y="448"/>
                      </a:lnTo>
                      <a:lnTo>
                        <a:pt x="336" y="447"/>
                      </a:lnTo>
                      <a:lnTo>
                        <a:pt x="334" y="447"/>
                      </a:lnTo>
                      <a:lnTo>
                        <a:pt x="334" y="445"/>
                      </a:lnTo>
                      <a:lnTo>
                        <a:pt x="333" y="445"/>
                      </a:lnTo>
                      <a:lnTo>
                        <a:pt x="333" y="443"/>
                      </a:lnTo>
                      <a:lnTo>
                        <a:pt x="331" y="443"/>
                      </a:lnTo>
                      <a:lnTo>
                        <a:pt x="331" y="442"/>
                      </a:lnTo>
                      <a:lnTo>
                        <a:pt x="329" y="442"/>
                      </a:lnTo>
                      <a:lnTo>
                        <a:pt x="302" y="422"/>
                      </a:lnTo>
                      <a:lnTo>
                        <a:pt x="302" y="420"/>
                      </a:lnTo>
                      <a:lnTo>
                        <a:pt x="302" y="419"/>
                      </a:lnTo>
                      <a:lnTo>
                        <a:pt x="301" y="419"/>
                      </a:lnTo>
                      <a:lnTo>
                        <a:pt x="301" y="417"/>
                      </a:lnTo>
                      <a:lnTo>
                        <a:pt x="302" y="417"/>
                      </a:lnTo>
                      <a:lnTo>
                        <a:pt x="301" y="417"/>
                      </a:lnTo>
                      <a:lnTo>
                        <a:pt x="301" y="416"/>
                      </a:lnTo>
                      <a:lnTo>
                        <a:pt x="301" y="414"/>
                      </a:lnTo>
                      <a:lnTo>
                        <a:pt x="299" y="414"/>
                      </a:lnTo>
                      <a:lnTo>
                        <a:pt x="299" y="412"/>
                      </a:lnTo>
                      <a:lnTo>
                        <a:pt x="297" y="411"/>
                      </a:lnTo>
                      <a:lnTo>
                        <a:pt x="297" y="409"/>
                      </a:lnTo>
                      <a:lnTo>
                        <a:pt x="296" y="409"/>
                      </a:lnTo>
                      <a:lnTo>
                        <a:pt x="296" y="407"/>
                      </a:lnTo>
                      <a:lnTo>
                        <a:pt x="294" y="407"/>
                      </a:lnTo>
                      <a:lnTo>
                        <a:pt x="292" y="407"/>
                      </a:lnTo>
                      <a:lnTo>
                        <a:pt x="292" y="406"/>
                      </a:lnTo>
                      <a:lnTo>
                        <a:pt x="290" y="406"/>
                      </a:lnTo>
                      <a:lnTo>
                        <a:pt x="290" y="404"/>
                      </a:lnTo>
                      <a:lnTo>
                        <a:pt x="289" y="404"/>
                      </a:lnTo>
                      <a:lnTo>
                        <a:pt x="282" y="404"/>
                      </a:lnTo>
                      <a:lnTo>
                        <a:pt x="280" y="404"/>
                      </a:lnTo>
                      <a:lnTo>
                        <a:pt x="280" y="402"/>
                      </a:lnTo>
                      <a:lnTo>
                        <a:pt x="279" y="402"/>
                      </a:lnTo>
                      <a:lnTo>
                        <a:pt x="277" y="402"/>
                      </a:lnTo>
                      <a:lnTo>
                        <a:pt x="277" y="401"/>
                      </a:lnTo>
                      <a:lnTo>
                        <a:pt x="275" y="401"/>
                      </a:lnTo>
                      <a:lnTo>
                        <a:pt x="274" y="401"/>
                      </a:lnTo>
                      <a:lnTo>
                        <a:pt x="272" y="401"/>
                      </a:lnTo>
                      <a:lnTo>
                        <a:pt x="270" y="401"/>
                      </a:lnTo>
                      <a:lnTo>
                        <a:pt x="269" y="401"/>
                      </a:lnTo>
                      <a:lnTo>
                        <a:pt x="267" y="401"/>
                      </a:lnTo>
                      <a:lnTo>
                        <a:pt x="267" y="402"/>
                      </a:lnTo>
                      <a:lnTo>
                        <a:pt x="265" y="402"/>
                      </a:lnTo>
                      <a:lnTo>
                        <a:pt x="265" y="401"/>
                      </a:lnTo>
                      <a:lnTo>
                        <a:pt x="263" y="401"/>
                      </a:lnTo>
                      <a:lnTo>
                        <a:pt x="263" y="399"/>
                      </a:lnTo>
                      <a:lnTo>
                        <a:pt x="262" y="399"/>
                      </a:lnTo>
                      <a:lnTo>
                        <a:pt x="262" y="397"/>
                      </a:lnTo>
                      <a:lnTo>
                        <a:pt x="260" y="397"/>
                      </a:lnTo>
                      <a:lnTo>
                        <a:pt x="262" y="396"/>
                      </a:lnTo>
                      <a:lnTo>
                        <a:pt x="260" y="396"/>
                      </a:lnTo>
                      <a:lnTo>
                        <a:pt x="262" y="396"/>
                      </a:lnTo>
                      <a:lnTo>
                        <a:pt x="260" y="396"/>
                      </a:lnTo>
                      <a:lnTo>
                        <a:pt x="258" y="397"/>
                      </a:lnTo>
                      <a:lnTo>
                        <a:pt x="258" y="396"/>
                      </a:lnTo>
                      <a:lnTo>
                        <a:pt x="257" y="397"/>
                      </a:lnTo>
                      <a:lnTo>
                        <a:pt x="257" y="396"/>
                      </a:lnTo>
                      <a:lnTo>
                        <a:pt x="255" y="396"/>
                      </a:lnTo>
                      <a:lnTo>
                        <a:pt x="257" y="396"/>
                      </a:lnTo>
                      <a:lnTo>
                        <a:pt x="255" y="396"/>
                      </a:lnTo>
                      <a:lnTo>
                        <a:pt x="257" y="396"/>
                      </a:lnTo>
                      <a:lnTo>
                        <a:pt x="257" y="394"/>
                      </a:lnTo>
                      <a:lnTo>
                        <a:pt x="255" y="394"/>
                      </a:lnTo>
                      <a:lnTo>
                        <a:pt x="253" y="394"/>
                      </a:lnTo>
                      <a:lnTo>
                        <a:pt x="253" y="393"/>
                      </a:lnTo>
                      <a:lnTo>
                        <a:pt x="255" y="393"/>
                      </a:lnTo>
                      <a:lnTo>
                        <a:pt x="253" y="391"/>
                      </a:lnTo>
                      <a:lnTo>
                        <a:pt x="252" y="391"/>
                      </a:lnTo>
                      <a:lnTo>
                        <a:pt x="252" y="389"/>
                      </a:lnTo>
                      <a:lnTo>
                        <a:pt x="252" y="388"/>
                      </a:lnTo>
                      <a:lnTo>
                        <a:pt x="250" y="388"/>
                      </a:lnTo>
                      <a:lnTo>
                        <a:pt x="250" y="386"/>
                      </a:lnTo>
                      <a:lnTo>
                        <a:pt x="248" y="386"/>
                      </a:lnTo>
                      <a:lnTo>
                        <a:pt x="247" y="386"/>
                      </a:lnTo>
                      <a:lnTo>
                        <a:pt x="247" y="388"/>
                      </a:lnTo>
                      <a:lnTo>
                        <a:pt x="247" y="389"/>
                      </a:lnTo>
                      <a:lnTo>
                        <a:pt x="245" y="389"/>
                      </a:lnTo>
                      <a:lnTo>
                        <a:pt x="245" y="391"/>
                      </a:lnTo>
                      <a:lnTo>
                        <a:pt x="245" y="393"/>
                      </a:lnTo>
                      <a:lnTo>
                        <a:pt x="243" y="393"/>
                      </a:lnTo>
                      <a:lnTo>
                        <a:pt x="243" y="391"/>
                      </a:lnTo>
                      <a:lnTo>
                        <a:pt x="241" y="391"/>
                      </a:lnTo>
                      <a:lnTo>
                        <a:pt x="240" y="391"/>
                      </a:lnTo>
                      <a:lnTo>
                        <a:pt x="240" y="389"/>
                      </a:lnTo>
                      <a:lnTo>
                        <a:pt x="238" y="391"/>
                      </a:lnTo>
                      <a:lnTo>
                        <a:pt x="238" y="389"/>
                      </a:lnTo>
                      <a:lnTo>
                        <a:pt x="236" y="389"/>
                      </a:lnTo>
                      <a:lnTo>
                        <a:pt x="236" y="388"/>
                      </a:lnTo>
                      <a:lnTo>
                        <a:pt x="235" y="388"/>
                      </a:lnTo>
                      <a:lnTo>
                        <a:pt x="235" y="386"/>
                      </a:lnTo>
                      <a:lnTo>
                        <a:pt x="233" y="386"/>
                      </a:lnTo>
                      <a:lnTo>
                        <a:pt x="231" y="386"/>
                      </a:lnTo>
                      <a:lnTo>
                        <a:pt x="230" y="386"/>
                      </a:lnTo>
                      <a:lnTo>
                        <a:pt x="228" y="386"/>
                      </a:lnTo>
                      <a:lnTo>
                        <a:pt x="228" y="384"/>
                      </a:lnTo>
                      <a:lnTo>
                        <a:pt x="228" y="386"/>
                      </a:lnTo>
                      <a:lnTo>
                        <a:pt x="228" y="384"/>
                      </a:lnTo>
                      <a:lnTo>
                        <a:pt x="226" y="384"/>
                      </a:lnTo>
                      <a:lnTo>
                        <a:pt x="226" y="383"/>
                      </a:lnTo>
                      <a:lnTo>
                        <a:pt x="226" y="381"/>
                      </a:lnTo>
                      <a:lnTo>
                        <a:pt x="226" y="379"/>
                      </a:lnTo>
                      <a:lnTo>
                        <a:pt x="225" y="379"/>
                      </a:lnTo>
                      <a:lnTo>
                        <a:pt x="223" y="379"/>
                      </a:lnTo>
                      <a:lnTo>
                        <a:pt x="223" y="378"/>
                      </a:lnTo>
                      <a:lnTo>
                        <a:pt x="225" y="378"/>
                      </a:lnTo>
                      <a:lnTo>
                        <a:pt x="223" y="376"/>
                      </a:lnTo>
                      <a:lnTo>
                        <a:pt x="223" y="374"/>
                      </a:lnTo>
                      <a:lnTo>
                        <a:pt x="221" y="374"/>
                      </a:lnTo>
                      <a:lnTo>
                        <a:pt x="220" y="374"/>
                      </a:lnTo>
                      <a:lnTo>
                        <a:pt x="218" y="373"/>
                      </a:lnTo>
                      <a:lnTo>
                        <a:pt x="220" y="373"/>
                      </a:lnTo>
                      <a:lnTo>
                        <a:pt x="220" y="371"/>
                      </a:lnTo>
                      <a:lnTo>
                        <a:pt x="218" y="371"/>
                      </a:lnTo>
                      <a:lnTo>
                        <a:pt x="218" y="370"/>
                      </a:lnTo>
                      <a:lnTo>
                        <a:pt x="220" y="370"/>
                      </a:lnTo>
                      <a:lnTo>
                        <a:pt x="218" y="370"/>
                      </a:lnTo>
                      <a:lnTo>
                        <a:pt x="218" y="368"/>
                      </a:lnTo>
                      <a:lnTo>
                        <a:pt x="216" y="368"/>
                      </a:lnTo>
                      <a:lnTo>
                        <a:pt x="216" y="366"/>
                      </a:lnTo>
                      <a:lnTo>
                        <a:pt x="218" y="365"/>
                      </a:lnTo>
                      <a:lnTo>
                        <a:pt x="216" y="365"/>
                      </a:lnTo>
                      <a:lnTo>
                        <a:pt x="214" y="365"/>
                      </a:lnTo>
                      <a:lnTo>
                        <a:pt x="214" y="363"/>
                      </a:lnTo>
                      <a:lnTo>
                        <a:pt x="213" y="363"/>
                      </a:lnTo>
                      <a:lnTo>
                        <a:pt x="213" y="365"/>
                      </a:lnTo>
                      <a:lnTo>
                        <a:pt x="211" y="365"/>
                      </a:lnTo>
                      <a:lnTo>
                        <a:pt x="211" y="363"/>
                      </a:lnTo>
                      <a:lnTo>
                        <a:pt x="209" y="363"/>
                      </a:lnTo>
                      <a:lnTo>
                        <a:pt x="209" y="361"/>
                      </a:lnTo>
                      <a:lnTo>
                        <a:pt x="209" y="360"/>
                      </a:lnTo>
                      <a:lnTo>
                        <a:pt x="209" y="358"/>
                      </a:lnTo>
                      <a:lnTo>
                        <a:pt x="208" y="358"/>
                      </a:lnTo>
                      <a:lnTo>
                        <a:pt x="206" y="356"/>
                      </a:lnTo>
                      <a:lnTo>
                        <a:pt x="204" y="356"/>
                      </a:lnTo>
                      <a:lnTo>
                        <a:pt x="204" y="355"/>
                      </a:lnTo>
                      <a:lnTo>
                        <a:pt x="203" y="355"/>
                      </a:lnTo>
                      <a:lnTo>
                        <a:pt x="201" y="353"/>
                      </a:lnTo>
                      <a:lnTo>
                        <a:pt x="203" y="353"/>
                      </a:lnTo>
                      <a:lnTo>
                        <a:pt x="201" y="351"/>
                      </a:lnTo>
                      <a:lnTo>
                        <a:pt x="199" y="351"/>
                      </a:lnTo>
                      <a:lnTo>
                        <a:pt x="198" y="351"/>
                      </a:lnTo>
                      <a:lnTo>
                        <a:pt x="198" y="350"/>
                      </a:lnTo>
                      <a:lnTo>
                        <a:pt x="196" y="348"/>
                      </a:lnTo>
                      <a:lnTo>
                        <a:pt x="196" y="347"/>
                      </a:lnTo>
                      <a:lnTo>
                        <a:pt x="194" y="347"/>
                      </a:lnTo>
                      <a:lnTo>
                        <a:pt x="193" y="348"/>
                      </a:lnTo>
                      <a:lnTo>
                        <a:pt x="193" y="347"/>
                      </a:lnTo>
                      <a:lnTo>
                        <a:pt x="191" y="347"/>
                      </a:lnTo>
                      <a:lnTo>
                        <a:pt x="189" y="347"/>
                      </a:lnTo>
                      <a:lnTo>
                        <a:pt x="189" y="348"/>
                      </a:lnTo>
                      <a:lnTo>
                        <a:pt x="187" y="348"/>
                      </a:lnTo>
                      <a:lnTo>
                        <a:pt x="187" y="350"/>
                      </a:lnTo>
                      <a:lnTo>
                        <a:pt x="187" y="351"/>
                      </a:lnTo>
                      <a:lnTo>
                        <a:pt x="189" y="351"/>
                      </a:lnTo>
                      <a:lnTo>
                        <a:pt x="189" y="353"/>
                      </a:lnTo>
                      <a:lnTo>
                        <a:pt x="189" y="355"/>
                      </a:lnTo>
                      <a:lnTo>
                        <a:pt x="187" y="355"/>
                      </a:lnTo>
                      <a:lnTo>
                        <a:pt x="187" y="356"/>
                      </a:lnTo>
                      <a:lnTo>
                        <a:pt x="186" y="356"/>
                      </a:lnTo>
                      <a:lnTo>
                        <a:pt x="186" y="358"/>
                      </a:lnTo>
                      <a:lnTo>
                        <a:pt x="186" y="356"/>
                      </a:lnTo>
                      <a:lnTo>
                        <a:pt x="184" y="356"/>
                      </a:lnTo>
                      <a:lnTo>
                        <a:pt x="182" y="356"/>
                      </a:lnTo>
                      <a:lnTo>
                        <a:pt x="181" y="356"/>
                      </a:lnTo>
                      <a:lnTo>
                        <a:pt x="182" y="358"/>
                      </a:lnTo>
                      <a:lnTo>
                        <a:pt x="181" y="358"/>
                      </a:lnTo>
                      <a:lnTo>
                        <a:pt x="181" y="360"/>
                      </a:lnTo>
                      <a:lnTo>
                        <a:pt x="179" y="360"/>
                      </a:lnTo>
                      <a:lnTo>
                        <a:pt x="179" y="361"/>
                      </a:lnTo>
                      <a:lnTo>
                        <a:pt x="177" y="361"/>
                      </a:lnTo>
                      <a:lnTo>
                        <a:pt x="177" y="363"/>
                      </a:lnTo>
                      <a:lnTo>
                        <a:pt x="176" y="363"/>
                      </a:lnTo>
                      <a:lnTo>
                        <a:pt x="174" y="363"/>
                      </a:lnTo>
                      <a:lnTo>
                        <a:pt x="172" y="363"/>
                      </a:lnTo>
                      <a:lnTo>
                        <a:pt x="172" y="365"/>
                      </a:lnTo>
                      <a:lnTo>
                        <a:pt x="171" y="365"/>
                      </a:lnTo>
                      <a:lnTo>
                        <a:pt x="169" y="365"/>
                      </a:lnTo>
                      <a:lnTo>
                        <a:pt x="169" y="366"/>
                      </a:lnTo>
                      <a:lnTo>
                        <a:pt x="167" y="368"/>
                      </a:lnTo>
                      <a:lnTo>
                        <a:pt x="165" y="368"/>
                      </a:lnTo>
                      <a:lnTo>
                        <a:pt x="164" y="368"/>
                      </a:lnTo>
                      <a:lnTo>
                        <a:pt x="162" y="368"/>
                      </a:lnTo>
                      <a:lnTo>
                        <a:pt x="162" y="370"/>
                      </a:lnTo>
                      <a:lnTo>
                        <a:pt x="160" y="370"/>
                      </a:lnTo>
                      <a:lnTo>
                        <a:pt x="160" y="368"/>
                      </a:lnTo>
                      <a:lnTo>
                        <a:pt x="159" y="368"/>
                      </a:lnTo>
                      <a:lnTo>
                        <a:pt x="157" y="368"/>
                      </a:lnTo>
                      <a:lnTo>
                        <a:pt x="155" y="370"/>
                      </a:lnTo>
                      <a:lnTo>
                        <a:pt x="154" y="370"/>
                      </a:lnTo>
                      <a:lnTo>
                        <a:pt x="154" y="368"/>
                      </a:lnTo>
                      <a:lnTo>
                        <a:pt x="154" y="366"/>
                      </a:lnTo>
                      <a:lnTo>
                        <a:pt x="154" y="365"/>
                      </a:lnTo>
                      <a:lnTo>
                        <a:pt x="154" y="363"/>
                      </a:lnTo>
                      <a:lnTo>
                        <a:pt x="154" y="361"/>
                      </a:lnTo>
                      <a:lnTo>
                        <a:pt x="154" y="360"/>
                      </a:lnTo>
                      <a:lnTo>
                        <a:pt x="155" y="360"/>
                      </a:lnTo>
                      <a:lnTo>
                        <a:pt x="154" y="360"/>
                      </a:lnTo>
                      <a:lnTo>
                        <a:pt x="155" y="360"/>
                      </a:lnTo>
                      <a:lnTo>
                        <a:pt x="155" y="358"/>
                      </a:lnTo>
                      <a:lnTo>
                        <a:pt x="154" y="358"/>
                      </a:lnTo>
                      <a:lnTo>
                        <a:pt x="154" y="356"/>
                      </a:lnTo>
                      <a:lnTo>
                        <a:pt x="154" y="355"/>
                      </a:lnTo>
                      <a:lnTo>
                        <a:pt x="155" y="355"/>
                      </a:lnTo>
                      <a:lnTo>
                        <a:pt x="155" y="353"/>
                      </a:lnTo>
                      <a:lnTo>
                        <a:pt x="154" y="353"/>
                      </a:lnTo>
                      <a:lnTo>
                        <a:pt x="155" y="351"/>
                      </a:lnTo>
                      <a:lnTo>
                        <a:pt x="154" y="351"/>
                      </a:lnTo>
                      <a:lnTo>
                        <a:pt x="155" y="350"/>
                      </a:lnTo>
                      <a:lnTo>
                        <a:pt x="157" y="348"/>
                      </a:lnTo>
                      <a:lnTo>
                        <a:pt x="155" y="348"/>
                      </a:lnTo>
                      <a:lnTo>
                        <a:pt x="155" y="347"/>
                      </a:lnTo>
                      <a:lnTo>
                        <a:pt x="155" y="345"/>
                      </a:lnTo>
                      <a:lnTo>
                        <a:pt x="154" y="345"/>
                      </a:lnTo>
                      <a:lnTo>
                        <a:pt x="154" y="343"/>
                      </a:lnTo>
                      <a:lnTo>
                        <a:pt x="154" y="342"/>
                      </a:lnTo>
                      <a:lnTo>
                        <a:pt x="152" y="342"/>
                      </a:lnTo>
                      <a:lnTo>
                        <a:pt x="152" y="340"/>
                      </a:lnTo>
                      <a:lnTo>
                        <a:pt x="150" y="340"/>
                      </a:lnTo>
                      <a:lnTo>
                        <a:pt x="149" y="340"/>
                      </a:lnTo>
                      <a:lnTo>
                        <a:pt x="149" y="338"/>
                      </a:lnTo>
                      <a:lnTo>
                        <a:pt x="147" y="338"/>
                      </a:lnTo>
                      <a:lnTo>
                        <a:pt x="145" y="338"/>
                      </a:lnTo>
                      <a:lnTo>
                        <a:pt x="145" y="337"/>
                      </a:lnTo>
                      <a:lnTo>
                        <a:pt x="144" y="337"/>
                      </a:lnTo>
                      <a:lnTo>
                        <a:pt x="144" y="335"/>
                      </a:lnTo>
                      <a:lnTo>
                        <a:pt x="142" y="335"/>
                      </a:lnTo>
                      <a:lnTo>
                        <a:pt x="140" y="333"/>
                      </a:lnTo>
                      <a:lnTo>
                        <a:pt x="142" y="333"/>
                      </a:lnTo>
                      <a:lnTo>
                        <a:pt x="142" y="332"/>
                      </a:lnTo>
                      <a:lnTo>
                        <a:pt x="140" y="332"/>
                      </a:lnTo>
                      <a:lnTo>
                        <a:pt x="140" y="330"/>
                      </a:lnTo>
                      <a:lnTo>
                        <a:pt x="138" y="330"/>
                      </a:lnTo>
                      <a:lnTo>
                        <a:pt x="138" y="328"/>
                      </a:lnTo>
                      <a:lnTo>
                        <a:pt x="140" y="328"/>
                      </a:lnTo>
                      <a:lnTo>
                        <a:pt x="138" y="327"/>
                      </a:lnTo>
                      <a:lnTo>
                        <a:pt x="138" y="325"/>
                      </a:lnTo>
                      <a:lnTo>
                        <a:pt x="137" y="325"/>
                      </a:lnTo>
                      <a:lnTo>
                        <a:pt x="135" y="325"/>
                      </a:lnTo>
                      <a:lnTo>
                        <a:pt x="133" y="325"/>
                      </a:lnTo>
                      <a:lnTo>
                        <a:pt x="133" y="324"/>
                      </a:lnTo>
                      <a:lnTo>
                        <a:pt x="133" y="322"/>
                      </a:lnTo>
                      <a:lnTo>
                        <a:pt x="132" y="322"/>
                      </a:lnTo>
                      <a:lnTo>
                        <a:pt x="132" y="324"/>
                      </a:lnTo>
                      <a:lnTo>
                        <a:pt x="130" y="324"/>
                      </a:lnTo>
                      <a:lnTo>
                        <a:pt x="130" y="322"/>
                      </a:lnTo>
                      <a:lnTo>
                        <a:pt x="132" y="322"/>
                      </a:lnTo>
                      <a:lnTo>
                        <a:pt x="130" y="320"/>
                      </a:lnTo>
                      <a:lnTo>
                        <a:pt x="128" y="320"/>
                      </a:lnTo>
                      <a:lnTo>
                        <a:pt x="128" y="319"/>
                      </a:lnTo>
                      <a:lnTo>
                        <a:pt x="128" y="317"/>
                      </a:lnTo>
                      <a:lnTo>
                        <a:pt x="127" y="317"/>
                      </a:lnTo>
                      <a:lnTo>
                        <a:pt x="127" y="319"/>
                      </a:lnTo>
                      <a:lnTo>
                        <a:pt x="125" y="319"/>
                      </a:lnTo>
                      <a:lnTo>
                        <a:pt x="125" y="317"/>
                      </a:lnTo>
                      <a:lnTo>
                        <a:pt x="125" y="319"/>
                      </a:lnTo>
                      <a:lnTo>
                        <a:pt x="123" y="319"/>
                      </a:lnTo>
                      <a:lnTo>
                        <a:pt x="123" y="317"/>
                      </a:lnTo>
                      <a:lnTo>
                        <a:pt x="123" y="315"/>
                      </a:lnTo>
                      <a:lnTo>
                        <a:pt x="122" y="315"/>
                      </a:lnTo>
                      <a:lnTo>
                        <a:pt x="122" y="314"/>
                      </a:lnTo>
                      <a:lnTo>
                        <a:pt x="120" y="315"/>
                      </a:lnTo>
                      <a:lnTo>
                        <a:pt x="122" y="315"/>
                      </a:lnTo>
                      <a:lnTo>
                        <a:pt x="120" y="315"/>
                      </a:lnTo>
                      <a:lnTo>
                        <a:pt x="118" y="315"/>
                      </a:lnTo>
                      <a:lnTo>
                        <a:pt x="118" y="314"/>
                      </a:lnTo>
                      <a:lnTo>
                        <a:pt x="118" y="315"/>
                      </a:lnTo>
                      <a:lnTo>
                        <a:pt x="118" y="314"/>
                      </a:lnTo>
                      <a:lnTo>
                        <a:pt x="118" y="312"/>
                      </a:lnTo>
                      <a:lnTo>
                        <a:pt x="117" y="312"/>
                      </a:lnTo>
                      <a:lnTo>
                        <a:pt x="118" y="310"/>
                      </a:lnTo>
                      <a:lnTo>
                        <a:pt x="117" y="310"/>
                      </a:lnTo>
                      <a:lnTo>
                        <a:pt x="117" y="309"/>
                      </a:lnTo>
                      <a:lnTo>
                        <a:pt x="115" y="309"/>
                      </a:lnTo>
                      <a:lnTo>
                        <a:pt x="113" y="309"/>
                      </a:lnTo>
                      <a:lnTo>
                        <a:pt x="113" y="307"/>
                      </a:lnTo>
                      <a:lnTo>
                        <a:pt x="113" y="305"/>
                      </a:lnTo>
                      <a:lnTo>
                        <a:pt x="111" y="305"/>
                      </a:lnTo>
                      <a:lnTo>
                        <a:pt x="111" y="304"/>
                      </a:lnTo>
                      <a:lnTo>
                        <a:pt x="111" y="305"/>
                      </a:lnTo>
                      <a:lnTo>
                        <a:pt x="110" y="305"/>
                      </a:lnTo>
                      <a:lnTo>
                        <a:pt x="108" y="305"/>
                      </a:lnTo>
                      <a:lnTo>
                        <a:pt x="108" y="304"/>
                      </a:lnTo>
                      <a:lnTo>
                        <a:pt x="106" y="302"/>
                      </a:lnTo>
                      <a:lnTo>
                        <a:pt x="105" y="302"/>
                      </a:lnTo>
                      <a:lnTo>
                        <a:pt x="103" y="302"/>
                      </a:lnTo>
                      <a:lnTo>
                        <a:pt x="103" y="301"/>
                      </a:lnTo>
                      <a:lnTo>
                        <a:pt x="105" y="301"/>
                      </a:lnTo>
                      <a:lnTo>
                        <a:pt x="105" y="299"/>
                      </a:lnTo>
                      <a:lnTo>
                        <a:pt x="105" y="297"/>
                      </a:lnTo>
                      <a:lnTo>
                        <a:pt x="103" y="297"/>
                      </a:lnTo>
                      <a:lnTo>
                        <a:pt x="103" y="299"/>
                      </a:lnTo>
                      <a:lnTo>
                        <a:pt x="101" y="297"/>
                      </a:lnTo>
                      <a:lnTo>
                        <a:pt x="101" y="296"/>
                      </a:lnTo>
                      <a:lnTo>
                        <a:pt x="100" y="296"/>
                      </a:lnTo>
                      <a:lnTo>
                        <a:pt x="98" y="296"/>
                      </a:lnTo>
                      <a:lnTo>
                        <a:pt x="98" y="297"/>
                      </a:lnTo>
                      <a:lnTo>
                        <a:pt x="96" y="297"/>
                      </a:lnTo>
                      <a:lnTo>
                        <a:pt x="96" y="296"/>
                      </a:lnTo>
                      <a:lnTo>
                        <a:pt x="98" y="296"/>
                      </a:lnTo>
                      <a:lnTo>
                        <a:pt x="98" y="294"/>
                      </a:lnTo>
                      <a:lnTo>
                        <a:pt x="96" y="294"/>
                      </a:lnTo>
                      <a:lnTo>
                        <a:pt x="95" y="292"/>
                      </a:lnTo>
                      <a:lnTo>
                        <a:pt x="96" y="292"/>
                      </a:lnTo>
                      <a:lnTo>
                        <a:pt x="95" y="291"/>
                      </a:lnTo>
                      <a:lnTo>
                        <a:pt x="95" y="289"/>
                      </a:lnTo>
                      <a:lnTo>
                        <a:pt x="93" y="289"/>
                      </a:lnTo>
                      <a:lnTo>
                        <a:pt x="91" y="289"/>
                      </a:lnTo>
                      <a:lnTo>
                        <a:pt x="93" y="289"/>
                      </a:lnTo>
                      <a:lnTo>
                        <a:pt x="95" y="289"/>
                      </a:lnTo>
                      <a:lnTo>
                        <a:pt x="95" y="287"/>
                      </a:lnTo>
                      <a:lnTo>
                        <a:pt x="93" y="289"/>
                      </a:lnTo>
                      <a:lnTo>
                        <a:pt x="93" y="287"/>
                      </a:lnTo>
                      <a:lnTo>
                        <a:pt x="91" y="287"/>
                      </a:lnTo>
                      <a:lnTo>
                        <a:pt x="89" y="287"/>
                      </a:lnTo>
                      <a:lnTo>
                        <a:pt x="88" y="287"/>
                      </a:lnTo>
                      <a:lnTo>
                        <a:pt x="88" y="286"/>
                      </a:lnTo>
                      <a:lnTo>
                        <a:pt x="86" y="284"/>
                      </a:lnTo>
                      <a:lnTo>
                        <a:pt x="84" y="284"/>
                      </a:lnTo>
                      <a:lnTo>
                        <a:pt x="83" y="284"/>
                      </a:lnTo>
                      <a:lnTo>
                        <a:pt x="81" y="284"/>
                      </a:lnTo>
                      <a:lnTo>
                        <a:pt x="81" y="283"/>
                      </a:lnTo>
                      <a:lnTo>
                        <a:pt x="81" y="281"/>
                      </a:lnTo>
                      <a:lnTo>
                        <a:pt x="79" y="281"/>
                      </a:lnTo>
                      <a:lnTo>
                        <a:pt x="79" y="279"/>
                      </a:lnTo>
                      <a:lnTo>
                        <a:pt x="78" y="279"/>
                      </a:lnTo>
                      <a:lnTo>
                        <a:pt x="78" y="278"/>
                      </a:lnTo>
                      <a:lnTo>
                        <a:pt x="76" y="278"/>
                      </a:lnTo>
                      <a:lnTo>
                        <a:pt x="74" y="278"/>
                      </a:lnTo>
                      <a:lnTo>
                        <a:pt x="73" y="278"/>
                      </a:lnTo>
                      <a:lnTo>
                        <a:pt x="71" y="278"/>
                      </a:lnTo>
                      <a:lnTo>
                        <a:pt x="71" y="279"/>
                      </a:lnTo>
                      <a:lnTo>
                        <a:pt x="69" y="279"/>
                      </a:lnTo>
                      <a:lnTo>
                        <a:pt x="69" y="278"/>
                      </a:lnTo>
                      <a:lnTo>
                        <a:pt x="68" y="278"/>
                      </a:lnTo>
                      <a:lnTo>
                        <a:pt x="66" y="278"/>
                      </a:lnTo>
                      <a:lnTo>
                        <a:pt x="64" y="279"/>
                      </a:lnTo>
                      <a:lnTo>
                        <a:pt x="64" y="278"/>
                      </a:lnTo>
                      <a:lnTo>
                        <a:pt x="62" y="278"/>
                      </a:lnTo>
                      <a:lnTo>
                        <a:pt x="61" y="278"/>
                      </a:lnTo>
                      <a:lnTo>
                        <a:pt x="59" y="278"/>
                      </a:lnTo>
                      <a:lnTo>
                        <a:pt x="57" y="278"/>
                      </a:lnTo>
                      <a:lnTo>
                        <a:pt x="57" y="279"/>
                      </a:lnTo>
                      <a:lnTo>
                        <a:pt x="56" y="279"/>
                      </a:lnTo>
                      <a:lnTo>
                        <a:pt x="56" y="278"/>
                      </a:lnTo>
                      <a:lnTo>
                        <a:pt x="54" y="279"/>
                      </a:lnTo>
                      <a:lnTo>
                        <a:pt x="54" y="278"/>
                      </a:lnTo>
                      <a:lnTo>
                        <a:pt x="52" y="278"/>
                      </a:lnTo>
                      <a:lnTo>
                        <a:pt x="52" y="279"/>
                      </a:lnTo>
                      <a:lnTo>
                        <a:pt x="52" y="281"/>
                      </a:lnTo>
                      <a:lnTo>
                        <a:pt x="52" y="279"/>
                      </a:lnTo>
                      <a:lnTo>
                        <a:pt x="51" y="279"/>
                      </a:lnTo>
                      <a:lnTo>
                        <a:pt x="49" y="279"/>
                      </a:lnTo>
                      <a:lnTo>
                        <a:pt x="49" y="281"/>
                      </a:lnTo>
                      <a:lnTo>
                        <a:pt x="51" y="281"/>
                      </a:lnTo>
                      <a:lnTo>
                        <a:pt x="51" y="283"/>
                      </a:lnTo>
                      <a:lnTo>
                        <a:pt x="49" y="283"/>
                      </a:lnTo>
                      <a:lnTo>
                        <a:pt x="47" y="284"/>
                      </a:lnTo>
                      <a:lnTo>
                        <a:pt x="47" y="286"/>
                      </a:lnTo>
                      <a:lnTo>
                        <a:pt x="46" y="286"/>
                      </a:lnTo>
                      <a:lnTo>
                        <a:pt x="46" y="287"/>
                      </a:lnTo>
                      <a:lnTo>
                        <a:pt x="44" y="287"/>
                      </a:lnTo>
                      <a:lnTo>
                        <a:pt x="46" y="287"/>
                      </a:lnTo>
                      <a:lnTo>
                        <a:pt x="44" y="287"/>
                      </a:lnTo>
                      <a:lnTo>
                        <a:pt x="44" y="289"/>
                      </a:lnTo>
                      <a:lnTo>
                        <a:pt x="46" y="289"/>
                      </a:lnTo>
                      <a:lnTo>
                        <a:pt x="44" y="289"/>
                      </a:lnTo>
                      <a:lnTo>
                        <a:pt x="46" y="289"/>
                      </a:lnTo>
                      <a:lnTo>
                        <a:pt x="46" y="291"/>
                      </a:lnTo>
                      <a:lnTo>
                        <a:pt x="46" y="292"/>
                      </a:lnTo>
                      <a:lnTo>
                        <a:pt x="44" y="291"/>
                      </a:lnTo>
                      <a:lnTo>
                        <a:pt x="44" y="292"/>
                      </a:lnTo>
                      <a:lnTo>
                        <a:pt x="42" y="292"/>
                      </a:lnTo>
                      <a:lnTo>
                        <a:pt x="42" y="294"/>
                      </a:lnTo>
                      <a:lnTo>
                        <a:pt x="41" y="296"/>
                      </a:lnTo>
                      <a:lnTo>
                        <a:pt x="39" y="296"/>
                      </a:lnTo>
                      <a:lnTo>
                        <a:pt x="37" y="296"/>
                      </a:lnTo>
                      <a:lnTo>
                        <a:pt x="35" y="296"/>
                      </a:lnTo>
                      <a:lnTo>
                        <a:pt x="37" y="294"/>
                      </a:lnTo>
                      <a:lnTo>
                        <a:pt x="35" y="294"/>
                      </a:lnTo>
                      <a:lnTo>
                        <a:pt x="35" y="296"/>
                      </a:lnTo>
                      <a:lnTo>
                        <a:pt x="34" y="296"/>
                      </a:lnTo>
                      <a:lnTo>
                        <a:pt x="32" y="296"/>
                      </a:lnTo>
                      <a:lnTo>
                        <a:pt x="32" y="294"/>
                      </a:lnTo>
                      <a:lnTo>
                        <a:pt x="32" y="292"/>
                      </a:lnTo>
                      <a:lnTo>
                        <a:pt x="30" y="292"/>
                      </a:lnTo>
                      <a:lnTo>
                        <a:pt x="30" y="294"/>
                      </a:lnTo>
                      <a:lnTo>
                        <a:pt x="29" y="294"/>
                      </a:lnTo>
                      <a:lnTo>
                        <a:pt x="27" y="294"/>
                      </a:lnTo>
                      <a:lnTo>
                        <a:pt x="27" y="296"/>
                      </a:lnTo>
                      <a:lnTo>
                        <a:pt x="27" y="294"/>
                      </a:lnTo>
                      <a:lnTo>
                        <a:pt x="25" y="294"/>
                      </a:lnTo>
                      <a:lnTo>
                        <a:pt x="24" y="296"/>
                      </a:lnTo>
                      <a:lnTo>
                        <a:pt x="24" y="297"/>
                      </a:lnTo>
                      <a:lnTo>
                        <a:pt x="22" y="297"/>
                      </a:lnTo>
                      <a:lnTo>
                        <a:pt x="20" y="297"/>
                      </a:lnTo>
                      <a:lnTo>
                        <a:pt x="20" y="296"/>
                      </a:lnTo>
                      <a:lnTo>
                        <a:pt x="22" y="296"/>
                      </a:lnTo>
                      <a:lnTo>
                        <a:pt x="20" y="296"/>
                      </a:lnTo>
                      <a:lnTo>
                        <a:pt x="20" y="294"/>
                      </a:lnTo>
                      <a:lnTo>
                        <a:pt x="19" y="294"/>
                      </a:lnTo>
                      <a:lnTo>
                        <a:pt x="17" y="294"/>
                      </a:lnTo>
                      <a:lnTo>
                        <a:pt x="15" y="294"/>
                      </a:lnTo>
                      <a:lnTo>
                        <a:pt x="13" y="294"/>
                      </a:lnTo>
                      <a:lnTo>
                        <a:pt x="13" y="296"/>
                      </a:lnTo>
                      <a:lnTo>
                        <a:pt x="12" y="296"/>
                      </a:lnTo>
                      <a:lnTo>
                        <a:pt x="10" y="296"/>
                      </a:lnTo>
                      <a:lnTo>
                        <a:pt x="8" y="294"/>
                      </a:lnTo>
                      <a:lnTo>
                        <a:pt x="7" y="294"/>
                      </a:lnTo>
                      <a:lnTo>
                        <a:pt x="7" y="292"/>
                      </a:lnTo>
                      <a:lnTo>
                        <a:pt x="7" y="291"/>
                      </a:lnTo>
                      <a:lnTo>
                        <a:pt x="8" y="289"/>
                      </a:lnTo>
                      <a:lnTo>
                        <a:pt x="7" y="289"/>
                      </a:lnTo>
                      <a:lnTo>
                        <a:pt x="3" y="286"/>
                      </a:lnTo>
                      <a:lnTo>
                        <a:pt x="2" y="286"/>
                      </a:lnTo>
                      <a:lnTo>
                        <a:pt x="0" y="287"/>
                      </a:lnTo>
                      <a:lnTo>
                        <a:pt x="0" y="286"/>
                      </a:lnTo>
                      <a:lnTo>
                        <a:pt x="2" y="286"/>
                      </a:lnTo>
                      <a:lnTo>
                        <a:pt x="3" y="286"/>
                      </a:lnTo>
                      <a:lnTo>
                        <a:pt x="7" y="286"/>
                      </a:lnTo>
                      <a:lnTo>
                        <a:pt x="7" y="284"/>
                      </a:lnTo>
                      <a:lnTo>
                        <a:pt x="8" y="284"/>
                      </a:lnTo>
                      <a:lnTo>
                        <a:pt x="10" y="284"/>
                      </a:lnTo>
                      <a:lnTo>
                        <a:pt x="13" y="281"/>
                      </a:lnTo>
                      <a:lnTo>
                        <a:pt x="15" y="281"/>
                      </a:lnTo>
                      <a:lnTo>
                        <a:pt x="17" y="279"/>
                      </a:lnTo>
                      <a:lnTo>
                        <a:pt x="17" y="278"/>
                      </a:lnTo>
                      <a:lnTo>
                        <a:pt x="19" y="276"/>
                      </a:lnTo>
                      <a:lnTo>
                        <a:pt x="19" y="274"/>
                      </a:lnTo>
                      <a:lnTo>
                        <a:pt x="22" y="271"/>
                      </a:lnTo>
                      <a:lnTo>
                        <a:pt x="24" y="271"/>
                      </a:lnTo>
                      <a:lnTo>
                        <a:pt x="27" y="269"/>
                      </a:lnTo>
                      <a:lnTo>
                        <a:pt x="29" y="268"/>
                      </a:lnTo>
                      <a:lnTo>
                        <a:pt x="29" y="266"/>
                      </a:lnTo>
                      <a:lnTo>
                        <a:pt x="30" y="264"/>
                      </a:lnTo>
                      <a:lnTo>
                        <a:pt x="30" y="263"/>
                      </a:lnTo>
                      <a:lnTo>
                        <a:pt x="30" y="261"/>
                      </a:lnTo>
                      <a:lnTo>
                        <a:pt x="29" y="260"/>
                      </a:lnTo>
                      <a:lnTo>
                        <a:pt x="29" y="258"/>
                      </a:lnTo>
                      <a:lnTo>
                        <a:pt x="30" y="256"/>
                      </a:lnTo>
                      <a:lnTo>
                        <a:pt x="32" y="253"/>
                      </a:lnTo>
                      <a:lnTo>
                        <a:pt x="34" y="253"/>
                      </a:lnTo>
                      <a:lnTo>
                        <a:pt x="35" y="251"/>
                      </a:lnTo>
                      <a:lnTo>
                        <a:pt x="37" y="250"/>
                      </a:lnTo>
                      <a:lnTo>
                        <a:pt x="39" y="248"/>
                      </a:lnTo>
                      <a:lnTo>
                        <a:pt x="42" y="248"/>
                      </a:lnTo>
                      <a:lnTo>
                        <a:pt x="44" y="250"/>
                      </a:lnTo>
                      <a:lnTo>
                        <a:pt x="49" y="248"/>
                      </a:lnTo>
                      <a:lnTo>
                        <a:pt x="51" y="246"/>
                      </a:lnTo>
                      <a:lnTo>
                        <a:pt x="56" y="241"/>
                      </a:lnTo>
                      <a:lnTo>
                        <a:pt x="57" y="241"/>
                      </a:lnTo>
                      <a:lnTo>
                        <a:pt x="57" y="240"/>
                      </a:lnTo>
                      <a:lnTo>
                        <a:pt x="59" y="240"/>
                      </a:lnTo>
                      <a:lnTo>
                        <a:pt x="59" y="238"/>
                      </a:lnTo>
                      <a:lnTo>
                        <a:pt x="59" y="237"/>
                      </a:lnTo>
                      <a:lnTo>
                        <a:pt x="61" y="237"/>
                      </a:lnTo>
                      <a:lnTo>
                        <a:pt x="62" y="237"/>
                      </a:lnTo>
                      <a:lnTo>
                        <a:pt x="64" y="237"/>
                      </a:lnTo>
                      <a:lnTo>
                        <a:pt x="64" y="235"/>
                      </a:lnTo>
                      <a:lnTo>
                        <a:pt x="62" y="233"/>
                      </a:lnTo>
                      <a:lnTo>
                        <a:pt x="64" y="232"/>
                      </a:lnTo>
                      <a:lnTo>
                        <a:pt x="64" y="230"/>
                      </a:lnTo>
                      <a:lnTo>
                        <a:pt x="66" y="230"/>
                      </a:lnTo>
                      <a:lnTo>
                        <a:pt x="68" y="228"/>
                      </a:lnTo>
                      <a:lnTo>
                        <a:pt x="69" y="227"/>
                      </a:lnTo>
                      <a:lnTo>
                        <a:pt x="71" y="225"/>
                      </a:lnTo>
                      <a:lnTo>
                        <a:pt x="73" y="225"/>
                      </a:lnTo>
                      <a:lnTo>
                        <a:pt x="73" y="223"/>
                      </a:lnTo>
                      <a:lnTo>
                        <a:pt x="76" y="223"/>
                      </a:lnTo>
                      <a:lnTo>
                        <a:pt x="78" y="222"/>
                      </a:lnTo>
                      <a:lnTo>
                        <a:pt x="78" y="220"/>
                      </a:lnTo>
                      <a:lnTo>
                        <a:pt x="79" y="220"/>
                      </a:lnTo>
                      <a:lnTo>
                        <a:pt x="79" y="218"/>
                      </a:lnTo>
                      <a:lnTo>
                        <a:pt x="81" y="217"/>
                      </a:lnTo>
                      <a:lnTo>
                        <a:pt x="81" y="215"/>
                      </a:lnTo>
                      <a:lnTo>
                        <a:pt x="81" y="214"/>
                      </a:lnTo>
                      <a:lnTo>
                        <a:pt x="83" y="212"/>
                      </a:lnTo>
                      <a:lnTo>
                        <a:pt x="83" y="210"/>
                      </a:lnTo>
                      <a:lnTo>
                        <a:pt x="84" y="210"/>
                      </a:lnTo>
                      <a:lnTo>
                        <a:pt x="88" y="210"/>
                      </a:lnTo>
                      <a:lnTo>
                        <a:pt x="89" y="209"/>
                      </a:lnTo>
                      <a:lnTo>
                        <a:pt x="89" y="207"/>
                      </a:lnTo>
                      <a:lnTo>
                        <a:pt x="91" y="205"/>
                      </a:lnTo>
                      <a:lnTo>
                        <a:pt x="93" y="202"/>
                      </a:lnTo>
                      <a:lnTo>
                        <a:pt x="95" y="200"/>
                      </a:lnTo>
                      <a:lnTo>
                        <a:pt x="93" y="199"/>
                      </a:lnTo>
                      <a:lnTo>
                        <a:pt x="93" y="197"/>
                      </a:lnTo>
                      <a:lnTo>
                        <a:pt x="95" y="195"/>
                      </a:lnTo>
                      <a:lnTo>
                        <a:pt x="96" y="194"/>
                      </a:lnTo>
                      <a:lnTo>
                        <a:pt x="98" y="192"/>
                      </a:lnTo>
                      <a:lnTo>
                        <a:pt x="98" y="191"/>
                      </a:lnTo>
                      <a:lnTo>
                        <a:pt x="100" y="189"/>
                      </a:lnTo>
                      <a:lnTo>
                        <a:pt x="100" y="187"/>
                      </a:lnTo>
                      <a:lnTo>
                        <a:pt x="101" y="187"/>
                      </a:lnTo>
                      <a:lnTo>
                        <a:pt x="103" y="187"/>
                      </a:lnTo>
                      <a:lnTo>
                        <a:pt x="105" y="187"/>
                      </a:lnTo>
                      <a:lnTo>
                        <a:pt x="106" y="186"/>
                      </a:lnTo>
                      <a:lnTo>
                        <a:pt x="115" y="184"/>
                      </a:lnTo>
                      <a:lnTo>
                        <a:pt x="117" y="184"/>
                      </a:lnTo>
                      <a:lnTo>
                        <a:pt x="117" y="182"/>
                      </a:lnTo>
                      <a:lnTo>
                        <a:pt x="117" y="181"/>
                      </a:lnTo>
                      <a:lnTo>
                        <a:pt x="118" y="179"/>
                      </a:lnTo>
                      <a:lnTo>
                        <a:pt x="117" y="177"/>
                      </a:lnTo>
                      <a:lnTo>
                        <a:pt x="117" y="176"/>
                      </a:lnTo>
                      <a:lnTo>
                        <a:pt x="117" y="174"/>
                      </a:lnTo>
                      <a:lnTo>
                        <a:pt x="118" y="172"/>
                      </a:lnTo>
                      <a:lnTo>
                        <a:pt x="120" y="172"/>
                      </a:lnTo>
                      <a:lnTo>
                        <a:pt x="122" y="172"/>
                      </a:lnTo>
                      <a:lnTo>
                        <a:pt x="122" y="171"/>
                      </a:lnTo>
                      <a:lnTo>
                        <a:pt x="123" y="171"/>
                      </a:lnTo>
                      <a:lnTo>
                        <a:pt x="125" y="169"/>
                      </a:lnTo>
                      <a:lnTo>
                        <a:pt x="127" y="168"/>
                      </a:lnTo>
                      <a:lnTo>
                        <a:pt x="127" y="166"/>
                      </a:lnTo>
                      <a:lnTo>
                        <a:pt x="127" y="164"/>
                      </a:lnTo>
                      <a:lnTo>
                        <a:pt x="127" y="161"/>
                      </a:lnTo>
                      <a:lnTo>
                        <a:pt x="127" y="159"/>
                      </a:lnTo>
                      <a:lnTo>
                        <a:pt x="127" y="158"/>
                      </a:lnTo>
                      <a:lnTo>
                        <a:pt x="128" y="158"/>
                      </a:lnTo>
                      <a:lnTo>
                        <a:pt x="130" y="156"/>
                      </a:lnTo>
                      <a:lnTo>
                        <a:pt x="132" y="156"/>
                      </a:lnTo>
                      <a:lnTo>
                        <a:pt x="133" y="156"/>
                      </a:lnTo>
                      <a:lnTo>
                        <a:pt x="135" y="156"/>
                      </a:lnTo>
                      <a:lnTo>
                        <a:pt x="137" y="156"/>
                      </a:lnTo>
                      <a:lnTo>
                        <a:pt x="138" y="156"/>
                      </a:lnTo>
                      <a:lnTo>
                        <a:pt x="138" y="154"/>
                      </a:lnTo>
                      <a:lnTo>
                        <a:pt x="140" y="154"/>
                      </a:lnTo>
                      <a:lnTo>
                        <a:pt x="140" y="153"/>
                      </a:lnTo>
                      <a:lnTo>
                        <a:pt x="142" y="151"/>
                      </a:lnTo>
                      <a:lnTo>
                        <a:pt x="142" y="149"/>
                      </a:lnTo>
                      <a:lnTo>
                        <a:pt x="144" y="148"/>
                      </a:lnTo>
                      <a:lnTo>
                        <a:pt x="145" y="148"/>
                      </a:lnTo>
                      <a:lnTo>
                        <a:pt x="147" y="145"/>
                      </a:lnTo>
                      <a:lnTo>
                        <a:pt x="149" y="143"/>
                      </a:lnTo>
                      <a:lnTo>
                        <a:pt x="150" y="143"/>
                      </a:lnTo>
                      <a:lnTo>
                        <a:pt x="152" y="143"/>
                      </a:lnTo>
                      <a:lnTo>
                        <a:pt x="154" y="141"/>
                      </a:lnTo>
                      <a:lnTo>
                        <a:pt x="155" y="141"/>
                      </a:lnTo>
                      <a:lnTo>
                        <a:pt x="155" y="140"/>
                      </a:lnTo>
                      <a:lnTo>
                        <a:pt x="155" y="138"/>
                      </a:lnTo>
                      <a:lnTo>
                        <a:pt x="154" y="136"/>
                      </a:lnTo>
                      <a:lnTo>
                        <a:pt x="154" y="135"/>
                      </a:lnTo>
                      <a:lnTo>
                        <a:pt x="152" y="135"/>
                      </a:lnTo>
                      <a:lnTo>
                        <a:pt x="154" y="133"/>
                      </a:lnTo>
                      <a:lnTo>
                        <a:pt x="154" y="131"/>
                      </a:lnTo>
                      <a:lnTo>
                        <a:pt x="155" y="131"/>
                      </a:lnTo>
                      <a:lnTo>
                        <a:pt x="157" y="130"/>
                      </a:lnTo>
                      <a:lnTo>
                        <a:pt x="160" y="130"/>
                      </a:lnTo>
                      <a:lnTo>
                        <a:pt x="164" y="130"/>
                      </a:lnTo>
                      <a:lnTo>
                        <a:pt x="165" y="130"/>
                      </a:lnTo>
                      <a:lnTo>
                        <a:pt x="167" y="128"/>
                      </a:lnTo>
                      <a:lnTo>
                        <a:pt x="167" y="126"/>
                      </a:lnTo>
                      <a:lnTo>
                        <a:pt x="165" y="126"/>
                      </a:lnTo>
                      <a:lnTo>
                        <a:pt x="165" y="125"/>
                      </a:lnTo>
                      <a:lnTo>
                        <a:pt x="165" y="123"/>
                      </a:lnTo>
                      <a:lnTo>
                        <a:pt x="164" y="123"/>
                      </a:lnTo>
                      <a:lnTo>
                        <a:pt x="165" y="122"/>
                      </a:lnTo>
                      <a:lnTo>
                        <a:pt x="165" y="120"/>
                      </a:lnTo>
                      <a:lnTo>
                        <a:pt x="167" y="118"/>
                      </a:lnTo>
                      <a:lnTo>
                        <a:pt x="169" y="118"/>
                      </a:lnTo>
                      <a:lnTo>
                        <a:pt x="171" y="118"/>
                      </a:lnTo>
                      <a:lnTo>
                        <a:pt x="172" y="118"/>
                      </a:lnTo>
                      <a:lnTo>
                        <a:pt x="174" y="118"/>
                      </a:lnTo>
                      <a:lnTo>
                        <a:pt x="177" y="118"/>
                      </a:lnTo>
                      <a:lnTo>
                        <a:pt x="179" y="118"/>
                      </a:lnTo>
                      <a:lnTo>
                        <a:pt x="179" y="120"/>
                      </a:lnTo>
                      <a:lnTo>
                        <a:pt x="181" y="120"/>
                      </a:lnTo>
                      <a:lnTo>
                        <a:pt x="181" y="122"/>
                      </a:lnTo>
                      <a:lnTo>
                        <a:pt x="182" y="123"/>
                      </a:lnTo>
                      <a:lnTo>
                        <a:pt x="182" y="125"/>
                      </a:lnTo>
                      <a:lnTo>
                        <a:pt x="184" y="125"/>
                      </a:lnTo>
                      <a:lnTo>
                        <a:pt x="184" y="123"/>
                      </a:lnTo>
                      <a:lnTo>
                        <a:pt x="184" y="122"/>
                      </a:lnTo>
                      <a:lnTo>
                        <a:pt x="184" y="120"/>
                      </a:lnTo>
                      <a:lnTo>
                        <a:pt x="186" y="118"/>
                      </a:lnTo>
                      <a:lnTo>
                        <a:pt x="186" y="117"/>
                      </a:lnTo>
                      <a:lnTo>
                        <a:pt x="187" y="117"/>
                      </a:lnTo>
                      <a:lnTo>
                        <a:pt x="187" y="115"/>
                      </a:lnTo>
                      <a:lnTo>
                        <a:pt x="186" y="115"/>
                      </a:lnTo>
                      <a:lnTo>
                        <a:pt x="186" y="113"/>
                      </a:lnTo>
                      <a:lnTo>
                        <a:pt x="184" y="113"/>
                      </a:lnTo>
                      <a:lnTo>
                        <a:pt x="182" y="112"/>
                      </a:lnTo>
                      <a:lnTo>
                        <a:pt x="181" y="112"/>
                      </a:lnTo>
                      <a:lnTo>
                        <a:pt x="179" y="110"/>
                      </a:lnTo>
                      <a:lnTo>
                        <a:pt x="177" y="110"/>
                      </a:lnTo>
                      <a:lnTo>
                        <a:pt x="176" y="108"/>
                      </a:lnTo>
                      <a:lnTo>
                        <a:pt x="177" y="107"/>
                      </a:lnTo>
                      <a:lnTo>
                        <a:pt x="179" y="107"/>
                      </a:lnTo>
                      <a:lnTo>
                        <a:pt x="181" y="105"/>
                      </a:lnTo>
                      <a:lnTo>
                        <a:pt x="182" y="105"/>
                      </a:lnTo>
                      <a:lnTo>
                        <a:pt x="184" y="105"/>
                      </a:lnTo>
                      <a:lnTo>
                        <a:pt x="186" y="103"/>
                      </a:lnTo>
                      <a:lnTo>
                        <a:pt x="187" y="103"/>
                      </a:lnTo>
                      <a:lnTo>
                        <a:pt x="187" y="102"/>
                      </a:lnTo>
                      <a:lnTo>
                        <a:pt x="189" y="102"/>
                      </a:lnTo>
                      <a:lnTo>
                        <a:pt x="191" y="100"/>
                      </a:lnTo>
                      <a:lnTo>
                        <a:pt x="191" y="99"/>
                      </a:lnTo>
                      <a:lnTo>
                        <a:pt x="191" y="97"/>
                      </a:lnTo>
                      <a:lnTo>
                        <a:pt x="193" y="95"/>
                      </a:lnTo>
                      <a:lnTo>
                        <a:pt x="194" y="95"/>
                      </a:lnTo>
                      <a:lnTo>
                        <a:pt x="194" y="97"/>
                      </a:lnTo>
                      <a:lnTo>
                        <a:pt x="194" y="99"/>
                      </a:lnTo>
                      <a:lnTo>
                        <a:pt x="196" y="99"/>
                      </a:lnTo>
                      <a:lnTo>
                        <a:pt x="196" y="100"/>
                      </a:lnTo>
                      <a:lnTo>
                        <a:pt x="198" y="100"/>
                      </a:lnTo>
                      <a:lnTo>
                        <a:pt x="198" y="99"/>
                      </a:lnTo>
                      <a:lnTo>
                        <a:pt x="198" y="97"/>
                      </a:lnTo>
                      <a:lnTo>
                        <a:pt x="199" y="97"/>
                      </a:lnTo>
                      <a:lnTo>
                        <a:pt x="199" y="95"/>
                      </a:lnTo>
                      <a:lnTo>
                        <a:pt x="201" y="95"/>
                      </a:lnTo>
                      <a:lnTo>
                        <a:pt x="203" y="94"/>
                      </a:lnTo>
                      <a:lnTo>
                        <a:pt x="203" y="92"/>
                      </a:lnTo>
                      <a:lnTo>
                        <a:pt x="204" y="92"/>
                      </a:lnTo>
                      <a:lnTo>
                        <a:pt x="206" y="92"/>
                      </a:lnTo>
                      <a:lnTo>
                        <a:pt x="206" y="94"/>
                      </a:lnTo>
                      <a:lnTo>
                        <a:pt x="208" y="94"/>
                      </a:lnTo>
                      <a:lnTo>
                        <a:pt x="209" y="92"/>
                      </a:lnTo>
                      <a:lnTo>
                        <a:pt x="209" y="90"/>
                      </a:lnTo>
                      <a:lnTo>
                        <a:pt x="211" y="90"/>
                      </a:lnTo>
                      <a:lnTo>
                        <a:pt x="213" y="89"/>
                      </a:lnTo>
                      <a:lnTo>
                        <a:pt x="214" y="89"/>
                      </a:lnTo>
                      <a:lnTo>
                        <a:pt x="214" y="87"/>
                      </a:lnTo>
                      <a:lnTo>
                        <a:pt x="214" y="85"/>
                      </a:lnTo>
                      <a:lnTo>
                        <a:pt x="214" y="84"/>
                      </a:lnTo>
                      <a:lnTo>
                        <a:pt x="213" y="84"/>
                      </a:lnTo>
                      <a:lnTo>
                        <a:pt x="214" y="84"/>
                      </a:lnTo>
                      <a:lnTo>
                        <a:pt x="214" y="82"/>
                      </a:lnTo>
                      <a:lnTo>
                        <a:pt x="218" y="82"/>
                      </a:lnTo>
                      <a:lnTo>
                        <a:pt x="218" y="81"/>
                      </a:lnTo>
                      <a:lnTo>
                        <a:pt x="220" y="79"/>
                      </a:lnTo>
                      <a:lnTo>
                        <a:pt x="220" y="77"/>
                      </a:lnTo>
                      <a:lnTo>
                        <a:pt x="221" y="77"/>
                      </a:lnTo>
                      <a:lnTo>
                        <a:pt x="223" y="79"/>
                      </a:lnTo>
                      <a:lnTo>
                        <a:pt x="225" y="79"/>
                      </a:lnTo>
                      <a:lnTo>
                        <a:pt x="225" y="77"/>
                      </a:lnTo>
                      <a:lnTo>
                        <a:pt x="226" y="77"/>
                      </a:lnTo>
                      <a:lnTo>
                        <a:pt x="226" y="76"/>
                      </a:lnTo>
                      <a:lnTo>
                        <a:pt x="228" y="74"/>
                      </a:lnTo>
                      <a:lnTo>
                        <a:pt x="230" y="72"/>
                      </a:lnTo>
                      <a:lnTo>
                        <a:pt x="231" y="72"/>
                      </a:lnTo>
                      <a:lnTo>
                        <a:pt x="231" y="71"/>
                      </a:lnTo>
                      <a:lnTo>
                        <a:pt x="233" y="72"/>
                      </a:lnTo>
                      <a:lnTo>
                        <a:pt x="235" y="72"/>
                      </a:lnTo>
                      <a:lnTo>
                        <a:pt x="235" y="74"/>
                      </a:lnTo>
                      <a:lnTo>
                        <a:pt x="236" y="74"/>
                      </a:lnTo>
                      <a:lnTo>
                        <a:pt x="236" y="76"/>
                      </a:lnTo>
                      <a:lnTo>
                        <a:pt x="238" y="76"/>
                      </a:lnTo>
                      <a:lnTo>
                        <a:pt x="238" y="74"/>
                      </a:lnTo>
                      <a:lnTo>
                        <a:pt x="238" y="72"/>
                      </a:lnTo>
                      <a:lnTo>
                        <a:pt x="238" y="71"/>
                      </a:lnTo>
                      <a:lnTo>
                        <a:pt x="240" y="71"/>
                      </a:lnTo>
                      <a:lnTo>
                        <a:pt x="241" y="71"/>
                      </a:lnTo>
                      <a:lnTo>
                        <a:pt x="243" y="71"/>
                      </a:lnTo>
                      <a:lnTo>
                        <a:pt x="245" y="71"/>
                      </a:lnTo>
                      <a:lnTo>
                        <a:pt x="247" y="71"/>
                      </a:lnTo>
                      <a:lnTo>
                        <a:pt x="247" y="72"/>
                      </a:lnTo>
                      <a:lnTo>
                        <a:pt x="247" y="71"/>
                      </a:lnTo>
                      <a:lnTo>
                        <a:pt x="248" y="71"/>
                      </a:lnTo>
                      <a:lnTo>
                        <a:pt x="248" y="69"/>
                      </a:lnTo>
                      <a:lnTo>
                        <a:pt x="247" y="69"/>
                      </a:lnTo>
                      <a:lnTo>
                        <a:pt x="245" y="67"/>
                      </a:lnTo>
                      <a:lnTo>
                        <a:pt x="243" y="66"/>
                      </a:lnTo>
                      <a:lnTo>
                        <a:pt x="241" y="66"/>
                      </a:lnTo>
                      <a:lnTo>
                        <a:pt x="243" y="64"/>
                      </a:lnTo>
                      <a:lnTo>
                        <a:pt x="245" y="64"/>
                      </a:lnTo>
                      <a:lnTo>
                        <a:pt x="247" y="64"/>
                      </a:lnTo>
                      <a:lnTo>
                        <a:pt x="247" y="66"/>
                      </a:lnTo>
                      <a:lnTo>
                        <a:pt x="248" y="66"/>
                      </a:lnTo>
                      <a:lnTo>
                        <a:pt x="250" y="66"/>
                      </a:lnTo>
                      <a:lnTo>
                        <a:pt x="250" y="64"/>
                      </a:lnTo>
                      <a:lnTo>
                        <a:pt x="252" y="64"/>
                      </a:lnTo>
                      <a:lnTo>
                        <a:pt x="253" y="64"/>
                      </a:lnTo>
                      <a:lnTo>
                        <a:pt x="255" y="64"/>
                      </a:lnTo>
                      <a:lnTo>
                        <a:pt x="257" y="64"/>
                      </a:lnTo>
                      <a:lnTo>
                        <a:pt x="257" y="62"/>
                      </a:lnTo>
                      <a:lnTo>
                        <a:pt x="257" y="61"/>
                      </a:lnTo>
                      <a:lnTo>
                        <a:pt x="258" y="59"/>
                      </a:lnTo>
                      <a:lnTo>
                        <a:pt x="260" y="59"/>
                      </a:lnTo>
                      <a:lnTo>
                        <a:pt x="260" y="58"/>
                      </a:lnTo>
                      <a:lnTo>
                        <a:pt x="260" y="56"/>
                      </a:lnTo>
                      <a:lnTo>
                        <a:pt x="258" y="53"/>
                      </a:lnTo>
                      <a:lnTo>
                        <a:pt x="258" y="51"/>
                      </a:lnTo>
                      <a:lnTo>
                        <a:pt x="260" y="51"/>
                      </a:lnTo>
                      <a:lnTo>
                        <a:pt x="262" y="49"/>
                      </a:lnTo>
                      <a:lnTo>
                        <a:pt x="263" y="51"/>
                      </a:lnTo>
                      <a:lnTo>
                        <a:pt x="265" y="49"/>
                      </a:lnTo>
                      <a:lnTo>
                        <a:pt x="265" y="48"/>
                      </a:lnTo>
                      <a:lnTo>
                        <a:pt x="265" y="46"/>
                      </a:lnTo>
                      <a:lnTo>
                        <a:pt x="267" y="44"/>
                      </a:lnTo>
                      <a:lnTo>
                        <a:pt x="267" y="43"/>
                      </a:lnTo>
                      <a:lnTo>
                        <a:pt x="269" y="41"/>
                      </a:lnTo>
                      <a:lnTo>
                        <a:pt x="270" y="43"/>
                      </a:lnTo>
                      <a:lnTo>
                        <a:pt x="270" y="44"/>
                      </a:lnTo>
                      <a:lnTo>
                        <a:pt x="270" y="46"/>
                      </a:lnTo>
                      <a:lnTo>
                        <a:pt x="272" y="46"/>
                      </a:lnTo>
                      <a:lnTo>
                        <a:pt x="274" y="46"/>
                      </a:lnTo>
                      <a:lnTo>
                        <a:pt x="274" y="44"/>
                      </a:lnTo>
                      <a:lnTo>
                        <a:pt x="275" y="44"/>
                      </a:lnTo>
                      <a:lnTo>
                        <a:pt x="277" y="44"/>
                      </a:lnTo>
                      <a:lnTo>
                        <a:pt x="279" y="44"/>
                      </a:lnTo>
                      <a:lnTo>
                        <a:pt x="280" y="46"/>
                      </a:lnTo>
                      <a:lnTo>
                        <a:pt x="280" y="44"/>
                      </a:lnTo>
                      <a:lnTo>
                        <a:pt x="282" y="44"/>
                      </a:lnTo>
                      <a:lnTo>
                        <a:pt x="280" y="43"/>
                      </a:lnTo>
                      <a:lnTo>
                        <a:pt x="280" y="41"/>
                      </a:lnTo>
                      <a:lnTo>
                        <a:pt x="280" y="39"/>
                      </a:lnTo>
                      <a:lnTo>
                        <a:pt x="282" y="39"/>
                      </a:lnTo>
                      <a:lnTo>
                        <a:pt x="284" y="39"/>
                      </a:lnTo>
                      <a:lnTo>
                        <a:pt x="284" y="41"/>
                      </a:lnTo>
                      <a:lnTo>
                        <a:pt x="284" y="43"/>
                      </a:lnTo>
                      <a:lnTo>
                        <a:pt x="285" y="43"/>
                      </a:lnTo>
                      <a:lnTo>
                        <a:pt x="287" y="41"/>
                      </a:lnTo>
                      <a:lnTo>
                        <a:pt x="287" y="39"/>
                      </a:lnTo>
                      <a:lnTo>
                        <a:pt x="289" y="38"/>
                      </a:lnTo>
                      <a:lnTo>
                        <a:pt x="289" y="36"/>
                      </a:lnTo>
                      <a:lnTo>
                        <a:pt x="289" y="35"/>
                      </a:lnTo>
                      <a:lnTo>
                        <a:pt x="290" y="35"/>
                      </a:lnTo>
                      <a:lnTo>
                        <a:pt x="292" y="35"/>
                      </a:lnTo>
                      <a:lnTo>
                        <a:pt x="292" y="36"/>
                      </a:lnTo>
                      <a:lnTo>
                        <a:pt x="294" y="36"/>
                      </a:lnTo>
                      <a:lnTo>
                        <a:pt x="294" y="39"/>
                      </a:lnTo>
                      <a:lnTo>
                        <a:pt x="296" y="39"/>
                      </a:lnTo>
                      <a:lnTo>
                        <a:pt x="296" y="38"/>
                      </a:lnTo>
                      <a:lnTo>
                        <a:pt x="297" y="38"/>
                      </a:lnTo>
                      <a:lnTo>
                        <a:pt x="297" y="36"/>
                      </a:lnTo>
                      <a:lnTo>
                        <a:pt x="299" y="36"/>
                      </a:lnTo>
                      <a:lnTo>
                        <a:pt x="301" y="36"/>
                      </a:lnTo>
                      <a:lnTo>
                        <a:pt x="302" y="36"/>
                      </a:lnTo>
                      <a:lnTo>
                        <a:pt x="302" y="35"/>
                      </a:lnTo>
                      <a:lnTo>
                        <a:pt x="301" y="35"/>
                      </a:lnTo>
                      <a:lnTo>
                        <a:pt x="301" y="33"/>
                      </a:lnTo>
                      <a:lnTo>
                        <a:pt x="301" y="31"/>
                      </a:lnTo>
                      <a:lnTo>
                        <a:pt x="302" y="31"/>
                      </a:lnTo>
                      <a:lnTo>
                        <a:pt x="304" y="31"/>
                      </a:lnTo>
                      <a:lnTo>
                        <a:pt x="306" y="30"/>
                      </a:lnTo>
                      <a:lnTo>
                        <a:pt x="307" y="30"/>
                      </a:lnTo>
                      <a:lnTo>
                        <a:pt x="307" y="31"/>
                      </a:lnTo>
                      <a:lnTo>
                        <a:pt x="309" y="33"/>
                      </a:lnTo>
                      <a:lnTo>
                        <a:pt x="311" y="35"/>
                      </a:lnTo>
                      <a:lnTo>
                        <a:pt x="311" y="36"/>
                      </a:lnTo>
                      <a:lnTo>
                        <a:pt x="312" y="36"/>
                      </a:lnTo>
                      <a:lnTo>
                        <a:pt x="312" y="35"/>
                      </a:lnTo>
                      <a:lnTo>
                        <a:pt x="314" y="35"/>
                      </a:lnTo>
                      <a:lnTo>
                        <a:pt x="314" y="33"/>
                      </a:lnTo>
                      <a:lnTo>
                        <a:pt x="312" y="33"/>
                      </a:lnTo>
                      <a:lnTo>
                        <a:pt x="312" y="31"/>
                      </a:lnTo>
                      <a:lnTo>
                        <a:pt x="312" y="30"/>
                      </a:lnTo>
                      <a:lnTo>
                        <a:pt x="314" y="30"/>
                      </a:lnTo>
                      <a:lnTo>
                        <a:pt x="316" y="31"/>
                      </a:lnTo>
                      <a:lnTo>
                        <a:pt x="316" y="33"/>
                      </a:lnTo>
                      <a:lnTo>
                        <a:pt x="317" y="33"/>
                      </a:lnTo>
                      <a:lnTo>
                        <a:pt x="317" y="35"/>
                      </a:lnTo>
                      <a:lnTo>
                        <a:pt x="319" y="33"/>
                      </a:lnTo>
                      <a:lnTo>
                        <a:pt x="319" y="31"/>
                      </a:lnTo>
                      <a:lnTo>
                        <a:pt x="319" y="30"/>
                      </a:lnTo>
                      <a:lnTo>
                        <a:pt x="321" y="30"/>
                      </a:lnTo>
                      <a:lnTo>
                        <a:pt x="321" y="28"/>
                      </a:lnTo>
                      <a:lnTo>
                        <a:pt x="323" y="30"/>
                      </a:lnTo>
                      <a:lnTo>
                        <a:pt x="323" y="28"/>
                      </a:lnTo>
                      <a:lnTo>
                        <a:pt x="324" y="28"/>
                      </a:lnTo>
                      <a:lnTo>
                        <a:pt x="324" y="26"/>
                      </a:lnTo>
                      <a:lnTo>
                        <a:pt x="324" y="25"/>
                      </a:lnTo>
                      <a:lnTo>
                        <a:pt x="326" y="23"/>
                      </a:lnTo>
                      <a:lnTo>
                        <a:pt x="328" y="21"/>
                      </a:lnTo>
                      <a:lnTo>
                        <a:pt x="328" y="20"/>
                      </a:lnTo>
                      <a:lnTo>
                        <a:pt x="326" y="20"/>
                      </a:lnTo>
                      <a:lnTo>
                        <a:pt x="328" y="18"/>
                      </a:lnTo>
                      <a:lnTo>
                        <a:pt x="328" y="16"/>
                      </a:lnTo>
                      <a:lnTo>
                        <a:pt x="329" y="16"/>
                      </a:lnTo>
                      <a:lnTo>
                        <a:pt x="331" y="16"/>
                      </a:lnTo>
                      <a:lnTo>
                        <a:pt x="331" y="18"/>
                      </a:lnTo>
                      <a:lnTo>
                        <a:pt x="329" y="18"/>
                      </a:lnTo>
                      <a:lnTo>
                        <a:pt x="329" y="20"/>
                      </a:lnTo>
                      <a:lnTo>
                        <a:pt x="331" y="20"/>
                      </a:lnTo>
                      <a:lnTo>
                        <a:pt x="333" y="20"/>
                      </a:lnTo>
                      <a:lnTo>
                        <a:pt x="334" y="20"/>
                      </a:lnTo>
                      <a:lnTo>
                        <a:pt x="336" y="20"/>
                      </a:lnTo>
                      <a:lnTo>
                        <a:pt x="338" y="20"/>
                      </a:lnTo>
                      <a:lnTo>
                        <a:pt x="339" y="18"/>
                      </a:lnTo>
                      <a:lnTo>
                        <a:pt x="339" y="16"/>
                      </a:lnTo>
                      <a:lnTo>
                        <a:pt x="341" y="16"/>
                      </a:lnTo>
                      <a:lnTo>
                        <a:pt x="343" y="16"/>
                      </a:lnTo>
                      <a:lnTo>
                        <a:pt x="343" y="15"/>
                      </a:lnTo>
                      <a:lnTo>
                        <a:pt x="343" y="13"/>
                      </a:lnTo>
                      <a:lnTo>
                        <a:pt x="343" y="12"/>
                      </a:lnTo>
                      <a:lnTo>
                        <a:pt x="345" y="10"/>
                      </a:lnTo>
                      <a:lnTo>
                        <a:pt x="346" y="10"/>
                      </a:lnTo>
                      <a:lnTo>
                        <a:pt x="348" y="12"/>
                      </a:lnTo>
                      <a:lnTo>
                        <a:pt x="348" y="10"/>
                      </a:lnTo>
                      <a:lnTo>
                        <a:pt x="350" y="10"/>
                      </a:lnTo>
                      <a:lnTo>
                        <a:pt x="350" y="8"/>
                      </a:lnTo>
                      <a:lnTo>
                        <a:pt x="348" y="8"/>
                      </a:lnTo>
                      <a:lnTo>
                        <a:pt x="350" y="7"/>
                      </a:lnTo>
                      <a:lnTo>
                        <a:pt x="351" y="7"/>
                      </a:lnTo>
                      <a:lnTo>
                        <a:pt x="353" y="8"/>
                      </a:lnTo>
                      <a:lnTo>
                        <a:pt x="355" y="8"/>
                      </a:lnTo>
                      <a:lnTo>
                        <a:pt x="356" y="7"/>
                      </a:lnTo>
                      <a:lnTo>
                        <a:pt x="356" y="5"/>
                      </a:lnTo>
                      <a:lnTo>
                        <a:pt x="358" y="3"/>
                      </a:lnTo>
                      <a:lnTo>
                        <a:pt x="358" y="5"/>
                      </a:lnTo>
                      <a:lnTo>
                        <a:pt x="360" y="7"/>
                      </a:lnTo>
                      <a:lnTo>
                        <a:pt x="360" y="8"/>
                      </a:lnTo>
                      <a:lnTo>
                        <a:pt x="361" y="8"/>
                      </a:lnTo>
                      <a:lnTo>
                        <a:pt x="363" y="8"/>
                      </a:lnTo>
                      <a:lnTo>
                        <a:pt x="366" y="7"/>
                      </a:lnTo>
                      <a:lnTo>
                        <a:pt x="368" y="7"/>
                      </a:lnTo>
                      <a:lnTo>
                        <a:pt x="368" y="10"/>
                      </a:lnTo>
                      <a:lnTo>
                        <a:pt x="370" y="10"/>
                      </a:lnTo>
                      <a:lnTo>
                        <a:pt x="372" y="10"/>
                      </a:lnTo>
                      <a:lnTo>
                        <a:pt x="372" y="8"/>
                      </a:lnTo>
                      <a:lnTo>
                        <a:pt x="373" y="8"/>
                      </a:lnTo>
                      <a:lnTo>
                        <a:pt x="375" y="8"/>
                      </a:lnTo>
                      <a:lnTo>
                        <a:pt x="375" y="7"/>
                      </a:lnTo>
                      <a:lnTo>
                        <a:pt x="377" y="8"/>
                      </a:lnTo>
                      <a:lnTo>
                        <a:pt x="378" y="8"/>
                      </a:lnTo>
                      <a:lnTo>
                        <a:pt x="378" y="10"/>
                      </a:lnTo>
                      <a:lnTo>
                        <a:pt x="378" y="12"/>
                      </a:lnTo>
                      <a:lnTo>
                        <a:pt x="378" y="13"/>
                      </a:lnTo>
                      <a:lnTo>
                        <a:pt x="380" y="13"/>
                      </a:lnTo>
                      <a:lnTo>
                        <a:pt x="380" y="12"/>
                      </a:lnTo>
                      <a:lnTo>
                        <a:pt x="382" y="10"/>
                      </a:lnTo>
                      <a:lnTo>
                        <a:pt x="383" y="10"/>
                      </a:lnTo>
                      <a:lnTo>
                        <a:pt x="385" y="10"/>
                      </a:lnTo>
                      <a:lnTo>
                        <a:pt x="385" y="8"/>
                      </a:lnTo>
                      <a:lnTo>
                        <a:pt x="387" y="8"/>
                      </a:lnTo>
                      <a:lnTo>
                        <a:pt x="388" y="8"/>
                      </a:lnTo>
                      <a:lnTo>
                        <a:pt x="390" y="10"/>
                      </a:lnTo>
                      <a:lnTo>
                        <a:pt x="390" y="12"/>
                      </a:lnTo>
                      <a:lnTo>
                        <a:pt x="392" y="12"/>
                      </a:lnTo>
                      <a:lnTo>
                        <a:pt x="393" y="12"/>
                      </a:lnTo>
                      <a:lnTo>
                        <a:pt x="393" y="10"/>
                      </a:lnTo>
                      <a:lnTo>
                        <a:pt x="393" y="8"/>
                      </a:lnTo>
                      <a:lnTo>
                        <a:pt x="392" y="8"/>
                      </a:lnTo>
                      <a:lnTo>
                        <a:pt x="392" y="7"/>
                      </a:lnTo>
                      <a:lnTo>
                        <a:pt x="392" y="5"/>
                      </a:lnTo>
                      <a:lnTo>
                        <a:pt x="393" y="5"/>
                      </a:lnTo>
                      <a:lnTo>
                        <a:pt x="395" y="5"/>
                      </a:lnTo>
                      <a:lnTo>
                        <a:pt x="395" y="7"/>
                      </a:lnTo>
                      <a:lnTo>
                        <a:pt x="397" y="7"/>
                      </a:lnTo>
                      <a:lnTo>
                        <a:pt x="399" y="7"/>
                      </a:lnTo>
                      <a:lnTo>
                        <a:pt x="400" y="5"/>
                      </a:lnTo>
                      <a:lnTo>
                        <a:pt x="402" y="5"/>
                      </a:lnTo>
                      <a:lnTo>
                        <a:pt x="402" y="2"/>
                      </a:lnTo>
                      <a:lnTo>
                        <a:pt x="404" y="2"/>
                      </a:lnTo>
                      <a:lnTo>
                        <a:pt x="404" y="0"/>
                      </a:lnTo>
                      <a:lnTo>
                        <a:pt x="405" y="0"/>
                      </a:lnTo>
                      <a:lnTo>
                        <a:pt x="405" y="2"/>
                      </a:lnTo>
                      <a:lnTo>
                        <a:pt x="405" y="3"/>
                      </a:lnTo>
                      <a:lnTo>
                        <a:pt x="407" y="3"/>
                      </a:lnTo>
                      <a:lnTo>
                        <a:pt x="409" y="3"/>
                      </a:lnTo>
                      <a:lnTo>
                        <a:pt x="410" y="3"/>
                      </a:lnTo>
                      <a:lnTo>
                        <a:pt x="412" y="5"/>
                      </a:lnTo>
                      <a:lnTo>
                        <a:pt x="412" y="7"/>
                      </a:lnTo>
                      <a:lnTo>
                        <a:pt x="410" y="8"/>
                      </a:lnTo>
                      <a:lnTo>
                        <a:pt x="409" y="10"/>
                      </a:lnTo>
                      <a:lnTo>
                        <a:pt x="409" y="12"/>
                      </a:lnTo>
                      <a:lnTo>
                        <a:pt x="410" y="13"/>
                      </a:lnTo>
                      <a:lnTo>
                        <a:pt x="412" y="12"/>
                      </a:lnTo>
                      <a:lnTo>
                        <a:pt x="412" y="10"/>
                      </a:lnTo>
                      <a:lnTo>
                        <a:pt x="414" y="10"/>
                      </a:lnTo>
                      <a:lnTo>
                        <a:pt x="415" y="10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19" y="8"/>
                      </a:lnTo>
                      <a:lnTo>
                        <a:pt x="421" y="10"/>
                      </a:lnTo>
                      <a:lnTo>
                        <a:pt x="422" y="10"/>
                      </a:lnTo>
                      <a:lnTo>
                        <a:pt x="424" y="8"/>
                      </a:lnTo>
                      <a:lnTo>
                        <a:pt x="424" y="7"/>
                      </a:lnTo>
                      <a:lnTo>
                        <a:pt x="424" y="5"/>
                      </a:lnTo>
                      <a:lnTo>
                        <a:pt x="426" y="5"/>
                      </a:lnTo>
                      <a:lnTo>
                        <a:pt x="426" y="7"/>
                      </a:lnTo>
                      <a:lnTo>
                        <a:pt x="426" y="8"/>
                      </a:lnTo>
                      <a:lnTo>
                        <a:pt x="427" y="8"/>
                      </a:lnTo>
                      <a:lnTo>
                        <a:pt x="429" y="8"/>
                      </a:lnTo>
                      <a:lnTo>
                        <a:pt x="432" y="8"/>
                      </a:lnTo>
                      <a:lnTo>
                        <a:pt x="432" y="7"/>
                      </a:lnTo>
                      <a:lnTo>
                        <a:pt x="434" y="5"/>
                      </a:lnTo>
                      <a:lnTo>
                        <a:pt x="432" y="5"/>
                      </a:lnTo>
                      <a:lnTo>
                        <a:pt x="432" y="3"/>
                      </a:lnTo>
                      <a:lnTo>
                        <a:pt x="432" y="2"/>
                      </a:lnTo>
                      <a:lnTo>
                        <a:pt x="434" y="0"/>
                      </a:lnTo>
                      <a:lnTo>
                        <a:pt x="436" y="0"/>
                      </a:lnTo>
                      <a:lnTo>
                        <a:pt x="437" y="0"/>
                      </a:lnTo>
                      <a:lnTo>
                        <a:pt x="437" y="2"/>
                      </a:lnTo>
                      <a:lnTo>
                        <a:pt x="437" y="3"/>
                      </a:lnTo>
                      <a:lnTo>
                        <a:pt x="436" y="3"/>
                      </a:lnTo>
                      <a:lnTo>
                        <a:pt x="436" y="5"/>
                      </a:lnTo>
                      <a:lnTo>
                        <a:pt x="436" y="7"/>
                      </a:lnTo>
                      <a:lnTo>
                        <a:pt x="437" y="7"/>
                      </a:lnTo>
                      <a:lnTo>
                        <a:pt x="439" y="5"/>
                      </a:lnTo>
                      <a:lnTo>
                        <a:pt x="441" y="5"/>
                      </a:lnTo>
                      <a:lnTo>
                        <a:pt x="441" y="7"/>
                      </a:lnTo>
                      <a:lnTo>
                        <a:pt x="441" y="8"/>
                      </a:lnTo>
                      <a:lnTo>
                        <a:pt x="439" y="10"/>
                      </a:lnTo>
                      <a:lnTo>
                        <a:pt x="439" y="12"/>
                      </a:lnTo>
                      <a:lnTo>
                        <a:pt x="441" y="13"/>
                      </a:lnTo>
                      <a:lnTo>
                        <a:pt x="442" y="13"/>
                      </a:lnTo>
                      <a:lnTo>
                        <a:pt x="442" y="12"/>
                      </a:lnTo>
                      <a:lnTo>
                        <a:pt x="442" y="10"/>
                      </a:lnTo>
                      <a:lnTo>
                        <a:pt x="442" y="8"/>
                      </a:lnTo>
                      <a:lnTo>
                        <a:pt x="444" y="8"/>
                      </a:lnTo>
                      <a:lnTo>
                        <a:pt x="444" y="7"/>
                      </a:lnTo>
                      <a:lnTo>
                        <a:pt x="444" y="8"/>
                      </a:lnTo>
                      <a:lnTo>
                        <a:pt x="446" y="8"/>
                      </a:lnTo>
                      <a:lnTo>
                        <a:pt x="446" y="12"/>
                      </a:lnTo>
                      <a:lnTo>
                        <a:pt x="448" y="12"/>
                      </a:lnTo>
                      <a:lnTo>
                        <a:pt x="449" y="12"/>
                      </a:lnTo>
                      <a:lnTo>
                        <a:pt x="449" y="10"/>
                      </a:lnTo>
                      <a:lnTo>
                        <a:pt x="451" y="10"/>
                      </a:lnTo>
                      <a:lnTo>
                        <a:pt x="453" y="8"/>
                      </a:lnTo>
                      <a:lnTo>
                        <a:pt x="454" y="8"/>
                      </a:lnTo>
                      <a:lnTo>
                        <a:pt x="454" y="10"/>
                      </a:lnTo>
                      <a:lnTo>
                        <a:pt x="454" y="12"/>
                      </a:lnTo>
                      <a:lnTo>
                        <a:pt x="456" y="12"/>
                      </a:lnTo>
                      <a:lnTo>
                        <a:pt x="458" y="12"/>
                      </a:lnTo>
                      <a:lnTo>
                        <a:pt x="459" y="12"/>
                      </a:lnTo>
                      <a:lnTo>
                        <a:pt x="461" y="12"/>
                      </a:lnTo>
                      <a:lnTo>
                        <a:pt x="463" y="12"/>
                      </a:lnTo>
                      <a:lnTo>
                        <a:pt x="463" y="13"/>
                      </a:lnTo>
                      <a:lnTo>
                        <a:pt x="463" y="15"/>
                      </a:lnTo>
                      <a:lnTo>
                        <a:pt x="463" y="16"/>
                      </a:lnTo>
                      <a:lnTo>
                        <a:pt x="464" y="16"/>
                      </a:lnTo>
                      <a:lnTo>
                        <a:pt x="464" y="15"/>
                      </a:lnTo>
                      <a:lnTo>
                        <a:pt x="466" y="15"/>
                      </a:lnTo>
                      <a:lnTo>
                        <a:pt x="468" y="15"/>
                      </a:lnTo>
                      <a:lnTo>
                        <a:pt x="468" y="16"/>
                      </a:lnTo>
                      <a:lnTo>
                        <a:pt x="468" y="18"/>
                      </a:lnTo>
                      <a:lnTo>
                        <a:pt x="470" y="18"/>
                      </a:lnTo>
                      <a:lnTo>
                        <a:pt x="470" y="16"/>
                      </a:lnTo>
                      <a:lnTo>
                        <a:pt x="470" y="15"/>
                      </a:lnTo>
                      <a:lnTo>
                        <a:pt x="471" y="15"/>
                      </a:lnTo>
                      <a:lnTo>
                        <a:pt x="473" y="15"/>
                      </a:lnTo>
                      <a:lnTo>
                        <a:pt x="473" y="16"/>
                      </a:lnTo>
                      <a:lnTo>
                        <a:pt x="475" y="16"/>
                      </a:lnTo>
                      <a:lnTo>
                        <a:pt x="476" y="16"/>
                      </a:lnTo>
                      <a:lnTo>
                        <a:pt x="478" y="16"/>
                      </a:lnTo>
                      <a:lnTo>
                        <a:pt x="478" y="15"/>
                      </a:lnTo>
                      <a:lnTo>
                        <a:pt x="480" y="15"/>
                      </a:lnTo>
                      <a:lnTo>
                        <a:pt x="481" y="15"/>
                      </a:lnTo>
                      <a:lnTo>
                        <a:pt x="483" y="15"/>
                      </a:lnTo>
                      <a:lnTo>
                        <a:pt x="483" y="16"/>
                      </a:lnTo>
                      <a:lnTo>
                        <a:pt x="485" y="16"/>
                      </a:lnTo>
                      <a:lnTo>
                        <a:pt x="488" y="16"/>
                      </a:lnTo>
                      <a:lnTo>
                        <a:pt x="490" y="16"/>
                      </a:lnTo>
                      <a:lnTo>
                        <a:pt x="488" y="15"/>
                      </a:lnTo>
                      <a:lnTo>
                        <a:pt x="490" y="15"/>
                      </a:lnTo>
                      <a:lnTo>
                        <a:pt x="491" y="13"/>
                      </a:lnTo>
                      <a:lnTo>
                        <a:pt x="493" y="13"/>
                      </a:lnTo>
                      <a:lnTo>
                        <a:pt x="493" y="15"/>
                      </a:lnTo>
                      <a:lnTo>
                        <a:pt x="493" y="16"/>
                      </a:lnTo>
                      <a:lnTo>
                        <a:pt x="495" y="18"/>
                      </a:lnTo>
                      <a:lnTo>
                        <a:pt x="497" y="20"/>
                      </a:lnTo>
                      <a:lnTo>
                        <a:pt x="497" y="18"/>
                      </a:lnTo>
                      <a:lnTo>
                        <a:pt x="497" y="16"/>
                      </a:lnTo>
                      <a:lnTo>
                        <a:pt x="498" y="16"/>
                      </a:lnTo>
                      <a:lnTo>
                        <a:pt x="498" y="20"/>
                      </a:lnTo>
                      <a:lnTo>
                        <a:pt x="500" y="21"/>
                      </a:lnTo>
                      <a:lnTo>
                        <a:pt x="500" y="20"/>
                      </a:lnTo>
                      <a:lnTo>
                        <a:pt x="502" y="20"/>
                      </a:lnTo>
                      <a:lnTo>
                        <a:pt x="503" y="20"/>
                      </a:lnTo>
                      <a:lnTo>
                        <a:pt x="505" y="21"/>
                      </a:lnTo>
                      <a:lnTo>
                        <a:pt x="507" y="21"/>
                      </a:lnTo>
                      <a:lnTo>
                        <a:pt x="507" y="20"/>
                      </a:lnTo>
                      <a:lnTo>
                        <a:pt x="507" y="18"/>
                      </a:lnTo>
                      <a:lnTo>
                        <a:pt x="505" y="18"/>
                      </a:lnTo>
                      <a:lnTo>
                        <a:pt x="505" y="16"/>
                      </a:lnTo>
                      <a:lnTo>
                        <a:pt x="507" y="16"/>
                      </a:lnTo>
                      <a:lnTo>
                        <a:pt x="508" y="16"/>
                      </a:lnTo>
                      <a:lnTo>
                        <a:pt x="510" y="16"/>
                      </a:lnTo>
                      <a:lnTo>
                        <a:pt x="512" y="16"/>
                      </a:lnTo>
                      <a:lnTo>
                        <a:pt x="512" y="18"/>
                      </a:lnTo>
                      <a:lnTo>
                        <a:pt x="510" y="18"/>
                      </a:lnTo>
                      <a:lnTo>
                        <a:pt x="508" y="18"/>
                      </a:lnTo>
                      <a:lnTo>
                        <a:pt x="508" y="20"/>
                      </a:lnTo>
                      <a:lnTo>
                        <a:pt x="508" y="21"/>
                      </a:lnTo>
                      <a:lnTo>
                        <a:pt x="512" y="20"/>
                      </a:lnTo>
                      <a:lnTo>
                        <a:pt x="512" y="21"/>
                      </a:lnTo>
                      <a:lnTo>
                        <a:pt x="513" y="23"/>
                      </a:lnTo>
                      <a:lnTo>
                        <a:pt x="515" y="23"/>
                      </a:lnTo>
                      <a:lnTo>
                        <a:pt x="517" y="20"/>
                      </a:lnTo>
                      <a:lnTo>
                        <a:pt x="517" y="18"/>
                      </a:lnTo>
                      <a:lnTo>
                        <a:pt x="518" y="18"/>
                      </a:lnTo>
                      <a:lnTo>
                        <a:pt x="520" y="18"/>
                      </a:lnTo>
                      <a:lnTo>
                        <a:pt x="520" y="20"/>
                      </a:lnTo>
                      <a:lnTo>
                        <a:pt x="518" y="20"/>
                      </a:lnTo>
                      <a:lnTo>
                        <a:pt x="518" y="21"/>
                      </a:lnTo>
                      <a:lnTo>
                        <a:pt x="520" y="21"/>
                      </a:lnTo>
                      <a:lnTo>
                        <a:pt x="522" y="21"/>
                      </a:lnTo>
                      <a:lnTo>
                        <a:pt x="522" y="20"/>
                      </a:lnTo>
                      <a:lnTo>
                        <a:pt x="524" y="20"/>
                      </a:lnTo>
                      <a:lnTo>
                        <a:pt x="524" y="21"/>
                      </a:lnTo>
                      <a:lnTo>
                        <a:pt x="525" y="21"/>
                      </a:lnTo>
                      <a:lnTo>
                        <a:pt x="524" y="23"/>
                      </a:lnTo>
                      <a:lnTo>
                        <a:pt x="525" y="25"/>
                      </a:lnTo>
                      <a:lnTo>
                        <a:pt x="527" y="25"/>
                      </a:lnTo>
                      <a:lnTo>
                        <a:pt x="527" y="23"/>
                      </a:lnTo>
                      <a:lnTo>
                        <a:pt x="529" y="25"/>
                      </a:lnTo>
                      <a:lnTo>
                        <a:pt x="530" y="25"/>
                      </a:lnTo>
                      <a:lnTo>
                        <a:pt x="532" y="25"/>
                      </a:lnTo>
                      <a:lnTo>
                        <a:pt x="532" y="23"/>
                      </a:lnTo>
                      <a:lnTo>
                        <a:pt x="534" y="23"/>
                      </a:lnTo>
                      <a:lnTo>
                        <a:pt x="534" y="25"/>
                      </a:lnTo>
                      <a:lnTo>
                        <a:pt x="532" y="25"/>
                      </a:lnTo>
                      <a:lnTo>
                        <a:pt x="532" y="26"/>
                      </a:lnTo>
                      <a:lnTo>
                        <a:pt x="534" y="26"/>
                      </a:lnTo>
                      <a:lnTo>
                        <a:pt x="535" y="28"/>
                      </a:lnTo>
                      <a:lnTo>
                        <a:pt x="537" y="26"/>
                      </a:lnTo>
                      <a:lnTo>
                        <a:pt x="539" y="28"/>
                      </a:lnTo>
                      <a:lnTo>
                        <a:pt x="539" y="30"/>
                      </a:lnTo>
                      <a:lnTo>
                        <a:pt x="537" y="28"/>
                      </a:lnTo>
                      <a:lnTo>
                        <a:pt x="535" y="28"/>
                      </a:lnTo>
                      <a:lnTo>
                        <a:pt x="534" y="30"/>
                      </a:lnTo>
                      <a:lnTo>
                        <a:pt x="535" y="30"/>
                      </a:lnTo>
                      <a:lnTo>
                        <a:pt x="537" y="30"/>
                      </a:lnTo>
                      <a:lnTo>
                        <a:pt x="539" y="31"/>
                      </a:lnTo>
                      <a:lnTo>
                        <a:pt x="540" y="31"/>
                      </a:lnTo>
                      <a:lnTo>
                        <a:pt x="540" y="33"/>
                      </a:lnTo>
                      <a:lnTo>
                        <a:pt x="540" y="35"/>
                      </a:lnTo>
                      <a:lnTo>
                        <a:pt x="539" y="35"/>
                      </a:lnTo>
                      <a:lnTo>
                        <a:pt x="539" y="36"/>
                      </a:lnTo>
                      <a:lnTo>
                        <a:pt x="540" y="36"/>
                      </a:lnTo>
                      <a:lnTo>
                        <a:pt x="540" y="35"/>
                      </a:lnTo>
                      <a:lnTo>
                        <a:pt x="542" y="35"/>
                      </a:lnTo>
                      <a:lnTo>
                        <a:pt x="544" y="35"/>
                      </a:lnTo>
                      <a:lnTo>
                        <a:pt x="544" y="36"/>
                      </a:lnTo>
                      <a:lnTo>
                        <a:pt x="544" y="38"/>
                      </a:lnTo>
                      <a:lnTo>
                        <a:pt x="544" y="39"/>
                      </a:lnTo>
                      <a:lnTo>
                        <a:pt x="546" y="41"/>
                      </a:lnTo>
                      <a:lnTo>
                        <a:pt x="547" y="41"/>
                      </a:lnTo>
                      <a:lnTo>
                        <a:pt x="547" y="39"/>
                      </a:lnTo>
                      <a:lnTo>
                        <a:pt x="546" y="38"/>
                      </a:lnTo>
                      <a:lnTo>
                        <a:pt x="547" y="38"/>
                      </a:lnTo>
                      <a:lnTo>
                        <a:pt x="547" y="36"/>
                      </a:lnTo>
                      <a:lnTo>
                        <a:pt x="549" y="36"/>
                      </a:lnTo>
                      <a:lnTo>
                        <a:pt x="549" y="38"/>
                      </a:lnTo>
                      <a:lnTo>
                        <a:pt x="549" y="39"/>
                      </a:lnTo>
                      <a:lnTo>
                        <a:pt x="549" y="41"/>
                      </a:lnTo>
                      <a:lnTo>
                        <a:pt x="551" y="41"/>
                      </a:lnTo>
                      <a:lnTo>
                        <a:pt x="551" y="39"/>
                      </a:lnTo>
                      <a:lnTo>
                        <a:pt x="552" y="39"/>
                      </a:lnTo>
                      <a:lnTo>
                        <a:pt x="552" y="41"/>
                      </a:lnTo>
                      <a:lnTo>
                        <a:pt x="554" y="41"/>
                      </a:lnTo>
                      <a:lnTo>
                        <a:pt x="556" y="41"/>
                      </a:lnTo>
                      <a:lnTo>
                        <a:pt x="554" y="39"/>
                      </a:lnTo>
                      <a:lnTo>
                        <a:pt x="554" y="38"/>
                      </a:lnTo>
                      <a:lnTo>
                        <a:pt x="556" y="38"/>
                      </a:lnTo>
                      <a:lnTo>
                        <a:pt x="557" y="38"/>
                      </a:lnTo>
                      <a:lnTo>
                        <a:pt x="559" y="38"/>
                      </a:lnTo>
                      <a:lnTo>
                        <a:pt x="561" y="39"/>
                      </a:lnTo>
                      <a:lnTo>
                        <a:pt x="562" y="38"/>
                      </a:lnTo>
                      <a:lnTo>
                        <a:pt x="562" y="36"/>
                      </a:lnTo>
                      <a:lnTo>
                        <a:pt x="564" y="36"/>
                      </a:lnTo>
                      <a:lnTo>
                        <a:pt x="566" y="38"/>
                      </a:lnTo>
                      <a:lnTo>
                        <a:pt x="566" y="39"/>
                      </a:lnTo>
                      <a:lnTo>
                        <a:pt x="566" y="41"/>
                      </a:lnTo>
                      <a:lnTo>
                        <a:pt x="567" y="41"/>
                      </a:lnTo>
                      <a:lnTo>
                        <a:pt x="567" y="39"/>
                      </a:lnTo>
                      <a:lnTo>
                        <a:pt x="567" y="38"/>
                      </a:lnTo>
                      <a:lnTo>
                        <a:pt x="569" y="38"/>
                      </a:lnTo>
                      <a:lnTo>
                        <a:pt x="571" y="38"/>
                      </a:lnTo>
                      <a:lnTo>
                        <a:pt x="571" y="39"/>
                      </a:lnTo>
                      <a:lnTo>
                        <a:pt x="569" y="41"/>
                      </a:lnTo>
                      <a:lnTo>
                        <a:pt x="569" y="43"/>
                      </a:lnTo>
                      <a:lnTo>
                        <a:pt x="571" y="43"/>
                      </a:lnTo>
                      <a:lnTo>
                        <a:pt x="573" y="43"/>
                      </a:lnTo>
                      <a:lnTo>
                        <a:pt x="573" y="41"/>
                      </a:lnTo>
                      <a:lnTo>
                        <a:pt x="574" y="41"/>
                      </a:lnTo>
                      <a:lnTo>
                        <a:pt x="574" y="43"/>
                      </a:lnTo>
                      <a:lnTo>
                        <a:pt x="574" y="44"/>
                      </a:lnTo>
                      <a:lnTo>
                        <a:pt x="574" y="46"/>
                      </a:lnTo>
                      <a:lnTo>
                        <a:pt x="576" y="46"/>
                      </a:lnTo>
                      <a:lnTo>
                        <a:pt x="578" y="44"/>
                      </a:lnTo>
                      <a:lnTo>
                        <a:pt x="579" y="44"/>
                      </a:lnTo>
                      <a:lnTo>
                        <a:pt x="581" y="44"/>
                      </a:lnTo>
                      <a:lnTo>
                        <a:pt x="583" y="44"/>
                      </a:lnTo>
                      <a:lnTo>
                        <a:pt x="584" y="44"/>
                      </a:lnTo>
                      <a:lnTo>
                        <a:pt x="584" y="46"/>
                      </a:lnTo>
                      <a:lnTo>
                        <a:pt x="584" y="48"/>
                      </a:lnTo>
                      <a:lnTo>
                        <a:pt x="586" y="48"/>
                      </a:lnTo>
                      <a:lnTo>
                        <a:pt x="586" y="49"/>
                      </a:lnTo>
                      <a:lnTo>
                        <a:pt x="588" y="49"/>
                      </a:lnTo>
                      <a:lnTo>
                        <a:pt x="588" y="51"/>
                      </a:lnTo>
                      <a:lnTo>
                        <a:pt x="588" y="53"/>
                      </a:lnTo>
                      <a:lnTo>
                        <a:pt x="589" y="53"/>
                      </a:lnTo>
                      <a:lnTo>
                        <a:pt x="591" y="53"/>
                      </a:lnTo>
                      <a:lnTo>
                        <a:pt x="591" y="51"/>
                      </a:lnTo>
                      <a:lnTo>
                        <a:pt x="593" y="49"/>
                      </a:lnTo>
                      <a:lnTo>
                        <a:pt x="593" y="51"/>
                      </a:lnTo>
                      <a:lnTo>
                        <a:pt x="594" y="51"/>
                      </a:lnTo>
                      <a:lnTo>
                        <a:pt x="594" y="53"/>
                      </a:lnTo>
                      <a:lnTo>
                        <a:pt x="593" y="53"/>
                      </a:lnTo>
                      <a:lnTo>
                        <a:pt x="594" y="54"/>
                      </a:lnTo>
                      <a:lnTo>
                        <a:pt x="596" y="56"/>
                      </a:lnTo>
                      <a:lnTo>
                        <a:pt x="596" y="54"/>
                      </a:lnTo>
                      <a:lnTo>
                        <a:pt x="598" y="54"/>
                      </a:lnTo>
                      <a:lnTo>
                        <a:pt x="600" y="54"/>
                      </a:lnTo>
                      <a:lnTo>
                        <a:pt x="600" y="56"/>
                      </a:lnTo>
                      <a:lnTo>
                        <a:pt x="600" y="58"/>
                      </a:lnTo>
                      <a:lnTo>
                        <a:pt x="601" y="58"/>
                      </a:lnTo>
                      <a:lnTo>
                        <a:pt x="600" y="58"/>
                      </a:lnTo>
                      <a:lnTo>
                        <a:pt x="600" y="59"/>
                      </a:lnTo>
                      <a:lnTo>
                        <a:pt x="601" y="59"/>
                      </a:lnTo>
                      <a:lnTo>
                        <a:pt x="603" y="59"/>
                      </a:lnTo>
                      <a:lnTo>
                        <a:pt x="603" y="61"/>
                      </a:lnTo>
                      <a:lnTo>
                        <a:pt x="605" y="62"/>
                      </a:lnTo>
                      <a:lnTo>
                        <a:pt x="606" y="62"/>
                      </a:lnTo>
                      <a:lnTo>
                        <a:pt x="606" y="64"/>
                      </a:lnTo>
                      <a:lnTo>
                        <a:pt x="608" y="64"/>
                      </a:lnTo>
                      <a:lnTo>
                        <a:pt x="610" y="64"/>
                      </a:lnTo>
                      <a:lnTo>
                        <a:pt x="611" y="64"/>
                      </a:lnTo>
                      <a:lnTo>
                        <a:pt x="613" y="64"/>
                      </a:lnTo>
                      <a:lnTo>
                        <a:pt x="615" y="66"/>
                      </a:lnTo>
                      <a:lnTo>
                        <a:pt x="615" y="67"/>
                      </a:lnTo>
                      <a:lnTo>
                        <a:pt x="616" y="66"/>
                      </a:lnTo>
                      <a:lnTo>
                        <a:pt x="616" y="67"/>
                      </a:lnTo>
                      <a:lnTo>
                        <a:pt x="616" y="69"/>
                      </a:lnTo>
                      <a:lnTo>
                        <a:pt x="618" y="69"/>
                      </a:lnTo>
                      <a:lnTo>
                        <a:pt x="620" y="69"/>
                      </a:lnTo>
                      <a:lnTo>
                        <a:pt x="622" y="69"/>
                      </a:lnTo>
                      <a:lnTo>
                        <a:pt x="622" y="71"/>
                      </a:lnTo>
                      <a:lnTo>
                        <a:pt x="622" y="72"/>
                      </a:lnTo>
                      <a:lnTo>
                        <a:pt x="623" y="72"/>
                      </a:lnTo>
                      <a:lnTo>
                        <a:pt x="625" y="72"/>
                      </a:lnTo>
                      <a:lnTo>
                        <a:pt x="625" y="74"/>
                      </a:lnTo>
                      <a:lnTo>
                        <a:pt x="623" y="76"/>
                      </a:lnTo>
                      <a:lnTo>
                        <a:pt x="625" y="76"/>
                      </a:lnTo>
                      <a:lnTo>
                        <a:pt x="625" y="77"/>
                      </a:lnTo>
                      <a:lnTo>
                        <a:pt x="627" y="77"/>
                      </a:lnTo>
                      <a:lnTo>
                        <a:pt x="628" y="77"/>
                      </a:lnTo>
                      <a:lnTo>
                        <a:pt x="628" y="79"/>
                      </a:lnTo>
                      <a:lnTo>
                        <a:pt x="627" y="79"/>
                      </a:lnTo>
                      <a:lnTo>
                        <a:pt x="627" y="81"/>
                      </a:lnTo>
                      <a:lnTo>
                        <a:pt x="628" y="81"/>
                      </a:lnTo>
                      <a:lnTo>
                        <a:pt x="628" y="82"/>
                      </a:lnTo>
                      <a:lnTo>
                        <a:pt x="630" y="81"/>
                      </a:lnTo>
                      <a:lnTo>
                        <a:pt x="630" y="79"/>
                      </a:lnTo>
                      <a:lnTo>
                        <a:pt x="632" y="79"/>
                      </a:lnTo>
                      <a:lnTo>
                        <a:pt x="632" y="81"/>
                      </a:lnTo>
                      <a:lnTo>
                        <a:pt x="633" y="81"/>
                      </a:lnTo>
                      <a:lnTo>
                        <a:pt x="635" y="82"/>
                      </a:lnTo>
                      <a:lnTo>
                        <a:pt x="637" y="82"/>
                      </a:lnTo>
                      <a:lnTo>
                        <a:pt x="637" y="84"/>
                      </a:lnTo>
                      <a:lnTo>
                        <a:pt x="637" y="85"/>
                      </a:lnTo>
                      <a:lnTo>
                        <a:pt x="638" y="85"/>
                      </a:lnTo>
                      <a:lnTo>
                        <a:pt x="640" y="87"/>
                      </a:lnTo>
                      <a:lnTo>
                        <a:pt x="642" y="89"/>
                      </a:lnTo>
                      <a:lnTo>
                        <a:pt x="642" y="90"/>
                      </a:lnTo>
                      <a:lnTo>
                        <a:pt x="640" y="90"/>
                      </a:lnTo>
                      <a:lnTo>
                        <a:pt x="640" y="92"/>
                      </a:lnTo>
                      <a:lnTo>
                        <a:pt x="638" y="92"/>
                      </a:lnTo>
                      <a:lnTo>
                        <a:pt x="638" y="94"/>
                      </a:lnTo>
                      <a:lnTo>
                        <a:pt x="640" y="94"/>
                      </a:lnTo>
                      <a:lnTo>
                        <a:pt x="642" y="94"/>
                      </a:lnTo>
                      <a:lnTo>
                        <a:pt x="642" y="95"/>
                      </a:lnTo>
                      <a:lnTo>
                        <a:pt x="642" y="97"/>
                      </a:lnTo>
                      <a:lnTo>
                        <a:pt x="643" y="97"/>
                      </a:lnTo>
                      <a:lnTo>
                        <a:pt x="645" y="95"/>
                      </a:lnTo>
                      <a:lnTo>
                        <a:pt x="647" y="97"/>
                      </a:lnTo>
                      <a:lnTo>
                        <a:pt x="649" y="97"/>
                      </a:lnTo>
                      <a:lnTo>
                        <a:pt x="650" y="99"/>
                      </a:lnTo>
                      <a:lnTo>
                        <a:pt x="649" y="99"/>
                      </a:lnTo>
                      <a:lnTo>
                        <a:pt x="649" y="100"/>
                      </a:lnTo>
                      <a:lnTo>
                        <a:pt x="650" y="100"/>
                      </a:lnTo>
                      <a:lnTo>
                        <a:pt x="650" y="102"/>
                      </a:lnTo>
                      <a:lnTo>
                        <a:pt x="650" y="103"/>
                      </a:lnTo>
                      <a:lnTo>
                        <a:pt x="652" y="102"/>
                      </a:lnTo>
                      <a:lnTo>
                        <a:pt x="652" y="103"/>
                      </a:lnTo>
                      <a:lnTo>
                        <a:pt x="652" y="105"/>
                      </a:lnTo>
                      <a:lnTo>
                        <a:pt x="654" y="107"/>
                      </a:lnTo>
                      <a:lnTo>
                        <a:pt x="652" y="107"/>
                      </a:lnTo>
                      <a:lnTo>
                        <a:pt x="654" y="107"/>
                      </a:lnTo>
                      <a:lnTo>
                        <a:pt x="654" y="108"/>
                      </a:lnTo>
                      <a:lnTo>
                        <a:pt x="655" y="108"/>
                      </a:lnTo>
                      <a:lnTo>
                        <a:pt x="657" y="108"/>
                      </a:lnTo>
                      <a:lnTo>
                        <a:pt x="657" y="110"/>
                      </a:lnTo>
                      <a:lnTo>
                        <a:pt x="659" y="110"/>
                      </a:lnTo>
                      <a:lnTo>
                        <a:pt x="659" y="112"/>
                      </a:lnTo>
                      <a:lnTo>
                        <a:pt x="660" y="112"/>
                      </a:lnTo>
                      <a:lnTo>
                        <a:pt x="660" y="113"/>
                      </a:lnTo>
                      <a:lnTo>
                        <a:pt x="662" y="115"/>
                      </a:lnTo>
                      <a:lnTo>
                        <a:pt x="660" y="115"/>
                      </a:lnTo>
                      <a:lnTo>
                        <a:pt x="660" y="117"/>
                      </a:lnTo>
                      <a:lnTo>
                        <a:pt x="662" y="117"/>
                      </a:lnTo>
                      <a:lnTo>
                        <a:pt x="664" y="117"/>
                      </a:lnTo>
                      <a:lnTo>
                        <a:pt x="664" y="118"/>
                      </a:lnTo>
                      <a:lnTo>
                        <a:pt x="665" y="118"/>
                      </a:lnTo>
                      <a:lnTo>
                        <a:pt x="664" y="120"/>
                      </a:lnTo>
                      <a:lnTo>
                        <a:pt x="665" y="122"/>
                      </a:lnTo>
                      <a:lnTo>
                        <a:pt x="667" y="122"/>
                      </a:lnTo>
                      <a:lnTo>
                        <a:pt x="667" y="120"/>
                      </a:lnTo>
                      <a:lnTo>
                        <a:pt x="669" y="120"/>
                      </a:lnTo>
                      <a:lnTo>
                        <a:pt x="670" y="122"/>
                      </a:lnTo>
                      <a:lnTo>
                        <a:pt x="670" y="123"/>
                      </a:lnTo>
                      <a:lnTo>
                        <a:pt x="672" y="123"/>
                      </a:lnTo>
                      <a:lnTo>
                        <a:pt x="672" y="125"/>
                      </a:lnTo>
                      <a:lnTo>
                        <a:pt x="674" y="125"/>
                      </a:lnTo>
                      <a:lnTo>
                        <a:pt x="674" y="123"/>
                      </a:lnTo>
                      <a:lnTo>
                        <a:pt x="674" y="122"/>
                      </a:lnTo>
                      <a:lnTo>
                        <a:pt x="676" y="122"/>
                      </a:lnTo>
                      <a:lnTo>
                        <a:pt x="677" y="123"/>
                      </a:lnTo>
                      <a:lnTo>
                        <a:pt x="679" y="123"/>
                      </a:lnTo>
                      <a:lnTo>
                        <a:pt x="681" y="123"/>
                      </a:lnTo>
                      <a:lnTo>
                        <a:pt x="682" y="123"/>
                      </a:lnTo>
                      <a:lnTo>
                        <a:pt x="682" y="125"/>
                      </a:lnTo>
                      <a:lnTo>
                        <a:pt x="684" y="125"/>
                      </a:lnTo>
                      <a:lnTo>
                        <a:pt x="686" y="125"/>
                      </a:lnTo>
                      <a:lnTo>
                        <a:pt x="687" y="125"/>
                      </a:lnTo>
                      <a:lnTo>
                        <a:pt x="687" y="126"/>
                      </a:lnTo>
                      <a:lnTo>
                        <a:pt x="689" y="126"/>
                      </a:lnTo>
                      <a:lnTo>
                        <a:pt x="689" y="125"/>
                      </a:lnTo>
                      <a:lnTo>
                        <a:pt x="689" y="123"/>
                      </a:lnTo>
                      <a:lnTo>
                        <a:pt x="691" y="123"/>
                      </a:lnTo>
                      <a:lnTo>
                        <a:pt x="691" y="125"/>
                      </a:lnTo>
                      <a:lnTo>
                        <a:pt x="691" y="126"/>
                      </a:lnTo>
                      <a:lnTo>
                        <a:pt x="691" y="128"/>
                      </a:lnTo>
                      <a:lnTo>
                        <a:pt x="692" y="126"/>
                      </a:lnTo>
                      <a:lnTo>
                        <a:pt x="692" y="125"/>
                      </a:lnTo>
                      <a:lnTo>
                        <a:pt x="694" y="125"/>
                      </a:lnTo>
                      <a:lnTo>
                        <a:pt x="696" y="125"/>
                      </a:lnTo>
                      <a:lnTo>
                        <a:pt x="696" y="126"/>
                      </a:lnTo>
                      <a:lnTo>
                        <a:pt x="699" y="126"/>
                      </a:lnTo>
                      <a:lnTo>
                        <a:pt x="701" y="126"/>
                      </a:lnTo>
                      <a:lnTo>
                        <a:pt x="699" y="126"/>
                      </a:lnTo>
                      <a:lnTo>
                        <a:pt x="699" y="125"/>
                      </a:lnTo>
                      <a:lnTo>
                        <a:pt x="701" y="125"/>
                      </a:lnTo>
                      <a:lnTo>
                        <a:pt x="701" y="126"/>
                      </a:lnTo>
                      <a:lnTo>
                        <a:pt x="703" y="126"/>
                      </a:lnTo>
                      <a:lnTo>
                        <a:pt x="703" y="128"/>
                      </a:lnTo>
                      <a:lnTo>
                        <a:pt x="704" y="126"/>
                      </a:lnTo>
                      <a:lnTo>
                        <a:pt x="704" y="125"/>
                      </a:lnTo>
                      <a:lnTo>
                        <a:pt x="706" y="126"/>
                      </a:lnTo>
                      <a:lnTo>
                        <a:pt x="708" y="126"/>
                      </a:lnTo>
                      <a:lnTo>
                        <a:pt x="708" y="128"/>
                      </a:lnTo>
                      <a:lnTo>
                        <a:pt x="709" y="128"/>
                      </a:lnTo>
                      <a:lnTo>
                        <a:pt x="709" y="130"/>
                      </a:lnTo>
                      <a:lnTo>
                        <a:pt x="711" y="130"/>
                      </a:lnTo>
                      <a:lnTo>
                        <a:pt x="711" y="128"/>
                      </a:lnTo>
                      <a:lnTo>
                        <a:pt x="709" y="128"/>
                      </a:lnTo>
                      <a:lnTo>
                        <a:pt x="709" y="126"/>
                      </a:lnTo>
                      <a:lnTo>
                        <a:pt x="711" y="126"/>
                      </a:lnTo>
                      <a:lnTo>
                        <a:pt x="711" y="125"/>
                      </a:lnTo>
                      <a:lnTo>
                        <a:pt x="713" y="125"/>
                      </a:lnTo>
                      <a:lnTo>
                        <a:pt x="711" y="125"/>
                      </a:lnTo>
                      <a:lnTo>
                        <a:pt x="713" y="125"/>
                      </a:lnTo>
                      <a:lnTo>
                        <a:pt x="714" y="125"/>
                      </a:lnTo>
                      <a:lnTo>
                        <a:pt x="714" y="126"/>
                      </a:lnTo>
                      <a:lnTo>
                        <a:pt x="713" y="126"/>
                      </a:lnTo>
                      <a:lnTo>
                        <a:pt x="713" y="128"/>
                      </a:lnTo>
                      <a:lnTo>
                        <a:pt x="714" y="128"/>
                      </a:lnTo>
                      <a:lnTo>
                        <a:pt x="714" y="130"/>
                      </a:lnTo>
                      <a:lnTo>
                        <a:pt x="716" y="128"/>
                      </a:lnTo>
                      <a:lnTo>
                        <a:pt x="718" y="128"/>
                      </a:lnTo>
                      <a:lnTo>
                        <a:pt x="719" y="128"/>
                      </a:lnTo>
                      <a:lnTo>
                        <a:pt x="721" y="128"/>
                      </a:lnTo>
                      <a:lnTo>
                        <a:pt x="721" y="126"/>
                      </a:lnTo>
                      <a:lnTo>
                        <a:pt x="723" y="126"/>
                      </a:lnTo>
                      <a:lnTo>
                        <a:pt x="725" y="126"/>
                      </a:lnTo>
                      <a:lnTo>
                        <a:pt x="726" y="126"/>
                      </a:lnTo>
                      <a:lnTo>
                        <a:pt x="725" y="126"/>
                      </a:lnTo>
                      <a:lnTo>
                        <a:pt x="726" y="125"/>
                      </a:lnTo>
                      <a:lnTo>
                        <a:pt x="728" y="126"/>
                      </a:lnTo>
                      <a:lnTo>
                        <a:pt x="730" y="126"/>
                      </a:lnTo>
                      <a:lnTo>
                        <a:pt x="730" y="128"/>
                      </a:lnTo>
                      <a:lnTo>
                        <a:pt x="730" y="130"/>
                      </a:lnTo>
                      <a:lnTo>
                        <a:pt x="730" y="128"/>
                      </a:lnTo>
                      <a:lnTo>
                        <a:pt x="731" y="128"/>
                      </a:lnTo>
                      <a:lnTo>
                        <a:pt x="730" y="126"/>
                      </a:lnTo>
                      <a:lnTo>
                        <a:pt x="731" y="126"/>
                      </a:lnTo>
                      <a:lnTo>
                        <a:pt x="733" y="126"/>
                      </a:lnTo>
                      <a:lnTo>
                        <a:pt x="733" y="128"/>
                      </a:lnTo>
                      <a:lnTo>
                        <a:pt x="735" y="126"/>
                      </a:lnTo>
                      <a:lnTo>
                        <a:pt x="735" y="125"/>
                      </a:lnTo>
                      <a:lnTo>
                        <a:pt x="735" y="126"/>
                      </a:lnTo>
                      <a:lnTo>
                        <a:pt x="736" y="126"/>
                      </a:lnTo>
                      <a:lnTo>
                        <a:pt x="736" y="125"/>
                      </a:lnTo>
                      <a:lnTo>
                        <a:pt x="738" y="125"/>
                      </a:lnTo>
                      <a:lnTo>
                        <a:pt x="738" y="126"/>
                      </a:lnTo>
                      <a:lnTo>
                        <a:pt x="736" y="126"/>
                      </a:lnTo>
                      <a:lnTo>
                        <a:pt x="736" y="128"/>
                      </a:lnTo>
                      <a:lnTo>
                        <a:pt x="736" y="130"/>
                      </a:lnTo>
                      <a:lnTo>
                        <a:pt x="738" y="130"/>
                      </a:lnTo>
                      <a:lnTo>
                        <a:pt x="740" y="130"/>
                      </a:lnTo>
                      <a:lnTo>
                        <a:pt x="741" y="128"/>
                      </a:lnTo>
                      <a:lnTo>
                        <a:pt x="741" y="130"/>
                      </a:lnTo>
                      <a:lnTo>
                        <a:pt x="741" y="128"/>
                      </a:lnTo>
                      <a:lnTo>
                        <a:pt x="743" y="128"/>
                      </a:lnTo>
                      <a:lnTo>
                        <a:pt x="743" y="130"/>
                      </a:lnTo>
                      <a:lnTo>
                        <a:pt x="745" y="130"/>
                      </a:lnTo>
                      <a:lnTo>
                        <a:pt x="745" y="128"/>
                      </a:lnTo>
                      <a:lnTo>
                        <a:pt x="746" y="128"/>
                      </a:lnTo>
                      <a:lnTo>
                        <a:pt x="746" y="126"/>
                      </a:lnTo>
                      <a:lnTo>
                        <a:pt x="746" y="128"/>
                      </a:lnTo>
                      <a:lnTo>
                        <a:pt x="746" y="130"/>
                      </a:lnTo>
                      <a:lnTo>
                        <a:pt x="746" y="131"/>
                      </a:lnTo>
                      <a:lnTo>
                        <a:pt x="748" y="130"/>
                      </a:lnTo>
                      <a:lnTo>
                        <a:pt x="748" y="131"/>
                      </a:lnTo>
                      <a:lnTo>
                        <a:pt x="750" y="131"/>
                      </a:lnTo>
                      <a:lnTo>
                        <a:pt x="750" y="133"/>
                      </a:lnTo>
                      <a:lnTo>
                        <a:pt x="748" y="135"/>
                      </a:lnTo>
                      <a:lnTo>
                        <a:pt x="750" y="135"/>
                      </a:lnTo>
                      <a:lnTo>
                        <a:pt x="750" y="136"/>
                      </a:lnTo>
                      <a:lnTo>
                        <a:pt x="750" y="138"/>
                      </a:lnTo>
                      <a:lnTo>
                        <a:pt x="752" y="138"/>
                      </a:lnTo>
                      <a:lnTo>
                        <a:pt x="752" y="140"/>
                      </a:lnTo>
                      <a:lnTo>
                        <a:pt x="753" y="141"/>
                      </a:lnTo>
                      <a:lnTo>
                        <a:pt x="753" y="143"/>
                      </a:lnTo>
                      <a:lnTo>
                        <a:pt x="752" y="143"/>
                      </a:lnTo>
                      <a:lnTo>
                        <a:pt x="750" y="143"/>
                      </a:lnTo>
                      <a:lnTo>
                        <a:pt x="748" y="143"/>
                      </a:lnTo>
                      <a:lnTo>
                        <a:pt x="746" y="143"/>
                      </a:lnTo>
                      <a:lnTo>
                        <a:pt x="748" y="143"/>
                      </a:lnTo>
                      <a:lnTo>
                        <a:pt x="746" y="141"/>
                      </a:lnTo>
                      <a:lnTo>
                        <a:pt x="746" y="143"/>
                      </a:lnTo>
                      <a:lnTo>
                        <a:pt x="745" y="143"/>
                      </a:lnTo>
                      <a:lnTo>
                        <a:pt x="745" y="141"/>
                      </a:lnTo>
                      <a:lnTo>
                        <a:pt x="743" y="141"/>
                      </a:lnTo>
                      <a:lnTo>
                        <a:pt x="743" y="143"/>
                      </a:lnTo>
                      <a:lnTo>
                        <a:pt x="741" y="143"/>
                      </a:lnTo>
                      <a:lnTo>
                        <a:pt x="741" y="145"/>
                      </a:lnTo>
                      <a:lnTo>
                        <a:pt x="741" y="146"/>
                      </a:lnTo>
                      <a:lnTo>
                        <a:pt x="740" y="146"/>
                      </a:lnTo>
                      <a:lnTo>
                        <a:pt x="740" y="148"/>
                      </a:lnTo>
                      <a:lnTo>
                        <a:pt x="741" y="148"/>
                      </a:lnTo>
                      <a:lnTo>
                        <a:pt x="740" y="148"/>
                      </a:lnTo>
                      <a:lnTo>
                        <a:pt x="740" y="149"/>
                      </a:lnTo>
                      <a:lnTo>
                        <a:pt x="740" y="151"/>
                      </a:lnTo>
                      <a:lnTo>
                        <a:pt x="740" y="149"/>
                      </a:lnTo>
                      <a:lnTo>
                        <a:pt x="738" y="149"/>
                      </a:lnTo>
                      <a:lnTo>
                        <a:pt x="736" y="149"/>
                      </a:lnTo>
                      <a:lnTo>
                        <a:pt x="736" y="151"/>
                      </a:lnTo>
                      <a:lnTo>
                        <a:pt x="735" y="153"/>
                      </a:lnTo>
                      <a:lnTo>
                        <a:pt x="736" y="153"/>
                      </a:lnTo>
                      <a:lnTo>
                        <a:pt x="735" y="153"/>
                      </a:lnTo>
                      <a:lnTo>
                        <a:pt x="735" y="151"/>
                      </a:lnTo>
                      <a:lnTo>
                        <a:pt x="733" y="151"/>
                      </a:lnTo>
                      <a:lnTo>
                        <a:pt x="733" y="149"/>
                      </a:lnTo>
                      <a:lnTo>
                        <a:pt x="733" y="151"/>
                      </a:lnTo>
                      <a:lnTo>
                        <a:pt x="731" y="151"/>
                      </a:lnTo>
                      <a:lnTo>
                        <a:pt x="730" y="151"/>
                      </a:lnTo>
                      <a:lnTo>
                        <a:pt x="731" y="153"/>
                      </a:lnTo>
                      <a:lnTo>
                        <a:pt x="731" y="154"/>
                      </a:lnTo>
                      <a:lnTo>
                        <a:pt x="730" y="154"/>
                      </a:lnTo>
                      <a:lnTo>
                        <a:pt x="728" y="154"/>
                      </a:lnTo>
                      <a:lnTo>
                        <a:pt x="730" y="154"/>
                      </a:lnTo>
                      <a:lnTo>
                        <a:pt x="728" y="154"/>
                      </a:lnTo>
                      <a:lnTo>
                        <a:pt x="728" y="156"/>
                      </a:lnTo>
                      <a:lnTo>
                        <a:pt x="728" y="158"/>
                      </a:lnTo>
                      <a:lnTo>
                        <a:pt x="730" y="158"/>
                      </a:lnTo>
                      <a:lnTo>
                        <a:pt x="730" y="159"/>
                      </a:lnTo>
                      <a:lnTo>
                        <a:pt x="728" y="158"/>
                      </a:lnTo>
                      <a:lnTo>
                        <a:pt x="728" y="159"/>
                      </a:lnTo>
                      <a:lnTo>
                        <a:pt x="728" y="161"/>
                      </a:lnTo>
                      <a:lnTo>
                        <a:pt x="728" y="163"/>
                      </a:lnTo>
                      <a:lnTo>
                        <a:pt x="730" y="163"/>
                      </a:lnTo>
                      <a:lnTo>
                        <a:pt x="728" y="163"/>
                      </a:lnTo>
                      <a:lnTo>
                        <a:pt x="728" y="164"/>
                      </a:lnTo>
                      <a:lnTo>
                        <a:pt x="726" y="166"/>
                      </a:lnTo>
                      <a:lnTo>
                        <a:pt x="728" y="166"/>
                      </a:lnTo>
                      <a:lnTo>
                        <a:pt x="728" y="164"/>
                      </a:lnTo>
                      <a:lnTo>
                        <a:pt x="730" y="164"/>
                      </a:lnTo>
                      <a:lnTo>
                        <a:pt x="728" y="164"/>
                      </a:lnTo>
                      <a:lnTo>
                        <a:pt x="728" y="166"/>
                      </a:lnTo>
                      <a:lnTo>
                        <a:pt x="730" y="166"/>
                      </a:lnTo>
                      <a:lnTo>
                        <a:pt x="728" y="166"/>
                      </a:lnTo>
                      <a:lnTo>
                        <a:pt x="730" y="166"/>
                      </a:lnTo>
                      <a:lnTo>
                        <a:pt x="730" y="164"/>
                      </a:lnTo>
                      <a:lnTo>
                        <a:pt x="731" y="164"/>
                      </a:lnTo>
                      <a:lnTo>
                        <a:pt x="731" y="166"/>
                      </a:lnTo>
                      <a:lnTo>
                        <a:pt x="730" y="166"/>
                      </a:lnTo>
                      <a:lnTo>
                        <a:pt x="728" y="168"/>
                      </a:lnTo>
                      <a:lnTo>
                        <a:pt x="730" y="168"/>
                      </a:lnTo>
                      <a:lnTo>
                        <a:pt x="728" y="168"/>
                      </a:lnTo>
                      <a:lnTo>
                        <a:pt x="728" y="169"/>
                      </a:lnTo>
                      <a:lnTo>
                        <a:pt x="728" y="171"/>
                      </a:lnTo>
                      <a:lnTo>
                        <a:pt x="728" y="169"/>
                      </a:lnTo>
                      <a:lnTo>
                        <a:pt x="730" y="169"/>
                      </a:lnTo>
                      <a:lnTo>
                        <a:pt x="730" y="171"/>
                      </a:lnTo>
                      <a:lnTo>
                        <a:pt x="728" y="171"/>
                      </a:lnTo>
                      <a:lnTo>
                        <a:pt x="728" y="172"/>
                      </a:lnTo>
                      <a:lnTo>
                        <a:pt x="728" y="174"/>
                      </a:lnTo>
                      <a:lnTo>
                        <a:pt x="728" y="172"/>
                      </a:lnTo>
                      <a:lnTo>
                        <a:pt x="730" y="172"/>
                      </a:lnTo>
                      <a:lnTo>
                        <a:pt x="730" y="174"/>
                      </a:lnTo>
                      <a:lnTo>
                        <a:pt x="731" y="172"/>
                      </a:lnTo>
                      <a:lnTo>
                        <a:pt x="731" y="174"/>
                      </a:lnTo>
                      <a:lnTo>
                        <a:pt x="731" y="176"/>
                      </a:lnTo>
                      <a:lnTo>
                        <a:pt x="731" y="174"/>
                      </a:lnTo>
                      <a:lnTo>
                        <a:pt x="730" y="176"/>
                      </a:lnTo>
                      <a:lnTo>
                        <a:pt x="730" y="174"/>
                      </a:lnTo>
                      <a:lnTo>
                        <a:pt x="730" y="176"/>
                      </a:lnTo>
                      <a:lnTo>
                        <a:pt x="728" y="177"/>
                      </a:lnTo>
                      <a:lnTo>
                        <a:pt x="728" y="179"/>
                      </a:lnTo>
                      <a:lnTo>
                        <a:pt x="730" y="179"/>
                      </a:lnTo>
                      <a:lnTo>
                        <a:pt x="728" y="181"/>
                      </a:lnTo>
                      <a:lnTo>
                        <a:pt x="728" y="182"/>
                      </a:lnTo>
                      <a:lnTo>
                        <a:pt x="726" y="182"/>
                      </a:lnTo>
                      <a:lnTo>
                        <a:pt x="725" y="182"/>
                      </a:lnTo>
                      <a:lnTo>
                        <a:pt x="725" y="184"/>
                      </a:lnTo>
                      <a:lnTo>
                        <a:pt x="723" y="184"/>
                      </a:lnTo>
                      <a:lnTo>
                        <a:pt x="725" y="184"/>
                      </a:lnTo>
                      <a:lnTo>
                        <a:pt x="726" y="184"/>
                      </a:lnTo>
                      <a:lnTo>
                        <a:pt x="728" y="182"/>
                      </a:lnTo>
                      <a:lnTo>
                        <a:pt x="728" y="184"/>
                      </a:lnTo>
                      <a:lnTo>
                        <a:pt x="728" y="182"/>
                      </a:lnTo>
                      <a:lnTo>
                        <a:pt x="730" y="182"/>
                      </a:lnTo>
                      <a:lnTo>
                        <a:pt x="728" y="182"/>
                      </a:lnTo>
                      <a:lnTo>
                        <a:pt x="728" y="184"/>
                      </a:lnTo>
                      <a:lnTo>
                        <a:pt x="728" y="186"/>
                      </a:lnTo>
                      <a:lnTo>
                        <a:pt x="726" y="186"/>
                      </a:lnTo>
                      <a:lnTo>
                        <a:pt x="728" y="187"/>
                      </a:lnTo>
                      <a:lnTo>
                        <a:pt x="726" y="187"/>
                      </a:lnTo>
                      <a:lnTo>
                        <a:pt x="725" y="187"/>
                      </a:lnTo>
                      <a:lnTo>
                        <a:pt x="725" y="189"/>
                      </a:lnTo>
                      <a:lnTo>
                        <a:pt x="726" y="189"/>
                      </a:lnTo>
                      <a:lnTo>
                        <a:pt x="725" y="189"/>
                      </a:lnTo>
                      <a:lnTo>
                        <a:pt x="723" y="189"/>
                      </a:lnTo>
                      <a:lnTo>
                        <a:pt x="723" y="191"/>
                      </a:lnTo>
                      <a:lnTo>
                        <a:pt x="725" y="191"/>
                      </a:lnTo>
                      <a:lnTo>
                        <a:pt x="723" y="191"/>
                      </a:lnTo>
                      <a:lnTo>
                        <a:pt x="723" y="192"/>
                      </a:lnTo>
                      <a:lnTo>
                        <a:pt x="721" y="192"/>
                      </a:lnTo>
                      <a:lnTo>
                        <a:pt x="723" y="192"/>
                      </a:lnTo>
                      <a:lnTo>
                        <a:pt x="723" y="194"/>
                      </a:lnTo>
                      <a:lnTo>
                        <a:pt x="721" y="194"/>
                      </a:lnTo>
                      <a:lnTo>
                        <a:pt x="719" y="194"/>
                      </a:lnTo>
                      <a:lnTo>
                        <a:pt x="718" y="194"/>
                      </a:lnTo>
                      <a:lnTo>
                        <a:pt x="716" y="194"/>
                      </a:lnTo>
                      <a:lnTo>
                        <a:pt x="718" y="194"/>
                      </a:lnTo>
                      <a:lnTo>
                        <a:pt x="716" y="194"/>
                      </a:lnTo>
                      <a:lnTo>
                        <a:pt x="716" y="192"/>
                      </a:lnTo>
                      <a:lnTo>
                        <a:pt x="714" y="192"/>
                      </a:lnTo>
                      <a:lnTo>
                        <a:pt x="714" y="194"/>
                      </a:lnTo>
                      <a:lnTo>
                        <a:pt x="716" y="194"/>
                      </a:lnTo>
                      <a:lnTo>
                        <a:pt x="714" y="194"/>
                      </a:lnTo>
                      <a:lnTo>
                        <a:pt x="716" y="194"/>
                      </a:lnTo>
                      <a:lnTo>
                        <a:pt x="714" y="194"/>
                      </a:lnTo>
                      <a:lnTo>
                        <a:pt x="716" y="194"/>
                      </a:lnTo>
                      <a:lnTo>
                        <a:pt x="716" y="195"/>
                      </a:lnTo>
                      <a:lnTo>
                        <a:pt x="714" y="195"/>
                      </a:lnTo>
                      <a:lnTo>
                        <a:pt x="716" y="195"/>
                      </a:lnTo>
                      <a:lnTo>
                        <a:pt x="714" y="195"/>
                      </a:lnTo>
                      <a:lnTo>
                        <a:pt x="716" y="195"/>
                      </a:lnTo>
                      <a:lnTo>
                        <a:pt x="716" y="197"/>
                      </a:lnTo>
                      <a:lnTo>
                        <a:pt x="716" y="199"/>
                      </a:lnTo>
                      <a:lnTo>
                        <a:pt x="714" y="199"/>
                      </a:lnTo>
                      <a:lnTo>
                        <a:pt x="716" y="197"/>
                      </a:lnTo>
                      <a:lnTo>
                        <a:pt x="714" y="197"/>
                      </a:lnTo>
                      <a:lnTo>
                        <a:pt x="714" y="199"/>
                      </a:lnTo>
                      <a:lnTo>
                        <a:pt x="714" y="197"/>
                      </a:lnTo>
                      <a:lnTo>
                        <a:pt x="716" y="197"/>
                      </a:lnTo>
                      <a:lnTo>
                        <a:pt x="714" y="197"/>
                      </a:lnTo>
                      <a:lnTo>
                        <a:pt x="714" y="195"/>
                      </a:lnTo>
                      <a:lnTo>
                        <a:pt x="713" y="195"/>
                      </a:lnTo>
                      <a:lnTo>
                        <a:pt x="714" y="195"/>
                      </a:lnTo>
                      <a:lnTo>
                        <a:pt x="713" y="195"/>
                      </a:lnTo>
                      <a:lnTo>
                        <a:pt x="711" y="195"/>
                      </a:lnTo>
                      <a:lnTo>
                        <a:pt x="711" y="194"/>
                      </a:lnTo>
                      <a:lnTo>
                        <a:pt x="711" y="195"/>
                      </a:lnTo>
                      <a:lnTo>
                        <a:pt x="709" y="195"/>
                      </a:lnTo>
                      <a:lnTo>
                        <a:pt x="711" y="195"/>
                      </a:lnTo>
                      <a:lnTo>
                        <a:pt x="711" y="197"/>
                      </a:lnTo>
                      <a:lnTo>
                        <a:pt x="709" y="197"/>
                      </a:lnTo>
                      <a:lnTo>
                        <a:pt x="711" y="197"/>
                      </a:lnTo>
                      <a:lnTo>
                        <a:pt x="709" y="197"/>
                      </a:lnTo>
                      <a:lnTo>
                        <a:pt x="711" y="197"/>
                      </a:lnTo>
                      <a:lnTo>
                        <a:pt x="709" y="199"/>
                      </a:lnTo>
                      <a:lnTo>
                        <a:pt x="711" y="199"/>
                      </a:lnTo>
                      <a:lnTo>
                        <a:pt x="709" y="199"/>
                      </a:lnTo>
                      <a:lnTo>
                        <a:pt x="709" y="200"/>
                      </a:lnTo>
                      <a:lnTo>
                        <a:pt x="708" y="200"/>
                      </a:lnTo>
                      <a:lnTo>
                        <a:pt x="709" y="200"/>
                      </a:lnTo>
                      <a:lnTo>
                        <a:pt x="711" y="200"/>
                      </a:lnTo>
                      <a:lnTo>
                        <a:pt x="709" y="202"/>
                      </a:lnTo>
                      <a:lnTo>
                        <a:pt x="711" y="202"/>
                      </a:lnTo>
                      <a:lnTo>
                        <a:pt x="709" y="202"/>
                      </a:lnTo>
                      <a:lnTo>
                        <a:pt x="709" y="204"/>
                      </a:lnTo>
                      <a:lnTo>
                        <a:pt x="711" y="204"/>
                      </a:lnTo>
                      <a:lnTo>
                        <a:pt x="711" y="205"/>
                      </a:lnTo>
                      <a:lnTo>
                        <a:pt x="713" y="205"/>
                      </a:lnTo>
                      <a:lnTo>
                        <a:pt x="711" y="205"/>
                      </a:lnTo>
                      <a:lnTo>
                        <a:pt x="713" y="205"/>
                      </a:lnTo>
                      <a:lnTo>
                        <a:pt x="713" y="204"/>
                      </a:lnTo>
                      <a:lnTo>
                        <a:pt x="711" y="204"/>
                      </a:lnTo>
                      <a:lnTo>
                        <a:pt x="713" y="204"/>
                      </a:lnTo>
                      <a:lnTo>
                        <a:pt x="711" y="204"/>
                      </a:lnTo>
                      <a:lnTo>
                        <a:pt x="713" y="202"/>
                      </a:lnTo>
                      <a:lnTo>
                        <a:pt x="713" y="204"/>
                      </a:lnTo>
                      <a:lnTo>
                        <a:pt x="714" y="204"/>
                      </a:lnTo>
                      <a:lnTo>
                        <a:pt x="714" y="205"/>
                      </a:lnTo>
                      <a:lnTo>
                        <a:pt x="716" y="205"/>
                      </a:lnTo>
                      <a:lnTo>
                        <a:pt x="716" y="207"/>
                      </a:lnTo>
                      <a:lnTo>
                        <a:pt x="718" y="207"/>
                      </a:lnTo>
                      <a:lnTo>
                        <a:pt x="719" y="207"/>
                      </a:lnTo>
                      <a:lnTo>
                        <a:pt x="718" y="207"/>
                      </a:lnTo>
                      <a:lnTo>
                        <a:pt x="718" y="209"/>
                      </a:lnTo>
                      <a:lnTo>
                        <a:pt x="719" y="209"/>
                      </a:lnTo>
                      <a:lnTo>
                        <a:pt x="721" y="209"/>
                      </a:lnTo>
                      <a:lnTo>
                        <a:pt x="719" y="209"/>
                      </a:lnTo>
                      <a:lnTo>
                        <a:pt x="719" y="207"/>
                      </a:lnTo>
                      <a:lnTo>
                        <a:pt x="719" y="205"/>
                      </a:lnTo>
                      <a:lnTo>
                        <a:pt x="718" y="205"/>
                      </a:lnTo>
                      <a:lnTo>
                        <a:pt x="716" y="205"/>
                      </a:lnTo>
                      <a:lnTo>
                        <a:pt x="716" y="204"/>
                      </a:lnTo>
                      <a:lnTo>
                        <a:pt x="714" y="204"/>
                      </a:lnTo>
                      <a:lnTo>
                        <a:pt x="714" y="202"/>
                      </a:lnTo>
                      <a:lnTo>
                        <a:pt x="713" y="202"/>
                      </a:lnTo>
                      <a:lnTo>
                        <a:pt x="713" y="200"/>
                      </a:lnTo>
                      <a:lnTo>
                        <a:pt x="714" y="200"/>
                      </a:lnTo>
                      <a:lnTo>
                        <a:pt x="716" y="200"/>
                      </a:lnTo>
                      <a:lnTo>
                        <a:pt x="718" y="200"/>
                      </a:lnTo>
                      <a:lnTo>
                        <a:pt x="718" y="199"/>
                      </a:lnTo>
                      <a:lnTo>
                        <a:pt x="719" y="199"/>
                      </a:lnTo>
                      <a:lnTo>
                        <a:pt x="721" y="199"/>
                      </a:lnTo>
                      <a:lnTo>
                        <a:pt x="723" y="199"/>
                      </a:lnTo>
                      <a:lnTo>
                        <a:pt x="723" y="197"/>
                      </a:lnTo>
                      <a:lnTo>
                        <a:pt x="725" y="197"/>
                      </a:lnTo>
                      <a:lnTo>
                        <a:pt x="726" y="197"/>
                      </a:lnTo>
                      <a:lnTo>
                        <a:pt x="726" y="195"/>
                      </a:lnTo>
                      <a:lnTo>
                        <a:pt x="728" y="195"/>
                      </a:lnTo>
                      <a:lnTo>
                        <a:pt x="730" y="195"/>
                      </a:lnTo>
                      <a:lnTo>
                        <a:pt x="731" y="195"/>
                      </a:lnTo>
                      <a:lnTo>
                        <a:pt x="733" y="195"/>
                      </a:lnTo>
                      <a:lnTo>
                        <a:pt x="733" y="197"/>
                      </a:lnTo>
                      <a:lnTo>
                        <a:pt x="735" y="197"/>
                      </a:lnTo>
                      <a:lnTo>
                        <a:pt x="736" y="197"/>
                      </a:lnTo>
                      <a:lnTo>
                        <a:pt x="738" y="199"/>
                      </a:lnTo>
                      <a:lnTo>
                        <a:pt x="738" y="200"/>
                      </a:lnTo>
                      <a:lnTo>
                        <a:pt x="740" y="200"/>
                      </a:lnTo>
                      <a:lnTo>
                        <a:pt x="740" y="202"/>
                      </a:lnTo>
                      <a:lnTo>
                        <a:pt x="738" y="202"/>
                      </a:lnTo>
                      <a:lnTo>
                        <a:pt x="740" y="202"/>
                      </a:lnTo>
                      <a:lnTo>
                        <a:pt x="741" y="202"/>
                      </a:lnTo>
                      <a:lnTo>
                        <a:pt x="741" y="204"/>
                      </a:lnTo>
                      <a:lnTo>
                        <a:pt x="743" y="204"/>
                      </a:lnTo>
                      <a:lnTo>
                        <a:pt x="745" y="204"/>
                      </a:lnTo>
                      <a:lnTo>
                        <a:pt x="746" y="205"/>
                      </a:lnTo>
                      <a:lnTo>
                        <a:pt x="748" y="204"/>
                      </a:lnTo>
                      <a:lnTo>
                        <a:pt x="748" y="205"/>
                      </a:lnTo>
                      <a:lnTo>
                        <a:pt x="750" y="205"/>
                      </a:lnTo>
                      <a:lnTo>
                        <a:pt x="750" y="207"/>
                      </a:lnTo>
                      <a:lnTo>
                        <a:pt x="748" y="207"/>
                      </a:lnTo>
                      <a:lnTo>
                        <a:pt x="750" y="207"/>
                      </a:lnTo>
                      <a:lnTo>
                        <a:pt x="752" y="207"/>
                      </a:lnTo>
                      <a:lnTo>
                        <a:pt x="750" y="209"/>
                      </a:lnTo>
                      <a:lnTo>
                        <a:pt x="750" y="210"/>
                      </a:lnTo>
                      <a:lnTo>
                        <a:pt x="748" y="212"/>
                      </a:lnTo>
                      <a:lnTo>
                        <a:pt x="746" y="214"/>
                      </a:lnTo>
                      <a:lnTo>
                        <a:pt x="745" y="217"/>
                      </a:lnTo>
                      <a:lnTo>
                        <a:pt x="743" y="218"/>
                      </a:lnTo>
                      <a:lnTo>
                        <a:pt x="738" y="223"/>
                      </a:lnTo>
                      <a:lnTo>
                        <a:pt x="736" y="227"/>
                      </a:lnTo>
                      <a:lnTo>
                        <a:pt x="735" y="230"/>
                      </a:lnTo>
                      <a:lnTo>
                        <a:pt x="733" y="230"/>
                      </a:lnTo>
                      <a:lnTo>
                        <a:pt x="733" y="232"/>
                      </a:lnTo>
                      <a:lnTo>
                        <a:pt x="731" y="232"/>
                      </a:lnTo>
                      <a:lnTo>
                        <a:pt x="730" y="235"/>
                      </a:lnTo>
                      <a:lnTo>
                        <a:pt x="726" y="241"/>
                      </a:lnTo>
                      <a:lnTo>
                        <a:pt x="725" y="243"/>
                      </a:lnTo>
                      <a:lnTo>
                        <a:pt x="725" y="245"/>
                      </a:lnTo>
                      <a:lnTo>
                        <a:pt x="723" y="246"/>
                      </a:lnTo>
                      <a:lnTo>
                        <a:pt x="723" y="248"/>
                      </a:lnTo>
                      <a:lnTo>
                        <a:pt x="721" y="251"/>
                      </a:lnTo>
                      <a:lnTo>
                        <a:pt x="719" y="253"/>
                      </a:lnTo>
                      <a:lnTo>
                        <a:pt x="719" y="255"/>
                      </a:lnTo>
                      <a:lnTo>
                        <a:pt x="718" y="256"/>
                      </a:lnTo>
                      <a:lnTo>
                        <a:pt x="718" y="258"/>
                      </a:lnTo>
                      <a:lnTo>
                        <a:pt x="714" y="263"/>
                      </a:lnTo>
                      <a:lnTo>
                        <a:pt x="714" y="264"/>
                      </a:lnTo>
                      <a:lnTo>
                        <a:pt x="713" y="266"/>
                      </a:lnTo>
                      <a:lnTo>
                        <a:pt x="713" y="268"/>
                      </a:lnTo>
                      <a:lnTo>
                        <a:pt x="713" y="269"/>
                      </a:lnTo>
                      <a:lnTo>
                        <a:pt x="711" y="273"/>
                      </a:lnTo>
                      <a:lnTo>
                        <a:pt x="708" y="278"/>
                      </a:lnTo>
                      <a:lnTo>
                        <a:pt x="706" y="284"/>
                      </a:lnTo>
                      <a:lnTo>
                        <a:pt x="704" y="289"/>
                      </a:lnTo>
                      <a:lnTo>
                        <a:pt x="703" y="291"/>
                      </a:lnTo>
                      <a:lnTo>
                        <a:pt x="703" y="292"/>
                      </a:lnTo>
                      <a:lnTo>
                        <a:pt x="703" y="294"/>
                      </a:lnTo>
                      <a:lnTo>
                        <a:pt x="701" y="296"/>
                      </a:lnTo>
                      <a:lnTo>
                        <a:pt x="701" y="297"/>
                      </a:lnTo>
                      <a:lnTo>
                        <a:pt x="698" y="304"/>
                      </a:lnTo>
                      <a:lnTo>
                        <a:pt x="698" y="305"/>
                      </a:lnTo>
                      <a:lnTo>
                        <a:pt x="696" y="307"/>
                      </a:lnTo>
                      <a:lnTo>
                        <a:pt x="696" y="310"/>
                      </a:lnTo>
                      <a:lnTo>
                        <a:pt x="694" y="312"/>
                      </a:lnTo>
                      <a:lnTo>
                        <a:pt x="692" y="315"/>
                      </a:lnTo>
                      <a:lnTo>
                        <a:pt x="691" y="319"/>
                      </a:lnTo>
                      <a:lnTo>
                        <a:pt x="689" y="319"/>
                      </a:lnTo>
                      <a:lnTo>
                        <a:pt x="689" y="320"/>
                      </a:lnTo>
                      <a:lnTo>
                        <a:pt x="687" y="322"/>
                      </a:lnTo>
                      <a:lnTo>
                        <a:pt x="686" y="324"/>
                      </a:lnTo>
                      <a:lnTo>
                        <a:pt x="682" y="330"/>
                      </a:lnTo>
                      <a:lnTo>
                        <a:pt x="679" y="333"/>
                      </a:lnTo>
                      <a:lnTo>
                        <a:pt x="677" y="335"/>
                      </a:lnTo>
                      <a:lnTo>
                        <a:pt x="672" y="345"/>
                      </a:lnTo>
                      <a:lnTo>
                        <a:pt x="669" y="348"/>
                      </a:lnTo>
                      <a:lnTo>
                        <a:pt x="664" y="353"/>
                      </a:lnTo>
                      <a:lnTo>
                        <a:pt x="664" y="355"/>
                      </a:lnTo>
                      <a:lnTo>
                        <a:pt x="660" y="358"/>
                      </a:lnTo>
                      <a:lnTo>
                        <a:pt x="659" y="360"/>
                      </a:lnTo>
                      <a:lnTo>
                        <a:pt x="657" y="363"/>
                      </a:lnTo>
                      <a:lnTo>
                        <a:pt x="657" y="365"/>
                      </a:lnTo>
                      <a:lnTo>
                        <a:pt x="652" y="370"/>
                      </a:lnTo>
                      <a:lnTo>
                        <a:pt x="650" y="373"/>
                      </a:lnTo>
                      <a:lnTo>
                        <a:pt x="649" y="374"/>
                      </a:lnTo>
                      <a:lnTo>
                        <a:pt x="647" y="376"/>
                      </a:lnTo>
                      <a:lnTo>
                        <a:pt x="645" y="378"/>
                      </a:lnTo>
                      <a:lnTo>
                        <a:pt x="638" y="384"/>
                      </a:lnTo>
                      <a:lnTo>
                        <a:pt x="637" y="386"/>
                      </a:lnTo>
                      <a:lnTo>
                        <a:pt x="635" y="388"/>
                      </a:lnTo>
                      <a:lnTo>
                        <a:pt x="633" y="389"/>
                      </a:lnTo>
                      <a:lnTo>
                        <a:pt x="630" y="391"/>
                      </a:lnTo>
                      <a:lnTo>
                        <a:pt x="627" y="394"/>
                      </a:lnTo>
                      <a:lnTo>
                        <a:pt x="625" y="396"/>
                      </a:lnTo>
                      <a:lnTo>
                        <a:pt x="622" y="399"/>
                      </a:lnTo>
                      <a:lnTo>
                        <a:pt x="618" y="401"/>
                      </a:lnTo>
                      <a:lnTo>
                        <a:pt x="616" y="404"/>
                      </a:lnTo>
                      <a:lnTo>
                        <a:pt x="615" y="404"/>
                      </a:lnTo>
                      <a:lnTo>
                        <a:pt x="615" y="406"/>
                      </a:lnTo>
                      <a:lnTo>
                        <a:pt x="613" y="406"/>
                      </a:lnTo>
                      <a:lnTo>
                        <a:pt x="613" y="407"/>
                      </a:lnTo>
                      <a:lnTo>
                        <a:pt x="611" y="407"/>
                      </a:lnTo>
                      <a:lnTo>
                        <a:pt x="610" y="411"/>
                      </a:lnTo>
                      <a:lnTo>
                        <a:pt x="608" y="412"/>
                      </a:lnTo>
                      <a:lnTo>
                        <a:pt x="606" y="412"/>
                      </a:lnTo>
                      <a:lnTo>
                        <a:pt x="606" y="414"/>
                      </a:lnTo>
                      <a:lnTo>
                        <a:pt x="596" y="420"/>
                      </a:lnTo>
                      <a:lnTo>
                        <a:pt x="593" y="422"/>
                      </a:lnTo>
                      <a:lnTo>
                        <a:pt x="593" y="424"/>
                      </a:lnTo>
                      <a:lnTo>
                        <a:pt x="591" y="424"/>
                      </a:lnTo>
                      <a:lnTo>
                        <a:pt x="588" y="425"/>
                      </a:lnTo>
                      <a:lnTo>
                        <a:pt x="586" y="427"/>
                      </a:lnTo>
                      <a:lnTo>
                        <a:pt x="584" y="429"/>
                      </a:lnTo>
                      <a:lnTo>
                        <a:pt x="583" y="429"/>
                      </a:lnTo>
                      <a:lnTo>
                        <a:pt x="581" y="430"/>
                      </a:lnTo>
                      <a:lnTo>
                        <a:pt x="579" y="430"/>
                      </a:lnTo>
                      <a:lnTo>
                        <a:pt x="579" y="432"/>
                      </a:lnTo>
                      <a:lnTo>
                        <a:pt x="578" y="432"/>
                      </a:lnTo>
                      <a:lnTo>
                        <a:pt x="574" y="434"/>
                      </a:lnTo>
                      <a:lnTo>
                        <a:pt x="571" y="435"/>
                      </a:lnTo>
                      <a:lnTo>
                        <a:pt x="571" y="437"/>
                      </a:lnTo>
                      <a:lnTo>
                        <a:pt x="567" y="437"/>
                      </a:lnTo>
                      <a:lnTo>
                        <a:pt x="566" y="439"/>
                      </a:lnTo>
                      <a:lnTo>
                        <a:pt x="564" y="439"/>
                      </a:lnTo>
                      <a:lnTo>
                        <a:pt x="557" y="442"/>
                      </a:lnTo>
                      <a:lnTo>
                        <a:pt x="551" y="445"/>
                      </a:lnTo>
                      <a:lnTo>
                        <a:pt x="547" y="448"/>
                      </a:lnTo>
                      <a:lnTo>
                        <a:pt x="544" y="450"/>
                      </a:lnTo>
                      <a:lnTo>
                        <a:pt x="540" y="453"/>
                      </a:lnTo>
                      <a:lnTo>
                        <a:pt x="539" y="455"/>
                      </a:lnTo>
                      <a:lnTo>
                        <a:pt x="537" y="458"/>
                      </a:lnTo>
                      <a:lnTo>
                        <a:pt x="535" y="458"/>
                      </a:lnTo>
                      <a:lnTo>
                        <a:pt x="534" y="460"/>
                      </a:lnTo>
                      <a:lnTo>
                        <a:pt x="532" y="462"/>
                      </a:lnTo>
                      <a:lnTo>
                        <a:pt x="532" y="463"/>
                      </a:lnTo>
                      <a:lnTo>
                        <a:pt x="530" y="465"/>
                      </a:lnTo>
                      <a:lnTo>
                        <a:pt x="527" y="466"/>
                      </a:lnTo>
                      <a:lnTo>
                        <a:pt x="527" y="468"/>
                      </a:lnTo>
                      <a:lnTo>
                        <a:pt x="527" y="470"/>
                      </a:lnTo>
                      <a:lnTo>
                        <a:pt x="527" y="471"/>
                      </a:lnTo>
                      <a:lnTo>
                        <a:pt x="527" y="470"/>
                      </a:lnTo>
                      <a:lnTo>
                        <a:pt x="525" y="470"/>
                      </a:lnTo>
                      <a:lnTo>
                        <a:pt x="525" y="468"/>
                      </a:lnTo>
                      <a:lnTo>
                        <a:pt x="524" y="468"/>
                      </a:lnTo>
                      <a:lnTo>
                        <a:pt x="524" y="470"/>
                      </a:lnTo>
                      <a:lnTo>
                        <a:pt x="522" y="470"/>
                      </a:lnTo>
                      <a:lnTo>
                        <a:pt x="520" y="470"/>
                      </a:lnTo>
                      <a:lnTo>
                        <a:pt x="520" y="471"/>
                      </a:lnTo>
                      <a:lnTo>
                        <a:pt x="518" y="473"/>
                      </a:lnTo>
                      <a:lnTo>
                        <a:pt x="517" y="473"/>
                      </a:lnTo>
                      <a:lnTo>
                        <a:pt x="517" y="475"/>
                      </a:lnTo>
                      <a:lnTo>
                        <a:pt x="515" y="476"/>
                      </a:lnTo>
                      <a:lnTo>
                        <a:pt x="513" y="476"/>
                      </a:lnTo>
                      <a:lnTo>
                        <a:pt x="512" y="480"/>
                      </a:lnTo>
                      <a:lnTo>
                        <a:pt x="510" y="481"/>
                      </a:lnTo>
                      <a:lnTo>
                        <a:pt x="507" y="485"/>
                      </a:lnTo>
                      <a:lnTo>
                        <a:pt x="505" y="489"/>
                      </a:lnTo>
                      <a:lnTo>
                        <a:pt x="503" y="489"/>
                      </a:lnTo>
                      <a:lnTo>
                        <a:pt x="503" y="491"/>
                      </a:lnTo>
                      <a:lnTo>
                        <a:pt x="503" y="493"/>
                      </a:lnTo>
                      <a:lnTo>
                        <a:pt x="502" y="496"/>
                      </a:lnTo>
                      <a:lnTo>
                        <a:pt x="500" y="498"/>
                      </a:lnTo>
                      <a:lnTo>
                        <a:pt x="500" y="499"/>
                      </a:lnTo>
                      <a:lnTo>
                        <a:pt x="498" y="499"/>
                      </a:lnTo>
                      <a:lnTo>
                        <a:pt x="498" y="503"/>
                      </a:lnTo>
                      <a:lnTo>
                        <a:pt x="497" y="504"/>
                      </a:lnTo>
                      <a:lnTo>
                        <a:pt x="497" y="506"/>
                      </a:lnTo>
                      <a:lnTo>
                        <a:pt x="495" y="509"/>
                      </a:lnTo>
                      <a:lnTo>
                        <a:pt x="495" y="511"/>
                      </a:lnTo>
                      <a:lnTo>
                        <a:pt x="493" y="519"/>
                      </a:lnTo>
                      <a:lnTo>
                        <a:pt x="491" y="522"/>
                      </a:lnTo>
                      <a:lnTo>
                        <a:pt x="491" y="524"/>
                      </a:lnTo>
                      <a:lnTo>
                        <a:pt x="491" y="526"/>
                      </a:lnTo>
                      <a:lnTo>
                        <a:pt x="490" y="527"/>
                      </a:lnTo>
                      <a:lnTo>
                        <a:pt x="490" y="529"/>
                      </a:lnTo>
                      <a:lnTo>
                        <a:pt x="488" y="530"/>
                      </a:lnTo>
                      <a:lnTo>
                        <a:pt x="488" y="532"/>
                      </a:lnTo>
                      <a:lnTo>
                        <a:pt x="488" y="534"/>
                      </a:lnTo>
                      <a:lnTo>
                        <a:pt x="486" y="535"/>
                      </a:lnTo>
                      <a:lnTo>
                        <a:pt x="486" y="537"/>
                      </a:lnTo>
                      <a:lnTo>
                        <a:pt x="485" y="537"/>
                      </a:lnTo>
                      <a:lnTo>
                        <a:pt x="483" y="542"/>
                      </a:lnTo>
                      <a:lnTo>
                        <a:pt x="481" y="545"/>
                      </a:lnTo>
                      <a:lnTo>
                        <a:pt x="480" y="549"/>
                      </a:lnTo>
                      <a:lnTo>
                        <a:pt x="478" y="552"/>
                      </a:lnTo>
                      <a:lnTo>
                        <a:pt x="476" y="553"/>
                      </a:lnTo>
                      <a:lnTo>
                        <a:pt x="476" y="555"/>
                      </a:lnTo>
                      <a:lnTo>
                        <a:pt x="475" y="557"/>
                      </a:lnTo>
                      <a:lnTo>
                        <a:pt x="473" y="560"/>
                      </a:lnTo>
                      <a:lnTo>
                        <a:pt x="471" y="560"/>
                      </a:lnTo>
                      <a:lnTo>
                        <a:pt x="471" y="562"/>
                      </a:lnTo>
                      <a:lnTo>
                        <a:pt x="470" y="563"/>
                      </a:lnTo>
                      <a:lnTo>
                        <a:pt x="468" y="565"/>
                      </a:lnTo>
                      <a:lnTo>
                        <a:pt x="466" y="567"/>
                      </a:lnTo>
                      <a:lnTo>
                        <a:pt x="464" y="568"/>
                      </a:lnTo>
                      <a:lnTo>
                        <a:pt x="463" y="572"/>
                      </a:lnTo>
                      <a:lnTo>
                        <a:pt x="459" y="573"/>
                      </a:lnTo>
                      <a:lnTo>
                        <a:pt x="458" y="575"/>
                      </a:lnTo>
                      <a:lnTo>
                        <a:pt x="456" y="576"/>
                      </a:lnTo>
                      <a:lnTo>
                        <a:pt x="451" y="580"/>
                      </a:lnTo>
                      <a:lnTo>
                        <a:pt x="446" y="585"/>
                      </a:lnTo>
                      <a:lnTo>
                        <a:pt x="444" y="585"/>
                      </a:lnTo>
                      <a:lnTo>
                        <a:pt x="437" y="591"/>
                      </a:lnTo>
                      <a:lnTo>
                        <a:pt x="436" y="591"/>
                      </a:lnTo>
                      <a:lnTo>
                        <a:pt x="436" y="593"/>
                      </a:lnTo>
                      <a:lnTo>
                        <a:pt x="434" y="593"/>
                      </a:lnTo>
                      <a:lnTo>
                        <a:pt x="429" y="596"/>
                      </a:lnTo>
                      <a:lnTo>
                        <a:pt x="426" y="599"/>
                      </a:lnTo>
                      <a:lnTo>
                        <a:pt x="422" y="603"/>
                      </a:lnTo>
                      <a:lnTo>
                        <a:pt x="421" y="603"/>
                      </a:lnTo>
                      <a:lnTo>
                        <a:pt x="417" y="606"/>
                      </a:lnTo>
                      <a:lnTo>
                        <a:pt x="414" y="608"/>
                      </a:lnTo>
                      <a:lnTo>
                        <a:pt x="412" y="609"/>
                      </a:lnTo>
                      <a:lnTo>
                        <a:pt x="409" y="611"/>
                      </a:lnTo>
                      <a:lnTo>
                        <a:pt x="407" y="613"/>
                      </a:lnTo>
                      <a:lnTo>
                        <a:pt x="405" y="614"/>
                      </a:lnTo>
                      <a:lnTo>
                        <a:pt x="404" y="614"/>
                      </a:lnTo>
                      <a:lnTo>
                        <a:pt x="402" y="614"/>
                      </a:lnTo>
                      <a:lnTo>
                        <a:pt x="400" y="614"/>
                      </a:lnTo>
                      <a:lnTo>
                        <a:pt x="399" y="614"/>
                      </a:lnTo>
                      <a:lnTo>
                        <a:pt x="399" y="613"/>
                      </a:lnTo>
                      <a:lnTo>
                        <a:pt x="399" y="611"/>
                      </a:lnTo>
                      <a:lnTo>
                        <a:pt x="399" y="609"/>
                      </a:lnTo>
                      <a:lnTo>
                        <a:pt x="399" y="611"/>
                      </a:lnTo>
                      <a:lnTo>
                        <a:pt x="399" y="609"/>
                      </a:lnTo>
                      <a:lnTo>
                        <a:pt x="388" y="609"/>
                      </a:lnTo>
                      <a:lnTo>
                        <a:pt x="390" y="609"/>
                      </a:lnTo>
                      <a:lnTo>
                        <a:pt x="390" y="608"/>
                      </a:lnTo>
                      <a:lnTo>
                        <a:pt x="388" y="608"/>
                      </a:lnTo>
                      <a:lnTo>
                        <a:pt x="388" y="606"/>
                      </a:lnTo>
                      <a:lnTo>
                        <a:pt x="390" y="606"/>
                      </a:lnTo>
                      <a:lnTo>
                        <a:pt x="388" y="606"/>
                      </a:lnTo>
                      <a:lnTo>
                        <a:pt x="390" y="606"/>
                      </a:lnTo>
                      <a:lnTo>
                        <a:pt x="388" y="606"/>
                      </a:lnTo>
                      <a:lnTo>
                        <a:pt x="390" y="606"/>
                      </a:lnTo>
                      <a:lnTo>
                        <a:pt x="390" y="604"/>
                      </a:lnTo>
                      <a:lnTo>
                        <a:pt x="390" y="603"/>
                      </a:lnTo>
                      <a:lnTo>
                        <a:pt x="388" y="603"/>
                      </a:lnTo>
                      <a:lnTo>
                        <a:pt x="388" y="601"/>
                      </a:lnTo>
                      <a:lnTo>
                        <a:pt x="390" y="601"/>
                      </a:lnTo>
                      <a:lnTo>
                        <a:pt x="390" y="595"/>
                      </a:lnTo>
                      <a:lnTo>
                        <a:pt x="390" y="591"/>
                      </a:lnTo>
                      <a:lnTo>
                        <a:pt x="392" y="588"/>
                      </a:lnTo>
                      <a:lnTo>
                        <a:pt x="392" y="578"/>
                      </a:lnTo>
                      <a:lnTo>
                        <a:pt x="390" y="570"/>
                      </a:lnTo>
                      <a:lnTo>
                        <a:pt x="390" y="568"/>
                      </a:lnTo>
                      <a:lnTo>
                        <a:pt x="390" y="560"/>
                      </a:lnTo>
                      <a:lnTo>
                        <a:pt x="392" y="557"/>
                      </a:lnTo>
                      <a:lnTo>
                        <a:pt x="397" y="550"/>
                      </a:lnTo>
                      <a:lnTo>
                        <a:pt x="405" y="547"/>
                      </a:lnTo>
                      <a:lnTo>
                        <a:pt x="410" y="547"/>
                      </a:lnTo>
                      <a:lnTo>
                        <a:pt x="415" y="540"/>
                      </a:lnTo>
                      <a:lnTo>
                        <a:pt x="417" y="540"/>
                      </a:lnTo>
                      <a:lnTo>
                        <a:pt x="414" y="539"/>
                      </a:lnTo>
                      <a:lnTo>
                        <a:pt x="410" y="539"/>
                      </a:lnTo>
                      <a:lnTo>
                        <a:pt x="412" y="535"/>
                      </a:lnTo>
                      <a:lnTo>
                        <a:pt x="412" y="537"/>
                      </a:lnTo>
                      <a:lnTo>
                        <a:pt x="412" y="539"/>
                      </a:lnTo>
                      <a:lnTo>
                        <a:pt x="414" y="539"/>
                      </a:lnTo>
                      <a:lnTo>
                        <a:pt x="414" y="537"/>
                      </a:lnTo>
                      <a:lnTo>
                        <a:pt x="412" y="537"/>
                      </a:lnTo>
                      <a:lnTo>
                        <a:pt x="414" y="537"/>
                      </a:lnTo>
                      <a:lnTo>
                        <a:pt x="412" y="537"/>
                      </a:lnTo>
                      <a:lnTo>
                        <a:pt x="412" y="535"/>
                      </a:lnTo>
                      <a:lnTo>
                        <a:pt x="422" y="532"/>
                      </a:lnTo>
                      <a:lnTo>
                        <a:pt x="424" y="530"/>
                      </a:lnTo>
                      <a:lnTo>
                        <a:pt x="426" y="529"/>
                      </a:lnTo>
                      <a:lnTo>
                        <a:pt x="424" y="527"/>
                      </a:lnTo>
                      <a:lnTo>
                        <a:pt x="426" y="526"/>
                      </a:lnTo>
                      <a:lnTo>
                        <a:pt x="427" y="526"/>
                      </a:lnTo>
                      <a:lnTo>
                        <a:pt x="429" y="526"/>
                      </a:lnTo>
                      <a:lnTo>
                        <a:pt x="431" y="526"/>
                      </a:lnTo>
                      <a:lnTo>
                        <a:pt x="432" y="526"/>
                      </a:lnTo>
                      <a:lnTo>
                        <a:pt x="432" y="522"/>
                      </a:lnTo>
                      <a:lnTo>
                        <a:pt x="424" y="514"/>
                      </a:lnTo>
                      <a:close/>
                    </a:path>
                  </a:pathLst>
                </a:custGeom>
                <a:solidFill>
                  <a:srgbClr val="F79646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0" name="Freeform 6"/>
                <p:cNvSpPr>
                  <a:spLocks noChangeAspect="1"/>
                </p:cNvSpPr>
                <p:nvPr/>
              </p:nvSpPr>
              <p:spPr bwMode="auto">
                <a:xfrm>
                  <a:off x="4136701" y="4749011"/>
                  <a:ext cx="979745" cy="647044"/>
                </a:xfrm>
                <a:custGeom>
                  <a:avLst/>
                  <a:gdLst>
                    <a:gd name="T0" fmla="*/ 2147483647 w 627"/>
                    <a:gd name="T1" fmla="*/ 2147483647 h 386"/>
                    <a:gd name="T2" fmla="*/ 2147483647 w 627"/>
                    <a:gd name="T3" fmla="*/ 2147483647 h 386"/>
                    <a:gd name="T4" fmla="*/ 2147483647 w 627"/>
                    <a:gd name="T5" fmla="*/ 2147483647 h 386"/>
                    <a:gd name="T6" fmla="*/ 2147483647 w 627"/>
                    <a:gd name="T7" fmla="*/ 2147483647 h 386"/>
                    <a:gd name="T8" fmla="*/ 2147483647 w 627"/>
                    <a:gd name="T9" fmla="*/ 2147483647 h 386"/>
                    <a:gd name="T10" fmla="*/ 2147483647 w 627"/>
                    <a:gd name="T11" fmla="*/ 2147483647 h 386"/>
                    <a:gd name="T12" fmla="*/ 2147483647 w 627"/>
                    <a:gd name="T13" fmla="*/ 2147483647 h 386"/>
                    <a:gd name="T14" fmla="*/ 2147483647 w 627"/>
                    <a:gd name="T15" fmla="*/ 2147483647 h 386"/>
                    <a:gd name="T16" fmla="*/ 2147483647 w 627"/>
                    <a:gd name="T17" fmla="*/ 2147483647 h 386"/>
                    <a:gd name="T18" fmla="*/ 2147483647 w 627"/>
                    <a:gd name="T19" fmla="*/ 2147483647 h 386"/>
                    <a:gd name="T20" fmla="*/ 2147483647 w 627"/>
                    <a:gd name="T21" fmla="*/ 2147483647 h 386"/>
                    <a:gd name="T22" fmla="*/ 2147483647 w 627"/>
                    <a:gd name="T23" fmla="*/ 2147483647 h 386"/>
                    <a:gd name="T24" fmla="*/ 2147483647 w 627"/>
                    <a:gd name="T25" fmla="*/ 2147483647 h 386"/>
                    <a:gd name="T26" fmla="*/ 2147483647 w 627"/>
                    <a:gd name="T27" fmla="*/ 2147483647 h 386"/>
                    <a:gd name="T28" fmla="*/ 2147483647 w 627"/>
                    <a:gd name="T29" fmla="*/ 2147483647 h 386"/>
                    <a:gd name="T30" fmla="*/ 2147483647 w 627"/>
                    <a:gd name="T31" fmla="*/ 2147483647 h 386"/>
                    <a:gd name="T32" fmla="*/ 2147483647 w 627"/>
                    <a:gd name="T33" fmla="*/ 2147483647 h 386"/>
                    <a:gd name="T34" fmla="*/ 2147483647 w 627"/>
                    <a:gd name="T35" fmla="*/ 2147483647 h 386"/>
                    <a:gd name="T36" fmla="*/ 2147483647 w 627"/>
                    <a:gd name="T37" fmla="*/ 2147483647 h 386"/>
                    <a:gd name="T38" fmla="*/ 2147483647 w 627"/>
                    <a:gd name="T39" fmla="*/ 2147483647 h 386"/>
                    <a:gd name="T40" fmla="*/ 2147483647 w 627"/>
                    <a:gd name="T41" fmla="*/ 2147483647 h 386"/>
                    <a:gd name="T42" fmla="*/ 2147483647 w 627"/>
                    <a:gd name="T43" fmla="*/ 2147483647 h 386"/>
                    <a:gd name="T44" fmla="*/ 2147483647 w 627"/>
                    <a:gd name="T45" fmla="*/ 2147483647 h 386"/>
                    <a:gd name="T46" fmla="*/ 2147483647 w 627"/>
                    <a:gd name="T47" fmla="*/ 2147483647 h 386"/>
                    <a:gd name="T48" fmla="*/ 2147483647 w 627"/>
                    <a:gd name="T49" fmla="*/ 2147483647 h 386"/>
                    <a:gd name="T50" fmla="*/ 2147483647 w 627"/>
                    <a:gd name="T51" fmla="*/ 2147483647 h 386"/>
                    <a:gd name="T52" fmla="*/ 2147483647 w 627"/>
                    <a:gd name="T53" fmla="*/ 2147483647 h 386"/>
                    <a:gd name="T54" fmla="*/ 2147483647 w 627"/>
                    <a:gd name="T55" fmla="*/ 2147483647 h 386"/>
                    <a:gd name="T56" fmla="*/ 2147483647 w 627"/>
                    <a:gd name="T57" fmla="*/ 2147483647 h 386"/>
                    <a:gd name="T58" fmla="*/ 2147483647 w 627"/>
                    <a:gd name="T59" fmla="*/ 2147483647 h 386"/>
                    <a:gd name="T60" fmla="*/ 2147483647 w 627"/>
                    <a:gd name="T61" fmla="*/ 2147483647 h 386"/>
                    <a:gd name="T62" fmla="*/ 2147483647 w 627"/>
                    <a:gd name="T63" fmla="*/ 2147483647 h 386"/>
                    <a:gd name="T64" fmla="*/ 2147483647 w 627"/>
                    <a:gd name="T65" fmla="*/ 2147483647 h 386"/>
                    <a:gd name="T66" fmla="*/ 2147483647 w 627"/>
                    <a:gd name="T67" fmla="*/ 2147483647 h 386"/>
                    <a:gd name="T68" fmla="*/ 2147483647 w 627"/>
                    <a:gd name="T69" fmla="*/ 2147483647 h 386"/>
                    <a:gd name="T70" fmla="*/ 2147483647 w 627"/>
                    <a:gd name="T71" fmla="*/ 2147483647 h 386"/>
                    <a:gd name="T72" fmla="*/ 2147483647 w 627"/>
                    <a:gd name="T73" fmla="*/ 2147483647 h 386"/>
                    <a:gd name="T74" fmla="*/ 2147483647 w 627"/>
                    <a:gd name="T75" fmla="*/ 2147483647 h 386"/>
                    <a:gd name="T76" fmla="*/ 2147483647 w 627"/>
                    <a:gd name="T77" fmla="*/ 2147483647 h 386"/>
                    <a:gd name="T78" fmla="*/ 2147483647 w 627"/>
                    <a:gd name="T79" fmla="*/ 2147483647 h 386"/>
                    <a:gd name="T80" fmla="*/ 2147483647 w 627"/>
                    <a:gd name="T81" fmla="*/ 2147483647 h 386"/>
                    <a:gd name="T82" fmla="*/ 2147483647 w 627"/>
                    <a:gd name="T83" fmla="*/ 2147483647 h 386"/>
                    <a:gd name="T84" fmla="*/ 2147483647 w 627"/>
                    <a:gd name="T85" fmla="*/ 2147483647 h 386"/>
                    <a:gd name="T86" fmla="*/ 2147483647 w 627"/>
                    <a:gd name="T87" fmla="*/ 2147483647 h 386"/>
                    <a:gd name="T88" fmla="*/ 2147483647 w 627"/>
                    <a:gd name="T89" fmla="*/ 2147483647 h 386"/>
                    <a:gd name="T90" fmla="*/ 2147483647 w 627"/>
                    <a:gd name="T91" fmla="*/ 2147483647 h 386"/>
                    <a:gd name="T92" fmla="*/ 2147483647 w 627"/>
                    <a:gd name="T93" fmla="*/ 2147483647 h 386"/>
                    <a:gd name="T94" fmla="*/ 2147483647 w 627"/>
                    <a:gd name="T95" fmla="*/ 2147483647 h 386"/>
                    <a:gd name="T96" fmla="*/ 2147483647 w 627"/>
                    <a:gd name="T97" fmla="*/ 2147483647 h 386"/>
                    <a:gd name="T98" fmla="*/ 2147483647 w 627"/>
                    <a:gd name="T99" fmla="*/ 2147483647 h 386"/>
                    <a:gd name="T100" fmla="*/ 2147483647 w 627"/>
                    <a:gd name="T101" fmla="*/ 2147483647 h 386"/>
                    <a:gd name="T102" fmla="*/ 2147483647 w 627"/>
                    <a:gd name="T103" fmla="*/ 2147483647 h 386"/>
                    <a:gd name="T104" fmla="*/ 2147483647 w 627"/>
                    <a:gd name="T105" fmla="*/ 2147483647 h 386"/>
                    <a:gd name="T106" fmla="*/ 2147483647 w 627"/>
                    <a:gd name="T107" fmla="*/ 2147483647 h 386"/>
                    <a:gd name="T108" fmla="*/ 2147483647 w 627"/>
                    <a:gd name="T109" fmla="*/ 2147483647 h 386"/>
                    <a:gd name="T110" fmla="*/ 2147483647 w 627"/>
                    <a:gd name="T111" fmla="*/ 2147483647 h 386"/>
                    <a:gd name="T112" fmla="*/ 2147483647 w 627"/>
                    <a:gd name="T113" fmla="*/ 2147483647 h 386"/>
                    <a:gd name="T114" fmla="*/ 2147483647 w 627"/>
                    <a:gd name="T115" fmla="*/ 2147483647 h 386"/>
                    <a:gd name="T116" fmla="*/ 2147483647 w 627"/>
                    <a:gd name="T117" fmla="*/ 2147483647 h 386"/>
                    <a:gd name="T118" fmla="*/ 2147483647 w 627"/>
                    <a:gd name="T119" fmla="*/ 2147483647 h 386"/>
                    <a:gd name="T120" fmla="*/ 2147483647 w 627"/>
                    <a:gd name="T121" fmla="*/ 2147483647 h 386"/>
                    <a:gd name="T122" fmla="*/ 2147483647 w 627"/>
                    <a:gd name="T123" fmla="*/ 2147483647 h 386"/>
                    <a:gd name="T124" fmla="*/ 2147483647 w 627"/>
                    <a:gd name="T125" fmla="*/ 2147483647 h 38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27"/>
                    <a:gd name="T190" fmla="*/ 0 h 386"/>
                    <a:gd name="T191" fmla="*/ 627 w 627"/>
                    <a:gd name="T192" fmla="*/ 386 h 38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27" h="386">
                      <a:moveTo>
                        <a:pt x="115" y="28"/>
                      </a:moveTo>
                      <a:lnTo>
                        <a:pt x="115" y="26"/>
                      </a:lnTo>
                      <a:lnTo>
                        <a:pt x="117" y="26"/>
                      </a:lnTo>
                      <a:lnTo>
                        <a:pt x="119" y="26"/>
                      </a:lnTo>
                      <a:lnTo>
                        <a:pt x="120" y="24"/>
                      </a:lnTo>
                      <a:lnTo>
                        <a:pt x="120" y="23"/>
                      </a:lnTo>
                      <a:lnTo>
                        <a:pt x="122" y="23"/>
                      </a:lnTo>
                      <a:lnTo>
                        <a:pt x="124" y="23"/>
                      </a:lnTo>
                      <a:lnTo>
                        <a:pt x="127" y="21"/>
                      </a:lnTo>
                      <a:lnTo>
                        <a:pt x="130" y="19"/>
                      </a:lnTo>
                      <a:lnTo>
                        <a:pt x="132" y="19"/>
                      </a:lnTo>
                      <a:lnTo>
                        <a:pt x="134" y="19"/>
                      </a:lnTo>
                      <a:lnTo>
                        <a:pt x="136" y="19"/>
                      </a:lnTo>
                      <a:lnTo>
                        <a:pt x="137" y="18"/>
                      </a:lnTo>
                      <a:lnTo>
                        <a:pt x="139" y="16"/>
                      </a:lnTo>
                      <a:lnTo>
                        <a:pt x="139" y="14"/>
                      </a:lnTo>
                      <a:lnTo>
                        <a:pt x="141" y="14"/>
                      </a:lnTo>
                      <a:lnTo>
                        <a:pt x="141" y="13"/>
                      </a:lnTo>
                      <a:lnTo>
                        <a:pt x="142" y="13"/>
                      </a:lnTo>
                      <a:lnTo>
                        <a:pt x="144" y="9"/>
                      </a:lnTo>
                      <a:lnTo>
                        <a:pt x="146" y="9"/>
                      </a:lnTo>
                      <a:lnTo>
                        <a:pt x="146" y="11"/>
                      </a:lnTo>
                      <a:lnTo>
                        <a:pt x="146" y="13"/>
                      </a:lnTo>
                      <a:lnTo>
                        <a:pt x="147" y="11"/>
                      </a:lnTo>
                      <a:lnTo>
                        <a:pt x="149" y="11"/>
                      </a:lnTo>
                      <a:lnTo>
                        <a:pt x="149" y="9"/>
                      </a:lnTo>
                      <a:lnTo>
                        <a:pt x="151" y="9"/>
                      </a:lnTo>
                      <a:lnTo>
                        <a:pt x="151" y="8"/>
                      </a:lnTo>
                      <a:lnTo>
                        <a:pt x="152" y="8"/>
                      </a:lnTo>
                      <a:lnTo>
                        <a:pt x="152" y="6"/>
                      </a:lnTo>
                      <a:lnTo>
                        <a:pt x="154" y="6"/>
                      </a:lnTo>
                      <a:lnTo>
                        <a:pt x="156" y="5"/>
                      </a:lnTo>
                      <a:lnTo>
                        <a:pt x="157" y="5"/>
                      </a:lnTo>
                      <a:lnTo>
                        <a:pt x="161" y="3"/>
                      </a:lnTo>
                      <a:lnTo>
                        <a:pt x="163" y="3"/>
                      </a:lnTo>
                      <a:lnTo>
                        <a:pt x="164" y="5"/>
                      </a:lnTo>
                      <a:lnTo>
                        <a:pt x="166" y="5"/>
                      </a:lnTo>
                      <a:lnTo>
                        <a:pt x="168" y="8"/>
                      </a:lnTo>
                      <a:lnTo>
                        <a:pt x="169" y="8"/>
                      </a:lnTo>
                      <a:lnTo>
                        <a:pt x="171" y="6"/>
                      </a:lnTo>
                      <a:lnTo>
                        <a:pt x="173" y="6"/>
                      </a:lnTo>
                      <a:lnTo>
                        <a:pt x="174" y="6"/>
                      </a:lnTo>
                      <a:lnTo>
                        <a:pt x="176" y="8"/>
                      </a:lnTo>
                      <a:lnTo>
                        <a:pt x="178" y="8"/>
                      </a:lnTo>
                      <a:lnTo>
                        <a:pt x="179" y="9"/>
                      </a:lnTo>
                      <a:lnTo>
                        <a:pt x="181" y="9"/>
                      </a:lnTo>
                      <a:lnTo>
                        <a:pt x="183" y="9"/>
                      </a:lnTo>
                      <a:lnTo>
                        <a:pt x="185" y="9"/>
                      </a:lnTo>
                      <a:lnTo>
                        <a:pt x="186" y="8"/>
                      </a:lnTo>
                      <a:lnTo>
                        <a:pt x="188" y="6"/>
                      </a:lnTo>
                      <a:lnTo>
                        <a:pt x="190" y="6"/>
                      </a:lnTo>
                      <a:lnTo>
                        <a:pt x="191" y="5"/>
                      </a:lnTo>
                      <a:lnTo>
                        <a:pt x="193" y="5"/>
                      </a:lnTo>
                      <a:lnTo>
                        <a:pt x="193" y="3"/>
                      </a:lnTo>
                      <a:lnTo>
                        <a:pt x="195" y="3"/>
                      </a:lnTo>
                      <a:lnTo>
                        <a:pt x="195" y="5"/>
                      </a:lnTo>
                      <a:lnTo>
                        <a:pt x="196" y="6"/>
                      </a:lnTo>
                      <a:lnTo>
                        <a:pt x="198" y="8"/>
                      </a:lnTo>
                      <a:lnTo>
                        <a:pt x="200" y="8"/>
                      </a:lnTo>
                      <a:lnTo>
                        <a:pt x="201" y="9"/>
                      </a:lnTo>
                      <a:lnTo>
                        <a:pt x="203" y="9"/>
                      </a:lnTo>
                      <a:lnTo>
                        <a:pt x="205" y="8"/>
                      </a:lnTo>
                      <a:lnTo>
                        <a:pt x="206" y="8"/>
                      </a:lnTo>
                      <a:lnTo>
                        <a:pt x="208" y="8"/>
                      </a:lnTo>
                      <a:lnTo>
                        <a:pt x="210" y="8"/>
                      </a:lnTo>
                      <a:lnTo>
                        <a:pt x="212" y="8"/>
                      </a:lnTo>
                      <a:lnTo>
                        <a:pt x="213" y="9"/>
                      </a:lnTo>
                      <a:lnTo>
                        <a:pt x="215" y="9"/>
                      </a:lnTo>
                      <a:lnTo>
                        <a:pt x="217" y="9"/>
                      </a:lnTo>
                      <a:lnTo>
                        <a:pt x="218" y="9"/>
                      </a:lnTo>
                      <a:lnTo>
                        <a:pt x="220" y="9"/>
                      </a:lnTo>
                      <a:lnTo>
                        <a:pt x="222" y="9"/>
                      </a:lnTo>
                      <a:lnTo>
                        <a:pt x="223" y="9"/>
                      </a:lnTo>
                      <a:lnTo>
                        <a:pt x="225" y="8"/>
                      </a:lnTo>
                      <a:lnTo>
                        <a:pt x="227" y="8"/>
                      </a:lnTo>
                      <a:lnTo>
                        <a:pt x="227" y="9"/>
                      </a:lnTo>
                      <a:lnTo>
                        <a:pt x="228" y="9"/>
                      </a:lnTo>
                      <a:lnTo>
                        <a:pt x="228" y="11"/>
                      </a:lnTo>
                      <a:lnTo>
                        <a:pt x="228" y="13"/>
                      </a:lnTo>
                      <a:lnTo>
                        <a:pt x="228" y="14"/>
                      </a:lnTo>
                      <a:lnTo>
                        <a:pt x="230" y="13"/>
                      </a:lnTo>
                      <a:lnTo>
                        <a:pt x="232" y="13"/>
                      </a:lnTo>
                      <a:lnTo>
                        <a:pt x="232" y="11"/>
                      </a:lnTo>
                      <a:lnTo>
                        <a:pt x="233" y="11"/>
                      </a:lnTo>
                      <a:lnTo>
                        <a:pt x="235" y="11"/>
                      </a:lnTo>
                      <a:lnTo>
                        <a:pt x="235" y="9"/>
                      </a:lnTo>
                      <a:lnTo>
                        <a:pt x="233" y="8"/>
                      </a:lnTo>
                      <a:lnTo>
                        <a:pt x="233" y="6"/>
                      </a:lnTo>
                      <a:lnTo>
                        <a:pt x="235" y="6"/>
                      </a:lnTo>
                      <a:lnTo>
                        <a:pt x="235" y="5"/>
                      </a:lnTo>
                      <a:lnTo>
                        <a:pt x="235" y="1"/>
                      </a:lnTo>
                      <a:lnTo>
                        <a:pt x="237" y="1"/>
                      </a:lnTo>
                      <a:lnTo>
                        <a:pt x="237" y="0"/>
                      </a:lnTo>
                      <a:lnTo>
                        <a:pt x="239" y="0"/>
                      </a:lnTo>
                      <a:lnTo>
                        <a:pt x="240" y="0"/>
                      </a:lnTo>
                      <a:lnTo>
                        <a:pt x="242" y="0"/>
                      </a:lnTo>
                      <a:lnTo>
                        <a:pt x="244" y="1"/>
                      </a:lnTo>
                      <a:lnTo>
                        <a:pt x="245" y="1"/>
                      </a:lnTo>
                      <a:lnTo>
                        <a:pt x="247" y="1"/>
                      </a:lnTo>
                      <a:lnTo>
                        <a:pt x="249" y="1"/>
                      </a:lnTo>
                      <a:lnTo>
                        <a:pt x="250" y="1"/>
                      </a:lnTo>
                      <a:lnTo>
                        <a:pt x="250" y="3"/>
                      </a:lnTo>
                      <a:lnTo>
                        <a:pt x="254" y="3"/>
                      </a:lnTo>
                      <a:lnTo>
                        <a:pt x="255" y="5"/>
                      </a:lnTo>
                      <a:lnTo>
                        <a:pt x="257" y="5"/>
                      </a:lnTo>
                      <a:lnTo>
                        <a:pt x="257" y="6"/>
                      </a:lnTo>
                      <a:lnTo>
                        <a:pt x="259" y="6"/>
                      </a:lnTo>
                      <a:lnTo>
                        <a:pt x="261" y="8"/>
                      </a:lnTo>
                      <a:lnTo>
                        <a:pt x="261" y="9"/>
                      </a:lnTo>
                      <a:lnTo>
                        <a:pt x="262" y="9"/>
                      </a:lnTo>
                      <a:lnTo>
                        <a:pt x="264" y="9"/>
                      </a:lnTo>
                      <a:lnTo>
                        <a:pt x="266" y="9"/>
                      </a:lnTo>
                      <a:lnTo>
                        <a:pt x="267" y="9"/>
                      </a:lnTo>
                      <a:lnTo>
                        <a:pt x="269" y="8"/>
                      </a:lnTo>
                      <a:lnTo>
                        <a:pt x="271" y="8"/>
                      </a:lnTo>
                      <a:lnTo>
                        <a:pt x="272" y="8"/>
                      </a:lnTo>
                      <a:lnTo>
                        <a:pt x="274" y="9"/>
                      </a:lnTo>
                      <a:lnTo>
                        <a:pt x="276" y="11"/>
                      </a:lnTo>
                      <a:lnTo>
                        <a:pt x="276" y="13"/>
                      </a:lnTo>
                      <a:lnTo>
                        <a:pt x="277" y="13"/>
                      </a:lnTo>
                      <a:lnTo>
                        <a:pt x="279" y="13"/>
                      </a:lnTo>
                      <a:lnTo>
                        <a:pt x="281" y="13"/>
                      </a:lnTo>
                      <a:lnTo>
                        <a:pt x="282" y="13"/>
                      </a:lnTo>
                      <a:lnTo>
                        <a:pt x="284" y="13"/>
                      </a:lnTo>
                      <a:lnTo>
                        <a:pt x="286" y="13"/>
                      </a:lnTo>
                      <a:lnTo>
                        <a:pt x="288" y="14"/>
                      </a:lnTo>
                      <a:lnTo>
                        <a:pt x="289" y="14"/>
                      </a:lnTo>
                      <a:lnTo>
                        <a:pt x="291" y="16"/>
                      </a:lnTo>
                      <a:lnTo>
                        <a:pt x="293" y="16"/>
                      </a:lnTo>
                      <a:lnTo>
                        <a:pt x="293" y="14"/>
                      </a:lnTo>
                      <a:lnTo>
                        <a:pt x="294" y="14"/>
                      </a:lnTo>
                      <a:lnTo>
                        <a:pt x="296" y="14"/>
                      </a:lnTo>
                      <a:lnTo>
                        <a:pt x="296" y="16"/>
                      </a:lnTo>
                      <a:lnTo>
                        <a:pt x="298" y="14"/>
                      </a:lnTo>
                      <a:lnTo>
                        <a:pt x="299" y="14"/>
                      </a:lnTo>
                      <a:lnTo>
                        <a:pt x="301" y="13"/>
                      </a:lnTo>
                      <a:lnTo>
                        <a:pt x="303" y="11"/>
                      </a:lnTo>
                      <a:lnTo>
                        <a:pt x="304" y="11"/>
                      </a:lnTo>
                      <a:lnTo>
                        <a:pt x="304" y="13"/>
                      </a:lnTo>
                      <a:lnTo>
                        <a:pt x="306" y="13"/>
                      </a:lnTo>
                      <a:lnTo>
                        <a:pt x="308" y="13"/>
                      </a:lnTo>
                      <a:lnTo>
                        <a:pt x="309" y="13"/>
                      </a:lnTo>
                      <a:lnTo>
                        <a:pt x="311" y="13"/>
                      </a:lnTo>
                      <a:lnTo>
                        <a:pt x="313" y="13"/>
                      </a:lnTo>
                      <a:lnTo>
                        <a:pt x="315" y="14"/>
                      </a:lnTo>
                      <a:lnTo>
                        <a:pt x="316" y="13"/>
                      </a:lnTo>
                      <a:lnTo>
                        <a:pt x="318" y="13"/>
                      </a:lnTo>
                      <a:lnTo>
                        <a:pt x="320" y="13"/>
                      </a:lnTo>
                      <a:lnTo>
                        <a:pt x="320" y="14"/>
                      </a:lnTo>
                      <a:lnTo>
                        <a:pt x="321" y="14"/>
                      </a:lnTo>
                      <a:lnTo>
                        <a:pt x="321" y="16"/>
                      </a:lnTo>
                      <a:lnTo>
                        <a:pt x="323" y="18"/>
                      </a:lnTo>
                      <a:lnTo>
                        <a:pt x="325" y="19"/>
                      </a:lnTo>
                      <a:lnTo>
                        <a:pt x="326" y="19"/>
                      </a:lnTo>
                      <a:lnTo>
                        <a:pt x="328" y="19"/>
                      </a:lnTo>
                      <a:lnTo>
                        <a:pt x="328" y="21"/>
                      </a:lnTo>
                      <a:lnTo>
                        <a:pt x="330" y="21"/>
                      </a:lnTo>
                      <a:lnTo>
                        <a:pt x="331" y="21"/>
                      </a:lnTo>
                      <a:lnTo>
                        <a:pt x="333" y="21"/>
                      </a:lnTo>
                      <a:lnTo>
                        <a:pt x="335" y="23"/>
                      </a:lnTo>
                      <a:lnTo>
                        <a:pt x="337" y="23"/>
                      </a:lnTo>
                      <a:lnTo>
                        <a:pt x="338" y="23"/>
                      </a:lnTo>
                      <a:lnTo>
                        <a:pt x="340" y="23"/>
                      </a:lnTo>
                      <a:lnTo>
                        <a:pt x="343" y="24"/>
                      </a:lnTo>
                      <a:lnTo>
                        <a:pt x="345" y="24"/>
                      </a:lnTo>
                      <a:lnTo>
                        <a:pt x="347" y="24"/>
                      </a:lnTo>
                      <a:lnTo>
                        <a:pt x="348" y="24"/>
                      </a:lnTo>
                      <a:lnTo>
                        <a:pt x="350" y="26"/>
                      </a:lnTo>
                      <a:lnTo>
                        <a:pt x="352" y="24"/>
                      </a:lnTo>
                      <a:lnTo>
                        <a:pt x="353" y="24"/>
                      </a:lnTo>
                      <a:lnTo>
                        <a:pt x="355" y="24"/>
                      </a:lnTo>
                      <a:lnTo>
                        <a:pt x="357" y="26"/>
                      </a:lnTo>
                      <a:lnTo>
                        <a:pt x="358" y="28"/>
                      </a:lnTo>
                      <a:lnTo>
                        <a:pt x="360" y="28"/>
                      </a:lnTo>
                      <a:lnTo>
                        <a:pt x="360" y="29"/>
                      </a:lnTo>
                      <a:lnTo>
                        <a:pt x="360" y="31"/>
                      </a:lnTo>
                      <a:lnTo>
                        <a:pt x="362" y="31"/>
                      </a:lnTo>
                      <a:lnTo>
                        <a:pt x="362" y="32"/>
                      </a:lnTo>
                      <a:lnTo>
                        <a:pt x="364" y="32"/>
                      </a:lnTo>
                      <a:lnTo>
                        <a:pt x="364" y="34"/>
                      </a:lnTo>
                      <a:lnTo>
                        <a:pt x="364" y="36"/>
                      </a:lnTo>
                      <a:lnTo>
                        <a:pt x="364" y="37"/>
                      </a:lnTo>
                      <a:lnTo>
                        <a:pt x="364" y="39"/>
                      </a:lnTo>
                      <a:lnTo>
                        <a:pt x="365" y="39"/>
                      </a:lnTo>
                      <a:lnTo>
                        <a:pt x="367" y="39"/>
                      </a:lnTo>
                      <a:lnTo>
                        <a:pt x="369" y="39"/>
                      </a:lnTo>
                      <a:lnTo>
                        <a:pt x="369" y="41"/>
                      </a:lnTo>
                      <a:lnTo>
                        <a:pt x="370" y="41"/>
                      </a:lnTo>
                      <a:lnTo>
                        <a:pt x="372" y="39"/>
                      </a:lnTo>
                      <a:lnTo>
                        <a:pt x="374" y="36"/>
                      </a:lnTo>
                      <a:lnTo>
                        <a:pt x="375" y="34"/>
                      </a:lnTo>
                      <a:lnTo>
                        <a:pt x="377" y="34"/>
                      </a:lnTo>
                      <a:lnTo>
                        <a:pt x="379" y="34"/>
                      </a:lnTo>
                      <a:lnTo>
                        <a:pt x="379" y="36"/>
                      </a:lnTo>
                      <a:lnTo>
                        <a:pt x="380" y="36"/>
                      </a:lnTo>
                      <a:lnTo>
                        <a:pt x="380" y="37"/>
                      </a:lnTo>
                      <a:lnTo>
                        <a:pt x="382" y="37"/>
                      </a:lnTo>
                      <a:lnTo>
                        <a:pt x="384" y="36"/>
                      </a:lnTo>
                      <a:lnTo>
                        <a:pt x="384" y="34"/>
                      </a:lnTo>
                      <a:lnTo>
                        <a:pt x="385" y="34"/>
                      </a:lnTo>
                      <a:lnTo>
                        <a:pt x="387" y="36"/>
                      </a:lnTo>
                      <a:lnTo>
                        <a:pt x="389" y="36"/>
                      </a:lnTo>
                      <a:lnTo>
                        <a:pt x="389" y="37"/>
                      </a:lnTo>
                      <a:lnTo>
                        <a:pt x="391" y="37"/>
                      </a:lnTo>
                      <a:lnTo>
                        <a:pt x="391" y="39"/>
                      </a:lnTo>
                      <a:lnTo>
                        <a:pt x="392" y="39"/>
                      </a:lnTo>
                      <a:lnTo>
                        <a:pt x="392" y="37"/>
                      </a:lnTo>
                      <a:lnTo>
                        <a:pt x="394" y="37"/>
                      </a:lnTo>
                      <a:lnTo>
                        <a:pt x="396" y="39"/>
                      </a:lnTo>
                      <a:lnTo>
                        <a:pt x="397" y="39"/>
                      </a:lnTo>
                      <a:lnTo>
                        <a:pt x="399" y="39"/>
                      </a:lnTo>
                      <a:lnTo>
                        <a:pt x="399" y="37"/>
                      </a:lnTo>
                      <a:lnTo>
                        <a:pt x="399" y="36"/>
                      </a:lnTo>
                      <a:lnTo>
                        <a:pt x="401" y="36"/>
                      </a:lnTo>
                      <a:lnTo>
                        <a:pt x="402" y="36"/>
                      </a:lnTo>
                      <a:lnTo>
                        <a:pt x="404" y="36"/>
                      </a:lnTo>
                      <a:lnTo>
                        <a:pt x="406" y="36"/>
                      </a:lnTo>
                      <a:lnTo>
                        <a:pt x="406" y="37"/>
                      </a:lnTo>
                      <a:lnTo>
                        <a:pt x="407" y="37"/>
                      </a:lnTo>
                      <a:lnTo>
                        <a:pt x="407" y="39"/>
                      </a:lnTo>
                      <a:lnTo>
                        <a:pt x="409" y="39"/>
                      </a:lnTo>
                      <a:lnTo>
                        <a:pt x="411" y="39"/>
                      </a:lnTo>
                      <a:lnTo>
                        <a:pt x="411" y="37"/>
                      </a:lnTo>
                      <a:lnTo>
                        <a:pt x="413" y="37"/>
                      </a:lnTo>
                      <a:lnTo>
                        <a:pt x="414" y="37"/>
                      </a:lnTo>
                      <a:lnTo>
                        <a:pt x="416" y="37"/>
                      </a:lnTo>
                      <a:lnTo>
                        <a:pt x="416" y="39"/>
                      </a:lnTo>
                      <a:lnTo>
                        <a:pt x="418" y="39"/>
                      </a:lnTo>
                      <a:lnTo>
                        <a:pt x="419" y="39"/>
                      </a:lnTo>
                      <a:lnTo>
                        <a:pt x="421" y="39"/>
                      </a:lnTo>
                      <a:lnTo>
                        <a:pt x="423" y="39"/>
                      </a:lnTo>
                      <a:lnTo>
                        <a:pt x="424" y="39"/>
                      </a:lnTo>
                      <a:lnTo>
                        <a:pt x="424" y="37"/>
                      </a:lnTo>
                      <a:lnTo>
                        <a:pt x="426" y="37"/>
                      </a:lnTo>
                      <a:lnTo>
                        <a:pt x="428" y="39"/>
                      </a:lnTo>
                      <a:lnTo>
                        <a:pt x="428" y="37"/>
                      </a:lnTo>
                      <a:lnTo>
                        <a:pt x="429" y="37"/>
                      </a:lnTo>
                      <a:lnTo>
                        <a:pt x="431" y="36"/>
                      </a:lnTo>
                      <a:lnTo>
                        <a:pt x="431" y="37"/>
                      </a:lnTo>
                      <a:lnTo>
                        <a:pt x="433" y="37"/>
                      </a:lnTo>
                      <a:lnTo>
                        <a:pt x="434" y="36"/>
                      </a:lnTo>
                      <a:lnTo>
                        <a:pt x="434" y="34"/>
                      </a:lnTo>
                      <a:lnTo>
                        <a:pt x="436" y="36"/>
                      </a:lnTo>
                      <a:lnTo>
                        <a:pt x="438" y="36"/>
                      </a:lnTo>
                      <a:lnTo>
                        <a:pt x="438" y="37"/>
                      </a:lnTo>
                      <a:lnTo>
                        <a:pt x="440" y="37"/>
                      </a:lnTo>
                      <a:lnTo>
                        <a:pt x="440" y="36"/>
                      </a:lnTo>
                      <a:lnTo>
                        <a:pt x="440" y="34"/>
                      </a:lnTo>
                      <a:lnTo>
                        <a:pt x="441" y="34"/>
                      </a:lnTo>
                      <a:lnTo>
                        <a:pt x="443" y="36"/>
                      </a:lnTo>
                      <a:lnTo>
                        <a:pt x="443" y="37"/>
                      </a:lnTo>
                      <a:lnTo>
                        <a:pt x="443" y="39"/>
                      </a:lnTo>
                      <a:lnTo>
                        <a:pt x="441" y="39"/>
                      </a:lnTo>
                      <a:lnTo>
                        <a:pt x="441" y="41"/>
                      </a:lnTo>
                      <a:lnTo>
                        <a:pt x="443" y="41"/>
                      </a:lnTo>
                      <a:lnTo>
                        <a:pt x="443" y="42"/>
                      </a:lnTo>
                      <a:lnTo>
                        <a:pt x="445" y="42"/>
                      </a:lnTo>
                      <a:lnTo>
                        <a:pt x="446" y="42"/>
                      </a:lnTo>
                      <a:lnTo>
                        <a:pt x="448" y="42"/>
                      </a:lnTo>
                      <a:lnTo>
                        <a:pt x="448" y="44"/>
                      </a:lnTo>
                      <a:lnTo>
                        <a:pt x="448" y="46"/>
                      </a:lnTo>
                      <a:lnTo>
                        <a:pt x="448" y="47"/>
                      </a:lnTo>
                      <a:lnTo>
                        <a:pt x="448" y="49"/>
                      </a:lnTo>
                      <a:lnTo>
                        <a:pt x="450" y="49"/>
                      </a:lnTo>
                      <a:lnTo>
                        <a:pt x="451" y="49"/>
                      </a:lnTo>
                      <a:lnTo>
                        <a:pt x="451" y="51"/>
                      </a:lnTo>
                      <a:lnTo>
                        <a:pt x="453" y="51"/>
                      </a:lnTo>
                      <a:lnTo>
                        <a:pt x="455" y="51"/>
                      </a:lnTo>
                      <a:lnTo>
                        <a:pt x="456" y="51"/>
                      </a:lnTo>
                      <a:lnTo>
                        <a:pt x="458" y="52"/>
                      </a:lnTo>
                      <a:lnTo>
                        <a:pt x="460" y="54"/>
                      </a:lnTo>
                      <a:lnTo>
                        <a:pt x="461" y="54"/>
                      </a:lnTo>
                      <a:lnTo>
                        <a:pt x="463" y="54"/>
                      </a:lnTo>
                      <a:lnTo>
                        <a:pt x="463" y="52"/>
                      </a:lnTo>
                      <a:lnTo>
                        <a:pt x="465" y="54"/>
                      </a:lnTo>
                      <a:lnTo>
                        <a:pt x="465" y="55"/>
                      </a:lnTo>
                      <a:lnTo>
                        <a:pt x="465" y="57"/>
                      </a:lnTo>
                      <a:lnTo>
                        <a:pt x="467" y="57"/>
                      </a:lnTo>
                      <a:lnTo>
                        <a:pt x="467" y="59"/>
                      </a:lnTo>
                      <a:lnTo>
                        <a:pt x="468" y="57"/>
                      </a:lnTo>
                      <a:lnTo>
                        <a:pt x="467" y="59"/>
                      </a:lnTo>
                      <a:lnTo>
                        <a:pt x="468" y="59"/>
                      </a:lnTo>
                      <a:lnTo>
                        <a:pt x="470" y="59"/>
                      </a:lnTo>
                      <a:lnTo>
                        <a:pt x="470" y="60"/>
                      </a:lnTo>
                      <a:lnTo>
                        <a:pt x="472" y="60"/>
                      </a:lnTo>
                      <a:lnTo>
                        <a:pt x="472" y="62"/>
                      </a:lnTo>
                      <a:lnTo>
                        <a:pt x="472" y="64"/>
                      </a:lnTo>
                      <a:lnTo>
                        <a:pt x="472" y="65"/>
                      </a:lnTo>
                      <a:lnTo>
                        <a:pt x="473" y="65"/>
                      </a:lnTo>
                      <a:lnTo>
                        <a:pt x="473" y="67"/>
                      </a:lnTo>
                      <a:lnTo>
                        <a:pt x="473" y="69"/>
                      </a:lnTo>
                      <a:lnTo>
                        <a:pt x="475" y="69"/>
                      </a:lnTo>
                      <a:lnTo>
                        <a:pt x="475" y="70"/>
                      </a:lnTo>
                      <a:lnTo>
                        <a:pt x="475" y="72"/>
                      </a:lnTo>
                      <a:lnTo>
                        <a:pt x="475" y="74"/>
                      </a:lnTo>
                      <a:lnTo>
                        <a:pt x="475" y="75"/>
                      </a:lnTo>
                      <a:lnTo>
                        <a:pt x="473" y="75"/>
                      </a:lnTo>
                      <a:lnTo>
                        <a:pt x="473" y="77"/>
                      </a:lnTo>
                      <a:lnTo>
                        <a:pt x="475" y="77"/>
                      </a:lnTo>
                      <a:lnTo>
                        <a:pt x="477" y="77"/>
                      </a:lnTo>
                      <a:lnTo>
                        <a:pt x="478" y="77"/>
                      </a:lnTo>
                      <a:lnTo>
                        <a:pt x="477" y="78"/>
                      </a:lnTo>
                      <a:lnTo>
                        <a:pt x="478" y="78"/>
                      </a:lnTo>
                      <a:lnTo>
                        <a:pt x="478" y="80"/>
                      </a:lnTo>
                      <a:lnTo>
                        <a:pt x="477" y="78"/>
                      </a:lnTo>
                      <a:lnTo>
                        <a:pt x="477" y="80"/>
                      </a:lnTo>
                      <a:lnTo>
                        <a:pt x="475" y="80"/>
                      </a:lnTo>
                      <a:lnTo>
                        <a:pt x="477" y="80"/>
                      </a:lnTo>
                      <a:lnTo>
                        <a:pt x="477" y="82"/>
                      </a:lnTo>
                      <a:lnTo>
                        <a:pt x="478" y="82"/>
                      </a:lnTo>
                      <a:lnTo>
                        <a:pt x="478" y="83"/>
                      </a:lnTo>
                      <a:lnTo>
                        <a:pt x="480" y="83"/>
                      </a:lnTo>
                      <a:lnTo>
                        <a:pt x="480" y="85"/>
                      </a:lnTo>
                      <a:lnTo>
                        <a:pt x="480" y="83"/>
                      </a:lnTo>
                      <a:lnTo>
                        <a:pt x="478" y="83"/>
                      </a:lnTo>
                      <a:lnTo>
                        <a:pt x="477" y="85"/>
                      </a:lnTo>
                      <a:lnTo>
                        <a:pt x="477" y="87"/>
                      </a:lnTo>
                      <a:lnTo>
                        <a:pt x="477" y="88"/>
                      </a:lnTo>
                      <a:lnTo>
                        <a:pt x="477" y="87"/>
                      </a:lnTo>
                      <a:lnTo>
                        <a:pt x="475" y="87"/>
                      </a:lnTo>
                      <a:lnTo>
                        <a:pt x="477" y="88"/>
                      </a:lnTo>
                      <a:lnTo>
                        <a:pt x="475" y="88"/>
                      </a:lnTo>
                      <a:lnTo>
                        <a:pt x="475" y="90"/>
                      </a:lnTo>
                      <a:lnTo>
                        <a:pt x="477" y="90"/>
                      </a:lnTo>
                      <a:lnTo>
                        <a:pt x="475" y="90"/>
                      </a:lnTo>
                      <a:lnTo>
                        <a:pt x="475" y="92"/>
                      </a:lnTo>
                      <a:lnTo>
                        <a:pt x="477" y="93"/>
                      </a:lnTo>
                      <a:lnTo>
                        <a:pt x="477" y="95"/>
                      </a:lnTo>
                      <a:lnTo>
                        <a:pt x="477" y="97"/>
                      </a:lnTo>
                      <a:lnTo>
                        <a:pt x="477" y="98"/>
                      </a:lnTo>
                      <a:lnTo>
                        <a:pt x="475" y="98"/>
                      </a:lnTo>
                      <a:lnTo>
                        <a:pt x="475" y="100"/>
                      </a:lnTo>
                      <a:lnTo>
                        <a:pt x="477" y="100"/>
                      </a:lnTo>
                      <a:lnTo>
                        <a:pt x="475" y="100"/>
                      </a:lnTo>
                      <a:lnTo>
                        <a:pt x="477" y="101"/>
                      </a:lnTo>
                      <a:lnTo>
                        <a:pt x="477" y="103"/>
                      </a:lnTo>
                      <a:lnTo>
                        <a:pt x="475" y="103"/>
                      </a:lnTo>
                      <a:lnTo>
                        <a:pt x="477" y="103"/>
                      </a:lnTo>
                      <a:lnTo>
                        <a:pt x="478" y="105"/>
                      </a:lnTo>
                      <a:lnTo>
                        <a:pt x="478" y="106"/>
                      </a:lnTo>
                      <a:lnTo>
                        <a:pt x="480" y="106"/>
                      </a:lnTo>
                      <a:lnTo>
                        <a:pt x="480" y="108"/>
                      </a:lnTo>
                      <a:lnTo>
                        <a:pt x="482" y="108"/>
                      </a:lnTo>
                      <a:lnTo>
                        <a:pt x="482" y="110"/>
                      </a:lnTo>
                      <a:lnTo>
                        <a:pt x="482" y="111"/>
                      </a:lnTo>
                      <a:lnTo>
                        <a:pt x="480" y="111"/>
                      </a:lnTo>
                      <a:lnTo>
                        <a:pt x="480" y="113"/>
                      </a:lnTo>
                      <a:lnTo>
                        <a:pt x="480" y="115"/>
                      </a:lnTo>
                      <a:lnTo>
                        <a:pt x="480" y="116"/>
                      </a:lnTo>
                      <a:lnTo>
                        <a:pt x="482" y="116"/>
                      </a:lnTo>
                      <a:lnTo>
                        <a:pt x="480" y="116"/>
                      </a:lnTo>
                      <a:lnTo>
                        <a:pt x="480" y="118"/>
                      </a:lnTo>
                      <a:lnTo>
                        <a:pt x="482" y="118"/>
                      </a:lnTo>
                      <a:lnTo>
                        <a:pt x="480" y="119"/>
                      </a:lnTo>
                      <a:lnTo>
                        <a:pt x="478" y="119"/>
                      </a:lnTo>
                      <a:lnTo>
                        <a:pt x="478" y="121"/>
                      </a:lnTo>
                      <a:lnTo>
                        <a:pt x="477" y="121"/>
                      </a:lnTo>
                      <a:lnTo>
                        <a:pt x="478" y="121"/>
                      </a:lnTo>
                      <a:lnTo>
                        <a:pt x="477" y="123"/>
                      </a:lnTo>
                      <a:lnTo>
                        <a:pt x="477" y="121"/>
                      </a:lnTo>
                      <a:lnTo>
                        <a:pt x="477" y="123"/>
                      </a:lnTo>
                      <a:lnTo>
                        <a:pt x="477" y="124"/>
                      </a:lnTo>
                      <a:lnTo>
                        <a:pt x="478" y="124"/>
                      </a:lnTo>
                      <a:lnTo>
                        <a:pt x="478" y="126"/>
                      </a:lnTo>
                      <a:lnTo>
                        <a:pt x="478" y="124"/>
                      </a:lnTo>
                      <a:lnTo>
                        <a:pt x="480" y="124"/>
                      </a:lnTo>
                      <a:lnTo>
                        <a:pt x="480" y="126"/>
                      </a:lnTo>
                      <a:lnTo>
                        <a:pt x="480" y="128"/>
                      </a:lnTo>
                      <a:lnTo>
                        <a:pt x="482" y="128"/>
                      </a:lnTo>
                      <a:lnTo>
                        <a:pt x="482" y="129"/>
                      </a:lnTo>
                      <a:lnTo>
                        <a:pt x="483" y="129"/>
                      </a:lnTo>
                      <a:lnTo>
                        <a:pt x="485" y="128"/>
                      </a:lnTo>
                      <a:lnTo>
                        <a:pt x="485" y="129"/>
                      </a:lnTo>
                      <a:lnTo>
                        <a:pt x="485" y="131"/>
                      </a:lnTo>
                      <a:lnTo>
                        <a:pt x="487" y="131"/>
                      </a:lnTo>
                      <a:lnTo>
                        <a:pt x="487" y="133"/>
                      </a:lnTo>
                      <a:lnTo>
                        <a:pt x="485" y="133"/>
                      </a:lnTo>
                      <a:lnTo>
                        <a:pt x="487" y="133"/>
                      </a:lnTo>
                      <a:lnTo>
                        <a:pt x="487" y="134"/>
                      </a:lnTo>
                      <a:lnTo>
                        <a:pt x="487" y="136"/>
                      </a:lnTo>
                      <a:lnTo>
                        <a:pt x="489" y="136"/>
                      </a:lnTo>
                      <a:lnTo>
                        <a:pt x="489" y="138"/>
                      </a:lnTo>
                      <a:lnTo>
                        <a:pt x="487" y="138"/>
                      </a:lnTo>
                      <a:lnTo>
                        <a:pt x="489" y="138"/>
                      </a:lnTo>
                      <a:lnTo>
                        <a:pt x="487" y="138"/>
                      </a:lnTo>
                      <a:lnTo>
                        <a:pt x="489" y="138"/>
                      </a:lnTo>
                      <a:lnTo>
                        <a:pt x="490" y="138"/>
                      </a:lnTo>
                      <a:lnTo>
                        <a:pt x="490" y="139"/>
                      </a:lnTo>
                      <a:lnTo>
                        <a:pt x="490" y="141"/>
                      </a:lnTo>
                      <a:lnTo>
                        <a:pt x="492" y="141"/>
                      </a:lnTo>
                      <a:lnTo>
                        <a:pt x="492" y="142"/>
                      </a:lnTo>
                      <a:lnTo>
                        <a:pt x="494" y="142"/>
                      </a:lnTo>
                      <a:lnTo>
                        <a:pt x="494" y="144"/>
                      </a:lnTo>
                      <a:lnTo>
                        <a:pt x="495" y="144"/>
                      </a:lnTo>
                      <a:lnTo>
                        <a:pt x="495" y="146"/>
                      </a:lnTo>
                      <a:lnTo>
                        <a:pt x="497" y="146"/>
                      </a:lnTo>
                      <a:lnTo>
                        <a:pt x="497" y="147"/>
                      </a:lnTo>
                      <a:lnTo>
                        <a:pt x="497" y="146"/>
                      </a:lnTo>
                      <a:lnTo>
                        <a:pt x="499" y="147"/>
                      </a:lnTo>
                      <a:lnTo>
                        <a:pt x="499" y="146"/>
                      </a:lnTo>
                      <a:lnTo>
                        <a:pt x="499" y="147"/>
                      </a:lnTo>
                      <a:lnTo>
                        <a:pt x="500" y="147"/>
                      </a:lnTo>
                      <a:lnTo>
                        <a:pt x="499" y="147"/>
                      </a:lnTo>
                      <a:lnTo>
                        <a:pt x="500" y="147"/>
                      </a:lnTo>
                      <a:lnTo>
                        <a:pt x="502" y="149"/>
                      </a:lnTo>
                      <a:lnTo>
                        <a:pt x="502" y="151"/>
                      </a:lnTo>
                      <a:lnTo>
                        <a:pt x="502" y="152"/>
                      </a:lnTo>
                      <a:lnTo>
                        <a:pt x="502" y="154"/>
                      </a:lnTo>
                      <a:lnTo>
                        <a:pt x="500" y="156"/>
                      </a:lnTo>
                      <a:lnTo>
                        <a:pt x="502" y="156"/>
                      </a:lnTo>
                      <a:lnTo>
                        <a:pt x="502" y="157"/>
                      </a:lnTo>
                      <a:lnTo>
                        <a:pt x="504" y="157"/>
                      </a:lnTo>
                      <a:lnTo>
                        <a:pt x="504" y="159"/>
                      </a:lnTo>
                      <a:lnTo>
                        <a:pt x="505" y="159"/>
                      </a:lnTo>
                      <a:lnTo>
                        <a:pt x="505" y="161"/>
                      </a:lnTo>
                      <a:lnTo>
                        <a:pt x="505" y="162"/>
                      </a:lnTo>
                      <a:lnTo>
                        <a:pt x="507" y="162"/>
                      </a:lnTo>
                      <a:lnTo>
                        <a:pt x="507" y="164"/>
                      </a:lnTo>
                      <a:lnTo>
                        <a:pt x="509" y="164"/>
                      </a:lnTo>
                      <a:lnTo>
                        <a:pt x="509" y="165"/>
                      </a:lnTo>
                      <a:lnTo>
                        <a:pt x="510" y="165"/>
                      </a:lnTo>
                      <a:lnTo>
                        <a:pt x="510" y="167"/>
                      </a:lnTo>
                      <a:lnTo>
                        <a:pt x="512" y="167"/>
                      </a:lnTo>
                      <a:lnTo>
                        <a:pt x="512" y="165"/>
                      </a:lnTo>
                      <a:lnTo>
                        <a:pt x="512" y="167"/>
                      </a:lnTo>
                      <a:lnTo>
                        <a:pt x="514" y="167"/>
                      </a:lnTo>
                      <a:lnTo>
                        <a:pt x="516" y="167"/>
                      </a:lnTo>
                      <a:lnTo>
                        <a:pt x="514" y="167"/>
                      </a:lnTo>
                      <a:lnTo>
                        <a:pt x="516" y="167"/>
                      </a:lnTo>
                      <a:lnTo>
                        <a:pt x="514" y="169"/>
                      </a:lnTo>
                      <a:lnTo>
                        <a:pt x="512" y="169"/>
                      </a:lnTo>
                      <a:lnTo>
                        <a:pt x="512" y="170"/>
                      </a:lnTo>
                      <a:lnTo>
                        <a:pt x="512" y="172"/>
                      </a:lnTo>
                      <a:lnTo>
                        <a:pt x="510" y="172"/>
                      </a:lnTo>
                      <a:lnTo>
                        <a:pt x="510" y="174"/>
                      </a:lnTo>
                      <a:lnTo>
                        <a:pt x="512" y="174"/>
                      </a:lnTo>
                      <a:lnTo>
                        <a:pt x="510" y="175"/>
                      </a:lnTo>
                      <a:lnTo>
                        <a:pt x="510" y="177"/>
                      </a:lnTo>
                      <a:lnTo>
                        <a:pt x="510" y="179"/>
                      </a:lnTo>
                      <a:lnTo>
                        <a:pt x="510" y="180"/>
                      </a:lnTo>
                      <a:lnTo>
                        <a:pt x="509" y="180"/>
                      </a:lnTo>
                      <a:lnTo>
                        <a:pt x="509" y="182"/>
                      </a:lnTo>
                      <a:lnTo>
                        <a:pt x="507" y="182"/>
                      </a:lnTo>
                      <a:lnTo>
                        <a:pt x="505" y="182"/>
                      </a:lnTo>
                      <a:lnTo>
                        <a:pt x="507" y="184"/>
                      </a:lnTo>
                      <a:lnTo>
                        <a:pt x="507" y="185"/>
                      </a:lnTo>
                      <a:lnTo>
                        <a:pt x="507" y="187"/>
                      </a:lnTo>
                      <a:lnTo>
                        <a:pt x="505" y="187"/>
                      </a:lnTo>
                      <a:lnTo>
                        <a:pt x="504" y="187"/>
                      </a:lnTo>
                      <a:lnTo>
                        <a:pt x="504" y="188"/>
                      </a:lnTo>
                      <a:lnTo>
                        <a:pt x="505" y="190"/>
                      </a:lnTo>
                      <a:lnTo>
                        <a:pt x="504" y="190"/>
                      </a:lnTo>
                      <a:lnTo>
                        <a:pt x="505" y="190"/>
                      </a:lnTo>
                      <a:lnTo>
                        <a:pt x="505" y="192"/>
                      </a:lnTo>
                      <a:lnTo>
                        <a:pt x="504" y="192"/>
                      </a:lnTo>
                      <a:lnTo>
                        <a:pt x="505" y="193"/>
                      </a:lnTo>
                      <a:lnTo>
                        <a:pt x="504" y="193"/>
                      </a:lnTo>
                      <a:lnTo>
                        <a:pt x="504" y="195"/>
                      </a:lnTo>
                      <a:lnTo>
                        <a:pt x="505" y="195"/>
                      </a:lnTo>
                      <a:lnTo>
                        <a:pt x="505" y="197"/>
                      </a:lnTo>
                      <a:lnTo>
                        <a:pt x="504" y="197"/>
                      </a:lnTo>
                      <a:lnTo>
                        <a:pt x="505" y="197"/>
                      </a:lnTo>
                      <a:lnTo>
                        <a:pt x="505" y="198"/>
                      </a:lnTo>
                      <a:lnTo>
                        <a:pt x="507" y="198"/>
                      </a:lnTo>
                      <a:lnTo>
                        <a:pt x="507" y="200"/>
                      </a:lnTo>
                      <a:lnTo>
                        <a:pt x="509" y="200"/>
                      </a:lnTo>
                      <a:lnTo>
                        <a:pt x="510" y="200"/>
                      </a:lnTo>
                      <a:lnTo>
                        <a:pt x="512" y="200"/>
                      </a:lnTo>
                      <a:lnTo>
                        <a:pt x="514" y="200"/>
                      </a:lnTo>
                      <a:lnTo>
                        <a:pt x="514" y="198"/>
                      </a:lnTo>
                      <a:lnTo>
                        <a:pt x="516" y="198"/>
                      </a:lnTo>
                      <a:lnTo>
                        <a:pt x="517" y="198"/>
                      </a:lnTo>
                      <a:lnTo>
                        <a:pt x="519" y="198"/>
                      </a:lnTo>
                      <a:lnTo>
                        <a:pt x="521" y="198"/>
                      </a:lnTo>
                      <a:lnTo>
                        <a:pt x="522" y="198"/>
                      </a:lnTo>
                      <a:lnTo>
                        <a:pt x="522" y="200"/>
                      </a:lnTo>
                      <a:lnTo>
                        <a:pt x="524" y="200"/>
                      </a:lnTo>
                      <a:lnTo>
                        <a:pt x="524" y="198"/>
                      </a:lnTo>
                      <a:lnTo>
                        <a:pt x="526" y="198"/>
                      </a:lnTo>
                      <a:lnTo>
                        <a:pt x="527" y="198"/>
                      </a:lnTo>
                      <a:lnTo>
                        <a:pt x="529" y="198"/>
                      </a:lnTo>
                      <a:lnTo>
                        <a:pt x="529" y="197"/>
                      </a:lnTo>
                      <a:lnTo>
                        <a:pt x="531" y="197"/>
                      </a:lnTo>
                      <a:lnTo>
                        <a:pt x="531" y="195"/>
                      </a:lnTo>
                      <a:lnTo>
                        <a:pt x="532" y="195"/>
                      </a:lnTo>
                      <a:lnTo>
                        <a:pt x="534" y="195"/>
                      </a:lnTo>
                      <a:lnTo>
                        <a:pt x="532" y="197"/>
                      </a:lnTo>
                      <a:lnTo>
                        <a:pt x="534" y="197"/>
                      </a:lnTo>
                      <a:lnTo>
                        <a:pt x="536" y="197"/>
                      </a:lnTo>
                      <a:lnTo>
                        <a:pt x="536" y="198"/>
                      </a:lnTo>
                      <a:lnTo>
                        <a:pt x="537" y="198"/>
                      </a:lnTo>
                      <a:lnTo>
                        <a:pt x="539" y="198"/>
                      </a:lnTo>
                      <a:lnTo>
                        <a:pt x="541" y="198"/>
                      </a:lnTo>
                      <a:lnTo>
                        <a:pt x="543" y="198"/>
                      </a:lnTo>
                      <a:lnTo>
                        <a:pt x="544" y="198"/>
                      </a:lnTo>
                      <a:lnTo>
                        <a:pt x="546" y="197"/>
                      </a:lnTo>
                      <a:lnTo>
                        <a:pt x="546" y="198"/>
                      </a:lnTo>
                      <a:lnTo>
                        <a:pt x="548" y="197"/>
                      </a:lnTo>
                      <a:lnTo>
                        <a:pt x="548" y="198"/>
                      </a:lnTo>
                      <a:lnTo>
                        <a:pt x="549" y="198"/>
                      </a:lnTo>
                      <a:lnTo>
                        <a:pt x="548" y="198"/>
                      </a:lnTo>
                      <a:lnTo>
                        <a:pt x="548" y="197"/>
                      </a:lnTo>
                      <a:lnTo>
                        <a:pt x="549" y="197"/>
                      </a:lnTo>
                      <a:lnTo>
                        <a:pt x="551" y="197"/>
                      </a:lnTo>
                      <a:lnTo>
                        <a:pt x="553" y="198"/>
                      </a:lnTo>
                      <a:lnTo>
                        <a:pt x="554" y="198"/>
                      </a:lnTo>
                      <a:lnTo>
                        <a:pt x="554" y="200"/>
                      </a:lnTo>
                      <a:lnTo>
                        <a:pt x="556" y="200"/>
                      </a:lnTo>
                      <a:lnTo>
                        <a:pt x="556" y="198"/>
                      </a:lnTo>
                      <a:lnTo>
                        <a:pt x="558" y="198"/>
                      </a:lnTo>
                      <a:lnTo>
                        <a:pt x="558" y="200"/>
                      </a:lnTo>
                      <a:lnTo>
                        <a:pt x="559" y="200"/>
                      </a:lnTo>
                      <a:lnTo>
                        <a:pt x="559" y="198"/>
                      </a:lnTo>
                      <a:lnTo>
                        <a:pt x="559" y="200"/>
                      </a:lnTo>
                      <a:lnTo>
                        <a:pt x="559" y="198"/>
                      </a:lnTo>
                      <a:lnTo>
                        <a:pt x="561" y="198"/>
                      </a:lnTo>
                      <a:lnTo>
                        <a:pt x="563" y="198"/>
                      </a:lnTo>
                      <a:lnTo>
                        <a:pt x="563" y="200"/>
                      </a:lnTo>
                      <a:lnTo>
                        <a:pt x="563" y="198"/>
                      </a:lnTo>
                      <a:lnTo>
                        <a:pt x="563" y="197"/>
                      </a:lnTo>
                      <a:lnTo>
                        <a:pt x="565" y="198"/>
                      </a:lnTo>
                      <a:lnTo>
                        <a:pt x="565" y="200"/>
                      </a:lnTo>
                      <a:lnTo>
                        <a:pt x="566" y="200"/>
                      </a:lnTo>
                      <a:lnTo>
                        <a:pt x="566" y="202"/>
                      </a:lnTo>
                      <a:lnTo>
                        <a:pt x="566" y="200"/>
                      </a:lnTo>
                      <a:lnTo>
                        <a:pt x="568" y="200"/>
                      </a:lnTo>
                      <a:lnTo>
                        <a:pt x="568" y="198"/>
                      </a:lnTo>
                      <a:lnTo>
                        <a:pt x="570" y="198"/>
                      </a:lnTo>
                      <a:lnTo>
                        <a:pt x="571" y="198"/>
                      </a:lnTo>
                      <a:lnTo>
                        <a:pt x="573" y="198"/>
                      </a:lnTo>
                      <a:lnTo>
                        <a:pt x="575" y="198"/>
                      </a:lnTo>
                      <a:lnTo>
                        <a:pt x="575" y="200"/>
                      </a:lnTo>
                      <a:lnTo>
                        <a:pt x="575" y="202"/>
                      </a:lnTo>
                      <a:lnTo>
                        <a:pt x="576" y="202"/>
                      </a:lnTo>
                      <a:lnTo>
                        <a:pt x="578" y="202"/>
                      </a:lnTo>
                      <a:lnTo>
                        <a:pt x="576" y="202"/>
                      </a:lnTo>
                      <a:lnTo>
                        <a:pt x="578" y="203"/>
                      </a:lnTo>
                      <a:lnTo>
                        <a:pt x="580" y="203"/>
                      </a:lnTo>
                      <a:lnTo>
                        <a:pt x="580" y="205"/>
                      </a:lnTo>
                      <a:lnTo>
                        <a:pt x="581" y="203"/>
                      </a:lnTo>
                      <a:lnTo>
                        <a:pt x="581" y="205"/>
                      </a:lnTo>
                      <a:lnTo>
                        <a:pt x="581" y="207"/>
                      </a:lnTo>
                      <a:lnTo>
                        <a:pt x="580" y="207"/>
                      </a:lnTo>
                      <a:lnTo>
                        <a:pt x="580" y="208"/>
                      </a:lnTo>
                      <a:lnTo>
                        <a:pt x="578" y="208"/>
                      </a:lnTo>
                      <a:lnTo>
                        <a:pt x="576" y="210"/>
                      </a:lnTo>
                      <a:lnTo>
                        <a:pt x="576" y="211"/>
                      </a:lnTo>
                      <a:lnTo>
                        <a:pt x="575" y="213"/>
                      </a:lnTo>
                      <a:lnTo>
                        <a:pt x="575" y="215"/>
                      </a:lnTo>
                      <a:lnTo>
                        <a:pt x="575" y="216"/>
                      </a:lnTo>
                      <a:lnTo>
                        <a:pt x="576" y="216"/>
                      </a:lnTo>
                      <a:lnTo>
                        <a:pt x="578" y="216"/>
                      </a:lnTo>
                      <a:lnTo>
                        <a:pt x="576" y="216"/>
                      </a:lnTo>
                      <a:lnTo>
                        <a:pt x="576" y="218"/>
                      </a:lnTo>
                      <a:lnTo>
                        <a:pt x="576" y="216"/>
                      </a:lnTo>
                      <a:lnTo>
                        <a:pt x="576" y="218"/>
                      </a:lnTo>
                      <a:lnTo>
                        <a:pt x="576" y="220"/>
                      </a:lnTo>
                      <a:lnTo>
                        <a:pt x="576" y="218"/>
                      </a:lnTo>
                      <a:lnTo>
                        <a:pt x="575" y="218"/>
                      </a:lnTo>
                      <a:lnTo>
                        <a:pt x="575" y="220"/>
                      </a:lnTo>
                      <a:lnTo>
                        <a:pt x="575" y="221"/>
                      </a:lnTo>
                      <a:lnTo>
                        <a:pt x="575" y="223"/>
                      </a:lnTo>
                      <a:lnTo>
                        <a:pt x="576" y="223"/>
                      </a:lnTo>
                      <a:lnTo>
                        <a:pt x="575" y="223"/>
                      </a:lnTo>
                      <a:lnTo>
                        <a:pt x="575" y="225"/>
                      </a:lnTo>
                      <a:lnTo>
                        <a:pt x="575" y="226"/>
                      </a:lnTo>
                      <a:lnTo>
                        <a:pt x="573" y="226"/>
                      </a:lnTo>
                      <a:lnTo>
                        <a:pt x="573" y="228"/>
                      </a:lnTo>
                      <a:lnTo>
                        <a:pt x="571" y="230"/>
                      </a:lnTo>
                      <a:lnTo>
                        <a:pt x="573" y="230"/>
                      </a:lnTo>
                      <a:lnTo>
                        <a:pt x="571" y="230"/>
                      </a:lnTo>
                      <a:lnTo>
                        <a:pt x="573" y="230"/>
                      </a:lnTo>
                      <a:lnTo>
                        <a:pt x="573" y="231"/>
                      </a:lnTo>
                      <a:lnTo>
                        <a:pt x="575" y="233"/>
                      </a:lnTo>
                      <a:lnTo>
                        <a:pt x="573" y="233"/>
                      </a:lnTo>
                      <a:lnTo>
                        <a:pt x="575" y="233"/>
                      </a:lnTo>
                      <a:lnTo>
                        <a:pt x="576" y="233"/>
                      </a:lnTo>
                      <a:lnTo>
                        <a:pt x="576" y="234"/>
                      </a:lnTo>
                      <a:lnTo>
                        <a:pt x="576" y="236"/>
                      </a:lnTo>
                      <a:lnTo>
                        <a:pt x="578" y="238"/>
                      </a:lnTo>
                      <a:lnTo>
                        <a:pt x="580" y="238"/>
                      </a:lnTo>
                      <a:lnTo>
                        <a:pt x="580" y="236"/>
                      </a:lnTo>
                      <a:lnTo>
                        <a:pt x="580" y="234"/>
                      </a:lnTo>
                      <a:lnTo>
                        <a:pt x="581" y="234"/>
                      </a:lnTo>
                      <a:lnTo>
                        <a:pt x="581" y="233"/>
                      </a:lnTo>
                      <a:lnTo>
                        <a:pt x="583" y="233"/>
                      </a:lnTo>
                      <a:lnTo>
                        <a:pt x="583" y="231"/>
                      </a:lnTo>
                      <a:lnTo>
                        <a:pt x="583" y="230"/>
                      </a:lnTo>
                      <a:lnTo>
                        <a:pt x="585" y="230"/>
                      </a:lnTo>
                      <a:lnTo>
                        <a:pt x="585" y="228"/>
                      </a:lnTo>
                      <a:lnTo>
                        <a:pt x="586" y="228"/>
                      </a:lnTo>
                      <a:lnTo>
                        <a:pt x="588" y="228"/>
                      </a:lnTo>
                      <a:lnTo>
                        <a:pt x="590" y="228"/>
                      </a:lnTo>
                      <a:lnTo>
                        <a:pt x="590" y="226"/>
                      </a:lnTo>
                      <a:lnTo>
                        <a:pt x="592" y="226"/>
                      </a:lnTo>
                      <a:lnTo>
                        <a:pt x="592" y="228"/>
                      </a:lnTo>
                      <a:lnTo>
                        <a:pt x="593" y="228"/>
                      </a:lnTo>
                      <a:lnTo>
                        <a:pt x="593" y="230"/>
                      </a:lnTo>
                      <a:lnTo>
                        <a:pt x="595" y="230"/>
                      </a:lnTo>
                      <a:lnTo>
                        <a:pt x="595" y="231"/>
                      </a:lnTo>
                      <a:lnTo>
                        <a:pt x="597" y="231"/>
                      </a:lnTo>
                      <a:lnTo>
                        <a:pt x="598" y="231"/>
                      </a:lnTo>
                      <a:lnTo>
                        <a:pt x="598" y="233"/>
                      </a:lnTo>
                      <a:lnTo>
                        <a:pt x="600" y="233"/>
                      </a:lnTo>
                      <a:lnTo>
                        <a:pt x="600" y="231"/>
                      </a:lnTo>
                      <a:lnTo>
                        <a:pt x="600" y="230"/>
                      </a:lnTo>
                      <a:lnTo>
                        <a:pt x="602" y="230"/>
                      </a:lnTo>
                      <a:lnTo>
                        <a:pt x="602" y="231"/>
                      </a:lnTo>
                      <a:lnTo>
                        <a:pt x="603" y="231"/>
                      </a:lnTo>
                      <a:lnTo>
                        <a:pt x="603" y="230"/>
                      </a:lnTo>
                      <a:lnTo>
                        <a:pt x="602" y="230"/>
                      </a:lnTo>
                      <a:lnTo>
                        <a:pt x="603" y="230"/>
                      </a:lnTo>
                      <a:lnTo>
                        <a:pt x="603" y="228"/>
                      </a:lnTo>
                      <a:lnTo>
                        <a:pt x="605" y="228"/>
                      </a:lnTo>
                      <a:lnTo>
                        <a:pt x="605" y="226"/>
                      </a:lnTo>
                      <a:lnTo>
                        <a:pt x="605" y="228"/>
                      </a:lnTo>
                      <a:lnTo>
                        <a:pt x="607" y="228"/>
                      </a:lnTo>
                      <a:lnTo>
                        <a:pt x="607" y="230"/>
                      </a:lnTo>
                      <a:lnTo>
                        <a:pt x="608" y="230"/>
                      </a:lnTo>
                      <a:lnTo>
                        <a:pt x="607" y="230"/>
                      </a:lnTo>
                      <a:lnTo>
                        <a:pt x="608" y="230"/>
                      </a:lnTo>
                      <a:lnTo>
                        <a:pt x="608" y="231"/>
                      </a:lnTo>
                      <a:lnTo>
                        <a:pt x="608" y="233"/>
                      </a:lnTo>
                      <a:lnTo>
                        <a:pt x="608" y="234"/>
                      </a:lnTo>
                      <a:lnTo>
                        <a:pt x="608" y="236"/>
                      </a:lnTo>
                      <a:lnTo>
                        <a:pt x="610" y="236"/>
                      </a:lnTo>
                      <a:lnTo>
                        <a:pt x="610" y="238"/>
                      </a:lnTo>
                      <a:lnTo>
                        <a:pt x="610" y="239"/>
                      </a:lnTo>
                      <a:lnTo>
                        <a:pt x="612" y="239"/>
                      </a:lnTo>
                      <a:lnTo>
                        <a:pt x="612" y="241"/>
                      </a:lnTo>
                      <a:lnTo>
                        <a:pt x="613" y="241"/>
                      </a:lnTo>
                      <a:lnTo>
                        <a:pt x="613" y="243"/>
                      </a:lnTo>
                      <a:lnTo>
                        <a:pt x="613" y="244"/>
                      </a:lnTo>
                      <a:lnTo>
                        <a:pt x="612" y="244"/>
                      </a:lnTo>
                      <a:lnTo>
                        <a:pt x="612" y="246"/>
                      </a:lnTo>
                      <a:lnTo>
                        <a:pt x="610" y="246"/>
                      </a:lnTo>
                      <a:lnTo>
                        <a:pt x="612" y="246"/>
                      </a:lnTo>
                      <a:lnTo>
                        <a:pt x="612" y="248"/>
                      </a:lnTo>
                      <a:lnTo>
                        <a:pt x="613" y="248"/>
                      </a:lnTo>
                      <a:lnTo>
                        <a:pt x="615" y="249"/>
                      </a:lnTo>
                      <a:lnTo>
                        <a:pt x="617" y="249"/>
                      </a:lnTo>
                      <a:lnTo>
                        <a:pt x="617" y="251"/>
                      </a:lnTo>
                      <a:lnTo>
                        <a:pt x="619" y="251"/>
                      </a:lnTo>
                      <a:lnTo>
                        <a:pt x="620" y="251"/>
                      </a:lnTo>
                      <a:lnTo>
                        <a:pt x="622" y="251"/>
                      </a:lnTo>
                      <a:lnTo>
                        <a:pt x="624" y="251"/>
                      </a:lnTo>
                      <a:lnTo>
                        <a:pt x="624" y="249"/>
                      </a:lnTo>
                      <a:lnTo>
                        <a:pt x="624" y="248"/>
                      </a:lnTo>
                      <a:lnTo>
                        <a:pt x="624" y="249"/>
                      </a:lnTo>
                      <a:lnTo>
                        <a:pt x="625" y="249"/>
                      </a:lnTo>
                      <a:lnTo>
                        <a:pt x="625" y="248"/>
                      </a:lnTo>
                      <a:lnTo>
                        <a:pt x="627" y="249"/>
                      </a:lnTo>
                      <a:lnTo>
                        <a:pt x="625" y="249"/>
                      </a:lnTo>
                      <a:lnTo>
                        <a:pt x="627" y="249"/>
                      </a:lnTo>
                      <a:lnTo>
                        <a:pt x="625" y="251"/>
                      </a:lnTo>
                      <a:lnTo>
                        <a:pt x="624" y="251"/>
                      </a:lnTo>
                      <a:lnTo>
                        <a:pt x="624" y="253"/>
                      </a:lnTo>
                      <a:lnTo>
                        <a:pt x="622" y="254"/>
                      </a:lnTo>
                      <a:lnTo>
                        <a:pt x="620" y="254"/>
                      </a:lnTo>
                      <a:lnTo>
                        <a:pt x="620" y="256"/>
                      </a:lnTo>
                      <a:lnTo>
                        <a:pt x="619" y="256"/>
                      </a:lnTo>
                      <a:lnTo>
                        <a:pt x="620" y="257"/>
                      </a:lnTo>
                      <a:lnTo>
                        <a:pt x="619" y="257"/>
                      </a:lnTo>
                      <a:lnTo>
                        <a:pt x="617" y="259"/>
                      </a:lnTo>
                      <a:lnTo>
                        <a:pt x="613" y="262"/>
                      </a:lnTo>
                      <a:lnTo>
                        <a:pt x="612" y="264"/>
                      </a:lnTo>
                      <a:lnTo>
                        <a:pt x="612" y="266"/>
                      </a:lnTo>
                      <a:lnTo>
                        <a:pt x="610" y="267"/>
                      </a:lnTo>
                      <a:lnTo>
                        <a:pt x="610" y="269"/>
                      </a:lnTo>
                      <a:lnTo>
                        <a:pt x="608" y="271"/>
                      </a:lnTo>
                      <a:lnTo>
                        <a:pt x="608" y="272"/>
                      </a:lnTo>
                      <a:lnTo>
                        <a:pt x="605" y="272"/>
                      </a:lnTo>
                      <a:lnTo>
                        <a:pt x="603" y="272"/>
                      </a:lnTo>
                      <a:lnTo>
                        <a:pt x="602" y="274"/>
                      </a:lnTo>
                      <a:lnTo>
                        <a:pt x="600" y="274"/>
                      </a:lnTo>
                      <a:lnTo>
                        <a:pt x="598" y="274"/>
                      </a:lnTo>
                      <a:lnTo>
                        <a:pt x="598" y="276"/>
                      </a:lnTo>
                      <a:lnTo>
                        <a:pt x="600" y="276"/>
                      </a:lnTo>
                      <a:lnTo>
                        <a:pt x="600" y="277"/>
                      </a:lnTo>
                      <a:lnTo>
                        <a:pt x="600" y="279"/>
                      </a:lnTo>
                      <a:lnTo>
                        <a:pt x="602" y="277"/>
                      </a:lnTo>
                      <a:lnTo>
                        <a:pt x="602" y="279"/>
                      </a:lnTo>
                      <a:lnTo>
                        <a:pt x="600" y="279"/>
                      </a:lnTo>
                      <a:lnTo>
                        <a:pt x="600" y="280"/>
                      </a:lnTo>
                      <a:lnTo>
                        <a:pt x="598" y="280"/>
                      </a:lnTo>
                      <a:lnTo>
                        <a:pt x="597" y="280"/>
                      </a:lnTo>
                      <a:lnTo>
                        <a:pt x="595" y="282"/>
                      </a:lnTo>
                      <a:lnTo>
                        <a:pt x="593" y="282"/>
                      </a:lnTo>
                      <a:lnTo>
                        <a:pt x="593" y="284"/>
                      </a:lnTo>
                      <a:lnTo>
                        <a:pt x="592" y="284"/>
                      </a:lnTo>
                      <a:lnTo>
                        <a:pt x="590" y="285"/>
                      </a:lnTo>
                      <a:lnTo>
                        <a:pt x="588" y="287"/>
                      </a:lnTo>
                      <a:lnTo>
                        <a:pt x="586" y="289"/>
                      </a:lnTo>
                      <a:lnTo>
                        <a:pt x="586" y="290"/>
                      </a:lnTo>
                      <a:lnTo>
                        <a:pt x="585" y="292"/>
                      </a:lnTo>
                      <a:lnTo>
                        <a:pt x="583" y="294"/>
                      </a:lnTo>
                      <a:lnTo>
                        <a:pt x="580" y="299"/>
                      </a:lnTo>
                      <a:lnTo>
                        <a:pt x="580" y="302"/>
                      </a:lnTo>
                      <a:lnTo>
                        <a:pt x="578" y="303"/>
                      </a:lnTo>
                      <a:lnTo>
                        <a:pt x="578" y="305"/>
                      </a:lnTo>
                      <a:lnTo>
                        <a:pt x="578" y="307"/>
                      </a:lnTo>
                      <a:lnTo>
                        <a:pt x="576" y="307"/>
                      </a:lnTo>
                      <a:lnTo>
                        <a:pt x="575" y="307"/>
                      </a:lnTo>
                      <a:lnTo>
                        <a:pt x="575" y="308"/>
                      </a:lnTo>
                      <a:lnTo>
                        <a:pt x="576" y="308"/>
                      </a:lnTo>
                      <a:lnTo>
                        <a:pt x="575" y="308"/>
                      </a:lnTo>
                      <a:lnTo>
                        <a:pt x="575" y="310"/>
                      </a:lnTo>
                      <a:lnTo>
                        <a:pt x="576" y="310"/>
                      </a:lnTo>
                      <a:lnTo>
                        <a:pt x="575" y="312"/>
                      </a:lnTo>
                      <a:lnTo>
                        <a:pt x="575" y="313"/>
                      </a:lnTo>
                      <a:lnTo>
                        <a:pt x="573" y="317"/>
                      </a:lnTo>
                      <a:lnTo>
                        <a:pt x="573" y="318"/>
                      </a:lnTo>
                      <a:lnTo>
                        <a:pt x="571" y="318"/>
                      </a:lnTo>
                      <a:lnTo>
                        <a:pt x="570" y="318"/>
                      </a:lnTo>
                      <a:lnTo>
                        <a:pt x="568" y="317"/>
                      </a:lnTo>
                      <a:lnTo>
                        <a:pt x="566" y="317"/>
                      </a:lnTo>
                      <a:lnTo>
                        <a:pt x="566" y="318"/>
                      </a:lnTo>
                      <a:lnTo>
                        <a:pt x="565" y="318"/>
                      </a:lnTo>
                      <a:lnTo>
                        <a:pt x="559" y="318"/>
                      </a:lnTo>
                      <a:lnTo>
                        <a:pt x="537" y="318"/>
                      </a:lnTo>
                      <a:lnTo>
                        <a:pt x="539" y="320"/>
                      </a:lnTo>
                      <a:lnTo>
                        <a:pt x="537" y="320"/>
                      </a:lnTo>
                      <a:lnTo>
                        <a:pt x="537" y="318"/>
                      </a:lnTo>
                      <a:lnTo>
                        <a:pt x="537" y="320"/>
                      </a:lnTo>
                      <a:lnTo>
                        <a:pt x="536" y="320"/>
                      </a:lnTo>
                      <a:lnTo>
                        <a:pt x="536" y="321"/>
                      </a:lnTo>
                      <a:lnTo>
                        <a:pt x="534" y="321"/>
                      </a:lnTo>
                      <a:lnTo>
                        <a:pt x="532" y="321"/>
                      </a:lnTo>
                      <a:lnTo>
                        <a:pt x="531" y="321"/>
                      </a:lnTo>
                      <a:lnTo>
                        <a:pt x="531" y="320"/>
                      </a:lnTo>
                      <a:lnTo>
                        <a:pt x="531" y="321"/>
                      </a:lnTo>
                      <a:lnTo>
                        <a:pt x="531" y="320"/>
                      </a:lnTo>
                      <a:lnTo>
                        <a:pt x="529" y="321"/>
                      </a:lnTo>
                      <a:lnTo>
                        <a:pt x="531" y="321"/>
                      </a:lnTo>
                      <a:lnTo>
                        <a:pt x="529" y="321"/>
                      </a:lnTo>
                      <a:lnTo>
                        <a:pt x="527" y="321"/>
                      </a:lnTo>
                      <a:lnTo>
                        <a:pt x="527" y="320"/>
                      </a:lnTo>
                      <a:lnTo>
                        <a:pt x="527" y="321"/>
                      </a:lnTo>
                      <a:lnTo>
                        <a:pt x="526" y="320"/>
                      </a:lnTo>
                      <a:lnTo>
                        <a:pt x="526" y="321"/>
                      </a:lnTo>
                      <a:lnTo>
                        <a:pt x="526" y="320"/>
                      </a:lnTo>
                      <a:lnTo>
                        <a:pt x="526" y="321"/>
                      </a:lnTo>
                      <a:lnTo>
                        <a:pt x="524" y="321"/>
                      </a:lnTo>
                      <a:lnTo>
                        <a:pt x="524" y="320"/>
                      </a:lnTo>
                      <a:lnTo>
                        <a:pt x="524" y="321"/>
                      </a:lnTo>
                      <a:lnTo>
                        <a:pt x="522" y="320"/>
                      </a:lnTo>
                      <a:lnTo>
                        <a:pt x="522" y="321"/>
                      </a:lnTo>
                      <a:lnTo>
                        <a:pt x="521" y="321"/>
                      </a:lnTo>
                      <a:lnTo>
                        <a:pt x="519" y="321"/>
                      </a:lnTo>
                      <a:lnTo>
                        <a:pt x="519" y="320"/>
                      </a:lnTo>
                      <a:lnTo>
                        <a:pt x="517" y="320"/>
                      </a:lnTo>
                      <a:lnTo>
                        <a:pt x="517" y="321"/>
                      </a:lnTo>
                      <a:lnTo>
                        <a:pt x="516" y="321"/>
                      </a:lnTo>
                      <a:lnTo>
                        <a:pt x="514" y="321"/>
                      </a:lnTo>
                      <a:lnTo>
                        <a:pt x="514" y="323"/>
                      </a:lnTo>
                      <a:lnTo>
                        <a:pt x="512" y="323"/>
                      </a:lnTo>
                      <a:lnTo>
                        <a:pt x="510" y="325"/>
                      </a:lnTo>
                      <a:lnTo>
                        <a:pt x="510" y="326"/>
                      </a:lnTo>
                      <a:lnTo>
                        <a:pt x="509" y="326"/>
                      </a:lnTo>
                      <a:lnTo>
                        <a:pt x="509" y="328"/>
                      </a:lnTo>
                      <a:lnTo>
                        <a:pt x="507" y="328"/>
                      </a:lnTo>
                      <a:lnTo>
                        <a:pt x="505" y="328"/>
                      </a:lnTo>
                      <a:lnTo>
                        <a:pt x="507" y="330"/>
                      </a:lnTo>
                      <a:lnTo>
                        <a:pt x="505" y="330"/>
                      </a:lnTo>
                      <a:lnTo>
                        <a:pt x="507" y="330"/>
                      </a:lnTo>
                      <a:lnTo>
                        <a:pt x="505" y="330"/>
                      </a:lnTo>
                      <a:lnTo>
                        <a:pt x="505" y="331"/>
                      </a:lnTo>
                      <a:lnTo>
                        <a:pt x="505" y="330"/>
                      </a:lnTo>
                      <a:lnTo>
                        <a:pt x="504" y="330"/>
                      </a:lnTo>
                      <a:lnTo>
                        <a:pt x="504" y="331"/>
                      </a:lnTo>
                      <a:lnTo>
                        <a:pt x="502" y="331"/>
                      </a:lnTo>
                      <a:lnTo>
                        <a:pt x="502" y="333"/>
                      </a:lnTo>
                      <a:lnTo>
                        <a:pt x="502" y="331"/>
                      </a:lnTo>
                      <a:lnTo>
                        <a:pt x="500" y="333"/>
                      </a:lnTo>
                      <a:lnTo>
                        <a:pt x="499" y="333"/>
                      </a:lnTo>
                      <a:lnTo>
                        <a:pt x="499" y="335"/>
                      </a:lnTo>
                      <a:lnTo>
                        <a:pt x="499" y="333"/>
                      </a:lnTo>
                      <a:lnTo>
                        <a:pt x="499" y="335"/>
                      </a:lnTo>
                      <a:lnTo>
                        <a:pt x="497" y="335"/>
                      </a:lnTo>
                      <a:lnTo>
                        <a:pt x="495" y="335"/>
                      </a:lnTo>
                      <a:lnTo>
                        <a:pt x="494" y="335"/>
                      </a:lnTo>
                      <a:lnTo>
                        <a:pt x="495" y="335"/>
                      </a:lnTo>
                      <a:lnTo>
                        <a:pt x="495" y="336"/>
                      </a:lnTo>
                      <a:lnTo>
                        <a:pt x="494" y="335"/>
                      </a:lnTo>
                      <a:lnTo>
                        <a:pt x="494" y="336"/>
                      </a:lnTo>
                      <a:lnTo>
                        <a:pt x="492" y="336"/>
                      </a:lnTo>
                      <a:lnTo>
                        <a:pt x="492" y="335"/>
                      </a:lnTo>
                      <a:lnTo>
                        <a:pt x="492" y="336"/>
                      </a:lnTo>
                      <a:lnTo>
                        <a:pt x="492" y="335"/>
                      </a:lnTo>
                      <a:lnTo>
                        <a:pt x="490" y="335"/>
                      </a:lnTo>
                      <a:lnTo>
                        <a:pt x="490" y="336"/>
                      </a:lnTo>
                      <a:lnTo>
                        <a:pt x="489" y="336"/>
                      </a:lnTo>
                      <a:lnTo>
                        <a:pt x="489" y="338"/>
                      </a:lnTo>
                      <a:lnTo>
                        <a:pt x="489" y="336"/>
                      </a:lnTo>
                      <a:lnTo>
                        <a:pt x="489" y="338"/>
                      </a:lnTo>
                      <a:lnTo>
                        <a:pt x="487" y="338"/>
                      </a:lnTo>
                      <a:lnTo>
                        <a:pt x="489" y="338"/>
                      </a:lnTo>
                      <a:lnTo>
                        <a:pt x="487" y="338"/>
                      </a:lnTo>
                      <a:lnTo>
                        <a:pt x="487" y="340"/>
                      </a:lnTo>
                      <a:lnTo>
                        <a:pt x="487" y="341"/>
                      </a:lnTo>
                      <a:lnTo>
                        <a:pt x="485" y="341"/>
                      </a:lnTo>
                      <a:lnTo>
                        <a:pt x="483" y="340"/>
                      </a:lnTo>
                      <a:lnTo>
                        <a:pt x="483" y="341"/>
                      </a:lnTo>
                      <a:lnTo>
                        <a:pt x="483" y="340"/>
                      </a:lnTo>
                      <a:lnTo>
                        <a:pt x="483" y="341"/>
                      </a:lnTo>
                      <a:lnTo>
                        <a:pt x="482" y="341"/>
                      </a:lnTo>
                      <a:lnTo>
                        <a:pt x="482" y="343"/>
                      </a:lnTo>
                      <a:lnTo>
                        <a:pt x="480" y="341"/>
                      </a:lnTo>
                      <a:lnTo>
                        <a:pt x="480" y="340"/>
                      </a:lnTo>
                      <a:lnTo>
                        <a:pt x="478" y="340"/>
                      </a:lnTo>
                      <a:lnTo>
                        <a:pt x="478" y="341"/>
                      </a:lnTo>
                      <a:lnTo>
                        <a:pt x="478" y="340"/>
                      </a:lnTo>
                      <a:lnTo>
                        <a:pt x="478" y="341"/>
                      </a:lnTo>
                      <a:lnTo>
                        <a:pt x="477" y="341"/>
                      </a:lnTo>
                      <a:lnTo>
                        <a:pt x="477" y="340"/>
                      </a:lnTo>
                      <a:lnTo>
                        <a:pt x="475" y="340"/>
                      </a:lnTo>
                      <a:lnTo>
                        <a:pt x="473" y="340"/>
                      </a:lnTo>
                      <a:lnTo>
                        <a:pt x="475" y="340"/>
                      </a:lnTo>
                      <a:lnTo>
                        <a:pt x="475" y="338"/>
                      </a:lnTo>
                      <a:lnTo>
                        <a:pt x="473" y="338"/>
                      </a:lnTo>
                      <a:lnTo>
                        <a:pt x="473" y="340"/>
                      </a:lnTo>
                      <a:lnTo>
                        <a:pt x="472" y="340"/>
                      </a:lnTo>
                      <a:lnTo>
                        <a:pt x="472" y="338"/>
                      </a:lnTo>
                      <a:lnTo>
                        <a:pt x="473" y="338"/>
                      </a:lnTo>
                      <a:lnTo>
                        <a:pt x="472" y="338"/>
                      </a:lnTo>
                      <a:lnTo>
                        <a:pt x="470" y="338"/>
                      </a:lnTo>
                      <a:lnTo>
                        <a:pt x="468" y="338"/>
                      </a:lnTo>
                      <a:lnTo>
                        <a:pt x="470" y="338"/>
                      </a:lnTo>
                      <a:lnTo>
                        <a:pt x="470" y="336"/>
                      </a:lnTo>
                      <a:lnTo>
                        <a:pt x="468" y="336"/>
                      </a:lnTo>
                      <a:lnTo>
                        <a:pt x="468" y="335"/>
                      </a:lnTo>
                      <a:lnTo>
                        <a:pt x="467" y="335"/>
                      </a:lnTo>
                      <a:lnTo>
                        <a:pt x="465" y="336"/>
                      </a:lnTo>
                      <a:lnTo>
                        <a:pt x="465" y="335"/>
                      </a:lnTo>
                      <a:lnTo>
                        <a:pt x="465" y="333"/>
                      </a:lnTo>
                      <a:lnTo>
                        <a:pt x="463" y="333"/>
                      </a:lnTo>
                      <a:lnTo>
                        <a:pt x="463" y="331"/>
                      </a:lnTo>
                      <a:lnTo>
                        <a:pt x="461" y="331"/>
                      </a:lnTo>
                      <a:lnTo>
                        <a:pt x="461" y="330"/>
                      </a:lnTo>
                      <a:lnTo>
                        <a:pt x="460" y="330"/>
                      </a:lnTo>
                      <a:lnTo>
                        <a:pt x="461" y="330"/>
                      </a:lnTo>
                      <a:lnTo>
                        <a:pt x="461" y="331"/>
                      </a:lnTo>
                      <a:lnTo>
                        <a:pt x="460" y="331"/>
                      </a:lnTo>
                      <a:lnTo>
                        <a:pt x="460" y="330"/>
                      </a:lnTo>
                      <a:lnTo>
                        <a:pt x="460" y="331"/>
                      </a:lnTo>
                      <a:lnTo>
                        <a:pt x="458" y="331"/>
                      </a:lnTo>
                      <a:lnTo>
                        <a:pt x="458" y="330"/>
                      </a:lnTo>
                      <a:lnTo>
                        <a:pt x="458" y="328"/>
                      </a:lnTo>
                      <a:lnTo>
                        <a:pt x="456" y="328"/>
                      </a:lnTo>
                      <a:lnTo>
                        <a:pt x="456" y="330"/>
                      </a:lnTo>
                      <a:lnTo>
                        <a:pt x="456" y="328"/>
                      </a:lnTo>
                      <a:lnTo>
                        <a:pt x="455" y="328"/>
                      </a:lnTo>
                      <a:lnTo>
                        <a:pt x="455" y="326"/>
                      </a:lnTo>
                      <a:lnTo>
                        <a:pt x="455" y="328"/>
                      </a:lnTo>
                      <a:lnTo>
                        <a:pt x="455" y="326"/>
                      </a:lnTo>
                      <a:lnTo>
                        <a:pt x="455" y="325"/>
                      </a:lnTo>
                      <a:lnTo>
                        <a:pt x="455" y="326"/>
                      </a:lnTo>
                      <a:lnTo>
                        <a:pt x="453" y="326"/>
                      </a:lnTo>
                      <a:lnTo>
                        <a:pt x="453" y="325"/>
                      </a:lnTo>
                      <a:lnTo>
                        <a:pt x="451" y="325"/>
                      </a:lnTo>
                      <a:lnTo>
                        <a:pt x="451" y="323"/>
                      </a:lnTo>
                      <a:lnTo>
                        <a:pt x="450" y="323"/>
                      </a:lnTo>
                      <a:lnTo>
                        <a:pt x="448" y="323"/>
                      </a:lnTo>
                      <a:lnTo>
                        <a:pt x="446" y="323"/>
                      </a:lnTo>
                      <a:lnTo>
                        <a:pt x="445" y="323"/>
                      </a:lnTo>
                      <a:lnTo>
                        <a:pt x="445" y="321"/>
                      </a:lnTo>
                      <a:lnTo>
                        <a:pt x="446" y="321"/>
                      </a:lnTo>
                      <a:lnTo>
                        <a:pt x="445" y="321"/>
                      </a:lnTo>
                      <a:lnTo>
                        <a:pt x="443" y="321"/>
                      </a:lnTo>
                      <a:lnTo>
                        <a:pt x="443" y="323"/>
                      </a:lnTo>
                      <a:lnTo>
                        <a:pt x="445" y="323"/>
                      </a:lnTo>
                      <a:lnTo>
                        <a:pt x="443" y="323"/>
                      </a:lnTo>
                      <a:lnTo>
                        <a:pt x="443" y="325"/>
                      </a:lnTo>
                      <a:lnTo>
                        <a:pt x="441" y="326"/>
                      </a:lnTo>
                      <a:lnTo>
                        <a:pt x="441" y="325"/>
                      </a:lnTo>
                      <a:lnTo>
                        <a:pt x="443" y="325"/>
                      </a:lnTo>
                      <a:lnTo>
                        <a:pt x="443" y="323"/>
                      </a:lnTo>
                      <a:lnTo>
                        <a:pt x="443" y="321"/>
                      </a:lnTo>
                      <a:lnTo>
                        <a:pt x="441" y="321"/>
                      </a:lnTo>
                      <a:lnTo>
                        <a:pt x="440" y="321"/>
                      </a:lnTo>
                      <a:lnTo>
                        <a:pt x="438" y="321"/>
                      </a:lnTo>
                      <a:lnTo>
                        <a:pt x="438" y="323"/>
                      </a:lnTo>
                      <a:lnTo>
                        <a:pt x="440" y="325"/>
                      </a:lnTo>
                      <a:lnTo>
                        <a:pt x="438" y="325"/>
                      </a:lnTo>
                      <a:lnTo>
                        <a:pt x="438" y="323"/>
                      </a:lnTo>
                      <a:lnTo>
                        <a:pt x="436" y="323"/>
                      </a:lnTo>
                      <a:lnTo>
                        <a:pt x="434" y="323"/>
                      </a:lnTo>
                      <a:lnTo>
                        <a:pt x="433" y="323"/>
                      </a:lnTo>
                      <a:lnTo>
                        <a:pt x="433" y="325"/>
                      </a:lnTo>
                      <a:lnTo>
                        <a:pt x="431" y="325"/>
                      </a:lnTo>
                      <a:lnTo>
                        <a:pt x="431" y="323"/>
                      </a:lnTo>
                      <a:lnTo>
                        <a:pt x="431" y="325"/>
                      </a:lnTo>
                      <a:lnTo>
                        <a:pt x="429" y="325"/>
                      </a:lnTo>
                      <a:lnTo>
                        <a:pt x="429" y="326"/>
                      </a:lnTo>
                      <a:lnTo>
                        <a:pt x="429" y="325"/>
                      </a:lnTo>
                      <a:lnTo>
                        <a:pt x="428" y="325"/>
                      </a:lnTo>
                      <a:lnTo>
                        <a:pt x="428" y="326"/>
                      </a:lnTo>
                      <a:lnTo>
                        <a:pt x="428" y="325"/>
                      </a:lnTo>
                      <a:lnTo>
                        <a:pt x="426" y="325"/>
                      </a:lnTo>
                      <a:lnTo>
                        <a:pt x="426" y="326"/>
                      </a:lnTo>
                      <a:lnTo>
                        <a:pt x="424" y="326"/>
                      </a:lnTo>
                      <a:lnTo>
                        <a:pt x="424" y="325"/>
                      </a:lnTo>
                      <a:lnTo>
                        <a:pt x="426" y="323"/>
                      </a:lnTo>
                      <a:lnTo>
                        <a:pt x="424" y="323"/>
                      </a:lnTo>
                      <a:lnTo>
                        <a:pt x="423" y="323"/>
                      </a:lnTo>
                      <a:lnTo>
                        <a:pt x="423" y="325"/>
                      </a:lnTo>
                      <a:lnTo>
                        <a:pt x="424" y="325"/>
                      </a:lnTo>
                      <a:lnTo>
                        <a:pt x="424" y="323"/>
                      </a:lnTo>
                      <a:lnTo>
                        <a:pt x="424" y="325"/>
                      </a:lnTo>
                      <a:lnTo>
                        <a:pt x="424" y="326"/>
                      </a:lnTo>
                      <a:lnTo>
                        <a:pt x="423" y="326"/>
                      </a:lnTo>
                      <a:lnTo>
                        <a:pt x="423" y="328"/>
                      </a:lnTo>
                      <a:lnTo>
                        <a:pt x="421" y="326"/>
                      </a:lnTo>
                      <a:lnTo>
                        <a:pt x="419" y="326"/>
                      </a:lnTo>
                      <a:lnTo>
                        <a:pt x="419" y="325"/>
                      </a:lnTo>
                      <a:lnTo>
                        <a:pt x="418" y="326"/>
                      </a:lnTo>
                      <a:lnTo>
                        <a:pt x="418" y="325"/>
                      </a:lnTo>
                      <a:lnTo>
                        <a:pt x="418" y="323"/>
                      </a:lnTo>
                      <a:lnTo>
                        <a:pt x="416" y="323"/>
                      </a:lnTo>
                      <a:lnTo>
                        <a:pt x="414" y="323"/>
                      </a:lnTo>
                      <a:lnTo>
                        <a:pt x="416" y="325"/>
                      </a:lnTo>
                      <a:lnTo>
                        <a:pt x="414" y="325"/>
                      </a:lnTo>
                      <a:lnTo>
                        <a:pt x="413" y="325"/>
                      </a:lnTo>
                      <a:lnTo>
                        <a:pt x="411" y="325"/>
                      </a:lnTo>
                      <a:lnTo>
                        <a:pt x="411" y="326"/>
                      </a:lnTo>
                      <a:lnTo>
                        <a:pt x="409" y="326"/>
                      </a:lnTo>
                      <a:lnTo>
                        <a:pt x="409" y="328"/>
                      </a:lnTo>
                      <a:lnTo>
                        <a:pt x="407" y="328"/>
                      </a:lnTo>
                      <a:lnTo>
                        <a:pt x="409" y="330"/>
                      </a:lnTo>
                      <a:lnTo>
                        <a:pt x="407" y="330"/>
                      </a:lnTo>
                      <a:lnTo>
                        <a:pt x="407" y="331"/>
                      </a:lnTo>
                      <a:lnTo>
                        <a:pt x="409" y="331"/>
                      </a:lnTo>
                      <a:lnTo>
                        <a:pt x="407" y="331"/>
                      </a:lnTo>
                      <a:lnTo>
                        <a:pt x="409" y="331"/>
                      </a:lnTo>
                      <a:lnTo>
                        <a:pt x="409" y="333"/>
                      </a:lnTo>
                      <a:lnTo>
                        <a:pt x="407" y="333"/>
                      </a:lnTo>
                      <a:lnTo>
                        <a:pt x="406" y="331"/>
                      </a:lnTo>
                      <a:lnTo>
                        <a:pt x="406" y="330"/>
                      </a:lnTo>
                      <a:lnTo>
                        <a:pt x="404" y="331"/>
                      </a:lnTo>
                      <a:lnTo>
                        <a:pt x="404" y="330"/>
                      </a:lnTo>
                      <a:lnTo>
                        <a:pt x="406" y="330"/>
                      </a:lnTo>
                      <a:lnTo>
                        <a:pt x="404" y="328"/>
                      </a:lnTo>
                      <a:lnTo>
                        <a:pt x="402" y="326"/>
                      </a:lnTo>
                      <a:lnTo>
                        <a:pt x="401" y="326"/>
                      </a:lnTo>
                      <a:lnTo>
                        <a:pt x="399" y="326"/>
                      </a:lnTo>
                      <a:lnTo>
                        <a:pt x="397" y="326"/>
                      </a:lnTo>
                      <a:lnTo>
                        <a:pt x="397" y="325"/>
                      </a:lnTo>
                      <a:lnTo>
                        <a:pt x="397" y="323"/>
                      </a:lnTo>
                      <a:lnTo>
                        <a:pt x="396" y="323"/>
                      </a:lnTo>
                      <a:lnTo>
                        <a:pt x="394" y="323"/>
                      </a:lnTo>
                      <a:lnTo>
                        <a:pt x="394" y="321"/>
                      </a:lnTo>
                      <a:lnTo>
                        <a:pt x="394" y="323"/>
                      </a:lnTo>
                      <a:lnTo>
                        <a:pt x="392" y="323"/>
                      </a:lnTo>
                      <a:lnTo>
                        <a:pt x="391" y="323"/>
                      </a:lnTo>
                      <a:lnTo>
                        <a:pt x="389" y="323"/>
                      </a:lnTo>
                      <a:lnTo>
                        <a:pt x="387" y="323"/>
                      </a:lnTo>
                      <a:lnTo>
                        <a:pt x="387" y="325"/>
                      </a:lnTo>
                      <a:lnTo>
                        <a:pt x="387" y="323"/>
                      </a:lnTo>
                      <a:lnTo>
                        <a:pt x="387" y="321"/>
                      </a:lnTo>
                      <a:lnTo>
                        <a:pt x="385" y="321"/>
                      </a:lnTo>
                      <a:lnTo>
                        <a:pt x="385" y="320"/>
                      </a:lnTo>
                      <a:lnTo>
                        <a:pt x="384" y="321"/>
                      </a:lnTo>
                      <a:lnTo>
                        <a:pt x="384" y="323"/>
                      </a:lnTo>
                      <a:lnTo>
                        <a:pt x="382" y="323"/>
                      </a:lnTo>
                      <a:lnTo>
                        <a:pt x="384" y="325"/>
                      </a:lnTo>
                      <a:lnTo>
                        <a:pt x="385" y="325"/>
                      </a:lnTo>
                      <a:lnTo>
                        <a:pt x="387" y="325"/>
                      </a:lnTo>
                      <a:lnTo>
                        <a:pt x="387" y="326"/>
                      </a:lnTo>
                      <a:lnTo>
                        <a:pt x="385" y="326"/>
                      </a:lnTo>
                      <a:lnTo>
                        <a:pt x="384" y="326"/>
                      </a:lnTo>
                      <a:lnTo>
                        <a:pt x="382" y="326"/>
                      </a:lnTo>
                      <a:lnTo>
                        <a:pt x="380" y="326"/>
                      </a:lnTo>
                      <a:lnTo>
                        <a:pt x="379" y="326"/>
                      </a:lnTo>
                      <a:lnTo>
                        <a:pt x="379" y="328"/>
                      </a:lnTo>
                      <a:lnTo>
                        <a:pt x="377" y="330"/>
                      </a:lnTo>
                      <a:lnTo>
                        <a:pt x="377" y="331"/>
                      </a:lnTo>
                      <a:lnTo>
                        <a:pt x="377" y="333"/>
                      </a:lnTo>
                      <a:lnTo>
                        <a:pt x="375" y="333"/>
                      </a:lnTo>
                      <a:lnTo>
                        <a:pt x="375" y="335"/>
                      </a:lnTo>
                      <a:lnTo>
                        <a:pt x="374" y="336"/>
                      </a:lnTo>
                      <a:lnTo>
                        <a:pt x="372" y="338"/>
                      </a:lnTo>
                      <a:lnTo>
                        <a:pt x="370" y="340"/>
                      </a:lnTo>
                      <a:lnTo>
                        <a:pt x="370" y="341"/>
                      </a:lnTo>
                      <a:lnTo>
                        <a:pt x="372" y="343"/>
                      </a:lnTo>
                      <a:lnTo>
                        <a:pt x="370" y="343"/>
                      </a:lnTo>
                      <a:lnTo>
                        <a:pt x="369" y="343"/>
                      </a:lnTo>
                      <a:lnTo>
                        <a:pt x="369" y="341"/>
                      </a:lnTo>
                      <a:lnTo>
                        <a:pt x="367" y="341"/>
                      </a:lnTo>
                      <a:lnTo>
                        <a:pt x="365" y="341"/>
                      </a:lnTo>
                      <a:lnTo>
                        <a:pt x="364" y="341"/>
                      </a:lnTo>
                      <a:lnTo>
                        <a:pt x="362" y="343"/>
                      </a:lnTo>
                      <a:lnTo>
                        <a:pt x="360" y="343"/>
                      </a:lnTo>
                      <a:lnTo>
                        <a:pt x="360" y="344"/>
                      </a:lnTo>
                      <a:lnTo>
                        <a:pt x="360" y="346"/>
                      </a:lnTo>
                      <a:lnTo>
                        <a:pt x="358" y="344"/>
                      </a:lnTo>
                      <a:lnTo>
                        <a:pt x="358" y="343"/>
                      </a:lnTo>
                      <a:lnTo>
                        <a:pt x="357" y="343"/>
                      </a:lnTo>
                      <a:lnTo>
                        <a:pt x="355" y="344"/>
                      </a:lnTo>
                      <a:lnTo>
                        <a:pt x="355" y="346"/>
                      </a:lnTo>
                      <a:lnTo>
                        <a:pt x="353" y="348"/>
                      </a:lnTo>
                      <a:lnTo>
                        <a:pt x="353" y="346"/>
                      </a:lnTo>
                      <a:lnTo>
                        <a:pt x="353" y="344"/>
                      </a:lnTo>
                      <a:lnTo>
                        <a:pt x="353" y="343"/>
                      </a:lnTo>
                      <a:lnTo>
                        <a:pt x="352" y="341"/>
                      </a:lnTo>
                      <a:lnTo>
                        <a:pt x="350" y="341"/>
                      </a:lnTo>
                      <a:lnTo>
                        <a:pt x="350" y="343"/>
                      </a:lnTo>
                      <a:lnTo>
                        <a:pt x="350" y="344"/>
                      </a:lnTo>
                      <a:lnTo>
                        <a:pt x="350" y="346"/>
                      </a:lnTo>
                      <a:lnTo>
                        <a:pt x="348" y="344"/>
                      </a:lnTo>
                      <a:lnTo>
                        <a:pt x="347" y="344"/>
                      </a:lnTo>
                      <a:lnTo>
                        <a:pt x="347" y="343"/>
                      </a:lnTo>
                      <a:lnTo>
                        <a:pt x="345" y="341"/>
                      </a:lnTo>
                      <a:lnTo>
                        <a:pt x="340" y="343"/>
                      </a:lnTo>
                      <a:lnTo>
                        <a:pt x="338" y="343"/>
                      </a:lnTo>
                      <a:lnTo>
                        <a:pt x="337" y="341"/>
                      </a:lnTo>
                      <a:lnTo>
                        <a:pt x="337" y="343"/>
                      </a:lnTo>
                      <a:lnTo>
                        <a:pt x="335" y="343"/>
                      </a:lnTo>
                      <a:lnTo>
                        <a:pt x="335" y="344"/>
                      </a:lnTo>
                      <a:lnTo>
                        <a:pt x="335" y="346"/>
                      </a:lnTo>
                      <a:lnTo>
                        <a:pt x="333" y="346"/>
                      </a:lnTo>
                      <a:lnTo>
                        <a:pt x="331" y="346"/>
                      </a:lnTo>
                      <a:lnTo>
                        <a:pt x="330" y="346"/>
                      </a:lnTo>
                      <a:lnTo>
                        <a:pt x="328" y="346"/>
                      </a:lnTo>
                      <a:lnTo>
                        <a:pt x="330" y="348"/>
                      </a:lnTo>
                      <a:lnTo>
                        <a:pt x="328" y="348"/>
                      </a:lnTo>
                      <a:lnTo>
                        <a:pt x="326" y="348"/>
                      </a:lnTo>
                      <a:lnTo>
                        <a:pt x="325" y="348"/>
                      </a:lnTo>
                      <a:lnTo>
                        <a:pt x="323" y="349"/>
                      </a:lnTo>
                      <a:lnTo>
                        <a:pt x="321" y="349"/>
                      </a:lnTo>
                      <a:lnTo>
                        <a:pt x="321" y="351"/>
                      </a:lnTo>
                      <a:lnTo>
                        <a:pt x="320" y="351"/>
                      </a:lnTo>
                      <a:lnTo>
                        <a:pt x="320" y="353"/>
                      </a:lnTo>
                      <a:lnTo>
                        <a:pt x="321" y="353"/>
                      </a:lnTo>
                      <a:lnTo>
                        <a:pt x="320" y="353"/>
                      </a:lnTo>
                      <a:lnTo>
                        <a:pt x="320" y="354"/>
                      </a:lnTo>
                      <a:lnTo>
                        <a:pt x="321" y="354"/>
                      </a:lnTo>
                      <a:lnTo>
                        <a:pt x="320" y="354"/>
                      </a:lnTo>
                      <a:lnTo>
                        <a:pt x="320" y="356"/>
                      </a:lnTo>
                      <a:lnTo>
                        <a:pt x="318" y="356"/>
                      </a:lnTo>
                      <a:lnTo>
                        <a:pt x="318" y="358"/>
                      </a:lnTo>
                      <a:lnTo>
                        <a:pt x="316" y="358"/>
                      </a:lnTo>
                      <a:lnTo>
                        <a:pt x="316" y="359"/>
                      </a:lnTo>
                      <a:lnTo>
                        <a:pt x="316" y="361"/>
                      </a:lnTo>
                      <a:lnTo>
                        <a:pt x="318" y="361"/>
                      </a:lnTo>
                      <a:lnTo>
                        <a:pt x="318" y="363"/>
                      </a:lnTo>
                      <a:lnTo>
                        <a:pt x="320" y="363"/>
                      </a:lnTo>
                      <a:lnTo>
                        <a:pt x="320" y="364"/>
                      </a:lnTo>
                      <a:lnTo>
                        <a:pt x="321" y="364"/>
                      </a:lnTo>
                      <a:lnTo>
                        <a:pt x="320" y="364"/>
                      </a:lnTo>
                      <a:lnTo>
                        <a:pt x="320" y="366"/>
                      </a:lnTo>
                      <a:lnTo>
                        <a:pt x="318" y="366"/>
                      </a:lnTo>
                      <a:lnTo>
                        <a:pt x="320" y="366"/>
                      </a:lnTo>
                      <a:lnTo>
                        <a:pt x="318" y="366"/>
                      </a:lnTo>
                      <a:lnTo>
                        <a:pt x="318" y="367"/>
                      </a:lnTo>
                      <a:lnTo>
                        <a:pt x="320" y="367"/>
                      </a:lnTo>
                      <a:lnTo>
                        <a:pt x="321" y="367"/>
                      </a:lnTo>
                      <a:lnTo>
                        <a:pt x="321" y="369"/>
                      </a:lnTo>
                      <a:lnTo>
                        <a:pt x="321" y="371"/>
                      </a:lnTo>
                      <a:lnTo>
                        <a:pt x="323" y="371"/>
                      </a:lnTo>
                      <a:lnTo>
                        <a:pt x="323" y="372"/>
                      </a:lnTo>
                      <a:lnTo>
                        <a:pt x="325" y="372"/>
                      </a:lnTo>
                      <a:lnTo>
                        <a:pt x="323" y="372"/>
                      </a:lnTo>
                      <a:lnTo>
                        <a:pt x="323" y="374"/>
                      </a:lnTo>
                      <a:lnTo>
                        <a:pt x="323" y="376"/>
                      </a:lnTo>
                      <a:lnTo>
                        <a:pt x="321" y="376"/>
                      </a:lnTo>
                      <a:lnTo>
                        <a:pt x="323" y="377"/>
                      </a:lnTo>
                      <a:lnTo>
                        <a:pt x="321" y="377"/>
                      </a:lnTo>
                      <a:lnTo>
                        <a:pt x="321" y="379"/>
                      </a:lnTo>
                      <a:lnTo>
                        <a:pt x="321" y="377"/>
                      </a:lnTo>
                      <a:lnTo>
                        <a:pt x="321" y="379"/>
                      </a:lnTo>
                      <a:lnTo>
                        <a:pt x="321" y="377"/>
                      </a:lnTo>
                      <a:lnTo>
                        <a:pt x="320" y="379"/>
                      </a:lnTo>
                      <a:lnTo>
                        <a:pt x="320" y="377"/>
                      </a:lnTo>
                      <a:lnTo>
                        <a:pt x="320" y="379"/>
                      </a:lnTo>
                      <a:lnTo>
                        <a:pt x="318" y="379"/>
                      </a:lnTo>
                      <a:lnTo>
                        <a:pt x="318" y="381"/>
                      </a:lnTo>
                      <a:lnTo>
                        <a:pt x="316" y="381"/>
                      </a:lnTo>
                      <a:lnTo>
                        <a:pt x="315" y="381"/>
                      </a:lnTo>
                      <a:lnTo>
                        <a:pt x="313" y="381"/>
                      </a:lnTo>
                      <a:lnTo>
                        <a:pt x="311" y="381"/>
                      </a:lnTo>
                      <a:lnTo>
                        <a:pt x="309" y="381"/>
                      </a:lnTo>
                      <a:lnTo>
                        <a:pt x="308" y="381"/>
                      </a:lnTo>
                      <a:lnTo>
                        <a:pt x="308" y="382"/>
                      </a:lnTo>
                      <a:lnTo>
                        <a:pt x="306" y="382"/>
                      </a:lnTo>
                      <a:lnTo>
                        <a:pt x="308" y="384"/>
                      </a:lnTo>
                      <a:lnTo>
                        <a:pt x="308" y="386"/>
                      </a:lnTo>
                      <a:lnTo>
                        <a:pt x="306" y="386"/>
                      </a:lnTo>
                      <a:lnTo>
                        <a:pt x="304" y="386"/>
                      </a:lnTo>
                      <a:lnTo>
                        <a:pt x="306" y="386"/>
                      </a:lnTo>
                      <a:lnTo>
                        <a:pt x="304" y="384"/>
                      </a:lnTo>
                      <a:lnTo>
                        <a:pt x="303" y="384"/>
                      </a:lnTo>
                      <a:lnTo>
                        <a:pt x="303" y="382"/>
                      </a:lnTo>
                      <a:lnTo>
                        <a:pt x="301" y="381"/>
                      </a:lnTo>
                      <a:lnTo>
                        <a:pt x="301" y="379"/>
                      </a:lnTo>
                      <a:lnTo>
                        <a:pt x="301" y="377"/>
                      </a:lnTo>
                      <a:lnTo>
                        <a:pt x="299" y="377"/>
                      </a:lnTo>
                      <a:lnTo>
                        <a:pt x="298" y="377"/>
                      </a:lnTo>
                      <a:lnTo>
                        <a:pt x="298" y="376"/>
                      </a:lnTo>
                      <a:lnTo>
                        <a:pt x="298" y="374"/>
                      </a:lnTo>
                      <a:lnTo>
                        <a:pt x="296" y="374"/>
                      </a:lnTo>
                      <a:lnTo>
                        <a:pt x="294" y="376"/>
                      </a:lnTo>
                      <a:lnTo>
                        <a:pt x="293" y="374"/>
                      </a:lnTo>
                      <a:lnTo>
                        <a:pt x="293" y="376"/>
                      </a:lnTo>
                      <a:lnTo>
                        <a:pt x="291" y="374"/>
                      </a:lnTo>
                      <a:lnTo>
                        <a:pt x="289" y="374"/>
                      </a:lnTo>
                      <a:lnTo>
                        <a:pt x="288" y="374"/>
                      </a:lnTo>
                      <a:lnTo>
                        <a:pt x="286" y="374"/>
                      </a:lnTo>
                      <a:lnTo>
                        <a:pt x="284" y="376"/>
                      </a:lnTo>
                      <a:lnTo>
                        <a:pt x="284" y="374"/>
                      </a:lnTo>
                      <a:lnTo>
                        <a:pt x="282" y="372"/>
                      </a:lnTo>
                      <a:lnTo>
                        <a:pt x="281" y="372"/>
                      </a:lnTo>
                      <a:lnTo>
                        <a:pt x="279" y="372"/>
                      </a:lnTo>
                      <a:lnTo>
                        <a:pt x="279" y="374"/>
                      </a:lnTo>
                      <a:lnTo>
                        <a:pt x="277" y="374"/>
                      </a:lnTo>
                      <a:lnTo>
                        <a:pt x="276" y="374"/>
                      </a:lnTo>
                      <a:lnTo>
                        <a:pt x="274" y="374"/>
                      </a:lnTo>
                      <a:lnTo>
                        <a:pt x="272" y="374"/>
                      </a:lnTo>
                      <a:lnTo>
                        <a:pt x="271" y="374"/>
                      </a:lnTo>
                      <a:lnTo>
                        <a:pt x="271" y="376"/>
                      </a:lnTo>
                      <a:lnTo>
                        <a:pt x="269" y="376"/>
                      </a:lnTo>
                      <a:lnTo>
                        <a:pt x="269" y="374"/>
                      </a:lnTo>
                      <a:lnTo>
                        <a:pt x="267" y="374"/>
                      </a:lnTo>
                      <a:lnTo>
                        <a:pt x="264" y="374"/>
                      </a:lnTo>
                      <a:lnTo>
                        <a:pt x="264" y="376"/>
                      </a:lnTo>
                      <a:lnTo>
                        <a:pt x="264" y="374"/>
                      </a:lnTo>
                      <a:lnTo>
                        <a:pt x="262" y="376"/>
                      </a:lnTo>
                      <a:lnTo>
                        <a:pt x="261" y="376"/>
                      </a:lnTo>
                      <a:lnTo>
                        <a:pt x="261" y="374"/>
                      </a:lnTo>
                      <a:lnTo>
                        <a:pt x="259" y="374"/>
                      </a:lnTo>
                      <a:lnTo>
                        <a:pt x="257" y="374"/>
                      </a:lnTo>
                      <a:lnTo>
                        <a:pt x="255" y="374"/>
                      </a:lnTo>
                      <a:lnTo>
                        <a:pt x="255" y="372"/>
                      </a:lnTo>
                      <a:lnTo>
                        <a:pt x="254" y="372"/>
                      </a:lnTo>
                      <a:lnTo>
                        <a:pt x="254" y="374"/>
                      </a:lnTo>
                      <a:lnTo>
                        <a:pt x="252" y="372"/>
                      </a:lnTo>
                      <a:lnTo>
                        <a:pt x="250" y="372"/>
                      </a:lnTo>
                      <a:lnTo>
                        <a:pt x="249" y="372"/>
                      </a:lnTo>
                      <a:lnTo>
                        <a:pt x="249" y="371"/>
                      </a:lnTo>
                      <a:lnTo>
                        <a:pt x="247" y="371"/>
                      </a:lnTo>
                      <a:lnTo>
                        <a:pt x="245" y="369"/>
                      </a:lnTo>
                      <a:lnTo>
                        <a:pt x="244" y="369"/>
                      </a:lnTo>
                      <a:lnTo>
                        <a:pt x="242" y="369"/>
                      </a:lnTo>
                      <a:lnTo>
                        <a:pt x="242" y="367"/>
                      </a:lnTo>
                      <a:lnTo>
                        <a:pt x="240" y="367"/>
                      </a:lnTo>
                      <a:lnTo>
                        <a:pt x="240" y="366"/>
                      </a:lnTo>
                      <a:lnTo>
                        <a:pt x="240" y="364"/>
                      </a:lnTo>
                      <a:lnTo>
                        <a:pt x="239" y="364"/>
                      </a:lnTo>
                      <a:lnTo>
                        <a:pt x="237" y="364"/>
                      </a:lnTo>
                      <a:lnTo>
                        <a:pt x="235" y="364"/>
                      </a:lnTo>
                      <a:lnTo>
                        <a:pt x="233" y="363"/>
                      </a:lnTo>
                      <a:lnTo>
                        <a:pt x="232" y="361"/>
                      </a:lnTo>
                      <a:lnTo>
                        <a:pt x="230" y="363"/>
                      </a:lnTo>
                      <a:lnTo>
                        <a:pt x="228" y="363"/>
                      </a:lnTo>
                      <a:lnTo>
                        <a:pt x="227" y="363"/>
                      </a:lnTo>
                      <a:lnTo>
                        <a:pt x="225" y="363"/>
                      </a:lnTo>
                      <a:lnTo>
                        <a:pt x="223" y="363"/>
                      </a:lnTo>
                      <a:lnTo>
                        <a:pt x="222" y="363"/>
                      </a:lnTo>
                      <a:lnTo>
                        <a:pt x="222" y="361"/>
                      </a:lnTo>
                      <a:lnTo>
                        <a:pt x="220" y="361"/>
                      </a:lnTo>
                      <a:lnTo>
                        <a:pt x="218" y="361"/>
                      </a:lnTo>
                      <a:lnTo>
                        <a:pt x="217" y="361"/>
                      </a:lnTo>
                      <a:lnTo>
                        <a:pt x="215" y="361"/>
                      </a:lnTo>
                      <a:lnTo>
                        <a:pt x="213" y="361"/>
                      </a:lnTo>
                      <a:lnTo>
                        <a:pt x="213" y="359"/>
                      </a:lnTo>
                      <a:lnTo>
                        <a:pt x="212" y="359"/>
                      </a:lnTo>
                      <a:lnTo>
                        <a:pt x="210" y="359"/>
                      </a:lnTo>
                      <a:lnTo>
                        <a:pt x="210" y="361"/>
                      </a:lnTo>
                      <a:lnTo>
                        <a:pt x="208" y="361"/>
                      </a:lnTo>
                      <a:lnTo>
                        <a:pt x="206" y="361"/>
                      </a:lnTo>
                      <a:lnTo>
                        <a:pt x="205" y="361"/>
                      </a:lnTo>
                      <a:lnTo>
                        <a:pt x="205" y="359"/>
                      </a:lnTo>
                      <a:lnTo>
                        <a:pt x="203" y="359"/>
                      </a:lnTo>
                      <a:lnTo>
                        <a:pt x="201" y="359"/>
                      </a:lnTo>
                      <a:lnTo>
                        <a:pt x="201" y="358"/>
                      </a:lnTo>
                      <a:lnTo>
                        <a:pt x="200" y="358"/>
                      </a:lnTo>
                      <a:lnTo>
                        <a:pt x="198" y="358"/>
                      </a:lnTo>
                      <a:lnTo>
                        <a:pt x="196" y="358"/>
                      </a:lnTo>
                      <a:lnTo>
                        <a:pt x="195" y="358"/>
                      </a:lnTo>
                      <a:lnTo>
                        <a:pt x="193" y="358"/>
                      </a:lnTo>
                      <a:lnTo>
                        <a:pt x="193" y="359"/>
                      </a:lnTo>
                      <a:lnTo>
                        <a:pt x="191" y="359"/>
                      </a:lnTo>
                      <a:lnTo>
                        <a:pt x="191" y="358"/>
                      </a:lnTo>
                      <a:lnTo>
                        <a:pt x="191" y="356"/>
                      </a:lnTo>
                      <a:lnTo>
                        <a:pt x="190" y="356"/>
                      </a:lnTo>
                      <a:lnTo>
                        <a:pt x="188" y="356"/>
                      </a:lnTo>
                      <a:lnTo>
                        <a:pt x="188" y="354"/>
                      </a:lnTo>
                      <a:lnTo>
                        <a:pt x="186" y="354"/>
                      </a:lnTo>
                      <a:lnTo>
                        <a:pt x="186" y="353"/>
                      </a:lnTo>
                      <a:lnTo>
                        <a:pt x="185" y="353"/>
                      </a:lnTo>
                      <a:lnTo>
                        <a:pt x="183" y="353"/>
                      </a:lnTo>
                      <a:lnTo>
                        <a:pt x="181" y="353"/>
                      </a:lnTo>
                      <a:lnTo>
                        <a:pt x="179" y="353"/>
                      </a:lnTo>
                      <a:lnTo>
                        <a:pt x="179" y="351"/>
                      </a:lnTo>
                      <a:lnTo>
                        <a:pt x="179" y="353"/>
                      </a:lnTo>
                      <a:lnTo>
                        <a:pt x="178" y="353"/>
                      </a:lnTo>
                      <a:lnTo>
                        <a:pt x="176" y="353"/>
                      </a:lnTo>
                      <a:lnTo>
                        <a:pt x="174" y="353"/>
                      </a:lnTo>
                      <a:lnTo>
                        <a:pt x="173" y="353"/>
                      </a:lnTo>
                      <a:lnTo>
                        <a:pt x="171" y="353"/>
                      </a:lnTo>
                      <a:lnTo>
                        <a:pt x="169" y="353"/>
                      </a:lnTo>
                      <a:lnTo>
                        <a:pt x="168" y="353"/>
                      </a:lnTo>
                      <a:lnTo>
                        <a:pt x="166" y="354"/>
                      </a:lnTo>
                      <a:lnTo>
                        <a:pt x="166" y="353"/>
                      </a:lnTo>
                      <a:lnTo>
                        <a:pt x="164" y="353"/>
                      </a:lnTo>
                      <a:lnTo>
                        <a:pt x="164" y="354"/>
                      </a:lnTo>
                      <a:lnTo>
                        <a:pt x="164" y="353"/>
                      </a:lnTo>
                      <a:lnTo>
                        <a:pt x="163" y="353"/>
                      </a:lnTo>
                      <a:lnTo>
                        <a:pt x="163" y="354"/>
                      </a:lnTo>
                      <a:lnTo>
                        <a:pt x="161" y="354"/>
                      </a:lnTo>
                      <a:lnTo>
                        <a:pt x="159" y="354"/>
                      </a:lnTo>
                      <a:lnTo>
                        <a:pt x="157" y="354"/>
                      </a:lnTo>
                      <a:lnTo>
                        <a:pt x="157" y="353"/>
                      </a:lnTo>
                      <a:lnTo>
                        <a:pt x="156" y="353"/>
                      </a:lnTo>
                      <a:lnTo>
                        <a:pt x="154" y="353"/>
                      </a:lnTo>
                      <a:lnTo>
                        <a:pt x="154" y="354"/>
                      </a:lnTo>
                      <a:lnTo>
                        <a:pt x="152" y="354"/>
                      </a:lnTo>
                      <a:lnTo>
                        <a:pt x="151" y="354"/>
                      </a:lnTo>
                      <a:lnTo>
                        <a:pt x="151" y="356"/>
                      </a:lnTo>
                      <a:lnTo>
                        <a:pt x="149" y="356"/>
                      </a:lnTo>
                      <a:lnTo>
                        <a:pt x="147" y="356"/>
                      </a:lnTo>
                      <a:lnTo>
                        <a:pt x="146" y="356"/>
                      </a:lnTo>
                      <a:lnTo>
                        <a:pt x="144" y="356"/>
                      </a:lnTo>
                      <a:lnTo>
                        <a:pt x="144" y="354"/>
                      </a:lnTo>
                      <a:lnTo>
                        <a:pt x="142" y="354"/>
                      </a:lnTo>
                      <a:lnTo>
                        <a:pt x="142" y="353"/>
                      </a:lnTo>
                      <a:lnTo>
                        <a:pt x="141" y="353"/>
                      </a:lnTo>
                      <a:lnTo>
                        <a:pt x="139" y="353"/>
                      </a:lnTo>
                      <a:lnTo>
                        <a:pt x="137" y="353"/>
                      </a:lnTo>
                      <a:lnTo>
                        <a:pt x="137" y="351"/>
                      </a:lnTo>
                      <a:lnTo>
                        <a:pt x="136" y="351"/>
                      </a:lnTo>
                      <a:lnTo>
                        <a:pt x="136" y="349"/>
                      </a:lnTo>
                      <a:lnTo>
                        <a:pt x="134" y="351"/>
                      </a:lnTo>
                      <a:lnTo>
                        <a:pt x="134" y="349"/>
                      </a:lnTo>
                      <a:lnTo>
                        <a:pt x="132" y="349"/>
                      </a:lnTo>
                      <a:lnTo>
                        <a:pt x="132" y="348"/>
                      </a:lnTo>
                      <a:lnTo>
                        <a:pt x="130" y="348"/>
                      </a:lnTo>
                      <a:lnTo>
                        <a:pt x="130" y="346"/>
                      </a:lnTo>
                      <a:lnTo>
                        <a:pt x="130" y="348"/>
                      </a:lnTo>
                      <a:lnTo>
                        <a:pt x="130" y="346"/>
                      </a:lnTo>
                      <a:lnTo>
                        <a:pt x="129" y="344"/>
                      </a:lnTo>
                      <a:lnTo>
                        <a:pt x="129" y="343"/>
                      </a:lnTo>
                      <a:lnTo>
                        <a:pt x="127" y="343"/>
                      </a:lnTo>
                      <a:lnTo>
                        <a:pt x="127" y="344"/>
                      </a:lnTo>
                      <a:lnTo>
                        <a:pt x="125" y="344"/>
                      </a:lnTo>
                      <a:lnTo>
                        <a:pt x="125" y="343"/>
                      </a:lnTo>
                      <a:lnTo>
                        <a:pt x="124" y="344"/>
                      </a:lnTo>
                      <a:lnTo>
                        <a:pt x="124" y="343"/>
                      </a:lnTo>
                      <a:lnTo>
                        <a:pt x="122" y="343"/>
                      </a:lnTo>
                      <a:lnTo>
                        <a:pt x="122" y="344"/>
                      </a:lnTo>
                      <a:lnTo>
                        <a:pt x="122" y="343"/>
                      </a:lnTo>
                      <a:lnTo>
                        <a:pt x="120" y="343"/>
                      </a:lnTo>
                      <a:lnTo>
                        <a:pt x="119" y="343"/>
                      </a:lnTo>
                      <a:lnTo>
                        <a:pt x="117" y="343"/>
                      </a:lnTo>
                      <a:lnTo>
                        <a:pt x="117" y="344"/>
                      </a:lnTo>
                      <a:lnTo>
                        <a:pt x="115" y="344"/>
                      </a:lnTo>
                      <a:lnTo>
                        <a:pt x="115" y="346"/>
                      </a:lnTo>
                      <a:lnTo>
                        <a:pt x="114" y="346"/>
                      </a:lnTo>
                      <a:lnTo>
                        <a:pt x="112" y="346"/>
                      </a:lnTo>
                      <a:lnTo>
                        <a:pt x="112" y="348"/>
                      </a:lnTo>
                      <a:lnTo>
                        <a:pt x="110" y="348"/>
                      </a:lnTo>
                      <a:lnTo>
                        <a:pt x="108" y="348"/>
                      </a:lnTo>
                      <a:lnTo>
                        <a:pt x="107" y="348"/>
                      </a:lnTo>
                      <a:lnTo>
                        <a:pt x="105" y="348"/>
                      </a:lnTo>
                      <a:lnTo>
                        <a:pt x="103" y="348"/>
                      </a:lnTo>
                      <a:lnTo>
                        <a:pt x="102" y="348"/>
                      </a:lnTo>
                      <a:lnTo>
                        <a:pt x="102" y="346"/>
                      </a:lnTo>
                      <a:lnTo>
                        <a:pt x="100" y="346"/>
                      </a:lnTo>
                      <a:lnTo>
                        <a:pt x="100" y="344"/>
                      </a:lnTo>
                      <a:lnTo>
                        <a:pt x="98" y="344"/>
                      </a:lnTo>
                      <a:lnTo>
                        <a:pt x="97" y="344"/>
                      </a:lnTo>
                      <a:lnTo>
                        <a:pt x="95" y="344"/>
                      </a:lnTo>
                      <a:lnTo>
                        <a:pt x="95" y="343"/>
                      </a:lnTo>
                      <a:lnTo>
                        <a:pt x="95" y="344"/>
                      </a:lnTo>
                      <a:lnTo>
                        <a:pt x="93" y="343"/>
                      </a:lnTo>
                      <a:lnTo>
                        <a:pt x="95" y="343"/>
                      </a:lnTo>
                      <a:lnTo>
                        <a:pt x="93" y="343"/>
                      </a:lnTo>
                      <a:lnTo>
                        <a:pt x="93" y="341"/>
                      </a:lnTo>
                      <a:lnTo>
                        <a:pt x="93" y="340"/>
                      </a:lnTo>
                      <a:lnTo>
                        <a:pt x="93" y="338"/>
                      </a:lnTo>
                      <a:lnTo>
                        <a:pt x="92" y="338"/>
                      </a:lnTo>
                      <a:lnTo>
                        <a:pt x="92" y="336"/>
                      </a:lnTo>
                      <a:lnTo>
                        <a:pt x="90" y="336"/>
                      </a:lnTo>
                      <a:lnTo>
                        <a:pt x="90" y="335"/>
                      </a:lnTo>
                      <a:lnTo>
                        <a:pt x="88" y="335"/>
                      </a:lnTo>
                      <a:lnTo>
                        <a:pt x="88" y="333"/>
                      </a:lnTo>
                      <a:lnTo>
                        <a:pt x="87" y="331"/>
                      </a:lnTo>
                      <a:lnTo>
                        <a:pt x="87" y="333"/>
                      </a:lnTo>
                      <a:lnTo>
                        <a:pt x="87" y="331"/>
                      </a:lnTo>
                      <a:lnTo>
                        <a:pt x="85" y="331"/>
                      </a:lnTo>
                      <a:lnTo>
                        <a:pt x="85" y="330"/>
                      </a:lnTo>
                      <a:lnTo>
                        <a:pt x="85" y="328"/>
                      </a:lnTo>
                      <a:lnTo>
                        <a:pt x="85" y="326"/>
                      </a:lnTo>
                      <a:lnTo>
                        <a:pt x="87" y="326"/>
                      </a:lnTo>
                      <a:lnTo>
                        <a:pt x="85" y="326"/>
                      </a:lnTo>
                      <a:lnTo>
                        <a:pt x="85" y="325"/>
                      </a:lnTo>
                      <a:lnTo>
                        <a:pt x="83" y="325"/>
                      </a:lnTo>
                      <a:lnTo>
                        <a:pt x="83" y="323"/>
                      </a:lnTo>
                      <a:lnTo>
                        <a:pt x="83" y="325"/>
                      </a:lnTo>
                      <a:lnTo>
                        <a:pt x="83" y="323"/>
                      </a:lnTo>
                      <a:lnTo>
                        <a:pt x="81" y="323"/>
                      </a:lnTo>
                      <a:lnTo>
                        <a:pt x="81" y="321"/>
                      </a:lnTo>
                      <a:lnTo>
                        <a:pt x="80" y="321"/>
                      </a:lnTo>
                      <a:lnTo>
                        <a:pt x="81" y="321"/>
                      </a:lnTo>
                      <a:lnTo>
                        <a:pt x="80" y="321"/>
                      </a:lnTo>
                      <a:lnTo>
                        <a:pt x="80" y="320"/>
                      </a:lnTo>
                      <a:lnTo>
                        <a:pt x="78" y="320"/>
                      </a:lnTo>
                      <a:lnTo>
                        <a:pt x="78" y="318"/>
                      </a:lnTo>
                      <a:lnTo>
                        <a:pt x="78" y="320"/>
                      </a:lnTo>
                      <a:lnTo>
                        <a:pt x="76" y="320"/>
                      </a:lnTo>
                      <a:lnTo>
                        <a:pt x="76" y="318"/>
                      </a:lnTo>
                      <a:lnTo>
                        <a:pt x="78" y="318"/>
                      </a:lnTo>
                      <a:lnTo>
                        <a:pt x="76" y="318"/>
                      </a:lnTo>
                      <a:lnTo>
                        <a:pt x="75" y="318"/>
                      </a:lnTo>
                      <a:lnTo>
                        <a:pt x="76" y="317"/>
                      </a:lnTo>
                      <a:lnTo>
                        <a:pt x="75" y="317"/>
                      </a:lnTo>
                      <a:lnTo>
                        <a:pt x="75" y="315"/>
                      </a:lnTo>
                      <a:lnTo>
                        <a:pt x="75" y="313"/>
                      </a:lnTo>
                      <a:lnTo>
                        <a:pt x="76" y="313"/>
                      </a:lnTo>
                      <a:lnTo>
                        <a:pt x="76" y="312"/>
                      </a:lnTo>
                      <a:lnTo>
                        <a:pt x="76" y="310"/>
                      </a:lnTo>
                      <a:lnTo>
                        <a:pt x="75" y="310"/>
                      </a:lnTo>
                      <a:lnTo>
                        <a:pt x="76" y="310"/>
                      </a:lnTo>
                      <a:lnTo>
                        <a:pt x="75" y="310"/>
                      </a:lnTo>
                      <a:lnTo>
                        <a:pt x="75" y="308"/>
                      </a:lnTo>
                      <a:lnTo>
                        <a:pt x="76" y="308"/>
                      </a:lnTo>
                      <a:lnTo>
                        <a:pt x="75" y="308"/>
                      </a:lnTo>
                      <a:lnTo>
                        <a:pt x="76" y="307"/>
                      </a:lnTo>
                      <a:lnTo>
                        <a:pt x="75" y="307"/>
                      </a:lnTo>
                      <a:lnTo>
                        <a:pt x="76" y="307"/>
                      </a:lnTo>
                      <a:lnTo>
                        <a:pt x="75" y="307"/>
                      </a:lnTo>
                      <a:lnTo>
                        <a:pt x="75" y="305"/>
                      </a:lnTo>
                      <a:lnTo>
                        <a:pt x="75" y="303"/>
                      </a:lnTo>
                      <a:lnTo>
                        <a:pt x="76" y="303"/>
                      </a:lnTo>
                      <a:lnTo>
                        <a:pt x="76" y="302"/>
                      </a:lnTo>
                      <a:lnTo>
                        <a:pt x="75" y="302"/>
                      </a:lnTo>
                      <a:lnTo>
                        <a:pt x="75" y="300"/>
                      </a:lnTo>
                      <a:lnTo>
                        <a:pt x="76" y="300"/>
                      </a:lnTo>
                      <a:lnTo>
                        <a:pt x="75" y="299"/>
                      </a:lnTo>
                      <a:lnTo>
                        <a:pt x="73" y="299"/>
                      </a:lnTo>
                      <a:lnTo>
                        <a:pt x="75" y="299"/>
                      </a:lnTo>
                      <a:lnTo>
                        <a:pt x="75" y="297"/>
                      </a:lnTo>
                      <a:lnTo>
                        <a:pt x="76" y="297"/>
                      </a:lnTo>
                      <a:lnTo>
                        <a:pt x="75" y="297"/>
                      </a:lnTo>
                      <a:lnTo>
                        <a:pt x="73" y="297"/>
                      </a:lnTo>
                      <a:lnTo>
                        <a:pt x="73" y="295"/>
                      </a:lnTo>
                      <a:lnTo>
                        <a:pt x="73" y="294"/>
                      </a:lnTo>
                      <a:lnTo>
                        <a:pt x="73" y="295"/>
                      </a:lnTo>
                      <a:lnTo>
                        <a:pt x="73" y="294"/>
                      </a:lnTo>
                      <a:lnTo>
                        <a:pt x="71" y="294"/>
                      </a:lnTo>
                      <a:lnTo>
                        <a:pt x="73" y="294"/>
                      </a:lnTo>
                      <a:lnTo>
                        <a:pt x="73" y="292"/>
                      </a:lnTo>
                      <a:lnTo>
                        <a:pt x="71" y="292"/>
                      </a:lnTo>
                      <a:lnTo>
                        <a:pt x="73" y="292"/>
                      </a:lnTo>
                      <a:lnTo>
                        <a:pt x="73" y="294"/>
                      </a:lnTo>
                      <a:lnTo>
                        <a:pt x="75" y="294"/>
                      </a:lnTo>
                      <a:lnTo>
                        <a:pt x="75" y="292"/>
                      </a:lnTo>
                      <a:lnTo>
                        <a:pt x="73" y="292"/>
                      </a:lnTo>
                      <a:lnTo>
                        <a:pt x="75" y="292"/>
                      </a:lnTo>
                      <a:lnTo>
                        <a:pt x="73" y="290"/>
                      </a:lnTo>
                      <a:lnTo>
                        <a:pt x="73" y="292"/>
                      </a:lnTo>
                      <a:lnTo>
                        <a:pt x="73" y="290"/>
                      </a:lnTo>
                      <a:lnTo>
                        <a:pt x="73" y="289"/>
                      </a:lnTo>
                      <a:lnTo>
                        <a:pt x="71" y="289"/>
                      </a:lnTo>
                      <a:lnTo>
                        <a:pt x="70" y="289"/>
                      </a:lnTo>
                      <a:lnTo>
                        <a:pt x="71" y="289"/>
                      </a:lnTo>
                      <a:lnTo>
                        <a:pt x="71" y="287"/>
                      </a:lnTo>
                      <a:lnTo>
                        <a:pt x="71" y="289"/>
                      </a:lnTo>
                      <a:lnTo>
                        <a:pt x="71" y="287"/>
                      </a:lnTo>
                      <a:lnTo>
                        <a:pt x="70" y="287"/>
                      </a:lnTo>
                      <a:lnTo>
                        <a:pt x="70" y="285"/>
                      </a:lnTo>
                      <a:lnTo>
                        <a:pt x="71" y="285"/>
                      </a:lnTo>
                      <a:lnTo>
                        <a:pt x="70" y="285"/>
                      </a:lnTo>
                      <a:lnTo>
                        <a:pt x="68" y="287"/>
                      </a:lnTo>
                      <a:lnTo>
                        <a:pt x="68" y="285"/>
                      </a:lnTo>
                      <a:lnTo>
                        <a:pt x="68" y="287"/>
                      </a:lnTo>
                      <a:lnTo>
                        <a:pt x="68" y="285"/>
                      </a:lnTo>
                      <a:lnTo>
                        <a:pt x="66" y="285"/>
                      </a:lnTo>
                      <a:lnTo>
                        <a:pt x="65" y="285"/>
                      </a:lnTo>
                      <a:lnTo>
                        <a:pt x="66" y="285"/>
                      </a:lnTo>
                      <a:lnTo>
                        <a:pt x="65" y="284"/>
                      </a:lnTo>
                      <a:lnTo>
                        <a:pt x="65" y="285"/>
                      </a:lnTo>
                      <a:lnTo>
                        <a:pt x="65" y="287"/>
                      </a:lnTo>
                      <a:lnTo>
                        <a:pt x="63" y="287"/>
                      </a:lnTo>
                      <a:lnTo>
                        <a:pt x="63" y="285"/>
                      </a:lnTo>
                      <a:lnTo>
                        <a:pt x="63" y="284"/>
                      </a:lnTo>
                      <a:lnTo>
                        <a:pt x="63" y="285"/>
                      </a:lnTo>
                      <a:lnTo>
                        <a:pt x="63" y="284"/>
                      </a:lnTo>
                      <a:lnTo>
                        <a:pt x="61" y="282"/>
                      </a:lnTo>
                      <a:lnTo>
                        <a:pt x="60" y="282"/>
                      </a:lnTo>
                      <a:lnTo>
                        <a:pt x="60" y="280"/>
                      </a:lnTo>
                      <a:lnTo>
                        <a:pt x="58" y="280"/>
                      </a:lnTo>
                      <a:lnTo>
                        <a:pt x="56" y="280"/>
                      </a:lnTo>
                      <a:lnTo>
                        <a:pt x="56" y="282"/>
                      </a:lnTo>
                      <a:lnTo>
                        <a:pt x="54" y="282"/>
                      </a:lnTo>
                      <a:lnTo>
                        <a:pt x="54" y="280"/>
                      </a:lnTo>
                      <a:lnTo>
                        <a:pt x="53" y="280"/>
                      </a:lnTo>
                      <a:lnTo>
                        <a:pt x="53" y="279"/>
                      </a:lnTo>
                      <a:lnTo>
                        <a:pt x="53" y="280"/>
                      </a:lnTo>
                      <a:lnTo>
                        <a:pt x="51" y="280"/>
                      </a:lnTo>
                      <a:lnTo>
                        <a:pt x="51" y="282"/>
                      </a:lnTo>
                      <a:lnTo>
                        <a:pt x="51" y="284"/>
                      </a:lnTo>
                      <a:lnTo>
                        <a:pt x="51" y="285"/>
                      </a:lnTo>
                      <a:lnTo>
                        <a:pt x="49" y="285"/>
                      </a:lnTo>
                      <a:lnTo>
                        <a:pt x="49" y="284"/>
                      </a:lnTo>
                      <a:lnTo>
                        <a:pt x="49" y="282"/>
                      </a:lnTo>
                      <a:lnTo>
                        <a:pt x="48" y="280"/>
                      </a:lnTo>
                      <a:lnTo>
                        <a:pt x="49" y="279"/>
                      </a:lnTo>
                      <a:lnTo>
                        <a:pt x="49" y="277"/>
                      </a:lnTo>
                      <a:lnTo>
                        <a:pt x="51" y="276"/>
                      </a:lnTo>
                      <a:lnTo>
                        <a:pt x="51" y="274"/>
                      </a:lnTo>
                      <a:lnTo>
                        <a:pt x="49" y="274"/>
                      </a:lnTo>
                      <a:lnTo>
                        <a:pt x="48" y="276"/>
                      </a:lnTo>
                      <a:lnTo>
                        <a:pt x="46" y="276"/>
                      </a:lnTo>
                      <a:lnTo>
                        <a:pt x="46" y="277"/>
                      </a:lnTo>
                      <a:lnTo>
                        <a:pt x="44" y="277"/>
                      </a:lnTo>
                      <a:lnTo>
                        <a:pt x="44" y="279"/>
                      </a:lnTo>
                      <a:lnTo>
                        <a:pt x="43" y="279"/>
                      </a:lnTo>
                      <a:lnTo>
                        <a:pt x="43" y="277"/>
                      </a:lnTo>
                      <a:lnTo>
                        <a:pt x="41" y="277"/>
                      </a:lnTo>
                      <a:lnTo>
                        <a:pt x="41" y="279"/>
                      </a:lnTo>
                      <a:lnTo>
                        <a:pt x="41" y="280"/>
                      </a:lnTo>
                      <a:lnTo>
                        <a:pt x="43" y="280"/>
                      </a:lnTo>
                      <a:lnTo>
                        <a:pt x="44" y="282"/>
                      </a:lnTo>
                      <a:lnTo>
                        <a:pt x="43" y="282"/>
                      </a:lnTo>
                      <a:lnTo>
                        <a:pt x="41" y="282"/>
                      </a:lnTo>
                      <a:lnTo>
                        <a:pt x="39" y="280"/>
                      </a:lnTo>
                      <a:lnTo>
                        <a:pt x="38" y="280"/>
                      </a:lnTo>
                      <a:lnTo>
                        <a:pt x="38" y="282"/>
                      </a:lnTo>
                      <a:lnTo>
                        <a:pt x="38" y="284"/>
                      </a:lnTo>
                      <a:lnTo>
                        <a:pt x="36" y="284"/>
                      </a:lnTo>
                      <a:lnTo>
                        <a:pt x="36" y="282"/>
                      </a:lnTo>
                      <a:lnTo>
                        <a:pt x="34" y="282"/>
                      </a:lnTo>
                      <a:lnTo>
                        <a:pt x="34" y="280"/>
                      </a:lnTo>
                      <a:lnTo>
                        <a:pt x="34" y="279"/>
                      </a:lnTo>
                      <a:lnTo>
                        <a:pt x="32" y="279"/>
                      </a:lnTo>
                      <a:lnTo>
                        <a:pt x="31" y="280"/>
                      </a:lnTo>
                      <a:lnTo>
                        <a:pt x="29" y="280"/>
                      </a:lnTo>
                      <a:lnTo>
                        <a:pt x="27" y="284"/>
                      </a:lnTo>
                      <a:lnTo>
                        <a:pt x="26" y="284"/>
                      </a:lnTo>
                      <a:lnTo>
                        <a:pt x="24" y="282"/>
                      </a:lnTo>
                      <a:lnTo>
                        <a:pt x="24" y="284"/>
                      </a:lnTo>
                      <a:lnTo>
                        <a:pt x="22" y="284"/>
                      </a:lnTo>
                      <a:lnTo>
                        <a:pt x="22" y="285"/>
                      </a:lnTo>
                      <a:lnTo>
                        <a:pt x="22" y="287"/>
                      </a:lnTo>
                      <a:lnTo>
                        <a:pt x="21" y="289"/>
                      </a:lnTo>
                      <a:lnTo>
                        <a:pt x="19" y="289"/>
                      </a:lnTo>
                      <a:lnTo>
                        <a:pt x="19" y="290"/>
                      </a:lnTo>
                      <a:lnTo>
                        <a:pt x="19" y="292"/>
                      </a:lnTo>
                      <a:lnTo>
                        <a:pt x="17" y="290"/>
                      </a:lnTo>
                      <a:lnTo>
                        <a:pt x="17" y="289"/>
                      </a:lnTo>
                      <a:lnTo>
                        <a:pt x="16" y="287"/>
                      </a:lnTo>
                      <a:lnTo>
                        <a:pt x="14" y="285"/>
                      </a:lnTo>
                      <a:lnTo>
                        <a:pt x="12" y="285"/>
                      </a:lnTo>
                      <a:lnTo>
                        <a:pt x="11" y="285"/>
                      </a:lnTo>
                      <a:lnTo>
                        <a:pt x="9" y="285"/>
                      </a:lnTo>
                      <a:lnTo>
                        <a:pt x="9" y="284"/>
                      </a:lnTo>
                      <a:lnTo>
                        <a:pt x="7" y="282"/>
                      </a:lnTo>
                      <a:lnTo>
                        <a:pt x="5" y="282"/>
                      </a:lnTo>
                      <a:lnTo>
                        <a:pt x="4" y="282"/>
                      </a:lnTo>
                      <a:lnTo>
                        <a:pt x="4" y="280"/>
                      </a:lnTo>
                      <a:lnTo>
                        <a:pt x="4" y="279"/>
                      </a:lnTo>
                      <a:lnTo>
                        <a:pt x="4" y="277"/>
                      </a:lnTo>
                      <a:lnTo>
                        <a:pt x="4" y="276"/>
                      </a:lnTo>
                      <a:lnTo>
                        <a:pt x="2" y="274"/>
                      </a:lnTo>
                      <a:lnTo>
                        <a:pt x="4" y="272"/>
                      </a:lnTo>
                      <a:lnTo>
                        <a:pt x="2" y="272"/>
                      </a:lnTo>
                      <a:lnTo>
                        <a:pt x="2" y="271"/>
                      </a:lnTo>
                      <a:lnTo>
                        <a:pt x="0" y="271"/>
                      </a:lnTo>
                      <a:lnTo>
                        <a:pt x="2" y="271"/>
                      </a:lnTo>
                      <a:lnTo>
                        <a:pt x="2" y="269"/>
                      </a:lnTo>
                      <a:lnTo>
                        <a:pt x="4" y="267"/>
                      </a:lnTo>
                      <a:lnTo>
                        <a:pt x="4" y="266"/>
                      </a:lnTo>
                      <a:lnTo>
                        <a:pt x="4" y="264"/>
                      </a:lnTo>
                      <a:lnTo>
                        <a:pt x="5" y="264"/>
                      </a:lnTo>
                      <a:lnTo>
                        <a:pt x="5" y="262"/>
                      </a:lnTo>
                      <a:lnTo>
                        <a:pt x="7" y="262"/>
                      </a:lnTo>
                      <a:lnTo>
                        <a:pt x="7" y="261"/>
                      </a:lnTo>
                      <a:lnTo>
                        <a:pt x="9" y="261"/>
                      </a:lnTo>
                      <a:lnTo>
                        <a:pt x="9" y="259"/>
                      </a:lnTo>
                      <a:lnTo>
                        <a:pt x="11" y="257"/>
                      </a:lnTo>
                      <a:lnTo>
                        <a:pt x="12" y="256"/>
                      </a:lnTo>
                      <a:lnTo>
                        <a:pt x="14" y="254"/>
                      </a:lnTo>
                      <a:lnTo>
                        <a:pt x="14" y="253"/>
                      </a:lnTo>
                      <a:lnTo>
                        <a:pt x="14" y="251"/>
                      </a:lnTo>
                      <a:lnTo>
                        <a:pt x="14" y="249"/>
                      </a:lnTo>
                      <a:lnTo>
                        <a:pt x="16" y="248"/>
                      </a:lnTo>
                      <a:lnTo>
                        <a:pt x="16" y="246"/>
                      </a:lnTo>
                      <a:lnTo>
                        <a:pt x="17" y="246"/>
                      </a:lnTo>
                      <a:lnTo>
                        <a:pt x="17" y="244"/>
                      </a:lnTo>
                      <a:lnTo>
                        <a:pt x="19" y="244"/>
                      </a:lnTo>
                      <a:lnTo>
                        <a:pt x="19" y="243"/>
                      </a:lnTo>
                      <a:lnTo>
                        <a:pt x="19" y="241"/>
                      </a:lnTo>
                      <a:lnTo>
                        <a:pt x="17" y="239"/>
                      </a:lnTo>
                      <a:lnTo>
                        <a:pt x="17" y="238"/>
                      </a:lnTo>
                      <a:lnTo>
                        <a:pt x="16" y="238"/>
                      </a:lnTo>
                      <a:lnTo>
                        <a:pt x="16" y="236"/>
                      </a:lnTo>
                      <a:lnTo>
                        <a:pt x="17" y="236"/>
                      </a:lnTo>
                      <a:lnTo>
                        <a:pt x="17" y="234"/>
                      </a:lnTo>
                      <a:lnTo>
                        <a:pt x="16" y="234"/>
                      </a:lnTo>
                      <a:lnTo>
                        <a:pt x="16" y="233"/>
                      </a:lnTo>
                      <a:lnTo>
                        <a:pt x="16" y="231"/>
                      </a:lnTo>
                      <a:lnTo>
                        <a:pt x="17" y="230"/>
                      </a:lnTo>
                      <a:lnTo>
                        <a:pt x="17" y="228"/>
                      </a:lnTo>
                      <a:lnTo>
                        <a:pt x="17" y="225"/>
                      </a:lnTo>
                      <a:lnTo>
                        <a:pt x="17" y="223"/>
                      </a:lnTo>
                      <a:lnTo>
                        <a:pt x="19" y="221"/>
                      </a:lnTo>
                      <a:lnTo>
                        <a:pt x="21" y="220"/>
                      </a:lnTo>
                      <a:lnTo>
                        <a:pt x="21" y="218"/>
                      </a:lnTo>
                      <a:lnTo>
                        <a:pt x="21" y="216"/>
                      </a:lnTo>
                      <a:lnTo>
                        <a:pt x="21" y="215"/>
                      </a:lnTo>
                      <a:lnTo>
                        <a:pt x="21" y="213"/>
                      </a:lnTo>
                      <a:lnTo>
                        <a:pt x="22" y="211"/>
                      </a:lnTo>
                      <a:lnTo>
                        <a:pt x="22" y="210"/>
                      </a:lnTo>
                      <a:lnTo>
                        <a:pt x="22" y="208"/>
                      </a:lnTo>
                      <a:lnTo>
                        <a:pt x="24" y="207"/>
                      </a:lnTo>
                      <a:lnTo>
                        <a:pt x="26" y="205"/>
                      </a:lnTo>
                      <a:lnTo>
                        <a:pt x="26" y="203"/>
                      </a:lnTo>
                      <a:lnTo>
                        <a:pt x="27" y="202"/>
                      </a:lnTo>
                      <a:lnTo>
                        <a:pt x="27" y="200"/>
                      </a:lnTo>
                      <a:lnTo>
                        <a:pt x="29" y="197"/>
                      </a:lnTo>
                      <a:lnTo>
                        <a:pt x="29" y="195"/>
                      </a:lnTo>
                      <a:lnTo>
                        <a:pt x="29" y="193"/>
                      </a:lnTo>
                      <a:lnTo>
                        <a:pt x="29" y="190"/>
                      </a:lnTo>
                      <a:lnTo>
                        <a:pt x="29" y="188"/>
                      </a:lnTo>
                      <a:lnTo>
                        <a:pt x="29" y="187"/>
                      </a:lnTo>
                      <a:lnTo>
                        <a:pt x="27" y="185"/>
                      </a:lnTo>
                      <a:lnTo>
                        <a:pt x="27" y="184"/>
                      </a:lnTo>
                      <a:lnTo>
                        <a:pt x="27" y="182"/>
                      </a:lnTo>
                      <a:lnTo>
                        <a:pt x="29" y="180"/>
                      </a:lnTo>
                      <a:lnTo>
                        <a:pt x="29" y="179"/>
                      </a:lnTo>
                      <a:lnTo>
                        <a:pt x="31" y="175"/>
                      </a:lnTo>
                      <a:lnTo>
                        <a:pt x="32" y="175"/>
                      </a:lnTo>
                      <a:lnTo>
                        <a:pt x="32" y="174"/>
                      </a:lnTo>
                      <a:lnTo>
                        <a:pt x="34" y="172"/>
                      </a:lnTo>
                      <a:lnTo>
                        <a:pt x="34" y="170"/>
                      </a:lnTo>
                      <a:lnTo>
                        <a:pt x="36" y="170"/>
                      </a:lnTo>
                      <a:lnTo>
                        <a:pt x="36" y="169"/>
                      </a:lnTo>
                      <a:lnTo>
                        <a:pt x="34" y="165"/>
                      </a:lnTo>
                      <a:lnTo>
                        <a:pt x="34" y="164"/>
                      </a:lnTo>
                      <a:lnTo>
                        <a:pt x="32" y="162"/>
                      </a:lnTo>
                      <a:lnTo>
                        <a:pt x="32" y="161"/>
                      </a:lnTo>
                      <a:lnTo>
                        <a:pt x="29" y="159"/>
                      </a:lnTo>
                      <a:lnTo>
                        <a:pt x="29" y="156"/>
                      </a:lnTo>
                      <a:lnTo>
                        <a:pt x="29" y="154"/>
                      </a:lnTo>
                      <a:lnTo>
                        <a:pt x="29" y="152"/>
                      </a:lnTo>
                      <a:lnTo>
                        <a:pt x="27" y="152"/>
                      </a:lnTo>
                      <a:lnTo>
                        <a:pt x="27" y="151"/>
                      </a:lnTo>
                      <a:lnTo>
                        <a:pt x="27" y="149"/>
                      </a:lnTo>
                      <a:lnTo>
                        <a:pt x="27" y="147"/>
                      </a:lnTo>
                      <a:lnTo>
                        <a:pt x="29" y="146"/>
                      </a:lnTo>
                      <a:lnTo>
                        <a:pt x="31" y="146"/>
                      </a:lnTo>
                      <a:lnTo>
                        <a:pt x="31" y="144"/>
                      </a:lnTo>
                      <a:lnTo>
                        <a:pt x="32" y="144"/>
                      </a:lnTo>
                      <a:lnTo>
                        <a:pt x="32" y="142"/>
                      </a:lnTo>
                      <a:lnTo>
                        <a:pt x="34" y="142"/>
                      </a:lnTo>
                      <a:lnTo>
                        <a:pt x="34" y="141"/>
                      </a:lnTo>
                      <a:lnTo>
                        <a:pt x="36" y="141"/>
                      </a:lnTo>
                      <a:lnTo>
                        <a:pt x="38" y="141"/>
                      </a:lnTo>
                      <a:lnTo>
                        <a:pt x="39" y="139"/>
                      </a:lnTo>
                      <a:lnTo>
                        <a:pt x="41" y="138"/>
                      </a:lnTo>
                      <a:lnTo>
                        <a:pt x="43" y="136"/>
                      </a:lnTo>
                      <a:lnTo>
                        <a:pt x="46" y="134"/>
                      </a:lnTo>
                      <a:lnTo>
                        <a:pt x="48" y="134"/>
                      </a:lnTo>
                      <a:lnTo>
                        <a:pt x="49" y="133"/>
                      </a:lnTo>
                      <a:lnTo>
                        <a:pt x="51" y="131"/>
                      </a:lnTo>
                      <a:lnTo>
                        <a:pt x="51" y="128"/>
                      </a:lnTo>
                      <a:lnTo>
                        <a:pt x="53" y="126"/>
                      </a:lnTo>
                      <a:lnTo>
                        <a:pt x="53" y="124"/>
                      </a:lnTo>
                      <a:lnTo>
                        <a:pt x="53" y="123"/>
                      </a:lnTo>
                      <a:lnTo>
                        <a:pt x="51" y="123"/>
                      </a:lnTo>
                      <a:lnTo>
                        <a:pt x="51" y="121"/>
                      </a:lnTo>
                      <a:lnTo>
                        <a:pt x="53" y="121"/>
                      </a:lnTo>
                      <a:lnTo>
                        <a:pt x="53" y="119"/>
                      </a:lnTo>
                      <a:lnTo>
                        <a:pt x="51" y="119"/>
                      </a:lnTo>
                      <a:lnTo>
                        <a:pt x="53" y="118"/>
                      </a:lnTo>
                      <a:lnTo>
                        <a:pt x="53" y="116"/>
                      </a:lnTo>
                      <a:lnTo>
                        <a:pt x="53" y="115"/>
                      </a:lnTo>
                      <a:lnTo>
                        <a:pt x="53" y="113"/>
                      </a:lnTo>
                      <a:lnTo>
                        <a:pt x="54" y="113"/>
                      </a:lnTo>
                      <a:lnTo>
                        <a:pt x="54" y="111"/>
                      </a:lnTo>
                      <a:lnTo>
                        <a:pt x="54" y="110"/>
                      </a:lnTo>
                      <a:lnTo>
                        <a:pt x="54" y="106"/>
                      </a:lnTo>
                      <a:lnTo>
                        <a:pt x="56" y="105"/>
                      </a:lnTo>
                      <a:lnTo>
                        <a:pt x="56" y="103"/>
                      </a:lnTo>
                      <a:lnTo>
                        <a:pt x="58" y="103"/>
                      </a:lnTo>
                      <a:lnTo>
                        <a:pt x="58" y="101"/>
                      </a:lnTo>
                      <a:lnTo>
                        <a:pt x="58" y="100"/>
                      </a:lnTo>
                      <a:lnTo>
                        <a:pt x="58" y="98"/>
                      </a:lnTo>
                      <a:lnTo>
                        <a:pt x="58" y="97"/>
                      </a:lnTo>
                      <a:lnTo>
                        <a:pt x="60" y="95"/>
                      </a:lnTo>
                      <a:lnTo>
                        <a:pt x="60" y="92"/>
                      </a:lnTo>
                      <a:lnTo>
                        <a:pt x="60" y="90"/>
                      </a:lnTo>
                      <a:lnTo>
                        <a:pt x="61" y="88"/>
                      </a:lnTo>
                      <a:lnTo>
                        <a:pt x="61" y="87"/>
                      </a:lnTo>
                      <a:lnTo>
                        <a:pt x="63" y="85"/>
                      </a:lnTo>
                      <a:lnTo>
                        <a:pt x="65" y="85"/>
                      </a:lnTo>
                      <a:lnTo>
                        <a:pt x="66" y="85"/>
                      </a:lnTo>
                      <a:lnTo>
                        <a:pt x="68" y="83"/>
                      </a:lnTo>
                      <a:lnTo>
                        <a:pt x="70" y="83"/>
                      </a:lnTo>
                      <a:lnTo>
                        <a:pt x="71" y="82"/>
                      </a:lnTo>
                      <a:lnTo>
                        <a:pt x="73" y="82"/>
                      </a:lnTo>
                      <a:lnTo>
                        <a:pt x="76" y="80"/>
                      </a:lnTo>
                      <a:lnTo>
                        <a:pt x="78" y="78"/>
                      </a:lnTo>
                      <a:lnTo>
                        <a:pt x="80" y="78"/>
                      </a:lnTo>
                      <a:lnTo>
                        <a:pt x="81" y="78"/>
                      </a:lnTo>
                      <a:lnTo>
                        <a:pt x="81" y="77"/>
                      </a:lnTo>
                      <a:lnTo>
                        <a:pt x="83" y="77"/>
                      </a:lnTo>
                      <a:lnTo>
                        <a:pt x="83" y="75"/>
                      </a:lnTo>
                      <a:lnTo>
                        <a:pt x="85" y="74"/>
                      </a:lnTo>
                      <a:lnTo>
                        <a:pt x="87" y="70"/>
                      </a:lnTo>
                      <a:lnTo>
                        <a:pt x="88" y="69"/>
                      </a:lnTo>
                      <a:lnTo>
                        <a:pt x="88" y="67"/>
                      </a:lnTo>
                      <a:lnTo>
                        <a:pt x="88" y="64"/>
                      </a:lnTo>
                      <a:lnTo>
                        <a:pt x="90" y="62"/>
                      </a:lnTo>
                      <a:lnTo>
                        <a:pt x="90" y="60"/>
                      </a:lnTo>
                      <a:lnTo>
                        <a:pt x="92" y="60"/>
                      </a:lnTo>
                      <a:lnTo>
                        <a:pt x="92" y="59"/>
                      </a:lnTo>
                      <a:lnTo>
                        <a:pt x="92" y="57"/>
                      </a:lnTo>
                      <a:lnTo>
                        <a:pt x="93" y="57"/>
                      </a:lnTo>
                      <a:lnTo>
                        <a:pt x="93" y="55"/>
                      </a:lnTo>
                      <a:lnTo>
                        <a:pt x="95" y="55"/>
                      </a:lnTo>
                      <a:lnTo>
                        <a:pt x="95" y="54"/>
                      </a:lnTo>
                      <a:lnTo>
                        <a:pt x="95" y="51"/>
                      </a:lnTo>
                      <a:lnTo>
                        <a:pt x="95" y="47"/>
                      </a:lnTo>
                      <a:lnTo>
                        <a:pt x="95" y="46"/>
                      </a:lnTo>
                      <a:lnTo>
                        <a:pt x="95" y="44"/>
                      </a:lnTo>
                      <a:lnTo>
                        <a:pt x="97" y="41"/>
                      </a:lnTo>
                      <a:lnTo>
                        <a:pt x="98" y="39"/>
                      </a:lnTo>
                      <a:lnTo>
                        <a:pt x="100" y="39"/>
                      </a:lnTo>
                      <a:lnTo>
                        <a:pt x="102" y="36"/>
                      </a:lnTo>
                      <a:lnTo>
                        <a:pt x="103" y="36"/>
                      </a:lnTo>
                      <a:lnTo>
                        <a:pt x="103" y="34"/>
                      </a:lnTo>
                      <a:lnTo>
                        <a:pt x="105" y="32"/>
                      </a:lnTo>
                      <a:lnTo>
                        <a:pt x="107" y="32"/>
                      </a:lnTo>
                      <a:lnTo>
                        <a:pt x="108" y="31"/>
                      </a:lnTo>
                      <a:lnTo>
                        <a:pt x="110" y="31"/>
                      </a:lnTo>
                      <a:lnTo>
                        <a:pt x="112" y="29"/>
                      </a:lnTo>
                      <a:lnTo>
                        <a:pt x="114" y="29"/>
                      </a:lnTo>
                      <a:lnTo>
                        <a:pt x="115" y="28"/>
                      </a:lnTo>
                      <a:close/>
                    </a:path>
                  </a:pathLst>
                </a:custGeom>
                <a:solidFill>
                  <a:srgbClr val="F79646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1" name="Freeform 7"/>
                <p:cNvSpPr>
                  <a:spLocks noChangeAspect="1" noEditPoints="1"/>
                </p:cNvSpPr>
                <p:nvPr/>
              </p:nvSpPr>
              <p:spPr bwMode="auto">
                <a:xfrm>
                  <a:off x="4253736" y="5279919"/>
                  <a:ext cx="815896" cy="524272"/>
                </a:xfrm>
                <a:custGeom>
                  <a:avLst/>
                  <a:gdLst>
                    <a:gd name="T0" fmla="*/ 2147483647 w 523"/>
                    <a:gd name="T1" fmla="*/ 2147483647 h 312"/>
                    <a:gd name="T2" fmla="*/ 2147483647 w 523"/>
                    <a:gd name="T3" fmla="*/ 2147483647 h 312"/>
                    <a:gd name="T4" fmla="*/ 2147483647 w 523"/>
                    <a:gd name="T5" fmla="*/ 2147483647 h 312"/>
                    <a:gd name="T6" fmla="*/ 2147483647 w 523"/>
                    <a:gd name="T7" fmla="*/ 2147483647 h 312"/>
                    <a:gd name="T8" fmla="*/ 2147483647 w 523"/>
                    <a:gd name="T9" fmla="*/ 2147483647 h 312"/>
                    <a:gd name="T10" fmla="*/ 2147483647 w 523"/>
                    <a:gd name="T11" fmla="*/ 2147483647 h 312"/>
                    <a:gd name="T12" fmla="*/ 2147483647 w 523"/>
                    <a:gd name="T13" fmla="*/ 2147483647 h 312"/>
                    <a:gd name="T14" fmla="*/ 2147483647 w 523"/>
                    <a:gd name="T15" fmla="*/ 2147483647 h 312"/>
                    <a:gd name="T16" fmla="*/ 2147483647 w 523"/>
                    <a:gd name="T17" fmla="*/ 2147483647 h 312"/>
                    <a:gd name="T18" fmla="*/ 2147483647 w 523"/>
                    <a:gd name="T19" fmla="*/ 2147483647 h 312"/>
                    <a:gd name="T20" fmla="*/ 2147483647 w 523"/>
                    <a:gd name="T21" fmla="*/ 2147483647 h 312"/>
                    <a:gd name="T22" fmla="*/ 2147483647 w 523"/>
                    <a:gd name="T23" fmla="*/ 2147483647 h 312"/>
                    <a:gd name="T24" fmla="*/ 2147483647 w 523"/>
                    <a:gd name="T25" fmla="*/ 2147483647 h 312"/>
                    <a:gd name="T26" fmla="*/ 2147483647 w 523"/>
                    <a:gd name="T27" fmla="*/ 2147483647 h 312"/>
                    <a:gd name="T28" fmla="*/ 2147483647 w 523"/>
                    <a:gd name="T29" fmla="*/ 2147483647 h 312"/>
                    <a:gd name="T30" fmla="*/ 2147483647 w 523"/>
                    <a:gd name="T31" fmla="*/ 2147483647 h 312"/>
                    <a:gd name="T32" fmla="*/ 2147483647 w 523"/>
                    <a:gd name="T33" fmla="*/ 2147483647 h 312"/>
                    <a:gd name="T34" fmla="*/ 2147483647 w 523"/>
                    <a:gd name="T35" fmla="*/ 2147483647 h 312"/>
                    <a:gd name="T36" fmla="*/ 2147483647 w 523"/>
                    <a:gd name="T37" fmla="*/ 2147483647 h 312"/>
                    <a:gd name="T38" fmla="*/ 2147483647 w 523"/>
                    <a:gd name="T39" fmla="*/ 2147483647 h 312"/>
                    <a:gd name="T40" fmla="*/ 2147483647 w 523"/>
                    <a:gd name="T41" fmla="*/ 2147483647 h 312"/>
                    <a:gd name="T42" fmla="*/ 2147483647 w 523"/>
                    <a:gd name="T43" fmla="*/ 2147483647 h 312"/>
                    <a:gd name="T44" fmla="*/ 2147483647 w 523"/>
                    <a:gd name="T45" fmla="*/ 2147483647 h 312"/>
                    <a:gd name="T46" fmla="*/ 2147483647 w 523"/>
                    <a:gd name="T47" fmla="*/ 2147483647 h 312"/>
                    <a:gd name="T48" fmla="*/ 2147483647 w 523"/>
                    <a:gd name="T49" fmla="*/ 2147483647 h 312"/>
                    <a:gd name="T50" fmla="*/ 2147483647 w 523"/>
                    <a:gd name="T51" fmla="*/ 2147483647 h 312"/>
                    <a:gd name="T52" fmla="*/ 2147483647 w 523"/>
                    <a:gd name="T53" fmla="*/ 2147483647 h 312"/>
                    <a:gd name="T54" fmla="*/ 2147483647 w 523"/>
                    <a:gd name="T55" fmla="*/ 2147483647 h 312"/>
                    <a:gd name="T56" fmla="*/ 2147483647 w 523"/>
                    <a:gd name="T57" fmla="*/ 2147483647 h 312"/>
                    <a:gd name="T58" fmla="*/ 2147483647 w 523"/>
                    <a:gd name="T59" fmla="*/ 2147483647 h 312"/>
                    <a:gd name="T60" fmla="*/ 2147483647 w 523"/>
                    <a:gd name="T61" fmla="*/ 2147483647 h 312"/>
                    <a:gd name="T62" fmla="*/ 2147483647 w 523"/>
                    <a:gd name="T63" fmla="*/ 2147483647 h 312"/>
                    <a:gd name="T64" fmla="*/ 2147483647 w 523"/>
                    <a:gd name="T65" fmla="*/ 2147483647 h 312"/>
                    <a:gd name="T66" fmla="*/ 2147483647 w 523"/>
                    <a:gd name="T67" fmla="*/ 2147483647 h 312"/>
                    <a:gd name="T68" fmla="*/ 2147483647 w 523"/>
                    <a:gd name="T69" fmla="*/ 2147483647 h 312"/>
                    <a:gd name="T70" fmla="*/ 2147483647 w 523"/>
                    <a:gd name="T71" fmla="*/ 2147483647 h 312"/>
                    <a:gd name="T72" fmla="*/ 2147483647 w 523"/>
                    <a:gd name="T73" fmla="*/ 2147483647 h 312"/>
                    <a:gd name="T74" fmla="*/ 2147483647 w 523"/>
                    <a:gd name="T75" fmla="*/ 2147483647 h 312"/>
                    <a:gd name="T76" fmla="*/ 2147483647 w 523"/>
                    <a:gd name="T77" fmla="*/ 2147483647 h 312"/>
                    <a:gd name="T78" fmla="*/ 2147483647 w 523"/>
                    <a:gd name="T79" fmla="*/ 2147483647 h 312"/>
                    <a:gd name="T80" fmla="*/ 2147483647 w 523"/>
                    <a:gd name="T81" fmla="*/ 2147483647 h 312"/>
                    <a:gd name="T82" fmla="*/ 2147483647 w 523"/>
                    <a:gd name="T83" fmla="*/ 2147483647 h 312"/>
                    <a:gd name="T84" fmla="*/ 2147483647 w 523"/>
                    <a:gd name="T85" fmla="*/ 2147483647 h 312"/>
                    <a:gd name="T86" fmla="*/ 2147483647 w 523"/>
                    <a:gd name="T87" fmla="*/ 2147483647 h 312"/>
                    <a:gd name="T88" fmla="*/ 2147483647 w 523"/>
                    <a:gd name="T89" fmla="*/ 2147483647 h 312"/>
                    <a:gd name="T90" fmla="*/ 2147483647 w 523"/>
                    <a:gd name="T91" fmla="*/ 2147483647 h 312"/>
                    <a:gd name="T92" fmla="*/ 2147483647 w 523"/>
                    <a:gd name="T93" fmla="*/ 2147483647 h 312"/>
                    <a:gd name="T94" fmla="*/ 2147483647 w 523"/>
                    <a:gd name="T95" fmla="*/ 2147483647 h 312"/>
                    <a:gd name="T96" fmla="*/ 2147483647 w 523"/>
                    <a:gd name="T97" fmla="*/ 2147483647 h 312"/>
                    <a:gd name="T98" fmla="*/ 2147483647 w 523"/>
                    <a:gd name="T99" fmla="*/ 2147483647 h 312"/>
                    <a:gd name="T100" fmla="*/ 2147483647 w 523"/>
                    <a:gd name="T101" fmla="*/ 2147483647 h 312"/>
                    <a:gd name="T102" fmla="*/ 2147483647 w 523"/>
                    <a:gd name="T103" fmla="*/ 2147483647 h 312"/>
                    <a:gd name="T104" fmla="*/ 2147483647 w 523"/>
                    <a:gd name="T105" fmla="*/ 2147483647 h 312"/>
                    <a:gd name="T106" fmla="*/ 2147483647 w 523"/>
                    <a:gd name="T107" fmla="*/ 2147483647 h 312"/>
                    <a:gd name="T108" fmla="*/ 2147483647 w 523"/>
                    <a:gd name="T109" fmla="*/ 2147483647 h 312"/>
                    <a:gd name="T110" fmla="*/ 2147483647 w 523"/>
                    <a:gd name="T111" fmla="*/ 2147483647 h 312"/>
                    <a:gd name="T112" fmla="*/ 2147483647 w 523"/>
                    <a:gd name="T113" fmla="*/ 2147483647 h 312"/>
                    <a:gd name="T114" fmla="*/ 2147483647 w 523"/>
                    <a:gd name="T115" fmla="*/ 2147483647 h 312"/>
                    <a:gd name="T116" fmla="*/ 2147483647 w 523"/>
                    <a:gd name="T117" fmla="*/ 2147483647 h 312"/>
                    <a:gd name="T118" fmla="*/ 2147483647 w 523"/>
                    <a:gd name="T119" fmla="*/ 2147483647 h 312"/>
                    <a:gd name="T120" fmla="*/ 2147483647 w 523"/>
                    <a:gd name="T121" fmla="*/ 2147483647 h 312"/>
                    <a:gd name="T122" fmla="*/ 2147483647 w 523"/>
                    <a:gd name="T123" fmla="*/ 2147483647 h 312"/>
                    <a:gd name="T124" fmla="*/ 2147483647 w 523"/>
                    <a:gd name="T125" fmla="*/ 2147483647 h 31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523"/>
                    <a:gd name="T190" fmla="*/ 0 h 312"/>
                    <a:gd name="T191" fmla="*/ 523 w 523"/>
                    <a:gd name="T192" fmla="*/ 312 h 31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523" h="312">
                      <a:moveTo>
                        <a:pt x="437" y="6"/>
                      </a:moveTo>
                      <a:lnTo>
                        <a:pt x="439" y="6"/>
                      </a:lnTo>
                      <a:lnTo>
                        <a:pt x="439" y="4"/>
                      </a:lnTo>
                      <a:lnTo>
                        <a:pt x="441" y="4"/>
                      </a:lnTo>
                      <a:lnTo>
                        <a:pt x="442" y="4"/>
                      </a:lnTo>
                      <a:lnTo>
                        <a:pt x="442" y="3"/>
                      </a:lnTo>
                      <a:lnTo>
                        <a:pt x="444" y="3"/>
                      </a:lnTo>
                      <a:lnTo>
                        <a:pt x="444" y="4"/>
                      </a:lnTo>
                      <a:lnTo>
                        <a:pt x="446" y="4"/>
                      </a:lnTo>
                      <a:lnTo>
                        <a:pt x="447" y="4"/>
                      </a:lnTo>
                      <a:lnTo>
                        <a:pt x="447" y="3"/>
                      </a:lnTo>
                      <a:lnTo>
                        <a:pt x="449" y="4"/>
                      </a:lnTo>
                      <a:lnTo>
                        <a:pt x="449" y="3"/>
                      </a:lnTo>
                      <a:lnTo>
                        <a:pt x="449" y="4"/>
                      </a:lnTo>
                      <a:lnTo>
                        <a:pt x="451" y="4"/>
                      </a:lnTo>
                      <a:lnTo>
                        <a:pt x="451" y="3"/>
                      </a:lnTo>
                      <a:lnTo>
                        <a:pt x="451" y="4"/>
                      </a:lnTo>
                      <a:lnTo>
                        <a:pt x="451" y="3"/>
                      </a:lnTo>
                      <a:lnTo>
                        <a:pt x="452" y="4"/>
                      </a:lnTo>
                      <a:lnTo>
                        <a:pt x="452" y="3"/>
                      </a:lnTo>
                      <a:lnTo>
                        <a:pt x="452" y="4"/>
                      </a:lnTo>
                      <a:lnTo>
                        <a:pt x="454" y="4"/>
                      </a:lnTo>
                      <a:lnTo>
                        <a:pt x="456" y="4"/>
                      </a:lnTo>
                      <a:lnTo>
                        <a:pt x="454" y="4"/>
                      </a:lnTo>
                      <a:lnTo>
                        <a:pt x="456" y="3"/>
                      </a:lnTo>
                      <a:lnTo>
                        <a:pt x="456" y="4"/>
                      </a:lnTo>
                      <a:lnTo>
                        <a:pt x="456" y="3"/>
                      </a:lnTo>
                      <a:lnTo>
                        <a:pt x="456" y="4"/>
                      </a:lnTo>
                      <a:lnTo>
                        <a:pt x="457" y="4"/>
                      </a:lnTo>
                      <a:lnTo>
                        <a:pt x="459" y="4"/>
                      </a:lnTo>
                      <a:lnTo>
                        <a:pt x="461" y="4"/>
                      </a:lnTo>
                      <a:lnTo>
                        <a:pt x="461" y="3"/>
                      </a:lnTo>
                      <a:lnTo>
                        <a:pt x="462" y="3"/>
                      </a:lnTo>
                      <a:lnTo>
                        <a:pt x="462" y="1"/>
                      </a:lnTo>
                      <a:lnTo>
                        <a:pt x="462" y="3"/>
                      </a:lnTo>
                      <a:lnTo>
                        <a:pt x="464" y="3"/>
                      </a:lnTo>
                      <a:lnTo>
                        <a:pt x="462" y="1"/>
                      </a:lnTo>
                      <a:lnTo>
                        <a:pt x="484" y="1"/>
                      </a:lnTo>
                      <a:lnTo>
                        <a:pt x="490" y="1"/>
                      </a:lnTo>
                      <a:lnTo>
                        <a:pt x="491" y="1"/>
                      </a:lnTo>
                      <a:lnTo>
                        <a:pt x="491" y="0"/>
                      </a:lnTo>
                      <a:lnTo>
                        <a:pt x="493" y="0"/>
                      </a:lnTo>
                      <a:lnTo>
                        <a:pt x="495" y="1"/>
                      </a:lnTo>
                      <a:lnTo>
                        <a:pt x="496" y="1"/>
                      </a:lnTo>
                      <a:lnTo>
                        <a:pt x="498" y="1"/>
                      </a:lnTo>
                      <a:lnTo>
                        <a:pt x="496" y="3"/>
                      </a:lnTo>
                      <a:lnTo>
                        <a:pt x="496" y="4"/>
                      </a:lnTo>
                      <a:lnTo>
                        <a:pt x="496" y="8"/>
                      </a:lnTo>
                      <a:lnTo>
                        <a:pt x="496" y="9"/>
                      </a:lnTo>
                      <a:lnTo>
                        <a:pt x="496" y="13"/>
                      </a:lnTo>
                      <a:lnTo>
                        <a:pt x="496" y="14"/>
                      </a:lnTo>
                      <a:lnTo>
                        <a:pt x="498" y="16"/>
                      </a:lnTo>
                      <a:lnTo>
                        <a:pt x="498" y="18"/>
                      </a:lnTo>
                      <a:lnTo>
                        <a:pt x="498" y="19"/>
                      </a:lnTo>
                      <a:lnTo>
                        <a:pt x="500" y="19"/>
                      </a:lnTo>
                      <a:lnTo>
                        <a:pt x="500" y="21"/>
                      </a:lnTo>
                      <a:lnTo>
                        <a:pt x="501" y="19"/>
                      </a:lnTo>
                      <a:lnTo>
                        <a:pt x="503" y="19"/>
                      </a:lnTo>
                      <a:lnTo>
                        <a:pt x="503" y="18"/>
                      </a:lnTo>
                      <a:lnTo>
                        <a:pt x="503" y="19"/>
                      </a:lnTo>
                      <a:lnTo>
                        <a:pt x="505" y="19"/>
                      </a:lnTo>
                      <a:lnTo>
                        <a:pt x="503" y="21"/>
                      </a:lnTo>
                      <a:lnTo>
                        <a:pt x="505" y="23"/>
                      </a:lnTo>
                      <a:lnTo>
                        <a:pt x="505" y="24"/>
                      </a:lnTo>
                      <a:lnTo>
                        <a:pt x="506" y="24"/>
                      </a:lnTo>
                      <a:lnTo>
                        <a:pt x="506" y="23"/>
                      </a:lnTo>
                      <a:lnTo>
                        <a:pt x="506" y="24"/>
                      </a:lnTo>
                      <a:lnTo>
                        <a:pt x="506" y="26"/>
                      </a:lnTo>
                      <a:lnTo>
                        <a:pt x="506" y="24"/>
                      </a:lnTo>
                      <a:lnTo>
                        <a:pt x="506" y="26"/>
                      </a:lnTo>
                      <a:lnTo>
                        <a:pt x="505" y="27"/>
                      </a:lnTo>
                      <a:lnTo>
                        <a:pt x="503" y="31"/>
                      </a:lnTo>
                      <a:lnTo>
                        <a:pt x="501" y="34"/>
                      </a:lnTo>
                      <a:lnTo>
                        <a:pt x="501" y="36"/>
                      </a:lnTo>
                      <a:lnTo>
                        <a:pt x="500" y="37"/>
                      </a:lnTo>
                      <a:lnTo>
                        <a:pt x="498" y="39"/>
                      </a:lnTo>
                      <a:lnTo>
                        <a:pt x="498" y="41"/>
                      </a:lnTo>
                      <a:lnTo>
                        <a:pt x="498" y="42"/>
                      </a:lnTo>
                      <a:lnTo>
                        <a:pt x="496" y="42"/>
                      </a:lnTo>
                      <a:lnTo>
                        <a:pt x="498" y="44"/>
                      </a:lnTo>
                      <a:lnTo>
                        <a:pt x="498" y="46"/>
                      </a:lnTo>
                      <a:lnTo>
                        <a:pt x="496" y="47"/>
                      </a:lnTo>
                      <a:lnTo>
                        <a:pt x="495" y="49"/>
                      </a:lnTo>
                      <a:lnTo>
                        <a:pt x="495" y="50"/>
                      </a:lnTo>
                      <a:lnTo>
                        <a:pt x="493" y="54"/>
                      </a:lnTo>
                      <a:lnTo>
                        <a:pt x="491" y="54"/>
                      </a:lnTo>
                      <a:lnTo>
                        <a:pt x="491" y="55"/>
                      </a:lnTo>
                      <a:lnTo>
                        <a:pt x="491" y="57"/>
                      </a:lnTo>
                      <a:lnTo>
                        <a:pt x="490" y="59"/>
                      </a:lnTo>
                      <a:lnTo>
                        <a:pt x="491" y="59"/>
                      </a:lnTo>
                      <a:lnTo>
                        <a:pt x="490" y="59"/>
                      </a:lnTo>
                      <a:lnTo>
                        <a:pt x="490" y="60"/>
                      </a:lnTo>
                      <a:lnTo>
                        <a:pt x="490" y="62"/>
                      </a:lnTo>
                      <a:lnTo>
                        <a:pt x="490" y="65"/>
                      </a:lnTo>
                      <a:lnTo>
                        <a:pt x="488" y="65"/>
                      </a:lnTo>
                      <a:lnTo>
                        <a:pt x="490" y="67"/>
                      </a:lnTo>
                      <a:lnTo>
                        <a:pt x="490" y="69"/>
                      </a:lnTo>
                      <a:lnTo>
                        <a:pt x="490" y="70"/>
                      </a:lnTo>
                      <a:lnTo>
                        <a:pt x="490" y="72"/>
                      </a:lnTo>
                      <a:lnTo>
                        <a:pt x="490" y="73"/>
                      </a:lnTo>
                      <a:lnTo>
                        <a:pt x="491" y="73"/>
                      </a:lnTo>
                      <a:lnTo>
                        <a:pt x="493" y="73"/>
                      </a:lnTo>
                      <a:lnTo>
                        <a:pt x="493" y="75"/>
                      </a:lnTo>
                      <a:lnTo>
                        <a:pt x="495" y="75"/>
                      </a:lnTo>
                      <a:lnTo>
                        <a:pt x="496" y="75"/>
                      </a:lnTo>
                      <a:lnTo>
                        <a:pt x="496" y="73"/>
                      </a:lnTo>
                      <a:lnTo>
                        <a:pt x="498" y="73"/>
                      </a:lnTo>
                      <a:lnTo>
                        <a:pt x="498" y="75"/>
                      </a:lnTo>
                      <a:lnTo>
                        <a:pt x="498" y="77"/>
                      </a:lnTo>
                      <a:lnTo>
                        <a:pt x="496" y="78"/>
                      </a:lnTo>
                      <a:lnTo>
                        <a:pt x="496" y="80"/>
                      </a:lnTo>
                      <a:lnTo>
                        <a:pt x="496" y="78"/>
                      </a:lnTo>
                      <a:lnTo>
                        <a:pt x="496" y="80"/>
                      </a:lnTo>
                      <a:lnTo>
                        <a:pt x="496" y="78"/>
                      </a:lnTo>
                      <a:lnTo>
                        <a:pt x="495" y="80"/>
                      </a:lnTo>
                      <a:lnTo>
                        <a:pt x="495" y="82"/>
                      </a:lnTo>
                      <a:lnTo>
                        <a:pt x="493" y="82"/>
                      </a:lnTo>
                      <a:lnTo>
                        <a:pt x="493" y="85"/>
                      </a:lnTo>
                      <a:lnTo>
                        <a:pt x="493" y="87"/>
                      </a:lnTo>
                      <a:lnTo>
                        <a:pt x="493" y="88"/>
                      </a:lnTo>
                      <a:lnTo>
                        <a:pt x="495" y="88"/>
                      </a:lnTo>
                      <a:lnTo>
                        <a:pt x="495" y="90"/>
                      </a:lnTo>
                      <a:lnTo>
                        <a:pt x="495" y="92"/>
                      </a:lnTo>
                      <a:lnTo>
                        <a:pt x="495" y="93"/>
                      </a:lnTo>
                      <a:lnTo>
                        <a:pt x="493" y="93"/>
                      </a:lnTo>
                      <a:lnTo>
                        <a:pt x="495" y="93"/>
                      </a:lnTo>
                      <a:lnTo>
                        <a:pt x="495" y="95"/>
                      </a:lnTo>
                      <a:lnTo>
                        <a:pt x="495" y="96"/>
                      </a:lnTo>
                      <a:lnTo>
                        <a:pt x="496" y="96"/>
                      </a:lnTo>
                      <a:lnTo>
                        <a:pt x="496" y="95"/>
                      </a:lnTo>
                      <a:lnTo>
                        <a:pt x="498" y="95"/>
                      </a:lnTo>
                      <a:lnTo>
                        <a:pt x="498" y="96"/>
                      </a:lnTo>
                      <a:lnTo>
                        <a:pt x="500" y="96"/>
                      </a:lnTo>
                      <a:lnTo>
                        <a:pt x="500" y="98"/>
                      </a:lnTo>
                      <a:lnTo>
                        <a:pt x="498" y="98"/>
                      </a:lnTo>
                      <a:lnTo>
                        <a:pt x="500" y="100"/>
                      </a:lnTo>
                      <a:lnTo>
                        <a:pt x="498" y="100"/>
                      </a:lnTo>
                      <a:lnTo>
                        <a:pt x="498" y="101"/>
                      </a:lnTo>
                      <a:lnTo>
                        <a:pt x="498" y="103"/>
                      </a:lnTo>
                      <a:lnTo>
                        <a:pt x="496" y="105"/>
                      </a:lnTo>
                      <a:lnTo>
                        <a:pt x="496" y="106"/>
                      </a:lnTo>
                      <a:lnTo>
                        <a:pt x="498" y="108"/>
                      </a:lnTo>
                      <a:lnTo>
                        <a:pt x="498" y="110"/>
                      </a:lnTo>
                      <a:lnTo>
                        <a:pt x="500" y="110"/>
                      </a:lnTo>
                      <a:lnTo>
                        <a:pt x="501" y="110"/>
                      </a:lnTo>
                      <a:lnTo>
                        <a:pt x="503" y="110"/>
                      </a:lnTo>
                      <a:lnTo>
                        <a:pt x="503" y="108"/>
                      </a:lnTo>
                      <a:lnTo>
                        <a:pt x="505" y="108"/>
                      </a:lnTo>
                      <a:lnTo>
                        <a:pt x="505" y="106"/>
                      </a:lnTo>
                      <a:lnTo>
                        <a:pt x="503" y="108"/>
                      </a:lnTo>
                      <a:lnTo>
                        <a:pt x="503" y="106"/>
                      </a:lnTo>
                      <a:lnTo>
                        <a:pt x="505" y="106"/>
                      </a:lnTo>
                      <a:lnTo>
                        <a:pt x="506" y="106"/>
                      </a:lnTo>
                      <a:lnTo>
                        <a:pt x="505" y="106"/>
                      </a:lnTo>
                      <a:lnTo>
                        <a:pt x="505" y="108"/>
                      </a:lnTo>
                      <a:lnTo>
                        <a:pt x="506" y="108"/>
                      </a:lnTo>
                      <a:lnTo>
                        <a:pt x="506" y="110"/>
                      </a:lnTo>
                      <a:lnTo>
                        <a:pt x="508" y="110"/>
                      </a:lnTo>
                      <a:lnTo>
                        <a:pt x="508" y="108"/>
                      </a:lnTo>
                      <a:lnTo>
                        <a:pt x="508" y="110"/>
                      </a:lnTo>
                      <a:lnTo>
                        <a:pt x="510" y="108"/>
                      </a:lnTo>
                      <a:lnTo>
                        <a:pt x="510" y="110"/>
                      </a:lnTo>
                      <a:lnTo>
                        <a:pt x="508" y="110"/>
                      </a:lnTo>
                      <a:lnTo>
                        <a:pt x="508" y="111"/>
                      </a:lnTo>
                      <a:lnTo>
                        <a:pt x="506" y="111"/>
                      </a:lnTo>
                      <a:lnTo>
                        <a:pt x="506" y="113"/>
                      </a:lnTo>
                      <a:lnTo>
                        <a:pt x="506" y="115"/>
                      </a:lnTo>
                      <a:lnTo>
                        <a:pt x="508" y="115"/>
                      </a:lnTo>
                      <a:lnTo>
                        <a:pt x="506" y="115"/>
                      </a:lnTo>
                      <a:lnTo>
                        <a:pt x="506" y="116"/>
                      </a:lnTo>
                      <a:lnTo>
                        <a:pt x="506" y="115"/>
                      </a:lnTo>
                      <a:lnTo>
                        <a:pt x="506" y="116"/>
                      </a:lnTo>
                      <a:lnTo>
                        <a:pt x="505" y="116"/>
                      </a:lnTo>
                      <a:lnTo>
                        <a:pt x="505" y="115"/>
                      </a:lnTo>
                      <a:lnTo>
                        <a:pt x="506" y="115"/>
                      </a:lnTo>
                      <a:lnTo>
                        <a:pt x="506" y="113"/>
                      </a:lnTo>
                      <a:lnTo>
                        <a:pt x="505" y="113"/>
                      </a:lnTo>
                      <a:lnTo>
                        <a:pt x="503" y="113"/>
                      </a:lnTo>
                      <a:lnTo>
                        <a:pt x="501" y="113"/>
                      </a:lnTo>
                      <a:lnTo>
                        <a:pt x="501" y="115"/>
                      </a:lnTo>
                      <a:lnTo>
                        <a:pt x="501" y="113"/>
                      </a:lnTo>
                      <a:lnTo>
                        <a:pt x="501" y="115"/>
                      </a:lnTo>
                      <a:lnTo>
                        <a:pt x="500" y="115"/>
                      </a:lnTo>
                      <a:lnTo>
                        <a:pt x="498" y="115"/>
                      </a:lnTo>
                      <a:lnTo>
                        <a:pt x="496" y="116"/>
                      </a:lnTo>
                      <a:lnTo>
                        <a:pt x="496" y="118"/>
                      </a:lnTo>
                      <a:lnTo>
                        <a:pt x="495" y="119"/>
                      </a:lnTo>
                      <a:lnTo>
                        <a:pt x="496" y="121"/>
                      </a:lnTo>
                      <a:lnTo>
                        <a:pt x="496" y="123"/>
                      </a:lnTo>
                      <a:lnTo>
                        <a:pt x="496" y="124"/>
                      </a:lnTo>
                      <a:lnTo>
                        <a:pt x="498" y="124"/>
                      </a:lnTo>
                      <a:lnTo>
                        <a:pt x="500" y="124"/>
                      </a:lnTo>
                      <a:lnTo>
                        <a:pt x="501" y="124"/>
                      </a:lnTo>
                      <a:lnTo>
                        <a:pt x="501" y="123"/>
                      </a:lnTo>
                      <a:lnTo>
                        <a:pt x="501" y="124"/>
                      </a:lnTo>
                      <a:lnTo>
                        <a:pt x="501" y="123"/>
                      </a:lnTo>
                      <a:lnTo>
                        <a:pt x="503" y="123"/>
                      </a:lnTo>
                      <a:lnTo>
                        <a:pt x="503" y="124"/>
                      </a:lnTo>
                      <a:lnTo>
                        <a:pt x="503" y="126"/>
                      </a:lnTo>
                      <a:lnTo>
                        <a:pt x="505" y="126"/>
                      </a:lnTo>
                      <a:lnTo>
                        <a:pt x="503" y="126"/>
                      </a:lnTo>
                      <a:lnTo>
                        <a:pt x="503" y="128"/>
                      </a:lnTo>
                      <a:lnTo>
                        <a:pt x="505" y="128"/>
                      </a:lnTo>
                      <a:lnTo>
                        <a:pt x="503" y="128"/>
                      </a:lnTo>
                      <a:lnTo>
                        <a:pt x="503" y="129"/>
                      </a:lnTo>
                      <a:lnTo>
                        <a:pt x="505" y="129"/>
                      </a:lnTo>
                      <a:lnTo>
                        <a:pt x="505" y="131"/>
                      </a:lnTo>
                      <a:lnTo>
                        <a:pt x="503" y="131"/>
                      </a:lnTo>
                      <a:lnTo>
                        <a:pt x="503" y="129"/>
                      </a:lnTo>
                      <a:lnTo>
                        <a:pt x="501" y="129"/>
                      </a:lnTo>
                      <a:lnTo>
                        <a:pt x="501" y="131"/>
                      </a:lnTo>
                      <a:lnTo>
                        <a:pt x="500" y="131"/>
                      </a:lnTo>
                      <a:lnTo>
                        <a:pt x="501" y="131"/>
                      </a:lnTo>
                      <a:lnTo>
                        <a:pt x="500" y="131"/>
                      </a:lnTo>
                      <a:lnTo>
                        <a:pt x="500" y="133"/>
                      </a:lnTo>
                      <a:lnTo>
                        <a:pt x="501" y="133"/>
                      </a:lnTo>
                      <a:lnTo>
                        <a:pt x="500" y="133"/>
                      </a:lnTo>
                      <a:lnTo>
                        <a:pt x="500" y="134"/>
                      </a:lnTo>
                      <a:lnTo>
                        <a:pt x="501" y="134"/>
                      </a:lnTo>
                      <a:lnTo>
                        <a:pt x="500" y="134"/>
                      </a:lnTo>
                      <a:lnTo>
                        <a:pt x="500" y="136"/>
                      </a:lnTo>
                      <a:lnTo>
                        <a:pt x="498" y="136"/>
                      </a:lnTo>
                      <a:lnTo>
                        <a:pt x="498" y="134"/>
                      </a:lnTo>
                      <a:lnTo>
                        <a:pt x="496" y="134"/>
                      </a:lnTo>
                      <a:lnTo>
                        <a:pt x="495" y="134"/>
                      </a:lnTo>
                      <a:lnTo>
                        <a:pt x="495" y="136"/>
                      </a:lnTo>
                      <a:lnTo>
                        <a:pt x="495" y="138"/>
                      </a:lnTo>
                      <a:lnTo>
                        <a:pt x="493" y="138"/>
                      </a:lnTo>
                      <a:lnTo>
                        <a:pt x="493" y="139"/>
                      </a:lnTo>
                      <a:lnTo>
                        <a:pt x="493" y="141"/>
                      </a:lnTo>
                      <a:lnTo>
                        <a:pt x="493" y="142"/>
                      </a:lnTo>
                      <a:lnTo>
                        <a:pt x="495" y="142"/>
                      </a:lnTo>
                      <a:lnTo>
                        <a:pt x="495" y="144"/>
                      </a:lnTo>
                      <a:lnTo>
                        <a:pt x="495" y="146"/>
                      </a:lnTo>
                      <a:lnTo>
                        <a:pt x="496" y="146"/>
                      </a:lnTo>
                      <a:lnTo>
                        <a:pt x="495" y="147"/>
                      </a:lnTo>
                      <a:lnTo>
                        <a:pt x="496" y="147"/>
                      </a:lnTo>
                      <a:lnTo>
                        <a:pt x="496" y="149"/>
                      </a:lnTo>
                      <a:lnTo>
                        <a:pt x="498" y="149"/>
                      </a:lnTo>
                      <a:lnTo>
                        <a:pt x="500" y="149"/>
                      </a:lnTo>
                      <a:lnTo>
                        <a:pt x="500" y="151"/>
                      </a:lnTo>
                      <a:lnTo>
                        <a:pt x="500" y="152"/>
                      </a:lnTo>
                      <a:lnTo>
                        <a:pt x="498" y="152"/>
                      </a:lnTo>
                      <a:lnTo>
                        <a:pt x="496" y="152"/>
                      </a:lnTo>
                      <a:lnTo>
                        <a:pt x="498" y="152"/>
                      </a:lnTo>
                      <a:lnTo>
                        <a:pt x="496" y="152"/>
                      </a:lnTo>
                      <a:lnTo>
                        <a:pt x="498" y="152"/>
                      </a:lnTo>
                      <a:lnTo>
                        <a:pt x="498" y="151"/>
                      </a:lnTo>
                      <a:lnTo>
                        <a:pt x="496" y="151"/>
                      </a:lnTo>
                      <a:lnTo>
                        <a:pt x="495" y="151"/>
                      </a:lnTo>
                      <a:lnTo>
                        <a:pt x="495" y="152"/>
                      </a:lnTo>
                      <a:lnTo>
                        <a:pt x="495" y="154"/>
                      </a:lnTo>
                      <a:lnTo>
                        <a:pt x="493" y="154"/>
                      </a:lnTo>
                      <a:lnTo>
                        <a:pt x="491" y="156"/>
                      </a:lnTo>
                      <a:lnTo>
                        <a:pt x="493" y="156"/>
                      </a:lnTo>
                      <a:lnTo>
                        <a:pt x="493" y="157"/>
                      </a:lnTo>
                      <a:lnTo>
                        <a:pt x="493" y="159"/>
                      </a:lnTo>
                      <a:lnTo>
                        <a:pt x="495" y="159"/>
                      </a:lnTo>
                      <a:lnTo>
                        <a:pt x="493" y="161"/>
                      </a:lnTo>
                      <a:lnTo>
                        <a:pt x="493" y="162"/>
                      </a:lnTo>
                      <a:lnTo>
                        <a:pt x="493" y="164"/>
                      </a:lnTo>
                      <a:lnTo>
                        <a:pt x="495" y="164"/>
                      </a:lnTo>
                      <a:lnTo>
                        <a:pt x="496" y="165"/>
                      </a:lnTo>
                      <a:lnTo>
                        <a:pt x="495" y="165"/>
                      </a:lnTo>
                      <a:lnTo>
                        <a:pt x="496" y="165"/>
                      </a:lnTo>
                      <a:lnTo>
                        <a:pt x="495" y="165"/>
                      </a:lnTo>
                      <a:lnTo>
                        <a:pt x="496" y="167"/>
                      </a:lnTo>
                      <a:lnTo>
                        <a:pt x="495" y="167"/>
                      </a:lnTo>
                      <a:lnTo>
                        <a:pt x="493" y="169"/>
                      </a:lnTo>
                      <a:lnTo>
                        <a:pt x="495" y="169"/>
                      </a:lnTo>
                      <a:lnTo>
                        <a:pt x="495" y="170"/>
                      </a:lnTo>
                      <a:lnTo>
                        <a:pt x="495" y="172"/>
                      </a:lnTo>
                      <a:lnTo>
                        <a:pt x="496" y="172"/>
                      </a:lnTo>
                      <a:lnTo>
                        <a:pt x="498" y="172"/>
                      </a:lnTo>
                      <a:lnTo>
                        <a:pt x="498" y="174"/>
                      </a:lnTo>
                      <a:lnTo>
                        <a:pt x="500" y="174"/>
                      </a:lnTo>
                      <a:lnTo>
                        <a:pt x="498" y="174"/>
                      </a:lnTo>
                      <a:lnTo>
                        <a:pt x="496" y="175"/>
                      </a:lnTo>
                      <a:lnTo>
                        <a:pt x="496" y="177"/>
                      </a:lnTo>
                      <a:lnTo>
                        <a:pt x="498" y="177"/>
                      </a:lnTo>
                      <a:lnTo>
                        <a:pt x="500" y="177"/>
                      </a:lnTo>
                      <a:lnTo>
                        <a:pt x="500" y="179"/>
                      </a:lnTo>
                      <a:lnTo>
                        <a:pt x="498" y="179"/>
                      </a:lnTo>
                      <a:lnTo>
                        <a:pt x="498" y="180"/>
                      </a:lnTo>
                      <a:lnTo>
                        <a:pt x="496" y="180"/>
                      </a:lnTo>
                      <a:lnTo>
                        <a:pt x="495" y="182"/>
                      </a:lnTo>
                      <a:lnTo>
                        <a:pt x="495" y="184"/>
                      </a:lnTo>
                      <a:lnTo>
                        <a:pt x="495" y="185"/>
                      </a:lnTo>
                      <a:lnTo>
                        <a:pt x="495" y="188"/>
                      </a:lnTo>
                      <a:lnTo>
                        <a:pt x="495" y="190"/>
                      </a:lnTo>
                      <a:lnTo>
                        <a:pt x="496" y="190"/>
                      </a:lnTo>
                      <a:lnTo>
                        <a:pt x="496" y="188"/>
                      </a:lnTo>
                      <a:lnTo>
                        <a:pt x="496" y="190"/>
                      </a:lnTo>
                      <a:lnTo>
                        <a:pt x="496" y="192"/>
                      </a:lnTo>
                      <a:lnTo>
                        <a:pt x="496" y="190"/>
                      </a:lnTo>
                      <a:lnTo>
                        <a:pt x="496" y="192"/>
                      </a:lnTo>
                      <a:lnTo>
                        <a:pt x="496" y="193"/>
                      </a:lnTo>
                      <a:lnTo>
                        <a:pt x="495" y="193"/>
                      </a:lnTo>
                      <a:lnTo>
                        <a:pt x="495" y="195"/>
                      </a:lnTo>
                      <a:lnTo>
                        <a:pt x="495" y="197"/>
                      </a:lnTo>
                      <a:lnTo>
                        <a:pt x="493" y="197"/>
                      </a:lnTo>
                      <a:lnTo>
                        <a:pt x="493" y="198"/>
                      </a:lnTo>
                      <a:lnTo>
                        <a:pt x="495" y="198"/>
                      </a:lnTo>
                      <a:lnTo>
                        <a:pt x="493" y="198"/>
                      </a:lnTo>
                      <a:lnTo>
                        <a:pt x="495" y="198"/>
                      </a:lnTo>
                      <a:lnTo>
                        <a:pt x="493" y="198"/>
                      </a:lnTo>
                      <a:lnTo>
                        <a:pt x="493" y="200"/>
                      </a:lnTo>
                      <a:lnTo>
                        <a:pt x="493" y="202"/>
                      </a:lnTo>
                      <a:lnTo>
                        <a:pt x="491" y="202"/>
                      </a:lnTo>
                      <a:lnTo>
                        <a:pt x="491" y="205"/>
                      </a:lnTo>
                      <a:lnTo>
                        <a:pt x="491" y="206"/>
                      </a:lnTo>
                      <a:lnTo>
                        <a:pt x="491" y="208"/>
                      </a:lnTo>
                      <a:lnTo>
                        <a:pt x="491" y="210"/>
                      </a:lnTo>
                      <a:lnTo>
                        <a:pt x="493" y="210"/>
                      </a:lnTo>
                      <a:lnTo>
                        <a:pt x="491" y="208"/>
                      </a:lnTo>
                      <a:lnTo>
                        <a:pt x="493" y="208"/>
                      </a:lnTo>
                      <a:lnTo>
                        <a:pt x="493" y="210"/>
                      </a:lnTo>
                      <a:lnTo>
                        <a:pt x="491" y="210"/>
                      </a:lnTo>
                      <a:lnTo>
                        <a:pt x="490" y="211"/>
                      </a:lnTo>
                      <a:lnTo>
                        <a:pt x="488" y="213"/>
                      </a:lnTo>
                      <a:lnTo>
                        <a:pt x="488" y="215"/>
                      </a:lnTo>
                      <a:lnTo>
                        <a:pt x="486" y="218"/>
                      </a:lnTo>
                      <a:lnTo>
                        <a:pt x="488" y="220"/>
                      </a:lnTo>
                      <a:lnTo>
                        <a:pt x="488" y="218"/>
                      </a:lnTo>
                      <a:lnTo>
                        <a:pt x="488" y="220"/>
                      </a:lnTo>
                      <a:lnTo>
                        <a:pt x="486" y="220"/>
                      </a:lnTo>
                      <a:lnTo>
                        <a:pt x="484" y="221"/>
                      </a:lnTo>
                      <a:lnTo>
                        <a:pt x="483" y="223"/>
                      </a:lnTo>
                      <a:lnTo>
                        <a:pt x="483" y="225"/>
                      </a:lnTo>
                      <a:lnTo>
                        <a:pt x="483" y="226"/>
                      </a:lnTo>
                      <a:lnTo>
                        <a:pt x="484" y="226"/>
                      </a:lnTo>
                      <a:lnTo>
                        <a:pt x="483" y="226"/>
                      </a:lnTo>
                      <a:lnTo>
                        <a:pt x="484" y="226"/>
                      </a:lnTo>
                      <a:lnTo>
                        <a:pt x="483" y="226"/>
                      </a:lnTo>
                      <a:lnTo>
                        <a:pt x="483" y="228"/>
                      </a:lnTo>
                      <a:lnTo>
                        <a:pt x="481" y="229"/>
                      </a:lnTo>
                      <a:lnTo>
                        <a:pt x="481" y="231"/>
                      </a:lnTo>
                      <a:lnTo>
                        <a:pt x="481" y="233"/>
                      </a:lnTo>
                      <a:lnTo>
                        <a:pt x="483" y="233"/>
                      </a:lnTo>
                      <a:lnTo>
                        <a:pt x="483" y="234"/>
                      </a:lnTo>
                      <a:lnTo>
                        <a:pt x="483" y="233"/>
                      </a:lnTo>
                      <a:lnTo>
                        <a:pt x="483" y="234"/>
                      </a:lnTo>
                      <a:lnTo>
                        <a:pt x="481" y="236"/>
                      </a:lnTo>
                      <a:lnTo>
                        <a:pt x="481" y="238"/>
                      </a:lnTo>
                      <a:lnTo>
                        <a:pt x="479" y="238"/>
                      </a:lnTo>
                      <a:lnTo>
                        <a:pt x="479" y="239"/>
                      </a:lnTo>
                      <a:lnTo>
                        <a:pt x="479" y="241"/>
                      </a:lnTo>
                      <a:lnTo>
                        <a:pt x="479" y="239"/>
                      </a:lnTo>
                      <a:lnTo>
                        <a:pt x="478" y="239"/>
                      </a:lnTo>
                      <a:lnTo>
                        <a:pt x="478" y="241"/>
                      </a:lnTo>
                      <a:lnTo>
                        <a:pt x="476" y="243"/>
                      </a:lnTo>
                      <a:lnTo>
                        <a:pt x="476" y="244"/>
                      </a:lnTo>
                      <a:lnTo>
                        <a:pt x="474" y="244"/>
                      </a:lnTo>
                      <a:lnTo>
                        <a:pt x="473" y="244"/>
                      </a:lnTo>
                      <a:lnTo>
                        <a:pt x="468" y="246"/>
                      </a:lnTo>
                      <a:lnTo>
                        <a:pt x="461" y="249"/>
                      </a:lnTo>
                      <a:lnTo>
                        <a:pt x="449" y="257"/>
                      </a:lnTo>
                      <a:lnTo>
                        <a:pt x="444" y="259"/>
                      </a:lnTo>
                      <a:lnTo>
                        <a:pt x="442" y="261"/>
                      </a:lnTo>
                      <a:lnTo>
                        <a:pt x="441" y="262"/>
                      </a:lnTo>
                      <a:lnTo>
                        <a:pt x="439" y="264"/>
                      </a:lnTo>
                      <a:lnTo>
                        <a:pt x="435" y="266"/>
                      </a:lnTo>
                      <a:lnTo>
                        <a:pt x="432" y="269"/>
                      </a:lnTo>
                      <a:lnTo>
                        <a:pt x="429" y="271"/>
                      </a:lnTo>
                      <a:lnTo>
                        <a:pt x="429" y="272"/>
                      </a:lnTo>
                      <a:lnTo>
                        <a:pt x="427" y="272"/>
                      </a:lnTo>
                      <a:lnTo>
                        <a:pt x="425" y="274"/>
                      </a:lnTo>
                      <a:lnTo>
                        <a:pt x="424" y="275"/>
                      </a:lnTo>
                      <a:lnTo>
                        <a:pt x="419" y="279"/>
                      </a:lnTo>
                      <a:lnTo>
                        <a:pt x="419" y="280"/>
                      </a:lnTo>
                      <a:lnTo>
                        <a:pt x="415" y="282"/>
                      </a:lnTo>
                      <a:lnTo>
                        <a:pt x="412" y="287"/>
                      </a:lnTo>
                      <a:lnTo>
                        <a:pt x="410" y="289"/>
                      </a:lnTo>
                      <a:lnTo>
                        <a:pt x="408" y="290"/>
                      </a:lnTo>
                      <a:lnTo>
                        <a:pt x="407" y="292"/>
                      </a:lnTo>
                      <a:lnTo>
                        <a:pt x="405" y="295"/>
                      </a:lnTo>
                      <a:lnTo>
                        <a:pt x="402" y="297"/>
                      </a:lnTo>
                      <a:lnTo>
                        <a:pt x="397" y="303"/>
                      </a:lnTo>
                      <a:lnTo>
                        <a:pt x="392" y="308"/>
                      </a:lnTo>
                      <a:lnTo>
                        <a:pt x="392" y="310"/>
                      </a:lnTo>
                      <a:lnTo>
                        <a:pt x="390" y="310"/>
                      </a:lnTo>
                      <a:lnTo>
                        <a:pt x="388" y="310"/>
                      </a:lnTo>
                      <a:lnTo>
                        <a:pt x="390" y="310"/>
                      </a:lnTo>
                      <a:lnTo>
                        <a:pt x="390" y="308"/>
                      </a:lnTo>
                      <a:lnTo>
                        <a:pt x="388" y="308"/>
                      </a:lnTo>
                      <a:lnTo>
                        <a:pt x="388" y="307"/>
                      </a:lnTo>
                      <a:lnTo>
                        <a:pt x="386" y="308"/>
                      </a:lnTo>
                      <a:lnTo>
                        <a:pt x="385" y="307"/>
                      </a:lnTo>
                      <a:lnTo>
                        <a:pt x="383" y="307"/>
                      </a:lnTo>
                      <a:lnTo>
                        <a:pt x="381" y="307"/>
                      </a:lnTo>
                      <a:lnTo>
                        <a:pt x="381" y="305"/>
                      </a:lnTo>
                      <a:lnTo>
                        <a:pt x="380" y="305"/>
                      </a:lnTo>
                      <a:lnTo>
                        <a:pt x="378" y="305"/>
                      </a:lnTo>
                      <a:lnTo>
                        <a:pt x="380" y="305"/>
                      </a:lnTo>
                      <a:lnTo>
                        <a:pt x="380" y="303"/>
                      </a:lnTo>
                      <a:lnTo>
                        <a:pt x="378" y="303"/>
                      </a:lnTo>
                      <a:lnTo>
                        <a:pt x="378" y="302"/>
                      </a:lnTo>
                      <a:lnTo>
                        <a:pt x="376" y="300"/>
                      </a:lnTo>
                      <a:lnTo>
                        <a:pt x="375" y="300"/>
                      </a:lnTo>
                      <a:lnTo>
                        <a:pt x="373" y="300"/>
                      </a:lnTo>
                      <a:lnTo>
                        <a:pt x="373" y="298"/>
                      </a:lnTo>
                      <a:lnTo>
                        <a:pt x="371" y="298"/>
                      </a:lnTo>
                      <a:lnTo>
                        <a:pt x="370" y="298"/>
                      </a:lnTo>
                      <a:lnTo>
                        <a:pt x="368" y="298"/>
                      </a:lnTo>
                      <a:lnTo>
                        <a:pt x="366" y="298"/>
                      </a:lnTo>
                      <a:lnTo>
                        <a:pt x="366" y="300"/>
                      </a:lnTo>
                      <a:lnTo>
                        <a:pt x="365" y="300"/>
                      </a:lnTo>
                      <a:lnTo>
                        <a:pt x="363" y="300"/>
                      </a:lnTo>
                      <a:lnTo>
                        <a:pt x="363" y="302"/>
                      </a:lnTo>
                      <a:lnTo>
                        <a:pt x="361" y="302"/>
                      </a:lnTo>
                      <a:lnTo>
                        <a:pt x="359" y="302"/>
                      </a:lnTo>
                      <a:lnTo>
                        <a:pt x="358" y="302"/>
                      </a:lnTo>
                      <a:lnTo>
                        <a:pt x="358" y="303"/>
                      </a:lnTo>
                      <a:lnTo>
                        <a:pt x="356" y="303"/>
                      </a:lnTo>
                      <a:lnTo>
                        <a:pt x="354" y="303"/>
                      </a:lnTo>
                      <a:lnTo>
                        <a:pt x="353" y="303"/>
                      </a:lnTo>
                      <a:lnTo>
                        <a:pt x="353" y="305"/>
                      </a:lnTo>
                      <a:lnTo>
                        <a:pt x="354" y="305"/>
                      </a:lnTo>
                      <a:lnTo>
                        <a:pt x="354" y="307"/>
                      </a:lnTo>
                      <a:lnTo>
                        <a:pt x="356" y="307"/>
                      </a:lnTo>
                      <a:lnTo>
                        <a:pt x="356" y="308"/>
                      </a:lnTo>
                      <a:lnTo>
                        <a:pt x="358" y="308"/>
                      </a:lnTo>
                      <a:lnTo>
                        <a:pt x="359" y="308"/>
                      </a:lnTo>
                      <a:lnTo>
                        <a:pt x="359" y="310"/>
                      </a:lnTo>
                      <a:lnTo>
                        <a:pt x="359" y="312"/>
                      </a:lnTo>
                      <a:lnTo>
                        <a:pt x="361" y="312"/>
                      </a:lnTo>
                      <a:lnTo>
                        <a:pt x="359" y="312"/>
                      </a:lnTo>
                      <a:lnTo>
                        <a:pt x="358" y="312"/>
                      </a:lnTo>
                      <a:lnTo>
                        <a:pt x="358" y="310"/>
                      </a:lnTo>
                      <a:lnTo>
                        <a:pt x="359" y="310"/>
                      </a:lnTo>
                      <a:lnTo>
                        <a:pt x="358" y="310"/>
                      </a:lnTo>
                      <a:lnTo>
                        <a:pt x="356" y="310"/>
                      </a:lnTo>
                      <a:lnTo>
                        <a:pt x="356" y="308"/>
                      </a:lnTo>
                      <a:lnTo>
                        <a:pt x="354" y="308"/>
                      </a:lnTo>
                      <a:lnTo>
                        <a:pt x="354" y="307"/>
                      </a:lnTo>
                      <a:lnTo>
                        <a:pt x="353" y="307"/>
                      </a:lnTo>
                      <a:lnTo>
                        <a:pt x="353" y="305"/>
                      </a:lnTo>
                      <a:lnTo>
                        <a:pt x="351" y="307"/>
                      </a:lnTo>
                      <a:lnTo>
                        <a:pt x="353" y="307"/>
                      </a:lnTo>
                      <a:lnTo>
                        <a:pt x="351" y="307"/>
                      </a:lnTo>
                      <a:lnTo>
                        <a:pt x="353" y="307"/>
                      </a:lnTo>
                      <a:lnTo>
                        <a:pt x="353" y="308"/>
                      </a:lnTo>
                      <a:lnTo>
                        <a:pt x="351" y="308"/>
                      </a:lnTo>
                      <a:lnTo>
                        <a:pt x="353" y="308"/>
                      </a:lnTo>
                      <a:lnTo>
                        <a:pt x="351" y="308"/>
                      </a:lnTo>
                      <a:lnTo>
                        <a:pt x="351" y="307"/>
                      </a:lnTo>
                      <a:lnTo>
                        <a:pt x="349" y="307"/>
                      </a:lnTo>
                      <a:lnTo>
                        <a:pt x="349" y="305"/>
                      </a:lnTo>
                      <a:lnTo>
                        <a:pt x="351" y="305"/>
                      </a:lnTo>
                      <a:lnTo>
                        <a:pt x="349" y="305"/>
                      </a:lnTo>
                      <a:lnTo>
                        <a:pt x="351" y="303"/>
                      </a:lnTo>
                      <a:lnTo>
                        <a:pt x="349" y="303"/>
                      </a:lnTo>
                      <a:lnTo>
                        <a:pt x="348" y="303"/>
                      </a:lnTo>
                      <a:lnTo>
                        <a:pt x="349" y="303"/>
                      </a:lnTo>
                      <a:lnTo>
                        <a:pt x="349" y="302"/>
                      </a:lnTo>
                      <a:lnTo>
                        <a:pt x="351" y="302"/>
                      </a:lnTo>
                      <a:lnTo>
                        <a:pt x="349" y="302"/>
                      </a:lnTo>
                      <a:lnTo>
                        <a:pt x="351" y="300"/>
                      </a:lnTo>
                      <a:lnTo>
                        <a:pt x="349" y="300"/>
                      </a:lnTo>
                      <a:lnTo>
                        <a:pt x="351" y="300"/>
                      </a:lnTo>
                      <a:lnTo>
                        <a:pt x="349" y="300"/>
                      </a:lnTo>
                      <a:lnTo>
                        <a:pt x="351" y="300"/>
                      </a:lnTo>
                      <a:lnTo>
                        <a:pt x="351" y="298"/>
                      </a:lnTo>
                      <a:lnTo>
                        <a:pt x="349" y="298"/>
                      </a:lnTo>
                      <a:lnTo>
                        <a:pt x="351" y="298"/>
                      </a:lnTo>
                      <a:lnTo>
                        <a:pt x="351" y="297"/>
                      </a:lnTo>
                      <a:lnTo>
                        <a:pt x="351" y="298"/>
                      </a:lnTo>
                      <a:lnTo>
                        <a:pt x="353" y="298"/>
                      </a:lnTo>
                      <a:lnTo>
                        <a:pt x="354" y="298"/>
                      </a:lnTo>
                      <a:lnTo>
                        <a:pt x="353" y="298"/>
                      </a:lnTo>
                      <a:lnTo>
                        <a:pt x="354" y="298"/>
                      </a:lnTo>
                      <a:lnTo>
                        <a:pt x="354" y="300"/>
                      </a:lnTo>
                      <a:lnTo>
                        <a:pt x="356" y="300"/>
                      </a:lnTo>
                      <a:lnTo>
                        <a:pt x="354" y="300"/>
                      </a:lnTo>
                      <a:lnTo>
                        <a:pt x="354" y="302"/>
                      </a:lnTo>
                      <a:lnTo>
                        <a:pt x="354" y="300"/>
                      </a:lnTo>
                      <a:lnTo>
                        <a:pt x="356" y="300"/>
                      </a:lnTo>
                      <a:lnTo>
                        <a:pt x="354" y="302"/>
                      </a:lnTo>
                      <a:lnTo>
                        <a:pt x="356" y="302"/>
                      </a:lnTo>
                      <a:lnTo>
                        <a:pt x="356" y="300"/>
                      </a:lnTo>
                      <a:lnTo>
                        <a:pt x="356" y="298"/>
                      </a:lnTo>
                      <a:lnTo>
                        <a:pt x="354" y="298"/>
                      </a:lnTo>
                      <a:lnTo>
                        <a:pt x="356" y="298"/>
                      </a:lnTo>
                      <a:lnTo>
                        <a:pt x="354" y="298"/>
                      </a:lnTo>
                      <a:lnTo>
                        <a:pt x="356" y="298"/>
                      </a:lnTo>
                      <a:lnTo>
                        <a:pt x="356" y="297"/>
                      </a:lnTo>
                      <a:lnTo>
                        <a:pt x="354" y="297"/>
                      </a:lnTo>
                      <a:lnTo>
                        <a:pt x="356" y="297"/>
                      </a:lnTo>
                      <a:lnTo>
                        <a:pt x="354" y="297"/>
                      </a:lnTo>
                      <a:lnTo>
                        <a:pt x="356" y="297"/>
                      </a:lnTo>
                      <a:lnTo>
                        <a:pt x="354" y="297"/>
                      </a:lnTo>
                      <a:lnTo>
                        <a:pt x="354" y="295"/>
                      </a:lnTo>
                      <a:lnTo>
                        <a:pt x="356" y="295"/>
                      </a:lnTo>
                      <a:lnTo>
                        <a:pt x="356" y="297"/>
                      </a:lnTo>
                      <a:lnTo>
                        <a:pt x="358" y="297"/>
                      </a:lnTo>
                      <a:lnTo>
                        <a:pt x="356" y="297"/>
                      </a:lnTo>
                      <a:lnTo>
                        <a:pt x="358" y="297"/>
                      </a:lnTo>
                      <a:lnTo>
                        <a:pt x="359" y="297"/>
                      </a:lnTo>
                      <a:lnTo>
                        <a:pt x="361" y="297"/>
                      </a:lnTo>
                      <a:lnTo>
                        <a:pt x="363" y="297"/>
                      </a:lnTo>
                      <a:lnTo>
                        <a:pt x="363" y="295"/>
                      </a:lnTo>
                      <a:lnTo>
                        <a:pt x="361" y="295"/>
                      </a:lnTo>
                      <a:lnTo>
                        <a:pt x="363" y="295"/>
                      </a:lnTo>
                      <a:lnTo>
                        <a:pt x="363" y="294"/>
                      </a:lnTo>
                      <a:lnTo>
                        <a:pt x="365" y="294"/>
                      </a:lnTo>
                      <a:lnTo>
                        <a:pt x="363" y="294"/>
                      </a:lnTo>
                      <a:lnTo>
                        <a:pt x="363" y="292"/>
                      </a:lnTo>
                      <a:lnTo>
                        <a:pt x="365" y="292"/>
                      </a:lnTo>
                      <a:lnTo>
                        <a:pt x="366" y="292"/>
                      </a:lnTo>
                      <a:lnTo>
                        <a:pt x="365" y="292"/>
                      </a:lnTo>
                      <a:lnTo>
                        <a:pt x="365" y="290"/>
                      </a:lnTo>
                      <a:lnTo>
                        <a:pt x="366" y="290"/>
                      </a:lnTo>
                      <a:lnTo>
                        <a:pt x="368" y="290"/>
                      </a:lnTo>
                      <a:lnTo>
                        <a:pt x="366" y="289"/>
                      </a:lnTo>
                      <a:lnTo>
                        <a:pt x="368" y="289"/>
                      </a:lnTo>
                      <a:lnTo>
                        <a:pt x="368" y="287"/>
                      </a:lnTo>
                      <a:lnTo>
                        <a:pt x="368" y="285"/>
                      </a:lnTo>
                      <a:lnTo>
                        <a:pt x="370" y="285"/>
                      </a:lnTo>
                      <a:lnTo>
                        <a:pt x="368" y="285"/>
                      </a:lnTo>
                      <a:lnTo>
                        <a:pt x="368" y="287"/>
                      </a:lnTo>
                      <a:lnTo>
                        <a:pt x="368" y="285"/>
                      </a:lnTo>
                      <a:lnTo>
                        <a:pt x="366" y="287"/>
                      </a:lnTo>
                      <a:lnTo>
                        <a:pt x="365" y="287"/>
                      </a:lnTo>
                      <a:lnTo>
                        <a:pt x="363" y="287"/>
                      </a:lnTo>
                      <a:lnTo>
                        <a:pt x="365" y="287"/>
                      </a:lnTo>
                      <a:lnTo>
                        <a:pt x="365" y="285"/>
                      </a:lnTo>
                      <a:lnTo>
                        <a:pt x="366" y="285"/>
                      </a:lnTo>
                      <a:lnTo>
                        <a:pt x="368" y="285"/>
                      </a:lnTo>
                      <a:lnTo>
                        <a:pt x="368" y="284"/>
                      </a:lnTo>
                      <a:lnTo>
                        <a:pt x="370" y="282"/>
                      </a:lnTo>
                      <a:lnTo>
                        <a:pt x="368" y="282"/>
                      </a:lnTo>
                      <a:lnTo>
                        <a:pt x="368" y="280"/>
                      </a:lnTo>
                      <a:lnTo>
                        <a:pt x="370" y="279"/>
                      </a:lnTo>
                      <a:lnTo>
                        <a:pt x="370" y="277"/>
                      </a:lnTo>
                      <a:lnTo>
                        <a:pt x="370" y="279"/>
                      </a:lnTo>
                      <a:lnTo>
                        <a:pt x="371" y="277"/>
                      </a:lnTo>
                      <a:lnTo>
                        <a:pt x="371" y="279"/>
                      </a:lnTo>
                      <a:lnTo>
                        <a:pt x="371" y="277"/>
                      </a:lnTo>
                      <a:lnTo>
                        <a:pt x="371" y="275"/>
                      </a:lnTo>
                      <a:lnTo>
                        <a:pt x="370" y="277"/>
                      </a:lnTo>
                      <a:lnTo>
                        <a:pt x="370" y="275"/>
                      </a:lnTo>
                      <a:lnTo>
                        <a:pt x="368" y="275"/>
                      </a:lnTo>
                      <a:lnTo>
                        <a:pt x="368" y="277"/>
                      </a:lnTo>
                      <a:lnTo>
                        <a:pt x="368" y="275"/>
                      </a:lnTo>
                      <a:lnTo>
                        <a:pt x="368" y="274"/>
                      </a:lnTo>
                      <a:lnTo>
                        <a:pt x="370" y="274"/>
                      </a:lnTo>
                      <a:lnTo>
                        <a:pt x="370" y="272"/>
                      </a:lnTo>
                      <a:lnTo>
                        <a:pt x="368" y="272"/>
                      </a:lnTo>
                      <a:lnTo>
                        <a:pt x="368" y="274"/>
                      </a:lnTo>
                      <a:lnTo>
                        <a:pt x="368" y="272"/>
                      </a:lnTo>
                      <a:lnTo>
                        <a:pt x="368" y="271"/>
                      </a:lnTo>
                      <a:lnTo>
                        <a:pt x="370" y="271"/>
                      </a:lnTo>
                      <a:lnTo>
                        <a:pt x="368" y="271"/>
                      </a:lnTo>
                      <a:lnTo>
                        <a:pt x="370" y="269"/>
                      </a:lnTo>
                      <a:lnTo>
                        <a:pt x="371" y="269"/>
                      </a:lnTo>
                      <a:lnTo>
                        <a:pt x="371" y="267"/>
                      </a:lnTo>
                      <a:lnTo>
                        <a:pt x="370" y="267"/>
                      </a:lnTo>
                      <a:lnTo>
                        <a:pt x="370" y="269"/>
                      </a:lnTo>
                      <a:lnTo>
                        <a:pt x="368" y="269"/>
                      </a:lnTo>
                      <a:lnTo>
                        <a:pt x="370" y="269"/>
                      </a:lnTo>
                      <a:lnTo>
                        <a:pt x="368" y="269"/>
                      </a:lnTo>
                      <a:lnTo>
                        <a:pt x="368" y="267"/>
                      </a:lnTo>
                      <a:lnTo>
                        <a:pt x="370" y="267"/>
                      </a:lnTo>
                      <a:lnTo>
                        <a:pt x="368" y="267"/>
                      </a:lnTo>
                      <a:lnTo>
                        <a:pt x="368" y="269"/>
                      </a:lnTo>
                      <a:lnTo>
                        <a:pt x="366" y="269"/>
                      </a:lnTo>
                      <a:lnTo>
                        <a:pt x="368" y="267"/>
                      </a:lnTo>
                      <a:lnTo>
                        <a:pt x="368" y="266"/>
                      </a:lnTo>
                      <a:lnTo>
                        <a:pt x="370" y="266"/>
                      </a:lnTo>
                      <a:lnTo>
                        <a:pt x="368" y="266"/>
                      </a:lnTo>
                      <a:lnTo>
                        <a:pt x="368" y="264"/>
                      </a:lnTo>
                      <a:lnTo>
                        <a:pt x="368" y="262"/>
                      </a:lnTo>
                      <a:lnTo>
                        <a:pt x="368" y="261"/>
                      </a:lnTo>
                      <a:lnTo>
                        <a:pt x="370" y="262"/>
                      </a:lnTo>
                      <a:lnTo>
                        <a:pt x="370" y="261"/>
                      </a:lnTo>
                      <a:lnTo>
                        <a:pt x="368" y="261"/>
                      </a:lnTo>
                      <a:lnTo>
                        <a:pt x="368" y="259"/>
                      </a:lnTo>
                      <a:lnTo>
                        <a:pt x="368" y="257"/>
                      </a:lnTo>
                      <a:lnTo>
                        <a:pt x="370" y="257"/>
                      </a:lnTo>
                      <a:lnTo>
                        <a:pt x="368" y="257"/>
                      </a:lnTo>
                      <a:lnTo>
                        <a:pt x="370" y="257"/>
                      </a:lnTo>
                      <a:lnTo>
                        <a:pt x="371" y="257"/>
                      </a:lnTo>
                      <a:lnTo>
                        <a:pt x="371" y="256"/>
                      </a:lnTo>
                      <a:lnTo>
                        <a:pt x="370" y="254"/>
                      </a:lnTo>
                      <a:lnTo>
                        <a:pt x="371" y="254"/>
                      </a:lnTo>
                      <a:lnTo>
                        <a:pt x="373" y="254"/>
                      </a:lnTo>
                      <a:lnTo>
                        <a:pt x="373" y="252"/>
                      </a:lnTo>
                      <a:lnTo>
                        <a:pt x="373" y="254"/>
                      </a:lnTo>
                      <a:lnTo>
                        <a:pt x="375" y="254"/>
                      </a:lnTo>
                      <a:lnTo>
                        <a:pt x="375" y="256"/>
                      </a:lnTo>
                      <a:lnTo>
                        <a:pt x="376" y="256"/>
                      </a:lnTo>
                      <a:lnTo>
                        <a:pt x="375" y="256"/>
                      </a:lnTo>
                      <a:lnTo>
                        <a:pt x="376" y="254"/>
                      </a:lnTo>
                      <a:lnTo>
                        <a:pt x="376" y="252"/>
                      </a:lnTo>
                      <a:lnTo>
                        <a:pt x="378" y="252"/>
                      </a:lnTo>
                      <a:lnTo>
                        <a:pt x="380" y="252"/>
                      </a:lnTo>
                      <a:lnTo>
                        <a:pt x="380" y="254"/>
                      </a:lnTo>
                      <a:lnTo>
                        <a:pt x="380" y="252"/>
                      </a:lnTo>
                      <a:lnTo>
                        <a:pt x="380" y="251"/>
                      </a:lnTo>
                      <a:lnTo>
                        <a:pt x="381" y="251"/>
                      </a:lnTo>
                      <a:lnTo>
                        <a:pt x="380" y="251"/>
                      </a:lnTo>
                      <a:lnTo>
                        <a:pt x="380" y="249"/>
                      </a:lnTo>
                      <a:lnTo>
                        <a:pt x="381" y="249"/>
                      </a:lnTo>
                      <a:lnTo>
                        <a:pt x="381" y="248"/>
                      </a:lnTo>
                      <a:lnTo>
                        <a:pt x="381" y="246"/>
                      </a:lnTo>
                      <a:lnTo>
                        <a:pt x="383" y="246"/>
                      </a:lnTo>
                      <a:lnTo>
                        <a:pt x="383" y="244"/>
                      </a:lnTo>
                      <a:lnTo>
                        <a:pt x="385" y="244"/>
                      </a:lnTo>
                      <a:lnTo>
                        <a:pt x="385" y="246"/>
                      </a:lnTo>
                      <a:lnTo>
                        <a:pt x="386" y="246"/>
                      </a:lnTo>
                      <a:lnTo>
                        <a:pt x="386" y="244"/>
                      </a:lnTo>
                      <a:lnTo>
                        <a:pt x="388" y="246"/>
                      </a:lnTo>
                      <a:lnTo>
                        <a:pt x="386" y="246"/>
                      </a:lnTo>
                      <a:lnTo>
                        <a:pt x="388" y="246"/>
                      </a:lnTo>
                      <a:lnTo>
                        <a:pt x="390" y="246"/>
                      </a:lnTo>
                      <a:lnTo>
                        <a:pt x="392" y="246"/>
                      </a:lnTo>
                      <a:lnTo>
                        <a:pt x="393" y="246"/>
                      </a:lnTo>
                      <a:lnTo>
                        <a:pt x="393" y="244"/>
                      </a:lnTo>
                      <a:lnTo>
                        <a:pt x="392" y="243"/>
                      </a:lnTo>
                      <a:lnTo>
                        <a:pt x="392" y="241"/>
                      </a:lnTo>
                      <a:lnTo>
                        <a:pt x="390" y="241"/>
                      </a:lnTo>
                      <a:lnTo>
                        <a:pt x="390" y="239"/>
                      </a:lnTo>
                      <a:lnTo>
                        <a:pt x="390" y="238"/>
                      </a:lnTo>
                      <a:lnTo>
                        <a:pt x="388" y="238"/>
                      </a:lnTo>
                      <a:lnTo>
                        <a:pt x="390" y="236"/>
                      </a:lnTo>
                      <a:lnTo>
                        <a:pt x="390" y="234"/>
                      </a:lnTo>
                      <a:lnTo>
                        <a:pt x="388" y="234"/>
                      </a:lnTo>
                      <a:lnTo>
                        <a:pt x="388" y="233"/>
                      </a:lnTo>
                      <a:lnTo>
                        <a:pt x="386" y="234"/>
                      </a:lnTo>
                      <a:lnTo>
                        <a:pt x="386" y="233"/>
                      </a:lnTo>
                      <a:lnTo>
                        <a:pt x="386" y="231"/>
                      </a:lnTo>
                      <a:lnTo>
                        <a:pt x="386" y="229"/>
                      </a:lnTo>
                      <a:lnTo>
                        <a:pt x="386" y="231"/>
                      </a:lnTo>
                      <a:lnTo>
                        <a:pt x="385" y="231"/>
                      </a:lnTo>
                      <a:lnTo>
                        <a:pt x="385" y="233"/>
                      </a:lnTo>
                      <a:lnTo>
                        <a:pt x="383" y="233"/>
                      </a:lnTo>
                      <a:lnTo>
                        <a:pt x="383" y="231"/>
                      </a:lnTo>
                      <a:lnTo>
                        <a:pt x="381" y="231"/>
                      </a:lnTo>
                      <a:lnTo>
                        <a:pt x="381" y="233"/>
                      </a:lnTo>
                      <a:lnTo>
                        <a:pt x="381" y="231"/>
                      </a:lnTo>
                      <a:lnTo>
                        <a:pt x="380" y="233"/>
                      </a:lnTo>
                      <a:lnTo>
                        <a:pt x="378" y="233"/>
                      </a:lnTo>
                      <a:lnTo>
                        <a:pt x="376" y="233"/>
                      </a:lnTo>
                      <a:lnTo>
                        <a:pt x="376" y="231"/>
                      </a:lnTo>
                      <a:lnTo>
                        <a:pt x="376" y="229"/>
                      </a:lnTo>
                      <a:lnTo>
                        <a:pt x="378" y="229"/>
                      </a:lnTo>
                      <a:lnTo>
                        <a:pt x="378" y="228"/>
                      </a:lnTo>
                      <a:lnTo>
                        <a:pt x="376" y="228"/>
                      </a:lnTo>
                      <a:lnTo>
                        <a:pt x="376" y="229"/>
                      </a:lnTo>
                      <a:lnTo>
                        <a:pt x="375" y="229"/>
                      </a:lnTo>
                      <a:lnTo>
                        <a:pt x="375" y="228"/>
                      </a:lnTo>
                      <a:lnTo>
                        <a:pt x="375" y="229"/>
                      </a:lnTo>
                      <a:lnTo>
                        <a:pt x="373" y="231"/>
                      </a:lnTo>
                      <a:lnTo>
                        <a:pt x="373" y="229"/>
                      </a:lnTo>
                      <a:lnTo>
                        <a:pt x="371" y="229"/>
                      </a:lnTo>
                      <a:lnTo>
                        <a:pt x="370" y="229"/>
                      </a:lnTo>
                      <a:lnTo>
                        <a:pt x="371" y="231"/>
                      </a:lnTo>
                      <a:lnTo>
                        <a:pt x="370" y="231"/>
                      </a:lnTo>
                      <a:lnTo>
                        <a:pt x="370" y="233"/>
                      </a:lnTo>
                      <a:lnTo>
                        <a:pt x="370" y="231"/>
                      </a:lnTo>
                      <a:lnTo>
                        <a:pt x="370" y="229"/>
                      </a:lnTo>
                      <a:lnTo>
                        <a:pt x="368" y="229"/>
                      </a:lnTo>
                      <a:lnTo>
                        <a:pt x="366" y="228"/>
                      </a:lnTo>
                      <a:lnTo>
                        <a:pt x="365" y="229"/>
                      </a:lnTo>
                      <a:lnTo>
                        <a:pt x="366" y="229"/>
                      </a:lnTo>
                      <a:lnTo>
                        <a:pt x="365" y="229"/>
                      </a:lnTo>
                      <a:lnTo>
                        <a:pt x="363" y="229"/>
                      </a:lnTo>
                      <a:lnTo>
                        <a:pt x="361" y="229"/>
                      </a:lnTo>
                      <a:lnTo>
                        <a:pt x="361" y="231"/>
                      </a:lnTo>
                      <a:lnTo>
                        <a:pt x="359" y="231"/>
                      </a:lnTo>
                      <a:lnTo>
                        <a:pt x="358" y="231"/>
                      </a:lnTo>
                      <a:lnTo>
                        <a:pt x="356" y="231"/>
                      </a:lnTo>
                      <a:lnTo>
                        <a:pt x="354" y="233"/>
                      </a:lnTo>
                      <a:lnTo>
                        <a:pt x="354" y="231"/>
                      </a:lnTo>
                      <a:lnTo>
                        <a:pt x="353" y="231"/>
                      </a:lnTo>
                      <a:lnTo>
                        <a:pt x="353" y="229"/>
                      </a:lnTo>
                      <a:lnTo>
                        <a:pt x="354" y="229"/>
                      </a:lnTo>
                      <a:lnTo>
                        <a:pt x="354" y="228"/>
                      </a:lnTo>
                      <a:lnTo>
                        <a:pt x="353" y="228"/>
                      </a:lnTo>
                      <a:lnTo>
                        <a:pt x="351" y="228"/>
                      </a:lnTo>
                      <a:lnTo>
                        <a:pt x="353" y="228"/>
                      </a:lnTo>
                      <a:lnTo>
                        <a:pt x="351" y="228"/>
                      </a:lnTo>
                      <a:lnTo>
                        <a:pt x="351" y="229"/>
                      </a:lnTo>
                      <a:lnTo>
                        <a:pt x="349" y="229"/>
                      </a:lnTo>
                      <a:lnTo>
                        <a:pt x="349" y="231"/>
                      </a:lnTo>
                      <a:lnTo>
                        <a:pt x="351" y="231"/>
                      </a:lnTo>
                      <a:lnTo>
                        <a:pt x="351" y="233"/>
                      </a:lnTo>
                      <a:lnTo>
                        <a:pt x="349" y="233"/>
                      </a:lnTo>
                      <a:lnTo>
                        <a:pt x="349" y="231"/>
                      </a:lnTo>
                      <a:lnTo>
                        <a:pt x="348" y="231"/>
                      </a:lnTo>
                      <a:lnTo>
                        <a:pt x="348" y="229"/>
                      </a:lnTo>
                      <a:lnTo>
                        <a:pt x="346" y="229"/>
                      </a:lnTo>
                      <a:lnTo>
                        <a:pt x="344" y="228"/>
                      </a:lnTo>
                      <a:lnTo>
                        <a:pt x="344" y="229"/>
                      </a:lnTo>
                      <a:lnTo>
                        <a:pt x="343" y="231"/>
                      </a:lnTo>
                      <a:lnTo>
                        <a:pt x="343" y="229"/>
                      </a:lnTo>
                      <a:lnTo>
                        <a:pt x="341" y="229"/>
                      </a:lnTo>
                      <a:lnTo>
                        <a:pt x="341" y="228"/>
                      </a:lnTo>
                      <a:lnTo>
                        <a:pt x="339" y="228"/>
                      </a:lnTo>
                      <a:lnTo>
                        <a:pt x="339" y="229"/>
                      </a:lnTo>
                      <a:lnTo>
                        <a:pt x="341" y="229"/>
                      </a:lnTo>
                      <a:lnTo>
                        <a:pt x="339" y="229"/>
                      </a:lnTo>
                      <a:lnTo>
                        <a:pt x="336" y="229"/>
                      </a:lnTo>
                      <a:lnTo>
                        <a:pt x="336" y="228"/>
                      </a:lnTo>
                      <a:lnTo>
                        <a:pt x="334" y="228"/>
                      </a:lnTo>
                      <a:lnTo>
                        <a:pt x="332" y="228"/>
                      </a:lnTo>
                      <a:lnTo>
                        <a:pt x="332" y="229"/>
                      </a:lnTo>
                      <a:lnTo>
                        <a:pt x="331" y="231"/>
                      </a:lnTo>
                      <a:lnTo>
                        <a:pt x="331" y="229"/>
                      </a:lnTo>
                      <a:lnTo>
                        <a:pt x="331" y="228"/>
                      </a:lnTo>
                      <a:lnTo>
                        <a:pt x="331" y="226"/>
                      </a:lnTo>
                      <a:lnTo>
                        <a:pt x="329" y="226"/>
                      </a:lnTo>
                      <a:lnTo>
                        <a:pt x="329" y="228"/>
                      </a:lnTo>
                      <a:lnTo>
                        <a:pt x="329" y="229"/>
                      </a:lnTo>
                      <a:lnTo>
                        <a:pt x="327" y="229"/>
                      </a:lnTo>
                      <a:lnTo>
                        <a:pt x="327" y="228"/>
                      </a:lnTo>
                      <a:lnTo>
                        <a:pt x="326" y="228"/>
                      </a:lnTo>
                      <a:lnTo>
                        <a:pt x="324" y="228"/>
                      </a:lnTo>
                      <a:lnTo>
                        <a:pt x="322" y="228"/>
                      </a:lnTo>
                      <a:lnTo>
                        <a:pt x="322" y="226"/>
                      </a:lnTo>
                      <a:lnTo>
                        <a:pt x="321" y="226"/>
                      </a:lnTo>
                      <a:lnTo>
                        <a:pt x="319" y="226"/>
                      </a:lnTo>
                      <a:lnTo>
                        <a:pt x="317" y="226"/>
                      </a:lnTo>
                      <a:lnTo>
                        <a:pt x="316" y="225"/>
                      </a:lnTo>
                      <a:lnTo>
                        <a:pt x="314" y="225"/>
                      </a:lnTo>
                      <a:lnTo>
                        <a:pt x="314" y="226"/>
                      </a:lnTo>
                      <a:lnTo>
                        <a:pt x="314" y="228"/>
                      </a:lnTo>
                      <a:lnTo>
                        <a:pt x="312" y="228"/>
                      </a:lnTo>
                      <a:lnTo>
                        <a:pt x="312" y="226"/>
                      </a:lnTo>
                      <a:lnTo>
                        <a:pt x="310" y="226"/>
                      </a:lnTo>
                      <a:lnTo>
                        <a:pt x="310" y="225"/>
                      </a:lnTo>
                      <a:lnTo>
                        <a:pt x="309" y="223"/>
                      </a:lnTo>
                      <a:lnTo>
                        <a:pt x="307" y="223"/>
                      </a:lnTo>
                      <a:lnTo>
                        <a:pt x="307" y="225"/>
                      </a:lnTo>
                      <a:lnTo>
                        <a:pt x="305" y="225"/>
                      </a:lnTo>
                      <a:lnTo>
                        <a:pt x="304" y="223"/>
                      </a:lnTo>
                      <a:lnTo>
                        <a:pt x="305" y="221"/>
                      </a:lnTo>
                      <a:lnTo>
                        <a:pt x="304" y="221"/>
                      </a:lnTo>
                      <a:lnTo>
                        <a:pt x="304" y="220"/>
                      </a:lnTo>
                      <a:lnTo>
                        <a:pt x="302" y="220"/>
                      </a:lnTo>
                      <a:lnTo>
                        <a:pt x="300" y="220"/>
                      </a:lnTo>
                      <a:lnTo>
                        <a:pt x="300" y="218"/>
                      </a:lnTo>
                      <a:lnTo>
                        <a:pt x="302" y="218"/>
                      </a:lnTo>
                      <a:lnTo>
                        <a:pt x="300" y="216"/>
                      </a:lnTo>
                      <a:lnTo>
                        <a:pt x="300" y="215"/>
                      </a:lnTo>
                      <a:lnTo>
                        <a:pt x="299" y="215"/>
                      </a:lnTo>
                      <a:lnTo>
                        <a:pt x="299" y="213"/>
                      </a:lnTo>
                      <a:lnTo>
                        <a:pt x="297" y="213"/>
                      </a:lnTo>
                      <a:lnTo>
                        <a:pt x="297" y="211"/>
                      </a:lnTo>
                      <a:lnTo>
                        <a:pt x="295" y="211"/>
                      </a:lnTo>
                      <a:lnTo>
                        <a:pt x="294" y="211"/>
                      </a:lnTo>
                      <a:lnTo>
                        <a:pt x="294" y="210"/>
                      </a:lnTo>
                      <a:lnTo>
                        <a:pt x="292" y="210"/>
                      </a:lnTo>
                      <a:lnTo>
                        <a:pt x="294" y="210"/>
                      </a:lnTo>
                      <a:lnTo>
                        <a:pt x="292" y="208"/>
                      </a:lnTo>
                      <a:lnTo>
                        <a:pt x="292" y="206"/>
                      </a:lnTo>
                      <a:lnTo>
                        <a:pt x="292" y="205"/>
                      </a:lnTo>
                      <a:lnTo>
                        <a:pt x="290" y="206"/>
                      </a:lnTo>
                      <a:lnTo>
                        <a:pt x="290" y="205"/>
                      </a:lnTo>
                      <a:lnTo>
                        <a:pt x="290" y="203"/>
                      </a:lnTo>
                      <a:lnTo>
                        <a:pt x="289" y="203"/>
                      </a:lnTo>
                      <a:lnTo>
                        <a:pt x="289" y="202"/>
                      </a:lnTo>
                      <a:lnTo>
                        <a:pt x="290" y="202"/>
                      </a:lnTo>
                      <a:lnTo>
                        <a:pt x="289" y="200"/>
                      </a:lnTo>
                      <a:lnTo>
                        <a:pt x="287" y="200"/>
                      </a:lnTo>
                      <a:lnTo>
                        <a:pt x="285" y="198"/>
                      </a:lnTo>
                      <a:lnTo>
                        <a:pt x="283" y="200"/>
                      </a:lnTo>
                      <a:lnTo>
                        <a:pt x="282" y="200"/>
                      </a:lnTo>
                      <a:lnTo>
                        <a:pt x="282" y="198"/>
                      </a:lnTo>
                      <a:lnTo>
                        <a:pt x="282" y="197"/>
                      </a:lnTo>
                      <a:lnTo>
                        <a:pt x="280" y="197"/>
                      </a:lnTo>
                      <a:lnTo>
                        <a:pt x="278" y="197"/>
                      </a:lnTo>
                      <a:lnTo>
                        <a:pt x="278" y="195"/>
                      </a:lnTo>
                      <a:lnTo>
                        <a:pt x="280" y="195"/>
                      </a:lnTo>
                      <a:lnTo>
                        <a:pt x="280" y="193"/>
                      </a:lnTo>
                      <a:lnTo>
                        <a:pt x="282" y="193"/>
                      </a:lnTo>
                      <a:lnTo>
                        <a:pt x="282" y="192"/>
                      </a:lnTo>
                      <a:lnTo>
                        <a:pt x="280" y="190"/>
                      </a:lnTo>
                      <a:lnTo>
                        <a:pt x="278" y="188"/>
                      </a:lnTo>
                      <a:lnTo>
                        <a:pt x="277" y="188"/>
                      </a:lnTo>
                      <a:lnTo>
                        <a:pt x="277" y="187"/>
                      </a:lnTo>
                      <a:lnTo>
                        <a:pt x="277" y="185"/>
                      </a:lnTo>
                      <a:lnTo>
                        <a:pt x="275" y="185"/>
                      </a:lnTo>
                      <a:lnTo>
                        <a:pt x="273" y="184"/>
                      </a:lnTo>
                      <a:lnTo>
                        <a:pt x="272" y="184"/>
                      </a:lnTo>
                      <a:lnTo>
                        <a:pt x="272" y="182"/>
                      </a:lnTo>
                      <a:lnTo>
                        <a:pt x="270" y="182"/>
                      </a:lnTo>
                      <a:lnTo>
                        <a:pt x="270" y="184"/>
                      </a:lnTo>
                      <a:lnTo>
                        <a:pt x="268" y="185"/>
                      </a:lnTo>
                      <a:lnTo>
                        <a:pt x="268" y="184"/>
                      </a:lnTo>
                      <a:lnTo>
                        <a:pt x="267" y="184"/>
                      </a:lnTo>
                      <a:lnTo>
                        <a:pt x="267" y="182"/>
                      </a:lnTo>
                      <a:lnTo>
                        <a:pt x="268" y="182"/>
                      </a:lnTo>
                      <a:lnTo>
                        <a:pt x="268" y="180"/>
                      </a:lnTo>
                      <a:lnTo>
                        <a:pt x="267" y="180"/>
                      </a:lnTo>
                      <a:lnTo>
                        <a:pt x="265" y="180"/>
                      </a:lnTo>
                      <a:lnTo>
                        <a:pt x="265" y="179"/>
                      </a:lnTo>
                      <a:lnTo>
                        <a:pt x="263" y="179"/>
                      </a:lnTo>
                      <a:lnTo>
                        <a:pt x="265" y="177"/>
                      </a:lnTo>
                      <a:lnTo>
                        <a:pt x="265" y="175"/>
                      </a:lnTo>
                      <a:lnTo>
                        <a:pt x="263" y="175"/>
                      </a:lnTo>
                      <a:lnTo>
                        <a:pt x="262" y="175"/>
                      </a:lnTo>
                      <a:lnTo>
                        <a:pt x="262" y="174"/>
                      </a:lnTo>
                      <a:lnTo>
                        <a:pt x="262" y="172"/>
                      </a:lnTo>
                      <a:lnTo>
                        <a:pt x="260" y="172"/>
                      </a:lnTo>
                      <a:lnTo>
                        <a:pt x="258" y="172"/>
                      </a:lnTo>
                      <a:lnTo>
                        <a:pt x="256" y="172"/>
                      </a:lnTo>
                      <a:lnTo>
                        <a:pt x="256" y="170"/>
                      </a:lnTo>
                      <a:lnTo>
                        <a:pt x="256" y="169"/>
                      </a:lnTo>
                      <a:lnTo>
                        <a:pt x="255" y="170"/>
                      </a:lnTo>
                      <a:lnTo>
                        <a:pt x="255" y="169"/>
                      </a:lnTo>
                      <a:lnTo>
                        <a:pt x="253" y="167"/>
                      </a:lnTo>
                      <a:lnTo>
                        <a:pt x="251" y="167"/>
                      </a:lnTo>
                      <a:lnTo>
                        <a:pt x="250" y="167"/>
                      </a:lnTo>
                      <a:lnTo>
                        <a:pt x="248" y="167"/>
                      </a:lnTo>
                      <a:lnTo>
                        <a:pt x="246" y="167"/>
                      </a:lnTo>
                      <a:lnTo>
                        <a:pt x="246" y="165"/>
                      </a:lnTo>
                      <a:lnTo>
                        <a:pt x="245" y="165"/>
                      </a:lnTo>
                      <a:lnTo>
                        <a:pt x="243" y="164"/>
                      </a:lnTo>
                      <a:lnTo>
                        <a:pt x="243" y="162"/>
                      </a:lnTo>
                      <a:lnTo>
                        <a:pt x="241" y="162"/>
                      </a:lnTo>
                      <a:lnTo>
                        <a:pt x="240" y="162"/>
                      </a:lnTo>
                      <a:lnTo>
                        <a:pt x="240" y="161"/>
                      </a:lnTo>
                      <a:lnTo>
                        <a:pt x="241" y="161"/>
                      </a:lnTo>
                      <a:lnTo>
                        <a:pt x="240" y="161"/>
                      </a:lnTo>
                      <a:lnTo>
                        <a:pt x="240" y="159"/>
                      </a:lnTo>
                      <a:lnTo>
                        <a:pt x="240" y="157"/>
                      </a:lnTo>
                      <a:lnTo>
                        <a:pt x="238" y="157"/>
                      </a:lnTo>
                      <a:lnTo>
                        <a:pt x="236" y="157"/>
                      </a:lnTo>
                      <a:lnTo>
                        <a:pt x="236" y="159"/>
                      </a:lnTo>
                      <a:lnTo>
                        <a:pt x="234" y="157"/>
                      </a:lnTo>
                      <a:lnTo>
                        <a:pt x="233" y="156"/>
                      </a:lnTo>
                      <a:lnTo>
                        <a:pt x="234" y="156"/>
                      </a:lnTo>
                      <a:lnTo>
                        <a:pt x="234" y="154"/>
                      </a:lnTo>
                      <a:lnTo>
                        <a:pt x="233" y="154"/>
                      </a:lnTo>
                      <a:lnTo>
                        <a:pt x="233" y="152"/>
                      </a:lnTo>
                      <a:lnTo>
                        <a:pt x="231" y="154"/>
                      </a:lnTo>
                      <a:lnTo>
                        <a:pt x="231" y="156"/>
                      </a:lnTo>
                      <a:lnTo>
                        <a:pt x="229" y="156"/>
                      </a:lnTo>
                      <a:lnTo>
                        <a:pt x="228" y="156"/>
                      </a:lnTo>
                      <a:lnTo>
                        <a:pt x="228" y="154"/>
                      </a:lnTo>
                      <a:lnTo>
                        <a:pt x="228" y="152"/>
                      </a:lnTo>
                      <a:lnTo>
                        <a:pt x="226" y="152"/>
                      </a:lnTo>
                      <a:lnTo>
                        <a:pt x="226" y="151"/>
                      </a:lnTo>
                      <a:lnTo>
                        <a:pt x="224" y="151"/>
                      </a:lnTo>
                      <a:lnTo>
                        <a:pt x="224" y="149"/>
                      </a:lnTo>
                      <a:lnTo>
                        <a:pt x="224" y="147"/>
                      </a:lnTo>
                      <a:lnTo>
                        <a:pt x="223" y="147"/>
                      </a:lnTo>
                      <a:lnTo>
                        <a:pt x="221" y="147"/>
                      </a:lnTo>
                      <a:lnTo>
                        <a:pt x="219" y="147"/>
                      </a:lnTo>
                      <a:lnTo>
                        <a:pt x="218" y="147"/>
                      </a:lnTo>
                      <a:lnTo>
                        <a:pt x="216" y="149"/>
                      </a:lnTo>
                      <a:lnTo>
                        <a:pt x="214" y="149"/>
                      </a:lnTo>
                      <a:lnTo>
                        <a:pt x="214" y="147"/>
                      </a:lnTo>
                      <a:lnTo>
                        <a:pt x="214" y="146"/>
                      </a:lnTo>
                      <a:lnTo>
                        <a:pt x="214" y="144"/>
                      </a:lnTo>
                      <a:lnTo>
                        <a:pt x="213" y="144"/>
                      </a:lnTo>
                      <a:lnTo>
                        <a:pt x="213" y="146"/>
                      </a:lnTo>
                      <a:lnTo>
                        <a:pt x="211" y="146"/>
                      </a:lnTo>
                      <a:lnTo>
                        <a:pt x="209" y="146"/>
                      </a:lnTo>
                      <a:lnTo>
                        <a:pt x="209" y="144"/>
                      </a:lnTo>
                      <a:lnTo>
                        <a:pt x="211" y="142"/>
                      </a:lnTo>
                      <a:lnTo>
                        <a:pt x="211" y="141"/>
                      </a:lnTo>
                      <a:lnTo>
                        <a:pt x="209" y="141"/>
                      </a:lnTo>
                      <a:lnTo>
                        <a:pt x="207" y="141"/>
                      </a:lnTo>
                      <a:lnTo>
                        <a:pt x="207" y="142"/>
                      </a:lnTo>
                      <a:lnTo>
                        <a:pt x="207" y="144"/>
                      </a:lnTo>
                      <a:lnTo>
                        <a:pt x="206" y="144"/>
                      </a:lnTo>
                      <a:lnTo>
                        <a:pt x="206" y="142"/>
                      </a:lnTo>
                      <a:lnTo>
                        <a:pt x="206" y="141"/>
                      </a:lnTo>
                      <a:lnTo>
                        <a:pt x="204" y="139"/>
                      </a:lnTo>
                      <a:lnTo>
                        <a:pt x="202" y="139"/>
                      </a:lnTo>
                      <a:lnTo>
                        <a:pt x="202" y="141"/>
                      </a:lnTo>
                      <a:lnTo>
                        <a:pt x="201" y="142"/>
                      </a:lnTo>
                      <a:lnTo>
                        <a:pt x="199" y="141"/>
                      </a:lnTo>
                      <a:lnTo>
                        <a:pt x="197" y="141"/>
                      </a:lnTo>
                      <a:lnTo>
                        <a:pt x="196" y="141"/>
                      </a:lnTo>
                      <a:lnTo>
                        <a:pt x="194" y="141"/>
                      </a:lnTo>
                      <a:lnTo>
                        <a:pt x="194" y="142"/>
                      </a:lnTo>
                      <a:lnTo>
                        <a:pt x="196" y="144"/>
                      </a:lnTo>
                      <a:lnTo>
                        <a:pt x="194" y="144"/>
                      </a:lnTo>
                      <a:lnTo>
                        <a:pt x="192" y="144"/>
                      </a:lnTo>
                      <a:lnTo>
                        <a:pt x="192" y="142"/>
                      </a:lnTo>
                      <a:lnTo>
                        <a:pt x="191" y="142"/>
                      </a:lnTo>
                      <a:lnTo>
                        <a:pt x="191" y="144"/>
                      </a:lnTo>
                      <a:lnTo>
                        <a:pt x="189" y="144"/>
                      </a:lnTo>
                      <a:lnTo>
                        <a:pt x="189" y="142"/>
                      </a:lnTo>
                      <a:lnTo>
                        <a:pt x="189" y="141"/>
                      </a:lnTo>
                      <a:lnTo>
                        <a:pt x="189" y="139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6" y="141"/>
                      </a:lnTo>
                      <a:lnTo>
                        <a:pt x="187" y="142"/>
                      </a:lnTo>
                      <a:lnTo>
                        <a:pt x="187" y="144"/>
                      </a:lnTo>
                      <a:lnTo>
                        <a:pt x="186" y="144"/>
                      </a:lnTo>
                      <a:lnTo>
                        <a:pt x="184" y="142"/>
                      </a:lnTo>
                      <a:lnTo>
                        <a:pt x="184" y="141"/>
                      </a:lnTo>
                      <a:lnTo>
                        <a:pt x="184" y="139"/>
                      </a:lnTo>
                      <a:lnTo>
                        <a:pt x="184" y="138"/>
                      </a:lnTo>
                      <a:lnTo>
                        <a:pt x="182" y="138"/>
                      </a:lnTo>
                      <a:lnTo>
                        <a:pt x="180" y="138"/>
                      </a:lnTo>
                      <a:lnTo>
                        <a:pt x="180" y="139"/>
                      </a:lnTo>
                      <a:lnTo>
                        <a:pt x="179" y="139"/>
                      </a:lnTo>
                      <a:lnTo>
                        <a:pt x="179" y="138"/>
                      </a:lnTo>
                      <a:lnTo>
                        <a:pt x="180" y="138"/>
                      </a:lnTo>
                      <a:lnTo>
                        <a:pt x="180" y="136"/>
                      </a:lnTo>
                      <a:lnTo>
                        <a:pt x="180" y="134"/>
                      </a:lnTo>
                      <a:lnTo>
                        <a:pt x="179" y="134"/>
                      </a:lnTo>
                      <a:lnTo>
                        <a:pt x="177" y="133"/>
                      </a:lnTo>
                      <a:lnTo>
                        <a:pt x="175" y="133"/>
                      </a:lnTo>
                      <a:lnTo>
                        <a:pt x="174" y="133"/>
                      </a:lnTo>
                      <a:lnTo>
                        <a:pt x="175" y="131"/>
                      </a:lnTo>
                      <a:lnTo>
                        <a:pt x="177" y="131"/>
                      </a:lnTo>
                      <a:lnTo>
                        <a:pt x="179" y="133"/>
                      </a:lnTo>
                      <a:lnTo>
                        <a:pt x="179" y="131"/>
                      </a:lnTo>
                      <a:lnTo>
                        <a:pt x="177" y="129"/>
                      </a:lnTo>
                      <a:lnTo>
                        <a:pt x="175" y="131"/>
                      </a:lnTo>
                      <a:lnTo>
                        <a:pt x="174" y="129"/>
                      </a:lnTo>
                      <a:lnTo>
                        <a:pt x="172" y="129"/>
                      </a:lnTo>
                      <a:lnTo>
                        <a:pt x="172" y="128"/>
                      </a:lnTo>
                      <a:lnTo>
                        <a:pt x="174" y="128"/>
                      </a:lnTo>
                      <a:lnTo>
                        <a:pt x="174" y="126"/>
                      </a:lnTo>
                      <a:lnTo>
                        <a:pt x="172" y="126"/>
                      </a:lnTo>
                      <a:lnTo>
                        <a:pt x="172" y="128"/>
                      </a:lnTo>
                      <a:lnTo>
                        <a:pt x="170" y="128"/>
                      </a:lnTo>
                      <a:lnTo>
                        <a:pt x="169" y="128"/>
                      </a:lnTo>
                      <a:lnTo>
                        <a:pt x="167" y="126"/>
                      </a:lnTo>
                      <a:lnTo>
                        <a:pt x="167" y="128"/>
                      </a:lnTo>
                      <a:lnTo>
                        <a:pt x="165" y="128"/>
                      </a:lnTo>
                      <a:lnTo>
                        <a:pt x="164" y="126"/>
                      </a:lnTo>
                      <a:lnTo>
                        <a:pt x="165" y="124"/>
                      </a:lnTo>
                      <a:lnTo>
                        <a:pt x="164" y="124"/>
                      </a:lnTo>
                      <a:lnTo>
                        <a:pt x="164" y="123"/>
                      </a:lnTo>
                      <a:lnTo>
                        <a:pt x="162" y="123"/>
                      </a:lnTo>
                      <a:lnTo>
                        <a:pt x="162" y="124"/>
                      </a:lnTo>
                      <a:lnTo>
                        <a:pt x="160" y="124"/>
                      </a:lnTo>
                      <a:lnTo>
                        <a:pt x="158" y="124"/>
                      </a:lnTo>
                      <a:lnTo>
                        <a:pt x="158" y="123"/>
                      </a:lnTo>
                      <a:lnTo>
                        <a:pt x="160" y="123"/>
                      </a:lnTo>
                      <a:lnTo>
                        <a:pt x="160" y="121"/>
                      </a:lnTo>
                      <a:lnTo>
                        <a:pt x="158" y="121"/>
                      </a:lnTo>
                      <a:lnTo>
                        <a:pt x="157" y="121"/>
                      </a:lnTo>
                      <a:lnTo>
                        <a:pt x="157" y="123"/>
                      </a:lnTo>
                      <a:lnTo>
                        <a:pt x="155" y="126"/>
                      </a:lnTo>
                      <a:lnTo>
                        <a:pt x="153" y="126"/>
                      </a:lnTo>
                      <a:lnTo>
                        <a:pt x="152" y="124"/>
                      </a:lnTo>
                      <a:lnTo>
                        <a:pt x="152" y="123"/>
                      </a:lnTo>
                      <a:lnTo>
                        <a:pt x="148" y="124"/>
                      </a:lnTo>
                      <a:lnTo>
                        <a:pt x="148" y="123"/>
                      </a:lnTo>
                      <a:lnTo>
                        <a:pt x="148" y="121"/>
                      </a:lnTo>
                      <a:lnTo>
                        <a:pt x="150" y="121"/>
                      </a:lnTo>
                      <a:lnTo>
                        <a:pt x="152" y="121"/>
                      </a:lnTo>
                      <a:lnTo>
                        <a:pt x="152" y="119"/>
                      </a:lnTo>
                      <a:lnTo>
                        <a:pt x="150" y="119"/>
                      </a:lnTo>
                      <a:lnTo>
                        <a:pt x="148" y="119"/>
                      </a:lnTo>
                      <a:lnTo>
                        <a:pt x="147" y="119"/>
                      </a:lnTo>
                      <a:lnTo>
                        <a:pt x="145" y="119"/>
                      </a:lnTo>
                      <a:lnTo>
                        <a:pt x="145" y="121"/>
                      </a:lnTo>
                      <a:lnTo>
                        <a:pt x="147" y="121"/>
                      </a:lnTo>
                      <a:lnTo>
                        <a:pt x="147" y="123"/>
                      </a:lnTo>
                      <a:lnTo>
                        <a:pt x="147" y="124"/>
                      </a:lnTo>
                      <a:lnTo>
                        <a:pt x="145" y="124"/>
                      </a:lnTo>
                      <a:lnTo>
                        <a:pt x="143" y="123"/>
                      </a:lnTo>
                      <a:lnTo>
                        <a:pt x="142" y="123"/>
                      </a:lnTo>
                      <a:lnTo>
                        <a:pt x="140" y="123"/>
                      </a:lnTo>
                      <a:lnTo>
                        <a:pt x="140" y="124"/>
                      </a:lnTo>
                      <a:lnTo>
                        <a:pt x="138" y="123"/>
                      </a:lnTo>
                      <a:lnTo>
                        <a:pt x="138" y="119"/>
                      </a:lnTo>
                      <a:lnTo>
                        <a:pt x="137" y="119"/>
                      </a:lnTo>
                      <a:lnTo>
                        <a:pt x="137" y="121"/>
                      </a:lnTo>
                      <a:lnTo>
                        <a:pt x="137" y="123"/>
                      </a:lnTo>
                      <a:lnTo>
                        <a:pt x="135" y="121"/>
                      </a:lnTo>
                      <a:lnTo>
                        <a:pt x="133" y="119"/>
                      </a:lnTo>
                      <a:lnTo>
                        <a:pt x="133" y="118"/>
                      </a:lnTo>
                      <a:lnTo>
                        <a:pt x="133" y="116"/>
                      </a:lnTo>
                      <a:lnTo>
                        <a:pt x="131" y="116"/>
                      </a:lnTo>
                      <a:lnTo>
                        <a:pt x="130" y="118"/>
                      </a:lnTo>
                      <a:lnTo>
                        <a:pt x="128" y="118"/>
                      </a:lnTo>
                      <a:lnTo>
                        <a:pt x="130" y="119"/>
                      </a:lnTo>
                      <a:lnTo>
                        <a:pt x="128" y="119"/>
                      </a:lnTo>
                      <a:lnTo>
                        <a:pt x="125" y="119"/>
                      </a:lnTo>
                      <a:lnTo>
                        <a:pt x="123" y="119"/>
                      </a:lnTo>
                      <a:lnTo>
                        <a:pt x="123" y="118"/>
                      </a:lnTo>
                      <a:lnTo>
                        <a:pt x="121" y="118"/>
                      </a:lnTo>
                      <a:lnTo>
                        <a:pt x="120" y="118"/>
                      </a:lnTo>
                      <a:lnTo>
                        <a:pt x="118" y="118"/>
                      </a:lnTo>
                      <a:lnTo>
                        <a:pt x="118" y="119"/>
                      </a:lnTo>
                      <a:lnTo>
                        <a:pt x="116" y="119"/>
                      </a:lnTo>
                      <a:lnTo>
                        <a:pt x="115" y="119"/>
                      </a:lnTo>
                      <a:lnTo>
                        <a:pt x="113" y="119"/>
                      </a:lnTo>
                      <a:lnTo>
                        <a:pt x="113" y="118"/>
                      </a:lnTo>
                      <a:lnTo>
                        <a:pt x="111" y="118"/>
                      </a:lnTo>
                      <a:lnTo>
                        <a:pt x="110" y="118"/>
                      </a:lnTo>
                      <a:lnTo>
                        <a:pt x="110" y="119"/>
                      </a:lnTo>
                      <a:lnTo>
                        <a:pt x="110" y="121"/>
                      </a:lnTo>
                      <a:lnTo>
                        <a:pt x="108" y="121"/>
                      </a:lnTo>
                      <a:lnTo>
                        <a:pt x="108" y="119"/>
                      </a:lnTo>
                      <a:lnTo>
                        <a:pt x="108" y="118"/>
                      </a:lnTo>
                      <a:lnTo>
                        <a:pt x="106" y="118"/>
                      </a:lnTo>
                      <a:lnTo>
                        <a:pt x="104" y="118"/>
                      </a:lnTo>
                      <a:lnTo>
                        <a:pt x="104" y="119"/>
                      </a:lnTo>
                      <a:lnTo>
                        <a:pt x="103" y="119"/>
                      </a:lnTo>
                      <a:lnTo>
                        <a:pt x="103" y="118"/>
                      </a:lnTo>
                      <a:lnTo>
                        <a:pt x="103" y="116"/>
                      </a:lnTo>
                      <a:lnTo>
                        <a:pt x="103" y="115"/>
                      </a:lnTo>
                      <a:lnTo>
                        <a:pt x="101" y="115"/>
                      </a:lnTo>
                      <a:lnTo>
                        <a:pt x="99" y="115"/>
                      </a:lnTo>
                      <a:lnTo>
                        <a:pt x="98" y="115"/>
                      </a:lnTo>
                      <a:lnTo>
                        <a:pt x="96" y="115"/>
                      </a:lnTo>
                      <a:lnTo>
                        <a:pt x="94" y="115"/>
                      </a:lnTo>
                      <a:lnTo>
                        <a:pt x="94" y="113"/>
                      </a:lnTo>
                      <a:lnTo>
                        <a:pt x="94" y="111"/>
                      </a:lnTo>
                      <a:lnTo>
                        <a:pt x="93" y="111"/>
                      </a:lnTo>
                      <a:lnTo>
                        <a:pt x="91" y="113"/>
                      </a:lnTo>
                      <a:lnTo>
                        <a:pt x="89" y="113"/>
                      </a:lnTo>
                      <a:lnTo>
                        <a:pt x="89" y="115"/>
                      </a:lnTo>
                      <a:lnTo>
                        <a:pt x="88" y="115"/>
                      </a:lnTo>
                      <a:lnTo>
                        <a:pt x="86" y="115"/>
                      </a:lnTo>
                      <a:lnTo>
                        <a:pt x="86" y="111"/>
                      </a:lnTo>
                      <a:lnTo>
                        <a:pt x="84" y="111"/>
                      </a:lnTo>
                      <a:lnTo>
                        <a:pt x="84" y="110"/>
                      </a:lnTo>
                      <a:lnTo>
                        <a:pt x="84" y="111"/>
                      </a:lnTo>
                      <a:lnTo>
                        <a:pt x="82" y="111"/>
                      </a:lnTo>
                      <a:lnTo>
                        <a:pt x="82" y="113"/>
                      </a:lnTo>
                      <a:lnTo>
                        <a:pt x="82" y="115"/>
                      </a:lnTo>
                      <a:lnTo>
                        <a:pt x="82" y="116"/>
                      </a:lnTo>
                      <a:lnTo>
                        <a:pt x="81" y="116"/>
                      </a:lnTo>
                      <a:lnTo>
                        <a:pt x="79" y="115"/>
                      </a:lnTo>
                      <a:lnTo>
                        <a:pt x="79" y="113"/>
                      </a:lnTo>
                      <a:lnTo>
                        <a:pt x="81" y="111"/>
                      </a:lnTo>
                      <a:lnTo>
                        <a:pt x="81" y="110"/>
                      </a:lnTo>
                      <a:lnTo>
                        <a:pt x="81" y="108"/>
                      </a:lnTo>
                      <a:lnTo>
                        <a:pt x="79" y="108"/>
                      </a:lnTo>
                      <a:lnTo>
                        <a:pt x="77" y="110"/>
                      </a:lnTo>
                      <a:lnTo>
                        <a:pt x="76" y="110"/>
                      </a:lnTo>
                      <a:lnTo>
                        <a:pt x="76" y="108"/>
                      </a:lnTo>
                      <a:lnTo>
                        <a:pt x="76" y="106"/>
                      </a:lnTo>
                      <a:lnTo>
                        <a:pt x="77" y="106"/>
                      </a:lnTo>
                      <a:lnTo>
                        <a:pt x="77" y="105"/>
                      </a:lnTo>
                      <a:lnTo>
                        <a:pt x="77" y="103"/>
                      </a:lnTo>
                      <a:lnTo>
                        <a:pt x="76" y="103"/>
                      </a:lnTo>
                      <a:lnTo>
                        <a:pt x="74" y="103"/>
                      </a:lnTo>
                      <a:lnTo>
                        <a:pt x="72" y="105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4" y="108"/>
                      </a:lnTo>
                      <a:lnTo>
                        <a:pt x="72" y="110"/>
                      </a:lnTo>
                      <a:lnTo>
                        <a:pt x="72" y="111"/>
                      </a:lnTo>
                      <a:lnTo>
                        <a:pt x="69" y="111"/>
                      </a:lnTo>
                      <a:lnTo>
                        <a:pt x="67" y="111"/>
                      </a:lnTo>
                      <a:lnTo>
                        <a:pt x="66" y="111"/>
                      </a:lnTo>
                      <a:lnTo>
                        <a:pt x="66" y="110"/>
                      </a:lnTo>
                      <a:lnTo>
                        <a:pt x="66" y="108"/>
                      </a:lnTo>
                      <a:lnTo>
                        <a:pt x="64" y="108"/>
                      </a:lnTo>
                      <a:lnTo>
                        <a:pt x="64" y="110"/>
                      </a:lnTo>
                      <a:lnTo>
                        <a:pt x="64" y="111"/>
                      </a:lnTo>
                      <a:lnTo>
                        <a:pt x="62" y="113"/>
                      </a:lnTo>
                      <a:lnTo>
                        <a:pt x="61" y="113"/>
                      </a:lnTo>
                      <a:lnTo>
                        <a:pt x="59" y="111"/>
                      </a:lnTo>
                      <a:lnTo>
                        <a:pt x="57" y="111"/>
                      </a:lnTo>
                      <a:lnTo>
                        <a:pt x="55" y="111"/>
                      </a:lnTo>
                      <a:lnTo>
                        <a:pt x="55" y="113"/>
                      </a:lnTo>
                      <a:lnTo>
                        <a:pt x="54" y="113"/>
                      </a:lnTo>
                      <a:lnTo>
                        <a:pt x="52" y="113"/>
                      </a:lnTo>
                      <a:lnTo>
                        <a:pt x="52" y="115"/>
                      </a:lnTo>
                      <a:lnTo>
                        <a:pt x="50" y="116"/>
                      </a:lnTo>
                      <a:lnTo>
                        <a:pt x="49" y="115"/>
                      </a:lnTo>
                      <a:lnTo>
                        <a:pt x="49" y="113"/>
                      </a:lnTo>
                      <a:lnTo>
                        <a:pt x="50" y="111"/>
                      </a:lnTo>
                      <a:lnTo>
                        <a:pt x="52" y="110"/>
                      </a:lnTo>
                      <a:lnTo>
                        <a:pt x="52" y="108"/>
                      </a:lnTo>
                      <a:lnTo>
                        <a:pt x="50" y="106"/>
                      </a:lnTo>
                      <a:lnTo>
                        <a:pt x="49" y="106"/>
                      </a:lnTo>
                      <a:lnTo>
                        <a:pt x="47" y="106"/>
                      </a:lnTo>
                      <a:lnTo>
                        <a:pt x="45" y="106"/>
                      </a:lnTo>
                      <a:lnTo>
                        <a:pt x="45" y="105"/>
                      </a:lnTo>
                      <a:lnTo>
                        <a:pt x="45" y="103"/>
                      </a:lnTo>
                      <a:lnTo>
                        <a:pt x="44" y="103"/>
                      </a:lnTo>
                      <a:lnTo>
                        <a:pt x="44" y="105"/>
                      </a:lnTo>
                      <a:lnTo>
                        <a:pt x="42" y="105"/>
                      </a:lnTo>
                      <a:lnTo>
                        <a:pt x="42" y="108"/>
                      </a:lnTo>
                      <a:lnTo>
                        <a:pt x="40" y="108"/>
                      </a:lnTo>
                      <a:lnTo>
                        <a:pt x="39" y="110"/>
                      </a:lnTo>
                      <a:lnTo>
                        <a:pt x="37" y="110"/>
                      </a:lnTo>
                      <a:lnTo>
                        <a:pt x="35" y="110"/>
                      </a:lnTo>
                      <a:lnTo>
                        <a:pt x="35" y="108"/>
                      </a:lnTo>
                      <a:lnTo>
                        <a:pt x="33" y="108"/>
                      </a:lnTo>
                      <a:lnTo>
                        <a:pt x="32" y="108"/>
                      </a:lnTo>
                      <a:lnTo>
                        <a:pt x="32" y="110"/>
                      </a:lnTo>
                      <a:lnTo>
                        <a:pt x="32" y="111"/>
                      </a:lnTo>
                      <a:lnTo>
                        <a:pt x="33" y="111"/>
                      </a:lnTo>
                      <a:lnTo>
                        <a:pt x="33" y="113"/>
                      </a:lnTo>
                      <a:lnTo>
                        <a:pt x="33" y="115"/>
                      </a:lnTo>
                      <a:lnTo>
                        <a:pt x="32" y="115"/>
                      </a:lnTo>
                      <a:lnTo>
                        <a:pt x="30" y="115"/>
                      </a:lnTo>
                      <a:lnTo>
                        <a:pt x="30" y="113"/>
                      </a:lnTo>
                      <a:lnTo>
                        <a:pt x="28" y="111"/>
                      </a:lnTo>
                      <a:lnTo>
                        <a:pt x="27" y="111"/>
                      </a:lnTo>
                      <a:lnTo>
                        <a:pt x="25" y="111"/>
                      </a:lnTo>
                      <a:lnTo>
                        <a:pt x="25" y="113"/>
                      </a:lnTo>
                      <a:lnTo>
                        <a:pt x="23" y="113"/>
                      </a:lnTo>
                      <a:lnTo>
                        <a:pt x="22" y="113"/>
                      </a:lnTo>
                      <a:lnTo>
                        <a:pt x="20" y="115"/>
                      </a:lnTo>
                      <a:lnTo>
                        <a:pt x="20" y="116"/>
                      </a:lnTo>
                      <a:lnTo>
                        <a:pt x="18" y="116"/>
                      </a:lnTo>
                      <a:lnTo>
                        <a:pt x="18" y="115"/>
                      </a:lnTo>
                      <a:lnTo>
                        <a:pt x="18" y="113"/>
                      </a:lnTo>
                      <a:lnTo>
                        <a:pt x="18" y="111"/>
                      </a:lnTo>
                      <a:lnTo>
                        <a:pt x="17" y="111"/>
                      </a:lnTo>
                      <a:lnTo>
                        <a:pt x="15" y="110"/>
                      </a:lnTo>
                      <a:lnTo>
                        <a:pt x="15" y="111"/>
                      </a:lnTo>
                      <a:lnTo>
                        <a:pt x="13" y="111"/>
                      </a:lnTo>
                      <a:lnTo>
                        <a:pt x="12" y="111"/>
                      </a:lnTo>
                      <a:lnTo>
                        <a:pt x="12" y="113"/>
                      </a:lnTo>
                      <a:lnTo>
                        <a:pt x="10" y="113"/>
                      </a:lnTo>
                      <a:lnTo>
                        <a:pt x="8" y="113"/>
                      </a:lnTo>
                      <a:lnTo>
                        <a:pt x="8" y="110"/>
                      </a:lnTo>
                      <a:lnTo>
                        <a:pt x="6" y="110"/>
                      </a:lnTo>
                      <a:lnTo>
                        <a:pt x="3" y="111"/>
                      </a:lnTo>
                      <a:lnTo>
                        <a:pt x="1" y="111"/>
                      </a:lnTo>
                      <a:lnTo>
                        <a:pt x="0" y="110"/>
                      </a:lnTo>
                      <a:lnTo>
                        <a:pt x="1" y="110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08"/>
                      </a:lnTo>
                      <a:lnTo>
                        <a:pt x="3" y="108"/>
                      </a:lnTo>
                      <a:lnTo>
                        <a:pt x="1" y="108"/>
                      </a:lnTo>
                      <a:lnTo>
                        <a:pt x="3" y="108"/>
                      </a:lnTo>
                      <a:lnTo>
                        <a:pt x="3" y="106"/>
                      </a:lnTo>
                      <a:lnTo>
                        <a:pt x="1" y="105"/>
                      </a:lnTo>
                      <a:lnTo>
                        <a:pt x="3" y="105"/>
                      </a:lnTo>
                      <a:lnTo>
                        <a:pt x="3" y="106"/>
                      </a:lnTo>
                      <a:lnTo>
                        <a:pt x="5" y="106"/>
                      </a:lnTo>
                      <a:lnTo>
                        <a:pt x="5" y="105"/>
                      </a:lnTo>
                      <a:lnTo>
                        <a:pt x="6" y="105"/>
                      </a:lnTo>
                      <a:lnTo>
                        <a:pt x="3" y="103"/>
                      </a:lnTo>
                      <a:lnTo>
                        <a:pt x="5" y="101"/>
                      </a:lnTo>
                      <a:lnTo>
                        <a:pt x="5" y="103"/>
                      </a:lnTo>
                      <a:lnTo>
                        <a:pt x="6" y="103"/>
                      </a:lnTo>
                      <a:lnTo>
                        <a:pt x="6" y="101"/>
                      </a:lnTo>
                      <a:lnTo>
                        <a:pt x="5" y="101"/>
                      </a:lnTo>
                      <a:lnTo>
                        <a:pt x="5" y="100"/>
                      </a:lnTo>
                      <a:lnTo>
                        <a:pt x="3" y="100"/>
                      </a:lnTo>
                      <a:lnTo>
                        <a:pt x="5" y="100"/>
                      </a:lnTo>
                      <a:lnTo>
                        <a:pt x="5" y="101"/>
                      </a:lnTo>
                      <a:lnTo>
                        <a:pt x="6" y="101"/>
                      </a:lnTo>
                      <a:lnTo>
                        <a:pt x="8" y="101"/>
                      </a:lnTo>
                      <a:lnTo>
                        <a:pt x="6" y="101"/>
                      </a:lnTo>
                      <a:lnTo>
                        <a:pt x="6" y="100"/>
                      </a:lnTo>
                      <a:lnTo>
                        <a:pt x="5" y="98"/>
                      </a:lnTo>
                      <a:lnTo>
                        <a:pt x="6" y="98"/>
                      </a:lnTo>
                      <a:lnTo>
                        <a:pt x="6" y="100"/>
                      </a:lnTo>
                      <a:lnTo>
                        <a:pt x="8" y="100"/>
                      </a:lnTo>
                      <a:lnTo>
                        <a:pt x="8" y="98"/>
                      </a:lnTo>
                      <a:lnTo>
                        <a:pt x="8" y="96"/>
                      </a:lnTo>
                      <a:lnTo>
                        <a:pt x="10" y="96"/>
                      </a:lnTo>
                      <a:lnTo>
                        <a:pt x="10" y="95"/>
                      </a:lnTo>
                      <a:lnTo>
                        <a:pt x="12" y="95"/>
                      </a:lnTo>
                      <a:lnTo>
                        <a:pt x="12" y="93"/>
                      </a:lnTo>
                      <a:lnTo>
                        <a:pt x="10" y="93"/>
                      </a:lnTo>
                      <a:lnTo>
                        <a:pt x="10" y="92"/>
                      </a:lnTo>
                      <a:lnTo>
                        <a:pt x="12" y="92"/>
                      </a:lnTo>
                      <a:lnTo>
                        <a:pt x="13" y="92"/>
                      </a:lnTo>
                      <a:lnTo>
                        <a:pt x="13" y="90"/>
                      </a:lnTo>
                      <a:lnTo>
                        <a:pt x="15" y="90"/>
                      </a:lnTo>
                      <a:lnTo>
                        <a:pt x="17" y="90"/>
                      </a:lnTo>
                      <a:lnTo>
                        <a:pt x="15" y="90"/>
                      </a:lnTo>
                      <a:lnTo>
                        <a:pt x="13" y="90"/>
                      </a:lnTo>
                      <a:lnTo>
                        <a:pt x="13" y="88"/>
                      </a:lnTo>
                      <a:lnTo>
                        <a:pt x="15" y="88"/>
                      </a:lnTo>
                      <a:lnTo>
                        <a:pt x="17" y="88"/>
                      </a:lnTo>
                      <a:lnTo>
                        <a:pt x="17" y="87"/>
                      </a:lnTo>
                      <a:lnTo>
                        <a:pt x="15" y="87"/>
                      </a:lnTo>
                      <a:lnTo>
                        <a:pt x="17" y="87"/>
                      </a:lnTo>
                      <a:lnTo>
                        <a:pt x="17" y="85"/>
                      </a:lnTo>
                      <a:lnTo>
                        <a:pt x="15" y="85"/>
                      </a:lnTo>
                      <a:lnTo>
                        <a:pt x="13" y="85"/>
                      </a:lnTo>
                      <a:lnTo>
                        <a:pt x="15" y="83"/>
                      </a:lnTo>
                      <a:lnTo>
                        <a:pt x="13" y="83"/>
                      </a:lnTo>
                      <a:lnTo>
                        <a:pt x="13" y="82"/>
                      </a:lnTo>
                      <a:lnTo>
                        <a:pt x="15" y="83"/>
                      </a:lnTo>
                      <a:lnTo>
                        <a:pt x="17" y="83"/>
                      </a:lnTo>
                      <a:lnTo>
                        <a:pt x="17" y="82"/>
                      </a:lnTo>
                      <a:lnTo>
                        <a:pt x="15" y="82"/>
                      </a:lnTo>
                      <a:lnTo>
                        <a:pt x="13" y="82"/>
                      </a:lnTo>
                      <a:lnTo>
                        <a:pt x="13" y="80"/>
                      </a:lnTo>
                      <a:lnTo>
                        <a:pt x="15" y="80"/>
                      </a:lnTo>
                      <a:lnTo>
                        <a:pt x="13" y="80"/>
                      </a:lnTo>
                      <a:lnTo>
                        <a:pt x="13" y="78"/>
                      </a:lnTo>
                      <a:lnTo>
                        <a:pt x="13" y="77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3" y="75"/>
                      </a:lnTo>
                      <a:lnTo>
                        <a:pt x="13" y="73"/>
                      </a:lnTo>
                      <a:lnTo>
                        <a:pt x="12" y="73"/>
                      </a:lnTo>
                      <a:lnTo>
                        <a:pt x="12" y="75"/>
                      </a:lnTo>
                      <a:lnTo>
                        <a:pt x="10" y="75"/>
                      </a:lnTo>
                      <a:lnTo>
                        <a:pt x="10" y="73"/>
                      </a:lnTo>
                      <a:lnTo>
                        <a:pt x="12" y="73"/>
                      </a:lnTo>
                      <a:lnTo>
                        <a:pt x="12" y="72"/>
                      </a:lnTo>
                      <a:lnTo>
                        <a:pt x="10" y="72"/>
                      </a:lnTo>
                      <a:lnTo>
                        <a:pt x="10" y="70"/>
                      </a:lnTo>
                      <a:lnTo>
                        <a:pt x="10" y="72"/>
                      </a:lnTo>
                      <a:lnTo>
                        <a:pt x="8" y="72"/>
                      </a:lnTo>
                      <a:lnTo>
                        <a:pt x="10" y="70"/>
                      </a:lnTo>
                      <a:lnTo>
                        <a:pt x="8" y="70"/>
                      </a:lnTo>
                      <a:lnTo>
                        <a:pt x="8" y="69"/>
                      </a:lnTo>
                      <a:lnTo>
                        <a:pt x="8" y="70"/>
                      </a:lnTo>
                      <a:lnTo>
                        <a:pt x="10" y="70"/>
                      </a:lnTo>
                      <a:lnTo>
                        <a:pt x="10" y="69"/>
                      </a:lnTo>
                      <a:lnTo>
                        <a:pt x="10" y="67"/>
                      </a:lnTo>
                      <a:lnTo>
                        <a:pt x="10" y="65"/>
                      </a:lnTo>
                      <a:lnTo>
                        <a:pt x="10" y="67"/>
                      </a:lnTo>
                      <a:lnTo>
                        <a:pt x="12" y="67"/>
                      </a:lnTo>
                      <a:lnTo>
                        <a:pt x="12" y="65"/>
                      </a:lnTo>
                      <a:lnTo>
                        <a:pt x="10" y="65"/>
                      </a:lnTo>
                      <a:lnTo>
                        <a:pt x="12" y="65"/>
                      </a:lnTo>
                      <a:lnTo>
                        <a:pt x="12" y="64"/>
                      </a:lnTo>
                      <a:lnTo>
                        <a:pt x="10" y="64"/>
                      </a:lnTo>
                      <a:lnTo>
                        <a:pt x="10" y="62"/>
                      </a:lnTo>
                      <a:lnTo>
                        <a:pt x="10" y="64"/>
                      </a:lnTo>
                      <a:lnTo>
                        <a:pt x="8" y="62"/>
                      </a:lnTo>
                      <a:lnTo>
                        <a:pt x="10" y="62"/>
                      </a:lnTo>
                      <a:lnTo>
                        <a:pt x="10" y="60"/>
                      </a:lnTo>
                      <a:lnTo>
                        <a:pt x="10" y="59"/>
                      </a:lnTo>
                      <a:lnTo>
                        <a:pt x="12" y="59"/>
                      </a:lnTo>
                      <a:lnTo>
                        <a:pt x="10" y="57"/>
                      </a:lnTo>
                      <a:lnTo>
                        <a:pt x="12" y="57"/>
                      </a:lnTo>
                      <a:lnTo>
                        <a:pt x="12" y="55"/>
                      </a:lnTo>
                      <a:lnTo>
                        <a:pt x="13" y="55"/>
                      </a:lnTo>
                      <a:lnTo>
                        <a:pt x="12" y="55"/>
                      </a:lnTo>
                      <a:lnTo>
                        <a:pt x="10" y="55"/>
                      </a:lnTo>
                      <a:lnTo>
                        <a:pt x="12" y="55"/>
                      </a:lnTo>
                      <a:lnTo>
                        <a:pt x="12" y="54"/>
                      </a:lnTo>
                      <a:lnTo>
                        <a:pt x="10" y="54"/>
                      </a:lnTo>
                      <a:lnTo>
                        <a:pt x="12" y="54"/>
                      </a:lnTo>
                      <a:lnTo>
                        <a:pt x="12" y="52"/>
                      </a:lnTo>
                      <a:lnTo>
                        <a:pt x="12" y="50"/>
                      </a:lnTo>
                      <a:lnTo>
                        <a:pt x="10" y="50"/>
                      </a:lnTo>
                      <a:lnTo>
                        <a:pt x="12" y="49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3" y="49"/>
                      </a:lnTo>
                      <a:lnTo>
                        <a:pt x="13" y="47"/>
                      </a:lnTo>
                      <a:lnTo>
                        <a:pt x="12" y="47"/>
                      </a:lnTo>
                      <a:lnTo>
                        <a:pt x="13" y="46"/>
                      </a:lnTo>
                      <a:lnTo>
                        <a:pt x="13" y="47"/>
                      </a:lnTo>
                      <a:lnTo>
                        <a:pt x="13" y="46"/>
                      </a:lnTo>
                      <a:lnTo>
                        <a:pt x="13" y="44"/>
                      </a:lnTo>
                      <a:lnTo>
                        <a:pt x="15" y="44"/>
                      </a:lnTo>
                      <a:lnTo>
                        <a:pt x="15" y="42"/>
                      </a:lnTo>
                      <a:lnTo>
                        <a:pt x="13" y="42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3" y="37"/>
                      </a:lnTo>
                      <a:lnTo>
                        <a:pt x="15" y="37"/>
                      </a:lnTo>
                      <a:lnTo>
                        <a:pt x="15" y="36"/>
                      </a:lnTo>
                      <a:lnTo>
                        <a:pt x="13" y="36"/>
                      </a:lnTo>
                      <a:lnTo>
                        <a:pt x="15" y="36"/>
                      </a:lnTo>
                      <a:lnTo>
                        <a:pt x="15" y="34"/>
                      </a:lnTo>
                      <a:lnTo>
                        <a:pt x="17" y="34"/>
                      </a:lnTo>
                      <a:lnTo>
                        <a:pt x="17" y="32"/>
                      </a:lnTo>
                      <a:lnTo>
                        <a:pt x="17" y="31"/>
                      </a:lnTo>
                      <a:lnTo>
                        <a:pt x="18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18" y="26"/>
                      </a:lnTo>
                      <a:lnTo>
                        <a:pt x="20" y="26"/>
                      </a:lnTo>
                      <a:lnTo>
                        <a:pt x="18" y="26"/>
                      </a:lnTo>
                      <a:lnTo>
                        <a:pt x="20" y="27"/>
                      </a:lnTo>
                      <a:lnTo>
                        <a:pt x="20" y="26"/>
                      </a:lnTo>
                      <a:lnTo>
                        <a:pt x="20" y="27"/>
                      </a:lnTo>
                      <a:lnTo>
                        <a:pt x="22" y="27"/>
                      </a:lnTo>
                      <a:lnTo>
                        <a:pt x="23" y="27"/>
                      </a:lnTo>
                      <a:lnTo>
                        <a:pt x="25" y="27"/>
                      </a:lnTo>
                      <a:lnTo>
                        <a:pt x="25" y="29"/>
                      </a:lnTo>
                      <a:lnTo>
                        <a:pt x="27" y="29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30" y="31"/>
                      </a:lnTo>
                      <a:lnTo>
                        <a:pt x="32" y="31"/>
                      </a:lnTo>
                      <a:lnTo>
                        <a:pt x="33" y="31"/>
                      </a:lnTo>
                      <a:lnTo>
                        <a:pt x="35" y="31"/>
                      </a:lnTo>
                      <a:lnTo>
                        <a:pt x="37" y="31"/>
                      </a:lnTo>
                      <a:lnTo>
                        <a:pt x="37" y="29"/>
                      </a:lnTo>
                      <a:lnTo>
                        <a:pt x="39" y="29"/>
                      </a:lnTo>
                      <a:lnTo>
                        <a:pt x="40" y="29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2" y="26"/>
                      </a:lnTo>
                      <a:lnTo>
                        <a:pt x="44" y="26"/>
                      </a:lnTo>
                      <a:lnTo>
                        <a:pt x="45" y="26"/>
                      </a:lnTo>
                      <a:lnTo>
                        <a:pt x="47" y="26"/>
                      </a:lnTo>
                      <a:lnTo>
                        <a:pt x="47" y="27"/>
                      </a:lnTo>
                      <a:lnTo>
                        <a:pt x="47" y="26"/>
                      </a:lnTo>
                      <a:lnTo>
                        <a:pt x="49" y="26"/>
                      </a:lnTo>
                      <a:lnTo>
                        <a:pt x="49" y="27"/>
                      </a:lnTo>
                      <a:lnTo>
                        <a:pt x="50" y="26"/>
                      </a:lnTo>
                      <a:lnTo>
                        <a:pt x="50" y="27"/>
                      </a:lnTo>
                      <a:lnTo>
                        <a:pt x="52" y="27"/>
                      </a:lnTo>
                      <a:lnTo>
                        <a:pt x="52" y="26"/>
                      </a:lnTo>
                      <a:lnTo>
                        <a:pt x="54" y="26"/>
                      </a:lnTo>
                      <a:lnTo>
                        <a:pt x="54" y="27"/>
                      </a:lnTo>
                      <a:lnTo>
                        <a:pt x="55" y="29"/>
                      </a:lnTo>
                      <a:lnTo>
                        <a:pt x="55" y="31"/>
                      </a:lnTo>
                      <a:lnTo>
                        <a:pt x="55" y="29"/>
                      </a:lnTo>
                      <a:lnTo>
                        <a:pt x="55" y="31"/>
                      </a:lnTo>
                      <a:lnTo>
                        <a:pt x="57" y="31"/>
                      </a:lnTo>
                      <a:lnTo>
                        <a:pt x="57" y="32"/>
                      </a:lnTo>
                      <a:lnTo>
                        <a:pt x="59" y="32"/>
                      </a:lnTo>
                      <a:lnTo>
                        <a:pt x="59" y="34"/>
                      </a:lnTo>
                      <a:lnTo>
                        <a:pt x="61" y="32"/>
                      </a:lnTo>
                      <a:lnTo>
                        <a:pt x="61" y="34"/>
                      </a:lnTo>
                      <a:lnTo>
                        <a:pt x="62" y="34"/>
                      </a:lnTo>
                      <a:lnTo>
                        <a:pt x="62" y="36"/>
                      </a:lnTo>
                      <a:lnTo>
                        <a:pt x="64" y="36"/>
                      </a:lnTo>
                      <a:lnTo>
                        <a:pt x="66" y="36"/>
                      </a:lnTo>
                      <a:lnTo>
                        <a:pt x="67" y="36"/>
                      </a:lnTo>
                      <a:lnTo>
                        <a:pt x="67" y="37"/>
                      </a:lnTo>
                      <a:lnTo>
                        <a:pt x="69" y="37"/>
                      </a:lnTo>
                      <a:lnTo>
                        <a:pt x="69" y="39"/>
                      </a:lnTo>
                      <a:lnTo>
                        <a:pt x="71" y="39"/>
                      </a:lnTo>
                      <a:lnTo>
                        <a:pt x="72" y="39"/>
                      </a:lnTo>
                      <a:lnTo>
                        <a:pt x="74" y="39"/>
                      </a:lnTo>
                      <a:lnTo>
                        <a:pt x="76" y="39"/>
                      </a:lnTo>
                      <a:lnTo>
                        <a:pt x="76" y="37"/>
                      </a:lnTo>
                      <a:lnTo>
                        <a:pt x="77" y="37"/>
                      </a:lnTo>
                      <a:lnTo>
                        <a:pt x="79" y="37"/>
                      </a:lnTo>
                      <a:lnTo>
                        <a:pt x="79" y="36"/>
                      </a:lnTo>
                      <a:lnTo>
                        <a:pt x="81" y="36"/>
                      </a:lnTo>
                      <a:lnTo>
                        <a:pt x="82" y="36"/>
                      </a:lnTo>
                      <a:lnTo>
                        <a:pt x="82" y="37"/>
                      </a:lnTo>
                      <a:lnTo>
                        <a:pt x="84" y="37"/>
                      </a:lnTo>
                      <a:lnTo>
                        <a:pt x="86" y="37"/>
                      </a:lnTo>
                      <a:lnTo>
                        <a:pt x="88" y="37"/>
                      </a:lnTo>
                      <a:lnTo>
                        <a:pt x="88" y="36"/>
                      </a:lnTo>
                      <a:lnTo>
                        <a:pt x="89" y="36"/>
                      </a:lnTo>
                      <a:lnTo>
                        <a:pt x="89" y="37"/>
                      </a:lnTo>
                      <a:lnTo>
                        <a:pt x="89" y="36"/>
                      </a:lnTo>
                      <a:lnTo>
                        <a:pt x="91" y="36"/>
                      </a:lnTo>
                      <a:lnTo>
                        <a:pt x="91" y="37"/>
                      </a:lnTo>
                      <a:lnTo>
                        <a:pt x="93" y="36"/>
                      </a:lnTo>
                      <a:lnTo>
                        <a:pt x="94" y="36"/>
                      </a:lnTo>
                      <a:lnTo>
                        <a:pt x="96" y="36"/>
                      </a:lnTo>
                      <a:lnTo>
                        <a:pt x="98" y="36"/>
                      </a:lnTo>
                      <a:lnTo>
                        <a:pt x="99" y="36"/>
                      </a:lnTo>
                      <a:lnTo>
                        <a:pt x="101" y="36"/>
                      </a:lnTo>
                      <a:lnTo>
                        <a:pt x="103" y="36"/>
                      </a:lnTo>
                      <a:lnTo>
                        <a:pt x="104" y="36"/>
                      </a:lnTo>
                      <a:lnTo>
                        <a:pt x="104" y="34"/>
                      </a:lnTo>
                      <a:lnTo>
                        <a:pt x="104" y="36"/>
                      </a:lnTo>
                      <a:lnTo>
                        <a:pt x="106" y="36"/>
                      </a:lnTo>
                      <a:lnTo>
                        <a:pt x="108" y="36"/>
                      </a:lnTo>
                      <a:lnTo>
                        <a:pt x="110" y="36"/>
                      </a:lnTo>
                      <a:lnTo>
                        <a:pt x="111" y="36"/>
                      </a:lnTo>
                      <a:lnTo>
                        <a:pt x="111" y="37"/>
                      </a:lnTo>
                      <a:lnTo>
                        <a:pt x="113" y="37"/>
                      </a:lnTo>
                      <a:lnTo>
                        <a:pt x="113" y="39"/>
                      </a:lnTo>
                      <a:lnTo>
                        <a:pt x="115" y="39"/>
                      </a:lnTo>
                      <a:lnTo>
                        <a:pt x="116" y="39"/>
                      </a:lnTo>
                      <a:lnTo>
                        <a:pt x="116" y="41"/>
                      </a:lnTo>
                      <a:lnTo>
                        <a:pt x="116" y="42"/>
                      </a:lnTo>
                      <a:lnTo>
                        <a:pt x="118" y="42"/>
                      </a:lnTo>
                      <a:lnTo>
                        <a:pt x="118" y="41"/>
                      </a:lnTo>
                      <a:lnTo>
                        <a:pt x="120" y="41"/>
                      </a:lnTo>
                      <a:lnTo>
                        <a:pt x="121" y="41"/>
                      </a:lnTo>
                      <a:lnTo>
                        <a:pt x="123" y="41"/>
                      </a:lnTo>
                      <a:lnTo>
                        <a:pt x="125" y="41"/>
                      </a:lnTo>
                      <a:lnTo>
                        <a:pt x="126" y="41"/>
                      </a:lnTo>
                      <a:lnTo>
                        <a:pt x="126" y="42"/>
                      </a:lnTo>
                      <a:lnTo>
                        <a:pt x="128" y="42"/>
                      </a:lnTo>
                      <a:lnTo>
                        <a:pt x="130" y="42"/>
                      </a:lnTo>
                      <a:lnTo>
                        <a:pt x="130" y="44"/>
                      </a:lnTo>
                      <a:lnTo>
                        <a:pt x="131" y="44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5" y="42"/>
                      </a:lnTo>
                      <a:lnTo>
                        <a:pt x="137" y="42"/>
                      </a:lnTo>
                      <a:lnTo>
                        <a:pt x="138" y="42"/>
                      </a:lnTo>
                      <a:lnTo>
                        <a:pt x="138" y="44"/>
                      </a:lnTo>
                      <a:lnTo>
                        <a:pt x="140" y="44"/>
                      </a:lnTo>
                      <a:lnTo>
                        <a:pt x="142" y="44"/>
                      </a:lnTo>
                      <a:lnTo>
                        <a:pt x="143" y="44"/>
                      </a:lnTo>
                      <a:lnTo>
                        <a:pt x="145" y="44"/>
                      </a:lnTo>
                      <a:lnTo>
                        <a:pt x="147" y="44"/>
                      </a:lnTo>
                      <a:lnTo>
                        <a:pt x="147" y="46"/>
                      </a:lnTo>
                      <a:lnTo>
                        <a:pt x="148" y="46"/>
                      </a:lnTo>
                      <a:lnTo>
                        <a:pt x="150" y="46"/>
                      </a:lnTo>
                      <a:lnTo>
                        <a:pt x="152" y="46"/>
                      </a:lnTo>
                      <a:lnTo>
                        <a:pt x="153" y="46"/>
                      </a:lnTo>
                      <a:lnTo>
                        <a:pt x="155" y="46"/>
                      </a:lnTo>
                      <a:lnTo>
                        <a:pt x="157" y="44"/>
                      </a:lnTo>
                      <a:lnTo>
                        <a:pt x="158" y="46"/>
                      </a:lnTo>
                      <a:lnTo>
                        <a:pt x="160" y="47"/>
                      </a:lnTo>
                      <a:lnTo>
                        <a:pt x="162" y="47"/>
                      </a:lnTo>
                      <a:lnTo>
                        <a:pt x="164" y="47"/>
                      </a:lnTo>
                      <a:lnTo>
                        <a:pt x="165" y="47"/>
                      </a:lnTo>
                      <a:lnTo>
                        <a:pt x="165" y="49"/>
                      </a:lnTo>
                      <a:lnTo>
                        <a:pt x="165" y="50"/>
                      </a:lnTo>
                      <a:lnTo>
                        <a:pt x="167" y="50"/>
                      </a:lnTo>
                      <a:lnTo>
                        <a:pt x="167" y="52"/>
                      </a:lnTo>
                      <a:lnTo>
                        <a:pt x="169" y="52"/>
                      </a:lnTo>
                      <a:lnTo>
                        <a:pt x="170" y="52"/>
                      </a:lnTo>
                      <a:lnTo>
                        <a:pt x="172" y="54"/>
                      </a:lnTo>
                      <a:lnTo>
                        <a:pt x="174" y="54"/>
                      </a:lnTo>
                      <a:lnTo>
                        <a:pt x="174" y="55"/>
                      </a:lnTo>
                      <a:lnTo>
                        <a:pt x="175" y="55"/>
                      </a:lnTo>
                      <a:lnTo>
                        <a:pt x="177" y="55"/>
                      </a:lnTo>
                      <a:lnTo>
                        <a:pt x="179" y="57"/>
                      </a:lnTo>
                      <a:lnTo>
                        <a:pt x="179" y="55"/>
                      </a:lnTo>
                      <a:lnTo>
                        <a:pt x="180" y="55"/>
                      </a:lnTo>
                      <a:lnTo>
                        <a:pt x="180" y="57"/>
                      </a:lnTo>
                      <a:lnTo>
                        <a:pt x="182" y="57"/>
                      </a:lnTo>
                      <a:lnTo>
                        <a:pt x="184" y="57"/>
                      </a:lnTo>
                      <a:lnTo>
                        <a:pt x="186" y="57"/>
                      </a:lnTo>
                      <a:lnTo>
                        <a:pt x="186" y="59"/>
                      </a:lnTo>
                      <a:lnTo>
                        <a:pt x="187" y="59"/>
                      </a:lnTo>
                      <a:lnTo>
                        <a:pt x="189" y="57"/>
                      </a:lnTo>
                      <a:lnTo>
                        <a:pt x="189" y="59"/>
                      </a:lnTo>
                      <a:lnTo>
                        <a:pt x="189" y="57"/>
                      </a:lnTo>
                      <a:lnTo>
                        <a:pt x="192" y="57"/>
                      </a:lnTo>
                      <a:lnTo>
                        <a:pt x="194" y="57"/>
                      </a:lnTo>
                      <a:lnTo>
                        <a:pt x="194" y="59"/>
                      </a:lnTo>
                      <a:lnTo>
                        <a:pt x="196" y="59"/>
                      </a:lnTo>
                      <a:lnTo>
                        <a:pt x="196" y="57"/>
                      </a:lnTo>
                      <a:lnTo>
                        <a:pt x="197" y="57"/>
                      </a:lnTo>
                      <a:lnTo>
                        <a:pt x="199" y="57"/>
                      </a:lnTo>
                      <a:lnTo>
                        <a:pt x="201" y="57"/>
                      </a:lnTo>
                      <a:lnTo>
                        <a:pt x="202" y="57"/>
                      </a:lnTo>
                      <a:lnTo>
                        <a:pt x="204" y="57"/>
                      </a:lnTo>
                      <a:lnTo>
                        <a:pt x="204" y="55"/>
                      </a:lnTo>
                      <a:lnTo>
                        <a:pt x="206" y="55"/>
                      </a:lnTo>
                      <a:lnTo>
                        <a:pt x="207" y="55"/>
                      </a:lnTo>
                      <a:lnTo>
                        <a:pt x="209" y="57"/>
                      </a:lnTo>
                      <a:lnTo>
                        <a:pt x="209" y="59"/>
                      </a:lnTo>
                      <a:lnTo>
                        <a:pt x="211" y="57"/>
                      </a:lnTo>
                      <a:lnTo>
                        <a:pt x="213" y="57"/>
                      </a:lnTo>
                      <a:lnTo>
                        <a:pt x="214" y="57"/>
                      </a:lnTo>
                      <a:lnTo>
                        <a:pt x="216" y="57"/>
                      </a:lnTo>
                      <a:lnTo>
                        <a:pt x="218" y="59"/>
                      </a:lnTo>
                      <a:lnTo>
                        <a:pt x="218" y="57"/>
                      </a:lnTo>
                      <a:lnTo>
                        <a:pt x="219" y="59"/>
                      </a:lnTo>
                      <a:lnTo>
                        <a:pt x="221" y="57"/>
                      </a:lnTo>
                      <a:lnTo>
                        <a:pt x="223" y="57"/>
                      </a:lnTo>
                      <a:lnTo>
                        <a:pt x="223" y="59"/>
                      </a:lnTo>
                      <a:lnTo>
                        <a:pt x="223" y="60"/>
                      </a:lnTo>
                      <a:lnTo>
                        <a:pt x="224" y="60"/>
                      </a:lnTo>
                      <a:lnTo>
                        <a:pt x="226" y="60"/>
                      </a:lnTo>
                      <a:lnTo>
                        <a:pt x="226" y="62"/>
                      </a:lnTo>
                      <a:lnTo>
                        <a:pt x="226" y="64"/>
                      </a:lnTo>
                      <a:lnTo>
                        <a:pt x="228" y="65"/>
                      </a:lnTo>
                      <a:lnTo>
                        <a:pt x="228" y="67"/>
                      </a:lnTo>
                      <a:lnTo>
                        <a:pt x="229" y="67"/>
                      </a:lnTo>
                      <a:lnTo>
                        <a:pt x="231" y="69"/>
                      </a:lnTo>
                      <a:lnTo>
                        <a:pt x="229" y="69"/>
                      </a:lnTo>
                      <a:lnTo>
                        <a:pt x="231" y="69"/>
                      </a:lnTo>
                      <a:lnTo>
                        <a:pt x="233" y="69"/>
                      </a:lnTo>
                      <a:lnTo>
                        <a:pt x="233" y="67"/>
                      </a:lnTo>
                      <a:lnTo>
                        <a:pt x="231" y="65"/>
                      </a:lnTo>
                      <a:lnTo>
                        <a:pt x="233" y="65"/>
                      </a:lnTo>
                      <a:lnTo>
                        <a:pt x="233" y="64"/>
                      </a:lnTo>
                      <a:lnTo>
                        <a:pt x="234" y="64"/>
                      </a:lnTo>
                      <a:lnTo>
                        <a:pt x="236" y="64"/>
                      </a:lnTo>
                      <a:lnTo>
                        <a:pt x="238" y="64"/>
                      </a:lnTo>
                      <a:lnTo>
                        <a:pt x="240" y="64"/>
                      </a:lnTo>
                      <a:lnTo>
                        <a:pt x="241" y="64"/>
                      </a:lnTo>
                      <a:lnTo>
                        <a:pt x="243" y="64"/>
                      </a:lnTo>
                      <a:lnTo>
                        <a:pt x="243" y="62"/>
                      </a:lnTo>
                      <a:lnTo>
                        <a:pt x="245" y="62"/>
                      </a:lnTo>
                      <a:lnTo>
                        <a:pt x="245" y="60"/>
                      </a:lnTo>
                      <a:lnTo>
                        <a:pt x="245" y="62"/>
                      </a:lnTo>
                      <a:lnTo>
                        <a:pt x="246" y="60"/>
                      </a:lnTo>
                      <a:lnTo>
                        <a:pt x="246" y="62"/>
                      </a:lnTo>
                      <a:lnTo>
                        <a:pt x="246" y="60"/>
                      </a:lnTo>
                      <a:lnTo>
                        <a:pt x="246" y="62"/>
                      </a:lnTo>
                      <a:lnTo>
                        <a:pt x="246" y="60"/>
                      </a:lnTo>
                      <a:lnTo>
                        <a:pt x="248" y="60"/>
                      </a:lnTo>
                      <a:lnTo>
                        <a:pt x="246" y="59"/>
                      </a:lnTo>
                      <a:lnTo>
                        <a:pt x="248" y="59"/>
                      </a:lnTo>
                      <a:lnTo>
                        <a:pt x="248" y="57"/>
                      </a:lnTo>
                      <a:lnTo>
                        <a:pt x="248" y="55"/>
                      </a:lnTo>
                      <a:lnTo>
                        <a:pt x="250" y="55"/>
                      </a:lnTo>
                      <a:lnTo>
                        <a:pt x="248" y="55"/>
                      </a:lnTo>
                      <a:lnTo>
                        <a:pt x="248" y="54"/>
                      </a:lnTo>
                      <a:lnTo>
                        <a:pt x="246" y="54"/>
                      </a:lnTo>
                      <a:lnTo>
                        <a:pt x="246" y="52"/>
                      </a:lnTo>
                      <a:lnTo>
                        <a:pt x="246" y="50"/>
                      </a:lnTo>
                      <a:lnTo>
                        <a:pt x="245" y="50"/>
                      </a:lnTo>
                      <a:lnTo>
                        <a:pt x="243" y="50"/>
                      </a:lnTo>
                      <a:lnTo>
                        <a:pt x="243" y="49"/>
                      </a:lnTo>
                      <a:lnTo>
                        <a:pt x="245" y="49"/>
                      </a:lnTo>
                      <a:lnTo>
                        <a:pt x="243" y="49"/>
                      </a:lnTo>
                      <a:lnTo>
                        <a:pt x="245" y="49"/>
                      </a:lnTo>
                      <a:lnTo>
                        <a:pt x="245" y="47"/>
                      </a:lnTo>
                      <a:lnTo>
                        <a:pt x="246" y="47"/>
                      </a:lnTo>
                      <a:lnTo>
                        <a:pt x="245" y="47"/>
                      </a:lnTo>
                      <a:lnTo>
                        <a:pt x="245" y="46"/>
                      </a:lnTo>
                      <a:lnTo>
                        <a:pt x="243" y="46"/>
                      </a:lnTo>
                      <a:lnTo>
                        <a:pt x="243" y="44"/>
                      </a:lnTo>
                      <a:lnTo>
                        <a:pt x="241" y="44"/>
                      </a:lnTo>
                      <a:lnTo>
                        <a:pt x="241" y="42"/>
                      </a:lnTo>
                      <a:lnTo>
                        <a:pt x="241" y="41"/>
                      </a:lnTo>
                      <a:lnTo>
                        <a:pt x="243" y="41"/>
                      </a:lnTo>
                      <a:lnTo>
                        <a:pt x="243" y="39"/>
                      </a:lnTo>
                      <a:lnTo>
                        <a:pt x="245" y="39"/>
                      </a:lnTo>
                      <a:lnTo>
                        <a:pt x="245" y="37"/>
                      </a:lnTo>
                      <a:lnTo>
                        <a:pt x="246" y="37"/>
                      </a:lnTo>
                      <a:lnTo>
                        <a:pt x="245" y="37"/>
                      </a:lnTo>
                      <a:lnTo>
                        <a:pt x="245" y="36"/>
                      </a:lnTo>
                      <a:lnTo>
                        <a:pt x="246" y="36"/>
                      </a:lnTo>
                      <a:lnTo>
                        <a:pt x="245" y="36"/>
                      </a:lnTo>
                      <a:lnTo>
                        <a:pt x="245" y="34"/>
                      </a:lnTo>
                      <a:lnTo>
                        <a:pt x="246" y="34"/>
                      </a:lnTo>
                      <a:lnTo>
                        <a:pt x="246" y="32"/>
                      </a:lnTo>
                      <a:lnTo>
                        <a:pt x="248" y="32"/>
                      </a:lnTo>
                      <a:lnTo>
                        <a:pt x="250" y="31"/>
                      </a:lnTo>
                      <a:lnTo>
                        <a:pt x="251" y="31"/>
                      </a:lnTo>
                      <a:lnTo>
                        <a:pt x="253" y="31"/>
                      </a:lnTo>
                      <a:lnTo>
                        <a:pt x="255" y="31"/>
                      </a:lnTo>
                      <a:lnTo>
                        <a:pt x="253" y="29"/>
                      </a:lnTo>
                      <a:lnTo>
                        <a:pt x="255" y="29"/>
                      </a:lnTo>
                      <a:lnTo>
                        <a:pt x="256" y="29"/>
                      </a:lnTo>
                      <a:lnTo>
                        <a:pt x="258" y="29"/>
                      </a:lnTo>
                      <a:lnTo>
                        <a:pt x="260" y="29"/>
                      </a:lnTo>
                      <a:lnTo>
                        <a:pt x="260" y="27"/>
                      </a:lnTo>
                      <a:lnTo>
                        <a:pt x="260" y="26"/>
                      </a:lnTo>
                      <a:lnTo>
                        <a:pt x="262" y="26"/>
                      </a:lnTo>
                      <a:lnTo>
                        <a:pt x="262" y="24"/>
                      </a:lnTo>
                      <a:lnTo>
                        <a:pt x="263" y="26"/>
                      </a:lnTo>
                      <a:lnTo>
                        <a:pt x="265" y="26"/>
                      </a:lnTo>
                      <a:lnTo>
                        <a:pt x="270" y="24"/>
                      </a:lnTo>
                      <a:lnTo>
                        <a:pt x="272" y="26"/>
                      </a:lnTo>
                      <a:lnTo>
                        <a:pt x="272" y="27"/>
                      </a:lnTo>
                      <a:lnTo>
                        <a:pt x="273" y="27"/>
                      </a:lnTo>
                      <a:lnTo>
                        <a:pt x="275" y="29"/>
                      </a:lnTo>
                      <a:lnTo>
                        <a:pt x="275" y="27"/>
                      </a:lnTo>
                      <a:lnTo>
                        <a:pt x="275" y="26"/>
                      </a:lnTo>
                      <a:lnTo>
                        <a:pt x="275" y="24"/>
                      </a:lnTo>
                      <a:lnTo>
                        <a:pt x="277" y="24"/>
                      </a:lnTo>
                      <a:lnTo>
                        <a:pt x="278" y="26"/>
                      </a:lnTo>
                      <a:lnTo>
                        <a:pt x="278" y="27"/>
                      </a:lnTo>
                      <a:lnTo>
                        <a:pt x="278" y="29"/>
                      </a:lnTo>
                      <a:lnTo>
                        <a:pt x="278" y="31"/>
                      </a:lnTo>
                      <a:lnTo>
                        <a:pt x="280" y="29"/>
                      </a:lnTo>
                      <a:lnTo>
                        <a:pt x="280" y="27"/>
                      </a:lnTo>
                      <a:lnTo>
                        <a:pt x="282" y="26"/>
                      </a:lnTo>
                      <a:lnTo>
                        <a:pt x="283" y="26"/>
                      </a:lnTo>
                      <a:lnTo>
                        <a:pt x="283" y="27"/>
                      </a:lnTo>
                      <a:lnTo>
                        <a:pt x="285" y="29"/>
                      </a:lnTo>
                      <a:lnTo>
                        <a:pt x="285" y="27"/>
                      </a:lnTo>
                      <a:lnTo>
                        <a:pt x="285" y="26"/>
                      </a:lnTo>
                      <a:lnTo>
                        <a:pt x="287" y="26"/>
                      </a:lnTo>
                      <a:lnTo>
                        <a:pt x="289" y="24"/>
                      </a:lnTo>
                      <a:lnTo>
                        <a:pt x="290" y="24"/>
                      </a:lnTo>
                      <a:lnTo>
                        <a:pt x="292" y="24"/>
                      </a:lnTo>
                      <a:lnTo>
                        <a:pt x="294" y="24"/>
                      </a:lnTo>
                      <a:lnTo>
                        <a:pt x="294" y="26"/>
                      </a:lnTo>
                      <a:lnTo>
                        <a:pt x="295" y="26"/>
                      </a:lnTo>
                      <a:lnTo>
                        <a:pt x="297" y="26"/>
                      </a:lnTo>
                      <a:lnTo>
                        <a:pt x="295" y="24"/>
                      </a:lnTo>
                      <a:lnTo>
                        <a:pt x="295" y="23"/>
                      </a:lnTo>
                      <a:lnTo>
                        <a:pt x="297" y="21"/>
                      </a:lnTo>
                      <a:lnTo>
                        <a:pt x="299" y="19"/>
                      </a:lnTo>
                      <a:lnTo>
                        <a:pt x="300" y="18"/>
                      </a:lnTo>
                      <a:lnTo>
                        <a:pt x="300" y="16"/>
                      </a:lnTo>
                      <a:lnTo>
                        <a:pt x="302" y="16"/>
                      </a:lnTo>
                      <a:lnTo>
                        <a:pt x="302" y="14"/>
                      </a:lnTo>
                      <a:lnTo>
                        <a:pt x="302" y="13"/>
                      </a:lnTo>
                      <a:lnTo>
                        <a:pt x="304" y="11"/>
                      </a:lnTo>
                      <a:lnTo>
                        <a:pt x="304" y="9"/>
                      </a:lnTo>
                      <a:lnTo>
                        <a:pt x="305" y="9"/>
                      </a:lnTo>
                      <a:lnTo>
                        <a:pt x="307" y="9"/>
                      </a:lnTo>
                      <a:lnTo>
                        <a:pt x="309" y="9"/>
                      </a:lnTo>
                      <a:lnTo>
                        <a:pt x="310" y="9"/>
                      </a:lnTo>
                      <a:lnTo>
                        <a:pt x="312" y="9"/>
                      </a:lnTo>
                      <a:lnTo>
                        <a:pt x="312" y="8"/>
                      </a:lnTo>
                      <a:lnTo>
                        <a:pt x="310" y="8"/>
                      </a:lnTo>
                      <a:lnTo>
                        <a:pt x="309" y="8"/>
                      </a:lnTo>
                      <a:lnTo>
                        <a:pt x="307" y="6"/>
                      </a:lnTo>
                      <a:lnTo>
                        <a:pt x="309" y="6"/>
                      </a:lnTo>
                      <a:lnTo>
                        <a:pt x="309" y="4"/>
                      </a:lnTo>
                      <a:lnTo>
                        <a:pt x="310" y="3"/>
                      </a:lnTo>
                      <a:lnTo>
                        <a:pt x="310" y="4"/>
                      </a:lnTo>
                      <a:lnTo>
                        <a:pt x="312" y="4"/>
                      </a:lnTo>
                      <a:lnTo>
                        <a:pt x="312" y="6"/>
                      </a:lnTo>
                      <a:lnTo>
                        <a:pt x="312" y="8"/>
                      </a:lnTo>
                      <a:lnTo>
                        <a:pt x="312" y="6"/>
                      </a:lnTo>
                      <a:lnTo>
                        <a:pt x="314" y="6"/>
                      </a:lnTo>
                      <a:lnTo>
                        <a:pt x="316" y="6"/>
                      </a:lnTo>
                      <a:lnTo>
                        <a:pt x="317" y="6"/>
                      </a:lnTo>
                      <a:lnTo>
                        <a:pt x="319" y="6"/>
                      </a:lnTo>
                      <a:lnTo>
                        <a:pt x="319" y="4"/>
                      </a:lnTo>
                      <a:lnTo>
                        <a:pt x="319" y="6"/>
                      </a:lnTo>
                      <a:lnTo>
                        <a:pt x="321" y="6"/>
                      </a:lnTo>
                      <a:lnTo>
                        <a:pt x="322" y="6"/>
                      </a:lnTo>
                      <a:lnTo>
                        <a:pt x="322" y="8"/>
                      </a:lnTo>
                      <a:lnTo>
                        <a:pt x="322" y="9"/>
                      </a:lnTo>
                      <a:lnTo>
                        <a:pt x="324" y="9"/>
                      </a:lnTo>
                      <a:lnTo>
                        <a:pt x="326" y="9"/>
                      </a:lnTo>
                      <a:lnTo>
                        <a:pt x="327" y="9"/>
                      </a:lnTo>
                      <a:lnTo>
                        <a:pt x="329" y="11"/>
                      </a:lnTo>
                      <a:lnTo>
                        <a:pt x="331" y="13"/>
                      </a:lnTo>
                      <a:lnTo>
                        <a:pt x="329" y="13"/>
                      </a:lnTo>
                      <a:lnTo>
                        <a:pt x="329" y="14"/>
                      </a:lnTo>
                      <a:lnTo>
                        <a:pt x="331" y="13"/>
                      </a:lnTo>
                      <a:lnTo>
                        <a:pt x="331" y="14"/>
                      </a:lnTo>
                      <a:lnTo>
                        <a:pt x="332" y="16"/>
                      </a:lnTo>
                      <a:lnTo>
                        <a:pt x="334" y="16"/>
                      </a:lnTo>
                      <a:lnTo>
                        <a:pt x="334" y="14"/>
                      </a:lnTo>
                      <a:lnTo>
                        <a:pt x="332" y="14"/>
                      </a:lnTo>
                      <a:lnTo>
                        <a:pt x="334" y="14"/>
                      </a:lnTo>
                      <a:lnTo>
                        <a:pt x="332" y="14"/>
                      </a:lnTo>
                      <a:lnTo>
                        <a:pt x="332" y="13"/>
                      </a:lnTo>
                      <a:lnTo>
                        <a:pt x="334" y="13"/>
                      </a:lnTo>
                      <a:lnTo>
                        <a:pt x="332" y="11"/>
                      </a:lnTo>
                      <a:lnTo>
                        <a:pt x="334" y="11"/>
                      </a:lnTo>
                      <a:lnTo>
                        <a:pt x="334" y="9"/>
                      </a:lnTo>
                      <a:lnTo>
                        <a:pt x="336" y="9"/>
                      </a:lnTo>
                      <a:lnTo>
                        <a:pt x="336" y="8"/>
                      </a:lnTo>
                      <a:lnTo>
                        <a:pt x="338" y="8"/>
                      </a:lnTo>
                      <a:lnTo>
                        <a:pt x="339" y="8"/>
                      </a:lnTo>
                      <a:lnTo>
                        <a:pt x="341" y="8"/>
                      </a:lnTo>
                      <a:lnTo>
                        <a:pt x="339" y="6"/>
                      </a:lnTo>
                      <a:lnTo>
                        <a:pt x="341" y="6"/>
                      </a:lnTo>
                      <a:lnTo>
                        <a:pt x="343" y="6"/>
                      </a:lnTo>
                      <a:lnTo>
                        <a:pt x="343" y="8"/>
                      </a:lnTo>
                      <a:lnTo>
                        <a:pt x="343" y="9"/>
                      </a:lnTo>
                      <a:lnTo>
                        <a:pt x="344" y="8"/>
                      </a:lnTo>
                      <a:lnTo>
                        <a:pt x="344" y="9"/>
                      </a:lnTo>
                      <a:lnTo>
                        <a:pt x="346" y="9"/>
                      </a:lnTo>
                      <a:lnTo>
                        <a:pt x="348" y="11"/>
                      </a:lnTo>
                      <a:lnTo>
                        <a:pt x="348" y="9"/>
                      </a:lnTo>
                      <a:lnTo>
                        <a:pt x="349" y="9"/>
                      </a:lnTo>
                      <a:lnTo>
                        <a:pt x="349" y="8"/>
                      </a:lnTo>
                      <a:lnTo>
                        <a:pt x="349" y="6"/>
                      </a:lnTo>
                      <a:lnTo>
                        <a:pt x="349" y="8"/>
                      </a:lnTo>
                      <a:lnTo>
                        <a:pt x="348" y="8"/>
                      </a:lnTo>
                      <a:lnTo>
                        <a:pt x="348" y="6"/>
                      </a:lnTo>
                      <a:lnTo>
                        <a:pt x="349" y="6"/>
                      </a:lnTo>
                      <a:lnTo>
                        <a:pt x="351" y="6"/>
                      </a:lnTo>
                      <a:lnTo>
                        <a:pt x="349" y="8"/>
                      </a:lnTo>
                      <a:lnTo>
                        <a:pt x="349" y="9"/>
                      </a:lnTo>
                      <a:lnTo>
                        <a:pt x="351" y="9"/>
                      </a:lnTo>
                      <a:lnTo>
                        <a:pt x="351" y="8"/>
                      </a:lnTo>
                      <a:lnTo>
                        <a:pt x="353" y="8"/>
                      </a:lnTo>
                      <a:lnTo>
                        <a:pt x="353" y="9"/>
                      </a:lnTo>
                      <a:lnTo>
                        <a:pt x="353" y="8"/>
                      </a:lnTo>
                      <a:lnTo>
                        <a:pt x="354" y="8"/>
                      </a:lnTo>
                      <a:lnTo>
                        <a:pt x="354" y="9"/>
                      </a:lnTo>
                      <a:lnTo>
                        <a:pt x="354" y="8"/>
                      </a:lnTo>
                      <a:lnTo>
                        <a:pt x="356" y="8"/>
                      </a:lnTo>
                      <a:lnTo>
                        <a:pt x="356" y="6"/>
                      </a:lnTo>
                      <a:lnTo>
                        <a:pt x="356" y="8"/>
                      </a:lnTo>
                      <a:lnTo>
                        <a:pt x="358" y="8"/>
                      </a:lnTo>
                      <a:lnTo>
                        <a:pt x="358" y="6"/>
                      </a:lnTo>
                      <a:lnTo>
                        <a:pt x="359" y="6"/>
                      </a:lnTo>
                      <a:lnTo>
                        <a:pt x="361" y="6"/>
                      </a:lnTo>
                      <a:lnTo>
                        <a:pt x="363" y="6"/>
                      </a:lnTo>
                      <a:lnTo>
                        <a:pt x="363" y="8"/>
                      </a:lnTo>
                      <a:lnTo>
                        <a:pt x="365" y="8"/>
                      </a:lnTo>
                      <a:lnTo>
                        <a:pt x="363" y="6"/>
                      </a:lnTo>
                      <a:lnTo>
                        <a:pt x="363" y="4"/>
                      </a:lnTo>
                      <a:lnTo>
                        <a:pt x="365" y="4"/>
                      </a:lnTo>
                      <a:lnTo>
                        <a:pt x="366" y="4"/>
                      </a:lnTo>
                      <a:lnTo>
                        <a:pt x="368" y="4"/>
                      </a:lnTo>
                      <a:lnTo>
                        <a:pt x="368" y="6"/>
                      </a:lnTo>
                      <a:lnTo>
                        <a:pt x="368" y="8"/>
                      </a:lnTo>
                      <a:lnTo>
                        <a:pt x="366" y="8"/>
                      </a:lnTo>
                      <a:lnTo>
                        <a:pt x="366" y="9"/>
                      </a:lnTo>
                      <a:lnTo>
                        <a:pt x="368" y="8"/>
                      </a:lnTo>
                      <a:lnTo>
                        <a:pt x="368" y="6"/>
                      </a:lnTo>
                      <a:lnTo>
                        <a:pt x="370" y="6"/>
                      </a:lnTo>
                      <a:lnTo>
                        <a:pt x="368" y="6"/>
                      </a:lnTo>
                      <a:lnTo>
                        <a:pt x="368" y="4"/>
                      </a:lnTo>
                      <a:lnTo>
                        <a:pt x="370" y="4"/>
                      </a:lnTo>
                      <a:lnTo>
                        <a:pt x="371" y="4"/>
                      </a:lnTo>
                      <a:lnTo>
                        <a:pt x="370" y="4"/>
                      </a:lnTo>
                      <a:lnTo>
                        <a:pt x="370" y="6"/>
                      </a:lnTo>
                      <a:lnTo>
                        <a:pt x="371" y="6"/>
                      </a:lnTo>
                      <a:lnTo>
                        <a:pt x="373" y="6"/>
                      </a:lnTo>
                      <a:lnTo>
                        <a:pt x="375" y="6"/>
                      </a:lnTo>
                      <a:lnTo>
                        <a:pt x="376" y="6"/>
                      </a:lnTo>
                      <a:lnTo>
                        <a:pt x="376" y="8"/>
                      </a:lnTo>
                      <a:lnTo>
                        <a:pt x="378" y="8"/>
                      </a:lnTo>
                      <a:lnTo>
                        <a:pt x="378" y="9"/>
                      </a:lnTo>
                      <a:lnTo>
                        <a:pt x="380" y="9"/>
                      </a:lnTo>
                      <a:lnTo>
                        <a:pt x="380" y="8"/>
                      </a:lnTo>
                      <a:lnTo>
                        <a:pt x="380" y="9"/>
                      </a:lnTo>
                      <a:lnTo>
                        <a:pt x="380" y="11"/>
                      </a:lnTo>
                      <a:lnTo>
                        <a:pt x="380" y="9"/>
                      </a:lnTo>
                      <a:lnTo>
                        <a:pt x="380" y="11"/>
                      </a:lnTo>
                      <a:lnTo>
                        <a:pt x="381" y="11"/>
                      </a:lnTo>
                      <a:lnTo>
                        <a:pt x="381" y="13"/>
                      </a:lnTo>
                      <a:lnTo>
                        <a:pt x="381" y="11"/>
                      </a:lnTo>
                      <a:lnTo>
                        <a:pt x="383" y="11"/>
                      </a:lnTo>
                      <a:lnTo>
                        <a:pt x="383" y="13"/>
                      </a:lnTo>
                      <a:lnTo>
                        <a:pt x="383" y="14"/>
                      </a:lnTo>
                      <a:lnTo>
                        <a:pt x="385" y="14"/>
                      </a:lnTo>
                      <a:lnTo>
                        <a:pt x="385" y="13"/>
                      </a:lnTo>
                      <a:lnTo>
                        <a:pt x="385" y="14"/>
                      </a:lnTo>
                      <a:lnTo>
                        <a:pt x="386" y="14"/>
                      </a:lnTo>
                      <a:lnTo>
                        <a:pt x="386" y="13"/>
                      </a:lnTo>
                      <a:lnTo>
                        <a:pt x="385" y="13"/>
                      </a:lnTo>
                      <a:lnTo>
                        <a:pt x="386" y="13"/>
                      </a:lnTo>
                      <a:lnTo>
                        <a:pt x="386" y="14"/>
                      </a:lnTo>
                      <a:lnTo>
                        <a:pt x="388" y="14"/>
                      </a:lnTo>
                      <a:lnTo>
                        <a:pt x="388" y="16"/>
                      </a:lnTo>
                      <a:lnTo>
                        <a:pt x="390" y="16"/>
                      </a:lnTo>
                      <a:lnTo>
                        <a:pt x="390" y="18"/>
                      </a:lnTo>
                      <a:lnTo>
                        <a:pt x="390" y="19"/>
                      </a:lnTo>
                      <a:lnTo>
                        <a:pt x="392" y="18"/>
                      </a:lnTo>
                      <a:lnTo>
                        <a:pt x="393" y="18"/>
                      </a:lnTo>
                      <a:lnTo>
                        <a:pt x="393" y="19"/>
                      </a:lnTo>
                      <a:lnTo>
                        <a:pt x="395" y="19"/>
                      </a:lnTo>
                      <a:lnTo>
                        <a:pt x="395" y="21"/>
                      </a:lnTo>
                      <a:lnTo>
                        <a:pt x="393" y="21"/>
                      </a:lnTo>
                      <a:lnTo>
                        <a:pt x="395" y="21"/>
                      </a:lnTo>
                      <a:lnTo>
                        <a:pt x="397" y="21"/>
                      </a:lnTo>
                      <a:lnTo>
                        <a:pt x="398" y="21"/>
                      </a:lnTo>
                      <a:lnTo>
                        <a:pt x="397" y="21"/>
                      </a:lnTo>
                      <a:lnTo>
                        <a:pt x="397" y="23"/>
                      </a:lnTo>
                      <a:lnTo>
                        <a:pt x="398" y="23"/>
                      </a:lnTo>
                      <a:lnTo>
                        <a:pt x="398" y="21"/>
                      </a:lnTo>
                      <a:lnTo>
                        <a:pt x="400" y="21"/>
                      </a:lnTo>
                      <a:lnTo>
                        <a:pt x="400" y="23"/>
                      </a:lnTo>
                      <a:lnTo>
                        <a:pt x="398" y="23"/>
                      </a:lnTo>
                      <a:lnTo>
                        <a:pt x="400" y="23"/>
                      </a:lnTo>
                      <a:lnTo>
                        <a:pt x="402" y="23"/>
                      </a:lnTo>
                      <a:lnTo>
                        <a:pt x="402" y="24"/>
                      </a:lnTo>
                      <a:lnTo>
                        <a:pt x="403" y="24"/>
                      </a:lnTo>
                      <a:lnTo>
                        <a:pt x="403" y="23"/>
                      </a:lnTo>
                      <a:lnTo>
                        <a:pt x="403" y="24"/>
                      </a:lnTo>
                      <a:lnTo>
                        <a:pt x="403" y="23"/>
                      </a:lnTo>
                      <a:lnTo>
                        <a:pt x="405" y="23"/>
                      </a:lnTo>
                      <a:lnTo>
                        <a:pt x="405" y="24"/>
                      </a:lnTo>
                      <a:lnTo>
                        <a:pt x="407" y="26"/>
                      </a:lnTo>
                      <a:lnTo>
                        <a:pt x="407" y="24"/>
                      </a:lnTo>
                      <a:lnTo>
                        <a:pt x="408" y="24"/>
                      </a:lnTo>
                      <a:lnTo>
                        <a:pt x="408" y="23"/>
                      </a:lnTo>
                      <a:lnTo>
                        <a:pt x="408" y="24"/>
                      </a:lnTo>
                      <a:lnTo>
                        <a:pt x="408" y="23"/>
                      </a:lnTo>
                      <a:lnTo>
                        <a:pt x="410" y="24"/>
                      </a:lnTo>
                      <a:lnTo>
                        <a:pt x="412" y="24"/>
                      </a:lnTo>
                      <a:lnTo>
                        <a:pt x="412" y="23"/>
                      </a:lnTo>
                      <a:lnTo>
                        <a:pt x="412" y="21"/>
                      </a:lnTo>
                      <a:lnTo>
                        <a:pt x="414" y="21"/>
                      </a:lnTo>
                      <a:lnTo>
                        <a:pt x="412" y="21"/>
                      </a:lnTo>
                      <a:lnTo>
                        <a:pt x="414" y="21"/>
                      </a:lnTo>
                      <a:lnTo>
                        <a:pt x="414" y="19"/>
                      </a:lnTo>
                      <a:lnTo>
                        <a:pt x="414" y="21"/>
                      </a:lnTo>
                      <a:lnTo>
                        <a:pt x="414" y="19"/>
                      </a:lnTo>
                      <a:lnTo>
                        <a:pt x="415" y="19"/>
                      </a:lnTo>
                      <a:lnTo>
                        <a:pt x="415" y="18"/>
                      </a:lnTo>
                      <a:lnTo>
                        <a:pt x="417" y="18"/>
                      </a:lnTo>
                      <a:lnTo>
                        <a:pt x="417" y="19"/>
                      </a:lnTo>
                      <a:lnTo>
                        <a:pt x="417" y="18"/>
                      </a:lnTo>
                      <a:lnTo>
                        <a:pt x="417" y="19"/>
                      </a:lnTo>
                      <a:lnTo>
                        <a:pt x="419" y="19"/>
                      </a:lnTo>
                      <a:lnTo>
                        <a:pt x="419" y="18"/>
                      </a:lnTo>
                      <a:lnTo>
                        <a:pt x="420" y="19"/>
                      </a:lnTo>
                      <a:lnTo>
                        <a:pt x="420" y="18"/>
                      </a:lnTo>
                      <a:lnTo>
                        <a:pt x="419" y="18"/>
                      </a:lnTo>
                      <a:lnTo>
                        <a:pt x="420" y="18"/>
                      </a:lnTo>
                      <a:lnTo>
                        <a:pt x="422" y="18"/>
                      </a:lnTo>
                      <a:lnTo>
                        <a:pt x="424" y="18"/>
                      </a:lnTo>
                      <a:lnTo>
                        <a:pt x="424" y="16"/>
                      </a:lnTo>
                      <a:lnTo>
                        <a:pt x="424" y="18"/>
                      </a:lnTo>
                      <a:lnTo>
                        <a:pt x="424" y="16"/>
                      </a:lnTo>
                      <a:lnTo>
                        <a:pt x="425" y="16"/>
                      </a:lnTo>
                      <a:lnTo>
                        <a:pt x="427" y="14"/>
                      </a:lnTo>
                      <a:lnTo>
                        <a:pt x="427" y="16"/>
                      </a:lnTo>
                      <a:lnTo>
                        <a:pt x="427" y="14"/>
                      </a:lnTo>
                      <a:lnTo>
                        <a:pt x="429" y="14"/>
                      </a:lnTo>
                      <a:lnTo>
                        <a:pt x="429" y="13"/>
                      </a:lnTo>
                      <a:lnTo>
                        <a:pt x="430" y="13"/>
                      </a:lnTo>
                      <a:lnTo>
                        <a:pt x="430" y="14"/>
                      </a:lnTo>
                      <a:lnTo>
                        <a:pt x="430" y="13"/>
                      </a:lnTo>
                      <a:lnTo>
                        <a:pt x="432" y="13"/>
                      </a:lnTo>
                      <a:lnTo>
                        <a:pt x="430" y="13"/>
                      </a:lnTo>
                      <a:lnTo>
                        <a:pt x="432" y="13"/>
                      </a:lnTo>
                      <a:lnTo>
                        <a:pt x="430" y="11"/>
                      </a:lnTo>
                      <a:lnTo>
                        <a:pt x="432" y="11"/>
                      </a:lnTo>
                      <a:lnTo>
                        <a:pt x="434" y="11"/>
                      </a:lnTo>
                      <a:lnTo>
                        <a:pt x="434" y="9"/>
                      </a:lnTo>
                      <a:lnTo>
                        <a:pt x="435" y="9"/>
                      </a:lnTo>
                      <a:lnTo>
                        <a:pt x="435" y="8"/>
                      </a:lnTo>
                      <a:lnTo>
                        <a:pt x="437" y="6"/>
                      </a:lnTo>
                      <a:close/>
                      <a:moveTo>
                        <a:pt x="508" y="19"/>
                      </a:moveTo>
                      <a:lnTo>
                        <a:pt x="508" y="18"/>
                      </a:lnTo>
                      <a:lnTo>
                        <a:pt x="508" y="19"/>
                      </a:lnTo>
                      <a:close/>
                      <a:moveTo>
                        <a:pt x="508" y="21"/>
                      </a:moveTo>
                      <a:lnTo>
                        <a:pt x="508" y="19"/>
                      </a:lnTo>
                      <a:lnTo>
                        <a:pt x="508" y="21"/>
                      </a:lnTo>
                      <a:close/>
                      <a:moveTo>
                        <a:pt x="508" y="21"/>
                      </a:moveTo>
                      <a:lnTo>
                        <a:pt x="508" y="19"/>
                      </a:lnTo>
                      <a:lnTo>
                        <a:pt x="508" y="21"/>
                      </a:lnTo>
                      <a:close/>
                      <a:moveTo>
                        <a:pt x="506" y="23"/>
                      </a:moveTo>
                      <a:lnTo>
                        <a:pt x="508" y="23"/>
                      </a:lnTo>
                      <a:lnTo>
                        <a:pt x="506" y="23"/>
                      </a:lnTo>
                      <a:close/>
                      <a:moveTo>
                        <a:pt x="500" y="46"/>
                      </a:moveTo>
                      <a:lnTo>
                        <a:pt x="498" y="46"/>
                      </a:lnTo>
                      <a:lnTo>
                        <a:pt x="500" y="46"/>
                      </a:lnTo>
                      <a:close/>
                      <a:moveTo>
                        <a:pt x="500" y="47"/>
                      </a:moveTo>
                      <a:lnTo>
                        <a:pt x="498" y="47"/>
                      </a:lnTo>
                      <a:lnTo>
                        <a:pt x="498" y="46"/>
                      </a:lnTo>
                      <a:lnTo>
                        <a:pt x="500" y="47"/>
                      </a:lnTo>
                      <a:close/>
                      <a:moveTo>
                        <a:pt x="491" y="210"/>
                      </a:moveTo>
                      <a:lnTo>
                        <a:pt x="493" y="210"/>
                      </a:lnTo>
                      <a:lnTo>
                        <a:pt x="491" y="210"/>
                      </a:lnTo>
                      <a:close/>
                      <a:moveTo>
                        <a:pt x="491" y="211"/>
                      </a:moveTo>
                      <a:lnTo>
                        <a:pt x="491" y="210"/>
                      </a:lnTo>
                      <a:lnTo>
                        <a:pt x="491" y="211"/>
                      </a:lnTo>
                      <a:close/>
                      <a:moveTo>
                        <a:pt x="493" y="218"/>
                      </a:moveTo>
                      <a:lnTo>
                        <a:pt x="493" y="216"/>
                      </a:lnTo>
                      <a:lnTo>
                        <a:pt x="493" y="218"/>
                      </a:lnTo>
                      <a:close/>
                      <a:moveTo>
                        <a:pt x="503" y="182"/>
                      </a:moveTo>
                      <a:lnTo>
                        <a:pt x="501" y="182"/>
                      </a:lnTo>
                      <a:lnTo>
                        <a:pt x="503" y="182"/>
                      </a:lnTo>
                      <a:close/>
                      <a:moveTo>
                        <a:pt x="500" y="175"/>
                      </a:moveTo>
                      <a:lnTo>
                        <a:pt x="498" y="175"/>
                      </a:lnTo>
                      <a:lnTo>
                        <a:pt x="500" y="174"/>
                      </a:lnTo>
                      <a:lnTo>
                        <a:pt x="500" y="175"/>
                      </a:lnTo>
                      <a:close/>
                      <a:moveTo>
                        <a:pt x="495" y="187"/>
                      </a:moveTo>
                      <a:lnTo>
                        <a:pt x="496" y="187"/>
                      </a:lnTo>
                      <a:lnTo>
                        <a:pt x="495" y="187"/>
                      </a:lnTo>
                      <a:close/>
                      <a:moveTo>
                        <a:pt x="522" y="121"/>
                      </a:moveTo>
                      <a:lnTo>
                        <a:pt x="523" y="121"/>
                      </a:lnTo>
                      <a:lnTo>
                        <a:pt x="522" y="121"/>
                      </a:lnTo>
                      <a:close/>
                      <a:moveTo>
                        <a:pt x="520" y="123"/>
                      </a:moveTo>
                      <a:lnTo>
                        <a:pt x="518" y="123"/>
                      </a:lnTo>
                      <a:lnTo>
                        <a:pt x="518" y="121"/>
                      </a:lnTo>
                      <a:lnTo>
                        <a:pt x="520" y="121"/>
                      </a:lnTo>
                      <a:lnTo>
                        <a:pt x="520" y="123"/>
                      </a:lnTo>
                      <a:close/>
                      <a:moveTo>
                        <a:pt x="503" y="124"/>
                      </a:moveTo>
                      <a:lnTo>
                        <a:pt x="503" y="123"/>
                      </a:lnTo>
                      <a:lnTo>
                        <a:pt x="503" y="124"/>
                      </a:lnTo>
                      <a:close/>
                      <a:moveTo>
                        <a:pt x="500" y="136"/>
                      </a:moveTo>
                      <a:lnTo>
                        <a:pt x="500" y="134"/>
                      </a:lnTo>
                      <a:lnTo>
                        <a:pt x="500" y="136"/>
                      </a:lnTo>
                      <a:close/>
                      <a:moveTo>
                        <a:pt x="506" y="136"/>
                      </a:moveTo>
                      <a:lnTo>
                        <a:pt x="508" y="136"/>
                      </a:lnTo>
                      <a:lnTo>
                        <a:pt x="510" y="134"/>
                      </a:lnTo>
                      <a:lnTo>
                        <a:pt x="511" y="134"/>
                      </a:lnTo>
                      <a:lnTo>
                        <a:pt x="513" y="134"/>
                      </a:lnTo>
                      <a:lnTo>
                        <a:pt x="513" y="133"/>
                      </a:lnTo>
                      <a:lnTo>
                        <a:pt x="513" y="134"/>
                      </a:lnTo>
                      <a:lnTo>
                        <a:pt x="513" y="133"/>
                      </a:lnTo>
                      <a:lnTo>
                        <a:pt x="513" y="131"/>
                      </a:lnTo>
                      <a:lnTo>
                        <a:pt x="515" y="131"/>
                      </a:lnTo>
                      <a:lnTo>
                        <a:pt x="515" y="133"/>
                      </a:lnTo>
                      <a:lnTo>
                        <a:pt x="517" y="134"/>
                      </a:lnTo>
                      <a:lnTo>
                        <a:pt x="517" y="136"/>
                      </a:lnTo>
                      <a:lnTo>
                        <a:pt x="518" y="136"/>
                      </a:lnTo>
                      <a:lnTo>
                        <a:pt x="520" y="136"/>
                      </a:lnTo>
                      <a:lnTo>
                        <a:pt x="520" y="138"/>
                      </a:lnTo>
                      <a:lnTo>
                        <a:pt x="518" y="138"/>
                      </a:lnTo>
                      <a:lnTo>
                        <a:pt x="518" y="139"/>
                      </a:lnTo>
                      <a:lnTo>
                        <a:pt x="518" y="141"/>
                      </a:lnTo>
                      <a:lnTo>
                        <a:pt x="517" y="141"/>
                      </a:lnTo>
                      <a:lnTo>
                        <a:pt x="515" y="142"/>
                      </a:lnTo>
                      <a:lnTo>
                        <a:pt x="515" y="144"/>
                      </a:lnTo>
                      <a:lnTo>
                        <a:pt x="513" y="146"/>
                      </a:lnTo>
                      <a:lnTo>
                        <a:pt x="513" y="147"/>
                      </a:lnTo>
                      <a:lnTo>
                        <a:pt x="513" y="149"/>
                      </a:lnTo>
                      <a:lnTo>
                        <a:pt x="515" y="149"/>
                      </a:lnTo>
                      <a:lnTo>
                        <a:pt x="515" y="151"/>
                      </a:lnTo>
                      <a:lnTo>
                        <a:pt x="513" y="151"/>
                      </a:lnTo>
                      <a:lnTo>
                        <a:pt x="513" y="152"/>
                      </a:lnTo>
                      <a:lnTo>
                        <a:pt x="511" y="152"/>
                      </a:lnTo>
                      <a:lnTo>
                        <a:pt x="511" y="154"/>
                      </a:lnTo>
                      <a:lnTo>
                        <a:pt x="510" y="156"/>
                      </a:lnTo>
                      <a:lnTo>
                        <a:pt x="508" y="157"/>
                      </a:lnTo>
                      <a:lnTo>
                        <a:pt x="508" y="159"/>
                      </a:lnTo>
                      <a:lnTo>
                        <a:pt x="506" y="161"/>
                      </a:lnTo>
                      <a:lnTo>
                        <a:pt x="506" y="162"/>
                      </a:lnTo>
                      <a:lnTo>
                        <a:pt x="506" y="164"/>
                      </a:lnTo>
                      <a:lnTo>
                        <a:pt x="506" y="165"/>
                      </a:lnTo>
                      <a:lnTo>
                        <a:pt x="506" y="164"/>
                      </a:lnTo>
                      <a:lnTo>
                        <a:pt x="506" y="165"/>
                      </a:lnTo>
                      <a:lnTo>
                        <a:pt x="508" y="165"/>
                      </a:lnTo>
                      <a:lnTo>
                        <a:pt x="508" y="167"/>
                      </a:lnTo>
                      <a:lnTo>
                        <a:pt x="508" y="169"/>
                      </a:lnTo>
                      <a:lnTo>
                        <a:pt x="506" y="169"/>
                      </a:lnTo>
                      <a:lnTo>
                        <a:pt x="506" y="167"/>
                      </a:lnTo>
                      <a:lnTo>
                        <a:pt x="505" y="167"/>
                      </a:lnTo>
                      <a:lnTo>
                        <a:pt x="503" y="169"/>
                      </a:lnTo>
                      <a:lnTo>
                        <a:pt x="503" y="170"/>
                      </a:lnTo>
                      <a:lnTo>
                        <a:pt x="503" y="172"/>
                      </a:lnTo>
                      <a:lnTo>
                        <a:pt x="501" y="172"/>
                      </a:lnTo>
                      <a:lnTo>
                        <a:pt x="501" y="174"/>
                      </a:lnTo>
                      <a:lnTo>
                        <a:pt x="501" y="172"/>
                      </a:lnTo>
                      <a:lnTo>
                        <a:pt x="500" y="172"/>
                      </a:lnTo>
                      <a:lnTo>
                        <a:pt x="500" y="170"/>
                      </a:lnTo>
                      <a:lnTo>
                        <a:pt x="501" y="170"/>
                      </a:lnTo>
                      <a:lnTo>
                        <a:pt x="500" y="170"/>
                      </a:lnTo>
                      <a:lnTo>
                        <a:pt x="500" y="169"/>
                      </a:lnTo>
                      <a:lnTo>
                        <a:pt x="501" y="169"/>
                      </a:lnTo>
                      <a:lnTo>
                        <a:pt x="500" y="169"/>
                      </a:lnTo>
                      <a:lnTo>
                        <a:pt x="500" y="167"/>
                      </a:lnTo>
                      <a:lnTo>
                        <a:pt x="500" y="165"/>
                      </a:lnTo>
                      <a:lnTo>
                        <a:pt x="498" y="165"/>
                      </a:lnTo>
                      <a:lnTo>
                        <a:pt x="500" y="165"/>
                      </a:lnTo>
                      <a:lnTo>
                        <a:pt x="501" y="165"/>
                      </a:lnTo>
                      <a:lnTo>
                        <a:pt x="501" y="164"/>
                      </a:lnTo>
                      <a:lnTo>
                        <a:pt x="501" y="162"/>
                      </a:lnTo>
                      <a:lnTo>
                        <a:pt x="500" y="162"/>
                      </a:lnTo>
                      <a:lnTo>
                        <a:pt x="501" y="161"/>
                      </a:lnTo>
                      <a:lnTo>
                        <a:pt x="501" y="159"/>
                      </a:lnTo>
                      <a:lnTo>
                        <a:pt x="500" y="159"/>
                      </a:lnTo>
                      <a:lnTo>
                        <a:pt x="500" y="157"/>
                      </a:lnTo>
                      <a:lnTo>
                        <a:pt x="501" y="156"/>
                      </a:lnTo>
                      <a:lnTo>
                        <a:pt x="503" y="156"/>
                      </a:lnTo>
                      <a:lnTo>
                        <a:pt x="505" y="156"/>
                      </a:lnTo>
                      <a:lnTo>
                        <a:pt x="505" y="154"/>
                      </a:lnTo>
                      <a:lnTo>
                        <a:pt x="503" y="152"/>
                      </a:lnTo>
                      <a:lnTo>
                        <a:pt x="501" y="152"/>
                      </a:lnTo>
                      <a:lnTo>
                        <a:pt x="501" y="151"/>
                      </a:lnTo>
                      <a:lnTo>
                        <a:pt x="500" y="151"/>
                      </a:lnTo>
                      <a:lnTo>
                        <a:pt x="501" y="151"/>
                      </a:lnTo>
                      <a:lnTo>
                        <a:pt x="501" y="149"/>
                      </a:lnTo>
                      <a:lnTo>
                        <a:pt x="503" y="149"/>
                      </a:lnTo>
                      <a:lnTo>
                        <a:pt x="503" y="147"/>
                      </a:lnTo>
                      <a:lnTo>
                        <a:pt x="503" y="149"/>
                      </a:lnTo>
                      <a:lnTo>
                        <a:pt x="505" y="149"/>
                      </a:lnTo>
                      <a:lnTo>
                        <a:pt x="505" y="147"/>
                      </a:lnTo>
                      <a:lnTo>
                        <a:pt x="505" y="146"/>
                      </a:lnTo>
                      <a:lnTo>
                        <a:pt x="506" y="146"/>
                      </a:lnTo>
                      <a:lnTo>
                        <a:pt x="505" y="146"/>
                      </a:lnTo>
                      <a:lnTo>
                        <a:pt x="503" y="146"/>
                      </a:lnTo>
                      <a:lnTo>
                        <a:pt x="505" y="144"/>
                      </a:lnTo>
                      <a:lnTo>
                        <a:pt x="503" y="144"/>
                      </a:lnTo>
                      <a:lnTo>
                        <a:pt x="505" y="144"/>
                      </a:lnTo>
                      <a:lnTo>
                        <a:pt x="505" y="142"/>
                      </a:lnTo>
                      <a:lnTo>
                        <a:pt x="505" y="141"/>
                      </a:lnTo>
                      <a:lnTo>
                        <a:pt x="503" y="141"/>
                      </a:lnTo>
                      <a:lnTo>
                        <a:pt x="503" y="139"/>
                      </a:lnTo>
                      <a:lnTo>
                        <a:pt x="505" y="138"/>
                      </a:lnTo>
                      <a:lnTo>
                        <a:pt x="505" y="139"/>
                      </a:lnTo>
                      <a:lnTo>
                        <a:pt x="505" y="138"/>
                      </a:lnTo>
                      <a:lnTo>
                        <a:pt x="503" y="138"/>
                      </a:lnTo>
                      <a:lnTo>
                        <a:pt x="501" y="138"/>
                      </a:lnTo>
                      <a:lnTo>
                        <a:pt x="503" y="138"/>
                      </a:lnTo>
                      <a:lnTo>
                        <a:pt x="503" y="136"/>
                      </a:lnTo>
                      <a:lnTo>
                        <a:pt x="505" y="136"/>
                      </a:lnTo>
                      <a:lnTo>
                        <a:pt x="506" y="136"/>
                      </a:lnTo>
                      <a:close/>
                      <a:moveTo>
                        <a:pt x="520" y="134"/>
                      </a:moveTo>
                      <a:lnTo>
                        <a:pt x="518" y="134"/>
                      </a:lnTo>
                      <a:lnTo>
                        <a:pt x="520" y="134"/>
                      </a:lnTo>
                      <a:close/>
                      <a:moveTo>
                        <a:pt x="500" y="139"/>
                      </a:moveTo>
                      <a:lnTo>
                        <a:pt x="501" y="139"/>
                      </a:lnTo>
                      <a:lnTo>
                        <a:pt x="500" y="139"/>
                      </a:lnTo>
                      <a:close/>
                      <a:moveTo>
                        <a:pt x="501" y="147"/>
                      </a:moveTo>
                      <a:lnTo>
                        <a:pt x="501" y="146"/>
                      </a:lnTo>
                      <a:lnTo>
                        <a:pt x="501" y="147"/>
                      </a:lnTo>
                      <a:close/>
                      <a:moveTo>
                        <a:pt x="517" y="152"/>
                      </a:moveTo>
                      <a:lnTo>
                        <a:pt x="518" y="152"/>
                      </a:lnTo>
                      <a:lnTo>
                        <a:pt x="517" y="152"/>
                      </a:lnTo>
                      <a:close/>
                      <a:moveTo>
                        <a:pt x="510" y="159"/>
                      </a:moveTo>
                      <a:lnTo>
                        <a:pt x="510" y="161"/>
                      </a:lnTo>
                      <a:lnTo>
                        <a:pt x="510" y="159"/>
                      </a:lnTo>
                      <a:close/>
                      <a:moveTo>
                        <a:pt x="503" y="172"/>
                      </a:moveTo>
                      <a:lnTo>
                        <a:pt x="505" y="172"/>
                      </a:lnTo>
                      <a:lnTo>
                        <a:pt x="503" y="172"/>
                      </a:lnTo>
                      <a:close/>
                      <a:moveTo>
                        <a:pt x="503" y="174"/>
                      </a:moveTo>
                      <a:lnTo>
                        <a:pt x="505" y="172"/>
                      </a:lnTo>
                      <a:lnTo>
                        <a:pt x="505" y="174"/>
                      </a:lnTo>
                      <a:lnTo>
                        <a:pt x="503" y="174"/>
                      </a:lnTo>
                      <a:close/>
                      <a:moveTo>
                        <a:pt x="506" y="174"/>
                      </a:moveTo>
                      <a:lnTo>
                        <a:pt x="506" y="172"/>
                      </a:lnTo>
                      <a:lnTo>
                        <a:pt x="506" y="174"/>
                      </a:lnTo>
                      <a:close/>
                      <a:moveTo>
                        <a:pt x="501" y="110"/>
                      </a:moveTo>
                      <a:lnTo>
                        <a:pt x="501" y="108"/>
                      </a:lnTo>
                      <a:lnTo>
                        <a:pt x="503" y="108"/>
                      </a:lnTo>
                      <a:lnTo>
                        <a:pt x="501" y="110"/>
                      </a:lnTo>
                      <a:close/>
                      <a:moveTo>
                        <a:pt x="515" y="113"/>
                      </a:moveTo>
                      <a:lnTo>
                        <a:pt x="515" y="111"/>
                      </a:lnTo>
                      <a:lnTo>
                        <a:pt x="515" y="113"/>
                      </a:lnTo>
                      <a:close/>
                      <a:moveTo>
                        <a:pt x="517" y="113"/>
                      </a:moveTo>
                      <a:lnTo>
                        <a:pt x="517" y="111"/>
                      </a:lnTo>
                      <a:lnTo>
                        <a:pt x="517" y="113"/>
                      </a:lnTo>
                      <a:close/>
                      <a:moveTo>
                        <a:pt x="510" y="115"/>
                      </a:moveTo>
                      <a:lnTo>
                        <a:pt x="508" y="115"/>
                      </a:lnTo>
                      <a:lnTo>
                        <a:pt x="510" y="115"/>
                      </a:lnTo>
                      <a:close/>
                    </a:path>
                  </a:pathLst>
                </a:custGeom>
                <a:solidFill>
                  <a:srgbClr val="F79646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2" name="Freeform 8"/>
                <p:cNvSpPr>
                  <a:spLocks noChangeAspect="1" noEditPoints="1"/>
                </p:cNvSpPr>
                <p:nvPr/>
              </p:nvSpPr>
              <p:spPr bwMode="auto">
                <a:xfrm>
                  <a:off x="4357394" y="4320965"/>
                  <a:ext cx="1324158" cy="856090"/>
                </a:xfrm>
                <a:custGeom>
                  <a:avLst/>
                  <a:gdLst>
                    <a:gd name="T0" fmla="*/ 2147483647 w 850"/>
                    <a:gd name="T1" fmla="*/ 2147483647 h 510"/>
                    <a:gd name="T2" fmla="*/ 2147483647 w 850"/>
                    <a:gd name="T3" fmla="*/ 2147483647 h 510"/>
                    <a:gd name="T4" fmla="*/ 2147483647 w 850"/>
                    <a:gd name="T5" fmla="*/ 2147483647 h 510"/>
                    <a:gd name="T6" fmla="*/ 2147483647 w 850"/>
                    <a:gd name="T7" fmla="*/ 2147483647 h 510"/>
                    <a:gd name="T8" fmla="*/ 2147483647 w 850"/>
                    <a:gd name="T9" fmla="*/ 2147483647 h 510"/>
                    <a:gd name="T10" fmla="*/ 2147483647 w 850"/>
                    <a:gd name="T11" fmla="*/ 2147483647 h 510"/>
                    <a:gd name="T12" fmla="*/ 2147483647 w 850"/>
                    <a:gd name="T13" fmla="*/ 2147483647 h 510"/>
                    <a:gd name="T14" fmla="*/ 2147483647 w 850"/>
                    <a:gd name="T15" fmla="*/ 2147483647 h 510"/>
                    <a:gd name="T16" fmla="*/ 2147483647 w 850"/>
                    <a:gd name="T17" fmla="*/ 2147483647 h 510"/>
                    <a:gd name="T18" fmla="*/ 2147483647 w 850"/>
                    <a:gd name="T19" fmla="*/ 2147483647 h 510"/>
                    <a:gd name="T20" fmla="*/ 2147483647 w 850"/>
                    <a:gd name="T21" fmla="*/ 2147483647 h 510"/>
                    <a:gd name="T22" fmla="*/ 2147483647 w 850"/>
                    <a:gd name="T23" fmla="*/ 2147483647 h 510"/>
                    <a:gd name="T24" fmla="*/ 2147483647 w 850"/>
                    <a:gd name="T25" fmla="*/ 2147483647 h 510"/>
                    <a:gd name="T26" fmla="*/ 2147483647 w 850"/>
                    <a:gd name="T27" fmla="*/ 2147483647 h 510"/>
                    <a:gd name="T28" fmla="*/ 2147483647 w 850"/>
                    <a:gd name="T29" fmla="*/ 2147483647 h 510"/>
                    <a:gd name="T30" fmla="*/ 2147483647 w 850"/>
                    <a:gd name="T31" fmla="*/ 2147483647 h 510"/>
                    <a:gd name="T32" fmla="*/ 2147483647 w 850"/>
                    <a:gd name="T33" fmla="*/ 2147483647 h 510"/>
                    <a:gd name="T34" fmla="*/ 2147483647 w 850"/>
                    <a:gd name="T35" fmla="*/ 2147483647 h 510"/>
                    <a:gd name="T36" fmla="*/ 2147483647 w 850"/>
                    <a:gd name="T37" fmla="*/ 2147483647 h 510"/>
                    <a:gd name="T38" fmla="*/ 2147483647 w 850"/>
                    <a:gd name="T39" fmla="*/ 2147483647 h 510"/>
                    <a:gd name="T40" fmla="*/ 2147483647 w 850"/>
                    <a:gd name="T41" fmla="*/ 2147483647 h 510"/>
                    <a:gd name="T42" fmla="*/ 2147483647 w 850"/>
                    <a:gd name="T43" fmla="*/ 2147483647 h 510"/>
                    <a:gd name="T44" fmla="*/ 2147483647 w 850"/>
                    <a:gd name="T45" fmla="*/ 2147483647 h 510"/>
                    <a:gd name="T46" fmla="*/ 2147483647 w 850"/>
                    <a:gd name="T47" fmla="*/ 2147483647 h 510"/>
                    <a:gd name="T48" fmla="*/ 2147483647 w 850"/>
                    <a:gd name="T49" fmla="*/ 2147483647 h 510"/>
                    <a:gd name="T50" fmla="*/ 2147483647 w 850"/>
                    <a:gd name="T51" fmla="*/ 2147483647 h 510"/>
                    <a:gd name="T52" fmla="*/ 2147483647 w 850"/>
                    <a:gd name="T53" fmla="*/ 2147483647 h 510"/>
                    <a:gd name="T54" fmla="*/ 2147483647 w 850"/>
                    <a:gd name="T55" fmla="*/ 2147483647 h 510"/>
                    <a:gd name="T56" fmla="*/ 2147483647 w 850"/>
                    <a:gd name="T57" fmla="*/ 2147483647 h 510"/>
                    <a:gd name="T58" fmla="*/ 2147483647 w 850"/>
                    <a:gd name="T59" fmla="*/ 2147483647 h 510"/>
                    <a:gd name="T60" fmla="*/ 2147483647 w 850"/>
                    <a:gd name="T61" fmla="*/ 2147483647 h 510"/>
                    <a:gd name="T62" fmla="*/ 2147483647 w 850"/>
                    <a:gd name="T63" fmla="*/ 2147483647 h 510"/>
                    <a:gd name="T64" fmla="*/ 2147483647 w 850"/>
                    <a:gd name="T65" fmla="*/ 2147483647 h 510"/>
                    <a:gd name="T66" fmla="*/ 2147483647 w 850"/>
                    <a:gd name="T67" fmla="*/ 2147483647 h 510"/>
                    <a:gd name="T68" fmla="*/ 2147483647 w 850"/>
                    <a:gd name="T69" fmla="*/ 2147483647 h 510"/>
                    <a:gd name="T70" fmla="*/ 2147483647 w 850"/>
                    <a:gd name="T71" fmla="*/ 2147483647 h 510"/>
                    <a:gd name="T72" fmla="*/ 2147483647 w 850"/>
                    <a:gd name="T73" fmla="*/ 2147483647 h 510"/>
                    <a:gd name="T74" fmla="*/ 2147483647 w 850"/>
                    <a:gd name="T75" fmla="*/ 2147483647 h 510"/>
                    <a:gd name="T76" fmla="*/ 2147483647 w 850"/>
                    <a:gd name="T77" fmla="*/ 2147483647 h 510"/>
                    <a:gd name="T78" fmla="*/ 2147483647 w 850"/>
                    <a:gd name="T79" fmla="*/ 2147483647 h 510"/>
                    <a:gd name="T80" fmla="*/ 2147483647 w 850"/>
                    <a:gd name="T81" fmla="*/ 2147483647 h 510"/>
                    <a:gd name="T82" fmla="*/ 2147483647 w 850"/>
                    <a:gd name="T83" fmla="*/ 2147483647 h 510"/>
                    <a:gd name="T84" fmla="*/ 2147483647 w 850"/>
                    <a:gd name="T85" fmla="*/ 2147483647 h 510"/>
                    <a:gd name="T86" fmla="*/ 2147483647 w 850"/>
                    <a:gd name="T87" fmla="*/ 2147483647 h 510"/>
                    <a:gd name="T88" fmla="*/ 2147483647 w 850"/>
                    <a:gd name="T89" fmla="*/ 2147483647 h 510"/>
                    <a:gd name="T90" fmla="*/ 2147483647 w 850"/>
                    <a:gd name="T91" fmla="*/ 2147483647 h 510"/>
                    <a:gd name="T92" fmla="*/ 2147483647 w 850"/>
                    <a:gd name="T93" fmla="*/ 2147483647 h 510"/>
                    <a:gd name="T94" fmla="*/ 2147483647 w 850"/>
                    <a:gd name="T95" fmla="*/ 2147483647 h 510"/>
                    <a:gd name="T96" fmla="*/ 2147483647 w 850"/>
                    <a:gd name="T97" fmla="*/ 2147483647 h 510"/>
                    <a:gd name="T98" fmla="*/ 2147483647 w 850"/>
                    <a:gd name="T99" fmla="*/ 2147483647 h 510"/>
                    <a:gd name="T100" fmla="*/ 2147483647 w 850"/>
                    <a:gd name="T101" fmla="*/ 2147483647 h 510"/>
                    <a:gd name="T102" fmla="*/ 2147483647 w 850"/>
                    <a:gd name="T103" fmla="*/ 2147483647 h 510"/>
                    <a:gd name="T104" fmla="*/ 2147483647 w 850"/>
                    <a:gd name="T105" fmla="*/ 2147483647 h 510"/>
                    <a:gd name="T106" fmla="*/ 2147483647 w 850"/>
                    <a:gd name="T107" fmla="*/ 2147483647 h 510"/>
                    <a:gd name="T108" fmla="*/ 2147483647 w 850"/>
                    <a:gd name="T109" fmla="*/ 2147483647 h 510"/>
                    <a:gd name="T110" fmla="*/ 2147483647 w 850"/>
                    <a:gd name="T111" fmla="*/ 2147483647 h 510"/>
                    <a:gd name="T112" fmla="*/ 2147483647 w 850"/>
                    <a:gd name="T113" fmla="*/ 2147483647 h 510"/>
                    <a:gd name="T114" fmla="*/ 2147483647 w 850"/>
                    <a:gd name="T115" fmla="*/ 2147483647 h 510"/>
                    <a:gd name="T116" fmla="*/ 2147483647 w 850"/>
                    <a:gd name="T117" fmla="*/ 2147483647 h 510"/>
                    <a:gd name="T118" fmla="*/ 2147483647 w 850"/>
                    <a:gd name="T119" fmla="*/ 2147483647 h 510"/>
                    <a:gd name="T120" fmla="*/ 2147483647 w 850"/>
                    <a:gd name="T121" fmla="*/ 2147483647 h 510"/>
                    <a:gd name="T122" fmla="*/ 2147483647 w 850"/>
                    <a:gd name="T123" fmla="*/ 2147483647 h 510"/>
                    <a:gd name="T124" fmla="*/ 2147483647 w 850"/>
                    <a:gd name="T125" fmla="*/ 2147483647 h 51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50"/>
                    <a:gd name="T190" fmla="*/ 0 h 510"/>
                    <a:gd name="T191" fmla="*/ 850 w 850"/>
                    <a:gd name="T192" fmla="*/ 510 h 51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50" h="510">
                      <a:moveTo>
                        <a:pt x="714" y="261"/>
                      </a:moveTo>
                      <a:lnTo>
                        <a:pt x="716" y="261"/>
                      </a:lnTo>
                      <a:lnTo>
                        <a:pt x="716" y="262"/>
                      </a:lnTo>
                      <a:lnTo>
                        <a:pt x="716" y="264"/>
                      </a:lnTo>
                      <a:lnTo>
                        <a:pt x="714" y="264"/>
                      </a:lnTo>
                      <a:lnTo>
                        <a:pt x="714" y="266"/>
                      </a:lnTo>
                      <a:lnTo>
                        <a:pt x="716" y="266"/>
                      </a:lnTo>
                      <a:lnTo>
                        <a:pt x="716" y="264"/>
                      </a:lnTo>
                      <a:lnTo>
                        <a:pt x="718" y="264"/>
                      </a:lnTo>
                      <a:lnTo>
                        <a:pt x="719" y="264"/>
                      </a:lnTo>
                      <a:lnTo>
                        <a:pt x="721" y="264"/>
                      </a:lnTo>
                      <a:lnTo>
                        <a:pt x="721" y="262"/>
                      </a:lnTo>
                      <a:lnTo>
                        <a:pt x="723" y="262"/>
                      </a:lnTo>
                      <a:lnTo>
                        <a:pt x="723" y="261"/>
                      </a:lnTo>
                      <a:lnTo>
                        <a:pt x="725" y="261"/>
                      </a:lnTo>
                      <a:lnTo>
                        <a:pt x="725" y="259"/>
                      </a:lnTo>
                      <a:lnTo>
                        <a:pt x="726" y="259"/>
                      </a:lnTo>
                      <a:lnTo>
                        <a:pt x="726" y="261"/>
                      </a:lnTo>
                      <a:lnTo>
                        <a:pt x="728" y="261"/>
                      </a:lnTo>
                      <a:lnTo>
                        <a:pt x="730" y="262"/>
                      </a:lnTo>
                      <a:lnTo>
                        <a:pt x="731" y="262"/>
                      </a:lnTo>
                      <a:lnTo>
                        <a:pt x="730" y="264"/>
                      </a:lnTo>
                      <a:lnTo>
                        <a:pt x="731" y="264"/>
                      </a:lnTo>
                      <a:lnTo>
                        <a:pt x="730" y="264"/>
                      </a:lnTo>
                      <a:lnTo>
                        <a:pt x="731" y="264"/>
                      </a:lnTo>
                      <a:lnTo>
                        <a:pt x="733" y="264"/>
                      </a:lnTo>
                      <a:lnTo>
                        <a:pt x="735" y="262"/>
                      </a:lnTo>
                      <a:lnTo>
                        <a:pt x="735" y="264"/>
                      </a:lnTo>
                      <a:lnTo>
                        <a:pt x="736" y="262"/>
                      </a:lnTo>
                      <a:lnTo>
                        <a:pt x="738" y="262"/>
                      </a:lnTo>
                      <a:lnTo>
                        <a:pt x="738" y="261"/>
                      </a:lnTo>
                      <a:lnTo>
                        <a:pt x="740" y="261"/>
                      </a:lnTo>
                      <a:lnTo>
                        <a:pt x="741" y="261"/>
                      </a:lnTo>
                      <a:lnTo>
                        <a:pt x="743" y="261"/>
                      </a:lnTo>
                      <a:lnTo>
                        <a:pt x="745" y="261"/>
                      </a:lnTo>
                      <a:lnTo>
                        <a:pt x="745" y="259"/>
                      </a:lnTo>
                      <a:lnTo>
                        <a:pt x="745" y="258"/>
                      </a:lnTo>
                      <a:lnTo>
                        <a:pt x="746" y="258"/>
                      </a:lnTo>
                      <a:lnTo>
                        <a:pt x="748" y="258"/>
                      </a:lnTo>
                      <a:lnTo>
                        <a:pt x="748" y="256"/>
                      </a:lnTo>
                      <a:lnTo>
                        <a:pt x="750" y="256"/>
                      </a:lnTo>
                      <a:lnTo>
                        <a:pt x="752" y="256"/>
                      </a:lnTo>
                      <a:lnTo>
                        <a:pt x="753" y="256"/>
                      </a:lnTo>
                      <a:lnTo>
                        <a:pt x="753" y="254"/>
                      </a:lnTo>
                      <a:lnTo>
                        <a:pt x="753" y="253"/>
                      </a:lnTo>
                      <a:lnTo>
                        <a:pt x="755" y="253"/>
                      </a:lnTo>
                      <a:lnTo>
                        <a:pt x="755" y="251"/>
                      </a:lnTo>
                      <a:lnTo>
                        <a:pt x="757" y="251"/>
                      </a:lnTo>
                      <a:lnTo>
                        <a:pt x="758" y="251"/>
                      </a:lnTo>
                      <a:lnTo>
                        <a:pt x="758" y="249"/>
                      </a:lnTo>
                      <a:lnTo>
                        <a:pt x="760" y="249"/>
                      </a:lnTo>
                      <a:lnTo>
                        <a:pt x="762" y="249"/>
                      </a:lnTo>
                      <a:lnTo>
                        <a:pt x="763" y="248"/>
                      </a:lnTo>
                      <a:lnTo>
                        <a:pt x="765" y="248"/>
                      </a:lnTo>
                      <a:lnTo>
                        <a:pt x="767" y="248"/>
                      </a:lnTo>
                      <a:lnTo>
                        <a:pt x="768" y="248"/>
                      </a:lnTo>
                      <a:lnTo>
                        <a:pt x="770" y="248"/>
                      </a:lnTo>
                      <a:lnTo>
                        <a:pt x="772" y="248"/>
                      </a:lnTo>
                      <a:lnTo>
                        <a:pt x="774" y="248"/>
                      </a:lnTo>
                      <a:lnTo>
                        <a:pt x="774" y="246"/>
                      </a:lnTo>
                      <a:lnTo>
                        <a:pt x="775" y="246"/>
                      </a:lnTo>
                      <a:lnTo>
                        <a:pt x="777" y="246"/>
                      </a:lnTo>
                      <a:lnTo>
                        <a:pt x="779" y="246"/>
                      </a:lnTo>
                      <a:lnTo>
                        <a:pt x="780" y="244"/>
                      </a:lnTo>
                      <a:lnTo>
                        <a:pt x="782" y="244"/>
                      </a:lnTo>
                      <a:lnTo>
                        <a:pt x="782" y="243"/>
                      </a:lnTo>
                      <a:lnTo>
                        <a:pt x="784" y="244"/>
                      </a:lnTo>
                      <a:lnTo>
                        <a:pt x="785" y="244"/>
                      </a:lnTo>
                      <a:lnTo>
                        <a:pt x="785" y="243"/>
                      </a:lnTo>
                      <a:lnTo>
                        <a:pt x="787" y="243"/>
                      </a:lnTo>
                      <a:lnTo>
                        <a:pt x="787" y="241"/>
                      </a:lnTo>
                      <a:lnTo>
                        <a:pt x="789" y="241"/>
                      </a:lnTo>
                      <a:lnTo>
                        <a:pt x="789" y="243"/>
                      </a:lnTo>
                      <a:lnTo>
                        <a:pt x="790" y="243"/>
                      </a:lnTo>
                      <a:lnTo>
                        <a:pt x="792" y="243"/>
                      </a:lnTo>
                      <a:lnTo>
                        <a:pt x="794" y="243"/>
                      </a:lnTo>
                      <a:lnTo>
                        <a:pt x="794" y="244"/>
                      </a:lnTo>
                      <a:lnTo>
                        <a:pt x="795" y="244"/>
                      </a:lnTo>
                      <a:lnTo>
                        <a:pt x="794" y="244"/>
                      </a:lnTo>
                      <a:lnTo>
                        <a:pt x="795" y="244"/>
                      </a:lnTo>
                      <a:lnTo>
                        <a:pt x="795" y="246"/>
                      </a:lnTo>
                      <a:lnTo>
                        <a:pt x="795" y="248"/>
                      </a:lnTo>
                      <a:lnTo>
                        <a:pt x="795" y="249"/>
                      </a:lnTo>
                      <a:lnTo>
                        <a:pt x="797" y="249"/>
                      </a:lnTo>
                      <a:lnTo>
                        <a:pt x="797" y="251"/>
                      </a:lnTo>
                      <a:lnTo>
                        <a:pt x="795" y="251"/>
                      </a:lnTo>
                      <a:lnTo>
                        <a:pt x="797" y="253"/>
                      </a:lnTo>
                      <a:lnTo>
                        <a:pt x="797" y="251"/>
                      </a:lnTo>
                      <a:lnTo>
                        <a:pt x="799" y="253"/>
                      </a:lnTo>
                      <a:lnTo>
                        <a:pt x="801" y="254"/>
                      </a:lnTo>
                      <a:lnTo>
                        <a:pt x="801" y="256"/>
                      </a:lnTo>
                      <a:lnTo>
                        <a:pt x="802" y="256"/>
                      </a:lnTo>
                      <a:lnTo>
                        <a:pt x="804" y="256"/>
                      </a:lnTo>
                      <a:lnTo>
                        <a:pt x="804" y="258"/>
                      </a:lnTo>
                      <a:lnTo>
                        <a:pt x="802" y="258"/>
                      </a:lnTo>
                      <a:lnTo>
                        <a:pt x="802" y="259"/>
                      </a:lnTo>
                      <a:lnTo>
                        <a:pt x="804" y="259"/>
                      </a:lnTo>
                      <a:lnTo>
                        <a:pt x="802" y="259"/>
                      </a:lnTo>
                      <a:lnTo>
                        <a:pt x="802" y="261"/>
                      </a:lnTo>
                      <a:lnTo>
                        <a:pt x="804" y="261"/>
                      </a:lnTo>
                      <a:lnTo>
                        <a:pt x="806" y="261"/>
                      </a:lnTo>
                      <a:lnTo>
                        <a:pt x="807" y="261"/>
                      </a:lnTo>
                      <a:lnTo>
                        <a:pt x="807" y="262"/>
                      </a:lnTo>
                      <a:lnTo>
                        <a:pt x="809" y="262"/>
                      </a:lnTo>
                      <a:lnTo>
                        <a:pt x="809" y="261"/>
                      </a:lnTo>
                      <a:lnTo>
                        <a:pt x="811" y="259"/>
                      </a:lnTo>
                      <a:lnTo>
                        <a:pt x="811" y="261"/>
                      </a:lnTo>
                      <a:lnTo>
                        <a:pt x="812" y="261"/>
                      </a:lnTo>
                      <a:lnTo>
                        <a:pt x="814" y="261"/>
                      </a:lnTo>
                      <a:lnTo>
                        <a:pt x="814" y="262"/>
                      </a:lnTo>
                      <a:lnTo>
                        <a:pt x="814" y="264"/>
                      </a:lnTo>
                      <a:lnTo>
                        <a:pt x="814" y="262"/>
                      </a:lnTo>
                      <a:lnTo>
                        <a:pt x="816" y="262"/>
                      </a:lnTo>
                      <a:lnTo>
                        <a:pt x="816" y="264"/>
                      </a:lnTo>
                      <a:lnTo>
                        <a:pt x="817" y="262"/>
                      </a:lnTo>
                      <a:lnTo>
                        <a:pt x="817" y="261"/>
                      </a:lnTo>
                      <a:lnTo>
                        <a:pt x="819" y="261"/>
                      </a:lnTo>
                      <a:lnTo>
                        <a:pt x="821" y="261"/>
                      </a:lnTo>
                      <a:lnTo>
                        <a:pt x="822" y="261"/>
                      </a:lnTo>
                      <a:lnTo>
                        <a:pt x="822" y="259"/>
                      </a:lnTo>
                      <a:lnTo>
                        <a:pt x="824" y="259"/>
                      </a:lnTo>
                      <a:lnTo>
                        <a:pt x="826" y="261"/>
                      </a:lnTo>
                      <a:lnTo>
                        <a:pt x="826" y="259"/>
                      </a:lnTo>
                      <a:lnTo>
                        <a:pt x="826" y="258"/>
                      </a:lnTo>
                      <a:lnTo>
                        <a:pt x="828" y="258"/>
                      </a:lnTo>
                      <a:lnTo>
                        <a:pt x="829" y="258"/>
                      </a:lnTo>
                      <a:lnTo>
                        <a:pt x="829" y="259"/>
                      </a:lnTo>
                      <a:lnTo>
                        <a:pt x="829" y="261"/>
                      </a:lnTo>
                      <a:lnTo>
                        <a:pt x="831" y="261"/>
                      </a:lnTo>
                      <a:lnTo>
                        <a:pt x="831" y="259"/>
                      </a:lnTo>
                      <a:lnTo>
                        <a:pt x="833" y="259"/>
                      </a:lnTo>
                      <a:lnTo>
                        <a:pt x="834" y="259"/>
                      </a:lnTo>
                      <a:lnTo>
                        <a:pt x="836" y="259"/>
                      </a:lnTo>
                      <a:lnTo>
                        <a:pt x="836" y="261"/>
                      </a:lnTo>
                      <a:lnTo>
                        <a:pt x="838" y="261"/>
                      </a:lnTo>
                      <a:lnTo>
                        <a:pt x="838" y="259"/>
                      </a:lnTo>
                      <a:lnTo>
                        <a:pt x="839" y="259"/>
                      </a:lnTo>
                      <a:lnTo>
                        <a:pt x="839" y="261"/>
                      </a:lnTo>
                      <a:lnTo>
                        <a:pt x="841" y="261"/>
                      </a:lnTo>
                      <a:lnTo>
                        <a:pt x="843" y="261"/>
                      </a:lnTo>
                      <a:lnTo>
                        <a:pt x="844" y="261"/>
                      </a:lnTo>
                      <a:lnTo>
                        <a:pt x="844" y="262"/>
                      </a:lnTo>
                      <a:lnTo>
                        <a:pt x="846" y="262"/>
                      </a:lnTo>
                      <a:lnTo>
                        <a:pt x="846" y="264"/>
                      </a:lnTo>
                      <a:lnTo>
                        <a:pt x="848" y="266"/>
                      </a:lnTo>
                      <a:lnTo>
                        <a:pt x="848" y="267"/>
                      </a:lnTo>
                      <a:lnTo>
                        <a:pt x="850" y="267"/>
                      </a:lnTo>
                      <a:lnTo>
                        <a:pt x="848" y="267"/>
                      </a:lnTo>
                      <a:lnTo>
                        <a:pt x="848" y="269"/>
                      </a:lnTo>
                      <a:lnTo>
                        <a:pt x="846" y="271"/>
                      </a:lnTo>
                      <a:lnTo>
                        <a:pt x="844" y="271"/>
                      </a:lnTo>
                      <a:lnTo>
                        <a:pt x="846" y="271"/>
                      </a:lnTo>
                      <a:lnTo>
                        <a:pt x="844" y="272"/>
                      </a:lnTo>
                      <a:lnTo>
                        <a:pt x="843" y="272"/>
                      </a:lnTo>
                      <a:lnTo>
                        <a:pt x="841" y="274"/>
                      </a:lnTo>
                      <a:lnTo>
                        <a:pt x="839" y="276"/>
                      </a:lnTo>
                      <a:lnTo>
                        <a:pt x="839" y="277"/>
                      </a:lnTo>
                      <a:lnTo>
                        <a:pt x="841" y="277"/>
                      </a:lnTo>
                      <a:lnTo>
                        <a:pt x="841" y="279"/>
                      </a:lnTo>
                      <a:lnTo>
                        <a:pt x="839" y="279"/>
                      </a:lnTo>
                      <a:lnTo>
                        <a:pt x="839" y="281"/>
                      </a:lnTo>
                      <a:lnTo>
                        <a:pt x="838" y="282"/>
                      </a:lnTo>
                      <a:lnTo>
                        <a:pt x="838" y="281"/>
                      </a:lnTo>
                      <a:lnTo>
                        <a:pt x="836" y="281"/>
                      </a:lnTo>
                      <a:lnTo>
                        <a:pt x="834" y="281"/>
                      </a:lnTo>
                      <a:lnTo>
                        <a:pt x="834" y="282"/>
                      </a:lnTo>
                      <a:lnTo>
                        <a:pt x="833" y="282"/>
                      </a:lnTo>
                      <a:lnTo>
                        <a:pt x="834" y="282"/>
                      </a:lnTo>
                      <a:lnTo>
                        <a:pt x="833" y="282"/>
                      </a:lnTo>
                      <a:lnTo>
                        <a:pt x="831" y="282"/>
                      </a:lnTo>
                      <a:lnTo>
                        <a:pt x="829" y="284"/>
                      </a:lnTo>
                      <a:lnTo>
                        <a:pt x="828" y="284"/>
                      </a:lnTo>
                      <a:lnTo>
                        <a:pt x="826" y="284"/>
                      </a:lnTo>
                      <a:lnTo>
                        <a:pt x="826" y="282"/>
                      </a:lnTo>
                      <a:lnTo>
                        <a:pt x="824" y="282"/>
                      </a:lnTo>
                      <a:lnTo>
                        <a:pt x="824" y="284"/>
                      </a:lnTo>
                      <a:lnTo>
                        <a:pt x="822" y="284"/>
                      </a:lnTo>
                      <a:lnTo>
                        <a:pt x="822" y="285"/>
                      </a:lnTo>
                      <a:lnTo>
                        <a:pt x="821" y="285"/>
                      </a:lnTo>
                      <a:lnTo>
                        <a:pt x="819" y="285"/>
                      </a:lnTo>
                      <a:lnTo>
                        <a:pt x="819" y="284"/>
                      </a:lnTo>
                      <a:lnTo>
                        <a:pt x="819" y="282"/>
                      </a:lnTo>
                      <a:lnTo>
                        <a:pt x="817" y="282"/>
                      </a:lnTo>
                      <a:lnTo>
                        <a:pt x="816" y="284"/>
                      </a:lnTo>
                      <a:lnTo>
                        <a:pt x="814" y="284"/>
                      </a:lnTo>
                      <a:lnTo>
                        <a:pt x="812" y="285"/>
                      </a:lnTo>
                      <a:lnTo>
                        <a:pt x="812" y="287"/>
                      </a:lnTo>
                      <a:lnTo>
                        <a:pt x="811" y="287"/>
                      </a:lnTo>
                      <a:lnTo>
                        <a:pt x="811" y="285"/>
                      </a:lnTo>
                      <a:lnTo>
                        <a:pt x="809" y="285"/>
                      </a:lnTo>
                      <a:lnTo>
                        <a:pt x="807" y="285"/>
                      </a:lnTo>
                      <a:lnTo>
                        <a:pt x="807" y="287"/>
                      </a:lnTo>
                      <a:lnTo>
                        <a:pt x="807" y="285"/>
                      </a:lnTo>
                      <a:lnTo>
                        <a:pt x="806" y="287"/>
                      </a:lnTo>
                      <a:lnTo>
                        <a:pt x="804" y="287"/>
                      </a:lnTo>
                      <a:lnTo>
                        <a:pt x="804" y="289"/>
                      </a:lnTo>
                      <a:lnTo>
                        <a:pt x="802" y="289"/>
                      </a:lnTo>
                      <a:lnTo>
                        <a:pt x="802" y="290"/>
                      </a:lnTo>
                      <a:lnTo>
                        <a:pt x="801" y="290"/>
                      </a:lnTo>
                      <a:lnTo>
                        <a:pt x="801" y="289"/>
                      </a:lnTo>
                      <a:lnTo>
                        <a:pt x="801" y="290"/>
                      </a:lnTo>
                      <a:lnTo>
                        <a:pt x="799" y="290"/>
                      </a:lnTo>
                      <a:lnTo>
                        <a:pt x="797" y="290"/>
                      </a:lnTo>
                      <a:lnTo>
                        <a:pt x="795" y="290"/>
                      </a:lnTo>
                      <a:lnTo>
                        <a:pt x="795" y="292"/>
                      </a:lnTo>
                      <a:lnTo>
                        <a:pt x="794" y="292"/>
                      </a:lnTo>
                      <a:lnTo>
                        <a:pt x="794" y="294"/>
                      </a:lnTo>
                      <a:lnTo>
                        <a:pt x="792" y="294"/>
                      </a:lnTo>
                      <a:lnTo>
                        <a:pt x="794" y="294"/>
                      </a:lnTo>
                      <a:lnTo>
                        <a:pt x="792" y="294"/>
                      </a:lnTo>
                      <a:lnTo>
                        <a:pt x="792" y="295"/>
                      </a:lnTo>
                      <a:lnTo>
                        <a:pt x="790" y="295"/>
                      </a:lnTo>
                      <a:lnTo>
                        <a:pt x="789" y="295"/>
                      </a:lnTo>
                      <a:lnTo>
                        <a:pt x="789" y="297"/>
                      </a:lnTo>
                      <a:lnTo>
                        <a:pt x="789" y="299"/>
                      </a:lnTo>
                      <a:lnTo>
                        <a:pt x="789" y="300"/>
                      </a:lnTo>
                      <a:lnTo>
                        <a:pt x="789" y="302"/>
                      </a:lnTo>
                      <a:lnTo>
                        <a:pt x="787" y="302"/>
                      </a:lnTo>
                      <a:lnTo>
                        <a:pt x="787" y="304"/>
                      </a:lnTo>
                      <a:lnTo>
                        <a:pt x="787" y="305"/>
                      </a:lnTo>
                      <a:lnTo>
                        <a:pt x="787" y="307"/>
                      </a:lnTo>
                      <a:lnTo>
                        <a:pt x="787" y="308"/>
                      </a:lnTo>
                      <a:lnTo>
                        <a:pt x="787" y="310"/>
                      </a:lnTo>
                      <a:lnTo>
                        <a:pt x="785" y="310"/>
                      </a:lnTo>
                      <a:lnTo>
                        <a:pt x="785" y="312"/>
                      </a:lnTo>
                      <a:lnTo>
                        <a:pt x="784" y="312"/>
                      </a:lnTo>
                      <a:lnTo>
                        <a:pt x="784" y="313"/>
                      </a:lnTo>
                      <a:lnTo>
                        <a:pt x="782" y="313"/>
                      </a:lnTo>
                      <a:lnTo>
                        <a:pt x="780" y="315"/>
                      </a:lnTo>
                      <a:lnTo>
                        <a:pt x="780" y="317"/>
                      </a:lnTo>
                      <a:lnTo>
                        <a:pt x="780" y="318"/>
                      </a:lnTo>
                      <a:lnTo>
                        <a:pt x="780" y="320"/>
                      </a:lnTo>
                      <a:lnTo>
                        <a:pt x="782" y="320"/>
                      </a:lnTo>
                      <a:lnTo>
                        <a:pt x="784" y="320"/>
                      </a:lnTo>
                      <a:lnTo>
                        <a:pt x="785" y="320"/>
                      </a:lnTo>
                      <a:lnTo>
                        <a:pt x="785" y="322"/>
                      </a:lnTo>
                      <a:lnTo>
                        <a:pt x="785" y="323"/>
                      </a:lnTo>
                      <a:lnTo>
                        <a:pt x="787" y="323"/>
                      </a:lnTo>
                      <a:lnTo>
                        <a:pt x="790" y="325"/>
                      </a:lnTo>
                      <a:lnTo>
                        <a:pt x="789" y="325"/>
                      </a:lnTo>
                      <a:lnTo>
                        <a:pt x="790" y="325"/>
                      </a:lnTo>
                      <a:lnTo>
                        <a:pt x="790" y="327"/>
                      </a:lnTo>
                      <a:lnTo>
                        <a:pt x="790" y="328"/>
                      </a:lnTo>
                      <a:lnTo>
                        <a:pt x="792" y="328"/>
                      </a:lnTo>
                      <a:lnTo>
                        <a:pt x="792" y="330"/>
                      </a:lnTo>
                      <a:lnTo>
                        <a:pt x="794" y="330"/>
                      </a:lnTo>
                      <a:lnTo>
                        <a:pt x="795" y="331"/>
                      </a:lnTo>
                      <a:lnTo>
                        <a:pt x="794" y="331"/>
                      </a:lnTo>
                      <a:lnTo>
                        <a:pt x="794" y="330"/>
                      </a:lnTo>
                      <a:lnTo>
                        <a:pt x="794" y="331"/>
                      </a:lnTo>
                      <a:lnTo>
                        <a:pt x="794" y="330"/>
                      </a:lnTo>
                      <a:lnTo>
                        <a:pt x="792" y="331"/>
                      </a:lnTo>
                      <a:lnTo>
                        <a:pt x="790" y="331"/>
                      </a:lnTo>
                      <a:lnTo>
                        <a:pt x="789" y="331"/>
                      </a:lnTo>
                      <a:lnTo>
                        <a:pt x="787" y="331"/>
                      </a:lnTo>
                      <a:lnTo>
                        <a:pt x="785" y="331"/>
                      </a:lnTo>
                      <a:lnTo>
                        <a:pt x="785" y="333"/>
                      </a:lnTo>
                      <a:lnTo>
                        <a:pt x="784" y="333"/>
                      </a:lnTo>
                      <a:lnTo>
                        <a:pt x="784" y="331"/>
                      </a:lnTo>
                      <a:lnTo>
                        <a:pt x="785" y="331"/>
                      </a:lnTo>
                      <a:lnTo>
                        <a:pt x="784" y="331"/>
                      </a:lnTo>
                      <a:lnTo>
                        <a:pt x="785" y="331"/>
                      </a:lnTo>
                      <a:lnTo>
                        <a:pt x="784" y="330"/>
                      </a:lnTo>
                      <a:lnTo>
                        <a:pt x="782" y="330"/>
                      </a:lnTo>
                      <a:lnTo>
                        <a:pt x="780" y="330"/>
                      </a:lnTo>
                      <a:lnTo>
                        <a:pt x="780" y="331"/>
                      </a:lnTo>
                      <a:lnTo>
                        <a:pt x="780" y="330"/>
                      </a:lnTo>
                      <a:lnTo>
                        <a:pt x="780" y="328"/>
                      </a:lnTo>
                      <a:lnTo>
                        <a:pt x="779" y="328"/>
                      </a:lnTo>
                      <a:lnTo>
                        <a:pt x="777" y="328"/>
                      </a:lnTo>
                      <a:lnTo>
                        <a:pt x="777" y="330"/>
                      </a:lnTo>
                      <a:lnTo>
                        <a:pt x="775" y="330"/>
                      </a:lnTo>
                      <a:lnTo>
                        <a:pt x="774" y="330"/>
                      </a:lnTo>
                      <a:lnTo>
                        <a:pt x="774" y="331"/>
                      </a:lnTo>
                      <a:lnTo>
                        <a:pt x="774" y="333"/>
                      </a:lnTo>
                      <a:lnTo>
                        <a:pt x="772" y="333"/>
                      </a:lnTo>
                      <a:lnTo>
                        <a:pt x="770" y="333"/>
                      </a:lnTo>
                      <a:lnTo>
                        <a:pt x="768" y="335"/>
                      </a:lnTo>
                      <a:lnTo>
                        <a:pt x="767" y="335"/>
                      </a:lnTo>
                      <a:lnTo>
                        <a:pt x="765" y="335"/>
                      </a:lnTo>
                      <a:lnTo>
                        <a:pt x="765" y="336"/>
                      </a:lnTo>
                      <a:lnTo>
                        <a:pt x="765" y="335"/>
                      </a:lnTo>
                      <a:lnTo>
                        <a:pt x="763" y="335"/>
                      </a:lnTo>
                      <a:lnTo>
                        <a:pt x="763" y="336"/>
                      </a:lnTo>
                      <a:lnTo>
                        <a:pt x="763" y="338"/>
                      </a:lnTo>
                      <a:lnTo>
                        <a:pt x="763" y="340"/>
                      </a:lnTo>
                      <a:lnTo>
                        <a:pt x="765" y="338"/>
                      </a:lnTo>
                      <a:lnTo>
                        <a:pt x="767" y="338"/>
                      </a:lnTo>
                      <a:lnTo>
                        <a:pt x="765" y="338"/>
                      </a:lnTo>
                      <a:lnTo>
                        <a:pt x="767" y="340"/>
                      </a:lnTo>
                      <a:lnTo>
                        <a:pt x="765" y="340"/>
                      </a:lnTo>
                      <a:lnTo>
                        <a:pt x="763" y="340"/>
                      </a:lnTo>
                      <a:lnTo>
                        <a:pt x="763" y="341"/>
                      </a:lnTo>
                      <a:lnTo>
                        <a:pt x="762" y="341"/>
                      </a:lnTo>
                      <a:lnTo>
                        <a:pt x="762" y="343"/>
                      </a:lnTo>
                      <a:lnTo>
                        <a:pt x="763" y="343"/>
                      </a:lnTo>
                      <a:lnTo>
                        <a:pt x="762" y="343"/>
                      </a:lnTo>
                      <a:lnTo>
                        <a:pt x="762" y="345"/>
                      </a:lnTo>
                      <a:lnTo>
                        <a:pt x="762" y="343"/>
                      </a:lnTo>
                      <a:lnTo>
                        <a:pt x="760" y="343"/>
                      </a:lnTo>
                      <a:lnTo>
                        <a:pt x="760" y="341"/>
                      </a:lnTo>
                      <a:lnTo>
                        <a:pt x="760" y="343"/>
                      </a:lnTo>
                      <a:lnTo>
                        <a:pt x="760" y="341"/>
                      </a:lnTo>
                      <a:lnTo>
                        <a:pt x="758" y="343"/>
                      </a:lnTo>
                      <a:lnTo>
                        <a:pt x="758" y="345"/>
                      </a:lnTo>
                      <a:lnTo>
                        <a:pt x="760" y="345"/>
                      </a:lnTo>
                      <a:lnTo>
                        <a:pt x="758" y="345"/>
                      </a:lnTo>
                      <a:lnTo>
                        <a:pt x="760" y="345"/>
                      </a:lnTo>
                      <a:lnTo>
                        <a:pt x="758" y="345"/>
                      </a:lnTo>
                      <a:lnTo>
                        <a:pt x="757" y="345"/>
                      </a:lnTo>
                      <a:lnTo>
                        <a:pt x="757" y="343"/>
                      </a:lnTo>
                      <a:lnTo>
                        <a:pt x="757" y="345"/>
                      </a:lnTo>
                      <a:lnTo>
                        <a:pt x="757" y="343"/>
                      </a:lnTo>
                      <a:lnTo>
                        <a:pt x="755" y="343"/>
                      </a:lnTo>
                      <a:lnTo>
                        <a:pt x="753" y="343"/>
                      </a:lnTo>
                      <a:lnTo>
                        <a:pt x="753" y="341"/>
                      </a:lnTo>
                      <a:lnTo>
                        <a:pt x="753" y="343"/>
                      </a:lnTo>
                      <a:lnTo>
                        <a:pt x="753" y="345"/>
                      </a:lnTo>
                      <a:lnTo>
                        <a:pt x="753" y="346"/>
                      </a:lnTo>
                      <a:lnTo>
                        <a:pt x="755" y="346"/>
                      </a:lnTo>
                      <a:lnTo>
                        <a:pt x="753" y="346"/>
                      </a:lnTo>
                      <a:lnTo>
                        <a:pt x="752" y="346"/>
                      </a:lnTo>
                      <a:lnTo>
                        <a:pt x="752" y="345"/>
                      </a:lnTo>
                      <a:lnTo>
                        <a:pt x="750" y="345"/>
                      </a:lnTo>
                      <a:lnTo>
                        <a:pt x="748" y="345"/>
                      </a:lnTo>
                      <a:lnTo>
                        <a:pt x="748" y="346"/>
                      </a:lnTo>
                      <a:lnTo>
                        <a:pt x="748" y="348"/>
                      </a:lnTo>
                      <a:lnTo>
                        <a:pt x="748" y="350"/>
                      </a:lnTo>
                      <a:lnTo>
                        <a:pt x="750" y="350"/>
                      </a:lnTo>
                      <a:lnTo>
                        <a:pt x="748" y="350"/>
                      </a:lnTo>
                      <a:lnTo>
                        <a:pt x="750" y="350"/>
                      </a:lnTo>
                      <a:lnTo>
                        <a:pt x="750" y="351"/>
                      </a:lnTo>
                      <a:lnTo>
                        <a:pt x="748" y="350"/>
                      </a:lnTo>
                      <a:lnTo>
                        <a:pt x="748" y="351"/>
                      </a:lnTo>
                      <a:lnTo>
                        <a:pt x="748" y="350"/>
                      </a:lnTo>
                      <a:lnTo>
                        <a:pt x="748" y="351"/>
                      </a:lnTo>
                      <a:lnTo>
                        <a:pt x="746" y="351"/>
                      </a:lnTo>
                      <a:lnTo>
                        <a:pt x="745" y="351"/>
                      </a:lnTo>
                      <a:lnTo>
                        <a:pt x="743" y="351"/>
                      </a:lnTo>
                      <a:lnTo>
                        <a:pt x="743" y="350"/>
                      </a:lnTo>
                      <a:lnTo>
                        <a:pt x="741" y="350"/>
                      </a:lnTo>
                      <a:lnTo>
                        <a:pt x="740" y="350"/>
                      </a:lnTo>
                      <a:lnTo>
                        <a:pt x="738" y="351"/>
                      </a:lnTo>
                      <a:lnTo>
                        <a:pt x="736" y="351"/>
                      </a:lnTo>
                      <a:lnTo>
                        <a:pt x="736" y="353"/>
                      </a:lnTo>
                      <a:lnTo>
                        <a:pt x="735" y="354"/>
                      </a:lnTo>
                      <a:lnTo>
                        <a:pt x="733" y="354"/>
                      </a:lnTo>
                      <a:lnTo>
                        <a:pt x="731" y="354"/>
                      </a:lnTo>
                      <a:lnTo>
                        <a:pt x="730" y="354"/>
                      </a:lnTo>
                      <a:lnTo>
                        <a:pt x="730" y="356"/>
                      </a:lnTo>
                      <a:lnTo>
                        <a:pt x="728" y="358"/>
                      </a:lnTo>
                      <a:lnTo>
                        <a:pt x="728" y="359"/>
                      </a:lnTo>
                      <a:lnTo>
                        <a:pt x="728" y="361"/>
                      </a:lnTo>
                      <a:lnTo>
                        <a:pt x="730" y="363"/>
                      </a:lnTo>
                      <a:lnTo>
                        <a:pt x="730" y="364"/>
                      </a:lnTo>
                      <a:lnTo>
                        <a:pt x="730" y="363"/>
                      </a:lnTo>
                      <a:lnTo>
                        <a:pt x="731" y="364"/>
                      </a:lnTo>
                      <a:lnTo>
                        <a:pt x="731" y="363"/>
                      </a:lnTo>
                      <a:lnTo>
                        <a:pt x="731" y="364"/>
                      </a:lnTo>
                      <a:lnTo>
                        <a:pt x="731" y="366"/>
                      </a:lnTo>
                      <a:lnTo>
                        <a:pt x="730" y="366"/>
                      </a:lnTo>
                      <a:lnTo>
                        <a:pt x="731" y="366"/>
                      </a:lnTo>
                      <a:lnTo>
                        <a:pt x="731" y="368"/>
                      </a:lnTo>
                      <a:lnTo>
                        <a:pt x="731" y="369"/>
                      </a:lnTo>
                      <a:lnTo>
                        <a:pt x="731" y="371"/>
                      </a:lnTo>
                      <a:lnTo>
                        <a:pt x="731" y="372"/>
                      </a:lnTo>
                      <a:lnTo>
                        <a:pt x="730" y="372"/>
                      </a:lnTo>
                      <a:lnTo>
                        <a:pt x="728" y="374"/>
                      </a:lnTo>
                      <a:lnTo>
                        <a:pt x="728" y="372"/>
                      </a:lnTo>
                      <a:lnTo>
                        <a:pt x="728" y="374"/>
                      </a:lnTo>
                      <a:lnTo>
                        <a:pt x="726" y="372"/>
                      </a:lnTo>
                      <a:lnTo>
                        <a:pt x="725" y="372"/>
                      </a:lnTo>
                      <a:lnTo>
                        <a:pt x="723" y="372"/>
                      </a:lnTo>
                      <a:lnTo>
                        <a:pt x="723" y="374"/>
                      </a:lnTo>
                      <a:lnTo>
                        <a:pt x="721" y="374"/>
                      </a:lnTo>
                      <a:lnTo>
                        <a:pt x="719" y="374"/>
                      </a:lnTo>
                      <a:lnTo>
                        <a:pt x="719" y="372"/>
                      </a:lnTo>
                      <a:lnTo>
                        <a:pt x="718" y="372"/>
                      </a:lnTo>
                      <a:lnTo>
                        <a:pt x="719" y="372"/>
                      </a:lnTo>
                      <a:lnTo>
                        <a:pt x="718" y="372"/>
                      </a:lnTo>
                      <a:lnTo>
                        <a:pt x="718" y="371"/>
                      </a:lnTo>
                      <a:lnTo>
                        <a:pt x="716" y="371"/>
                      </a:lnTo>
                      <a:lnTo>
                        <a:pt x="718" y="371"/>
                      </a:lnTo>
                      <a:lnTo>
                        <a:pt x="716" y="371"/>
                      </a:lnTo>
                      <a:lnTo>
                        <a:pt x="716" y="369"/>
                      </a:lnTo>
                      <a:lnTo>
                        <a:pt x="714" y="369"/>
                      </a:lnTo>
                      <a:lnTo>
                        <a:pt x="713" y="371"/>
                      </a:lnTo>
                      <a:lnTo>
                        <a:pt x="713" y="369"/>
                      </a:lnTo>
                      <a:lnTo>
                        <a:pt x="713" y="371"/>
                      </a:lnTo>
                      <a:lnTo>
                        <a:pt x="711" y="371"/>
                      </a:lnTo>
                      <a:lnTo>
                        <a:pt x="709" y="371"/>
                      </a:lnTo>
                      <a:lnTo>
                        <a:pt x="709" y="369"/>
                      </a:lnTo>
                      <a:lnTo>
                        <a:pt x="708" y="369"/>
                      </a:lnTo>
                      <a:lnTo>
                        <a:pt x="708" y="368"/>
                      </a:lnTo>
                      <a:lnTo>
                        <a:pt x="708" y="369"/>
                      </a:lnTo>
                      <a:lnTo>
                        <a:pt x="706" y="369"/>
                      </a:lnTo>
                      <a:lnTo>
                        <a:pt x="706" y="368"/>
                      </a:lnTo>
                      <a:lnTo>
                        <a:pt x="704" y="368"/>
                      </a:lnTo>
                      <a:lnTo>
                        <a:pt x="704" y="369"/>
                      </a:lnTo>
                      <a:lnTo>
                        <a:pt x="703" y="369"/>
                      </a:lnTo>
                      <a:lnTo>
                        <a:pt x="704" y="368"/>
                      </a:lnTo>
                      <a:lnTo>
                        <a:pt x="703" y="368"/>
                      </a:lnTo>
                      <a:lnTo>
                        <a:pt x="701" y="368"/>
                      </a:lnTo>
                      <a:lnTo>
                        <a:pt x="699" y="368"/>
                      </a:lnTo>
                      <a:lnTo>
                        <a:pt x="698" y="368"/>
                      </a:lnTo>
                      <a:lnTo>
                        <a:pt x="696" y="368"/>
                      </a:lnTo>
                      <a:lnTo>
                        <a:pt x="694" y="368"/>
                      </a:lnTo>
                      <a:lnTo>
                        <a:pt x="692" y="368"/>
                      </a:lnTo>
                      <a:lnTo>
                        <a:pt x="694" y="368"/>
                      </a:lnTo>
                      <a:lnTo>
                        <a:pt x="692" y="368"/>
                      </a:lnTo>
                      <a:lnTo>
                        <a:pt x="692" y="366"/>
                      </a:lnTo>
                      <a:lnTo>
                        <a:pt x="691" y="366"/>
                      </a:lnTo>
                      <a:lnTo>
                        <a:pt x="689" y="366"/>
                      </a:lnTo>
                      <a:lnTo>
                        <a:pt x="687" y="368"/>
                      </a:lnTo>
                      <a:lnTo>
                        <a:pt x="686" y="368"/>
                      </a:lnTo>
                      <a:lnTo>
                        <a:pt x="684" y="368"/>
                      </a:lnTo>
                      <a:lnTo>
                        <a:pt x="679" y="369"/>
                      </a:lnTo>
                      <a:lnTo>
                        <a:pt x="677" y="369"/>
                      </a:lnTo>
                      <a:lnTo>
                        <a:pt x="676" y="369"/>
                      </a:lnTo>
                      <a:lnTo>
                        <a:pt x="676" y="371"/>
                      </a:lnTo>
                      <a:lnTo>
                        <a:pt x="674" y="371"/>
                      </a:lnTo>
                      <a:lnTo>
                        <a:pt x="672" y="371"/>
                      </a:lnTo>
                      <a:lnTo>
                        <a:pt x="670" y="371"/>
                      </a:lnTo>
                      <a:lnTo>
                        <a:pt x="670" y="372"/>
                      </a:lnTo>
                      <a:lnTo>
                        <a:pt x="670" y="374"/>
                      </a:lnTo>
                      <a:lnTo>
                        <a:pt x="670" y="372"/>
                      </a:lnTo>
                      <a:lnTo>
                        <a:pt x="669" y="372"/>
                      </a:lnTo>
                      <a:lnTo>
                        <a:pt x="667" y="372"/>
                      </a:lnTo>
                      <a:lnTo>
                        <a:pt x="665" y="372"/>
                      </a:lnTo>
                      <a:lnTo>
                        <a:pt x="664" y="374"/>
                      </a:lnTo>
                      <a:lnTo>
                        <a:pt x="662" y="374"/>
                      </a:lnTo>
                      <a:lnTo>
                        <a:pt x="662" y="376"/>
                      </a:lnTo>
                      <a:lnTo>
                        <a:pt x="660" y="376"/>
                      </a:lnTo>
                      <a:lnTo>
                        <a:pt x="662" y="376"/>
                      </a:lnTo>
                      <a:lnTo>
                        <a:pt x="662" y="377"/>
                      </a:lnTo>
                      <a:lnTo>
                        <a:pt x="660" y="377"/>
                      </a:lnTo>
                      <a:lnTo>
                        <a:pt x="662" y="379"/>
                      </a:lnTo>
                      <a:lnTo>
                        <a:pt x="660" y="379"/>
                      </a:lnTo>
                      <a:lnTo>
                        <a:pt x="660" y="381"/>
                      </a:lnTo>
                      <a:lnTo>
                        <a:pt x="659" y="381"/>
                      </a:lnTo>
                      <a:lnTo>
                        <a:pt x="659" y="382"/>
                      </a:lnTo>
                      <a:lnTo>
                        <a:pt x="657" y="382"/>
                      </a:lnTo>
                      <a:lnTo>
                        <a:pt x="657" y="384"/>
                      </a:lnTo>
                      <a:lnTo>
                        <a:pt x="659" y="384"/>
                      </a:lnTo>
                      <a:lnTo>
                        <a:pt x="659" y="382"/>
                      </a:lnTo>
                      <a:lnTo>
                        <a:pt x="659" y="384"/>
                      </a:lnTo>
                      <a:lnTo>
                        <a:pt x="659" y="386"/>
                      </a:lnTo>
                      <a:lnTo>
                        <a:pt x="657" y="386"/>
                      </a:lnTo>
                      <a:lnTo>
                        <a:pt x="657" y="387"/>
                      </a:lnTo>
                      <a:lnTo>
                        <a:pt x="655" y="389"/>
                      </a:lnTo>
                      <a:lnTo>
                        <a:pt x="655" y="387"/>
                      </a:lnTo>
                      <a:lnTo>
                        <a:pt x="654" y="387"/>
                      </a:lnTo>
                      <a:lnTo>
                        <a:pt x="652" y="387"/>
                      </a:lnTo>
                      <a:lnTo>
                        <a:pt x="650" y="389"/>
                      </a:lnTo>
                      <a:lnTo>
                        <a:pt x="649" y="389"/>
                      </a:lnTo>
                      <a:lnTo>
                        <a:pt x="649" y="391"/>
                      </a:lnTo>
                      <a:lnTo>
                        <a:pt x="650" y="391"/>
                      </a:lnTo>
                      <a:lnTo>
                        <a:pt x="649" y="391"/>
                      </a:lnTo>
                      <a:lnTo>
                        <a:pt x="649" y="392"/>
                      </a:lnTo>
                      <a:lnTo>
                        <a:pt x="647" y="394"/>
                      </a:lnTo>
                      <a:lnTo>
                        <a:pt x="647" y="392"/>
                      </a:lnTo>
                      <a:lnTo>
                        <a:pt x="647" y="391"/>
                      </a:lnTo>
                      <a:lnTo>
                        <a:pt x="645" y="391"/>
                      </a:lnTo>
                      <a:lnTo>
                        <a:pt x="645" y="392"/>
                      </a:lnTo>
                      <a:lnTo>
                        <a:pt x="645" y="391"/>
                      </a:lnTo>
                      <a:lnTo>
                        <a:pt x="643" y="391"/>
                      </a:lnTo>
                      <a:lnTo>
                        <a:pt x="643" y="389"/>
                      </a:lnTo>
                      <a:lnTo>
                        <a:pt x="645" y="389"/>
                      </a:lnTo>
                      <a:lnTo>
                        <a:pt x="645" y="387"/>
                      </a:lnTo>
                      <a:lnTo>
                        <a:pt x="643" y="386"/>
                      </a:lnTo>
                      <a:lnTo>
                        <a:pt x="642" y="386"/>
                      </a:lnTo>
                      <a:lnTo>
                        <a:pt x="640" y="386"/>
                      </a:lnTo>
                      <a:lnTo>
                        <a:pt x="640" y="387"/>
                      </a:lnTo>
                      <a:lnTo>
                        <a:pt x="638" y="387"/>
                      </a:lnTo>
                      <a:lnTo>
                        <a:pt x="640" y="387"/>
                      </a:lnTo>
                      <a:lnTo>
                        <a:pt x="638" y="386"/>
                      </a:lnTo>
                      <a:lnTo>
                        <a:pt x="638" y="387"/>
                      </a:lnTo>
                      <a:lnTo>
                        <a:pt x="638" y="389"/>
                      </a:lnTo>
                      <a:lnTo>
                        <a:pt x="637" y="389"/>
                      </a:lnTo>
                      <a:lnTo>
                        <a:pt x="638" y="389"/>
                      </a:lnTo>
                      <a:lnTo>
                        <a:pt x="637" y="389"/>
                      </a:lnTo>
                      <a:lnTo>
                        <a:pt x="637" y="391"/>
                      </a:lnTo>
                      <a:lnTo>
                        <a:pt x="638" y="391"/>
                      </a:lnTo>
                      <a:lnTo>
                        <a:pt x="637" y="391"/>
                      </a:lnTo>
                      <a:lnTo>
                        <a:pt x="637" y="392"/>
                      </a:lnTo>
                      <a:lnTo>
                        <a:pt x="637" y="391"/>
                      </a:lnTo>
                      <a:lnTo>
                        <a:pt x="635" y="391"/>
                      </a:lnTo>
                      <a:lnTo>
                        <a:pt x="633" y="391"/>
                      </a:lnTo>
                      <a:lnTo>
                        <a:pt x="630" y="391"/>
                      </a:lnTo>
                      <a:lnTo>
                        <a:pt x="627" y="392"/>
                      </a:lnTo>
                      <a:lnTo>
                        <a:pt x="625" y="392"/>
                      </a:lnTo>
                      <a:lnTo>
                        <a:pt x="620" y="395"/>
                      </a:lnTo>
                      <a:lnTo>
                        <a:pt x="616" y="397"/>
                      </a:lnTo>
                      <a:lnTo>
                        <a:pt x="613" y="399"/>
                      </a:lnTo>
                      <a:lnTo>
                        <a:pt x="610" y="400"/>
                      </a:lnTo>
                      <a:lnTo>
                        <a:pt x="606" y="402"/>
                      </a:lnTo>
                      <a:lnTo>
                        <a:pt x="603" y="404"/>
                      </a:lnTo>
                      <a:lnTo>
                        <a:pt x="603" y="405"/>
                      </a:lnTo>
                      <a:lnTo>
                        <a:pt x="600" y="407"/>
                      </a:lnTo>
                      <a:lnTo>
                        <a:pt x="598" y="407"/>
                      </a:lnTo>
                      <a:lnTo>
                        <a:pt x="594" y="409"/>
                      </a:lnTo>
                      <a:lnTo>
                        <a:pt x="593" y="410"/>
                      </a:lnTo>
                      <a:lnTo>
                        <a:pt x="591" y="412"/>
                      </a:lnTo>
                      <a:lnTo>
                        <a:pt x="589" y="412"/>
                      </a:lnTo>
                      <a:lnTo>
                        <a:pt x="588" y="414"/>
                      </a:lnTo>
                      <a:lnTo>
                        <a:pt x="586" y="415"/>
                      </a:lnTo>
                      <a:lnTo>
                        <a:pt x="583" y="417"/>
                      </a:lnTo>
                      <a:lnTo>
                        <a:pt x="581" y="418"/>
                      </a:lnTo>
                      <a:lnTo>
                        <a:pt x="579" y="418"/>
                      </a:lnTo>
                      <a:lnTo>
                        <a:pt x="579" y="420"/>
                      </a:lnTo>
                      <a:lnTo>
                        <a:pt x="579" y="422"/>
                      </a:lnTo>
                      <a:lnTo>
                        <a:pt x="579" y="423"/>
                      </a:lnTo>
                      <a:lnTo>
                        <a:pt x="578" y="423"/>
                      </a:lnTo>
                      <a:lnTo>
                        <a:pt x="578" y="425"/>
                      </a:lnTo>
                      <a:lnTo>
                        <a:pt x="578" y="427"/>
                      </a:lnTo>
                      <a:lnTo>
                        <a:pt x="579" y="427"/>
                      </a:lnTo>
                      <a:lnTo>
                        <a:pt x="578" y="427"/>
                      </a:lnTo>
                      <a:lnTo>
                        <a:pt x="578" y="428"/>
                      </a:lnTo>
                      <a:lnTo>
                        <a:pt x="576" y="428"/>
                      </a:lnTo>
                      <a:lnTo>
                        <a:pt x="578" y="428"/>
                      </a:lnTo>
                      <a:lnTo>
                        <a:pt x="576" y="428"/>
                      </a:lnTo>
                      <a:lnTo>
                        <a:pt x="574" y="428"/>
                      </a:lnTo>
                      <a:lnTo>
                        <a:pt x="574" y="430"/>
                      </a:lnTo>
                      <a:lnTo>
                        <a:pt x="573" y="430"/>
                      </a:lnTo>
                      <a:lnTo>
                        <a:pt x="571" y="430"/>
                      </a:lnTo>
                      <a:lnTo>
                        <a:pt x="571" y="432"/>
                      </a:lnTo>
                      <a:lnTo>
                        <a:pt x="569" y="432"/>
                      </a:lnTo>
                      <a:lnTo>
                        <a:pt x="567" y="433"/>
                      </a:lnTo>
                      <a:lnTo>
                        <a:pt x="566" y="435"/>
                      </a:lnTo>
                      <a:lnTo>
                        <a:pt x="564" y="435"/>
                      </a:lnTo>
                      <a:lnTo>
                        <a:pt x="562" y="437"/>
                      </a:lnTo>
                      <a:lnTo>
                        <a:pt x="562" y="438"/>
                      </a:lnTo>
                      <a:lnTo>
                        <a:pt x="561" y="438"/>
                      </a:lnTo>
                      <a:lnTo>
                        <a:pt x="559" y="440"/>
                      </a:lnTo>
                      <a:lnTo>
                        <a:pt x="557" y="440"/>
                      </a:lnTo>
                      <a:lnTo>
                        <a:pt x="559" y="441"/>
                      </a:lnTo>
                      <a:lnTo>
                        <a:pt x="557" y="441"/>
                      </a:lnTo>
                      <a:lnTo>
                        <a:pt x="556" y="441"/>
                      </a:lnTo>
                      <a:lnTo>
                        <a:pt x="556" y="443"/>
                      </a:lnTo>
                      <a:lnTo>
                        <a:pt x="554" y="443"/>
                      </a:lnTo>
                      <a:lnTo>
                        <a:pt x="552" y="443"/>
                      </a:lnTo>
                      <a:lnTo>
                        <a:pt x="552" y="445"/>
                      </a:lnTo>
                      <a:lnTo>
                        <a:pt x="549" y="446"/>
                      </a:lnTo>
                      <a:lnTo>
                        <a:pt x="545" y="448"/>
                      </a:lnTo>
                      <a:lnTo>
                        <a:pt x="542" y="450"/>
                      </a:lnTo>
                      <a:lnTo>
                        <a:pt x="540" y="451"/>
                      </a:lnTo>
                      <a:lnTo>
                        <a:pt x="539" y="451"/>
                      </a:lnTo>
                      <a:lnTo>
                        <a:pt x="539" y="453"/>
                      </a:lnTo>
                      <a:lnTo>
                        <a:pt x="537" y="453"/>
                      </a:lnTo>
                      <a:lnTo>
                        <a:pt x="535" y="455"/>
                      </a:lnTo>
                      <a:lnTo>
                        <a:pt x="534" y="455"/>
                      </a:lnTo>
                      <a:lnTo>
                        <a:pt x="529" y="456"/>
                      </a:lnTo>
                      <a:lnTo>
                        <a:pt x="529" y="458"/>
                      </a:lnTo>
                      <a:lnTo>
                        <a:pt x="527" y="458"/>
                      </a:lnTo>
                      <a:lnTo>
                        <a:pt x="525" y="460"/>
                      </a:lnTo>
                      <a:lnTo>
                        <a:pt x="524" y="460"/>
                      </a:lnTo>
                      <a:lnTo>
                        <a:pt x="522" y="461"/>
                      </a:lnTo>
                      <a:lnTo>
                        <a:pt x="520" y="463"/>
                      </a:lnTo>
                      <a:lnTo>
                        <a:pt x="518" y="464"/>
                      </a:lnTo>
                      <a:lnTo>
                        <a:pt x="517" y="466"/>
                      </a:lnTo>
                      <a:lnTo>
                        <a:pt x="515" y="466"/>
                      </a:lnTo>
                      <a:lnTo>
                        <a:pt x="513" y="468"/>
                      </a:lnTo>
                      <a:lnTo>
                        <a:pt x="508" y="471"/>
                      </a:lnTo>
                      <a:lnTo>
                        <a:pt x="507" y="473"/>
                      </a:lnTo>
                      <a:lnTo>
                        <a:pt x="503" y="476"/>
                      </a:lnTo>
                      <a:lnTo>
                        <a:pt x="500" y="479"/>
                      </a:lnTo>
                      <a:lnTo>
                        <a:pt x="498" y="481"/>
                      </a:lnTo>
                      <a:lnTo>
                        <a:pt x="497" y="483"/>
                      </a:lnTo>
                      <a:lnTo>
                        <a:pt x="497" y="484"/>
                      </a:lnTo>
                      <a:lnTo>
                        <a:pt x="495" y="484"/>
                      </a:lnTo>
                      <a:lnTo>
                        <a:pt x="495" y="486"/>
                      </a:lnTo>
                      <a:lnTo>
                        <a:pt x="493" y="486"/>
                      </a:lnTo>
                      <a:lnTo>
                        <a:pt x="493" y="487"/>
                      </a:lnTo>
                      <a:lnTo>
                        <a:pt x="495" y="489"/>
                      </a:lnTo>
                      <a:lnTo>
                        <a:pt x="495" y="491"/>
                      </a:lnTo>
                      <a:lnTo>
                        <a:pt x="493" y="492"/>
                      </a:lnTo>
                      <a:lnTo>
                        <a:pt x="493" y="494"/>
                      </a:lnTo>
                      <a:lnTo>
                        <a:pt x="493" y="496"/>
                      </a:lnTo>
                      <a:lnTo>
                        <a:pt x="493" y="497"/>
                      </a:lnTo>
                      <a:lnTo>
                        <a:pt x="493" y="496"/>
                      </a:lnTo>
                      <a:lnTo>
                        <a:pt x="491" y="496"/>
                      </a:lnTo>
                      <a:lnTo>
                        <a:pt x="491" y="497"/>
                      </a:lnTo>
                      <a:lnTo>
                        <a:pt x="490" y="497"/>
                      </a:lnTo>
                      <a:lnTo>
                        <a:pt x="488" y="499"/>
                      </a:lnTo>
                      <a:lnTo>
                        <a:pt x="486" y="501"/>
                      </a:lnTo>
                      <a:lnTo>
                        <a:pt x="485" y="501"/>
                      </a:lnTo>
                      <a:lnTo>
                        <a:pt x="485" y="502"/>
                      </a:lnTo>
                      <a:lnTo>
                        <a:pt x="481" y="504"/>
                      </a:lnTo>
                      <a:lnTo>
                        <a:pt x="481" y="506"/>
                      </a:lnTo>
                      <a:lnTo>
                        <a:pt x="480" y="506"/>
                      </a:lnTo>
                      <a:lnTo>
                        <a:pt x="478" y="509"/>
                      </a:lnTo>
                      <a:lnTo>
                        <a:pt x="476" y="510"/>
                      </a:lnTo>
                      <a:lnTo>
                        <a:pt x="475" y="509"/>
                      </a:lnTo>
                      <a:lnTo>
                        <a:pt x="476" y="509"/>
                      </a:lnTo>
                      <a:lnTo>
                        <a:pt x="476" y="507"/>
                      </a:lnTo>
                      <a:lnTo>
                        <a:pt x="478" y="507"/>
                      </a:lnTo>
                      <a:lnTo>
                        <a:pt x="480" y="506"/>
                      </a:lnTo>
                      <a:lnTo>
                        <a:pt x="480" y="504"/>
                      </a:lnTo>
                      <a:lnTo>
                        <a:pt x="481" y="504"/>
                      </a:lnTo>
                      <a:lnTo>
                        <a:pt x="483" y="502"/>
                      </a:lnTo>
                      <a:lnTo>
                        <a:pt x="481" y="502"/>
                      </a:lnTo>
                      <a:lnTo>
                        <a:pt x="483" y="502"/>
                      </a:lnTo>
                      <a:lnTo>
                        <a:pt x="481" y="501"/>
                      </a:lnTo>
                      <a:lnTo>
                        <a:pt x="481" y="502"/>
                      </a:lnTo>
                      <a:lnTo>
                        <a:pt x="480" y="502"/>
                      </a:lnTo>
                      <a:lnTo>
                        <a:pt x="480" y="501"/>
                      </a:lnTo>
                      <a:lnTo>
                        <a:pt x="480" y="502"/>
                      </a:lnTo>
                      <a:lnTo>
                        <a:pt x="480" y="504"/>
                      </a:lnTo>
                      <a:lnTo>
                        <a:pt x="478" y="504"/>
                      </a:lnTo>
                      <a:lnTo>
                        <a:pt x="476" y="504"/>
                      </a:lnTo>
                      <a:lnTo>
                        <a:pt x="475" y="504"/>
                      </a:lnTo>
                      <a:lnTo>
                        <a:pt x="473" y="504"/>
                      </a:lnTo>
                      <a:lnTo>
                        <a:pt x="473" y="502"/>
                      </a:lnTo>
                      <a:lnTo>
                        <a:pt x="471" y="502"/>
                      </a:lnTo>
                      <a:lnTo>
                        <a:pt x="469" y="501"/>
                      </a:lnTo>
                      <a:lnTo>
                        <a:pt x="468" y="501"/>
                      </a:lnTo>
                      <a:lnTo>
                        <a:pt x="468" y="499"/>
                      </a:lnTo>
                      <a:lnTo>
                        <a:pt x="466" y="499"/>
                      </a:lnTo>
                      <a:lnTo>
                        <a:pt x="468" y="499"/>
                      </a:lnTo>
                      <a:lnTo>
                        <a:pt x="468" y="497"/>
                      </a:lnTo>
                      <a:lnTo>
                        <a:pt x="469" y="497"/>
                      </a:lnTo>
                      <a:lnTo>
                        <a:pt x="469" y="496"/>
                      </a:lnTo>
                      <a:lnTo>
                        <a:pt x="469" y="494"/>
                      </a:lnTo>
                      <a:lnTo>
                        <a:pt x="468" y="494"/>
                      </a:lnTo>
                      <a:lnTo>
                        <a:pt x="468" y="492"/>
                      </a:lnTo>
                      <a:lnTo>
                        <a:pt x="466" y="492"/>
                      </a:lnTo>
                      <a:lnTo>
                        <a:pt x="466" y="491"/>
                      </a:lnTo>
                      <a:lnTo>
                        <a:pt x="466" y="489"/>
                      </a:lnTo>
                      <a:lnTo>
                        <a:pt x="464" y="489"/>
                      </a:lnTo>
                      <a:lnTo>
                        <a:pt x="464" y="487"/>
                      </a:lnTo>
                      <a:lnTo>
                        <a:pt x="464" y="486"/>
                      </a:lnTo>
                      <a:lnTo>
                        <a:pt x="464" y="484"/>
                      </a:lnTo>
                      <a:lnTo>
                        <a:pt x="464" y="483"/>
                      </a:lnTo>
                      <a:lnTo>
                        <a:pt x="463" y="483"/>
                      </a:lnTo>
                      <a:lnTo>
                        <a:pt x="464" y="483"/>
                      </a:lnTo>
                      <a:lnTo>
                        <a:pt x="463" y="483"/>
                      </a:lnTo>
                      <a:lnTo>
                        <a:pt x="463" y="481"/>
                      </a:lnTo>
                      <a:lnTo>
                        <a:pt x="461" y="481"/>
                      </a:lnTo>
                      <a:lnTo>
                        <a:pt x="461" y="479"/>
                      </a:lnTo>
                      <a:lnTo>
                        <a:pt x="461" y="481"/>
                      </a:lnTo>
                      <a:lnTo>
                        <a:pt x="459" y="481"/>
                      </a:lnTo>
                      <a:lnTo>
                        <a:pt x="459" y="483"/>
                      </a:lnTo>
                      <a:lnTo>
                        <a:pt x="458" y="483"/>
                      </a:lnTo>
                      <a:lnTo>
                        <a:pt x="459" y="483"/>
                      </a:lnTo>
                      <a:lnTo>
                        <a:pt x="459" y="484"/>
                      </a:lnTo>
                      <a:lnTo>
                        <a:pt x="458" y="484"/>
                      </a:lnTo>
                      <a:lnTo>
                        <a:pt x="458" y="483"/>
                      </a:lnTo>
                      <a:lnTo>
                        <a:pt x="456" y="483"/>
                      </a:lnTo>
                      <a:lnTo>
                        <a:pt x="456" y="484"/>
                      </a:lnTo>
                      <a:lnTo>
                        <a:pt x="456" y="486"/>
                      </a:lnTo>
                      <a:lnTo>
                        <a:pt x="454" y="486"/>
                      </a:lnTo>
                      <a:lnTo>
                        <a:pt x="454" y="484"/>
                      </a:lnTo>
                      <a:lnTo>
                        <a:pt x="453" y="484"/>
                      </a:lnTo>
                      <a:lnTo>
                        <a:pt x="451" y="484"/>
                      </a:lnTo>
                      <a:lnTo>
                        <a:pt x="451" y="483"/>
                      </a:lnTo>
                      <a:lnTo>
                        <a:pt x="449" y="483"/>
                      </a:lnTo>
                      <a:lnTo>
                        <a:pt x="449" y="481"/>
                      </a:lnTo>
                      <a:lnTo>
                        <a:pt x="448" y="481"/>
                      </a:lnTo>
                      <a:lnTo>
                        <a:pt x="448" y="479"/>
                      </a:lnTo>
                      <a:lnTo>
                        <a:pt x="446" y="479"/>
                      </a:lnTo>
                      <a:lnTo>
                        <a:pt x="446" y="481"/>
                      </a:lnTo>
                      <a:lnTo>
                        <a:pt x="444" y="481"/>
                      </a:lnTo>
                      <a:lnTo>
                        <a:pt x="442" y="481"/>
                      </a:lnTo>
                      <a:lnTo>
                        <a:pt x="441" y="481"/>
                      </a:lnTo>
                      <a:lnTo>
                        <a:pt x="441" y="483"/>
                      </a:lnTo>
                      <a:lnTo>
                        <a:pt x="439" y="483"/>
                      </a:lnTo>
                      <a:lnTo>
                        <a:pt x="439" y="484"/>
                      </a:lnTo>
                      <a:lnTo>
                        <a:pt x="439" y="486"/>
                      </a:lnTo>
                      <a:lnTo>
                        <a:pt x="437" y="486"/>
                      </a:lnTo>
                      <a:lnTo>
                        <a:pt x="437" y="487"/>
                      </a:lnTo>
                      <a:lnTo>
                        <a:pt x="436" y="487"/>
                      </a:lnTo>
                      <a:lnTo>
                        <a:pt x="436" y="489"/>
                      </a:lnTo>
                      <a:lnTo>
                        <a:pt x="436" y="491"/>
                      </a:lnTo>
                      <a:lnTo>
                        <a:pt x="434" y="491"/>
                      </a:lnTo>
                      <a:lnTo>
                        <a:pt x="432" y="489"/>
                      </a:lnTo>
                      <a:lnTo>
                        <a:pt x="432" y="487"/>
                      </a:lnTo>
                      <a:lnTo>
                        <a:pt x="432" y="486"/>
                      </a:lnTo>
                      <a:lnTo>
                        <a:pt x="431" y="486"/>
                      </a:lnTo>
                      <a:lnTo>
                        <a:pt x="429" y="486"/>
                      </a:lnTo>
                      <a:lnTo>
                        <a:pt x="431" y="486"/>
                      </a:lnTo>
                      <a:lnTo>
                        <a:pt x="429" y="484"/>
                      </a:lnTo>
                      <a:lnTo>
                        <a:pt x="429" y="483"/>
                      </a:lnTo>
                      <a:lnTo>
                        <a:pt x="427" y="483"/>
                      </a:lnTo>
                      <a:lnTo>
                        <a:pt x="429" y="483"/>
                      </a:lnTo>
                      <a:lnTo>
                        <a:pt x="427" y="483"/>
                      </a:lnTo>
                      <a:lnTo>
                        <a:pt x="429" y="481"/>
                      </a:lnTo>
                      <a:lnTo>
                        <a:pt x="429" y="479"/>
                      </a:lnTo>
                      <a:lnTo>
                        <a:pt x="431" y="479"/>
                      </a:lnTo>
                      <a:lnTo>
                        <a:pt x="431" y="478"/>
                      </a:lnTo>
                      <a:lnTo>
                        <a:pt x="431" y="476"/>
                      </a:lnTo>
                      <a:lnTo>
                        <a:pt x="432" y="476"/>
                      </a:lnTo>
                      <a:lnTo>
                        <a:pt x="431" y="476"/>
                      </a:lnTo>
                      <a:lnTo>
                        <a:pt x="431" y="474"/>
                      </a:lnTo>
                      <a:lnTo>
                        <a:pt x="431" y="473"/>
                      </a:lnTo>
                      <a:lnTo>
                        <a:pt x="431" y="471"/>
                      </a:lnTo>
                      <a:lnTo>
                        <a:pt x="432" y="471"/>
                      </a:lnTo>
                      <a:lnTo>
                        <a:pt x="432" y="473"/>
                      </a:lnTo>
                      <a:lnTo>
                        <a:pt x="432" y="471"/>
                      </a:lnTo>
                      <a:lnTo>
                        <a:pt x="432" y="469"/>
                      </a:lnTo>
                      <a:lnTo>
                        <a:pt x="432" y="471"/>
                      </a:lnTo>
                      <a:lnTo>
                        <a:pt x="432" y="469"/>
                      </a:lnTo>
                      <a:lnTo>
                        <a:pt x="434" y="469"/>
                      </a:lnTo>
                      <a:lnTo>
                        <a:pt x="432" y="469"/>
                      </a:lnTo>
                      <a:lnTo>
                        <a:pt x="431" y="469"/>
                      </a:lnTo>
                      <a:lnTo>
                        <a:pt x="431" y="468"/>
                      </a:lnTo>
                      <a:lnTo>
                        <a:pt x="431" y="466"/>
                      </a:lnTo>
                      <a:lnTo>
                        <a:pt x="432" y="464"/>
                      </a:lnTo>
                      <a:lnTo>
                        <a:pt x="432" y="463"/>
                      </a:lnTo>
                      <a:lnTo>
                        <a:pt x="434" y="461"/>
                      </a:lnTo>
                      <a:lnTo>
                        <a:pt x="436" y="461"/>
                      </a:lnTo>
                      <a:lnTo>
                        <a:pt x="436" y="460"/>
                      </a:lnTo>
                      <a:lnTo>
                        <a:pt x="437" y="460"/>
                      </a:lnTo>
                      <a:lnTo>
                        <a:pt x="437" y="458"/>
                      </a:lnTo>
                      <a:lnTo>
                        <a:pt x="437" y="456"/>
                      </a:lnTo>
                      <a:lnTo>
                        <a:pt x="436" y="458"/>
                      </a:lnTo>
                      <a:lnTo>
                        <a:pt x="436" y="456"/>
                      </a:lnTo>
                      <a:lnTo>
                        <a:pt x="434" y="456"/>
                      </a:lnTo>
                      <a:lnTo>
                        <a:pt x="432" y="455"/>
                      </a:lnTo>
                      <a:lnTo>
                        <a:pt x="434" y="455"/>
                      </a:lnTo>
                      <a:lnTo>
                        <a:pt x="432" y="455"/>
                      </a:lnTo>
                      <a:lnTo>
                        <a:pt x="431" y="455"/>
                      </a:lnTo>
                      <a:lnTo>
                        <a:pt x="431" y="453"/>
                      </a:lnTo>
                      <a:lnTo>
                        <a:pt x="431" y="451"/>
                      </a:lnTo>
                      <a:lnTo>
                        <a:pt x="429" y="451"/>
                      </a:lnTo>
                      <a:lnTo>
                        <a:pt x="427" y="451"/>
                      </a:lnTo>
                      <a:lnTo>
                        <a:pt x="426" y="451"/>
                      </a:lnTo>
                      <a:lnTo>
                        <a:pt x="424" y="451"/>
                      </a:lnTo>
                      <a:lnTo>
                        <a:pt x="424" y="453"/>
                      </a:lnTo>
                      <a:lnTo>
                        <a:pt x="422" y="453"/>
                      </a:lnTo>
                      <a:lnTo>
                        <a:pt x="422" y="455"/>
                      </a:lnTo>
                      <a:lnTo>
                        <a:pt x="422" y="453"/>
                      </a:lnTo>
                      <a:lnTo>
                        <a:pt x="421" y="453"/>
                      </a:lnTo>
                      <a:lnTo>
                        <a:pt x="421" y="451"/>
                      </a:lnTo>
                      <a:lnTo>
                        <a:pt x="419" y="450"/>
                      </a:lnTo>
                      <a:lnTo>
                        <a:pt x="419" y="451"/>
                      </a:lnTo>
                      <a:lnTo>
                        <a:pt x="419" y="453"/>
                      </a:lnTo>
                      <a:lnTo>
                        <a:pt x="419" y="451"/>
                      </a:lnTo>
                      <a:lnTo>
                        <a:pt x="417" y="451"/>
                      </a:lnTo>
                      <a:lnTo>
                        <a:pt x="415" y="451"/>
                      </a:lnTo>
                      <a:lnTo>
                        <a:pt x="415" y="453"/>
                      </a:lnTo>
                      <a:lnTo>
                        <a:pt x="415" y="451"/>
                      </a:lnTo>
                      <a:lnTo>
                        <a:pt x="415" y="453"/>
                      </a:lnTo>
                      <a:lnTo>
                        <a:pt x="414" y="453"/>
                      </a:lnTo>
                      <a:lnTo>
                        <a:pt x="414" y="451"/>
                      </a:lnTo>
                      <a:lnTo>
                        <a:pt x="412" y="451"/>
                      </a:lnTo>
                      <a:lnTo>
                        <a:pt x="412" y="453"/>
                      </a:lnTo>
                      <a:lnTo>
                        <a:pt x="410" y="453"/>
                      </a:lnTo>
                      <a:lnTo>
                        <a:pt x="410" y="451"/>
                      </a:lnTo>
                      <a:lnTo>
                        <a:pt x="409" y="451"/>
                      </a:lnTo>
                      <a:lnTo>
                        <a:pt x="407" y="450"/>
                      </a:lnTo>
                      <a:lnTo>
                        <a:pt x="405" y="450"/>
                      </a:lnTo>
                      <a:lnTo>
                        <a:pt x="404" y="450"/>
                      </a:lnTo>
                      <a:lnTo>
                        <a:pt x="404" y="451"/>
                      </a:lnTo>
                      <a:lnTo>
                        <a:pt x="405" y="451"/>
                      </a:lnTo>
                      <a:lnTo>
                        <a:pt x="404" y="451"/>
                      </a:lnTo>
                      <a:lnTo>
                        <a:pt x="404" y="450"/>
                      </a:lnTo>
                      <a:lnTo>
                        <a:pt x="402" y="451"/>
                      </a:lnTo>
                      <a:lnTo>
                        <a:pt x="402" y="450"/>
                      </a:lnTo>
                      <a:lnTo>
                        <a:pt x="400" y="451"/>
                      </a:lnTo>
                      <a:lnTo>
                        <a:pt x="399" y="451"/>
                      </a:lnTo>
                      <a:lnTo>
                        <a:pt x="397" y="451"/>
                      </a:lnTo>
                      <a:lnTo>
                        <a:pt x="395" y="451"/>
                      </a:lnTo>
                      <a:lnTo>
                        <a:pt x="393" y="451"/>
                      </a:lnTo>
                      <a:lnTo>
                        <a:pt x="392" y="451"/>
                      </a:lnTo>
                      <a:lnTo>
                        <a:pt x="392" y="450"/>
                      </a:lnTo>
                      <a:lnTo>
                        <a:pt x="390" y="450"/>
                      </a:lnTo>
                      <a:lnTo>
                        <a:pt x="388" y="450"/>
                      </a:lnTo>
                      <a:lnTo>
                        <a:pt x="390" y="448"/>
                      </a:lnTo>
                      <a:lnTo>
                        <a:pt x="388" y="448"/>
                      </a:lnTo>
                      <a:lnTo>
                        <a:pt x="387" y="448"/>
                      </a:lnTo>
                      <a:lnTo>
                        <a:pt x="387" y="450"/>
                      </a:lnTo>
                      <a:lnTo>
                        <a:pt x="385" y="450"/>
                      </a:lnTo>
                      <a:lnTo>
                        <a:pt x="385" y="451"/>
                      </a:lnTo>
                      <a:lnTo>
                        <a:pt x="383" y="451"/>
                      </a:lnTo>
                      <a:lnTo>
                        <a:pt x="382" y="451"/>
                      </a:lnTo>
                      <a:lnTo>
                        <a:pt x="380" y="451"/>
                      </a:lnTo>
                      <a:lnTo>
                        <a:pt x="380" y="453"/>
                      </a:lnTo>
                      <a:lnTo>
                        <a:pt x="378" y="453"/>
                      </a:lnTo>
                      <a:lnTo>
                        <a:pt x="378" y="451"/>
                      </a:lnTo>
                      <a:lnTo>
                        <a:pt x="377" y="451"/>
                      </a:lnTo>
                      <a:lnTo>
                        <a:pt x="375" y="451"/>
                      </a:lnTo>
                      <a:lnTo>
                        <a:pt x="373" y="451"/>
                      </a:lnTo>
                      <a:lnTo>
                        <a:pt x="372" y="451"/>
                      </a:lnTo>
                      <a:lnTo>
                        <a:pt x="370" y="451"/>
                      </a:lnTo>
                      <a:lnTo>
                        <a:pt x="370" y="453"/>
                      </a:lnTo>
                      <a:lnTo>
                        <a:pt x="368" y="453"/>
                      </a:lnTo>
                      <a:lnTo>
                        <a:pt x="366" y="453"/>
                      </a:lnTo>
                      <a:lnTo>
                        <a:pt x="365" y="453"/>
                      </a:lnTo>
                      <a:lnTo>
                        <a:pt x="363" y="453"/>
                      </a:lnTo>
                      <a:lnTo>
                        <a:pt x="363" y="451"/>
                      </a:lnTo>
                      <a:lnTo>
                        <a:pt x="361" y="451"/>
                      </a:lnTo>
                      <a:lnTo>
                        <a:pt x="361" y="450"/>
                      </a:lnTo>
                      <a:lnTo>
                        <a:pt x="360" y="450"/>
                      </a:lnTo>
                      <a:lnTo>
                        <a:pt x="361" y="450"/>
                      </a:lnTo>
                      <a:lnTo>
                        <a:pt x="361" y="448"/>
                      </a:lnTo>
                      <a:lnTo>
                        <a:pt x="360" y="448"/>
                      </a:lnTo>
                      <a:lnTo>
                        <a:pt x="360" y="446"/>
                      </a:lnTo>
                      <a:lnTo>
                        <a:pt x="361" y="446"/>
                      </a:lnTo>
                      <a:lnTo>
                        <a:pt x="360" y="445"/>
                      </a:lnTo>
                      <a:lnTo>
                        <a:pt x="361" y="445"/>
                      </a:lnTo>
                      <a:lnTo>
                        <a:pt x="361" y="443"/>
                      </a:lnTo>
                      <a:lnTo>
                        <a:pt x="360" y="443"/>
                      </a:lnTo>
                      <a:lnTo>
                        <a:pt x="361" y="443"/>
                      </a:lnTo>
                      <a:lnTo>
                        <a:pt x="360" y="441"/>
                      </a:lnTo>
                      <a:lnTo>
                        <a:pt x="360" y="440"/>
                      </a:lnTo>
                      <a:lnTo>
                        <a:pt x="361" y="440"/>
                      </a:lnTo>
                      <a:lnTo>
                        <a:pt x="363" y="440"/>
                      </a:lnTo>
                      <a:lnTo>
                        <a:pt x="363" y="438"/>
                      </a:lnTo>
                      <a:lnTo>
                        <a:pt x="363" y="437"/>
                      </a:lnTo>
                      <a:lnTo>
                        <a:pt x="361" y="435"/>
                      </a:lnTo>
                      <a:lnTo>
                        <a:pt x="363" y="435"/>
                      </a:lnTo>
                      <a:lnTo>
                        <a:pt x="365" y="435"/>
                      </a:lnTo>
                      <a:lnTo>
                        <a:pt x="365" y="433"/>
                      </a:lnTo>
                      <a:lnTo>
                        <a:pt x="366" y="433"/>
                      </a:lnTo>
                      <a:lnTo>
                        <a:pt x="366" y="432"/>
                      </a:lnTo>
                      <a:lnTo>
                        <a:pt x="366" y="430"/>
                      </a:lnTo>
                      <a:lnTo>
                        <a:pt x="366" y="428"/>
                      </a:lnTo>
                      <a:lnTo>
                        <a:pt x="368" y="427"/>
                      </a:lnTo>
                      <a:lnTo>
                        <a:pt x="366" y="427"/>
                      </a:lnTo>
                      <a:lnTo>
                        <a:pt x="366" y="425"/>
                      </a:lnTo>
                      <a:lnTo>
                        <a:pt x="368" y="425"/>
                      </a:lnTo>
                      <a:lnTo>
                        <a:pt x="368" y="423"/>
                      </a:lnTo>
                      <a:lnTo>
                        <a:pt x="368" y="422"/>
                      </a:lnTo>
                      <a:lnTo>
                        <a:pt x="370" y="422"/>
                      </a:lnTo>
                      <a:lnTo>
                        <a:pt x="372" y="420"/>
                      </a:lnTo>
                      <a:lnTo>
                        <a:pt x="370" y="420"/>
                      </a:lnTo>
                      <a:lnTo>
                        <a:pt x="372" y="420"/>
                      </a:lnTo>
                      <a:lnTo>
                        <a:pt x="370" y="420"/>
                      </a:lnTo>
                      <a:lnTo>
                        <a:pt x="368" y="420"/>
                      </a:lnTo>
                      <a:lnTo>
                        <a:pt x="368" y="418"/>
                      </a:lnTo>
                      <a:lnTo>
                        <a:pt x="368" y="420"/>
                      </a:lnTo>
                      <a:lnTo>
                        <a:pt x="366" y="420"/>
                      </a:lnTo>
                      <a:lnTo>
                        <a:pt x="366" y="418"/>
                      </a:lnTo>
                      <a:lnTo>
                        <a:pt x="365" y="418"/>
                      </a:lnTo>
                      <a:lnTo>
                        <a:pt x="365" y="417"/>
                      </a:lnTo>
                      <a:lnTo>
                        <a:pt x="363" y="417"/>
                      </a:lnTo>
                      <a:lnTo>
                        <a:pt x="363" y="415"/>
                      </a:lnTo>
                      <a:lnTo>
                        <a:pt x="361" y="415"/>
                      </a:lnTo>
                      <a:lnTo>
                        <a:pt x="361" y="414"/>
                      </a:lnTo>
                      <a:lnTo>
                        <a:pt x="361" y="412"/>
                      </a:lnTo>
                      <a:lnTo>
                        <a:pt x="360" y="412"/>
                      </a:lnTo>
                      <a:lnTo>
                        <a:pt x="360" y="410"/>
                      </a:lnTo>
                      <a:lnTo>
                        <a:pt x="358" y="410"/>
                      </a:lnTo>
                      <a:lnTo>
                        <a:pt x="358" y="409"/>
                      </a:lnTo>
                      <a:lnTo>
                        <a:pt x="356" y="409"/>
                      </a:lnTo>
                      <a:lnTo>
                        <a:pt x="358" y="407"/>
                      </a:lnTo>
                      <a:lnTo>
                        <a:pt x="358" y="405"/>
                      </a:lnTo>
                      <a:lnTo>
                        <a:pt x="358" y="404"/>
                      </a:lnTo>
                      <a:lnTo>
                        <a:pt x="358" y="402"/>
                      </a:lnTo>
                      <a:lnTo>
                        <a:pt x="356" y="400"/>
                      </a:lnTo>
                      <a:lnTo>
                        <a:pt x="355" y="400"/>
                      </a:lnTo>
                      <a:lnTo>
                        <a:pt x="356" y="400"/>
                      </a:lnTo>
                      <a:lnTo>
                        <a:pt x="355" y="400"/>
                      </a:lnTo>
                      <a:lnTo>
                        <a:pt x="355" y="399"/>
                      </a:lnTo>
                      <a:lnTo>
                        <a:pt x="355" y="400"/>
                      </a:lnTo>
                      <a:lnTo>
                        <a:pt x="353" y="399"/>
                      </a:lnTo>
                      <a:lnTo>
                        <a:pt x="353" y="400"/>
                      </a:lnTo>
                      <a:lnTo>
                        <a:pt x="353" y="399"/>
                      </a:lnTo>
                      <a:lnTo>
                        <a:pt x="351" y="399"/>
                      </a:lnTo>
                      <a:lnTo>
                        <a:pt x="351" y="397"/>
                      </a:lnTo>
                      <a:lnTo>
                        <a:pt x="350" y="397"/>
                      </a:lnTo>
                      <a:lnTo>
                        <a:pt x="350" y="395"/>
                      </a:lnTo>
                      <a:lnTo>
                        <a:pt x="348" y="395"/>
                      </a:lnTo>
                      <a:lnTo>
                        <a:pt x="348" y="394"/>
                      </a:lnTo>
                      <a:lnTo>
                        <a:pt x="346" y="394"/>
                      </a:lnTo>
                      <a:lnTo>
                        <a:pt x="346" y="392"/>
                      </a:lnTo>
                      <a:lnTo>
                        <a:pt x="346" y="391"/>
                      </a:lnTo>
                      <a:lnTo>
                        <a:pt x="345" y="391"/>
                      </a:lnTo>
                      <a:lnTo>
                        <a:pt x="343" y="391"/>
                      </a:lnTo>
                      <a:lnTo>
                        <a:pt x="345" y="391"/>
                      </a:lnTo>
                      <a:lnTo>
                        <a:pt x="343" y="391"/>
                      </a:lnTo>
                      <a:lnTo>
                        <a:pt x="345" y="391"/>
                      </a:lnTo>
                      <a:lnTo>
                        <a:pt x="345" y="389"/>
                      </a:lnTo>
                      <a:lnTo>
                        <a:pt x="343" y="389"/>
                      </a:lnTo>
                      <a:lnTo>
                        <a:pt x="343" y="387"/>
                      </a:lnTo>
                      <a:lnTo>
                        <a:pt x="343" y="386"/>
                      </a:lnTo>
                      <a:lnTo>
                        <a:pt x="341" y="386"/>
                      </a:lnTo>
                      <a:lnTo>
                        <a:pt x="343" y="386"/>
                      </a:lnTo>
                      <a:lnTo>
                        <a:pt x="343" y="384"/>
                      </a:lnTo>
                      <a:lnTo>
                        <a:pt x="341" y="384"/>
                      </a:lnTo>
                      <a:lnTo>
                        <a:pt x="341" y="382"/>
                      </a:lnTo>
                      <a:lnTo>
                        <a:pt x="341" y="381"/>
                      </a:lnTo>
                      <a:lnTo>
                        <a:pt x="339" y="382"/>
                      </a:lnTo>
                      <a:lnTo>
                        <a:pt x="338" y="382"/>
                      </a:lnTo>
                      <a:lnTo>
                        <a:pt x="338" y="381"/>
                      </a:lnTo>
                      <a:lnTo>
                        <a:pt x="336" y="381"/>
                      </a:lnTo>
                      <a:lnTo>
                        <a:pt x="336" y="379"/>
                      </a:lnTo>
                      <a:lnTo>
                        <a:pt x="336" y="377"/>
                      </a:lnTo>
                      <a:lnTo>
                        <a:pt x="334" y="377"/>
                      </a:lnTo>
                      <a:lnTo>
                        <a:pt x="334" y="379"/>
                      </a:lnTo>
                      <a:lnTo>
                        <a:pt x="334" y="377"/>
                      </a:lnTo>
                      <a:lnTo>
                        <a:pt x="333" y="377"/>
                      </a:lnTo>
                      <a:lnTo>
                        <a:pt x="333" y="376"/>
                      </a:lnTo>
                      <a:lnTo>
                        <a:pt x="333" y="374"/>
                      </a:lnTo>
                      <a:lnTo>
                        <a:pt x="333" y="376"/>
                      </a:lnTo>
                      <a:lnTo>
                        <a:pt x="334" y="374"/>
                      </a:lnTo>
                      <a:lnTo>
                        <a:pt x="333" y="374"/>
                      </a:lnTo>
                      <a:lnTo>
                        <a:pt x="334" y="374"/>
                      </a:lnTo>
                      <a:lnTo>
                        <a:pt x="334" y="372"/>
                      </a:lnTo>
                      <a:lnTo>
                        <a:pt x="336" y="372"/>
                      </a:lnTo>
                      <a:lnTo>
                        <a:pt x="338" y="371"/>
                      </a:lnTo>
                      <a:lnTo>
                        <a:pt x="336" y="371"/>
                      </a:lnTo>
                      <a:lnTo>
                        <a:pt x="336" y="369"/>
                      </a:lnTo>
                      <a:lnTo>
                        <a:pt x="338" y="369"/>
                      </a:lnTo>
                      <a:lnTo>
                        <a:pt x="336" y="369"/>
                      </a:lnTo>
                      <a:lnTo>
                        <a:pt x="336" y="368"/>
                      </a:lnTo>
                      <a:lnTo>
                        <a:pt x="336" y="366"/>
                      </a:lnTo>
                      <a:lnTo>
                        <a:pt x="336" y="364"/>
                      </a:lnTo>
                      <a:lnTo>
                        <a:pt x="338" y="364"/>
                      </a:lnTo>
                      <a:lnTo>
                        <a:pt x="338" y="363"/>
                      </a:lnTo>
                      <a:lnTo>
                        <a:pt x="338" y="361"/>
                      </a:lnTo>
                      <a:lnTo>
                        <a:pt x="336" y="361"/>
                      </a:lnTo>
                      <a:lnTo>
                        <a:pt x="336" y="359"/>
                      </a:lnTo>
                      <a:lnTo>
                        <a:pt x="334" y="359"/>
                      </a:lnTo>
                      <a:lnTo>
                        <a:pt x="334" y="358"/>
                      </a:lnTo>
                      <a:lnTo>
                        <a:pt x="333" y="356"/>
                      </a:lnTo>
                      <a:lnTo>
                        <a:pt x="331" y="356"/>
                      </a:lnTo>
                      <a:lnTo>
                        <a:pt x="333" y="356"/>
                      </a:lnTo>
                      <a:lnTo>
                        <a:pt x="333" y="354"/>
                      </a:lnTo>
                      <a:lnTo>
                        <a:pt x="331" y="353"/>
                      </a:lnTo>
                      <a:lnTo>
                        <a:pt x="333" y="353"/>
                      </a:lnTo>
                      <a:lnTo>
                        <a:pt x="331" y="353"/>
                      </a:lnTo>
                      <a:lnTo>
                        <a:pt x="331" y="351"/>
                      </a:lnTo>
                      <a:lnTo>
                        <a:pt x="333" y="351"/>
                      </a:lnTo>
                      <a:lnTo>
                        <a:pt x="333" y="350"/>
                      </a:lnTo>
                      <a:lnTo>
                        <a:pt x="333" y="348"/>
                      </a:lnTo>
                      <a:lnTo>
                        <a:pt x="333" y="346"/>
                      </a:lnTo>
                      <a:lnTo>
                        <a:pt x="331" y="345"/>
                      </a:lnTo>
                      <a:lnTo>
                        <a:pt x="331" y="343"/>
                      </a:lnTo>
                      <a:lnTo>
                        <a:pt x="333" y="343"/>
                      </a:lnTo>
                      <a:lnTo>
                        <a:pt x="331" y="343"/>
                      </a:lnTo>
                      <a:lnTo>
                        <a:pt x="331" y="341"/>
                      </a:lnTo>
                      <a:lnTo>
                        <a:pt x="333" y="341"/>
                      </a:lnTo>
                      <a:lnTo>
                        <a:pt x="331" y="340"/>
                      </a:lnTo>
                      <a:lnTo>
                        <a:pt x="333" y="340"/>
                      </a:lnTo>
                      <a:lnTo>
                        <a:pt x="333" y="341"/>
                      </a:lnTo>
                      <a:lnTo>
                        <a:pt x="333" y="340"/>
                      </a:lnTo>
                      <a:lnTo>
                        <a:pt x="333" y="338"/>
                      </a:lnTo>
                      <a:lnTo>
                        <a:pt x="334" y="336"/>
                      </a:lnTo>
                      <a:lnTo>
                        <a:pt x="336" y="336"/>
                      </a:lnTo>
                      <a:lnTo>
                        <a:pt x="336" y="338"/>
                      </a:lnTo>
                      <a:lnTo>
                        <a:pt x="336" y="336"/>
                      </a:lnTo>
                      <a:lnTo>
                        <a:pt x="334" y="336"/>
                      </a:lnTo>
                      <a:lnTo>
                        <a:pt x="334" y="335"/>
                      </a:lnTo>
                      <a:lnTo>
                        <a:pt x="333" y="335"/>
                      </a:lnTo>
                      <a:lnTo>
                        <a:pt x="333" y="333"/>
                      </a:lnTo>
                      <a:lnTo>
                        <a:pt x="331" y="333"/>
                      </a:lnTo>
                      <a:lnTo>
                        <a:pt x="333" y="333"/>
                      </a:lnTo>
                      <a:lnTo>
                        <a:pt x="333" y="331"/>
                      </a:lnTo>
                      <a:lnTo>
                        <a:pt x="334" y="333"/>
                      </a:lnTo>
                      <a:lnTo>
                        <a:pt x="334" y="331"/>
                      </a:lnTo>
                      <a:lnTo>
                        <a:pt x="333" y="331"/>
                      </a:lnTo>
                      <a:lnTo>
                        <a:pt x="334" y="330"/>
                      </a:lnTo>
                      <a:lnTo>
                        <a:pt x="333" y="330"/>
                      </a:lnTo>
                      <a:lnTo>
                        <a:pt x="331" y="330"/>
                      </a:lnTo>
                      <a:lnTo>
                        <a:pt x="329" y="330"/>
                      </a:lnTo>
                      <a:lnTo>
                        <a:pt x="329" y="328"/>
                      </a:lnTo>
                      <a:lnTo>
                        <a:pt x="331" y="328"/>
                      </a:lnTo>
                      <a:lnTo>
                        <a:pt x="331" y="327"/>
                      </a:lnTo>
                      <a:lnTo>
                        <a:pt x="331" y="325"/>
                      </a:lnTo>
                      <a:lnTo>
                        <a:pt x="331" y="323"/>
                      </a:lnTo>
                      <a:lnTo>
                        <a:pt x="331" y="322"/>
                      </a:lnTo>
                      <a:lnTo>
                        <a:pt x="329" y="322"/>
                      </a:lnTo>
                      <a:lnTo>
                        <a:pt x="329" y="320"/>
                      </a:lnTo>
                      <a:lnTo>
                        <a:pt x="329" y="318"/>
                      </a:lnTo>
                      <a:lnTo>
                        <a:pt x="328" y="318"/>
                      </a:lnTo>
                      <a:lnTo>
                        <a:pt x="328" y="317"/>
                      </a:lnTo>
                      <a:lnTo>
                        <a:pt x="328" y="315"/>
                      </a:lnTo>
                      <a:lnTo>
                        <a:pt x="328" y="313"/>
                      </a:lnTo>
                      <a:lnTo>
                        <a:pt x="326" y="313"/>
                      </a:lnTo>
                      <a:lnTo>
                        <a:pt x="326" y="312"/>
                      </a:lnTo>
                      <a:lnTo>
                        <a:pt x="324" y="312"/>
                      </a:lnTo>
                      <a:lnTo>
                        <a:pt x="323" y="312"/>
                      </a:lnTo>
                      <a:lnTo>
                        <a:pt x="324" y="310"/>
                      </a:lnTo>
                      <a:lnTo>
                        <a:pt x="323" y="312"/>
                      </a:lnTo>
                      <a:lnTo>
                        <a:pt x="323" y="310"/>
                      </a:lnTo>
                      <a:lnTo>
                        <a:pt x="321" y="310"/>
                      </a:lnTo>
                      <a:lnTo>
                        <a:pt x="321" y="308"/>
                      </a:lnTo>
                      <a:lnTo>
                        <a:pt x="321" y="307"/>
                      </a:lnTo>
                      <a:lnTo>
                        <a:pt x="319" y="305"/>
                      </a:lnTo>
                      <a:lnTo>
                        <a:pt x="319" y="307"/>
                      </a:lnTo>
                      <a:lnTo>
                        <a:pt x="317" y="307"/>
                      </a:lnTo>
                      <a:lnTo>
                        <a:pt x="316" y="307"/>
                      </a:lnTo>
                      <a:lnTo>
                        <a:pt x="314" y="305"/>
                      </a:lnTo>
                      <a:lnTo>
                        <a:pt x="312" y="304"/>
                      </a:lnTo>
                      <a:lnTo>
                        <a:pt x="311" y="304"/>
                      </a:lnTo>
                      <a:lnTo>
                        <a:pt x="309" y="304"/>
                      </a:lnTo>
                      <a:lnTo>
                        <a:pt x="307" y="304"/>
                      </a:lnTo>
                      <a:lnTo>
                        <a:pt x="307" y="302"/>
                      </a:lnTo>
                      <a:lnTo>
                        <a:pt x="306" y="302"/>
                      </a:lnTo>
                      <a:lnTo>
                        <a:pt x="304" y="302"/>
                      </a:lnTo>
                      <a:lnTo>
                        <a:pt x="304" y="300"/>
                      </a:lnTo>
                      <a:lnTo>
                        <a:pt x="304" y="299"/>
                      </a:lnTo>
                      <a:lnTo>
                        <a:pt x="304" y="297"/>
                      </a:lnTo>
                      <a:lnTo>
                        <a:pt x="304" y="295"/>
                      </a:lnTo>
                      <a:lnTo>
                        <a:pt x="302" y="295"/>
                      </a:lnTo>
                      <a:lnTo>
                        <a:pt x="301" y="295"/>
                      </a:lnTo>
                      <a:lnTo>
                        <a:pt x="299" y="295"/>
                      </a:lnTo>
                      <a:lnTo>
                        <a:pt x="299" y="294"/>
                      </a:lnTo>
                      <a:lnTo>
                        <a:pt x="297" y="294"/>
                      </a:lnTo>
                      <a:lnTo>
                        <a:pt x="297" y="292"/>
                      </a:lnTo>
                      <a:lnTo>
                        <a:pt x="299" y="292"/>
                      </a:lnTo>
                      <a:lnTo>
                        <a:pt x="299" y="290"/>
                      </a:lnTo>
                      <a:lnTo>
                        <a:pt x="299" y="289"/>
                      </a:lnTo>
                      <a:lnTo>
                        <a:pt x="297" y="287"/>
                      </a:lnTo>
                      <a:lnTo>
                        <a:pt x="296" y="287"/>
                      </a:lnTo>
                      <a:lnTo>
                        <a:pt x="296" y="289"/>
                      </a:lnTo>
                      <a:lnTo>
                        <a:pt x="296" y="290"/>
                      </a:lnTo>
                      <a:lnTo>
                        <a:pt x="294" y="290"/>
                      </a:lnTo>
                      <a:lnTo>
                        <a:pt x="294" y="289"/>
                      </a:lnTo>
                      <a:lnTo>
                        <a:pt x="292" y="289"/>
                      </a:lnTo>
                      <a:lnTo>
                        <a:pt x="290" y="287"/>
                      </a:lnTo>
                      <a:lnTo>
                        <a:pt x="290" y="289"/>
                      </a:lnTo>
                      <a:lnTo>
                        <a:pt x="289" y="290"/>
                      </a:lnTo>
                      <a:lnTo>
                        <a:pt x="287" y="290"/>
                      </a:lnTo>
                      <a:lnTo>
                        <a:pt x="287" y="289"/>
                      </a:lnTo>
                      <a:lnTo>
                        <a:pt x="285" y="290"/>
                      </a:lnTo>
                      <a:lnTo>
                        <a:pt x="284" y="290"/>
                      </a:lnTo>
                      <a:lnTo>
                        <a:pt x="284" y="292"/>
                      </a:lnTo>
                      <a:lnTo>
                        <a:pt x="282" y="290"/>
                      </a:lnTo>
                      <a:lnTo>
                        <a:pt x="280" y="290"/>
                      </a:lnTo>
                      <a:lnTo>
                        <a:pt x="280" y="292"/>
                      </a:lnTo>
                      <a:lnTo>
                        <a:pt x="279" y="292"/>
                      </a:lnTo>
                      <a:lnTo>
                        <a:pt x="277" y="292"/>
                      </a:lnTo>
                      <a:lnTo>
                        <a:pt x="275" y="292"/>
                      </a:lnTo>
                      <a:lnTo>
                        <a:pt x="274" y="292"/>
                      </a:lnTo>
                      <a:lnTo>
                        <a:pt x="272" y="292"/>
                      </a:lnTo>
                      <a:lnTo>
                        <a:pt x="272" y="290"/>
                      </a:lnTo>
                      <a:lnTo>
                        <a:pt x="270" y="290"/>
                      </a:lnTo>
                      <a:lnTo>
                        <a:pt x="269" y="290"/>
                      </a:lnTo>
                      <a:lnTo>
                        <a:pt x="267" y="290"/>
                      </a:lnTo>
                      <a:lnTo>
                        <a:pt x="267" y="292"/>
                      </a:lnTo>
                      <a:lnTo>
                        <a:pt x="265" y="292"/>
                      </a:lnTo>
                      <a:lnTo>
                        <a:pt x="263" y="292"/>
                      </a:lnTo>
                      <a:lnTo>
                        <a:pt x="263" y="290"/>
                      </a:lnTo>
                      <a:lnTo>
                        <a:pt x="262" y="290"/>
                      </a:lnTo>
                      <a:lnTo>
                        <a:pt x="262" y="289"/>
                      </a:lnTo>
                      <a:lnTo>
                        <a:pt x="260" y="289"/>
                      </a:lnTo>
                      <a:lnTo>
                        <a:pt x="258" y="289"/>
                      </a:lnTo>
                      <a:lnTo>
                        <a:pt x="257" y="289"/>
                      </a:lnTo>
                      <a:lnTo>
                        <a:pt x="255" y="289"/>
                      </a:lnTo>
                      <a:lnTo>
                        <a:pt x="255" y="290"/>
                      </a:lnTo>
                      <a:lnTo>
                        <a:pt x="255" y="292"/>
                      </a:lnTo>
                      <a:lnTo>
                        <a:pt x="253" y="292"/>
                      </a:lnTo>
                      <a:lnTo>
                        <a:pt x="252" y="292"/>
                      </a:lnTo>
                      <a:lnTo>
                        <a:pt x="250" y="290"/>
                      </a:lnTo>
                      <a:lnTo>
                        <a:pt x="248" y="290"/>
                      </a:lnTo>
                      <a:lnTo>
                        <a:pt x="248" y="292"/>
                      </a:lnTo>
                      <a:lnTo>
                        <a:pt x="247" y="292"/>
                      </a:lnTo>
                      <a:lnTo>
                        <a:pt x="247" y="290"/>
                      </a:lnTo>
                      <a:lnTo>
                        <a:pt x="245" y="290"/>
                      </a:lnTo>
                      <a:lnTo>
                        <a:pt x="245" y="289"/>
                      </a:lnTo>
                      <a:lnTo>
                        <a:pt x="243" y="289"/>
                      </a:lnTo>
                      <a:lnTo>
                        <a:pt x="241" y="287"/>
                      </a:lnTo>
                      <a:lnTo>
                        <a:pt x="240" y="287"/>
                      </a:lnTo>
                      <a:lnTo>
                        <a:pt x="240" y="289"/>
                      </a:lnTo>
                      <a:lnTo>
                        <a:pt x="238" y="290"/>
                      </a:lnTo>
                      <a:lnTo>
                        <a:pt x="236" y="290"/>
                      </a:lnTo>
                      <a:lnTo>
                        <a:pt x="236" y="289"/>
                      </a:lnTo>
                      <a:lnTo>
                        <a:pt x="235" y="289"/>
                      </a:lnTo>
                      <a:lnTo>
                        <a:pt x="235" y="287"/>
                      </a:lnTo>
                      <a:lnTo>
                        <a:pt x="233" y="287"/>
                      </a:lnTo>
                      <a:lnTo>
                        <a:pt x="231" y="287"/>
                      </a:lnTo>
                      <a:lnTo>
                        <a:pt x="230" y="289"/>
                      </a:lnTo>
                      <a:lnTo>
                        <a:pt x="228" y="292"/>
                      </a:lnTo>
                      <a:lnTo>
                        <a:pt x="226" y="294"/>
                      </a:lnTo>
                      <a:lnTo>
                        <a:pt x="225" y="294"/>
                      </a:lnTo>
                      <a:lnTo>
                        <a:pt x="225" y="292"/>
                      </a:lnTo>
                      <a:lnTo>
                        <a:pt x="223" y="292"/>
                      </a:lnTo>
                      <a:lnTo>
                        <a:pt x="221" y="292"/>
                      </a:lnTo>
                      <a:lnTo>
                        <a:pt x="220" y="292"/>
                      </a:lnTo>
                      <a:lnTo>
                        <a:pt x="220" y="290"/>
                      </a:lnTo>
                      <a:lnTo>
                        <a:pt x="220" y="289"/>
                      </a:lnTo>
                      <a:lnTo>
                        <a:pt x="220" y="287"/>
                      </a:lnTo>
                      <a:lnTo>
                        <a:pt x="220" y="285"/>
                      </a:lnTo>
                      <a:lnTo>
                        <a:pt x="218" y="285"/>
                      </a:lnTo>
                      <a:lnTo>
                        <a:pt x="218" y="284"/>
                      </a:lnTo>
                      <a:lnTo>
                        <a:pt x="216" y="284"/>
                      </a:lnTo>
                      <a:lnTo>
                        <a:pt x="216" y="282"/>
                      </a:lnTo>
                      <a:lnTo>
                        <a:pt x="216" y="281"/>
                      </a:lnTo>
                      <a:lnTo>
                        <a:pt x="214" y="281"/>
                      </a:lnTo>
                      <a:lnTo>
                        <a:pt x="213" y="279"/>
                      </a:lnTo>
                      <a:lnTo>
                        <a:pt x="211" y="277"/>
                      </a:lnTo>
                      <a:lnTo>
                        <a:pt x="209" y="277"/>
                      </a:lnTo>
                      <a:lnTo>
                        <a:pt x="208" y="277"/>
                      </a:lnTo>
                      <a:lnTo>
                        <a:pt x="206" y="279"/>
                      </a:lnTo>
                      <a:lnTo>
                        <a:pt x="204" y="277"/>
                      </a:lnTo>
                      <a:lnTo>
                        <a:pt x="203" y="277"/>
                      </a:lnTo>
                      <a:lnTo>
                        <a:pt x="201" y="277"/>
                      </a:lnTo>
                      <a:lnTo>
                        <a:pt x="199" y="277"/>
                      </a:lnTo>
                      <a:lnTo>
                        <a:pt x="196" y="276"/>
                      </a:lnTo>
                      <a:lnTo>
                        <a:pt x="194" y="276"/>
                      </a:lnTo>
                      <a:lnTo>
                        <a:pt x="193" y="276"/>
                      </a:lnTo>
                      <a:lnTo>
                        <a:pt x="191" y="276"/>
                      </a:lnTo>
                      <a:lnTo>
                        <a:pt x="189" y="274"/>
                      </a:lnTo>
                      <a:lnTo>
                        <a:pt x="187" y="274"/>
                      </a:lnTo>
                      <a:lnTo>
                        <a:pt x="186" y="274"/>
                      </a:lnTo>
                      <a:lnTo>
                        <a:pt x="184" y="274"/>
                      </a:lnTo>
                      <a:lnTo>
                        <a:pt x="184" y="272"/>
                      </a:lnTo>
                      <a:lnTo>
                        <a:pt x="182" y="272"/>
                      </a:lnTo>
                      <a:lnTo>
                        <a:pt x="181" y="272"/>
                      </a:lnTo>
                      <a:lnTo>
                        <a:pt x="179" y="271"/>
                      </a:lnTo>
                      <a:lnTo>
                        <a:pt x="177" y="269"/>
                      </a:lnTo>
                      <a:lnTo>
                        <a:pt x="177" y="267"/>
                      </a:lnTo>
                      <a:lnTo>
                        <a:pt x="176" y="267"/>
                      </a:lnTo>
                      <a:lnTo>
                        <a:pt x="176" y="266"/>
                      </a:lnTo>
                      <a:lnTo>
                        <a:pt x="174" y="266"/>
                      </a:lnTo>
                      <a:lnTo>
                        <a:pt x="172" y="266"/>
                      </a:lnTo>
                      <a:lnTo>
                        <a:pt x="171" y="267"/>
                      </a:lnTo>
                      <a:lnTo>
                        <a:pt x="169" y="266"/>
                      </a:lnTo>
                      <a:lnTo>
                        <a:pt x="167" y="266"/>
                      </a:lnTo>
                      <a:lnTo>
                        <a:pt x="165" y="266"/>
                      </a:lnTo>
                      <a:lnTo>
                        <a:pt x="164" y="266"/>
                      </a:lnTo>
                      <a:lnTo>
                        <a:pt x="162" y="266"/>
                      </a:lnTo>
                      <a:lnTo>
                        <a:pt x="160" y="266"/>
                      </a:lnTo>
                      <a:lnTo>
                        <a:pt x="160" y="264"/>
                      </a:lnTo>
                      <a:lnTo>
                        <a:pt x="159" y="264"/>
                      </a:lnTo>
                      <a:lnTo>
                        <a:pt x="157" y="266"/>
                      </a:lnTo>
                      <a:lnTo>
                        <a:pt x="155" y="267"/>
                      </a:lnTo>
                      <a:lnTo>
                        <a:pt x="154" y="267"/>
                      </a:lnTo>
                      <a:lnTo>
                        <a:pt x="152" y="269"/>
                      </a:lnTo>
                      <a:lnTo>
                        <a:pt x="152" y="267"/>
                      </a:lnTo>
                      <a:lnTo>
                        <a:pt x="150" y="267"/>
                      </a:lnTo>
                      <a:lnTo>
                        <a:pt x="149" y="267"/>
                      </a:lnTo>
                      <a:lnTo>
                        <a:pt x="149" y="269"/>
                      </a:lnTo>
                      <a:lnTo>
                        <a:pt x="147" y="269"/>
                      </a:lnTo>
                      <a:lnTo>
                        <a:pt x="145" y="267"/>
                      </a:lnTo>
                      <a:lnTo>
                        <a:pt x="144" y="267"/>
                      </a:lnTo>
                      <a:lnTo>
                        <a:pt x="142" y="266"/>
                      </a:lnTo>
                      <a:lnTo>
                        <a:pt x="140" y="266"/>
                      </a:lnTo>
                      <a:lnTo>
                        <a:pt x="138" y="266"/>
                      </a:lnTo>
                      <a:lnTo>
                        <a:pt x="137" y="266"/>
                      </a:lnTo>
                      <a:lnTo>
                        <a:pt x="135" y="266"/>
                      </a:lnTo>
                      <a:lnTo>
                        <a:pt x="133" y="266"/>
                      </a:lnTo>
                      <a:lnTo>
                        <a:pt x="132" y="266"/>
                      </a:lnTo>
                      <a:lnTo>
                        <a:pt x="132" y="264"/>
                      </a:lnTo>
                      <a:lnTo>
                        <a:pt x="130" y="262"/>
                      </a:lnTo>
                      <a:lnTo>
                        <a:pt x="128" y="261"/>
                      </a:lnTo>
                      <a:lnTo>
                        <a:pt x="127" y="261"/>
                      </a:lnTo>
                      <a:lnTo>
                        <a:pt x="125" y="261"/>
                      </a:lnTo>
                      <a:lnTo>
                        <a:pt x="123" y="262"/>
                      </a:lnTo>
                      <a:lnTo>
                        <a:pt x="122" y="262"/>
                      </a:lnTo>
                      <a:lnTo>
                        <a:pt x="120" y="262"/>
                      </a:lnTo>
                      <a:lnTo>
                        <a:pt x="118" y="262"/>
                      </a:lnTo>
                      <a:lnTo>
                        <a:pt x="117" y="262"/>
                      </a:lnTo>
                      <a:lnTo>
                        <a:pt x="117" y="261"/>
                      </a:lnTo>
                      <a:lnTo>
                        <a:pt x="115" y="259"/>
                      </a:lnTo>
                      <a:lnTo>
                        <a:pt x="113" y="259"/>
                      </a:lnTo>
                      <a:lnTo>
                        <a:pt x="113" y="258"/>
                      </a:lnTo>
                      <a:lnTo>
                        <a:pt x="111" y="258"/>
                      </a:lnTo>
                      <a:lnTo>
                        <a:pt x="110" y="256"/>
                      </a:lnTo>
                      <a:lnTo>
                        <a:pt x="106" y="256"/>
                      </a:lnTo>
                      <a:lnTo>
                        <a:pt x="106" y="254"/>
                      </a:lnTo>
                      <a:lnTo>
                        <a:pt x="105" y="254"/>
                      </a:lnTo>
                      <a:lnTo>
                        <a:pt x="103" y="254"/>
                      </a:lnTo>
                      <a:lnTo>
                        <a:pt x="101" y="254"/>
                      </a:lnTo>
                      <a:lnTo>
                        <a:pt x="100" y="254"/>
                      </a:lnTo>
                      <a:lnTo>
                        <a:pt x="98" y="253"/>
                      </a:lnTo>
                      <a:lnTo>
                        <a:pt x="96" y="253"/>
                      </a:lnTo>
                      <a:lnTo>
                        <a:pt x="95" y="253"/>
                      </a:lnTo>
                      <a:lnTo>
                        <a:pt x="93" y="253"/>
                      </a:lnTo>
                      <a:lnTo>
                        <a:pt x="93" y="254"/>
                      </a:lnTo>
                      <a:lnTo>
                        <a:pt x="91" y="254"/>
                      </a:lnTo>
                      <a:lnTo>
                        <a:pt x="91" y="258"/>
                      </a:lnTo>
                      <a:lnTo>
                        <a:pt x="91" y="259"/>
                      </a:lnTo>
                      <a:lnTo>
                        <a:pt x="89" y="259"/>
                      </a:lnTo>
                      <a:lnTo>
                        <a:pt x="89" y="261"/>
                      </a:lnTo>
                      <a:lnTo>
                        <a:pt x="91" y="262"/>
                      </a:lnTo>
                      <a:lnTo>
                        <a:pt x="91" y="264"/>
                      </a:lnTo>
                      <a:lnTo>
                        <a:pt x="89" y="264"/>
                      </a:lnTo>
                      <a:lnTo>
                        <a:pt x="88" y="264"/>
                      </a:lnTo>
                      <a:lnTo>
                        <a:pt x="88" y="266"/>
                      </a:lnTo>
                      <a:lnTo>
                        <a:pt x="86" y="266"/>
                      </a:lnTo>
                      <a:lnTo>
                        <a:pt x="84" y="267"/>
                      </a:lnTo>
                      <a:lnTo>
                        <a:pt x="84" y="266"/>
                      </a:lnTo>
                      <a:lnTo>
                        <a:pt x="84" y="264"/>
                      </a:lnTo>
                      <a:lnTo>
                        <a:pt x="84" y="262"/>
                      </a:lnTo>
                      <a:lnTo>
                        <a:pt x="83" y="262"/>
                      </a:lnTo>
                      <a:lnTo>
                        <a:pt x="83" y="261"/>
                      </a:lnTo>
                      <a:lnTo>
                        <a:pt x="81" y="261"/>
                      </a:lnTo>
                      <a:lnTo>
                        <a:pt x="79" y="262"/>
                      </a:lnTo>
                      <a:lnTo>
                        <a:pt x="78" y="262"/>
                      </a:lnTo>
                      <a:lnTo>
                        <a:pt x="76" y="262"/>
                      </a:lnTo>
                      <a:lnTo>
                        <a:pt x="74" y="262"/>
                      </a:lnTo>
                      <a:lnTo>
                        <a:pt x="73" y="262"/>
                      </a:lnTo>
                      <a:lnTo>
                        <a:pt x="71" y="262"/>
                      </a:lnTo>
                      <a:lnTo>
                        <a:pt x="69" y="262"/>
                      </a:lnTo>
                      <a:lnTo>
                        <a:pt x="68" y="261"/>
                      </a:lnTo>
                      <a:lnTo>
                        <a:pt x="66" y="261"/>
                      </a:lnTo>
                      <a:lnTo>
                        <a:pt x="64" y="261"/>
                      </a:lnTo>
                      <a:lnTo>
                        <a:pt x="62" y="261"/>
                      </a:lnTo>
                      <a:lnTo>
                        <a:pt x="61" y="261"/>
                      </a:lnTo>
                      <a:lnTo>
                        <a:pt x="59" y="262"/>
                      </a:lnTo>
                      <a:lnTo>
                        <a:pt x="57" y="262"/>
                      </a:lnTo>
                      <a:lnTo>
                        <a:pt x="56" y="261"/>
                      </a:lnTo>
                      <a:lnTo>
                        <a:pt x="54" y="261"/>
                      </a:lnTo>
                      <a:lnTo>
                        <a:pt x="52" y="259"/>
                      </a:lnTo>
                      <a:lnTo>
                        <a:pt x="51" y="258"/>
                      </a:lnTo>
                      <a:lnTo>
                        <a:pt x="51" y="256"/>
                      </a:lnTo>
                      <a:lnTo>
                        <a:pt x="49" y="256"/>
                      </a:lnTo>
                      <a:lnTo>
                        <a:pt x="49" y="258"/>
                      </a:lnTo>
                      <a:lnTo>
                        <a:pt x="47" y="258"/>
                      </a:lnTo>
                      <a:lnTo>
                        <a:pt x="46" y="259"/>
                      </a:lnTo>
                      <a:lnTo>
                        <a:pt x="44" y="259"/>
                      </a:lnTo>
                      <a:lnTo>
                        <a:pt x="42" y="261"/>
                      </a:lnTo>
                      <a:lnTo>
                        <a:pt x="41" y="262"/>
                      </a:lnTo>
                      <a:lnTo>
                        <a:pt x="39" y="262"/>
                      </a:lnTo>
                      <a:lnTo>
                        <a:pt x="37" y="262"/>
                      </a:lnTo>
                      <a:lnTo>
                        <a:pt x="35" y="262"/>
                      </a:lnTo>
                      <a:lnTo>
                        <a:pt x="34" y="261"/>
                      </a:lnTo>
                      <a:lnTo>
                        <a:pt x="32" y="261"/>
                      </a:lnTo>
                      <a:lnTo>
                        <a:pt x="30" y="259"/>
                      </a:lnTo>
                      <a:lnTo>
                        <a:pt x="29" y="259"/>
                      </a:lnTo>
                      <a:lnTo>
                        <a:pt x="27" y="259"/>
                      </a:lnTo>
                      <a:lnTo>
                        <a:pt x="25" y="261"/>
                      </a:lnTo>
                      <a:lnTo>
                        <a:pt x="24" y="261"/>
                      </a:lnTo>
                      <a:lnTo>
                        <a:pt x="22" y="258"/>
                      </a:lnTo>
                      <a:lnTo>
                        <a:pt x="20" y="258"/>
                      </a:lnTo>
                      <a:lnTo>
                        <a:pt x="19" y="256"/>
                      </a:lnTo>
                      <a:lnTo>
                        <a:pt x="17" y="256"/>
                      </a:lnTo>
                      <a:lnTo>
                        <a:pt x="13" y="258"/>
                      </a:lnTo>
                      <a:lnTo>
                        <a:pt x="12" y="258"/>
                      </a:lnTo>
                      <a:lnTo>
                        <a:pt x="10" y="259"/>
                      </a:lnTo>
                      <a:lnTo>
                        <a:pt x="8" y="259"/>
                      </a:lnTo>
                      <a:lnTo>
                        <a:pt x="8" y="261"/>
                      </a:lnTo>
                      <a:lnTo>
                        <a:pt x="7" y="261"/>
                      </a:lnTo>
                      <a:lnTo>
                        <a:pt x="7" y="262"/>
                      </a:lnTo>
                      <a:lnTo>
                        <a:pt x="5" y="262"/>
                      </a:lnTo>
                      <a:lnTo>
                        <a:pt x="5" y="264"/>
                      </a:lnTo>
                      <a:lnTo>
                        <a:pt x="3" y="264"/>
                      </a:lnTo>
                      <a:lnTo>
                        <a:pt x="2" y="266"/>
                      </a:lnTo>
                      <a:lnTo>
                        <a:pt x="2" y="264"/>
                      </a:lnTo>
                      <a:lnTo>
                        <a:pt x="2" y="262"/>
                      </a:lnTo>
                      <a:lnTo>
                        <a:pt x="0" y="262"/>
                      </a:lnTo>
                      <a:lnTo>
                        <a:pt x="0" y="261"/>
                      </a:lnTo>
                      <a:lnTo>
                        <a:pt x="0" y="259"/>
                      </a:lnTo>
                      <a:lnTo>
                        <a:pt x="2" y="258"/>
                      </a:lnTo>
                      <a:lnTo>
                        <a:pt x="2" y="256"/>
                      </a:lnTo>
                      <a:lnTo>
                        <a:pt x="3" y="256"/>
                      </a:lnTo>
                      <a:lnTo>
                        <a:pt x="5" y="254"/>
                      </a:lnTo>
                      <a:lnTo>
                        <a:pt x="7" y="253"/>
                      </a:lnTo>
                      <a:lnTo>
                        <a:pt x="8" y="253"/>
                      </a:lnTo>
                      <a:lnTo>
                        <a:pt x="10" y="253"/>
                      </a:lnTo>
                      <a:lnTo>
                        <a:pt x="10" y="249"/>
                      </a:lnTo>
                      <a:lnTo>
                        <a:pt x="12" y="249"/>
                      </a:lnTo>
                      <a:lnTo>
                        <a:pt x="15" y="248"/>
                      </a:lnTo>
                      <a:lnTo>
                        <a:pt x="19" y="248"/>
                      </a:lnTo>
                      <a:lnTo>
                        <a:pt x="20" y="248"/>
                      </a:lnTo>
                      <a:lnTo>
                        <a:pt x="22" y="246"/>
                      </a:lnTo>
                      <a:lnTo>
                        <a:pt x="24" y="246"/>
                      </a:lnTo>
                      <a:lnTo>
                        <a:pt x="25" y="244"/>
                      </a:lnTo>
                      <a:lnTo>
                        <a:pt x="25" y="243"/>
                      </a:lnTo>
                      <a:lnTo>
                        <a:pt x="27" y="243"/>
                      </a:lnTo>
                      <a:lnTo>
                        <a:pt x="27" y="241"/>
                      </a:lnTo>
                      <a:lnTo>
                        <a:pt x="29" y="241"/>
                      </a:lnTo>
                      <a:lnTo>
                        <a:pt x="29" y="239"/>
                      </a:lnTo>
                      <a:lnTo>
                        <a:pt x="30" y="239"/>
                      </a:lnTo>
                      <a:lnTo>
                        <a:pt x="32" y="238"/>
                      </a:lnTo>
                      <a:lnTo>
                        <a:pt x="34" y="238"/>
                      </a:lnTo>
                      <a:lnTo>
                        <a:pt x="35" y="236"/>
                      </a:lnTo>
                      <a:lnTo>
                        <a:pt x="37" y="235"/>
                      </a:lnTo>
                      <a:lnTo>
                        <a:pt x="39" y="235"/>
                      </a:lnTo>
                      <a:lnTo>
                        <a:pt x="41" y="233"/>
                      </a:lnTo>
                      <a:lnTo>
                        <a:pt x="42" y="233"/>
                      </a:lnTo>
                      <a:lnTo>
                        <a:pt x="44" y="233"/>
                      </a:lnTo>
                      <a:lnTo>
                        <a:pt x="44" y="231"/>
                      </a:lnTo>
                      <a:lnTo>
                        <a:pt x="46" y="231"/>
                      </a:lnTo>
                      <a:lnTo>
                        <a:pt x="46" y="230"/>
                      </a:lnTo>
                      <a:lnTo>
                        <a:pt x="47" y="230"/>
                      </a:lnTo>
                      <a:lnTo>
                        <a:pt x="49" y="230"/>
                      </a:lnTo>
                      <a:lnTo>
                        <a:pt x="51" y="228"/>
                      </a:lnTo>
                      <a:lnTo>
                        <a:pt x="54" y="226"/>
                      </a:lnTo>
                      <a:lnTo>
                        <a:pt x="56" y="226"/>
                      </a:lnTo>
                      <a:lnTo>
                        <a:pt x="57" y="225"/>
                      </a:lnTo>
                      <a:lnTo>
                        <a:pt x="59" y="225"/>
                      </a:lnTo>
                      <a:lnTo>
                        <a:pt x="61" y="223"/>
                      </a:lnTo>
                      <a:lnTo>
                        <a:pt x="62" y="221"/>
                      </a:lnTo>
                      <a:lnTo>
                        <a:pt x="64" y="221"/>
                      </a:lnTo>
                      <a:lnTo>
                        <a:pt x="64" y="220"/>
                      </a:lnTo>
                      <a:lnTo>
                        <a:pt x="66" y="218"/>
                      </a:lnTo>
                      <a:lnTo>
                        <a:pt x="68" y="218"/>
                      </a:lnTo>
                      <a:lnTo>
                        <a:pt x="68" y="216"/>
                      </a:lnTo>
                      <a:lnTo>
                        <a:pt x="68" y="215"/>
                      </a:lnTo>
                      <a:lnTo>
                        <a:pt x="69" y="215"/>
                      </a:lnTo>
                      <a:lnTo>
                        <a:pt x="71" y="213"/>
                      </a:lnTo>
                      <a:lnTo>
                        <a:pt x="73" y="212"/>
                      </a:lnTo>
                      <a:lnTo>
                        <a:pt x="73" y="210"/>
                      </a:lnTo>
                      <a:lnTo>
                        <a:pt x="73" y="208"/>
                      </a:lnTo>
                      <a:lnTo>
                        <a:pt x="74" y="207"/>
                      </a:lnTo>
                      <a:lnTo>
                        <a:pt x="74" y="205"/>
                      </a:lnTo>
                      <a:lnTo>
                        <a:pt x="74" y="203"/>
                      </a:lnTo>
                      <a:lnTo>
                        <a:pt x="76" y="202"/>
                      </a:lnTo>
                      <a:lnTo>
                        <a:pt x="76" y="200"/>
                      </a:lnTo>
                      <a:lnTo>
                        <a:pt x="78" y="198"/>
                      </a:lnTo>
                      <a:lnTo>
                        <a:pt x="79" y="197"/>
                      </a:lnTo>
                      <a:lnTo>
                        <a:pt x="81" y="197"/>
                      </a:lnTo>
                      <a:lnTo>
                        <a:pt x="81" y="195"/>
                      </a:lnTo>
                      <a:lnTo>
                        <a:pt x="83" y="195"/>
                      </a:lnTo>
                      <a:lnTo>
                        <a:pt x="83" y="193"/>
                      </a:lnTo>
                      <a:lnTo>
                        <a:pt x="84" y="193"/>
                      </a:lnTo>
                      <a:lnTo>
                        <a:pt x="86" y="192"/>
                      </a:lnTo>
                      <a:lnTo>
                        <a:pt x="88" y="190"/>
                      </a:lnTo>
                      <a:lnTo>
                        <a:pt x="88" y="189"/>
                      </a:lnTo>
                      <a:lnTo>
                        <a:pt x="88" y="187"/>
                      </a:lnTo>
                      <a:lnTo>
                        <a:pt x="89" y="185"/>
                      </a:lnTo>
                      <a:lnTo>
                        <a:pt x="89" y="184"/>
                      </a:lnTo>
                      <a:lnTo>
                        <a:pt x="91" y="182"/>
                      </a:lnTo>
                      <a:lnTo>
                        <a:pt x="93" y="182"/>
                      </a:lnTo>
                      <a:lnTo>
                        <a:pt x="95" y="182"/>
                      </a:lnTo>
                      <a:lnTo>
                        <a:pt x="96" y="180"/>
                      </a:lnTo>
                      <a:lnTo>
                        <a:pt x="98" y="179"/>
                      </a:lnTo>
                      <a:lnTo>
                        <a:pt x="100" y="177"/>
                      </a:lnTo>
                      <a:lnTo>
                        <a:pt x="100" y="175"/>
                      </a:lnTo>
                      <a:lnTo>
                        <a:pt x="101" y="174"/>
                      </a:lnTo>
                      <a:lnTo>
                        <a:pt x="101" y="172"/>
                      </a:lnTo>
                      <a:lnTo>
                        <a:pt x="101" y="170"/>
                      </a:lnTo>
                      <a:lnTo>
                        <a:pt x="100" y="170"/>
                      </a:lnTo>
                      <a:lnTo>
                        <a:pt x="100" y="169"/>
                      </a:lnTo>
                      <a:lnTo>
                        <a:pt x="100" y="167"/>
                      </a:lnTo>
                      <a:lnTo>
                        <a:pt x="98" y="167"/>
                      </a:lnTo>
                      <a:lnTo>
                        <a:pt x="98" y="166"/>
                      </a:lnTo>
                      <a:lnTo>
                        <a:pt x="96" y="166"/>
                      </a:lnTo>
                      <a:lnTo>
                        <a:pt x="96" y="164"/>
                      </a:lnTo>
                      <a:lnTo>
                        <a:pt x="96" y="162"/>
                      </a:lnTo>
                      <a:lnTo>
                        <a:pt x="98" y="161"/>
                      </a:lnTo>
                      <a:lnTo>
                        <a:pt x="98" y="159"/>
                      </a:lnTo>
                      <a:lnTo>
                        <a:pt x="100" y="159"/>
                      </a:lnTo>
                      <a:lnTo>
                        <a:pt x="101" y="159"/>
                      </a:lnTo>
                      <a:lnTo>
                        <a:pt x="105" y="159"/>
                      </a:lnTo>
                      <a:lnTo>
                        <a:pt x="106" y="161"/>
                      </a:lnTo>
                      <a:lnTo>
                        <a:pt x="106" y="159"/>
                      </a:lnTo>
                      <a:lnTo>
                        <a:pt x="108" y="159"/>
                      </a:lnTo>
                      <a:lnTo>
                        <a:pt x="110" y="157"/>
                      </a:lnTo>
                      <a:lnTo>
                        <a:pt x="110" y="156"/>
                      </a:lnTo>
                      <a:lnTo>
                        <a:pt x="111" y="156"/>
                      </a:lnTo>
                      <a:lnTo>
                        <a:pt x="111" y="154"/>
                      </a:lnTo>
                      <a:lnTo>
                        <a:pt x="113" y="154"/>
                      </a:lnTo>
                      <a:lnTo>
                        <a:pt x="113" y="152"/>
                      </a:lnTo>
                      <a:lnTo>
                        <a:pt x="113" y="151"/>
                      </a:lnTo>
                      <a:lnTo>
                        <a:pt x="113" y="149"/>
                      </a:lnTo>
                      <a:lnTo>
                        <a:pt x="115" y="148"/>
                      </a:lnTo>
                      <a:lnTo>
                        <a:pt x="117" y="146"/>
                      </a:lnTo>
                      <a:lnTo>
                        <a:pt x="118" y="144"/>
                      </a:lnTo>
                      <a:lnTo>
                        <a:pt x="118" y="143"/>
                      </a:lnTo>
                      <a:lnTo>
                        <a:pt x="118" y="141"/>
                      </a:lnTo>
                      <a:lnTo>
                        <a:pt x="120" y="139"/>
                      </a:lnTo>
                      <a:lnTo>
                        <a:pt x="120" y="138"/>
                      </a:lnTo>
                      <a:lnTo>
                        <a:pt x="120" y="136"/>
                      </a:lnTo>
                      <a:lnTo>
                        <a:pt x="118" y="134"/>
                      </a:lnTo>
                      <a:lnTo>
                        <a:pt x="118" y="133"/>
                      </a:lnTo>
                      <a:lnTo>
                        <a:pt x="118" y="131"/>
                      </a:lnTo>
                      <a:lnTo>
                        <a:pt x="117" y="131"/>
                      </a:lnTo>
                      <a:lnTo>
                        <a:pt x="117" y="129"/>
                      </a:lnTo>
                      <a:lnTo>
                        <a:pt x="118" y="129"/>
                      </a:lnTo>
                      <a:lnTo>
                        <a:pt x="117" y="126"/>
                      </a:lnTo>
                      <a:lnTo>
                        <a:pt x="117" y="125"/>
                      </a:lnTo>
                      <a:lnTo>
                        <a:pt x="118" y="125"/>
                      </a:lnTo>
                      <a:lnTo>
                        <a:pt x="120" y="125"/>
                      </a:lnTo>
                      <a:lnTo>
                        <a:pt x="122" y="125"/>
                      </a:lnTo>
                      <a:lnTo>
                        <a:pt x="123" y="125"/>
                      </a:lnTo>
                      <a:lnTo>
                        <a:pt x="123" y="123"/>
                      </a:lnTo>
                      <a:lnTo>
                        <a:pt x="125" y="123"/>
                      </a:lnTo>
                      <a:lnTo>
                        <a:pt x="125" y="121"/>
                      </a:lnTo>
                      <a:lnTo>
                        <a:pt x="127" y="121"/>
                      </a:lnTo>
                      <a:lnTo>
                        <a:pt x="127" y="120"/>
                      </a:lnTo>
                      <a:lnTo>
                        <a:pt x="127" y="118"/>
                      </a:lnTo>
                      <a:lnTo>
                        <a:pt x="127" y="116"/>
                      </a:lnTo>
                      <a:lnTo>
                        <a:pt x="128" y="115"/>
                      </a:lnTo>
                      <a:lnTo>
                        <a:pt x="128" y="113"/>
                      </a:lnTo>
                      <a:lnTo>
                        <a:pt x="130" y="113"/>
                      </a:lnTo>
                      <a:lnTo>
                        <a:pt x="130" y="111"/>
                      </a:lnTo>
                      <a:lnTo>
                        <a:pt x="132" y="111"/>
                      </a:lnTo>
                      <a:lnTo>
                        <a:pt x="132" y="110"/>
                      </a:lnTo>
                      <a:lnTo>
                        <a:pt x="133" y="110"/>
                      </a:lnTo>
                      <a:lnTo>
                        <a:pt x="135" y="110"/>
                      </a:lnTo>
                      <a:lnTo>
                        <a:pt x="137" y="110"/>
                      </a:lnTo>
                      <a:lnTo>
                        <a:pt x="138" y="110"/>
                      </a:lnTo>
                      <a:lnTo>
                        <a:pt x="138" y="108"/>
                      </a:lnTo>
                      <a:lnTo>
                        <a:pt x="140" y="108"/>
                      </a:lnTo>
                      <a:lnTo>
                        <a:pt x="142" y="106"/>
                      </a:lnTo>
                      <a:lnTo>
                        <a:pt x="142" y="105"/>
                      </a:lnTo>
                      <a:lnTo>
                        <a:pt x="142" y="103"/>
                      </a:lnTo>
                      <a:lnTo>
                        <a:pt x="142" y="102"/>
                      </a:lnTo>
                      <a:lnTo>
                        <a:pt x="140" y="100"/>
                      </a:lnTo>
                      <a:lnTo>
                        <a:pt x="140" y="97"/>
                      </a:lnTo>
                      <a:lnTo>
                        <a:pt x="142" y="93"/>
                      </a:lnTo>
                      <a:lnTo>
                        <a:pt x="140" y="93"/>
                      </a:lnTo>
                      <a:lnTo>
                        <a:pt x="140" y="92"/>
                      </a:lnTo>
                      <a:lnTo>
                        <a:pt x="142" y="92"/>
                      </a:lnTo>
                      <a:lnTo>
                        <a:pt x="140" y="90"/>
                      </a:lnTo>
                      <a:lnTo>
                        <a:pt x="140" y="88"/>
                      </a:lnTo>
                      <a:lnTo>
                        <a:pt x="142" y="85"/>
                      </a:lnTo>
                      <a:lnTo>
                        <a:pt x="142" y="83"/>
                      </a:lnTo>
                      <a:lnTo>
                        <a:pt x="144" y="82"/>
                      </a:lnTo>
                      <a:lnTo>
                        <a:pt x="144" y="80"/>
                      </a:lnTo>
                      <a:lnTo>
                        <a:pt x="145" y="79"/>
                      </a:lnTo>
                      <a:lnTo>
                        <a:pt x="147" y="77"/>
                      </a:lnTo>
                      <a:lnTo>
                        <a:pt x="150" y="75"/>
                      </a:lnTo>
                      <a:lnTo>
                        <a:pt x="150" y="74"/>
                      </a:lnTo>
                      <a:lnTo>
                        <a:pt x="152" y="74"/>
                      </a:lnTo>
                      <a:lnTo>
                        <a:pt x="154" y="72"/>
                      </a:lnTo>
                      <a:lnTo>
                        <a:pt x="154" y="70"/>
                      </a:lnTo>
                      <a:lnTo>
                        <a:pt x="155" y="67"/>
                      </a:lnTo>
                      <a:lnTo>
                        <a:pt x="157" y="67"/>
                      </a:lnTo>
                      <a:lnTo>
                        <a:pt x="157" y="65"/>
                      </a:lnTo>
                      <a:lnTo>
                        <a:pt x="159" y="64"/>
                      </a:lnTo>
                      <a:lnTo>
                        <a:pt x="160" y="64"/>
                      </a:lnTo>
                      <a:lnTo>
                        <a:pt x="162" y="62"/>
                      </a:lnTo>
                      <a:lnTo>
                        <a:pt x="165" y="57"/>
                      </a:lnTo>
                      <a:lnTo>
                        <a:pt x="165" y="56"/>
                      </a:lnTo>
                      <a:lnTo>
                        <a:pt x="167" y="54"/>
                      </a:lnTo>
                      <a:lnTo>
                        <a:pt x="167" y="52"/>
                      </a:lnTo>
                      <a:lnTo>
                        <a:pt x="171" y="51"/>
                      </a:lnTo>
                      <a:lnTo>
                        <a:pt x="172" y="51"/>
                      </a:lnTo>
                      <a:lnTo>
                        <a:pt x="177" y="49"/>
                      </a:lnTo>
                      <a:lnTo>
                        <a:pt x="182" y="49"/>
                      </a:lnTo>
                      <a:lnTo>
                        <a:pt x="184" y="49"/>
                      </a:lnTo>
                      <a:lnTo>
                        <a:pt x="186" y="49"/>
                      </a:lnTo>
                      <a:lnTo>
                        <a:pt x="187" y="47"/>
                      </a:lnTo>
                      <a:lnTo>
                        <a:pt x="189" y="47"/>
                      </a:lnTo>
                      <a:lnTo>
                        <a:pt x="191" y="46"/>
                      </a:lnTo>
                      <a:lnTo>
                        <a:pt x="194" y="44"/>
                      </a:lnTo>
                      <a:lnTo>
                        <a:pt x="194" y="42"/>
                      </a:lnTo>
                      <a:lnTo>
                        <a:pt x="196" y="41"/>
                      </a:lnTo>
                      <a:lnTo>
                        <a:pt x="196" y="39"/>
                      </a:lnTo>
                      <a:lnTo>
                        <a:pt x="198" y="36"/>
                      </a:lnTo>
                      <a:lnTo>
                        <a:pt x="198" y="34"/>
                      </a:lnTo>
                      <a:lnTo>
                        <a:pt x="199" y="31"/>
                      </a:lnTo>
                      <a:lnTo>
                        <a:pt x="199" y="29"/>
                      </a:lnTo>
                      <a:lnTo>
                        <a:pt x="201" y="29"/>
                      </a:lnTo>
                      <a:lnTo>
                        <a:pt x="201" y="28"/>
                      </a:lnTo>
                      <a:lnTo>
                        <a:pt x="203" y="26"/>
                      </a:lnTo>
                      <a:lnTo>
                        <a:pt x="203" y="24"/>
                      </a:lnTo>
                      <a:lnTo>
                        <a:pt x="203" y="23"/>
                      </a:lnTo>
                      <a:lnTo>
                        <a:pt x="204" y="23"/>
                      </a:lnTo>
                      <a:lnTo>
                        <a:pt x="206" y="23"/>
                      </a:lnTo>
                      <a:lnTo>
                        <a:pt x="206" y="21"/>
                      </a:lnTo>
                      <a:lnTo>
                        <a:pt x="208" y="21"/>
                      </a:lnTo>
                      <a:lnTo>
                        <a:pt x="209" y="21"/>
                      </a:lnTo>
                      <a:lnTo>
                        <a:pt x="209" y="19"/>
                      </a:lnTo>
                      <a:lnTo>
                        <a:pt x="211" y="19"/>
                      </a:lnTo>
                      <a:lnTo>
                        <a:pt x="213" y="19"/>
                      </a:lnTo>
                      <a:lnTo>
                        <a:pt x="213" y="18"/>
                      </a:lnTo>
                      <a:lnTo>
                        <a:pt x="214" y="18"/>
                      </a:lnTo>
                      <a:lnTo>
                        <a:pt x="216" y="18"/>
                      </a:lnTo>
                      <a:lnTo>
                        <a:pt x="218" y="16"/>
                      </a:lnTo>
                      <a:lnTo>
                        <a:pt x="220" y="16"/>
                      </a:lnTo>
                      <a:lnTo>
                        <a:pt x="220" y="14"/>
                      </a:lnTo>
                      <a:lnTo>
                        <a:pt x="221" y="14"/>
                      </a:lnTo>
                      <a:lnTo>
                        <a:pt x="226" y="13"/>
                      </a:lnTo>
                      <a:lnTo>
                        <a:pt x="228" y="13"/>
                      </a:lnTo>
                      <a:lnTo>
                        <a:pt x="230" y="13"/>
                      </a:lnTo>
                      <a:lnTo>
                        <a:pt x="231" y="11"/>
                      </a:lnTo>
                      <a:lnTo>
                        <a:pt x="233" y="11"/>
                      </a:lnTo>
                      <a:lnTo>
                        <a:pt x="235" y="8"/>
                      </a:lnTo>
                      <a:lnTo>
                        <a:pt x="236" y="8"/>
                      </a:lnTo>
                      <a:lnTo>
                        <a:pt x="238" y="8"/>
                      </a:lnTo>
                      <a:lnTo>
                        <a:pt x="238" y="6"/>
                      </a:lnTo>
                      <a:lnTo>
                        <a:pt x="240" y="5"/>
                      </a:lnTo>
                      <a:lnTo>
                        <a:pt x="240" y="3"/>
                      </a:lnTo>
                      <a:lnTo>
                        <a:pt x="241" y="3"/>
                      </a:lnTo>
                      <a:lnTo>
                        <a:pt x="243" y="3"/>
                      </a:lnTo>
                      <a:lnTo>
                        <a:pt x="245" y="1"/>
                      </a:lnTo>
                      <a:lnTo>
                        <a:pt x="247" y="1"/>
                      </a:lnTo>
                      <a:lnTo>
                        <a:pt x="248" y="1"/>
                      </a:lnTo>
                      <a:lnTo>
                        <a:pt x="250" y="0"/>
                      </a:lnTo>
                      <a:lnTo>
                        <a:pt x="252" y="0"/>
                      </a:lnTo>
                      <a:lnTo>
                        <a:pt x="253" y="1"/>
                      </a:lnTo>
                      <a:lnTo>
                        <a:pt x="255" y="1"/>
                      </a:lnTo>
                      <a:lnTo>
                        <a:pt x="258" y="3"/>
                      </a:lnTo>
                      <a:lnTo>
                        <a:pt x="258" y="5"/>
                      </a:lnTo>
                      <a:lnTo>
                        <a:pt x="260" y="5"/>
                      </a:lnTo>
                      <a:lnTo>
                        <a:pt x="260" y="6"/>
                      </a:lnTo>
                      <a:lnTo>
                        <a:pt x="262" y="6"/>
                      </a:lnTo>
                      <a:lnTo>
                        <a:pt x="262" y="8"/>
                      </a:lnTo>
                      <a:lnTo>
                        <a:pt x="263" y="8"/>
                      </a:lnTo>
                      <a:lnTo>
                        <a:pt x="265" y="8"/>
                      </a:lnTo>
                      <a:lnTo>
                        <a:pt x="267" y="8"/>
                      </a:lnTo>
                      <a:lnTo>
                        <a:pt x="269" y="8"/>
                      </a:lnTo>
                      <a:lnTo>
                        <a:pt x="272" y="8"/>
                      </a:lnTo>
                      <a:lnTo>
                        <a:pt x="275" y="8"/>
                      </a:lnTo>
                      <a:lnTo>
                        <a:pt x="277" y="8"/>
                      </a:lnTo>
                      <a:lnTo>
                        <a:pt x="279" y="8"/>
                      </a:lnTo>
                      <a:lnTo>
                        <a:pt x="280" y="10"/>
                      </a:lnTo>
                      <a:lnTo>
                        <a:pt x="282" y="8"/>
                      </a:lnTo>
                      <a:lnTo>
                        <a:pt x="285" y="8"/>
                      </a:lnTo>
                      <a:lnTo>
                        <a:pt x="287" y="10"/>
                      </a:lnTo>
                      <a:lnTo>
                        <a:pt x="289" y="10"/>
                      </a:lnTo>
                      <a:lnTo>
                        <a:pt x="289" y="11"/>
                      </a:lnTo>
                      <a:lnTo>
                        <a:pt x="290" y="13"/>
                      </a:lnTo>
                      <a:lnTo>
                        <a:pt x="294" y="13"/>
                      </a:lnTo>
                      <a:lnTo>
                        <a:pt x="296" y="13"/>
                      </a:lnTo>
                      <a:lnTo>
                        <a:pt x="297" y="13"/>
                      </a:lnTo>
                      <a:lnTo>
                        <a:pt x="299" y="13"/>
                      </a:lnTo>
                      <a:lnTo>
                        <a:pt x="301" y="13"/>
                      </a:lnTo>
                      <a:lnTo>
                        <a:pt x="302" y="14"/>
                      </a:lnTo>
                      <a:lnTo>
                        <a:pt x="304" y="14"/>
                      </a:lnTo>
                      <a:lnTo>
                        <a:pt x="306" y="14"/>
                      </a:lnTo>
                      <a:lnTo>
                        <a:pt x="309" y="14"/>
                      </a:lnTo>
                      <a:lnTo>
                        <a:pt x="311" y="14"/>
                      </a:lnTo>
                      <a:lnTo>
                        <a:pt x="314" y="14"/>
                      </a:lnTo>
                      <a:lnTo>
                        <a:pt x="316" y="13"/>
                      </a:lnTo>
                      <a:lnTo>
                        <a:pt x="319" y="13"/>
                      </a:lnTo>
                      <a:lnTo>
                        <a:pt x="321" y="13"/>
                      </a:lnTo>
                      <a:lnTo>
                        <a:pt x="323" y="14"/>
                      </a:lnTo>
                      <a:lnTo>
                        <a:pt x="324" y="14"/>
                      </a:lnTo>
                      <a:lnTo>
                        <a:pt x="326" y="13"/>
                      </a:lnTo>
                      <a:lnTo>
                        <a:pt x="326" y="14"/>
                      </a:lnTo>
                      <a:lnTo>
                        <a:pt x="328" y="14"/>
                      </a:lnTo>
                      <a:lnTo>
                        <a:pt x="329" y="14"/>
                      </a:lnTo>
                      <a:lnTo>
                        <a:pt x="331" y="13"/>
                      </a:lnTo>
                      <a:lnTo>
                        <a:pt x="333" y="13"/>
                      </a:lnTo>
                      <a:lnTo>
                        <a:pt x="334" y="11"/>
                      </a:lnTo>
                      <a:lnTo>
                        <a:pt x="336" y="11"/>
                      </a:lnTo>
                      <a:lnTo>
                        <a:pt x="338" y="11"/>
                      </a:lnTo>
                      <a:lnTo>
                        <a:pt x="339" y="11"/>
                      </a:lnTo>
                      <a:lnTo>
                        <a:pt x="341" y="13"/>
                      </a:lnTo>
                      <a:lnTo>
                        <a:pt x="343" y="13"/>
                      </a:lnTo>
                      <a:lnTo>
                        <a:pt x="343" y="14"/>
                      </a:lnTo>
                      <a:lnTo>
                        <a:pt x="343" y="16"/>
                      </a:lnTo>
                      <a:lnTo>
                        <a:pt x="345" y="16"/>
                      </a:lnTo>
                      <a:lnTo>
                        <a:pt x="346" y="18"/>
                      </a:lnTo>
                      <a:lnTo>
                        <a:pt x="348" y="18"/>
                      </a:lnTo>
                      <a:lnTo>
                        <a:pt x="350" y="18"/>
                      </a:lnTo>
                      <a:lnTo>
                        <a:pt x="351" y="18"/>
                      </a:lnTo>
                      <a:lnTo>
                        <a:pt x="353" y="19"/>
                      </a:lnTo>
                      <a:lnTo>
                        <a:pt x="355" y="19"/>
                      </a:lnTo>
                      <a:lnTo>
                        <a:pt x="356" y="19"/>
                      </a:lnTo>
                      <a:lnTo>
                        <a:pt x="358" y="18"/>
                      </a:lnTo>
                      <a:lnTo>
                        <a:pt x="360" y="16"/>
                      </a:lnTo>
                      <a:lnTo>
                        <a:pt x="361" y="16"/>
                      </a:lnTo>
                      <a:lnTo>
                        <a:pt x="363" y="16"/>
                      </a:lnTo>
                      <a:lnTo>
                        <a:pt x="365" y="16"/>
                      </a:lnTo>
                      <a:lnTo>
                        <a:pt x="366" y="16"/>
                      </a:lnTo>
                      <a:lnTo>
                        <a:pt x="366" y="18"/>
                      </a:lnTo>
                      <a:lnTo>
                        <a:pt x="366" y="19"/>
                      </a:lnTo>
                      <a:lnTo>
                        <a:pt x="365" y="21"/>
                      </a:lnTo>
                      <a:lnTo>
                        <a:pt x="363" y="21"/>
                      </a:lnTo>
                      <a:lnTo>
                        <a:pt x="361" y="21"/>
                      </a:lnTo>
                      <a:lnTo>
                        <a:pt x="361" y="23"/>
                      </a:lnTo>
                      <a:lnTo>
                        <a:pt x="361" y="26"/>
                      </a:lnTo>
                      <a:lnTo>
                        <a:pt x="361" y="28"/>
                      </a:lnTo>
                      <a:lnTo>
                        <a:pt x="361" y="29"/>
                      </a:lnTo>
                      <a:lnTo>
                        <a:pt x="361" y="31"/>
                      </a:lnTo>
                      <a:lnTo>
                        <a:pt x="361" y="33"/>
                      </a:lnTo>
                      <a:lnTo>
                        <a:pt x="361" y="36"/>
                      </a:lnTo>
                      <a:lnTo>
                        <a:pt x="363" y="37"/>
                      </a:lnTo>
                      <a:lnTo>
                        <a:pt x="363" y="39"/>
                      </a:lnTo>
                      <a:lnTo>
                        <a:pt x="365" y="39"/>
                      </a:lnTo>
                      <a:lnTo>
                        <a:pt x="365" y="41"/>
                      </a:lnTo>
                      <a:lnTo>
                        <a:pt x="365" y="42"/>
                      </a:lnTo>
                      <a:lnTo>
                        <a:pt x="365" y="44"/>
                      </a:lnTo>
                      <a:lnTo>
                        <a:pt x="366" y="46"/>
                      </a:lnTo>
                      <a:lnTo>
                        <a:pt x="368" y="47"/>
                      </a:lnTo>
                      <a:lnTo>
                        <a:pt x="368" y="49"/>
                      </a:lnTo>
                      <a:lnTo>
                        <a:pt x="370" y="47"/>
                      </a:lnTo>
                      <a:lnTo>
                        <a:pt x="370" y="49"/>
                      </a:lnTo>
                      <a:lnTo>
                        <a:pt x="372" y="49"/>
                      </a:lnTo>
                      <a:lnTo>
                        <a:pt x="373" y="49"/>
                      </a:lnTo>
                      <a:lnTo>
                        <a:pt x="375" y="47"/>
                      </a:lnTo>
                      <a:lnTo>
                        <a:pt x="377" y="46"/>
                      </a:lnTo>
                      <a:lnTo>
                        <a:pt x="378" y="46"/>
                      </a:lnTo>
                      <a:lnTo>
                        <a:pt x="378" y="44"/>
                      </a:lnTo>
                      <a:lnTo>
                        <a:pt x="380" y="42"/>
                      </a:lnTo>
                      <a:lnTo>
                        <a:pt x="382" y="39"/>
                      </a:lnTo>
                      <a:lnTo>
                        <a:pt x="382" y="37"/>
                      </a:lnTo>
                      <a:lnTo>
                        <a:pt x="383" y="37"/>
                      </a:lnTo>
                      <a:lnTo>
                        <a:pt x="383" y="36"/>
                      </a:lnTo>
                      <a:lnTo>
                        <a:pt x="383" y="34"/>
                      </a:lnTo>
                      <a:lnTo>
                        <a:pt x="385" y="34"/>
                      </a:lnTo>
                      <a:lnTo>
                        <a:pt x="387" y="34"/>
                      </a:lnTo>
                      <a:lnTo>
                        <a:pt x="388" y="34"/>
                      </a:lnTo>
                      <a:lnTo>
                        <a:pt x="390" y="34"/>
                      </a:lnTo>
                      <a:lnTo>
                        <a:pt x="390" y="36"/>
                      </a:lnTo>
                      <a:lnTo>
                        <a:pt x="392" y="36"/>
                      </a:lnTo>
                      <a:lnTo>
                        <a:pt x="393" y="39"/>
                      </a:lnTo>
                      <a:lnTo>
                        <a:pt x="393" y="44"/>
                      </a:lnTo>
                      <a:lnTo>
                        <a:pt x="393" y="46"/>
                      </a:lnTo>
                      <a:lnTo>
                        <a:pt x="393" y="47"/>
                      </a:lnTo>
                      <a:lnTo>
                        <a:pt x="393" y="49"/>
                      </a:lnTo>
                      <a:lnTo>
                        <a:pt x="393" y="51"/>
                      </a:lnTo>
                      <a:lnTo>
                        <a:pt x="393" y="52"/>
                      </a:lnTo>
                      <a:lnTo>
                        <a:pt x="393" y="54"/>
                      </a:lnTo>
                      <a:lnTo>
                        <a:pt x="393" y="56"/>
                      </a:lnTo>
                      <a:lnTo>
                        <a:pt x="393" y="57"/>
                      </a:lnTo>
                      <a:lnTo>
                        <a:pt x="395" y="57"/>
                      </a:lnTo>
                      <a:lnTo>
                        <a:pt x="397" y="59"/>
                      </a:lnTo>
                      <a:lnTo>
                        <a:pt x="399" y="59"/>
                      </a:lnTo>
                      <a:lnTo>
                        <a:pt x="399" y="60"/>
                      </a:lnTo>
                      <a:lnTo>
                        <a:pt x="400" y="60"/>
                      </a:lnTo>
                      <a:lnTo>
                        <a:pt x="402" y="60"/>
                      </a:lnTo>
                      <a:lnTo>
                        <a:pt x="402" y="59"/>
                      </a:lnTo>
                      <a:lnTo>
                        <a:pt x="402" y="57"/>
                      </a:lnTo>
                      <a:lnTo>
                        <a:pt x="402" y="56"/>
                      </a:lnTo>
                      <a:lnTo>
                        <a:pt x="402" y="54"/>
                      </a:lnTo>
                      <a:lnTo>
                        <a:pt x="402" y="52"/>
                      </a:lnTo>
                      <a:lnTo>
                        <a:pt x="402" y="51"/>
                      </a:lnTo>
                      <a:lnTo>
                        <a:pt x="402" y="49"/>
                      </a:lnTo>
                      <a:lnTo>
                        <a:pt x="400" y="47"/>
                      </a:lnTo>
                      <a:lnTo>
                        <a:pt x="400" y="46"/>
                      </a:lnTo>
                      <a:lnTo>
                        <a:pt x="400" y="44"/>
                      </a:lnTo>
                      <a:lnTo>
                        <a:pt x="402" y="44"/>
                      </a:lnTo>
                      <a:lnTo>
                        <a:pt x="402" y="42"/>
                      </a:lnTo>
                      <a:lnTo>
                        <a:pt x="404" y="41"/>
                      </a:lnTo>
                      <a:lnTo>
                        <a:pt x="404" y="39"/>
                      </a:lnTo>
                      <a:lnTo>
                        <a:pt x="404" y="37"/>
                      </a:lnTo>
                      <a:lnTo>
                        <a:pt x="404" y="36"/>
                      </a:lnTo>
                      <a:lnTo>
                        <a:pt x="405" y="36"/>
                      </a:lnTo>
                      <a:lnTo>
                        <a:pt x="407" y="34"/>
                      </a:lnTo>
                      <a:lnTo>
                        <a:pt x="409" y="36"/>
                      </a:lnTo>
                      <a:lnTo>
                        <a:pt x="410" y="36"/>
                      </a:lnTo>
                      <a:lnTo>
                        <a:pt x="412" y="34"/>
                      </a:lnTo>
                      <a:lnTo>
                        <a:pt x="414" y="34"/>
                      </a:lnTo>
                      <a:lnTo>
                        <a:pt x="415" y="34"/>
                      </a:lnTo>
                      <a:lnTo>
                        <a:pt x="417" y="34"/>
                      </a:lnTo>
                      <a:lnTo>
                        <a:pt x="419" y="36"/>
                      </a:lnTo>
                      <a:lnTo>
                        <a:pt x="421" y="34"/>
                      </a:lnTo>
                      <a:lnTo>
                        <a:pt x="422" y="36"/>
                      </a:lnTo>
                      <a:lnTo>
                        <a:pt x="424" y="36"/>
                      </a:lnTo>
                      <a:lnTo>
                        <a:pt x="426" y="34"/>
                      </a:lnTo>
                      <a:lnTo>
                        <a:pt x="427" y="34"/>
                      </a:lnTo>
                      <a:lnTo>
                        <a:pt x="427" y="33"/>
                      </a:lnTo>
                      <a:lnTo>
                        <a:pt x="429" y="33"/>
                      </a:lnTo>
                      <a:lnTo>
                        <a:pt x="431" y="33"/>
                      </a:lnTo>
                      <a:lnTo>
                        <a:pt x="432" y="33"/>
                      </a:lnTo>
                      <a:lnTo>
                        <a:pt x="434" y="33"/>
                      </a:lnTo>
                      <a:lnTo>
                        <a:pt x="436" y="33"/>
                      </a:lnTo>
                      <a:lnTo>
                        <a:pt x="437" y="33"/>
                      </a:lnTo>
                      <a:lnTo>
                        <a:pt x="439" y="33"/>
                      </a:lnTo>
                      <a:lnTo>
                        <a:pt x="441" y="33"/>
                      </a:lnTo>
                      <a:lnTo>
                        <a:pt x="442" y="33"/>
                      </a:lnTo>
                      <a:lnTo>
                        <a:pt x="442" y="31"/>
                      </a:lnTo>
                      <a:lnTo>
                        <a:pt x="444" y="31"/>
                      </a:lnTo>
                      <a:lnTo>
                        <a:pt x="446" y="31"/>
                      </a:lnTo>
                      <a:lnTo>
                        <a:pt x="448" y="31"/>
                      </a:lnTo>
                      <a:lnTo>
                        <a:pt x="449" y="31"/>
                      </a:lnTo>
                      <a:lnTo>
                        <a:pt x="451" y="31"/>
                      </a:lnTo>
                      <a:lnTo>
                        <a:pt x="453" y="31"/>
                      </a:lnTo>
                      <a:lnTo>
                        <a:pt x="454" y="31"/>
                      </a:lnTo>
                      <a:lnTo>
                        <a:pt x="456" y="31"/>
                      </a:lnTo>
                      <a:lnTo>
                        <a:pt x="458" y="31"/>
                      </a:lnTo>
                      <a:lnTo>
                        <a:pt x="458" y="33"/>
                      </a:lnTo>
                      <a:lnTo>
                        <a:pt x="459" y="33"/>
                      </a:lnTo>
                      <a:lnTo>
                        <a:pt x="461" y="33"/>
                      </a:lnTo>
                      <a:lnTo>
                        <a:pt x="463" y="33"/>
                      </a:lnTo>
                      <a:lnTo>
                        <a:pt x="464" y="33"/>
                      </a:lnTo>
                      <a:lnTo>
                        <a:pt x="464" y="31"/>
                      </a:lnTo>
                      <a:lnTo>
                        <a:pt x="463" y="29"/>
                      </a:lnTo>
                      <a:lnTo>
                        <a:pt x="461" y="28"/>
                      </a:lnTo>
                      <a:lnTo>
                        <a:pt x="461" y="26"/>
                      </a:lnTo>
                      <a:lnTo>
                        <a:pt x="461" y="24"/>
                      </a:lnTo>
                      <a:lnTo>
                        <a:pt x="461" y="23"/>
                      </a:lnTo>
                      <a:lnTo>
                        <a:pt x="463" y="23"/>
                      </a:lnTo>
                      <a:lnTo>
                        <a:pt x="464" y="23"/>
                      </a:lnTo>
                      <a:lnTo>
                        <a:pt x="464" y="24"/>
                      </a:lnTo>
                      <a:lnTo>
                        <a:pt x="466" y="24"/>
                      </a:lnTo>
                      <a:lnTo>
                        <a:pt x="466" y="26"/>
                      </a:lnTo>
                      <a:lnTo>
                        <a:pt x="468" y="28"/>
                      </a:lnTo>
                      <a:lnTo>
                        <a:pt x="468" y="29"/>
                      </a:lnTo>
                      <a:lnTo>
                        <a:pt x="469" y="29"/>
                      </a:lnTo>
                      <a:lnTo>
                        <a:pt x="471" y="31"/>
                      </a:lnTo>
                      <a:lnTo>
                        <a:pt x="473" y="33"/>
                      </a:lnTo>
                      <a:lnTo>
                        <a:pt x="475" y="33"/>
                      </a:lnTo>
                      <a:lnTo>
                        <a:pt x="475" y="34"/>
                      </a:lnTo>
                      <a:lnTo>
                        <a:pt x="476" y="34"/>
                      </a:lnTo>
                      <a:lnTo>
                        <a:pt x="478" y="34"/>
                      </a:lnTo>
                      <a:lnTo>
                        <a:pt x="480" y="33"/>
                      </a:lnTo>
                      <a:lnTo>
                        <a:pt x="481" y="33"/>
                      </a:lnTo>
                      <a:lnTo>
                        <a:pt x="481" y="31"/>
                      </a:lnTo>
                      <a:lnTo>
                        <a:pt x="483" y="31"/>
                      </a:lnTo>
                      <a:lnTo>
                        <a:pt x="485" y="31"/>
                      </a:lnTo>
                      <a:lnTo>
                        <a:pt x="485" y="29"/>
                      </a:lnTo>
                      <a:lnTo>
                        <a:pt x="486" y="28"/>
                      </a:lnTo>
                      <a:lnTo>
                        <a:pt x="486" y="24"/>
                      </a:lnTo>
                      <a:lnTo>
                        <a:pt x="486" y="23"/>
                      </a:lnTo>
                      <a:lnTo>
                        <a:pt x="490" y="24"/>
                      </a:lnTo>
                      <a:lnTo>
                        <a:pt x="490" y="26"/>
                      </a:lnTo>
                      <a:lnTo>
                        <a:pt x="490" y="28"/>
                      </a:lnTo>
                      <a:lnTo>
                        <a:pt x="490" y="29"/>
                      </a:lnTo>
                      <a:lnTo>
                        <a:pt x="491" y="29"/>
                      </a:lnTo>
                      <a:lnTo>
                        <a:pt x="491" y="31"/>
                      </a:lnTo>
                      <a:lnTo>
                        <a:pt x="493" y="31"/>
                      </a:lnTo>
                      <a:lnTo>
                        <a:pt x="495" y="31"/>
                      </a:lnTo>
                      <a:lnTo>
                        <a:pt x="497" y="29"/>
                      </a:lnTo>
                      <a:lnTo>
                        <a:pt x="497" y="28"/>
                      </a:lnTo>
                      <a:lnTo>
                        <a:pt x="497" y="26"/>
                      </a:lnTo>
                      <a:lnTo>
                        <a:pt x="498" y="26"/>
                      </a:lnTo>
                      <a:lnTo>
                        <a:pt x="498" y="24"/>
                      </a:lnTo>
                      <a:lnTo>
                        <a:pt x="497" y="24"/>
                      </a:lnTo>
                      <a:lnTo>
                        <a:pt x="497" y="23"/>
                      </a:lnTo>
                      <a:lnTo>
                        <a:pt x="497" y="21"/>
                      </a:lnTo>
                      <a:lnTo>
                        <a:pt x="498" y="21"/>
                      </a:lnTo>
                      <a:lnTo>
                        <a:pt x="498" y="19"/>
                      </a:lnTo>
                      <a:lnTo>
                        <a:pt x="500" y="19"/>
                      </a:lnTo>
                      <a:lnTo>
                        <a:pt x="502" y="19"/>
                      </a:lnTo>
                      <a:lnTo>
                        <a:pt x="503" y="19"/>
                      </a:lnTo>
                      <a:lnTo>
                        <a:pt x="507" y="19"/>
                      </a:lnTo>
                      <a:lnTo>
                        <a:pt x="508" y="19"/>
                      </a:lnTo>
                      <a:lnTo>
                        <a:pt x="510" y="19"/>
                      </a:lnTo>
                      <a:lnTo>
                        <a:pt x="512" y="18"/>
                      </a:lnTo>
                      <a:lnTo>
                        <a:pt x="513" y="18"/>
                      </a:lnTo>
                      <a:lnTo>
                        <a:pt x="513" y="19"/>
                      </a:lnTo>
                      <a:lnTo>
                        <a:pt x="515" y="19"/>
                      </a:lnTo>
                      <a:lnTo>
                        <a:pt x="515" y="21"/>
                      </a:lnTo>
                      <a:lnTo>
                        <a:pt x="517" y="23"/>
                      </a:lnTo>
                      <a:lnTo>
                        <a:pt x="518" y="24"/>
                      </a:lnTo>
                      <a:lnTo>
                        <a:pt x="520" y="24"/>
                      </a:lnTo>
                      <a:lnTo>
                        <a:pt x="522" y="24"/>
                      </a:lnTo>
                      <a:lnTo>
                        <a:pt x="522" y="23"/>
                      </a:lnTo>
                      <a:lnTo>
                        <a:pt x="524" y="23"/>
                      </a:lnTo>
                      <a:lnTo>
                        <a:pt x="524" y="21"/>
                      </a:lnTo>
                      <a:lnTo>
                        <a:pt x="524" y="19"/>
                      </a:lnTo>
                      <a:lnTo>
                        <a:pt x="525" y="19"/>
                      </a:lnTo>
                      <a:lnTo>
                        <a:pt x="527" y="19"/>
                      </a:lnTo>
                      <a:lnTo>
                        <a:pt x="529" y="19"/>
                      </a:lnTo>
                      <a:lnTo>
                        <a:pt x="529" y="18"/>
                      </a:lnTo>
                      <a:lnTo>
                        <a:pt x="530" y="19"/>
                      </a:lnTo>
                      <a:lnTo>
                        <a:pt x="532" y="18"/>
                      </a:lnTo>
                      <a:lnTo>
                        <a:pt x="534" y="18"/>
                      </a:lnTo>
                      <a:lnTo>
                        <a:pt x="535" y="16"/>
                      </a:lnTo>
                      <a:lnTo>
                        <a:pt x="535" y="18"/>
                      </a:lnTo>
                      <a:lnTo>
                        <a:pt x="537" y="18"/>
                      </a:lnTo>
                      <a:lnTo>
                        <a:pt x="537" y="19"/>
                      </a:lnTo>
                      <a:lnTo>
                        <a:pt x="539" y="19"/>
                      </a:lnTo>
                      <a:lnTo>
                        <a:pt x="539" y="21"/>
                      </a:lnTo>
                      <a:lnTo>
                        <a:pt x="539" y="23"/>
                      </a:lnTo>
                      <a:lnTo>
                        <a:pt x="537" y="23"/>
                      </a:lnTo>
                      <a:lnTo>
                        <a:pt x="539" y="24"/>
                      </a:lnTo>
                      <a:lnTo>
                        <a:pt x="539" y="26"/>
                      </a:lnTo>
                      <a:lnTo>
                        <a:pt x="540" y="26"/>
                      </a:lnTo>
                      <a:lnTo>
                        <a:pt x="540" y="28"/>
                      </a:lnTo>
                      <a:lnTo>
                        <a:pt x="542" y="28"/>
                      </a:lnTo>
                      <a:lnTo>
                        <a:pt x="544" y="28"/>
                      </a:lnTo>
                      <a:lnTo>
                        <a:pt x="545" y="29"/>
                      </a:lnTo>
                      <a:lnTo>
                        <a:pt x="547" y="29"/>
                      </a:lnTo>
                      <a:lnTo>
                        <a:pt x="547" y="31"/>
                      </a:lnTo>
                      <a:lnTo>
                        <a:pt x="549" y="31"/>
                      </a:lnTo>
                      <a:lnTo>
                        <a:pt x="551" y="31"/>
                      </a:lnTo>
                      <a:lnTo>
                        <a:pt x="551" y="33"/>
                      </a:lnTo>
                      <a:lnTo>
                        <a:pt x="552" y="34"/>
                      </a:lnTo>
                      <a:lnTo>
                        <a:pt x="554" y="34"/>
                      </a:lnTo>
                      <a:lnTo>
                        <a:pt x="556" y="34"/>
                      </a:lnTo>
                      <a:lnTo>
                        <a:pt x="556" y="36"/>
                      </a:lnTo>
                      <a:lnTo>
                        <a:pt x="556" y="37"/>
                      </a:lnTo>
                      <a:lnTo>
                        <a:pt x="556" y="39"/>
                      </a:lnTo>
                      <a:lnTo>
                        <a:pt x="557" y="39"/>
                      </a:lnTo>
                      <a:lnTo>
                        <a:pt x="557" y="41"/>
                      </a:lnTo>
                      <a:lnTo>
                        <a:pt x="557" y="42"/>
                      </a:lnTo>
                      <a:lnTo>
                        <a:pt x="557" y="44"/>
                      </a:lnTo>
                      <a:lnTo>
                        <a:pt x="556" y="44"/>
                      </a:lnTo>
                      <a:lnTo>
                        <a:pt x="556" y="46"/>
                      </a:lnTo>
                      <a:lnTo>
                        <a:pt x="554" y="46"/>
                      </a:lnTo>
                      <a:lnTo>
                        <a:pt x="554" y="47"/>
                      </a:lnTo>
                      <a:lnTo>
                        <a:pt x="552" y="47"/>
                      </a:lnTo>
                      <a:lnTo>
                        <a:pt x="552" y="49"/>
                      </a:lnTo>
                      <a:lnTo>
                        <a:pt x="552" y="51"/>
                      </a:lnTo>
                      <a:lnTo>
                        <a:pt x="552" y="52"/>
                      </a:lnTo>
                      <a:lnTo>
                        <a:pt x="552" y="54"/>
                      </a:lnTo>
                      <a:lnTo>
                        <a:pt x="552" y="56"/>
                      </a:lnTo>
                      <a:lnTo>
                        <a:pt x="552" y="57"/>
                      </a:lnTo>
                      <a:lnTo>
                        <a:pt x="552" y="59"/>
                      </a:lnTo>
                      <a:lnTo>
                        <a:pt x="552" y="60"/>
                      </a:lnTo>
                      <a:lnTo>
                        <a:pt x="552" y="62"/>
                      </a:lnTo>
                      <a:lnTo>
                        <a:pt x="554" y="62"/>
                      </a:lnTo>
                      <a:lnTo>
                        <a:pt x="554" y="64"/>
                      </a:lnTo>
                      <a:lnTo>
                        <a:pt x="556" y="64"/>
                      </a:lnTo>
                      <a:lnTo>
                        <a:pt x="557" y="64"/>
                      </a:lnTo>
                      <a:lnTo>
                        <a:pt x="557" y="65"/>
                      </a:lnTo>
                      <a:lnTo>
                        <a:pt x="559" y="65"/>
                      </a:lnTo>
                      <a:lnTo>
                        <a:pt x="559" y="67"/>
                      </a:lnTo>
                      <a:lnTo>
                        <a:pt x="561" y="67"/>
                      </a:lnTo>
                      <a:lnTo>
                        <a:pt x="562" y="67"/>
                      </a:lnTo>
                      <a:lnTo>
                        <a:pt x="564" y="67"/>
                      </a:lnTo>
                      <a:lnTo>
                        <a:pt x="564" y="69"/>
                      </a:lnTo>
                      <a:lnTo>
                        <a:pt x="566" y="69"/>
                      </a:lnTo>
                      <a:lnTo>
                        <a:pt x="566" y="70"/>
                      </a:lnTo>
                      <a:lnTo>
                        <a:pt x="567" y="72"/>
                      </a:lnTo>
                      <a:lnTo>
                        <a:pt x="566" y="72"/>
                      </a:lnTo>
                      <a:lnTo>
                        <a:pt x="567" y="74"/>
                      </a:lnTo>
                      <a:lnTo>
                        <a:pt x="567" y="75"/>
                      </a:lnTo>
                      <a:lnTo>
                        <a:pt x="567" y="77"/>
                      </a:lnTo>
                      <a:lnTo>
                        <a:pt x="569" y="77"/>
                      </a:lnTo>
                      <a:lnTo>
                        <a:pt x="569" y="79"/>
                      </a:lnTo>
                      <a:lnTo>
                        <a:pt x="571" y="80"/>
                      </a:lnTo>
                      <a:lnTo>
                        <a:pt x="571" y="82"/>
                      </a:lnTo>
                      <a:lnTo>
                        <a:pt x="569" y="82"/>
                      </a:lnTo>
                      <a:lnTo>
                        <a:pt x="571" y="83"/>
                      </a:lnTo>
                      <a:lnTo>
                        <a:pt x="569" y="83"/>
                      </a:lnTo>
                      <a:lnTo>
                        <a:pt x="569" y="85"/>
                      </a:lnTo>
                      <a:lnTo>
                        <a:pt x="567" y="85"/>
                      </a:lnTo>
                      <a:lnTo>
                        <a:pt x="566" y="85"/>
                      </a:lnTo>
                      <a:lnTo>
                        <a:pt x="564" y="85"/>
                      </a:lnTo>
                      <a:lnTo>
                        <a:pt x="564" y="87"/>
                      </a:lnTo>
                      <a:lnTo>
                        <a:pt x="562" y="87"/>
                      </a:lnTo>
                      <a:lnTo>
                        <a:pt x="562" y="88"/>
                      </a:lnTo>
                      <a:lnTo>
                        <a:pt x="562" y="90"/>
                      </a:lnTo>
                      <a:lnTo>
                        <a:pt x="562" y="92"/>
                      </a:lnTo>
                      <a:lnTo>
                        <a:pt x="561" y="92"/>
                      </a:lnTo>
                      <a:lnTo>
                        <a:pt x="559" y="92"/>
                      </a:lnTo>
                      <a:lnTo>
                        <a:pt x="559" y="93"/>
                      </a:lnTo>
                      <a:lnTo>
                        <a:pt x="559" y="95"/>
                      </a:lnTo>
                      <a:lnTo>
                        <a:pt x="559" y="97"/>
                      </a:lnTo>
                      <a:lnTo>
                        <a:pt x="559" y="98"/>
                      </a:lnTo>
                      <a:lnTo>
                        <a:pt x="557" y="102"/>
                      </a:lnTo>
                      <a:lnTo>
                        <a:pt x="559" y="105"/>
                      </a:lnTo>
                      <a:lnTo>
                        <a:pt x="562" y="106"/>
                      </a:lnTo>
                      <a:lnTo>
                        <a:pt x="561" y="106"/>
                      </a:lnTo>
                      <a:lnTo>
                        <a:pt x="562" y="108"/>
                      </a:lnTo>
                      <a:lnTo>
                        <a:pt x="564" y="108"/>
                      </a:lnTo>
                      <a:lnTo>
                        <a:pt x="564" y="110"/>
                      </a:lnTo>
                      <a:lnTo>
                        <a:pt x="566" y="110"/>
                      </a:lnTo>
                      <a:lnTo>
                        <a:pt x="566" y="111"/>
                      </a:lnTo>
                      <a:lnTo>
                        <a:pt x="566" y="113"/>
                      </a:lnTo>
                      <a:lnTo>
                        <a:pt x="564" y="115"/>
                      </a:lnTo>
                      <a:lnTo>
                        <a:pt x="566" y="115"/>
                      </a:lnTo>
                      <a:lnTo>
                        <a:pt x="566" y="116"/>
                      </a:lnTo>
                      <a:lnTo>
                        <a:pt x="566" y="118"/>
                      </a:lnTo>
                      <a:lnTo>
                        <a:pt x="566" y="121"/>
                      </a:lnTo>
                      <a:lnTo>
                        <a:pt x="567" y="120"/>
                      </a:lnTo>
                      <a:lnTo>
                        <a:pt x="567" y="121"/>
                      </a:lnTo>
                      <a:lnTo>
                        <a:pt x="569" y="121"/>
                      </a:lnTo>
                      <a:lnTo>
                        <a:pt x="569" y="123"/>
                      </a:lnTo>
                      <a:lnTo>
                        <a:pt x="567" y="123"/>
                      </a:lnTo>
                      <a:lnTo>
                        <a:pt x="567" y="125"/>
                      </a:lnTo>
                      <a:lnTo>
                        <a:pt x="567" y="126"/>
                      </a:lnTo>
                      <a:lnTo>
                        <a:pt x="569" y="126"/>
                      </a:lnTo>
                      <a:lnTo>
                        <a:pt x="567" y="128"/>
                      </a:lnTo>
                      <a:lnTo>
                        <a:pt x="569" y="128"/>
                      </a:lnTo>
                      <a:lnTo>
                        <a:pt x="569" y="129"/>
                      </a:lnTo>
                      <a:lnTo>
                        <a:pt x="569" y="131"/>
                      </a:lnTo>
                      <a:lnTo>
                        <a:pt x="571" y="131"/>
                      </a:lnTo>
                      <a:lnTo>
                        <a:pt x="571" y="133"/>
                      </a:lnTo>
                      <a:lnTo>
                        <a:pt x="571" y="131"/>
                      </a:lnTo>
                      <a:lnTo>
                        <a:pt x="573" y="131"/>
                      </a:lnTo>
                      <a:lnTo>
                        <a:pt x="574" y="131"/>
                      </a:lnTo>
                      <a:lnTo>
                        <a:pt x="573" y="133"/>
                      </a:lnTo>
                      <a:lnTo>
                        <a:pt x="573" y="134"/>
                      </a:lnTo>
                      <a:lnTo>
                        <a:pt x="574" y="134"/>
                      </a:lnTo>
                      <a:lnTo>
                        <a:pt x="574" y="136"/>
                      </a:lnTo>
                      <a:lnTo>
                        <a:pt x="576" y="136"/>
                      </a:lnTo>
                      <a:lnTo>
                        <a:pt x="576" y="138"/>
                      </a:lnTo>
                      <a:lnTo>
                        <a:pt x="576" y="139"/>
                      </a:lnTo>
                      <a:lnTo>
                        <a:pt x="578" y="139"/>
                      </a:lnTo>
                      <a:lnTo>
                        <a:pt x="578" y="141"/>
                      </a:lnTo>
                      <a:lnTo>
                        <a:pt x="576" y="141"/>
                      </a:lnTo>
                      <a:lnTo>
                        <a:pt x="578" y="141"/>
                      </a:lnTo>
                      <a:lnTo>
                        <a:pt x="578" y="143"/>
                      </a:lnTo>
                      <a:lnTo>
                        <a:pt x="578" y="144"/>
                      </a:lnTo>
                      <a:lnTo>
                        <a:pt x="579" y="144"/>
                      </a:lnTo>
                      <a:lnTo>
                        <a:pt x="579" y="146"/>
                      </a:lnTo>
                      <a:lnTo>
                        <a:pt x="579" y="148"/>
                      </a:lnTo>
                      <a:lnTo>
                        <a:pt x="579" y="149"/>
                      </a:lnTo>
                      <a:lnTo>
                        <a:pt x="578" y="149"/>
                      </a:lnTo>
                      <a:lnTo>
                        <a:pt x="579" y="149"/>
                      </a:lnTo>
                      <a:lnTo>
                        <a:pt x="579" y="151"/>
                      </a:lnTo>
                      <a:lnTo>
                        <a:pt x="581" y="151"/>
                      </a:lnTo>
                      <a:lnTo>
                        <a:pt x="581" y="152"/>
                      </a:lnTo>
                      <a:lnTo>
                        <a:pt x="581" y="151"/>
                      </a:lnTo>
                      <a:lnTo>
                        <a:pt x="583" y="151"/>
                      </a:lnTo>
                      <a:lnTo>
                        <a:pt x="584" y="151"/>
                      </a:lnTo>
                      <a:lnTo>
                        <a:pt x="586" y="151"/>
                      </a:lnTo>
                      <a:lnTo>
                        <a:pt x="588" y="152"/>
                      </a:lnTo>
                      <a:lnTo>
                        <a:pt x="588" y="151"/>
                      </a:lnTo>
                      <a:lnTo>
                        <a:pt x="589" y="151"/>
                      </a:lnTo>
                      <a:lnTo>
                        <a:pt x="591" y="149"/>
                      </a:lnTo>
                      <a:lnTo>
                        <a:pt x="593" y="149"/>
                      </a:lnTo>
                      <a:lnTo>
                        <a:pt x="593" y="148"/>
                      </a:lnTo>
                      <a:lnTo>
                        <a:pt x="594" y="148"/>
                      </a:lnTo>
                      <a:lnTo>
                        <a:pt x="596" y="148"/>
                      </a:lnTo>
                      <a:lnTo>
                        <a:pt x="594" y="148"/>
                      </a:lnTo>
                      <a:lnTo>
                        <a:pt x="594" y="146"/>
                      </a:lnTo>
                      <a:lnTo>
                        <a:pt x="596" y="146"/>
                      </a:lnTo>
                      <a:lnTo>
                        <a:pt x="598" y="146"/>
                      </a:lnTo>
                      <a:lnTo>
                        <a:pt x="600" y="146"/>
                      </a:lnTo>
                      <a:lnTo>
                        <a:pt x="600" y="148"/>
                      </a:lnTo>
                      <a:lnTo>
                        <a:pt x="600" y="146"/>
                      </a:lnTo>
                      <a:lnTo>
                        <a:pt x="601" y="146"/>
                      </a:lnTo>
                      <a:lnTo>
                        <a:pt x="603" y="146"/>
                      </a:lnTo>
                      <a:lnTo>
                        <a:pt x="603" y="148"/>
                      </a:lnTo>
                      <a:lnTo>
                        <a:pt x="605" y="148"/>
                      </a:lnTo>
                      <a:lnTo>
                        <a:pt x="605" y="149"/>
                      </a:lnTo>
                      <a:lnTo>
                        <a:pt x="606" y="149"/>
                      </a:lnTo>
                      <a:lnTo>
                        <a:pt x="606" y="148"/>
                      </a:lnTo>
                      <a:lnTo>
                        <a:pt x="606" y="149"/>
                      </a:lnTo>
                      <a:lnTo>
                        <a:pt x="608" y="149"/>
                      </a:lnTo>
                      <a:lnTo>
                        <a:pt x="608" y="148"/>
                      </a:lnTo>
                      <a:lnTo>
                        <a:pt x="610" y="148"/>
                      </a:lnTo>
                      <a:lnTo>
                        <a:pt x="611" y="148"/>
                      </a:lnTo>
                      <a:lnTo>
                        <a:pt x="611" y="146"/>
                      </a:lnTo>
                      <a:lnTo>
                        <a:pt x="613" y="146"/>
                      </a:lnTo>
                      <a:lnTo>
                        <a:pt x="613" y="148"/>
                      </a:lnTo>
                      <a:lnTo>
                        <a:pt x="613" y="149"/>
                      </a:lnTo>
                      <a:lnTo>
                        <a:pt x="615" y="149"/>
                      </a:lnTo>
                      <a:lnTo>
                        <a:pt x="613" y="149"/>
                      </a:lnTo>
                      <a:lnTo>
                        <a:pt x="615" y="151"/>
                      </a:lnTo>
                      <a:lnTo>
                        <a:pt x="616" y="151"/>
                      </a:lnTo>
                      <a:lnTo>
                        <a:pt x="616" y="152"/>
                      </a:lnTo>
                      <a:lnTo>
                        <a:pt x="616" y="154"/>
                      </a:lnTo>
                      <a:lnTo>
                        <a:pt x="618" y="152"/>
                      </a:lnTo>
                      <a:lnTo>
                        <a:pt x="620" y="152"/>
                      </a:lnTo>
                      <a:lnTo>
                        <a:pt x="621" y="152"/>
                      </a:lnTo>
                      <a:lnTo>
                        <a:pt x="623" y="152"/>
                      </a:lnTo>
                      <a:lnTo>
                        <a:pt x="623" y="154"/>
                      </a:lnTo>
                      <a:lnTo>
                        <a:pt x="625" y="154"/>
                      </a:lnTo>
                      <a:lnTo>
                        <a:pt x="625" y="156"/>
                      </a:lnTo>
                      <a:lnTo>
                        <a:pt x="627" y="156"/>
                      </a:lnTo>
                      <a:lnTo>
                        <a:pt x="627" y="157"/>
                      </a:lnTo>
                      <a:lnTo>
                        <a:pt x="625" y="159"/>
                      </a:lnTo>
                      <a:lnTo>
                        <a:pt x="625" y="161"/>
                      </a:lnTo>
                      <a:lnTo>
                        <a:pt x="625" y="162"/>
                      </a:lnTo>
                      <a:lnTo>
                        <a:pt x="627" y="162"/>
                      </a:lnTo>
                      <a:lnTo>
                        <a:pt x="627" y="164"/>
                      </a:lnTo>
                      <a:lnTo>
                        <a:pt x="627" y="166"/>
                      </a:lnTo>
                      <a:lnTo>
                        <a:pt x="625" y="166"/>
                      </a:lnTo>
                      <a:lnTo>
                        <a:pt x="625" y="167"/>
                      </a:lnTo>
                      <a:lnTo>
                        <a:pt x="625" y="169"/>
                      </a:lnTo>
                      <a:lnTo>
                        <a:pt x="623" y="169"/>
                      </a:lnTo>
                      <a:lnTo>
                        <a:pt x="623" y="170"/>
                      </a:lnTo>
                      <a:lnTo>
                        <a:pt x="621" y="170"/>
                      </a:lnTo>
                      <a:lnTo>
                        <a:pt x="621" y="172"/>
                      </a:lnTo>
                      <a:lnTo>
                        <a:pt x="623" y="172"/>
                      </a:lnTo>
                      <a:lnTo>
                        <a:pt x="621" y="172"/>
                      </a:lnTo>
                      <a:lnTo>
                        <a:pt x="621" y="174"/>
                      </a:lnTo>
                      <a:lnTo>
                        <a:pt x="621" y="175"/>
                      </a:lnTo>
                      <a:lnTo>
                        <a:pt x="620" y="175"/>
                      </a:lnTo>
                      <a:lnTo>
                        <a:pt x="618" y="175"/>
                      </a:lnTo>
                      <a:lnTo>
                        <a:pt x="616" y="175"/>
                      </a:lnTo>
                      <a:lnTo>
                        <a:pt x="615" y="174"/>
                      </a:lnTo>
                      <a:lnTo>
                        <a:pt x="615" y="175"/>
                      </a:lnTo>
                      <a:lnTo>
                        <a:pt x="615" y="177"/>
                      </a:lnTo>
                      <a:lnTo>
                        <a:pt x="615" y="179"/>
                      </a:lnTo>
                      <a:lnTo>
                        <a:pt x="615" y="180"/>
                      </a:lnTo>
                      <a:lnTo>
                        <a:pt x="615" y="182"/>
                      </a:lnTo>
                      <a:lnTo>
                        <a:pt x="615" y="184"/>
                      </a:lnTo>
                      <a:lnTo>
                        <a:pt x="613" y="184"/>
                      </a:lnTo>
                      <a:lnTo>
                        <a:pt x="613" y="185"/>
                      </a:lnTo>
                      <a:lnTo>
                        <a:pt x="611" y="187"/>
                      </a:lnTo>
                      <a:lnTo>
                        <a:pt x="610" y="189"/>
                      </a:lnTo>
                      <a:lnTo>
                        <a:pt x="610" y="190"/>
                      </a:lnTo>
                      <a:lnTo>
                        <a:pt x="611" y="190"/>
                      </a:lnTo>
                      <a:lnTo>
                        <a:pt x="611" y="192"/>
                      </a:lnTo>
                      <a:lnTo>
                        <a:pt x="611" y="193"/>
                      </a:lnTo>
                      <a:lnTo>
                        <a:pt x="613" y="193"/>
                      </a:lnTo>
                      <a:lnTo>
                        <a:pt x="613" y="195"/>
                      </a:lnTo>
                      <a:lnTo>
                        <a:pt x="611" y="195"/>
                      </a:lnTo>
                      <a:lnTo>
                        <a:pt x="611" y="197"/>
                      </a:lnTo>
                      <a:lnTo>
                        <a:pt x="611" y="198"/>
                      </a:lnTo>
                      <a:lnTo>
                        <a:pt x="613" y="198"/>
                      </a:lnTo>
                      <a:lnTo>
                        <a:pt x="613" y="200"/>
                      </a:lnTo>
                      <a:lnTo>
                        <a:pt x="613" y="202"/>
                      </a:lnTo>
                      <a:lnTo>
                        <a:pt x="615" y="203"/>
                      </a:lnTo>
                      <a:lnTo>
                        <a:pt x="616" y="203"/>
                      </a:lnTo>
                      <a:lnTo>
                        <a:pt x="616" y="205"/>
                      </a:lnTo>
                      <a:lnTo>
                        <a:pt x="616" y="207"/>
                      </a:lnTo>
                      <a:lnTo>
                        <a:pt x="615" y="207"/>
                      </a:lnTo>
                      <a:lnTo>
                        <a:pt x="615" y="205"/>
                      </a:lnTo>
                      <a:lnTo>
                        <a:pt x="613" y="205"/>
                      </a:lnTo>
                      <a:lnTo>
                        <a:pt x="613" y="207"/>
                      </a:lnTo>
                      <a:lnTo>
                        <a:pt x="611" y="207"/>
                      </a:lnTo>
                      <a:lnTo>
                        <a:pt x="610" y="207"/>
                      </a:lnTo>
                      <a:lnTo>
                        <a:pt x="610" y="208"/>
                      </a:lnTo>
                      <a:lnTo>
                        <a:pt x="610" y="210"/>
                      </a:lnTo>
                      <a:lnTo>
                        <a:pt x="611" y="210"/>
                      </a:lnTo>
                      <a:lnTo>
                        <a:pt x="611" y="212"/>
                      </a:lnTo>
                      <a:lnTo>
                        <a:pt x="610" y="212"/>
                      </a:lnTo>
                      <a:lnTo>
                        <a:pt x="608" y="212"/>
                      </a:lnTo>
                      <a:lnTo>
                        <a:pt x="606" y="212"/>
                      </a:lnTo>
                      <a:lnTo>
                        <a:pt x="606" y="213"/>
                      </a:lnTo>
                      <a:lnTo>
                        <a:pt x="608" y="213"/>
                      </a:lnTo>
                      <a:lnTo>
                        <a:pt x="610" y="213"/>
                      </a:lnTo>
                      <a:lnTo>
                        <a:pt x="611" y="213"/>
                      </a:lnTo>
                      <a:lnTo>
                        <a:pt x="613" y="213"/>
                      </a:lnTo>
                      <a:lnTo>
                        <a:pt x="615" y="213"/>
                      </a:lnTo>
                      <a:lnTo>
                        <a:pt x="615" y="215"/>
                      </a:lnTo>
                      <a:lnTo>
                        <a:pt x="616" y="215"/>
                      </a:lnTo>
                      <a:lnTo>
                        <a:pt x="616" y="216"/>
                      </a:lnTo>
                      <a:lnTo>
                        <a:pt x="618" y="216"/>
                      </a:lnTo>
                      <a:lnTo>
                        <a:pt x="616" y="218"/>
                      </a:lnTo>
                      <a:lnTo>
                        <a:pt x="615" y="218"/>
                      </a:lnTo>
                      <a:lnTo>
                        <a:pt x="613" y="220"/>
                      </a:lnTo>
                      <a:lnTo>
                        <a:pt x="613" y="221"/>
                      </a:lnTo>
                      <a:lnTo>
                        <a:pt x="611" y="221"/>
                      </a:lnTo>
                      <a:lnTo>
                        <a:pt x="611" y="220"/>
                      </a:lnTo>
                      <a:lnTo>
                        <a:pt x="611" y="221"/>
                      </a:lnTo>
                      <a:lnTo>
                        <a:pt x="610" y="223"/>
                      </a:lnTo>
                      <a:lnTo>
                        <a:pt x="610" y="225"/>
                      </a:lnTo>
                      <a:lnTo>
                        <a:pt x="610" y="226"/>
                      </a:lnTo>
                      <a:lnTo>
                        <a:pt x="608" y="226"/>
                      </a:lnTo>
                      <a:lnTo>
                        <a:pt x="610" y="226"/>
                      </a:lnTo>
                      <a:lnTo>
                        <a:pt x="610" y="228"/>
                      </a:lnTo>
                      <a:lnTo>
                        <a:pt x="608" y="228"/>
                      </a:lnTo>
                      <a:lnTo>
                        <a:pt x="606" y="228"/>
                      </a:lnTo>
                      <a:lnTo>
                        <a:pt x="606" y="230"/>
                      </a:lnTo>
                      <a:lnTo>
                        <a:pt x="608" y="230"/>
                      </a:lnTo>
                      <a:lnTo>
                        <a:pt x="608" y="231"/>
                      </a:lnTo>
                      <a:lnTo>
                        <a:pt x="606" y="231"/>
                      </a:lnTo>
                      <a:lnTo>
                        <a:pt x="608" y="231"/>
                      </a:lnTo>
                      <a:lnTo>
                        <a:pt x="608" y="233"/>
                      </a:lnTo>
                      <a:lnTo>
                        <a:pt x="606" y="233"/>
                      </a:lnTo>
                      <a:lnTo>
                        <a:pt x="606" y="235"/>
                      </a:lnTo>
                      <a:lnTo>
                        <a:pt x="608" y="235"/>
                      </a:lnTo>
                      <a:lnTo>
                        <a:pt x="608" y="236"/>
                      </a:lnTo>
                      <a:lnTo>
                        <a:pt x="610" y="236"/>
                      </a:lnTo>
                      <a:lnTo>
                        <a:pt x="610" y="238"/>
                      </a:lnTo>
                      <a:lnTo>
                        <a:pt x="611" y="238"/>
                      </a:lnTo>
                      <a:lnTo>
                        <a:pt x="611" y="239"/>
                      </a:lnTo>
                      <a:lnTo>
                        <a:pt x="611" y="241"/>
                      </a:lnTo>
                      <a:lnTo>
                        <a:pt x="611" y="243"/>
                      </a:lnTo>
                      <a:lnTo>
                        <a:pt x="613" y="243"/>
                      </a:lnTo>
                      <a:lnTo>
                        <a:pt x="613" y="244"/>
                      </a:lnTo>
                      <a:lnTo>
                        <a:pt x="615" y="244"/>
                      </a:lnTo>
                      <a:lnTo>
                        <a:pt x="616" y="244"/>
                      </a:lnTo>
                      <a:lnTo>
                        <a:pt x="618" y="246"/>
                      </a:lnTo>
                      <a:lnTo>
                        <a:pt x="618" y="244"/>
                      </a:lnTo>
                      <a:lnTo>
                        <a:pt x="620" y="244"/>
                      </a:lnTo>
                      <a:lnTo>
                        <a:pt x="620" y="246"/>
                      </a:lnTo>
                      <a:lnTo>
                        <a:pt x="621" y="246"/>
                      </a:lnTo>
                      <a:lnTo>
                        <a:pt x="623" y="246"/>
                      </a:lnTo>
                      <a:lnTo>
                        <a:pt x="621" y="248"/>
                      </a:lnTo>
                      <a:lnTo>
                        <a:pt x="623" y="248"/>
                      </a:lnTo>
                      <a:lnTo>
                        <a:pt x="625" y="248"/>
                      </a:lnTo>
                      <a:lnTo>
                        <a:pt x="623" y="249"/>
                      </a:lnTo>
                      <a:lnTo>
                        <a:pt x="627" y="251"/>
                      </a:lnTo>
                      <a:lnTo>
                        <a:pt x="627" y="253"/>
                      </a:lnTo>
                      <a:lnTo>
                        <a:pt x="628" y="251"/>
                      </a:lnTo>
                      <a:lnTo>
                        <a:pt x="628" y="253"/>
                      </a:lnTo>
                      <a:lnTo>
                        <a:pt x="630" y="253"/>
                      </a:lnTo>
                      <a:lnTo>
                        <a:pt x="632" y="253"/>
                      </a:lnTo>
                      <a:lnTo>
                        <a:pt x="633" y="254"/>
                      </a:lnTo>
                      <a:lnTo>
                        <a:pt x="635" y="254"/>
                      </a:lnTo>
                      <a:lnTo>
                        <a:pt x="637" y="254"/>
                      </a:lnTo>
                      <a:lnTo>
                        <a:pt x="635" y="254"/>
                      </a:lnTo>
                      <a:lnTo>
                        <a:pt x="635" y="256"/>
                      </a:lnTo>
                      <a:lnTo>
                        <a:pt x="633" y="256"/>
                      </a:lnTo>
                      <a:lnTo>
                        <a:pt x="633" y="258"/>
                      </a:lnTo>
                      <a:lnTo>
                        <a:pt x="635" y="258"/>
                      </a:lnTo>
                      <a:lnTo>
                        <a:pt x="635" y="259"/>
                      </a:lnTo>
                      <a:lnTo>
                        <a:pt x="635" y="261"/>
                      </a:lnTo>
                      <a:lnTo>
                        <a:pt x="637" y="262"/>
                      </a:lnTo>
                      <a:lnTo>
                        <a:pt x="635" y="262"/>
                      </a:lnTo>
                      <a:lnTo>
                        <a:pt x="635" y="264"/>
                      </a:lnTo>
                      <a:lnTo>
                        <a:pt x="637" y="264"/>
                      </a:lnTo>
                      <a:lnTo>
                        <a:pt x="637" y="266"/>
                      </a:lnTo>
                      <a:lnTo>
                        <a:pt x="635" y="266"/>
                      </a:lnTo>
                      <a:lnTo>
                        <a:pt x="637" y="266"/>
                      </a:lnTo>
                      <a:lnTo>
                        <a:pt x="635" y="266"/>
                      </a:lnTo>
                      <a:lnTo>
                        <a:pt x="633" y="266"/>
                      </a:lnTo>
                      <a:lnTo>
                        <a:pt x="632" y="266"/>
                      </a:lnTo>
                      <a:lnTo>
                        <a:pt x="630" y="267"/>
                      </a:lnTo>
                      <a:lnTo>
                        <a:pt x="630" y="266"/>
                      </a:lnTo>
                      <a:lnTo>
                        <a:pt x="630" y="267"/>
                      </a:lnTo>
                      <a:lnTo>
                        <a:pt x="628" y="267"/>
                      </a:lnTo>
                      <a:lnTo>
                        <a:pt x="630" y="267"/>
                      </a:lnTo>
                      <a:lnTo>
                        <a:pt x="630" y="269"/>
                      </a:lnTo>
                      <a:lnTo>
                        <a:pt x="632" y="269"/>
                      </a:lnTo>
                      <a:lnTo>
                        <a:pt x="632" y="271"/>
                      </a:lnTo>
                      <a:lnTo>
                        <a:pt x="632" y="272"/>
                      </a:lnTo>
                      <a:lnTo>
                        <a:pt x="632" y="271"/>
                      </a:lnTo>
                      <a:lnTo>
                        <a:pt x="632" y="272"/>
                      </a:lnTo>
                      <a:lnTo>
                        <a:pt x="633" y="271"/>
                      </a:lnTo>
                      <a:lnTo>
                        <a:pt x="633" y="272"/>
                      </a:lnTo>
                      <a:lnTo>
                        <a:pt x="635" y="272"/>
                      </a:lnTo>
                      <a:lnTo>
                        <a:pt x="637" y="272"/>
                      </a:lnTo>
                      <a:lnTo>
                        <a:pt x="638" y="272"/>
                      </a:lnTo>
                      <a:lnTo>
                        <a:pt x="638" y="274"/>
                      </a:lnTo>
                      <a:lnTo>
                        <a:pt x="640" y="274"/>
                      </a:lnTo>
                      <a:lnTo>
                        <a:pt x="642" y="274"/>
                      </a:lnTo>
                      <a:lnTo>
                        <a:pt x="643" y="274"/>
                      </a:lnTo>
                      <a:lnTo>
                        <a:pt x="643" y="276"/>
                      </a:lnTo>
                      <a:lnTo>
                        <a:pt x="642" y="276"/>
                      </a:lnTo>
                      <a:lnTo>
                        <a:pt x="642" y="277"/>
                      </a:lnTo>
                      <a:lnTo>
                        <a:pt x="640" y="277"/>
                      </a:lnTo>
                      <a:lnTo>
                        <a:pt x="640" y="279"/>
                      </a:lnTo>
                      <a:lnTo>
                        <a:pt x="638" y="281"/>
                      </a:lnTo>
                      <a:lnTo>
                        <a:pt x="640" y="282"/>
                      </a:lnTo>
                      <a:lnTo>
                        <a:pt x="638" y="282"/>
                      </a:lnTo>
                      <a:lnTo>
                        <a:pt x="638" y="284"/>
                      </a:lnTo>
                      <a:lnTo>
                        <a:pt x="638" y="285"/>
                      </a:lnTo>
                      <a:lnTo>
                        <a:pt x="640" y="285"/>
                      </a:lnTo>
                      <a:lnTo>
                        <a:pt x="640" y="287"/>
                      </a:lnTo>
                      <a:lnTo>
                        <a:pt x="642" y="287"/>
                      </a:lnTo>
                      <a:lnTo>
                        <a:pt x="643" y="287"/>
                      </a:lnTo>
                      <a:lnTo>
                        <a:pt x="645" y="285"/>
                      </a:lnTo>
                      <a:lnTo>
                        <a:pt x="645" y="287"/>
                      </a:lnTo>
                      <a:lnTo>
                        <a:pt x="647" y="287"/>
                      </a:lnTo>
                      <a:lnTo>
                        <a:pt x="647" y="285"/>
                      </a:lnTo>
                      <a:lnTo>
                        <a:pt x="649" y="285"/>
                      </a:lnTo>
                      <a:lnTo>
                        <a:pt x="650" y="285"/>
                      </a:lnTo>
                      <a:lnTo>
                        <a:pt x="650" y="287"/>
                      </a:lnTo>
                      <a:lnTo>
                        <a:pt x="652" y="287"/>
                      </a:lnTo>
                      <a:lnTo>
                        <a:pt x="652" y="285"/>
                      </a:lnTo>
                      <a:lnTo>
                        <a:pt x="654" y="285"/>
                      </a:lnTo>
                      <a:lnTo>
                        <a:pt x="655" y="285"/>
                      </a:lnTo>
                      <a:lnTo>
                        <a:pt x="657" y="284"/>
                      </a:lnTo>
                      <a:lnTo>
                        <a:pt x="659" y="284"/>
                      </a:lnTo>
                      <a:lnTo>
                        <a:pt x="660" y="284"/>
                      </a:lnTo>
                      <a:lnTo>
                        <a:pt x="660" y="285"/>
                      </a:lnTo>
                      <a:lnTo>
                        <a:pt x="662" y="285"/>
                      </a:lnTo>
                      <a:lnTo>
                        <a:pt x="662" y="287"/>
                      </a:lnTo>
                      <a:lnTo>
                        <a:pt x="660" y="287"/>
                      </a:lnTo>
                      <a:lnTo>
                        <a:pt x="660" y="289"/>
                      </a:lnTo>
                      <a:lnTo>
                        <a:pt x="662" y="290"/>
                      </a:lnTo>
                      <a:lnTo>
                        <a:pt x="662" y="289"/>
                      </a:lnTo>
                      <a:lnTo>
                        <a:pt x="664" y="289"/>
                      </a:lnTo>
                      <a:lnTo>
                        <a:pt x="664" y="287"/>
                      </a:lnTo>
                      <a:lnTo>
                        <a:pt x="665" y="287"/>
                      </a:lnTo>
                      <a:lnTo>
                        <a:pt x="667" y="287"/>
                      </a:lnTo>
                      <a:lnTo>
                        <a:pt x="669" y="287"/>
                      </a:lnTo>
                      <a:lnTo>
                        <a:pt x="670" y="287"/>
                      </a:lnTo>
                      <a:lnTo>
                        <a:pt x="672" y="285"/>
                      </a:lnTo>
                      <a:lnTo>
                        <a:pt x="672" y="287"/>
                      </a:lnTo>
                      <a:lnTo>
                        <a:pt x="674" y="285"/>
                      </a:lnTo>
                      <a:lnTo>
                        <a:pt x="674" y="287"/>
                      </a:lnTo>
                      <a:lnTo>
                        <a:pt x="674" y="285"/>
                      </a:lnTo>
                      <a:lnTo>
                        <a:pt x="676" y="285"/>
                      </a:lnTo>
                      <a:lnTo>
                        <a:pt x="676" y="284"/>
                      </a:lnTo>
                      <a:lnTo>
                        <a:pt x="677" y="284"/>
                      </a:lnTo>
                      <a:lnTo>
                        <a:pt x="679" y="284"/>
                      </a:lnTo>
                      <a:lnTo>
                        <a:pt x="679" y="282"/>
                      </a:lnTo>
                      <a:lnTo>
                        <a:pt x="681" y="282"/>
                      </a:lnTo>
                      <a:lnTo>
                        <a:pt x="682" y="281"/>
                      </a:lnTo>
                      <a:lnTo>
                        <a:pt x="684" y="281"/>
                      </a:lnTo>
                      <a:lnTo>
                        <a:pt x="684" y="282"/>
                      </a:lnTo>
                      <a:lnTo>
                        <a:pt x="686" y="282"/>
                      </a:lnTo>
                      <a:lnTo>
                        <a:pt x="684" y="282"/>
                      </a:lnTo>
                      <a:lnTo>
                        <a:pt x="684" y="284"/>
                      </a:lnTo>
                      <a:lnTo>
                        <a:pt x="686" y="284"/>
                      </a:lnTo>
                      <a:lnTo>
                        <a:pt x="686" y="285"/>
                      </a:lnTo>
                      <a:lnTo>
                        <a:pt x="687" y="285"/>
                      </a:lnTo>
                      <a:lnTo>
                        <a:pt x="687" y="284"/>
                      </a:lnTo>
                      <a:lnTo>
                        <a:pt x="687" y="282"/>
                      </a:lnTo>
                      <a:lnTo>
                        <a:pt x="689" y="282"/>
                      </a:lnTo>
                      <a:lnTo>
                        <a:pt x="689" y="281"/>
                      </a:lnTo>
                      <a:lnTo>
                        <a:pt x="691" y="281"/>
                      </a:lnTo>
                      <a:lnTo>
                        <a:pt x="691" y="282"/>
                      </a:lnTo>
                      <a:lnTo>
                        <a:pt x="691" y="281"/>
                      </a:lnTo>
                      <a:lnTo>
                        <a:pt x="692" y="281"/>
                      </a:lnTo>
                      <a:lnTo>
                        <a:pt x="692" y="282"/>
                      </a:lnTo>
                      <a:lnTo>
                        <a:pt x="692" y="281"/>
                      </a:lnTo>
                      <a:lnTo>
                        <a:pt x="692" y="282"/>
                      </a:lnTo>
                      <a:lnTo>
                        <a:pt x="694" y="282"/>
                      </a:lnTo>
                      <a:lnTo>
                        <a:pt x="694" y="284"/>
                      </a:lnTo>
                      <a:lnTo>
                        <a:pt x="696" y="284"/>
                      </a:lnTo>
                      <a:lnTo>
                        <a:pt x="696" y="282"/>
                      </a:lnTo>
                      <a:lnTo>
                        <a:pt x="696" y="279"/>
                      </a:lnTo>
                      <a:lnTo>
                        <a:pt x="698" y="279"/>
                      </a:lnTo>
                      <a:lnTo>
                        <a:pt x="698" y="277"/>
                      </a:lnTo>
                      <a:lnTo>
                        <a:pt x="699" y="277"/>
                      </a:lnTo>
                      <a:lnTo>
                        <a:pt x="699" y="279"/>
                      </a:lnTo>
                      <a:lnTo>
                        <a:pt x="701" y="279"/>
                      </a:lnTo>
                      <a:lnTo>
                        <a:pt x="701" y="281"/>
                      </a:lnTo>
                      <a:lnTo>
                        <a:pt x="701" y="279"/>
                      </a:lnTo>
                      <a:lnTo>
                        <a:pt x="701" y="277"/>
                      </a:lnTo>
                      <a:lnTo>
                        <a:pt x="701" y="276"/>
                      </a:lnTo>
                      <a:lnTo>
                        <a:pt x="701" y="277"/>
                      </a:lnTo>
                      <a:lnTo>
                        <a:pt x="701" y="276"/>
                      </a:lnTo>
                      <a:lnTo>
                        <a:pt x="703" y="276"/>
                      </a:lnTo>
                      <a:lnTo>
                        <a:pt x="701" y="274"/>
                      </a:lnTo>
                      <a:lnTo>
                        <a:pt x="701" y="272"/>
                      </a:lnTo>
                      <a:lnTo>
                        <a:pt x="701" y="271"/>
                      </a:lnTo>
                      <a:lnTo>
                        <a:pt x="699" y="271"/>
                      </a:lnTo>
                      <a:lnTo>
                        <a:pt x="698" y="271"/>
                      </a:lnTo>
                      <a:lnTo>
                        <a:pt x="696" y="272"/>
                      </a:lnTo>
                      <a:lnTo>
                        <a:pt x="694" y="272"/>
                      </a:lnTo>
                      <a:lnTo>
                        <a:pt x="692" y="272"/>
                      </a:lnTo>
                      <a:lnTo>
                        <a:pt x="692" y="271"/>
                      </a:lnTo>
                      <a:lnTo>
                        <a:pt x="691" y="271"/>
                      </a:lnTo>
                      <a:lnTo>
                        <a:pt x="692" y="271"/>
                      </a:lnTo>
                      <a:lnTo>
                        <a:pt x="692" y="269"/>
                      </a:lnTo>
                      <a:lnTo>
                        <a:pt x="694" y="269"/>
                      </a:lnTo>
                      <a:lnTo>
                        <a:pt x="696" y="267"/>
                      </a:lnTo>
                      <a:lnTo>
                        <a:pt x="698" y="267"/>
                      </a:lnTo>
                      <a:lnTo>
                        <a:pt x="698" y="266"/>
                      </a:lnTo>
                      <a:lnTo>
                        <a:pt x="699" y="266"/>
                      </a:lnTo>
                      <a:lnTo>
                        <a:pt x="701" y="266"/>
                      </a:lnTo>
                      <a:lnTo>
                        <a:pt x="703" y="266"/>
                      </a:lnTo>
                      <a:lnTo>
                        <a:pt x="703" y="264"/>
                      </a:lnTo>
                      <a:lnTo>
                        <a:pt x="704" y="264"/>
                      </a:lnTo>
                      <a:lnTo>
                        <a:pt x="703" y="264"/>
                      </a:lnTo>
                      <a:lnTo>
                        <a:pt x="701" y="262"/>
                      </a:lnTo>
                      <a:lnTo>
                        <a:pt x="701" y="261"/>
                      </a:lnTo>
                      <a:lnTo>
                        <a:pt x="701" y="262"/>
                      </a:lnTo>
                      <a:lnTo>
                        <a:pt x="701" y="261"/>
                      </a:lnTo>
                      <a:lnTo>
                        <a:pt x="699" y="261"/>
                      </a:lnTo>
                      <a:lnTo>
                        <a:pt x="699" y="259"/>
                      </a:lnTo>
                      <a:lnTo>
                        <a:pt x="701" y="259"/>
                      </a:lnTo>
                      <a:lnTo>
                        <a:pt x="701" y="258"/>
                      </a:lnTo>
                      <a:lnTo>
                        <a:pt x="703" y="258"/>
                      </a:lnTo>
                      <a:lnTo>
                        <a:pt x="703" y="259"/>
                      </a:lnTo>
                      <a:lnTo>
                        <a:pt x="704" y="258"/>
                      </a:lnTo>
                      <a:lnTo>
                        <a:pt x="706" y="258"/>
                      </a:lnTo>
                      <a:lnTo>
                        <a:pt x="706" y="259"/>
                      </a:lnTo>
                      <a:lnTo>
                        <a:pt x="708" y="259"/>
                      </a:lnTo>
                      <a:lnTo>
                        <a:pt x="706" y="259"/>
                      </a:lnTo>
                      <a:lnTo>
                        <a:pt x="706" y="261"/>
                      </a:lnTo>
                      <a:lnTo>
                        <a:pt x="706" y="262"/>
                      </a:lnTo>
                      <a:lnTo>
                        <a:pt x="704" y="262"/>
                      </a:lnTo>
                      <a:lnTo>
                        <a:pt x="704" y="264"/>
                      </a:lnTo>
                      <a:lnTo>
                        <a:pt x="706" y="264"/>
                      </a:lnTo>
                      <a:lnTo>
                        <a:pt x="708" y="264"/>
                      </a:lnTo>
                      <a:lnTo>
                        <a:pt x="709" y="264"/>
                      </a:lnTo>
                      <a:lnTo>
                        <a:pt x="711" y="264"/>
                      </a:lnTo>
                      <a:lnTo>
                        <a:pt x="711" y="262"/>
                      </a:lnTo>
                      <a:lnTo>
                        <a:pt x="713" y="262"/>
                      </a:lnTo>
                      <a:lnTo>
                        <a:pt x="713" y="261"/>
                      </a:lnTo>
                      <a:lnTo>
                        <a:pt x="714" y="261"/>
                      </a:lnTo>
                      <a:lnTo>
                        <a:pt x="713" y="261"/>
                      </a:lnTo>
                      <a:lnTo>
                        <a:pt x="714" y="261"/>
                      </a:lnTo>
                      <a:close/>
                      <a:moveTo>
                        <a:pt x="701" y="369"/>
                      </a:moveTo>
                      <a:lnTo>
                        <a:pt x="703" y="369"/>
                      </a:lnTo>
                      <a:lnTo>
                        <a:pt x="701" y="369"/>
                      </a:lnTo>
                      <a:close/>
                      <a:moveTo>
                        <a:pt x="719" y="374"/>
                      </a:moveTo>
                      <a:lnTo>
                        <a:pt x="719" y="376"/>
                      </a:lnTo>
                      <a:lnTo>
                        <a:pt x="719" y="374"/>
                      </a:lnTo>
                      <a:close/>
                      <a:moveTo>
                        <a:pt x="694" y="376"/>
                      </a:moveTo>
                      <a:lnTo>
                        <a:pt x="696" y="376"/>
                      </a:lnTo>
                      <a:lnTo>
                        <a:pt x="694" y="376"/>
                      </a:lnTo>
                      <a:close/>
                      <a:moveTo>
                        <a:pt x="745" y="366"/>
                      </a:moveTo>
                      <a:lnTo>
                        <a:pt x="745" y="368"/>
                      </a:lnTo>
                      <a:lnTo>
                        <a:pt x="746" y="368"/>
                      </a:lnTo>
                      <a:lnTo>
                        <a:pt x="748" y="368"/>
                      </a:lnTo>
                      <a:lnTo>
                        <a:pt x="748" y="369"/>
                      </a:lnTo>
                      <a:lnTo>
                        <a:pt x="746" y="369"/>
                      </a:lnTo>
                      <a:lnTo>
                        <a:pt x="746" y="371"/>
                      </a:lnTo>
                      <a:lnTo>
                        <a:pt x="746" y="372"/>
                      </a:lnTo>
                      <a:lnTo>
                        <a:pt x="746" y="374"/>
                      </a:lnTo>
                      <a:lnTo>
                        <a:pt x="746" y="372"/>
                      </a:lnTo>
                      <a:lnTo>
                        <a:pt x="746" y="374"/>
                      </a:lnTo>
                      <a:lnTo>
                        <a:pt x="748" y="374"/>
                      </a:lnTo>
                      <a:lnTo>
                        <a:pt x="746" y="374"/>
                      </a:lnTo>
                      <a:lnTo>
                        <a:pt x="745" y="374"/>
                      </a:lnTo>
                      <a:lnTo>
                        <a:pt x="743" y="374"/>
                      </a:lnTo>
                      <a:lnTo>
                        <a:pt x="743" y="376"/>
                      </a:lnTo>
                      <a:lnTo>
                        <a:pt x="741" y="376"/>
                      </a:lnTo>
                      <a:lnTo>
                        <a:pt x="743" y="376"/>
                      </a:lnTo>
                      <a:lnTo>
                        <a:pt x="741" y="376"/>
                      </a:lnTo>
                      <a:lnTo>
                        <a:pt x="741" y="377"/>
                      </a:lnTo>
                      <a:lnTo>
                        <a:pt x="743" y="377"/>
                      </a:lnTo>
                      <a:lnTo>
                        <a:pt x="743" y="379"/>
                      </a:lnTo>
                      <a:lnTo>
                        <a:pt x="745" y="379"/>
                      </a:lnTo>
                      <a:lnTo>
                        <a:pt x="746" y="379"/>
                      </a:lnTo>
                      <a:lnTo>
                        <a:pt x="748" y="379"/>
                      </a:lnTo>
                      <a:lnTo>
                        <a:pt x="748" y="381"/>
                      </a:lnTo>
                      <a:lnTo>
                        <a:pt x="746" y="381"/>
                      </a:lnTo>
                      <a:lnTo>
                        <a:pt x="746" y="382"/>
                      </a:lnTo>
                      <a:lnTo>
                        <a:pt x="746" y="384"/>
                      </a:lnTo>
                      <a:lnTo>
                        <a:pt x="748" y="384"/>
                      </a:lnTo>
                      <a:lnTo>
                        <a:pt x="746" y="384"/>
                      </a:lnTo>
                      <a:lnTo>
                        <a:pt x="746" y="386"/>
                      </a:lnTo>
                      <a:lnTo>
                        <a:pt x="745" y="386"/>
                      </a:lnTo>
                      <a:lnTo>
                        <a:pt x="743" y="386"/>
                      </a:lnTo>
                      <a:lnTo>
                        <a:pt x="743" y="384"/>
                      </a:lnTo>
                      <a:lnTo>
                        <a:pt x="741" y="384"/>
                      </a:lnTo>
                      <a:lnTo>
                        <a:pt x="743" y="382"/>
                      </a:lnTo>
                      <a:lnTo>
                        <a:pt x="743" y="381"/>
                      </a:lnTo>
                      <a:lnTo>
                        <a:pt x="741" y="381"/>
                      </a:lnTo>
                      <a:lnTo>
                        <a:pt x="740" y="381"/>
                      </a:lnTo>
                      <a:lnTo>
                        <a:pt x="738" y="381"/>
                      </a:lnTo>
                      <a:lnTo>
                        <a:pt x="736" y="382"/>
                      </a:lnTo>
                      <a:lnTo>
                        <a:pt x="738" y="382"/>
                      </a:lnTo>
                      <a:lnTo>
                        <a:pt x="736" y="382"/>
                      </a:lnTo>
                      <a:lnTo>
                        <a:pt x="736" y="381"/>
                      </a:lnTo>
                      <a:lnTo>
                        <a:pt x="736" y="382"/>
                      </a:lnTo>
                      <a:lnTo>
                        <a:pt x="735" y="382"/>
                      </a:lnTo>
                      <a:lnTo>
                        <a:pt x="733" y="382"/>
                      </a:lnTo>
                      <a:lnTo>
                        <a:pt x="731" y="382"/>
                      </a:lnTo>
                      <a:lnTo>
                        <a:pt x="731" y="384"/>
                      </a:lnTo>
                      <a:lnTo>
                        <a:pt x="730" y="384"/>
                      </a:lnTo>
                      <a:lnTo>
                        <a:pt x="728" y="384"/>
                      </a:lnTo>
                      <a:lnTo>
                        <a:pt x="728" y="382"/>
                      </a:lnTo>
                      <a:lnTo>
                        <a:pt x="726" y="382"/>
                      </a:lnTo>
                      <a:lnTo>
                        <a:pt x="726" y="381"/>
                      </a:lnTo>
                      <a:lnTo>
                        <a:pt x="726" y="379"/>
                      </a:lnTo>
                      <a:lnTo>
                        <a:pt x="726" y="377"/>
                      </a:lnTo>
                      <a:lnTo>
                        <a:pt x="728" y="377"/>
                      </a:lnTo>
                      <a:lnTo>
                        <a:pt x="728" y="376"/>
                      </a:lnTo>
                      <a:lnTo>
                        <a:pt x="730" y="376"/>
                      </a:lnTo>
                      <a:lnTo>
                        <a:pt x="730" y="374"/>
                      </a:lnTo>
                      <a:lnTo>
                        <a:pt x="731" y="374"/>
                      </a:lnTo>
                      <a:lnTo>
                        <a:pt x="733" y="372"/>
                      </a:lnTo>
                      <a:lnTo>
                        <a:pt x="735" y="372"/>
                      </a:lnTo>
                      <a:lnTo>
                        <a:pt x="735" y="371"/>
                      </a:lnTo>
                      <a:lnTo>
                        <a:pt x="735" y="369"/>
                      </a:lnTo>
                      <a:lnTo>
                        <a:pt x="735" y="368"/>
                      </a:lnTo>
                      <a:lnTo>
                        <a:pt x="736" y="368"/>
                      </a:lnTo>
                      <a:lnTo>
                        <a:pt x="736" y="366"/>
                      </a:lnTo>
                      <a:lnTo>
                        <a:pt x="736" y="364"/>
                      </a:lnTo>
                      <a:lnTo>
                        <a:pt x="738" y="364"/>
                      </a:lnTo>
                      <a:lnTo>
                        <a:pt x="738" y="363"/>
                      </a:lnTo>
                      <a:lnTo>
                        <a:pt x="740" y="363"/>
                      </a:lnTo>
                      <a:lnTo>
                        <a:pt x="740" y="364"/>
                      </a:lnTo>
                      <a:lnTo>
                        <a:pt x="741" y="364"/>
                      </a:lnTo>
                      <a:lnTo>
                        <a:pt x="743" y="364"/>
                      </a:lnTo>
                      <a:lnTo>
                        <a:pt x="745" y="366"/>
                      </a:lnTo>
                      <a:close/>
                      <a:moveTo>
                        <a:pt x="767" y="364"/>
                      </a:moveTo>
                      <a:lnTo>
                        <a:pt x="767" y="366"/>
                      </a:lnTo>
                      <a:lnTo>
                        <a:pt x="768" y="366"/>
                      </a:lnTo>
                      <a:lnTo>
                        <a:pt x="768" y="368"/>
                      </a:lnTo>
                      <a:lnTo>
                        <a:pt x="767" y="368"/>
                      </a:lnTo>
                      <a:lnTo>
                        <a:pt x="767" y="366"/>
                      </a:lnTo>
                      <a:lnTo>
                        <a:pt x="768" y="366"/>
                      </a:lnTo>
                      <a:lnTo>
                        <a:pt x="767" y="366"/>
                      </a:lnTo>
                      <a:lnTo>
                        <a:pt x="767" y="364"/>
                      </a:lnTo>
                      <a:close/>
                      <a:moveTo>
                        <a:pt x="767" y="364"/>
                      </a:moveTo>
                      <a:lnTo>
                        <a:pt x="767" y="366"/>
                      </a:lnTo>
                      <a:lnTo>
                        <a:pt x="767" y="364"/>
                      </a:lnTo>
                      <a:close/>
                      <a:moveTo>
                        <a:pt x="755" y="371"/>
                      </a:moveTo>
                      <a:lnTo>
                        <a:pt x="755" y="369"/>
                      </a:lnTo>
                      <a:lnTo>
                        <a:pt x="757" y="369"/>
                      </a:lnTo>
                      <a:lnTo>
                        <a:pt x="757" y="371"/>
                      </a:lnTo>
                      <a:lnTo>
                        <a:pt x="758" y="371"/>
                      </a:lnTo>
                      <a:lnTo>
                        <a:pt x="758" y="372"/>
                      </a:lnTo>
                      <a:lnTo>
                        <a:pt x="758" y="371"/>
                      </a:lnTo>
                      <a:lnTo>
                        <a:pt x="757" y="371"/>
                      </a:lnTo>
                      <a:lnTo>
                        <a:pt x="757" y="372"/>
                      </a:lnTo>
                      <a:lnTo>
                        <a:pt x="755" y="372"/>
                      </a:lnTo>
                      <a:lnTo>
                        <a:pt x="755" y="371"/>
                      </a:lnTo>
                      <a:lnTo>
                        <a:pt x="753" y="371"/>
                      </a:lnTo>
                      <a:lnTo>
                        <a:pt x="755" y="371"/>
                      </a:lnTo>
                      <a:close/>
                      <a:moveTo>
                        <a:pt x="741" y="351"/>
                      </a:moveTo>
                      <a:lnTo>
                        <a:pt x="743" y="351"/>
                      </a:lnTo>
                      <a:lnTo>
                        <a:pt x="743" y="353"/>
                      </a:lnTo>
                      <a:lnTo>
                        <a:pt x="741" y="353"/>
                      </a:lnTo>
                      <a:lnTo>
                        <a:pt x="741" y="351"/>
                      </a:lnTo>
                      <a:close/>
                      <a:moveTo>
                        <a:pt x="774" y="333"/>
                      </a:moveTo>
                      <a:lnTo>
                        <a:pt x="775" y="331"/>
                      </a:lnTo>
                      <a:lnTo>
                        <a:pt x="775" y="333"/>
                      </a:lnTo>
                      <a:lnTo>
                        <a:pt x="774" y="333"/>
                      </a:lnTo>
                      <a:close/>
                      <a:moveTo>
                        <a:pt x="784" y="335"/>
                      </a:moveTo>
                      <a:lnTo>
                        <a:pt x="784" y="333"/>
                      </a:lnTo>
                      <a:lnTo>
                        <a:pt x="784" y="335"/>
                      </a:lnTo>
                      <a:close/>
                      <a:moveTo>
                        <a:pt x="784" y="335"/>
                      </a:moveTo>
                      <a:lnTo>
                        <a:pt x="784" y="336"/>
                      </a:lnTo>
                      <a:lnTo>
                        <a:pt x="782" y="336"/>
                      </a:lnTo>
                      <a:lnTo>
                        <a:pt x="784" y="335"/>
                      </a:lnTo>
                      <a:close/>
                      <a:moveTo>
                        <a:pt x="762" y="348"/>
                      </a:moveTo>
                      <a:lnTo>
                        <a:pt x="762" y="350"/>
                      </a:lnTo>
                      <a:lnTo>
                        <a:pt x="762" y="348"/>
                      </a:lnTo>
                      <a:lnTo>
                        <a:pt x="762" y="346"/>
                      </a:lnTo>
                      <a:lnTo>
                        <a:pt x="762" y="345"/>
                      </a:lnTo>
                      <a:lnTo>
                        <a:pt x="762" y="346"/>
                      </a:lnTo>
                      <a:lnTo>
                        <a:pt x="763" y="346"/>
                      </a:lnTo>
                      <a:lnTo>
                        <a:pt x="763" y="345"/>
                      </a:lnTo>
                      <a:lnTo>
                        <a:pt x="765" y="345"/>
                      </a:lnTo>
                      <a:lnTo>
                        <a:pt x="765" y="346"/>
                      </a:lnTo>
                      <a:lnTo>
                        <a:pt x="765" y="348"/>
                      </a:lnTo>
                      <a:lnTo>
                        <a:pt x="763" y="346"/>
                      </a:lnTo>
                      <a:lnTo>
                        <a:pt x="763" y="348"/>
                      </a:lnTo>
                      <a:lnTo>
                        <a:pt x="762" y="348"/>
                      </a:lnTo>
                      <a:close/>
                      <a:moveTo>
                        <a:pt x="755" y="348"/>
                      </a:moveTo>
                      <a:lnTo>
                        <a:pt x="755" y="350"/>
                      </a:lnTo>
                      <a:lnTo>
                        <a:pt x="753" y="350"/>
                      </a:lnTo>
                      <a:lnTo>
                        <a:pt x="755" y="348"/>
                      </a:lnTo>
                      <a:close/>
                      <a:moveTo>
                        <a:pt x="657" y="386"/>
                      </a:moveTo>
                      <a:lnTo>
                        <a:pt x="657" y="387"/>
                      </a:lnTo>
                      <a:lnTo>
                        <a:pt x="657" y="386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3" name="Freeform 9"/>
                <p:cNvSpPr>
                  <a:spLocks noChangeAspect="1"/>
                </p:cNvSpPr>
                <p:nvPr/>
              </p:nvSpPr>
              <p:spPr bwMode="auto">
                <a:xfrm>
                  <a:off x="4668372" y="3471511"/>
                  <a:ext cx="1655197" cy="1340544"/>
                </a:xfrm>
                <a:custGeom>
                  <a:avLst/>
                  <a:gdLst>
                    <a:gd name="T0" fmla="*/ 2147483647 w 1061"/>
                    <a:gd name="T1" fmla="*/ 2147483647 h 801"/>
                    <a:gd name="T2" fmla="*/ 2147483647 w 1061"/>
                    <a:gd name="T3" fmla="*/ 2147483647 h 801"/>
                    <a:gd name="T4" fmla="*/ 2147483647 w 1061"/>
                    <a:gd name="T5" fmla="*/ 2147483647 h 801"/>
                    <a:gd name="T6" fmla="*/ 2147483647 w 1061"/>
                    <a:gd name="T7" fmla="*/ 2147483647 h 801"/>
                    <a:gd name="T8" fmla="*/ 2147483647 w 1061"/>
                    <a:gd name="T9" fmla="*/ 2147483647 h 801"/>
                    <a:gd name="T10" fmla="*/ 2147483647 w 1061"/>
                    <a:gd name="T11" fmla="*/ 2147483647 h 801"/>
                    <a:gd name="T12" fmla="*/ 2147483647 w 1061"/>
                    <a:gd name="T13" fmla="*/ 2147483647 h 801"/>
                    <a:gd name="T14" fmla="*/ 2147483647 w 1061"/>
                    <a:gd name="T15" fmla="*/ 2147483647 h 801"/>
                    <a:gd name="T16" fmla="*/ 2147483647 w 1061"/>
                    <a:gd name="T17" fmla="*/ 2147483647 h 801"/>
                    <a:gd name="T18" fmla="*/ 2147483647 w 1061"/>
                    <a:gd name="T19" fmla="*/ 2147483647 h 801"/>
                    <a:gd name="T20" fmla="*/ 2147483647 w 1061"/>
                    <a:gd name="T21" fmla="*/ 2147483647 h 801"/>
                    <a:gd name="T22" fmla="*/ 2147483647 w 1061"/>
                    <a:gd name="T23" fmla="*/ 2147483647 h 801"/>
                    <a:gd name="T24" fmla="*/ 2147483647 w 1061"/>
                    <a:gd name="T25" fmla="*/ 2147483647 h 801"/>
                    <a:gd name="T26" fmla="*/ 2147483647 w 1061"/>
                    <a:gd name="T27" fmla="*/ 2147483647 h 801"/>
                    <a:gd name="T28" fmla="*/ 2147483647 w 1061"/>
                    <a:gd name="T29" fmla="*/ 2147483647 h 801"/>
                    <a:gd name="T30" fmla="*/ 2147483647 w 1061"/>
                    <a:gd name="T31" fmla="*/ 2147483647 h 801"/>
                    <a:gd name="T32" fmla="*/ 2147483647 w 1061"/>
                    <a:gd name="T33" fmla="*/ 2147483647 h 801"/>
                    <a:gd name="T34" fmla="*/ 2147483647 w 1061"/>
                    <a:gd name="T35" fmla="*/ 2147483647 h 801"/>
                    <a:gd name="T36" fmla="*/ 2147483647 w 1061"/>
                    <a:gd name="T37" fmla="*/ 2147483647 h 801"/>
                    <a:gd name="T38" fmla="*/ 2147483647 w 1061"/>
                    <a:gd name="T39" fmla="*/ 2147483647 h 801"/>
                    <a:gd name="T40" fmla="*/ 2147483647 w 1061"/>
                    <a:gd name="T41" fmla="*/ 2147483647 h 801"/>
                    <a:gd name="T42" fmla="*/ 2147483647 w 1061"/>
                    <a:gd name="T43" fmla="*/ 2147483647 h 801"/>
                    <a:gd name="T44" fmla="*/ 2147483647 w 1061"/>
                    <a:gd name="T45" fmla="*/ 2147483647 h 801"/>
                    <a:gd name="T46" fmla="*/ 2147483647 w 1061"/>
                    <a:gd name="T47" fmla="*/ 2147483647 h 801"/>
                    <a:gd name="T48" fmla="*/ 2147483647 w 1061"/>
                    <a:gd name="T49" fmla="*/ 2147483647 h 801"/>
                    <a:gd name="T50" fmla="*/ 2147483647 w 1061"/>
                    <a:gd name="T51" fmla="*/ 2147483647 h 801"/>
                    <a:gd name="T52" fmla="*/ 2147483647 w 1061"/>
                    <a:gd name="T53" fmla="*/ 2147483647 h 801"/>
                    <a:gd name="T54" fmla="*/ 2147483647 w 1061"/>
                    <a:gd name="T55" fmla="*/ 2147483647 h 801"/>
                    <a:gd name="T56" fmla="*/ 2147483647 w 1061"/>
                    <a:gd name="T57" fmla="*/ 2147483647 h 801"/>
                    <a:gd name="T58" fmla="*/ 2147483647 w 1061"/>
                    <a:gd name="T59" fmla="*/ 2147483647 h 801"/>
                    <a:gd name="T60" fmla="*/ 2147483647 w 1061"/>
                    <a:gd name="T61" fmla="*/ 2147483647 h 801"/>
                    <a:gd name="T62" fmla="*/ 2147483647 w 1061"/>
                    <a:gd name="T63" fmla="*/ 2147483647 h 801"/>
                    <a:gd name="T64" fmla="*/ 2147483647 w 1061"/>
                    <a:gd name="T65" fmla="*/ 2147483647 h 801"/>
                    <a:gd name="T66" fmla="*/ 2147483647 w 1061"/>
                    <a:gd name="T67" fmla="*/ 2147483647 h 801"/>
                    <a:gd name="T68" fmla="*/ 2147483647 w 1061"/>
                    <a:gd name="T69" fmla="*/ 2147483647 h 801"/>
                    <a:gd name="T70" fmla="*/ 2147483647 w 1061"/>
                    <a:gd name="T71" fmla="*/ 2147483647 h 801"/>
                    <a:gd name="T72" fmla="*/ 2147483647 w 1061"/>
                    <a:gd name="T73" fmla="*/ 2147483647 h 801"/>
                    <a:gd name="T74" fmla="*/ 2147483647 w 1061"/>
                    <a:gd name="T75" fmla="*/ 2147483647 h 801"/>
                    <a:gd name="T76" fmla="*/ 2147483647 w 1061"/>
                    <a:gd name="T77" fmla="*/ 2147483647 h 801"/>
                    <a:gd name="T78" fmla="*/ 2147483647 w 1061"/>
                    <a:gd name="T79" fmla="*/ 2147483647 h 801"/>
                    <a:gd name="T80" fmla="*/ 2147483647 w 1061"/>
                    <a:gd name="T81" fmla="*/ 2147483647 h 801"/>
                    <a:gd name="T82" fmla="*/ 2147483647 w 1061"/>
                    <a:gd name="T83" fmla="*/ 2147483647 h 801"/>
                    <a:gd name="T84" fmla="*/ 2147483647 w 1061"/>
                    <a:gd name="T85" fmla="*/ 2147483647 h 801"/>
                    <a:gd name="T86" fmla="*/ 2147483647 w 1061"/>
                    <a:gd name="T87" fmla="*/ 2147483647 h 801"/>
                    <a:gd name="T88" fmla="*/ 2147483647 w 1061"/>
                    <a:gd name="T89" fmla="*/ 2147483647 h 801"/>
                    <a:gd name="T90" fmla="*/ 2147483647 w 1061"/>
                    <a:gd name="T91" fmla="*/ 2147483647 h 801"/>
                    <a:gd name="T92" fmla="*/ 2147483647 w 1061"/>
                    <a:gd name="T93" fmla="*/ 2147483647 h 801"/>
                    <a:gd name="T94" fmla="*/ 2147483647 w 1061"/>
                    <a:gd name="T95" fmla="*/ 2147483647 h 801"/>
                    <a:gd name="T96" fmla="*/ 2147483647 w 1061"/>
                    <a:gd name="T97" fmla="*/ 2147483647 h 801"/>
                    <a:gd name="T98" fmla="*/ 2147483647 w 1061"/>
                    <a:gd name="T99" fmla="*/ 2147483647 h 801"/>
                    <a:gd name="T100" fmla="*/ 2147483647 w 1061"/>
                    <a:gd name="T101" fmla="*/ 2147483647 h 801"/>
                    <a:gd name="T102" fmla="*/ 2147483647 w 1061"/>
                    <a:gd name="T103" fmla="*/ 2147483647 h 801"/>
                    <a:gd name="T104" fmla="*/ 2147483647 w 1061"/>
                    <a:gd name="T105" fmla="*/ 2147483647 h 801"/>
                    <a:gd name="T106" fmla="*/ 2147483647 w 1061"/>
                    <a:gd name="T107" fmla="*/ 2147483647 h 801"/>
                    <a:gd name="T108" fmla="*/ 2147483647 w 1061"/>
                    <a:gd name="T109" fmla="*/ 2147483647 h 801"/>
                    <a:gd name="T110" fmla="*/ 2147483647 w 1061"/>
                    <a:gd name="T111" fmla="*/ 2147483647 h 801"/>
                    <a:gd name="T112" fmla="*/ 2147483647 w 1061"/>
                    <a:gd name="T113" fmla="*/ 2147483647 h 801"/>
                    <a:gd name="T114" fmla="*/ 2147483647 w 1061"/>
                    <a:gd name="T115" fmla="*/ 2147483647 h 801"/>
                    <a:gd name="T116" fmla="*/ 2147483647 w 1061"/>
                    <a:gd name="T117" fmla="*/ 2147483647 h 801"/>
                    <a:gd name="T118" fmla="*/ 2147483647 w 1061"/>
                    <a:gd name="T119" fmla="*/ 2147483647 h 801"/>
                    <a:gd name="T120" fmla="*/ 2147483647 w 1061"/>
                    <a:gd name="T121" fmla="*/ 2147483647 h 801"/>
                    <a:gd name="T122" fmla="*/ 2147483647 w 1061"/>
                    <a:gd name="T123" fmla="*/ 2147483647 h 80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061"/>
                    <a:gd name="T187" fmla="*/ 0 h 801"/>
                    <a:gd name="T188" fmla="*/ 1061 w 1061"/>
                    <a:gd name="T189" fmla="*/ 801 h 80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061" h="801">
                      <a:moveTo>
                        <a:pt x="1055" y="189"/>
                      </a:moveTo>
                      <a:lnTo>
                        <a:pt x="1054" y="189"/>
                      </a:lnTo>
                      <a:lnTo>
                        <a:pt x="1052" y="189"/>
                      </a:lnTo>
                      <a:lnTo>
                        <a:pt x="1052" y="190"/>
                      </a:lnTo>
                      <a:lnTo>
                        <a:pt x="1052" y="192"/>
                      </a:lnTo>
                      <a:lnTo>
                        <a:pt x="1050" y="192"/>
                      </a:lnTo>
                      <a:lnTo>
                        <a:pt x="1049" y="192"/>
                      </a:lnTo>
                      <a:lnTo>
                        <a:pt x="1049" y="190"/>
                      </a:lnTo>
                      <a:lnTo>
                        <a:pt x="1049" y="192"/>
                      </a:lnTo>
                      <a:lnTo>
                        <a:pt x="1047" y="192"/>
                      </a:lnTo>
                      <a:lnTo>
                        <a:pt x="1049" y="192"/>
                      </a:lnTo>
                      <a:lnTo>
                        <a:pt x="1047" y="194"/>
                      </a:lnTo>
                      <a:lnTo>
                        <a:pt x="1045" y="194"/>
                      </a:lnTo>
                      <a:lnTo>
                        <a:pt x="1045" y="195"/>
                      </a:lnTo>
                      <a:lnTo>
                        <a:pt x="1044" y="199"/>
                      </a:lnTo>
                      <a:lnTo>
                        <a:pt x="1044" y="200"/>
                      </a:lnTo>
                      <a:lnTo>
                        <a:pt x="1042" y="202"/>
                      </a:lnTo>
                      <a:lnTo>
                        <a:pt x="1042" y="204"/>
                      </a:lnTo>
                      <a:lnTo>
                        <a:pt x="1042" y="205"/>
                      </a:lnTo>
                      <a:lnTo>
                        <a:pt x="1040" y="205"/>
                      </a:lnTo>
                      <a:lnTo>
                        <a:pt x="1039" y="204"/>
                      </a:lnTo>
                      <a:lnTo>
                        <a:pt x="1039" y="202"/>
                      </a:lnTo>
                      <a:lnTo>
                        <a:pt x="1039" y="200"/>
                      </a:lnTo>
                      <a:lnTo>
                        <a:pt x="1039" y="202"/>
                      </a:lnTo>
                      <a:lnTo>
                        <a:pt x="1037" y="202"/>
                      </a:lnTo>
                      <a:lnTo>
                        <a:pt x="1037" y="204"/>
                      </a:lnTo>
                      <a:lnTo>
                        <a:pt x="1037" y="205"/>
                      </a:lnTo>
                      <a:lnTo>
                        <a:pt x="1035" y="205"/>
                      </a:lnTo>
                      <a:lnTo>
                        <a:pt x="1035" y="207"/>
                      </a:lnTo>
                      <a:lnTo>
                        <a:pt x="1034" y="209"/>
                      </a:lnTo>
                      <a:lnTo>
                        <a:pt x="1032" y="210"/>
                      </a:lnTo>
                      <a:lnTo>
                        <a:pt x="1032" y="212"/>
                      </a:lnTo>
                      <a:lnTo>
                        <a:pt x="1030" y="212"/>
                      </a:lnTo>
                      <a:lnTo>
                        <a:pt x="1032" y="212"/>
                      </a:lnTo>
                      <a:lnTo>
                        <a:pt x="1032" y="213"/>
                      </a:lnTo>
                      <a:lnTo>
                        <a:pt x="1034" y="213"/>
                      </a:lnTo>
                      <a:lnTo>
                        <a:pt x="1034" y="215"/>
                      </a:lnTo>
                      <a:lnTo>
                        <a:pt x="1032" y="215"/>
                      </a:lnTo>
                      <a:lnTo>
                        <a:pt x="1032" y="217"/>
                      </a:lnTo>
                      <a:lnTo>
                        <a:pt x="1030" y="217"/>
                      </a:lnTo>
                      <a:lnTo>
                        <a:pt x="1030" y="215"/>
                      </a:lnTo>
                      <a:lnTo>
                        <a:pt x="1028" y="215"/>
                      </a:lnTo>
                      <a:lnTo>
                        <a:pt x="1027" y="215"/>
                      </a:lnTo>
                      <a:lnTo>
                        <a:pt x="1025" y="213"/>
                      </a:lnTo>
                      <a:lnTo>
                        <a:pt x="1025" y="215"/>
                      </a:lnTo>
                      <a:lnTo>
                        <a:pt x="1023" y="215"/>
                      </a:lnTo>
                      <a:lnTo>
                        <a:pt x="1022" y="215"/>
                      </a:lnTo>
                      <a:lnTo>
                        <a:pt x="1020" y="217"/>
                      </a:lnTo>
                      <a:lnTo>
                        <a:pt x="1020" y="218"/>
                      </a:lnTo>
                      <a:lnTo>
                        <a:pt x="1020" y="220"/>
                      </a:lnTo>
                      <a:lnTo>
                        <a:pt x="1020" y="222"/>
                      </a:lnTo>
                      <a:lnTo>
                        <a:pt x="1018" y="223"/>
                      </a:lnTo>
                      <a:lnTo>
                        <a:pt x="1018" y="225"/>
                      </a:lnTo>
                      <a:lnTo>
                        <a:pt x="1018" y="227"/>
                      </a:lnTo>
                      <a:lnTo>
                        <a:pt x="1018" y="228"/>
                      </a:lnTo>
                      <a:lnTo>
                        <a:pt x="1018" y="230"/>
                      </a:lnTo>
                      <a:lnTo>
                        <a:pt x="1017" y="232"/>
                      </a:lnTo>
                      <a:lnTo>
                        <a:pt x="1017" y="233"/>
                      </a:lnTo>
                      <a:lnTo>
                        <a:pt x="1015" y="233"/>
                      </a:lnTo>
                      <a:lnTo>
                        <a:pt x="1015" y="235"/>
                      </a:lnTo>
                      <a:lnTo>
                        <a:pt x="1017" y="235"/>
                      </a:lnTo>
                      <a:lnTo>
                        <a:pt x="1017" y="236"/>
                      </a:lnTo>
                      <a:lnTo>
                        <a:pt x="1020" y="236"/>
                      </a:lnTo>
                      <a:lnTo>
                        <a:pt x="1022" y="236"/>
                      </a:lnTo>
                      <a:lnTo>
                        <a:pt x="1022" y="235"/>
                      </a:lnTo>
                      <a:lnTo>
                        <a:pt x="1022" y="236"/>
                      </a:lnTo>
                      <a:lnTo>
                        <a:pt x="1023" y="236"/>
                      </a:lnTo>
                      <a:lnTo>
                        <a:pt x="1023" y="238"/>
                      </a:lnTo>
                      <a:lnTo>
                        <a:pt x="1023" y="240"/>
                      </a:lnTo>
                      <a:lnTo>
                        <a:pt x="1023" y="241"/>
                      </a:lnTo>
                      <a:lnTo>
                        <a:pt x="1022" y="241"/>
                      </a:lnTo>
                      <a:lnTo>
                        <a:pt x="1022" y="243"/>
                      </a:lnTo>
                      <a:lnTo>
                        <a:pt x="1022" y="245"/>
                      </a:lnTo>
                      <a:lnTo>
                        <a:pt x="1020" y="245"/>
                      </a:lnTo>
                      <a:lnTo>
                        <a:pt x="1020" y="246"/>
                      </a:lnTo>
                      <a:lnTo>
                        <a:pt x="1018" y="245"/>
                      </a:lnTo>
                      <a:lnTo>
                        <a:pt x="1018" y="246"/>
                      </a:lnTo>
                      <a:lnTo>
                        <a:pt x="1017" y="246"/>
                      </a:lnTo>
                      <a:lnTo>
                        <a:pt x="1015" y="245"/>
                      </a:lnTo>
                      <a:lnTo>
                        <a:pt x="1013" y="245"/>
                      </a:lnTo>
                      <a:lnTo>
                        <a:pt x="1013" y="243"/>
                      </a:lnTo>
                      <a:lnTo>
                        <a:pt x="1012" y="243"/>
                      </a:lnTo>
                      <a:lnTo>
                        <a:pt x="1012" y="245"/>
                      </a:lnTo>
                      <a:lnTo>
                        <a:pt x="1010" y="245"/>
                      </a:lnTo>
                      <a:lnTo>
                        <a:pt x="1008" y="245"/>
                      </a:lnTo>
                      <a:lnTo>
                        <a:pt x="1006" y="245"/>
                      </a:lnTo>
                      <a:lnTo>
                        <a:pt x="1005" y="245"/>
                      </a:lnTo>
                      <a:lnTo>
                        <a:pt x="1005" y="243"/>
                      </a:lnTo>
                      <a:lnTo>
                        <a:pt x="1003" y="243"/>
                      </a:lnTo>
                      <a:lnTo>
                        <a:pt x="1001" y="243"/>
                      </a:lnTo>
                      <a:lnTo>
                        <a:pt x="1001" y="245"/>
                      </a:lnTo>
                      <a:lnTo>
                        <a:pt x="1001" y="246"/>
                      </a:lnTo>
                      <a:lnTo>
                        <a:pt x="1000" y="246"/>
                      </a:lnTo>
                      <a:lnTo>
                        <a:pt x="1000" y="248"/>
                      </a:lnTo>
                      <a:lnTo>
                        <a:pt x="1000" y="250"/>
                      </a:lnTo>
                      <a:lnTo>
                        <a:pt x="998" y="250"/>
                      </a:lnTo>
                      <a:lnTo>
                        <a:pt x="998" y="251"/>
                      </a:lnTo>
                      <a:lnTo>
                        <a:pt x="998" y="253"/>
                      </a:lnTo>
                      <a:lnTo>
                        <a:pt x="996" y="253"/>
                      </a:lnTo>
                      <a:lnTo>
                        <a:pt x="995" y="253"/>
                      </a:lnTo>
                      <a:lnTo>
                        <a:pt x="995" y="255"/>
                      </a:lnTo>
                      <a:lnTo>
                        <a:pt x="995" y="256"/>
                      </a:lnTo>
                      <a:lnTo>
                        <a:pt x="995" y="258"/>
                      </a:lnTo>
                      <a:lnTo>
                        <a:pt x="995" y="259"/>
                      </a:lnTo>
                      <a:lnTo>
                        <a:pt x="993" y="259"/>
                      </a:lnTo>
                      <a:lnTo>
                        <a:pt x="993" y="261"/>
                      </a:lnTo>
                      <a:lnTo>
                        <a:pt x="993" y="263"/>
                      </a:lnTo>
                      <a:lnTo>
                        <a:pt x="995" y="263"/>
                      </a:lnTo>
                      <a:lnTo>
                        <a:pt x="995" y="264"/>
                      </a:lnTo>
                      <a:lnTo>
                        <a:pt x="995" y="266"/>
                      </a:lnTo>
                      <a:lnTo>
                        <a:pt x="993" y="266"/>
                      </a:lnTo>
                      <a:lnTo>
                        <a:pt x="993" y="268"/>
                      </a:lnTo>
                      <a:lnTo>
                        <a:pt x="993" y="269"/>
                      </a:lnTo>
                      <a:lnTo>
                        <a:pt x="993" y="271"/>
                      </a:lnTo>
                      <a:lnTo>
                        <a:pt x="995" y="271"/>
                      </a:lnTo>
                      <a:lnTo>
                        <a:pt x="995" y="273"/>
                      </a:lnTo>
                      <a:lnTo>
                        <a:pt x="995" y="274"/>
                      </a:lnTo>
                      <a:lnTo>
                        <a:pt x="995" y="276"/>
                      </a:lnTo>
                      <a:lnTo>
                        <a:pt x="993" y="277"/>
                      </a:lnTo>
                      <a:lnTo>
                        <a:pt x="995" y="277"/>
                      </a:lnTo>
                      <a:lnTo>
                        <a:pt x="995" y="279"/>
                      </a:lnTo>
                      <a:lnTo>
                        <a:pt x="995" y="281"/>
                      </a:lnTo>
                      <a:lnTo>
                        <a:pt x="993" y="282"/>
                      </a:lnTo>
                      <a:lnTo>
                        <a:pt x="991" y="284"/>
                      </a:lnTo>
                      <a:lnTo>
                        <a:pt x="990" y="284"/>
                      </a:lnTo>
                      <a:lnTo>
                        <a:pt x="990" y="286"/>
                      </a:lnTo>
                      <a:lnTo>
                        <a:pt x="991" y="286"/>
                      </a:lnTo>
                      <a:lnTo>
                        <a:pt x="990" y="287"/>
                      </a:lnTo>
                      <a:lnTo>
                        <a:pt x="991" y="287"/>
                      </a:lnTo>
                      <a:lnTo>
                        <a:pt x="991" y="289"/>
                      </a:lnTo>
                      <a:lnTo>
                        <a:pt x="990" y="289"/>
                      </a:lnTo>
                      <a:lnTo>
                        <a:pt x="991" y="291"/>
                      </a:lnTo>
                      <a:lnTo>
                        <a:pt x="990" y="291"/>
                      </a:lnTo>
                      <a:lnTo>
                        <a:pt x="988" y="292"/>
                      </a:lnTo>
                      <a:lnTo>
                        <a:pt x="990" y="292"/>
                      </a:lnTo>
                      <a:lnTo>
                        <a:pt x="991" y="294"/>
                      </a:lnTo>
                      <a:lnTo>
                        <a:pt x="991" y="292"/>
                      </a:lnTo>
                      <a:lnTo>
                        <a:pt x="993" y="292"/>
                      </a:lnTo>
                      <a:lnTo>
                        <a:pt x="995" y="294"/>
                      </a:lnTo>
                      <a:lnTo>
                        <a:pt x="995" y="296"/>
                      </a:lnTo>
                      <a:lnTo>
                        <a:pt x="996" y="296"/>
                      </a:lnTo>
                      <a:lnTo>
                        <a:pt x="998" y="296"/>
                      </a:lnTo>
                      <a:lnTo>
                        <a:pt x="998" y="297"/>
                      </a:lnTo>
                      <a:lnTo>
                        <a:pt x="1000" y="297"/>
                      </a:lnTo>
                      <a:lnTo>
                        <a:pt x="1000" y="299"/>
                      </a:lnTo>
                      <a:lnTo>
                        <a:pt x="1001" y="299"/>
                      </a:lnTo>
                      <a:lnTo>
                        <a:pt x="1001" y="300"/>
                      </a:lnTo>
                      <a:lnTo>
                        <a:pt x="1001" y="302"/>
                      </a:lnTo>
                      <a:lnTo>
                        <a:pt x="1001" y="304"/>
                      </a:lnTo>
                      <a:lnTo>
                        <a:pt x="1003" y="304"/>
                      </a:lnTo>
                      <a:lnTo>
                        <a:pt x="1003" y="305"/>
                      </a:lnTo>
                      <a:lnTo>
                        <a:pt x="1003" y="307"/>
                      </a:lnTo>
                      <a:lnTo>
                        <a:pt x="1005" y="307"/>
                      </a:lnTo>
                      <a:lnTo>
                        <a:pt x="1006" y="307"/>
                      </a:lnTo>
                      <a:lnTo>
                        <a:pt x="1008" y="307"/>
                      </a:lnTo>
                      <a:lnTo>
                        <a:pt x="1008" y="309"/>
                      </a:lnTo>
                      <a:lnTo>
                        <a:pt x="1008" y="310"/>
                      </a:lnTo>
                      <a:lnTo>
                        <a:pt x="1010" y="310"/>
                      </a:lnTo>
                      <a:lnTo>
                        <a:pt x="1010" y="312"/>
                      </a:lnTo>
                      <a:lnTo>
                        <a:pt x="1012" y="310"/>
                      </a:lnTo>
                      <a:lnTo>
                        <a:pt x="1013" y="312"/>
                      </a:lnTo>
                      <a:lnTo>
                        <a:pt x="1013" y="314"/>
                      </a:lnTo>
                      <a:lnTo>
                        <a:pt x="1015" y="312"/>
                      </a:lnTo>
                      <a:lnTo>
                        <a:pt x="1015" y="310"/>
                      </a:lnTo>
                      <a:lnTo>
                        <a:pt x="1015" y="312"/>
                      </a:lnTo>
                      <a:lnTo>
                        <a:pt x="1017" y="314"/>
                      </a:lnTo>
                      <a:lnTo>
                        <a:pt x="1017" y="315"/>
                      </a:lnTo>
                      <a:lnTo>
                        <a:pt x="1018" y="315"/>
                      </a:lnTo>
                      <a:lnTo>
                        <a:pt x="1018" y="317"/>
                      </a:lnTo>
                      <a:lnTo>
                        <a:pt x="1018" y="319"/>
                      </a:lnTo>
                      <a:lnTo>
                        <a:pt x="1020" y="319"/>
                      </a:lnTo>
                      <a:lnTo>
                        <a:pt x="1020" y="320"/>
                      </a:lnTo>
                      <a:lnTo>
                        <a:pt x="1022" y="322"/>
                      </a:lnTo>
                      <a:lnTo>
                        <a:pt x="1023" y="320"/>
                      </a:lnTo>
                      <a:lnTo>
                        <a:pt x="1023" y="322"/>
                      </a:lnTo>
                      <a:lnTo>
                        <a:pt x="1025" y="322"/>
                      </a:lnTo>
                      <a:lnTo>
                        <a:pt x="1027" y="322"/>
                      </a:lnTo>
                      <a:lnTo>
                        <a:pt x="1027" y="323"/>
                      </a:lnTo>
                      <a:lnTo>
                        <a:pt x="1027" y="325"/>
                      </a:lnTo>
                      <a:lnTo>
                        <a:pt x="1027" y="327"/>
                      </a:lnTo>
                      <a:lnTo>
                        <a:pt x="1027" y="328"/>
                      </a:lnTo>
                      <a:lnTo>
                        <a:pt x="1028" y="328"/>
                      </a:lnTo>
                      <a:lnTo>
                        <a:pt x="1028" y="330"/>
                      </a:lnTo>
                      <a:lnTo>
                        <a:pt x="1028" y="332"/>
                      </a:lnTo>
                      <a:lnTo>
                        <a:pt x="1028" y="330"/>
                      </a:lnTo>
                      <a:lnTo>
                        <a:pt x="1028" y="332"/>
                      </a:lnTo>
                      <a:lnTo>
                        <a:pt x="1030" y="332"/>
                      </a:lnTo>
                      <a:lnTo>
                        <a:pt x="1030" y="333"/>
                      </a:lnTo>
                      <a:lnTo>
                        <a:pt x="1027" y="337"/>
                      </a:lnTo>
                      <a:lnTo>
                        <a:pt x="1022" y="340"/>
                      </a:lnTo>
                      <a:lnTo>
                        <a:pt x="1023" y="342"/>
                      </a:lnTo>
                      <a:lnTo>
                        <a:pt x="1025" y="343"/>
                      </a:lnTo>
                      <a:lnTo>
                        <a:pt x="1027" y="343"/>
                      </a:lnTo>
                      <a:lnTo>
                        <a:pt x="1027" y="345"/>
                      </a:lnTo>
                      <a:lnTo>
                        <a:pt x="1025" y="345"/>
                      </a:lnTo>
                      <a:lnTo>
                        <a:pt x="1023" y="345"/>
                      </a:lnTo>
                      <a:lnTo>
                        <a:pt x="1023" y="343"/>
                      </a:lnTo>
                      <a:lnTo>
                        <a:pt x="1022" y="343"/>
                      </a:lnTo>
                      <a:lnTo>
                        <a:pt x="1020" y="343"/>
                      </a:lnTo>
                      <a:lnTo>
                        <a:pt x="1020" y="342"/>
                      </a:lnTo>
                      <a:lnTo>
                        <a:pt x="1018" y="342"/>
                      </a:lnTo>
                      <a:lnTo>
                        <a:pt x="1017" y="342"/>
                      </a:lnTo>
                      <a:lnTo>
                        <a:pt x="1017" y="340"/>
                      </a:lnTo>
                      <a:lnTo>
                        <a:pt x="1015" y="340"/>
                      </a:lnTo>
                      <a:lnTo>
                        <a:pt x="1013" y="340"/>
                      </a:lnTo>
                      <a:lnTo>
                        <a:pt x="1012" y="340"/>
                      </a:lnTo>
                      <a:lnTo>
                        <a:pt x="1010" y="340"/>
                      </a:lnTo>
                      <a:lnTo>
                        <a:pt x="1008" y="340"/>
                      </a:lnTo>
                      <a:lnTo>
                        <a:pt x="1006" y="340"/>
                      </a:lnTo>
                      <a:lnTo>
                        <a:pt x="1005" y="340"/>
                      </a:lnTo>
                      <a:lnTo>
                        <a:pt x="1003" y="340"/>
                      </a:lnTo>
                      <a:lnTo>
                        <a:pt x="1001" y="340"/>
                      </a:lnTo>
                      <a:lnTo>
                        <a:pt x="1001" y="338"/>
                      </a:lnTo>
                      <a:lnTo>
                        <a:pt x="1000" y="338"/>
                      </a:lnTo>
                      <a:lnTo>
                        <a:pt x="998" y="337"/>
                      </a:lnTo>
                      <a:lnTo>
                        <a:pt x="996" y="337"/>
                      </a:lnTo>
                      <a:lnTo>
                        <a:pt x="996" y="338"/>
                      </a:lnTo>
                      <a:lnTo>
                        <a:pt x="995" y="338"/>
                      </a:lnTo>
                      <a:lnTo>
                        <a:pt x="993" y="338"/>
                      </a:lnTo>
                      <a:lnTo>
                        <a:pt x="991" y="338"/>
                      </a:lnTo>
                      <a:lnTo>
                        <a:pt x="991" y="340"/>
                      </a:lnTo>
                      <a:lnTo>
                        <a:pt x="991" y="342"/>
                      </a:lnTo>
                      <a:lnTo>
                        <a:pt x="991" y="340"/>
                      </a:lnTo>
                      <a:lnTo>
                        <a:pt x="990" y="342"/>
                      </a:lnTo>
                      <a:lnTo>
                        <a:pt x="990" y="343"/>
                      </a:lnTo>
                      <a:lnTo>
                        <a:pt x="988" y="343"/>
                      </a:lnTo>
                      <a:lnTo>
                        <a:pt x="990" y="343"/>
                      </a:lnTo>
                      <a:lnTo>
                        <a:pt x="988" y="343"/>
                      </a:lnTo>
                      <a:lnTo>
                        <a:pt x="988" y="345"/>
                      </a:lnTo>
                      <a:lnTo>
                        <a:pt x="988" y="346"/>
                      </a:lnTo>
                      <a:lnTo>
                        <a:pt x="986" y="346"/>
                      </a:lnTo>
                      <a:lnTo>
                        <a:pt x="986" y="348"/>
                      </a:lnTo>
                      <a:lnTo>
                        <a:pt x="985" y="348"/>
                      </a:lnTo>
                      <a:lnTo>
                        <a:pt x="983" y="348"/>
                      </a:lnTo>
                      <a:lnTo>
                        <a:pt x="981" y="348"/>
                      </a:lnTo>
                      <a:lnTo>
                        <a:pt x="979" y="348"/>
                      </a:lnTo>
                      <a:lnTo>
                        <a:pt x="981" y="348"/>
                      </a:lnTo>
                      <a:lnTo>
                        <a:pt x="979" y="348"/>
                      </a:lnTo>
                      <a:lnTo>
                        <a:pt x="979" y="346"/>
                      </a:lnTo>
                      <a:lnTo>
                        <a:pt x="978" y="346"/>
                      </a:lnTo>
                      <a:lnTo>
                        <a:pt x="976" y="346"/>
                      </a:lnTo>
                      <a:lnTo>
                        <a:pt x="976" y="348"/>
                      </a:lnTo>
                      <a:lnTo>
                        <a:pt x="976" y="346"/>
                      </a:lnTo>
                      <a:lnTo>
                        <a:pt x="974" y="346"/>
                      </a:lnTo>
                      <a:lnTo>
                        <a:pt x="976" y="345"/>
                      </a:lnTo>
                      <a:lnTo>
                        <a:pt x="974" y="345"/>
                      </a:lnTo>
                      <a:lnTo>
                        <a:pt x="973" y="345"/>
                      </a:lnTo>
                      <a:lnTo>
                        <a:pt x="973" y="343"/>
                      </a:lnTo>
                      <a:lnTo>
                        <a:pt x="971" y="343"/>
                      </a:lnTo>
                      <a:lnTo>
                        <a:pt x="971" y="342"/>
                      </a:lnTo>
                      <a:lnTo>
                        <a:pt x="971" y="343"/>
                      </a:lnTo>
                      <a:lnTo>
                        <a:pt x="969" y="343"/>
                      </a:lnTo>
                      <a:lnTo>
                        <a:pt x="968" y="343"/>
                      </a:lnTo>
                      <a:lnTo>
                        <a:pt x="968" y="345"/>
                      </a:lnTo>
                      <a:lnTo>
                        <a:pt x="966" y="345"/>
                      </a:lnTo>
                      <a:lnTo>
                        <a:pt x="964" y="345"/>
                      </a:lnTo>
                      <a:lnTo>
                        <a:pt x="964" y="343"/>
                      </a:lnTo>
                      <a:lnTo>
                        <a:pt x="963" y="345"/>
                      </a:lnTo>
                      <a:lnTo>
                        <a:pt x="963" y="346"/>
                      </a:lnTo>
                      <a:lnTo>
                        <a:pt x="974" y="356"/>
                      </a:lnTo>
                      <a:lnTo>
                        <a:pt x="974" y="358"/>
                      </a:lnTo>
                      <a:lnTo>
                        <a:pt x="974" y="360"/>
                      </a:lnTo>
                      <a:lnTo>
                        <a:pt x="974" y="361"/>
                      </a:lnTo>
                      <a:lnTo>
                        <a:pt x="973" y="361"/>
                      </a:lnTo>
                      <a:lnTo>
                        <a:pt x="971" y="361"/>
                      </a:lnTo>
                      <a:lnTo>
                        <a:pt x="969" y="361"/>
                      </a:lnTo>
                      <a:lnTo>
                        <a:pt x="968" y="360"/>
                      </a:lnTo>
                      <a:lnTo>
                        <a:pt x="968" y="361"/>
                      </a:lnTo>
                      <a:lnTo>
                        <a:pt x="968" y="360"/>
                      </a:lnTo>
                      <a:lnTo>
                        <a:pt x="966" y="360"/>
                      </a:lnTo>
                      <a:lnTo>
                        <a:pt x="966" y="358"/>
                      </a:lnTo>
                      <a:lnTo>
                        <a:pt x="964" y="358"/>
                      </a:lnTo>
                      <a:lnTo>
                        <a:pt x="963" y="358"/>
                      </a:lnTo>
                      <a:lnTo>
                        <a:pt x="963" y="356"/>
                      </a:lnTo>
                      <a:lnTo>
                        <a:pt x="963" y="358"/>
                      </a:lnTo>
                      <a:lnTo>
                        <a:pt x="961" y="358"/>
                      </a:lnTo>
                      <a:lnTo>
                        <a:pt x="959" y="358"/>
                      </a:lnTo>
                      <a:lnTo>
                        <a:pt x="959" y="360"/>
                      </a:lnTo>
                      <a:lnTo>
                        <a:pt x="958" y="360"/>
                      </a:lnTo>
                      <a:lnTo>
                        <a:pt x="958" y="358"/>
                      </a:lnTo>
                      <a:lnTo>
                        <a:pt x="958" y="360"/>
                      </a:lnTo>
                      <a:lnTo>
                        <a:pt x="958" y="361"/>
                      </a:lnTo>
                      <a:lnTo>
                        <a:pt x="956" y="361"/>
                      </a:lnTo>
                      <a:lnTo>
                        <a:pt x="956" y="360"/>
                      </a:lnTo>
                      <a:lnTo>
                        <a:pt x="954" y="360"/>
                      </a:lnTo>
                      <a:lnTo>
                        <a:pt x="954" y="361"/>
                      </a:lnTo>
                      <a:lnTo>
                        <a:pt x="954" y="363"/>
                      </a:lnTo>
                      <a:lnTo>
                        <a:pt x="952" y="361"/>
                      </a:lnTo>
                      <a:lnTo>
                        <a:pt x="952" y="363"/>
                      </a:lnTo>
                      <a:lnTo>
                        <a:pt x="951" y="361"/>
                      </a:lnTo>
                      <a:lnTo>
                        <a:pt x="949" y="363"/>
                      </a:lnTo>
                      <a:lnTo>
                        <a:pt x="949" y="361"/>
                      </a:lnTo>
                      <a:lnTo>
                        <a:pt x="947" y="361"/>
                      </a:lnTo>
                      <a:lnTo>
                        <a:pt x="947" y="363"/>
                      </a:lnTo>
                      <a:lnTo>
                        <a:pt x="947" y="361"/>
                      </a:lnTo>
                      <a:lnTo>
                        <a:pt x="947" y="363"/>
                      </a:lnTo>
                      <a:lnTo>
                        <a:pt x="946" y="363"/>
                      </a:lnTo>
                      <a:lnTo>
                        <a:pt x="944" y="365"/>
                      </a:lnTo>
                      <a:lnTo>
                        <a:pt x="944" y="366"/>
                      </a:lnTo>
                      <a:lnTo>
                        <a:pt x="942" y="366"/>
                      </a:lnTo>
                      <a:lnTo>
                        <a:pt x="944" y="368"/>
                      </a:lnTo>
                      <a:lnTo>
                        <a:pt x="942" y="368"/>
                      </a:lnTo>
                      <a:lnTo>
                        <a:pt x="944" y="369"/>
                      </a:lnTo>
                      <a:lnTo>
                        <a:pt x="942" y="369"/>
                      </a:lnTo>
                      <a:lnTo>
                        <a:pt x="944" y="369"/>
                      </a:lnTo>
                      <a:lnTo>
                        <a:pt x="942" y="371"/>
                      </a:lnTo>
                      <a:lnTo>
                        <a:pt x="941" y="373"/>
                      </a:lnTo>
                      <a:lnTo>
                        <a:pt x="939" y="373"/>
                      </a:lnTo>
                      <a:lnTo>
                        <a:pt x="939" y="374"/>
                      </a:lnTo>
                      <a:lnTo>
                        <a:pt x="937" y="374"/>
                      </a:lnTo>
                      <a:lnTo>
                        <a:pt x="937" y="376"/>
                      </a:lnTo>
                      <a:lnTo>
                        <a:pt x="937" y="378"/>
                      </a:lnTo>
                      <a:lnTo>
                        <a:pt x="939" y="378"/>
                      </a:lnTo>
                      <a:lnTo>
                        <a:pt x="939" y="379"/>
                      </a:lnTo>
                      <a:lnTo>
                        <a:pt x="939" y="381"/>
                      </a:lnTo>
                      <a:lnTo>
                        <a:pt x="937" y="383"/>
                      </a:lnTo>
                      <a:lnTo>
                        <a:pt x="937" y="381"/>
                      </a:lnTo>
                      <a:lnTo>
                        <a:pt x="937" y="383"/>
                      </a:lnTo>
                      <a:lnTo>
                        <a:pt x="937" y="384"/>
                      </a:lnTo>
                      <a:lnTo>
                        <a:pt x="939" y="384"/>
                      </a:lnTo>
                      <a:lnTo>
                        <a:pt x="937" y="384"/>
                      </a:lnTo>
                      <a:lnTo>
                        <a:pt x="936" y="386"/>
                      </a:lnTo>
                      <a:lnTo>
                        <a:pt x="936" y="388"/>
                      </a:lnTo>
                      <a:lnTo>
                        <a:pt x="951" y="389"/>
                      </a:lnTo>
                      <a:lnTo>
                        <a:pt x="951" y="391"/>
                      </a:lnTo>
                      <a:lnTo>
                        <a:pt x="949" y="402"/>
                      </a:lnTo>
                      <a:lnTo>
                        <a:pt x="949" y="404"/>
                      </a:lnTo>
                      <a:lnTo>
                        <a:pt x="947" y="404"/>
                      </a:lnTo>
                      <a:lnTo>
                        <a:pt x="947" y="406"/>
                      </a:lnTo>
                      <a:lnTo>
                        <a:pt x="949" y="406"/>
                      </a:lnTo>
                      <a:lnTo>
                        <a:pt x="949" y="407"/>
                      </a:lnTo>
                      <a:lnTo>
                        <a:pt x="949" y="406"/>
                      </a:lnTo>
                      <a:lnTo>
                        <a:pt x="949" y="407"/>
                      </a:lnTo>
                      <a:lnTo>
                        <a:pt x="951" y="407"/>
                      </a:lnTo>
                      <a:lnTo>
                        <a:pt x="952" y="407"/>
                      </a:lnTo>
                      <a:lnTo>
                        <a:pt x="954" y="409"/>
                      </a:lnTo>
                      <a:lnTo>
                        <a:pt x="956" y="409"/>
                      </a:lnTo>
                      <a:lnTo>
                        <a:pt x="958" y="409"/>
                      </a:lnTo>
                      <a:lnTo>
                        <a:pt x="958" y="411"/>
                      </a:lnTo>
                      <a:lnTo>
                        <a:pt x="958" y="414"/>
                      </a:lnTo>
                      <a:lnTo>
                        <a:pt x="958" y="417"/>
                      </a:lnTo>
                      <a:lnTo>
                        <a:pt x="959" y="419"/>
                      </a:lnTo>
                      <a:lnTo>
                        <a:pt x="959" y="420"/>
                      </a:lnTo>
                      <a:lnTo>
                        <a:pt x="961" y="420"/>
                      </a:lnTo>
                      <a:lnTo>
                        <a:pt x="961" y="422"/>
                      </a:lnTo>
                      <a:lnTo>
                        <a:pt x="959" y="422"/>
                      </a:lnTo>
                      <a:lnTo>
                        <a:pt x="959" y="424"/>
                      </a:lnTo>
                      <a:lnTo>
                        <a:pt x="958" y="424"/>
                      </a:lnTo>
                      <a:lnTo>
                        <a:pt x="958" y="422"/>
                      </a:lnTo>
                      <a:lnTo>
                        <a:pt x="958" y="424"/>
                      </a:lnTo>
                      <a:lnTo>
                        <a:pt x="956" y="424"/>
                      </a:lnTo>
                      <a:lnTo>
                        <a:pt x="952" y="424"/>
                      </a:lnTo>
                      <a:lnTo>
                        <a:pt x="951" y="424"/>
                      </a:lnTo>
                      <a:lnTo>
                        <a:pt x="944" y="424"/>
                      </a:lnTo>
                      <a:lnTo>
                        <a:pt x="942" y="424"/>
                      </a:lnTo>
                      <a:lnTo>
                        <a:pt x="942" y="422"/>
                      </a:lnTo>
                      <a:lnTo>
                        <a:pt x="941" y="422"/>
                      </a:lnTo>
                      <a:lnTo>
                        <a:pt x="941" y="420"/>
                      </a:lnTo>
                      <a:lnTo>
                        <a:pt x="939" y="420"/>
                      </a:lnTo>
                      <a:lnTo>
                        <a:pt x="930" y="420"/>
                      </a:lnTo>
                      <a:lnTo>
                        <a:pt x="930" y="422"/>
                      </a:lnTo>
                      <a:lnTo>
                        <a:pt x="929" y="422"/>
                      </a:lnTo>
                      <a:lnTo>
                        <a:pt x="930" y="424"/>
                      </a:lnTo>
                      <a:lnTo>
                        <a:pt x="929" y="424"/>
                      </a:lnTo>
                      <a:lnTo>
                        <a:pt x="929" y="425"/>
                      </a:lnTo>
                      <a:lnTo>
                        <a:pt x="930" y="425"/>
                      </a:lnTo>
                      <a:lnTo>
                        <a:pt x="929" y="425"/>
                      </a:lnTo>
                      <a:lnTo>
                        <a:pt x="930" y="425"/>
                      </a:lnTo>
                      <a:lnTo>
                        <a:pt x="930" y="427"/>
                      </a:lnTo>
                      <a:lnTo>
                        <a:pt x="932" y="427"/>
                      </a:lnTo>
                      <a:lnTo>
                        <a:pt x="932" y="425"/>
                      </a:lnTo>
                      <a:lnTo>
                        <a:pt x="934" y="425"/>
                      </a:lnTo>
                      <a:lnTo>
                        <a:pt x="934" y="427"/>
                      </a:lnTo>
                      <a:lnTo>
                        <a:pt x="936" y="427"/>
                      </a:lnTo>
                      <a:lnTo>
                        <a:pt x="936" y="425"/>
                      </a:lnTo>
                      <a:lnTo>
                        <a:pt x="936" y="427"/>
                      </a:lnTo>
                      <a:lnTo>
                        <a:pt x="937" y="425"/>
                      </a:lnTo>
                      <a:lnTo>
                        <a:pt x="937" y="427"/>
                      </a:lnTo>
                      <a:lnTo>
                        <a:pt x="937" y="429"/>
                      </a:lnTo>
                      <a:lnTo>
                        <a:pt x="939" y="429"/>
                      </a:lnTo>
                      <a:lnTo>
                        <a:pt x="941" y="429"/>
                      </a:lnTo>
                      <a:lnTo>
                        <a:pt x="941" y="430"/>
                      </a:lnTo>
                      <a:lnTo>
                        <a:pt x="942" y="430"/>
                      </a:lnTo>
                      <a:lnTo>
                        <a:pt x="942" y="432"/>
                      </a:lnTo>
                      <a:lnTo>
                        <a:pt x="941" y="432"/>
                      </a:lnTo>
                      <a:lnTo>
                        <a:pt x="942" y="432"/>
                      </a:lnTo>
                      <a:lnTo>
                        <a:pt x="942" y="434"/>
                      </a:lnTo>
                      <a:lnTo>
                        <a:pt x="944" y="434"/>
                      </a:lnTo>
                      <a:lnTo>
                        <a:pt x="946" y="434"/>
                      </a:lnTo>
                      <a:lnTo>
                        <a:pt x="946" y="435"/>
                      </a:lnTo>
                      <a:lnTo>
                        <a:pt x="947" y="435"/>
                      </a:lnTo>
                      <a:lnTo>
                        <a:pt x="947" y="437"/>
                      </a:lnTo>
                      <a:lnTo>
                        <a:pt x="949" y="437"/>
                      </a:lnTo>
                      <a:lnTo>
                        <a:pt x="951" y="437"/>
                      </a:lnTo>
                      <a:lnTo>
                        <a:pt x="949" y="438"/>
                      </a:lnTo>
                      <a:lnTo>
                        <a:pt x="947" y="438"/>
                      </a:lnTo>
                      <a:lnTo>
                        <a:pt x="947" y="440"/>
                      </a:lnTo>
                      <a:lnTo>
                        <a:pt x="946" y="440"/>
                      </a:lnTo>
                      <a:lnTo>
                        <a:pt x="946" y="442"/>
                      </a:lnTo>
                      <a:lnTo>
                        <a:pt x="947" y="442"/>
                      </a:lnTo>
                      <a:lnTo>
                        <a:pt x="947" y="443"/>
                      </a:lnTo>
                      <a:lnTo>
                        <a:pt x="946" y="443"/>
                      </a:lnTo>
                      <a:lnTo>
                        <a:pt x="947" y="443"/>
                      </a:lnTo>
                      <a:lnTo>
                        <a:pt x="947" y="445"/>
                      </a:lnTo>
                      <a:lnTo>
                        <a:pt x="949" y="445"/>
                      </a:lnTo>
                      <a:lnTo>
                        <a:pt x="951" y="445"/>
                      </a:lnTo>
                      <a:lnTo>
                        <a:pt x="951" y="447"/>
                      </a:lnTo>
                      <a:lnTo>
                        <a:pt x="951" y="445"/>
                      </a:lnTo>
                      <a:lnTo>
                        <a:pt x="951" y="447"/>
                      </a:lnTo>
                      <a:lnTo>
                        <a:pt x="952" y="447"/>
                      </a:lnTo>
                      <a:lnTo>
                        <a:pt x="952" y="448"/>
                      </a:lnTo>
                      <a:lnTo>
                        <a:pt x="954" y="448"/>
                      </a:lnTo>
                      <a:lnTo>
                        <a:pt x="954" y="450"/>
                      </a:lnTo>
                      <a:lnTo>
                        <a:pt x="956" y="450"/>
                      </a:lnTo>
                      <a:lnTo>
                        <a:pt x="958" y="452"/>
                      </a:lnTo>
                      <a:lnTo>
                        <a:pt x="956" y="452"/>
                      </a:lnTo>
                      <a:lnTo>
                        <a:pt x="958" y="452"/>
                      </a:lnTo>
                      <a:lnTo>
                        <a:pt x="958" y="453"/>
                      </a:lnTo>
                      <a:lnTo>
                        <a:pt x="958" y="455"/>
                      </a:lnTo>
                      <a:lnTo>
                        <a:pt x="959" y="457"/>
                      </a:lnTo>
                      <a:lnTo>
                        <a:pt x="959" y="455"/>
                      </a:lnTo>
                      <a:lnTo>
                        <a:pt x="959" y="457"/>
                      </a:lnTo>
                      <a:lnTo>
                        <a:pt x="959" y="458"/>
                      </a:lnTo>
                      <a:lnTo>
                        <a:pt x="959" y="460"/>
                      </a:lnTo>
                      <a:lnTo>
                        <a:pt x="958" y="460"/>
                      </a:lnTo>
                      <a:lnTo>
                        <a:pt x="958" y="461"/>
                      </a:lnTo>
                      <a:lnTo>
                        <a:pt x="959" y="461"/>
                      </a:lnTo>
                      <a:lnTo>
                        <a:pt x="961" y="461"/>
                      </a:lnTo>
                      <a:lnTo>
                        <a:pt x="961" y="463"/>
                      </a:lnTo>
                      <a:lnTo>
                        <a:pt x="959" y="463"/>
                      </a:lnTo>
                      <a:lnTo>
                        <a:pt x="961" y="465"/>
                      </a:lnTo>
                      <a:lnTo>
                        <a:pt x="959" y="465"/>
                      </a:lnTo>
                      <a:lnTo>
                        <a:pt x="959" y="463"/>
                      </a:lnTo>
                      <a:lnTo>
                        <a:pt x="959" y="465"/>
                      </a:lnTo>
                      <a:lnTo>
                        <a:pt x="958" y="465"/>
                      </a:lnTo>
                      <a:lnTo>
                        <a:pt x="959" y="465"/>
                      </a:lnTo>
                      <a:lnTo>
                        <a:pt x="959" y="466"/>
                      </a:lnTo>
                      <a:lnTo>
                        <a:pt x="961" y="466"/>
                      </a:lnTo>
                      <a:lnTo>
                        <a:pt x="961" y="468"/>
                      </a:lnTo>
                      <a:lnTo>
                        <a:pt x="959" y="468"/>
                      </a:lnTo>
                      <a:lnTo>
                        <a:pt x="961" y="470"/>
                      </a:lnTo>
                      <a:lnTo>
                        <a:pt x="959" y="470"/>
                      </a:lnTo>
                      <a:lnTo>
                        <a:pt x="959" y="471"/>
                      </a:lnTo>
                      <a:lnTo>
                        <a:pt x="958" y="471"/>
                      </a:lnTo>
                      <a:lnTo>
                        <a:pt x="959" y="471"/>
                      </a:lnTo>
                      <a:lnTo>
                        <a:pt x="959" y="473"/>
                      </a:lnTo>
                      <a:lnTo>
                        <a:pt x="959" y="475"/>
                      </a:lnTo>
                      <a:lnTo>
                        <a:pt x="958" y="475"/>
                      </a:lnTo>
                      <a:lnTo>
                        <a:pt x="956" y="476"/>
                      </a:lnTo>
                      <a:lnTo>
                        <a:pt x="956" y="478"/>
                      </a:lnTo>
                      <a:lnTo>
                        <a:pt x="956" y="479"/>
                      </a:lnTo>
                      <a:lnTo>
                        <a:pt x="956" y="481"/>
                      </a:lnTo>
                      <a:lnTo>
                        <a:pt x="958" y="481"/>
                      </a:lnTo>
                      <a:lnTo>
                        <a:pt x="958" y="483"/>
                      </a:lnTo>
                      <a:lnTo>
                        <a:pt x="956" y="483"/>
                      </a:lnTo>
                      <a:lnTo>
                        <a:pt x="956" y="484"/>
                      </a:lnTo>
                      <a:lnTo>
                        <a:pt x="954" y="486"/>
                      </a:lnTo>
                      <a:lnTo>
                        <a:pt x="952" y="486"/>
                      </a:lnTo>
                      <a:lnTo>
                        <a:pt x="951" y="486"/>
                      </a:lnTo>
                      <a:lnTo>
                        <a:pt x="949" y="484"/>
                      </a:lnTo>
                      <a:lnTo>
                        <a:pt x="947" y="484"/>
                      </a:lnTo>
                      <a:lnTo>
                        <a:pt x="947" y="486"/>
                      </a:lnTo>
                      <a:lnTo>
                        <a:pt x="949" y="486"/>
                      </a:lnTo>
                      <a:lnTo>
                        <a:pt x="949" y="488"/>
                      </a:lnTo>
                      <a:lnTo>
                        <a:pt x="949" y="489"/>
                      </a:lnTo>
                      <a:lnTo>
                        <a:pt x="949" y="491"/>
                      </a:lnTo>
                      <a:lnTo>
                        <a:pt x="947" y="493"/>
                      </a:lnTo>
                      <a:lnTo>
                        <a:pt x="946" y="493"/>
                      </a:lnTo>
                      <a:lnTo>
                        <a:pt x="946" y="494"/>
                      </a:lnTo>
                      <a:lnTo>
                        <a:pt x="944" y="494"/>
                      </a:lnTo>
                      <a:lnTo>
                        <a:pt x="942" y="494"/>
                      </a:lnTo>
                      <a:lnTo>
                        <a:pt x="942" y="496"/>
                      </a:lnTo>
                      <a:lnTo>
                        <a:pt x="942" y="498"/>
                      </a:lnTo>
                      <a:lnTo>
                        <a:pt x="941" y="498"/>
                      </a:lnTo>
                      <a:lnTo>
                        <a:pt x="941" y="499"/>
                      </a:lnTo>
                      <a:lnTo>
                        <a:pt x="939" y="499"/>
                      </a:lnTo>
                      <a:lnTo>
                        <a:pt x="939" y="501"/>
                      </a:lnTo>
                      <a:lnTo>
                        <a:pt x="937" y="499"/>
                      </a:lnTo>
                      <a:lnTo>
                        <a:pt x="937" y="501"/>
                      </a:lnTo>
                      <a:lnTo>
                        <a:pt x="936" y="502"/>
                      </a:lnTo>
                      <a:lnTo>
                        <a:pt x="936" y="504"/>
                      </a:lnTo>
                      <a:lnTo>
                        <a:pt x="936" y="506"/>
                      </a:lnTo>
                      <a:lnTo>
                        <a:pt x="936" y="507"/>
                      </a:lnTo>
                      <a:lnTo>
                        <a:pt x="934" y="507"/>
                      </a:lnTo>
                      <a:lnTo>
                        <a:pt x="936" y="509"/>
                      </a:lnTo>
                      <a:lnTo>
                        <a:pt x="936" y="511"/>
                      </a:lnTo>
                      <a:lnTo>
                        <a:pt x="937" y="512"/>
                      </a:lnTo>
                      <a:lnTo>
                        <a:pt x="937" y="514"/>
                      </a:lnTo>
                      <a:lnTo>
                        <a:pt x="936" y="514"/>
                      </a:lnTo>
                      <a:lnTo>
                        <a:pt x="936" y="516"/>
                      </a:lnTo>
                      <a:lnTo>
                        <a:pt x="936" y="517"/>
                      </a:lnTo>
                      <a:lnTo>
                        <a:pt x="936" y="519"/>
                      </a:lnTo>
                      <a:lnTo>
                        <a:pt x="936" y="521"/>
                      </a:lnTo>
                      <a:lnTo>
                        <a:pt x="934" y="521"/>
                      </a:lnTo>
                      <a:lnTo>
                        <a:pt x="934" y="522"/>
                      </a:lnTo>
                      <a:lnTo>
                        <a:pt x="932" y="522"/>
                      </a:lnTo>
                      <a:lnTo>
                        <a:pt x="930" y="522"/>
                      </a:lnTo>
                      <a:lnTo>
                        <a:pt x="930" y="524"/>
                      </a:lnTo>
                      <a:lnTo>
                        <a:pt x="930" y="525"/>
                      </a:lnTo>
                      <a:lnTo>
                        <a:pt x="929" y="525"/>
                      </a:lnTo>
                      <a:lnTo>
                        <a:pt x="927" y="525"/>
                      </a:lnTo>
                      <a:lnTo>
                        <a:pt x="925" y="525"/>
                      </a:lnTo>
                      <a:lnTo>
                        <a:pt x="924" y="525"/>
                      </a:lnTo>
                      <a:lnTo>
                        <a:pt x="924" y="527"/>
                      </a:lnTo>
                      <a:lnTo>
                        <a:pt x="924" y="529"/>
                      </a:lnTo>
                      <a:lnTo>
                        <a:pt x="922" y="529"/>
                      </a:lnTo>
                      <a:lnTo>
                        <a:pt x="924" y="530"/>
                      </a:lnTo>
                      <a:lnTo>
                        <a:pt x="924" y="532"/>
                      </a:lnTo>
                      <a:lnTo>
                        <a:pt x="922" y="534"/>
                      </a:lnTo>
                      <a:lnTo>
                        <a:pt x="924" y="534"/>
                      </a:lnTo>
                      <a:lnTo>
                        <a:pt x="922" y="534"/>
                      </a:lnTo>
                      <a:lnTo>
                        <a:pt x="922" y="535"/>
                      </a:lnTo>
                      <a:lnTo>
                        <a:pt x="920" y="537"/>
                      </a:lnTo>
                      <a:lnTo>
                        <a:pt x="920" y="539"/>
                      </a:lnTo>
                      <a:lnTo>
                        <a:pt x="920" y="540"/>
                      </a:lnTo>
                      <a:lnTo>
                        <a:pt x="920" y="542"/>
                      </a:lnTo>
                      <a:lnTo>
                        <a:pt x="919" y="542"/>
                      </a:lnTo>
                      <a:lnTo>
                        <a:pt x="920" y="542"/>
                      </a:lnTo>
                      <a:lnTo>
                        <a:pt x="919" y="542"/>
                      </a:lnTo>
                      <a:lnTo>
                        <a:pt x="919" y="544"/>
                      </a:lnTo>
                      <a:lnTo>
                        <a:pt x="919" y="545"/>
                      </a:lnTo>
                      <a:lnTo>
                        <a:pt x="917" y="545"/>
                      </a:lnTo>
                      <a:lnTo>
                        <a:pt x="917" y="547"/>
                      </a:lnTo>
                      <a:lnTo>
                        <a:pt x="917" y="548"/>
                      </a:lnTo>
                      <a:lnTo>
                        <a:pt x="915" y="548"/>
                      </a:lnTo>
                      <a:lnTo>
                        <a:pt x="915" y="550"/>
                      </a:lnTo>
                      <a:lnTo>
                        <a:pt x="914" y="548"/>
                      </a:lnTo>
                      <a:lnTo>
                        <a:pt x="914" y="550"/>
                      </a:lnTo>
                      <a:lnTo>
                        <a:pt x="890" y="550"/>
                      </a:lnTo>
                      <a:lnTo>
                        <a:pt x="882" y="550"/>
                      </a:lnTo>
                      <a:lnTo>
                        <a:pt x="880" y="550"/>
                      </a:lnTo>
                      <a:lnTo>
                        <a:pt x="880" y="552"/>
                      </a:lnTo>
                      <a:lnTo>
                        <a:pt x="880" y="553"/>
                      </a:lnTo>
                      <a:lnTo>
                        <a:pt x="880" y="555"/>
                      </a:lnTo>
                      <a:lnTo>
                        <a:pt x="878" y="557"/>
                      </a:lnTo>
                      <a:lnTo>
                        <a:pt x="880" y="557"/>
                      </a:lnTo>
                      <a:lnTo>
                        <a:pt x="878" y="558"/>
                      </a:lnTo>
                      <a:lnTo>
                        <a:pt x="876" y="558"/>
                      </a:lnTo>
                      <a:lnTo>
                        <a:pt x="876" y="560"/>
                      </a:lnTo>
                      <a:lnTo>
                        <a:pt x="875" y="560"/>
                      </a:lnTo>
                      <a:lnTo>
                        <a:pt x="875" y="562"/>
                      </a:lnTo>
                      <a:lnTo>
                        <a:pt x="873" y="562"/>
                      </a:lnTo>
                      <a:lnTo>
                        <a:pt x="871" y="562"/>
                      </a:lnTo>
                      <a:lnTo>
                        <a:pt x="873" y="562"/>
                      </a:lnTo>
                      <a:lnTo>
                        <a:pt x="873" y="563"/>
                      </a:lnTo>
                      <a:lnTo>
                        <a:pt x="871" y="563"/>
                      </a:lnTo>
                      <a:lnTo>
                        <a:pt x="871" y="565"/>
                      </a:lnTo>
                      <a:lnTo>
                        <a:pt x="873" y="567"/>
                      </a:lnTo>
                      <a:lnTo>
                        <a:pt x="873" y="568"/>
                      </a:lnTo>
                      <a:lnTo>
                        <a:pt x="873" y="570"/>
                      </a:lnTo>
                      <a:lnTo>
                        <a:pt x="875" y="570"/>
                      </a:lnTo>
                      <a:lnTo>
                        <a:pt x="876" y="570"/>
                      </a:lnTo>
                      <a:lnTo>
                        <a:pt x="876" y="571"/>
                      </a:lnTo>
                      <a:lnTo>
                        <a:pt x="876" y="573"/>
                      </a:lnTo>
                      <a:lnTo>
                        <a:pt x="876" y="575"/>
                      </a:lnTo>
                      <a:lnTo>
                        <a:pt x="876" y="576"/>
                      </a:lnTo>
                      <a:lnTo>
                        <a:pt x="876" y="578"/>
                      </a:lnTo>
                      <a:lnTo>
                        <a:pt x="876" y="580"/>
                      </a:lnTo>
                      <a:lnTo>
                        <a:pt x="876" y="581"/>
                      </a:lnTo>
                      <a:lnTo>
                        <a:pt x="875" y="581"/>
                      </a:lnTo>
                      <a:lnTo>
                        <a:pt x="875" y="583"/>
                      </a:lnTo>
                      <a:lnTo>
                        <a:pt x="875" y="581"/>
                      </a:lnTo>
                      <a:lnTo>
                        <a:pt x="875" y="583"/>
                      </a:lnTo>
                      <a:lnTo>
                        <a:pt x="873" y="583"/>
                      </a:lnTo>
                      <a:lnTo>
                        <a:pt x="873" y="585"/>
                      </a:lnTo>
                      <a:lnTo>
                        <a:pt x="873" y="586"/>
                      </a:lnTo>
                      <a:lnTo>
                        <a:pt x="871" y="588"/>
                      </a:lnTo>
                      <a:lnTo>
                        <a:pt x="873" y="588"/>
                      </a:lnTo>
                      <a:lnTo>
                        <a:pt x="875" y="588"/>
                      </a:lnTo>
                      <a:lnTo>
                        <a:pt x="875" y="590"/>
                      </a:lnTo>
                      <a:lnTo>
                        <a:pt x="876" y="590"/>
                      </a:lnTo>
                      <a:lnTo>
                        <a:pt x="876" y="591"/>
                      </a:lnTo>
                      <a:lnTo>
                        <a:pt x="875" y="591"/>
                      </a:lnTo>
                      <a:lnTo>
                        <a:pt x="875" y="593"/>
                      </a:lnTo>
                      <a:lnTo>
                        <a:pt x="873" y="593"/>
                      </a:lnTo>
                      <a:lnTo>
                        <a:pt x="873" y="594"/>
                      </a:lnTo>
                      <a:lnTo>
                        <a:pt x="871" y="594"/>
                      </a:lnTo>
                      <a:lnTo>
                        <a:pt x="871" y="596"/>
                      </a:lnTo>
                      <a:lnTo>
                        <a:pt x="871" y="598"/>
                      </a:lnTo>
                      <a:lnTo>
                        <a:pt x="871" y="599"/>
                      </a:lnTo>
                      <a:lnTo>
                        <a:pt x="870" y="599"/>
                      </a:lnTo>
                      <a:lnTo>
                        <a:pt x="870" y="601"/>
                      </a:lnTo>
                      <a:lnTo>
                        <a:pt x="870" y="603"/>
                      </a:lnTo>
                      <a:lnTo>
                        <a:pt x="868" y="603"/>
                      </a:lnTo>
                      <a:lnTo>
                        <a:pt x="868" y="604"/>
                      </a:lnTo>
                      <a:lnTo>
                        <a:pt x="866" y="604"/>
                      </a:lnTo>
                      <a:lnTo>
                        <a:pt x="865" y="604"/>
                      </a:lnTo>
                      <a:lnTo>
                        <a:pt x="865" y="606"/>
                      </a:lnTo>
                      <a:lnTo>
                        <a:pt x="865" y="608"/>
                      </a:lnTo>
                      <a:lnTo>
                        <a:pt x="865" y="609"/>
                      </a:lnTo>
                      <a:lnTo>
                        <a:pt x="863" y="609"/>
                      </a:lnTo>
                      <a:lnTo>
                        <a:pt x="863" y="611"/>
                      </a:lnTo>
                      <a:lnTo>
                        <a:pt x="863" y="613"/>
                      </a:lnTo>
                      <a:lnTo>
                        <a:pt x="861" y="613"/>
                      </a:lnTo>
                      <a:lnTo>
                        <a:pt x="861" y="614"/>
                      </a:lnTo>
                      <a:lnTo>
                        <a:pt x="861" y="616"/>
                      </a:lnTo>
                      <a:lnTo>
                        <a:pt x="860" y="616"/>
                      </a:lnTo>
                      <a:lnTo>
                        <a:pt x="860" y="617"/>
                      </a:lnTo>
                      <a:lnTo>
                        <a:pt x="858" y="617"/>
                      </a:lnTo>
                      <a:lnTo>
                        <a:pt x="858" y="616"/>
                      </a:lnTo>
                      <a:lnTo>
                        <a:pt x="858" y="617"/>
                      </a:lnTo>
                      <a:lnTo>
                        <a:pt x="856" y="617"/>
                      </a:lnTo>
                      <a:lnTo>
                        <a:pt x="856" y="616"/>
                      </a:lnTo>
                      <a:lnTo>
                        <a:pt x="854" y="617"/>
                      </a:lnTo>
                      <a:lnTo>
                        <a:pt x="854" y="616"/>
                      </a:lnTo>
                      <a:lnTo>
                        <a:pt x="853" y="617"/>
                      </a:lnTo>
                      <a:lnTo>
                        <a:pt x="851" y="617"/>
                      </a:lnTo>
                      <a:lnTo>
                        <a:pt x="849" y="617"/>
                      </a:lnTo>
                      <a:lnTo>
                        <a:pt x="848" y="617"/>
                      </a:lnTo>
                      <a:lnTo>
                        <a:pt x="848" y="619"/>
                      </a:lnTo>
                      <a:lnTo>
                        <a:pt x="846" y="619"/>
                      </a:lnTo>
                      <a:lnTo>
                        <a:pt x="848" y="619"/>
                      </a:lnTo>
                      <a:lnTo>
                        <a:pt x="846" y="619"/>
                      </a:lnTo>
                      <a:lnTo>
                        <a:pt x="844" y="619"/>
                      </a:lnTo>
                      <a:lnTo>
                        <a:pt x="844" y="621"/>
                      </a:lnTo>
                      <a:lnTo>
                        <a:pt x="843" y="621"/>
                      </a:lnTo>
                      <a:lnTo>
                        <a:pt x="844" y="621"/>
                      </a:lnTo>
                      <a:lnTo>
                        <a:pt x="843" y="621"/>
                      </a:lnTo>
                      <a:lnTo>
                        <a:pt x="844" y="622"/>
                      </a:lnTo>
                      <a:lnTo>
                        <a:pt x="846" y="622"/>
                      </a:lnTo>
                      <a:lnTo>
                        <a:pt x="846" y="624"/>
                      </a:lnTo>
                      <a:lnTo>
                        <a:pt x="848" y="624"/>
                      </a:lnTo>
                      <a:lnTo>
                        <a:pt x="849" y="626"/>
                      </a:lnTo>
                      <a:lnTo>
                        <a:pt x="849" y="627"/>
                      </a:lnTo>
                      <a:lnTo>
                        <a:pt x="848" y="626"/>
                      </a:lnTo>
                      <a:lnTo>
                        <a:pt x="848" y="627"/>
                      </a:lnTo>
                      <a:lnTo>
                        <a:pt x="848" y="629"/>
                      </a:lnTo>
                      <a:lnTo>
                        <a:pt x="846" y="629"/>
                      </a:lnTo>
                      <a:lnTo>
                        <a:pt x="846" y="631"/>
                      </a:lnTo>
                      <a:lnTo>
                        <a:pt x="844" y="631"/>
                      </a:lnTo>
                      <a:lnTo>
                        <a:pt x="846" y="631"/>
                      </a:lnTo>
                      <a:lnTo>
                        <a:pt x="846" y="632"/>
                      </a:lnTo>
                      <a:lnTo>
                        <a:pt x="844" y="632"/>
                      </a:lnTo>
                      <a:lnTo>
                        <a:pt x="843" y="632"/>
                      </a:lnTo>
                      <a:lnTo>
                        <a:pt x="841" y="634"/>
                      </a:lnTo>
                      <a:lnTo>
                        <a:pt x="841" y="636"/>
                      </a:lnTo>
                      <a:lnTo>
                        <a:pt x="841" y="637"/>
                      </a:lnTo>
                      <a:lnTo>
                        <a:pt x="839" y="637"/>
                      </a:lnTo>
                      <a:lnTo>
                        <a:pt x="839" y="639"/>
                      </a:lnTo>
                      <a:lnTo>
                        <a:pt x="838" y="640"/>
                      </a:lnTo>
                      <a:lnTo>
                        <a:pt x="839" y="640"/>
                      </a:lnTo>
                      <a:lnTo>
                        <a:pt x="839" y="642"/>
                      </a:lnTo>
                      <a:lnTo>
                        <a:pt x="839" y="644"/>
                      </a:lnTo>
                      <a:lnTo>
                        <a:pt x="839" y="645"/>
                      </a:lnTo>
                      <a:lnTo>
                        <a:pt x="839" y="647"/>
                      </a:lnTo>
                      <a:lnTo>
                        <a:pt x="838" y="647"/>
                      </a:lnTo>
                      <a:lnTo>
                        <a:pt x="838" y="649"/>
                      </a:lnTo>
                      <a:lnTo>
                        <a:pt x="836" y="649"/>
                      </a:lnTo>
                      <a:lnTo>
                        <a:pt x="836" y="650"/>
                      </a:lnTo>
                      <a:lnTo>
                        <a:pt x="836" y="652"/>
                      </a:lnTo>
                      <a:lnTo>
                        <a:pt x="836" y="654"/>
                      </a:lnTo>
                      <a:lnTo>
                        <a:pt x="836" y="655"/>
                      </a:lnTo>
                      <a:lnTo>
                        <a:pt x="836" y="657"/>
                      </a:lnTo>
                      <a:lnTo>
                        <a:pt x="834" y="657"/>
                      </a:lnTo>
                      <a:lnTo>
                        <a:pt x="834" y="659"/>
                      </a:lnTo>
                      <a:lnTo>
                        <a:pt x="834" y="660"/>
                      </a:lnTo>
                      <a:lnTo>
                        <a:pt x="836" y="660"/>
                      </a:lnTo>
                      <a:lnTo>
                        <a:pt x="834" y="660"/>
                      </a:lnTo>
                      <a:lnTo>
                        <a:pt x="834" y="662"/>
                      </a:lnTo>
                      <a:lnTo>
                        <a:pt x="833" y="662"/>
                      </a:lnTo>
                      <a:lnTo>
                        <a:pt x="833" y="660"/>
                      </a:lnTo>
                      <a:lnTo>
                        <a:pt x="831" y="660"/>
                      </a:lnTo>
                      <a:lnTo>
                        <a:pt x="831" y="662"/>
                      </a:lnTo>
                      <a:lnTo>
                        <a:pt x="833" y="662"/>
                      </a:lnTo>
                      <a:lnTo>
                        <a:pt x="831" y="662"/>
                      </a:lnTo>
                      <a:lnTo>
                        <a:pt x="831" y="663"/>
                      </a:lnTo>
                      <a:lnTo>
                        <a:pt x="831" y="665"/>
                      </a:lnTo>
                      <a:lnTo>
                        <a:pt x="831" y="667"/>
                      </a:lnTo>
                      <a:lnTo>
                        <a:pt x="833" y="667"/>
                      </a:lnTo>
                      <a:lnTo>
                        <a:pt x="833" y="668"/>
                      </a:lnTo>
                      <a:lnTo>
                        <a:pt x="834" y="668"/>
                      </a:lnTo>
                      <a:lnTo>
                        <a:pt x="833" y="668"/>
                      </a:lnTo>
                      <a:lnTo>
                        <a:pt x="833" y="670"/>
                      </a:lnTo>
                      <a:lnTo>
                        <a:pt x="831" y="670"/>
                      </a:lnTo>
                      <a:lnTo>
                        <a:pt x="831" y="672"/>
                      </a:lnTo>
                      <a:lnTo>
                        <a:pt x="829" y="672"/>
                      </a:lnTo>
                      <a:lnTo>
                        <a:pt x="829" y="673"/>
                      </a:lnTo>
                      <a:lnTo>
                        <a:pt x="829" y="675"/>
                      </a:lnTo>
                      <a:lnTo>
                        <a:pt x="827" y="675"/>
                      </a:lnTo>
                      <a:lnTo>
                        <a:pt x="826" y="675"/>
                      </a:lnTo>
                      <a:lnTo>
                        <a:pt x="827" y="675"/>
                      </a:lnTo>
                      <a:lnTo>
                        <a:pt x="827" y="677"/>
                      </a:lnTo>
                      <a:lnTo>
                        <a:pt x="826" y="677"/>
                      </a:lnTo>
                      <a:lnTo>
                        <a:pt x="824" y="678"/>
                      </a:lnTo>
                      <a:lnTo>
                        <a:pt x="824" y="680"/>
                      </a:lnTo>
                      <a:lnTo>
                        <a:pt x="822" y="680"/>
                      </a:lnTo>
                      <a:lnTo>
                        <a:pt x="822" y="681"/>
                      </a:lnTo>
                      <a:lnTo>
                        <a:pt x="824" y="680"/>
                      </a:lnTo>
                      <a:lnTo>
                        <a:pt x="824" y="681"/>
                      </a:lnTo>
                      <a:lnTo>
                        <a:pt x="822" y="681"/>
                      </a:lnTo>
                      <a:lnTo>
                        <a:pt x="822" y="683"/>
                      </a:lnTo>
                      <a:lnTo>
                        <a:pt x="824" y="683"/>
                      </a:lnTo>
                      <a:lnTo>
                        <a:pt x="826" y="683"/>
                      </a:lnTo>
                      <a:lnTo>
                        <a:pt x="826" y="685"/>
                      </a:lnTo>
                      <a:lnTo>
                        <a:pt x="827" y="683"/>
                      </a:lnTo>
                      <a:lnTo>
                        <a:pt x="827" y="685"/>
                      </a:lnTo>
                      <a:lnTo>
                        <a:pt x="827" y="683"/>
                      </a:lnTo>
                      <a:lnTo>
                        <a:pt x="829" y="685"/>
                      </a:lnTo>
                      <a:lnTo>
                        <a:pt x="829" y="683"/>
                      </a:lnTo>
                      <a:lnTo>
                        <a:pt x="829" y="685"/>
                      </a:lnTo>
                      <a:lnTo>
                        <a:pt x="829" y="683"/>
                      </a:lnTo>
                      <a:lnTo>
                        <a:pt x="831" y="685"/>
                      </a:lnTo>
                      <a:lnTo>
                        <a:pt x="831" y="686"/>
                      </a:lnTo>
                      <a:lnTo>
                        <a:pt x="833" y="686"/>
                      </a:lnTo>
                      <a:lnTo>
                        <a:pt x="833" y="688"/>
                      </a:lnTo>
                      <a:lnTo>
                        <a:pt x="833" y="690"/>
                      </a:lnTo>
                      <a:lnTo>
                        <a:pt x="831" y="690"/>
                      </a:lnTo>
                      <a:lnTo>
                        <a:pt x="829" y="690"/>
                      </a:lnTo>
                      <a:lnTo>
                        <a:pt x="827" y="691"/>
                      </a:lnTo>
                      <a:lnTo>
                        <a:pt x="826" y="691"/>
                      </a:lnTo>
                      <a:lnTo>
                        <a:pt x="824" y="691"/>
                      </a:lnTo>
                      <a:lnTo>
                        <a:pt x="822" y="691"/>
                      </a:lnTo>
                      <a:lnTo>
                        <a:pt x="822" y="693"/>
                      </a:lnTo>
                      <a:lnTo>
                        <a:pt x="821" y="693"/>
                      </a:lnTo>
                      <a:lnTo>
                        <a:pt x="817" y="695"/>
                      </a:lnTo>
                      <a:lnTo>
                        <a:pt x="816" y="695"/>
                      </a:lnTo>
                      <a:lnTo>
                        <a:pt x="814" y="696"/>
                      </a:lnTo>
                      <a:lnTo>
                        <a:pt x="812" y="696"/>
                      </a:lnTo>
                      <a:lnTo>
                        <a:pt x="811" y="698"/>
                      </a:lnTo>
                      <a:lnTo>
                        <a:pt x="807" y="698"/>
                      </a:lnTo>
                      <a:lnTo>
                        <a:pt x="802" y="701"/>
                      </a:lnTo>
                      <a:lnTo>
                        <a:pt x="800" y="703"/>
                      </a:lnTo>
                      <a:lnTo>
                        <a:pt x="800" y="701"/>
                      </a:lnTo>
                      <a:lnTo>
                        <a:pt x="800" y="703"/>
                      </a:lnTo>
                      <a:lnTo>
                        <a:pt x="799" y="703"/>
                      </a:lnTo>
                      <a:lnTo>
                        <a:pt x="797" y="703"/>
                      </a:lnTo>
                      <a:lnTo>
                        <a:pt x="795" y="703"/>
                      </a:lnTo>
                      <a:lnTo>
                        <a:pt x="794" y="704"/>
                      </a:lnTo>
                      <a:lnTo>
                        <a:pt x="790" y="706"/>
                      </a:lnTo>
                      <a:lnTo>
                        <a:pt x="787" y="708"/>
                      </a:lnTo>
                      <a:lnTo>
                        <a:pt x="785" y="708"/>
                      </a:lnTo>
                      <a:lnTo>
                        <a:pt x="784" y="708"/>
                      </a:lnTo>
                      <a:lnTo>
                        <a:pt x="782" y="709"/>
                      </a:lnTo>
                      <a:lnTo>
                        <a:pt x="778" y="709"/>
                      </a:lnTo>
                      <a:lnTo>
                        <a:pt x="778" y="711"/>
                      </a:lnTo>
                      <a:lnTo>
                        <a:pt x="777" y="711"/>
                      </a:lnTo>
                      <a:lnTo>
                        <a:pt x="775" y="711"/>
                      </a:lnTo>
                      <a:lnTo>
                        <a:pt x="773" y="713"/>
                      </a:lnTo>
                      <a:lnTo>
                        <a:pt x="773" y="714"/>
                      </a:lnTo>
                      <a:lnTo>
                        <a:pt x="772" y="714"/>
                      </a:lnTo>
                      <a:lnTo>
                        <a:pt x="770" y="716"/>
                      </a:lnTo>
                      <a:lnTo>
                        <a:pt x="768" y="716"/>
                      </a:lnTo>
                      <a:lnTo>
                        <a:pt x="767" y="718"/>
                      </a:lnTo>
                      <a:lnTo>
                        <a:pt x="767" y="716"/>
                      </a:lnTo>
                      <a:lnTo>
                        <a:pt x="767" y="718"/>
                      </a:lnTo>
                      <a:lnTo>
                        <a:pt x="765" y="718"/>
                      </a:lnTo>
                      <a:lnTo>
                        <a:pt x="763" y="719"/>
                      </a:lnTo>
                      <a:lnTo>
                        <a:pt x="763" y="718"/>
                      </a:lnTo>
                      <a:lnTo>
                        <a:pt x="762" y="719"/>
                      </a:lnTo>
                      <a:lnTo>
                        <a:pt x="760" y="719"/>
                      </a:lnTo>
                      <a:lnTo>
                        <a:pt x="760" y="721"/>
                      </a:lnTo>
                      <a:lnTo>
                        <a:pt x="760" y="723"/>
                      </a:lnTo>
                      <a:lnTo>
                        <a:pt x="758" y="723"/>
                      </a:lnTo>
                      <a:lnTo>
                        <a:pt x="757" y="723"/>
                      </a:lnTo>
                      <a:lnTo>
                        <a:pt x="757" y="724"/>
                      </a:lnTo>
                      <a:lnTo>
                        <a:pt x="755" y="723"/>
                      </a:lnTo>
                      <a:lnTo>
                        <a:pt x="755" y="724"/>
                      </a:lnTo>
                      <a:lnTo>
                        <a:pt x="753" y="723"/>
                      </a:lnTo>
                      <a:lnTo>
                        <a:pt x="751" y="724"/>
                      </a:lnTo>
                      <a:lnTo>
                        <a:pt x="751" y="726"/>
                      </a:lnTo>
                      <a:lnTo>
                        <a:pt x="750" y="726"/>
                      </a:lnTo>
                      <a:lnTo>
                        <a:pt x="750" y="724"/>
                      </a:lnTo>
                      <a:lnTo>
                        <a:pt x="748" y="724"/>
                      </a:lnTo>
                      <a:lnTo>
                        <a:pt x="748" y="723"/>
                      </a:lnTo>
                      <a:lnTo>
                        <a:pt x="750" y="723"/>
                      </a:lnTo>
                      <a:lnTo>
                        <a:pt x="750" y="721"/>
                      </a:lnTo>
                      <a:lnTo>
                        <a:pt x="750" y="719"/>
                      </a:lnTo>
                      <a:lnTo>
                        <a:pt x="751" y="719"/>
                      </a:lnTo>
                      <a:lnTo>
                        <a:pt x="750" y="719"/>
                      </a:lnTo>
                      <a:lnTo>
                        <a:pt x="751" y="718"/>
                      </a:lnTo>
                      <a:lnTo>
                        <a:pt x="750" y="718"/>
                      </a:lnTo>
                      <a:lnTo>
                        <a:pt x="750" y="719"/>
                      </a:lnTo>
                      <a:lnTo>
                        <a:pt x="750" y="718"/>
                      </a:lnTo>
                      <a:lnTo>
                        <a:pt x="748" y="719"/>
                      </a:lnTo>
                      <a:lnTo>
                        <a:pt x="748" y="718"/>
                      </a:lnTo>
                      <a:lnTo>
                        <a:pt x="746" y="718"/>
                      </a:lnTo>
                      <a:lnTo>
                        <a:pt x="745" y="718"/>
                      </a:lnTo>
                      <a:lnTo>
                        <a:pt x="745" y="719"/>
                      </a:lnTo>
                      <a:lnTo>
                        <a:pt x="743" y="719"/>
                      </a:lnTo>
                      <a:lnTo>
                        <a:pt x="743" y="718"/>
                      </a:lnTo>
                      <a:lnTo>
                        <a:pt x="741" y="719"/>
                      </a:lnTo>
                      <a:lnTo>
                        <a:pt x="741" y="718"/>
                      </a:lnTo>
                      <a:lnTo>
                        <a:pt x="741" y="716"/>
                      </a:lnTo>
                      <a:lnTo>
                        <a:pt x="740" y="716"/>
                      </a:lnTo>
                      <a:lnTo>
                        <a:pt x="738" y="716"/>
                      </a:lnTo>
                      <a:lnTo>
                        <a:pt x="736" y="716"/>
                      </a:lnTo>
                      <a:lnTo>
                        <a:pt x="735" y="718"/>
                      </a:lnTo>
                      <a:lnTo>
                        <a:pt x="733" y="718"/>
                      </a:lnTo>
                      <a:lnTo>
                        <a:pt x="733" y="716"/>
                      </a:lnTo>
                      <a:lnTo>
                        <a:pt x="731" y="716"/>
                      </a:lnTo>
                      <a:lnTo>
                        <a:pt x="730" y="716"/>
                      </a:lnTo>
                      <a:lnTo>
                        <a:pt x="728" y="716"/>
                      </a:lnTo>
                      <a:lnTo>
                        <a:pt x="728" y="718"/>
                      </a:lnTo>
                      <a:lnTo>
                        <a:pt x="726" y="719"/>
                      </a:lnTo>
                      <a:lnTo>
                        <a:pt x="724" y="719"/>
                      </a:lnTo>
                      <a:lnTo>
                        <a:pt x="723" y="719"/>
                      </a:lnTo>
                      <a:lnTo>
                        <a:pt x="723" y="721"/>
                      </a:lnTo>
                      <a:lnTo>
                        <a:pt x="721" y="721"/>
                      </a:lnTo>
                      <a:lnTo>
                        <a:pt x="719" y="721"/>
                      </a:lnTo>
                      <a:lnTo>
                        <a:pt x="719" y="723"/>
                      </a:lnTo>
                      <a:lnTo>
                        <a:pt x="718" y="723"/>
                      </a:lnTo>
                      <a:lnTo>
                        <a:pt x="716" y="723"/>
                      </a:lnTo>
                      <a:lnTo>
                        <a:pt x="714" y="723"/>
                      </a:lnTo>
                      <a:lnTo>
                        <a:pt x="714" y="721"/>
                      </a:lnTo>
                      <a:lnTo>
                        <a:pt x="713" y="723"/>
                      </a:lnTo>
                      <a:lnTo>
                        <a:pt x="711" y="723"/>
                      </a:lnTo>
                      <a:lnTo>
                        <a:pt x="709" y="723"/>
                      </a:lnTo>
                      <a:lnTo>
                        <a:pt x="709" y="724"/>
                      </a:lnTo>
                      <a:lnTo>
                        <a:pt x="709" y="723"/>
                      </a:lnTo>
                      <a:lnTo>
                        <a:pt x="708" y="723"/>
                      </a:lnTo>
                      <a:lnTo>
                        <a:pt x="708" y="721"/>
                      </a:lnTo>
                      <a:lnTo>
                        <a:pt x="706" y="721"/>
                      </a:lnTo>
                      <a:lnTo>
                        <a:pt x="706" y="723"/>
                      </a:lnTo>
                      <a:lnTo>
                        <a:pt x="704" y="723"/>
                      </a:lnTo>
                      <a:lnTo>
                        <a:pt x="702" y="723"/>
                      </a:lnTo>
                      <a:lnTo>
                        <a:pt x="702" y="721"/>
                      </a:lnTo>
                      <a:lnTo>
                        <a:pt x="701" y="721"/>
                      </a:lnTo>
                      <a:lnTo>
                        <a:pt x="701" y="723"/>
                      </a:lnTo>
                      <a:lnTo>
                        <a:pt x="699" y="723"/>
                      </a:lnTo>
                      <a:lnTo>
                        <a:pt x="699" y="724"/>
                      </a:lnTo>
                      <a:lnTo>
                        <a:pt x="699" y="723"/>
                      </a:lnTo>
                      <a:lnTo>
                        <a:pt x="697" y="723"/>
                      </a:lnTo>
                      <a:lnTo>
                        <a:pt x="696" y="723"/>
                      </a:lnTo>
                      <a:lnTo>
                        <a:pt x="694" y="723"/>
                      </a:lnTo>
                      <a:lnTo>
                        <a:pt x="694" y="724"/>
                      </a:lnTo>
                      <a:lnTo>
                        <a:pt x="692" y="724"/>
                      </a:lnTo>
                      <a:lnTo>
                        <a:pt x="691" y="723"/>
                      </a:lnTo>
                      <a:lnTo>
                        <a:pt x="691" y="721"/>
                      </a:lnTo>
                      <a:lnTo>
                        <a:pt x="691" y="723"/>
                      </a:lnTo>
                      <a:lnTo>
                        <a:pt x="689" y="721"/>
                      </a:lnTo>
                      <a:lnTo>
                        <a:pt x="689" y="723"/>
                      </a:lnTo>
                      <a:lnTo>
                        <a:pt x="687" y="723"/>
                      </a:lnTo>
                      <a:lnTo>
                        <a:pt x="686" y="723"/>
                      </a:lnTo>
                      <a:lnTo>
                        <a:pt x="686" y="724"/>
                      </a:lnTo>
                      <a:lnTo>
                        <a:pt x="684" y="724"/>
                      </a:lnTo>
                      <a:lnTo>
                        <a:pt x="682" y="724"/>
                      </a:lnTo>
                      <a:lnTo>
                        <a:pt x="681" y="724"/>
                      </a:lnTo>
                      <a:lnTo>
                        <a:pt x="681" y="726"/>
                      </a:lnTo>
                      <a:lnTo>
                        <a:pt x="681" y="724"/>
                      </a:lnTo>
                      <a:lnTo>
                        <a:pt x="679" y="724"/>
                      </a:lnTo>
                      <a:lnTo>
                        <a:pt x="679" y="726"/>
                      </a:lnTo>
                      <a:lnTo>
                        <a:pt x="677" y="726"/>
                      </a:lnTo>
                      <a:lnTo>
                        <a:pt x="675" y="727"/>
                      </a:lnTo>
                      <a:lnTo>
                        <a:pt x="674" y="727"/>
                      </a:lnTo>
                      <a:lnTo>
                        <a:pt x="672" y="729"/>
                      </a:lnTo>
                      <a:lnTo>
                        <a:pt x="670" y="729"/>
                      </a:lnTo>
                      <a:lnTo>
                        <a:pt x="669" y="729"/>
                      </a:lnTo>
                      <a:lnTo>
                        <a:pt x="669" y="731"/>
                      </a:lnTo>
                      <a:lnTo>
                        <a:pt x="669" y="729"/>
                      </a:lnTo>
                      <a:lnTo>
                        <a:pt x="669" y="731"/>
                      </a:lnTo>
                      <a:lnTo>
                        <a:pt x="667" y="731"/>
                      </a:lnTo>
                      <a:lnTo>
                        <a:pt x="667" y="729"/>
                      </a:lnTo>
                      <a:lnTo>
                        <a:pt x="665" y="729"/>
                      </a:lnTo>
                      <a:lnTo>
                        <a:pt x="664" y="729"/>
                      </a:lnTo>
                      <a:lnTo>
                        <a:pt x="664" y="731"/>
                      </a:lnTo>
                      <a:lnTo>
                        <a:pt x="662" y="731"/>
                      </a:lnTo>
                      <a:lnTo>
                        <a:pt x="660" y="731"/>
                      </a:lnTo>
                      <a:lnTo>
                        <a:pt x="660" y="732"/>
                      </a:lnTo>
                      <a:lnTo>
                        <a:pt x="659" y="732"/>
                      </a:lnTo>
                      <a:lnTo>
                        <a:pt x="659" y="731"/>
                      </a:lnTo>
                      <a:lnTo>
                        <a:pt x="659" y="732"/>
                      </a:lnTo>
                      <a:lnTo>
                        <a:pt x="657" y="732"/>
                      </a:lnTo>
                      <a:lnTo>
                        <a:pt x="657" y="734"/>
                      </a:lnTo>
                      <a:lnTo>
                        <a:pt x="657" y="736"/>
                      </a:lnTo>
                      <a:lnTo>
                        <a:pt x="655" y="734"/>
                      </a:lnTo>
                      <a:lnTo>
                        <a:pt x="655" y="736"/>
                      </a:lnTo>
                      <a:lnTo>
                        <a:pt x="654" y="736"/>
                      </a:lnTo>
                      <a:lnTo>
                        <a:pt x="654" y="737"/>
                      </a:lnTo>
                      <a:lnTo>
                        <a:pt x="652" y="737"/>
                      </a:lnTo>
                      <a:lnTo>
                        <a:pt x="652" y="736"/>
                      </a:lnTo>
                      <a:lnTo>
                        <a:pt x="652" y="737"/>
                      </a:lnTo>
                      <a:lnTo>
                        <a:pt x="652" y="736"/>
                      </a:lnTo>
                      <a:lnTo>
                        <a:pt x="650" y="737"/>
                      </a:lnTo>
                      <a:lnTo>
                        <a:pt x="652" y="737"/>
                      </a:lnTo>
                      <a:lnTo>
                        <a:pt x="650" y="737"/>
                      </a:lnTo>
                      <a:lnTo>
                        <a:pt x="648" y="739"/>
                      </a:lnTo>
                      <a:lnTo>
                        <a:pt x="647" y="739"/>
                      </a:lnTo>
                      <a:lnTo>
                        <a:pt x="645" y="741"/>
                      </a:lnTo>
                      <a:lnTo>
                        <a:pt x="645" y="739"/>
                      </a:lnTo>
                      <a:lnTo>
                        <a:pt x="645" y="741"/>
                      </a:lnTo>
                      <a:lnTo>
                        <a:pt x="645" y="739"/>
                      </a:lnTo>
                      <a:lnTo>
                        <a:pt x="643" y="741"/>
                      </a:lnTo>
                      <a:lnTo>
                        <a:pt x="643" y="739"/>
                      </a:lnTo>
                      <a:lnTo>
                        <a:pt x="643" y="737"/>
                      </a:lnTo>
                      <a:lnTo>
                        <a:pt x="643" y="739"/>
                      </a:lnTo>
                      <a:lnTo>
                        <a:pt x="643" y="737"/>
                      </a:lnTo>
                      <a:lnTo>
                        <a:pt x="642" y="737"/>
                      </a:lnTo>
                      <a:lnTo>
                        <a:pt x="640" y="739"/>
                      </a:lnTo>
                      <a:lnTo>
                        <a:pt x="640" y="737"/>
                      </a:lnTo>
                      <a:lnTo>
                        <a:pt x="640" y="739"/>
                      </a:lnTo>
                      <a:lnTo>
                        <a:pt x="638" y="739"/>
                      </a:lnTo>
                      <a:lnTo>
                        <a:pt x="637" y="739"/>
                      </a:lnTo>
                      <a:lnTo>
                        <a:pt x="635" y="739"/>
                      </a:lnTo>
                      <a:lnTo>
                        <a:pt x="633" y="739"/>
                      </a:lnTo>
                      <a:lnTo>
                        <a:pt x="633" y="741"/>
                      </a:lnTo>
                      <a:lnTo>
                        <a:pt x="632" y="741"/>
                      </a:lnTo>
                      <a:lnTo>
                        <a:pt x="632" y="739"/>
                      </a:lnTo>
                      <a:lnTo>
                        <a:pt x="630" y="739"/>
                      </a:lnTo>
                      <a:lnTo>
                        <a:pt x="628" y="739"/>
                      </a:lnTo>
                      <a:lnTo>
                        <a:pt x="626" y="739"/>
                      </a:lnTo>
                      <a:lnTo>
                        <a:pt x="625" y="739"/>
                      </a:lnTo>
                      <a:lnTo>
                        <a:pt x="625" y="741"/>
                      </a:lnTo>
                      <a:lnTo>
                        <a:pt x="623" y="741"/>
                      </a:lnTo>
                      <a:lnTo>
                        <a:pt x="623" y="742"/>
                      </a:lnTo>
                      <a:lnTo>
                        <a:pt x="621" y="742"/>
                      </a:lnTo>
                      <a:lnTo>
                        <a:pt x="621" y="744"/>
                      </a:lnTo>
                      <a:lnTo>
                        <a:pt x="620" y="744"/>
                      </a:lnTo>
                      <a:lnTo>
                        <a:pt x="618" y="746"/>
                      </a:lnTo>
                      <a:lnTo>
                        <a:pt x="616" y="746"/>
                      </a:lnTo>
                      <a:lnTo>
                        <a:pt x="615" y="746"/>
                      </a:lnTo>
                      <a:lnTo>
                        <a:pt x="613" y="746"/>
                      </a:lnTo>
                      <a:lnTo>
                        <a:pt x="611" y="746"/>
                      </a:lnTo>
                      <a:lnTo>
                        <a:pt x="610" y="746"/>
                      </a:lnTo>
                      <a:lnTo>
                        <a:pt x="610" y="747"/>
                      </a:lnTo>
                      <a:lnTo>
                        <a:pt x="608" y="747"/>
                      </a:lnTo>
                      <a:lnTo>
                        <a:pt x="608" y="749"/>
                      </a:lnTo>
                      <a:lnTo>
                        <a:pt x="606" y="749"/>
                      </a:lnTo>
                      <a:lnTo>
                        <a:pt x="606" y="750"/>
                      </a:lnTo>
                      <a:lnTo>
                        <a:pt x="605" y="750"/>
                      </a:lnTo>
                      <a:lnTo>
                        <a:pt x="603" y="750"/>
                      </a:lnTo>
                      <a:lnTo>
                        <a:pt x="603" y="749"/>
                      </a:lnTo>
                      <a:lnTo>
                        <a:pt x="603" y="750"/>
                      </a:lnTo>
                      <a:lnTo>
                        <a:pt x="601" y="749"/>
                      </a:lnTo>
                      <a:lnTo>
                        <a:pt x="601" y="750"/>
                      </a:lnTo>
                      <a:lnTo>
                        <a:pt x="601" y="749"/>
                      </a:lnTo>
                      <a:lnTo>
                        <a:pt x="599" y="749"/>
                      </a:lnTo>
                      <a:lnTo>
                        <a:pt x="598" y="750"/>
                      </a:lnTo>
                      <a:lnTo>
                        <a:pt x="596" y="750"/>
                      </a:lnTo>
                      <a:lnTo>
                        <a:pt x="594" y="750"/>
                      </a:lnTo>
                      <a:lnTo>
                        <a:pt x="593" y="750"/>
                      </a:lnTo>
                      <a:lnTo>
                        <a:pt x="593" y="752"/>
                      </a:lnTo>
                      <a:lnTo>
                        <a:pt x="591" y="752"/>
                      </a:lnTo>
                      <a:lnTo>
                        <a:pt x="591" y="754"/>
                      </a:lnTo>
                      <a:lnTo>
                        <a:pt x="589" y="754"/>
                      </a:lnTo>
                      <a:lnTo>
                        <a:pt x="589" y="755"/>
                      </a:lnTo>
                      <a:lnTo>
                        <a:pt x="588" y="755"/>
                      </a:lnTo>
                      <a:lnTo>
                        <a:pt x="586" y="754"/>
                      </a:lnTo>
                      <a:lnTo>
                        <a:pt x="586" y="755"/>
                      </a:lnTo>
                      <a:lnTo>
                        <a:pt x="584" y="755"/>
                      </a:lnTo>
                      <a:lnTo>
                        <a:pt x="583" y="757"/>
                      </a:lnTo>
                      <a:lnTo>
                        <a:pt x="581" y="757"/>
                      </a:lnTo>
                      <a:lnTo>
                        <a:pt x="579" y="757"/>
                      </a:lnTo>
                      <a:lnTo>
                        <a:pt x="578" y="757"/>
                      </a:lnTo>
                      <a:lnTo>
                        <a:pt x="578" y="759"/>
                      </a:lnTo>
                      <a:lnTo>
                        <a:pt x="576" y="759"/>
                      </a:lnTo>
                      <a:lnTo>
                        <a:pt x="574" y="759"/>
                      </a:lnTo>
                      <a:lnTo>
                        <a:pt x="572" y="759"/>
                      </a:lnTo>
                      <a:lnTo>
                        <a:pt x="571" y="759"/>
                      </a:lnTo>
                      <a:lnTo>
                        <a:pt x="569" y="759"/>
                      </a:lnTo>
                      <a:lnTo>
                        <a:pt x="567" y="759"/>
                      </a:lnTo>
                      <a:lnTo>
                        <a:pt x="566" y="760"/>
                      </a:lnTo>
                      <a:lnTo>
                        <a:pt x="564" y="760"/>
                      </a:lnTo>
                      <a:lnTo>
                        <a:pt x="562" y="760"/>
                      </a:lnTo>
                      <a:lnTo>
                        <a:pt x="562" y="762"/>
                      </a:lnTo>
                      <a:lnTo>
                        <a:pt x="561" y="762"/>
                      </a:lnTo>
                      <a:lnTo>
                        <a:pt x="559" y="762"/>
                      </a:lnTo>
                      <a:lnTo>
                        <a:pt x="559" y="764"/>
                      </a:lnTo>
                      <a:lnTo>
                        <a:pt x="557" y="764"/>
                      </a:lnTo>
                      <a:lnTo>
                        <a:pt x="557" y="765"/>
                      </a:lnTo>
                      <a:lnTo>
                        <a:pt x="557" y="767"/>
                      </a:lnTo>
                      <a:lnTo>
                        <a:pt x="556" y="767"/>
                      </a:lnTo>
                      <a:lnTo>
                        <a:pt x="554" y="767"/>
                      </a:lnTo>
                      <a:lnTo>
                        <a:pt x="552" y="767"/>
                      </a:lnTo>
                      <a:lnTo>
                        <a:pt x="552" y="769"/>
                      </a:lnTo>
                      <a:lnTo>
                        <a:pt x="550" y="769"/>
                      </a:lnTo>
                      <a:lnTo>
                        <a:pt x="549" y="769"/>
                      </a:lnTo>
                      <a:lnTo>
                        <a:pt x="549" y="770"/>
                      </a:lnTo>
                      <a:lnTo>
                        <a:pt x="549" y="772"/>
                      </a:lnTo>
                      <a:lnTo>
                        <a:pt x="547" y="772"/>
                      </a:lnTo>
                      <a:lnTo>
                        <a:pt x="545" y="772"/>
                      </a:lnTo>
                      <a:lnTo>
                        <a:pt x="544" y="772"/>
                      </a:lnTo>
                      <a:lnTo>
                        <a:pt x="542" y="772"/>
                      </a:lnTo>
                      <a:lnTo>
                        <a:pt x="542" y="773"/>
                      </a:lnTo>
                      <a:lnTo>
                        <a:pt x="540" y="773"/>
                      </a:lnTo>
                      <a:lnTo>
                        <a:pt x="539" y="775"/>
                      </a:lnTo>
                      <a:lnTo>
                        <a:pt x="539" y="773"/>
                      </a:lnTo>
                      <a:lnTo>
                        <a:pt x="537" y="775"/>
                      </a:lnTo>
                      <a:lnTo>
                        <a:pt x="535" y="775"/>
                      </a:lnTo>
                      <a:lnTo>
                        <a:pt x="534" y="775"/>
                      </a:lnTo>
                      <a:lnTo>
                        <a:pt x="535" y="775"/>
                      </a:lnTo>
                      <a:lnTo>
                        <a:pt x="534" y="775"/>
                      </a:lnTo>
                      <a:lnTo>
                        <a:pt x="535" y="773"/>
                      </a:lnTo>
                      <a:lnTo>
                        <a:pt x="534" y="773"/>
                      </a:lnTo>
                      <a:lnTo>
                        <a:pt x="532" y="772"/>
                      </a:lnTo>
                      <a:lnTo>
                        <a:pt x="530" y="772"/>
                      </a:lnTo>
                      <a:lnTo>
                        <a:pt x="530" y="770"/>
                      </a:lnTo>
                      <a:lnTo>
                        <a:pt x="529" y="770"/>
                      </a:lnTo>
                      <a:lnTo>
                        <a:pt x="529" y="772"/>
                      </a:lnTo>
                      <a:lnTo>
                        <a:pt x="527" y="772"/>
                      </a:lnTo>
                      <a:lnTo>
                        <a:pt x="527" y="773"/>
                      </a:lnTo>
                      <a:lnTo>
                        <a:pt x="525" y="773"/>
                      </a:lnTo>
                      <a:lnTo>
                        <a:pt x="525" y="775"/>
                      </a:lnTo>
                      <a:lnTo>
                        <a:pt x="523" y="775"/>
                      </a:lnTo>
                      <a:lnTo>
                        <a:pt x="522" y="775"/>
                      </a:lnTo>
                      <a:lnTo>
                        <a:pt x="520" y="775"/>
                      </a:lnTo>
                      <a:lnTo>
                        <a:pt x="520" y="777"/>
                      </a:lnTo>
                      <a:lnTo>
                        <a:pt x="518" y="777"/>
                      </a:lnTo>
                      <a:lnTo>
                        <a:pt x="518" y="775"/>
                      </a:lnTo>
                      <a:lnTo>
                        <a:pt x="520" y="775"/>
                      </a:lnTo>
                      <a:lnTo>
                        <a:pt x="520" y="773"/>
                      </a:lnTo>
                      <a:lnTo>
                        <a:pt x="520" y="772"/>
                      </a:lnTo>
                      <a:lnTo>
                        <a:pt x="518" y="772"/>
                      </a:lnTo>
                      <a:lnTo>
                        <a:pt x="517" y="772"/>
                      </a:lnTo>
                      <a:lnTo>
                        <a:pt x="518" y="772"/>
                      </a:lnTo>
                      <a:lnTo>
                        <a:pt x="517" y="772"/>
                      </a:lnTo>
                      <a:lnTo>
                        <a:pt x="517" y="773"/>
                      </a:lnTo>
                      <a:lnTo>
                        <a:pt x="515" y="773"/>
                      </a:lnTo>
                      <a:lnTo>
                        <a:pt x="515" y="775"/>
                      </a:lnTo>
                      <a:lnTo>
                        <a:pt x="513" y="775"/>
                      </a:lnTo>
                      <a:lnTo>
                        <a:pt x="512" y="775"/>
                      </a:lnTo>
                      <a:lnTo>
                        <a:pt x="510" y="775"/>
                      </a:lnTo>
                      <a:lnTo>
                        <a:pt x="508" y="775"/>
                      </a:lnTo>
                      <a:lnTo>
                        <a:pt x="508" y="773"/>
                      </a:lnTo>
                      <a:lnTo>
                        <a:pt x="510" y="773"/>
                      </a:lnTo>
                      <a:lnTo>
                        <a:pt x="510" y="772"/>
                      </a:lnTo>
                      <a:lnTo>
                        <a:pt x="510" y="770"/>
                      </a:lnTo>
                      <a:lnTo>
                        <a:pt x="512" y="770"/>
                      </a:lnTo>
                      <a:lnTo>
                        <a:pt x="510" y="770"/>
                      </a:lnTo>
                      <a:lnTo>
                        <a:pt x="510" y="769"/>
                      </a:lnTo>
                      <a:lnTo>
                        <a:pt x="508" y="769"/>
                      </a:lnTo>
                      <a:lnTo>
                        <a:pt x="507" y="770"/>
                      </a:lnTo>
                      <a:lnTo>
                        <a:pt x="507" y="769"/>
                      </a:lnTo>
                      <a:lnTo>
                        <a:pt x="505" y="769"/>
                      </a:lnTo>
                      <a:lnTo>
                        <a:pt x="505" y="770"/>
                      </a:lnTo>
                      <a:lnTo>
                        <a:pt x="503" y="770"/>
                      </a:lnTo>
                      <a:lnTo>
                        <a:pt x="503" y="772"/>
                      </a:lnTo>
                      <a:lnTo>
                        <a:pt x="505" y="772"/>
                      </a:lnTo>
                      <a:lnTo>
                        <a:pt x="505" y="773"/>
                      </a:lnTo>
                      <a:lnTo>
                        <a:pt x="505" y="772"/>
                      </a:lnTo>
                      <a:lnTo>
                        <a:pt x="505" y="773"/>
                      </a:lnTo>
                      <a:lnTo>
                        <a:pt x="507" y="775"/>
                      </a:lnTo>
                      <a:lnTo>
                        <a:pt x="508" y="775"/>
                      </a:lnTo>
                      <a:lnTo>
                        <a:pt x="507" y="775"/>
                      </a:lnTo>
                      <a:lnTo>
                        <a:pt x="507" y="777"/>
                      </a:lnTo>
                      <a:lnTo>
                        <a:pt x="505" y="777"/>
                      </a:lnTo>
                      <a:lnTo>
                        <a:pt x="503" y="777"/>
                      </a:lnTo>
                      <a:lnTo>
                        <a:pt x="502" y="777"/>
                      </a:lnTo>
                      <a:lnTo>
                        <a:pt x="502" y="778"/>
                      </a:lnTo>
                      <a:lnTo>
                        <a:pt x="500" y="778"/>
                      </a:lnTo>
                      <a:lnTo>
                        <a:pt x="498" y="780"/>
                      </a:lnTo>
                      <a:lnTo>
                        <a:pt x="496" y="780"/>
                      </a:lnTo>
                      <a:lnTo>
                        <a:pt x="496" y="782"/>
                      </a:lnTo>
                      <a:lnTo>
                        <a:pt x="495" y="782"/>
                      </a:lnTo>
                      <a:lnTo>
                        <a:pt x="496" y="782"/>
                      </a:lnTo>
                      <a:lnTo>
                        <a:pt x="496" y="783"/>
                      </a:lnTo>
                      <a:lnTo>
                        <a:pt x="498" y="783"/>
                      </a:lnTo>
                      <a:lnTo>
                        <a:pt x="500" y="783"/>
                      </a:lnTo>
                      <a:lnTo>
                        <a:pt x="502" y="782"/>
                      </a:lnTo>
                      <a:lnTo>
                        <a:pt x="503" y="782"/>
                      </a:lnTo>
                      <a:lnTo>
                        <a:pt x="505" y="782"/>
                      </a:lnTo>
                      <a:lnTo>
                        <a:pt x="505" y="783"/>
                      </a:lnTo>
                      <a:lnTo>
                        <a:pt x="505" y="785"/>
                      </a:lnTo>
                      <a:lnTo>
                        <a:pt x="507" y="787"/>
                      </a:lnTo>
                      <a:lnTo>
                        <a:pt x="505" y="787"/>
                      </a:lnTo>
                      <a:lnTo>
                        <a:pt x="505" y="788"/>
                      </a:lnTo>
                      <a:lnTo>
                        <a:pt x="505" y="787"/>
                      </a:lnTo>
                      <a:lnTo>
                        <a:pt x="505" y="788"/>
                      </a:lnTo>
                      <a:lnTo>
                        <a:pt x="505" y="790"/>
                      </a:lnTo>
                      <a:lnTo>
                        <a:pt x="505" y="792"/>
                      </a:lnTo>
                      <a:lnTo>
                        <a:pt x="505" y="790"/>
                      </a:lnTo>
                      <a:lnTo>
                        <a:pt x="503" y="790"/>
                      </a:lnTo>
                      <a:lnTo>
                        <a:pt x="503" y="788"/>
                      </a:lnTo>
                      <a:lnTo>
                        <a:pt x="502" y="788"/>
                      </a:lnTo>
                      <a:lnTo>
                        <a:pt x="502" y="790"/>
                      </a:lnTo>
                      <a:lnTo>
                        <a:pt x="500" y="790"/>
                      </a:lnTo>
                      <a:lnTo>
                        <a:pt x="500" y="793"/>
                      </a:lnTo>
                      <a:lnTo>
                        <a:pt x="500" y="795"/>
                      </a:lnTo>
                      <a:lnTo>
                        <a:pt x="498" y="795"/>
                      </a:lnTo>
                      <a:lnTo>
                        <a:pt x="498" y="793"/>
                      </a:lnTo>
                      <a:lnTo>
                        <a:pt x="496" y="793"/>
                      </a:lnTo>
                      <a:lnTo>
                        <a:pt x="496" y="792"/>
                      </a:lnTo>
                      <a:lnTo>
                        <a:pt x="496" y="793"/>
                      </a:lnTo>
                      <a:lnTo>
                        <a:pt x="496" y="792"/>
                      </a:lnTo>
                      <a:lnTo>
                        <a:pt x="495" y="792"/>
                      </a:lnTo>
                      <a:lnTo>
                        <a:pt x="495" y="793"/>
                      </a:lnTo>
                      <a:lnTo>
                        <a:pt x="495" y="792"/>
                      </a:lnTo>
                      <a:lnTo>
                        <a:pt x="493" y="792"/>
                      </a:lnTo>
                      <a:lnTo>
                        <a:pt x="493" y="793"/>
                      </a:lnTo>
                      <a:lnTo>
                        <a:pt x="491" y="793"/>
                      </a:lnTo>
                      <a:lnTo>
                        <a:pt x="491" y="795"/>
                      </a:lnTo>
                      <a:lnTo>
                        <a:pt x="491" y="796"/>
                      </a:lnTo>
                      <a:lnTo>
                        <a:pt x="490" y="796"/>
                      </a:lnTo>
                      <a:lnTo>
                        <a:pt x="490" y="795"/>
                      </a:lnTo>
                      <a:lnTo>
                        <a:pt x="488" y="795"/>
                      </a:lnTo>
                      <a:lnTo>
                        <a:pt x="488" y="793"/>
                      </a:lnTo>
                      <a:lnTo>
                        <a:pt x="490" y="793"/>
                      </a:lnTo>
                      <a:lnTo>
                        <a:pt x="488" y="793"/>
                      </a:lnTo>
                      <a:lnTo>
                        <a:pt x="488" y="792"/>
                      </a:lnTo>
                      <a:lnTo>
                        <a:pt x="486" y="792"/>
                      </a:lnTo>
                      <a:lnTo>
                        <a:pt x="485" y="793"/>
                      </a:lnTo>
                      <a:lnTo>
                        <a:pt x="483" y="793"/>
                      </a:lnTo>
                      <a:lnTo>
                        <a:pt x="483" y="795"/>
                      </a:lnTo>
                      <a:lnTo>
                        <a:pt x="481" y="795"/>
                      </a:lnTo>
                      <a:lnTo>
                        <a:pt x="480" y="795"/>
                      </a:lnTo>
                      <a:lnTo>
                        <a:pt x="480" y="796"/>
                      </a:lnTo>
                      <a:lnTo>
                        <a:pt x="478" y="796"/>
                      </a:lnTo>
                      <a:lnTo>
                        <a:pt x="478" y="798"/>
                      </a:lnTo>
                      <a:lnTo>
                        <a:pt x="478" y="796"/>
                      </a:lnTo>
                      <a:lnTo>
                        <a:pt x="476" y="798"/>
                      </a:lnTo>
                      <a:lnTo>
                        <a:pt x="476" y="796"/>
                      </a:lnTo>
                      <a:lnTo>
                        <a:pt x="474" y="798"/>
                      </a:lnTo>
                      <a:lnTo>
                        <a:pt x="473" y="798"/>
                      </a:lnTo>
                      <a:lnTo>
                        <a:pt x="471" y="798"/>
                      </a:lnTo>
                      <a:lnTo>
                        <a:pt x="469" y="798"/>
                      </a:lnTo>
                      <a:lnTo>
                        <a:pt x="468" y="798"/>
                      </a:lnTo>
                      <a:lnTo>
                        <a:pt x="468" y="800"/>
                      </a:lnTo>
                      <a:lnTo>
                        <a:pt x="466" y="800"/>
                      </a:lnTo>
                      <a:lnTo>
                        <a:pt x="466" y="801"/>
                      </a:lnTo>
                      <a:lnTo>
                        <a:pt x="464" y="800"/>
                      </a:lnTo>
                      <a:lnTo>
                        <a:pt x="464" y="798"/>
                      </a:lnTo>
                      <a:lnTo>
                        <a:pt x="466" y="798"/>
                      </a:lnTo>
                      <a:lnTo>
                        <a:pt x="466" y="796"/>
                      </a:lnTo>
                      <a:lnTo>
                        <a:pt x="464" y="796"/>
                      </a:lnTo>
                      <a:lnTo>
                        <a:pt x="464" y="795"/>
                      </a:lnTo>
                      <a:lnTo>
                        <a:pt x="463" y="795"/>
                      </a:lnTo>
                      <a:lnTo>
                        <a:pt x="461" y="795"/>
                      </a:lnTo>
                      <a:lnTo>
                        <a:pt x="459" y="796"/>
                      </a:lnTo>
                      <a:lnTo>
                        <a:pt x="458" y="796"/>
                      </a:lnTo>
                      <a:lnTo>
                        <a:pt x="456" y="796"/>
                      </a:lnTo>
                      <a:lnTo>
                        <a:pt x="456" y="798"/>
                      </a:lnTo>
                      <a:lnTo>
                        <a:pt x="454" y="798"/>
                      </a:lnTo>
                      <a:lnTo>
                        <a:pt x="454" y="796"/>
                      </a:lnTo>
                      <a:lnTo>
                        <a:pt x="453" y="796"/>
                      </a:lnTo>
                      <a:lnTo>
                        <a:pt x="451" y="796"/>
                      </a:lnTo>
                      <a:lnTo>
                        <a:pt x="451" y="798"/>
                      </a:lnTo>
                      <a:lnTo>
                        <a:pt x="449" y="798"/>
                      </a:lnTo>
                      <a:lnTo>
                        <a:pt x="449" y="796"/>
                      </a:lnTo>
                      <a:lnTo>
                        <a:pt x="447" y="798"/>
                      </a:lnTo>
                      <a:lnTo>
                        <a:pt x="446" y="798"/>
                      </a:lnTo>
                      <a:lnTo>
                        <a:pt x="444" y="798"/>
                      </a:lnTo>
                      <a:lnTo>
                        <a:pt x="444" y="796"/>
                      </a:lnTo>
                      <a:lnTo>
                        <a:pt x="442" y="796"/>
                      </a:lnTo>
                      <a:lnTo>
                        <a:pt x="442" y="795"/>
                      </a:lnTo>
                      <a:lnTo>
                        <a:pt x="442" y="793"/>
                      </a:lnTo>
                      <a:lnTo>
                        <a:pt x="444" y="793"/>
                      </a:lnTo>
                      <a:lnTo>
                        <a:pt x="442" y="792"/>
                      </a:lnTo>
                      <a:lnTo>
                        <a:pt x="444" y="790"/>
                      </a:lnTo>
                      <a:lnTo>
                        <a:pt x="444" y="788"/>
                      </a:lnTo>
                      <a:lnTo>
                        <a:pt x="446" y="788"/>
                      </a:lnTo>
                      <a:lnTo>
                        <a:pt x="446" y="787"/>
                      </a:lnTo>
                      <a:lnTo>
                        <a:pt x="447" y="787"/>
                      </a:lnTo>
                      <a:lnTo>
                        <a:pt x="447" y="785"/>
                      </a:lnTo>
                      <a:lnTo>
                        <a:pt x="446" y="785"/>
                      </a:lnTo>
                      <a:lnTo>
                        <a:pt x="444" y="785"/>
                      </a:lnTo>
                      <a:lnTo>
                        <a:pt x="442" y="785"/>
                      </a:lnTo>
                      <a:lnTo>
                        <a:pt x="442" y="783"/>
                      </a:lnTo>
                      <a:lnTo>
                        <a:pt x="441" y="783"/>
                      </a:lnTo>
                      <a:lnTo>
                        <a:pt x="439" y="783"/>
                      </a:lnTo>
                      <a:lnTo>
                        <a:pt x="437" y="783"/>
                      </a:lnTo>
                      <a:lnTo>
                        <a:pt x="437" y="782"/>
                      </a:lnTo>
                      <a:lnTo>
                        <a:pt x="436" y="783"/>
                      </a:lnTo>
                      <a:lnTo>
                        <a:pt x="436" y="782"/>
                      </a:lnTo>
                      <a:lnTo>
                        <a:pt x="436" y="783"/>
                      </a:lnTo>
                      <a:lnTo>
                        <a:pt x="436" y="782"/>
                      </a:lnTo>
                      <a:lnTo>
                        <a:pt x="436" y="780"/>
                      </a:lnTo>
                      <a:lnTo>
                        <a:pt x="434" y="780"/>
                      </a:lnTo>
                      <a:lnTo>
                        <a:pt x="434" y="778"/>
                      </a:lnTo>
                      <a:lnTo>
                        <a:pt x="432" y="778"/>
                      </a:lnTo>
                      <a:lnTo>
                        <a:pt x="434" y="778"/>
                      </a:lnTo>
                      <a:lnTo>
                        <a:pt x="434" y="777"/>
                      </a:lnTo>
                      <a:lnTo>
                        <a:pt x="434" y="778"/>
                      </a:lnTo>
                      <a:lnTo>
                        <a:pt x="436" y="777"/>
                      </a:lnTo>
                      <a:lnTo>
                        <a:pt x="437" y="777"/>
                      </a:lnTo>
                      <a:lnTo>
                        <a:pt x="439" y="777"/>
                      </a:lnTo>
                      <a:lnTo>
                        <a:pt x="441" y="777"/>
                      </a:lnTo>
                      <a:lnTo>
                        <a:pt x="439" y="777"/>
                      </a:lnTo>
                      <a:lnTo>
                        <a:pt x="441" y="777"/>
                      </a:lnTo>
                      <a:lnTo>
                        <a:pt x="441" y="775"/>
                      </a:lnTo>
                      <a:lnTo>
                        <a:pt x="439" y="775"/>
                      </a:lnTo>
                      <a:lnTo>
                        <a:pt x="439" y="773"/>
                      </a:lnTo>
                      <a:lnTo>
                        <a:pt x="441" y="773"/>
                      </a:lnTo>
                      <a:lnTo>
                        <a:pt x="439" y="772"/>
                      </a:lnTo>
                      <a:lnTo>
                        <a:pt x="439" y="770"/>
                      </a:lnTo>
                      <a:lnTo>
                        <a:pt x="439" y="769"/>
                      </a:lnTo>
                      <a:lnTo>
                        <a:pt x="437" y="769"/>
                      </a:lnTo>
                      <a:lnTo>
                        <a:pt x="437" y="767"/>
                      </a:lnTo>
                      <a:lnTo>
                        <a:pt x="439" y="767"/>
                      </a:lnTo>
                      <a:lnTo>
                        <a:pt x="439" y="765"/>
                      </a:lnTo>
                      <a:lnTo>
                        <a:pt x="441" y="765"/>
                      </a:lnTo>
                      <a:lnTo>
                        <a:pt x="439" y="765"/>
                      </a:lnTo>
                      <a:lnTo>
                        <a:pt x="437" y="765"/>
                      </a:lnTo>
                      <a:lnTo>
                        <a:pt x="436" y="764"/>
                      </a:lnTo>
                      <a:lnTo>
                        <a:pt x="434" y="764"/>
                      </a:lnTo>
                      <a:lnTo>
                        <a:pt x="432" y="764"/>
                      </a:lnTo>
                      <a:lnTo>
                        <a:pt x="432" y="762"/>
                      </a:lnTo>
                      <a:lnTo>
                        <a:pt x="431" y="764"/>
                      </a:lnTo>
                      <a:lnTo>
                        <a:pt x="431" y="762"/>
                      </a:lnTo>
                      <a:lnTo>
                        <a:pt x="427" y="760"/>
                      </a:lnTo>
                      <a:lnTo>
                        <a:pt x="429" y="759"/>
                      </a:lnTo>
                      <a:lnTo>
                        <a:pt x="427" y="759"/>
                      </a:lnTo>
                      <a:lnTo>
                        <a:pt x="425" y="759"/>
                      </a:lnTo>
                      <a:lnTo>
                        <a:pt x="427" y="757"/>
                      </a:lnTo>
                      <a:lnTo>
                        <a:pt x="425" y="757"/>
                      </a:lnTo>
                      <a:lnTo>
                        <a:pt x="424" y="757"/>
                      </a:lnTo>
                      <a:lnTo>
                        <a:pt x="424" y="755"/>
                      </a:lnTo>
                      <a:lnTo>
                        <a:pt x="422" y="755"/>
                      </a:lnTo>
                      <a:lnTo>
                        <a:pt x="422" y="757"/>
                      </a:lnTo>
                      <a:lnTo>
                        <a:pt x="420" y="755"/>
                      </a:lnTo>
                      <a:lnTo>
                        <a:pt x="419" y="755"/>
                      </a:lnTo>
                      <a:lnTo>
                        <a:pt x="417" y="755"/>
                      </a:lnTo>
                      <a:lnTo>
                        <a:pt x="417" y="754"/>
                      </a:lnTo>
                      <a:lnTo>
                        <a:pt x="415" y="754"/>
                      </a:lnTo>
                      <a:lnTo>
                        <a:pt x="415" y="752"/>
                      </a:lnTo>
                      <a:lnTo>
                        <a:pt x="415" y="750"/>
                      </a:lnTo>
                      <a:lnTo>
                        <a:pt x="415" y="749"/>
                      </a:lnTo>
                      <a:lnTo>
                        <a:pt x="414" y="749"/>
                      </a:lnTo>
                      <a:lnTo>
                        <a:pt x="414" y="747"/>
                      </a:lnTo>
                      <a:lnTo>
                        <a:pt x="412" y="747"/>
                      </a:lnTo>
                      <a:lnTo>
                        <a:pt x="412" y="746"/>
                      </a:lnTo>
                      <a:lnTo>
                        <a:pt x="410" y="746"/>
                      </a:lnTo>
                      <a:lnTo>
                        <a:pt x="410" y="744"/>
                      </a:lnTo>
                      <a:lnTo>
                        <a:pt x="412" y="744"/>
                      </a:lnTo>
                      <a:lnTo>
                        <a:pt x="412" y="742"/>
                      </a:lnTo>
                      <a:lnTo>
                        <a:pt x="410" y="742"/>
                      </a:lnTo>
                      <a:lnTo>
                        <a:pt x="412" y="742"/>
                      </a:lnTo>
                      <a:lnTo>
                        <a:pt x="412" y="741"/>
                      </a:lnTo>
                      <a:lnTo>
                        <a:pt x="410" y="741"/>
                      </a:lnTo>
                      <a:lnTo>
                        <a:pt x="410" y="739"/>
                      </a:lnTo>
                      <a:lnTo>
                        <a:pt x="412" y="739"/>
                      </a:lnTo>
                      <a:lnTo>
                        <a:pt x="414" y="739"/>
                      </a:lnTo>
                      <a:lnTo>
                        <a:pt x="414" y="737"/>
                      </a:lnTo>
                      <a:lnTo>
                        <a:pt x="412" y="737"/>
                      </a:lnTo>
                      <a:lnTo>
                        <a:pt x="414" y="737"/>
                      </a:lnTo>
                      <a:lnTo>
                        <a:pt x="414" y="736"/>
                      </a:lnTo>
                      <a:lnTo>
                        <a:pt x="414" y="734"/>
                      </a:lnTo>
                      <a:lnTo>
                        <a:pt x="415" y="732"/>
                      </a:lnTo>
                      <a:lnTo>
                        <a:pt x="415" y="731"/>
                      </a:lnTo>
                      <a:lnTo>
                        <a:pt x="415" y="732"/>
                      </a:lnTo>
                      <a:lnTo>
                        <a:pt x="417" y="732"/>
                      </a:lnTo>
                      <a:lnTo>
                        <a:pt x="417" y="731"/>
                      </a:lnTo>
                      <a:lnTo>
                        <a:pt x="419" y="729"/>
                      </a:lnTo>
                      <a:lnTo>
                        <a:pt x="420" y="729"/>
                      </a:lnTo>
                      <a:lnTo>
                        <a:pt x="422" y="727"/>
                      </a:lnTo>
                      <a:lnTo>
                        <a:pt x="420" y="727"/>
                      </a:lnTo>
                      <a:lnTo>
                        <a:pt x="420" y="726"/>
                      </a:lnTo>
                      <a:lnTo>
                        <a:pt x="419" y="726"/>
                      </a:lnTo>
                      <a:lnTo>
                        <a:pt x="419" y="724"/>
                      </a:lnTo>
                      <a:lnTo>
                        <a:pt x="417" y="724"/>
                      </a:lnTo>
                      <a:lnTo>
                        <a:pt x="415" y="724"/>
                      </a:lnTo>
                      <a:lnTo>
                        <a:pt x="414" y="724"/>
                      </a:lnTo>
                      <a:lnTo>
                        <a:pt x="412" y="724"/>
                      </a:lnTo>
                      <a:lnTo>
                        <a:pt x="410" y="724"/>
                      </a:lnTo>
                      <a:lnTo>
                        <a:pt x="410" y="723"/>
                      </a:lnTo>
                      <a:lnTo>
                        <a:pt x="412" y="723"/>
                      </a:lnTo>
                      <a:lnTo>
                        <a:pt x="414" y="723"/>
                      </a:lnTo>
                      <a:lnTo>
                        <a:pt x="415" y="723"/>
                      </a:lnTo>
                      <a:lnTo>
                        <a:pt x="415" y="721"/>
                      </a:lnTo>
                      <a:lnTo>
                        <a:pt x="414" y="721"/>
                      </a:lnTo>
                      <a:lnTo>
                        <a:pt x="414" y="719"/>
                      </a:lnTo>
                      <a:lnTo>
                        <a:pt x="414" y="718"/>
                      </a:lnTo>
                      <a:lnTo>
                        <a:pt x="415" y="718"/>
                      </a:lnTo>
                      <a:lnTo>
                        <a:pt x="417" y="718"/>
                      </a:lnTo>
                      <a:lnTo>
                        <a:pt x="417" y="716"/>
                      </a:lnTo>
                      <a:lnTo>
                        <a:pt x="419" y="716"/>
                      </a:lnTo>
                      <a:lnTo>
                        <a:pt x="419" y="718"/>
                      </a:lnTo>
                      <a:lnTo>
                        <a:pt x="420" y="718"/>
                      </a:lnTo>
                      <a:lnTo>
                        <a:pt x="420" y="716"/>
                      </a:lnTo>
                      <a:lnTo>
                        <a:pt x="420" y="714"/>
                      </a:lnTo>
                      <a:lnTo>
                        <a:pt x="419" y="714"/>
                      </a:lnTo>
                      <a:lnTo>
                        <a:pt x="417" y="713"/>
                      </a:lnTo>
                      <a:lnTo>
                        <a:pt x="417" y="711"/>
                      </a:lnTo>
                      <a:lnTo>
                        <a:pt x="417" y="709"/>
                      </a:lnTo>
                      <a:lnTo>
                        <a:pt x="415" y="709"/>
                      </a:lnTo>
                      <a:lnTo>
                        <a:pt x="415" y="708"/>
                      </a:lnTo>
                      <a:lnTo>
                        <a:pt x="415" y="706"/>
                      </a:lnTo>
                      <a:lnTo>
                        <a:pt x="417" y="706"/>
                      </a:lnTo>
                      <a:lnTo>
                        <a:pt x="417" y="704"/>
                      </a:lnTo>
                      <a:lnTo>
                        <a:pt x="415" y="704"/>
                      </a:lnTo>
                      <a:lnTo>
                        <a:pt x="415" y="703"/>
                      </a:lnTo>
                      <a:lnTo>
                        <a:pt x="415" y="701"/>
                      </a:lnTo>
                      <a:lnTo>
                        <a:pt x="414" y="701"/>
                      </a:lnTo>
                      <a:lnTo>
                        <a:pt x="414" y="700"/>
                      </a:lnTo>
                      <a:lnTo>
                        <a:pt x="415" y="698"/>
                      </a:lnTo>
                      <a:lnTo>
                        <a:pt x="417" y="696"/>
                      </a:lnTo>
                      <a:lnTo>
                        <a:pt x="417" y="695"/>
                      </a:lnTo>
                      <a:lnTo>
                        <a:pt x="419" y="695"/>
                      </a:lnTo>
                      <a:lnTo>
                        <a:pt x="419" y="693"/>
                      </a:lnTo>
                      <a:lnTo>
                        <a:pt x="419" y="691"/>
                      </a:lnTo>
                      <a:lnTo>
                        <a:pt x="419" y="690"/>
                      </a:lnTo>
                      <a:lnTo>
                        <a:pt x="419" y="688"/>
                      </a:lnTo>
                      <a:lnTo>
                        <a:pt x="419" y="686"/>
                      </a:lnTo>
                      <a:lnTo>
                        <a:pt x="419" y="685"/>
                      </a:lnTo>
                      <a:lnTo>
                        <a:pt x="420" y="686"/>
                      </a:lnTo>
                      <a:lnTo>
                        <a:pt x="422" y="686"/>
                      </a:lnTo>
                      <a:lnTo>
                        <a:pt x="424" y="686"/>
                      </a:lnTo>
                      <a:lnTo>
                        <a:pt x="425" y="686"/>
                      </a:lnTo>
                      <a:lnTo>
                        <a:pt x="425" y="685"/>
                      </a:lnTo>
                      <a:lnTo>
                        <a:pt x="425" y="683"/>
                      </a:lnTo>
                      <a:lnTo>
                        <a:pt x="427" y="683"/>
                      </a:lnTo>
                      <a:lnTo>
                        <a:pt x="425" y="683"/>
                      </a:lnTo>
                      <a:lnTo>
                        <a:pt x="425" y="681"/>
                      </a:lnTo>
                      <a:lnTo>
                        <a:pt x="427" y="681"/>
                      </a:lnTo>
                      <a:lnTo>
                        <a:pt x="427" y="680"/>
                      </a:lnTo>
                      <a:lnTo>
                        <a:pt x="429" y="680"/>
                      </a:lnTo>
                      <a:lnTo>
                        <a:pt x="429" y="678"/>
                      </a:lnTo>
                      <a:lnTo>
                        <a:pt x="429" y="677"/>
                      </a:lnTo>
                      <a:lnTo>
                        <a:pt x="431" y="677"/>
                      </a:lnTo>
                      <a:lnTo>
                        <a:pt x="431" y="675"/>
                      </a:lnTo>
                      <a:lnTo>
                        <a:pt x="431" y="673"/>
                      </a:lnTo>
                      <a:lnTo>
                        <a:pt x="429" y="673"/>
                      </a:lnTo>
                      <a:lnTo>
                        <a:pt x="429" y="672"/>
                      </a:lnTo>
                      <a:lnTo>
                        <a:pt x="429" y="670"/>
                      </a:lnTo>
                      <a:lnTo>
                        <a:pt x="431" y="668"/>
                      </a:lnTo>
                      <a:lnTo>
                        <a:pt x="431" y="667"/>
                      </a:lnTo>
                      <a:lnTo>
                        <a:pt x="429" y="667"/>
                      </a:lnTo>
                      <a:lnTo>
                        <a:pt x="429" y="665"/>
                      </a:lnTo>
                      <a:lnTo>
                        <a:pt x="427" y="665"/>
                      </a:lnTo>
                      <a:lnTo>
                        <a:pt x="427" y="663"/>
                      </a:lnTo>
                      <a:lnTo>
                        <a:pt x="425" y="663"/>
                      </a:lnTo>
                      <a:lnTo>
                        <a:pt x="424" y="663"/>
                      </a:lnTo>
                      <a:lnTo>
                        <a:pt x="422" y="663"/>
                      </a:lnTo>
                      <a:lnTo>
                        <a:pt x="420" y="665"/>
                      </a:lnTo>
                      <a:lnTo>
                        <a:pt x="420" y="663"/>
                      </a:lnTo>
                      <a:lnTo>
                        <a:pt x="420" y="662"/>
                      </a:lnTo>
                      <a:lnTo>
                        <a:pt x="419" y="662"/>
                      </a:lnTo>
                      <a:lnTo>
                        <a:pt x="417" y="660"/>
                      </a:lnTo>
                      <a:lnTo>
                        <a:pt x="419" y="660"/>
                      </a:lnTo>
                      <a:lnTo>
                        <a:pt x="417" y="660"/>
                      </a:lnTo>
                      <a:lnTo>
                        <a:pt x="417" y="659"/>
                      </a:lnTo>
                      <a:lnTo>
                        <a:pt x="417" y="657"/>
                      </a:lnTo>
                      <a:lnTo>
                        <a:pt x="415" y="657"/>
                      </a:lnTo>
                      <a:lnTo>
                        <a:pt x="415" y="659"/>
                      </a:lnTo>
                      <a:lnTo>
                        <a:pt x="414" y="659"/>
                      </a:lnTo>
                      <a:lnTo>
                        <a:pt x="412" y="659"/>
                      </a:lnTo>
                      <a:lnTo>
                        <a:pt x="412" y="660"/>
                      </a:lnTo>
                      <a:lnTo>
                        <a:pt x="410" y="660"/>
                      </a:lnTo>
                      <a:lnTo>
                        <a:pt x="410" y="659"/>
                      </a:lnTo>
                      <a:lnTo>
                        <a:pt x="410" y="660"/>
                      </a:lnTo>
                      <a:lnTo>
                        <a:pt x="409" y="660"/>
                      </a:lnTo>
                      <a:lnTo>
                        <a:pt x="409" y="659"/>
                      </a:lnTo>
                      <a:lnTo>
                        <a:pt x="407" y="659"/>
                      </a:lnTo>
                      <a:lnTo>
                        <a:pt x="407" y="657"/>
                      </a:lnTo>
                      <a:lnTo>
                        <a:pt x="405" y="657"/>
                      </a:lnTo>
                      <a:lnTo>
                        <a:pt x="404" y="657"/>
                      </a:lnTo>
                      <a:lnTo>
                        <a:pt x="404" y="659"/>
                      </a:lnTo>
                      <a:lnTo>
                        <a:pt x="404" y="657"/>
                      </a:lnTo>
                      <a:lnTo>
                        <a:pt x="402" y="657"/>
                      </a:lnTo>
                      <a:lnTo>
                        <a:pt x="400" y="657"/>
                      </a:lnTo>
                      <a:lnTo>
                        <a:pt x="398" y="657"/>
                      </a:lnTo>
                      <a:lnTo>
                        <a:pt x="398" y="659"/>
                      </a:lnTo>
                      <a:lnTo>
                        <a:pt x="400" y="659"/>
                      </a:lnTo>
                      <a:lnTo>
                        <a:pt x="398" y="659"/>
                      </a:lnTo>
                      <a:lnTo>
                        <a:pt x="397" y="659"/>
                      </a:lnTo>
                      <a:lnTo>
                        <a:pt x="397" y="660"/>
                      </a:lnTo>
                      <a:lnTo>
                        <a:pt x="395" y="660"/>
                      </a:lnTo>
                      <a:lnTo>
                        <a:pt x="393" y="662"/>
                      </a:lnTo>
                      <a:lnTo>
                        <a:pt x="392" y="662"/>
                      </a:lnTo>
                      <a:lnTo>
                        <a:pt x="392" y="663"/>
                      </a:lnTo>
                      <a:lnTo>
                        <a:pt x="390" y="662"/>
                      </a:lnTo>
                      <a:lnTo>
                        <a:pt x="388" y="662"/>
                      </a:lnTo>
                      <a:lnTo>
                        <a:pt x="387" y="662"/>
                      </a:lnTo>
                      <a:lnTo>
                        <a:pt x="385" y="662"/>
                      </a:lnTo>
                      <a:lnTo>
                        <a:pt x="385" y="663"/>
                      </a:lnTo>
                      <a:lnTo>
                        <a:pt x="385" y="662"/>
                      </a:lnTo>
                      <a:lnTo>
                        <a:pt x="383" y="662"/>
                      </a:lnTo>
                      <a:lnTo>
                        <a:pt x="383" y="660"/>
                      </a:lnTo>
                      <a:lnTo>
                        <a:pt x="382" y="660"/>
                      </a:lnTo>
                      <a:lnTo>
                        <a:pt x="383" y="660"/>
                      </a:lnTo>
                      <a:lnTo>
                        <a:pt x="383" y="659"/>
                      </a:lnTo>
                      <a:lnTo>
                        <a:pt x="383" y="657"/>
                      </a:lnTo>
                      <a:lnTo>
                        <a:pt x="383" y="655"/>
                      </a:lnTo>
                      <a:lnTo>
                        <a:pt x="382" y="655"/>
                      </a:lnTo>
                      <a:lnTo>
                        <a:pt x="382" y="654"/>
                      </a:lnTo>
                      <a:lnTo>
                        <a:pt x="382" y="652"/>
                      </a:lnTo>
                      <a:lnTo>
                        <a:pt x="380" y="652"/>
                      </a:lnTo>
                      <a:lnTo>
                        <a:pt x="382" y="652"/>
                      </a:lnTo>
                      <a:lnTo>
                        <a:pt x="382" y="650"/>
                      </a:lnTo>
                      <a:lnTo>
                        <a:pt x="380" y="650"/>
                      </a:lnTo>
                      <a:lnTo>
                        <a:pt x="380" y="649"/>
                      </a:lnTo>
                      <a:lnTo>
                        <a:pt x="380" y="647"/>
                      </a:lnTo>
                      <a:lnTo>
                        <a:pt x="378" y="647"/>
                      </a:lnTo>
                      <a:lnTo>
                        <a:pt x="378" y="645"/>
                      </a:lnTo>
                      <a:lnTo>
                        <a:pt x="377" y="645"/>
                      </a:lnTo>
                      <a:lnTo>
                        <a:pt x="377" y="644"/>
                      </a:lnTo>
                      <a:lnTo>
                        <a:pt x="378" y="642"/>
                      </a:lnTo>
                      <a:lnTo>
                        <a:pt x="377" y="642"/>
                      </a:lnTo>
                      <a:lnTo>
                        <a:pt x="375" y="642"/>
                      </a:lnTo>
                      <a:lnTo>
                        <a:pt x="375" y="644"/>
                      </a:lnTo>
                      <a:lnTo>
                        <a:pt x="375" y="642"/>
                      </a:lnTo>
                      <a:lnTo>
                        <a:pt x="373" y="642"/>
                      </a:lnTo>
                      <a:lnTo>
                        <a:pt x="373" y="640"/>
                      </a:lnTo>
                      <a:lnTo>
                        <a:pt x="373" y="639"/>
                      </a:lnTo>
                      <a:lnTo>
                        <a:pt x="371" y="639"/>
                      </a:lnTo>
                      <a:lnTo>
                        <a:pt x="373" y="637"/>
                      </a:lnTo>
                      <a:lnTo>
                        <a:pt x="371" y="637"/>
                      </a:lnTo>
                      <a:lnTo>
                        <a:pt x="371" y="636"/>
                      </a:lnTo>
                      <a:lnTo>
                        <a:pt x="371" y="634"/>
                      </a:lnTo>
                      <a:lnTo>
                        <a:pt x="373" y="634"/>
                      </a:lnTo>
                      <a:lnTo>
                        <a:pt x="373" y="632"/>
                      </a:lnTo>
                      <a:lnTo>
                        <a:pt x="371" y="632"/>
                      </a:lnTo>
                      <a:lnTo>
                        <a:pt x="371" y="631"/>
                      </a:lnTo>
                      <a:lnTo>
                        <a:pt x="370" y="632"/>
                      </a:lnTo>
                      <a:lnTo>
                        <a:pt x="370" y="629"/>
                      </a:lnTo>
                      <a:lnTo>
                        <a:pt x="370" y="627"/>
                      </a:lnTo>
                      <a:lnTo>
                        <a:pt x="370" y="626"/>
                      </a:lnTo>
                      <a:lnTo>
                        <a:pt x="368" y="626"/>
                      </a:lnTo>
                      <a:lnTo>
                        <a:pt x="370" y="624"/>
                      </a:lnTo>
                      <a:lnTo>
                        <a:pt x="370" y="622"/>
                      </a:lnTo>
                      <a:lnTo>
                        <a:pt x="370" y="621"/>
                      </a:lnTo>
                      <a:lnTo>
                        <a:pt x="368" y="621"/>
                      </a:lnTo>
                      <a:lnTo>
                        <a:pt x="368" y="619"/>
                      </a:lnTo>
                      <a:lnTo>
                        <a:pt x="366" y="619"/>
                      </a:lnTo>
                      <a:lnTo>
                        <a:pt x="365" y="617"/>
                      </a:lnTo>
                      <a:lnTo>
                        <a:pt x="366" y="617"/>
                      </a:lnTo>
                      <a:lnTo>
                        <a:pt x="363" y="616"/>
                      </a:lnTo>
                      <a:lnTo>
                        <a:pt x="361" y="613"/>
                      </a:lnTo>
                      <a:lnTo>
                        <a:pt x="363" y="609"/>
                      </a:lnTo>
                      <a:lnTo>
                        <a:pt x="363" y="608"/>
                      </a:lnTo>
                      <a:lnTo>
                        <a:pt x="363" y="606"/>
                      </a:lnTo>
                      <a:lnTo>
                        <a:pt x="363" y="604"/>
                      </a:lnTo>
                      <a:lnTo>
                        <a:pt x="363" y="603"/>
                      </a:lnTo>
                      <a:lnTo>
                        <a:pt x="365" y="603"/>
                      </a:lnTo>
                      <a:lnTo>
                        <a:pt x="366" y="603"/>
                      </a:lnTo>
                      <a:lnTo>
                        <a:pt x="366" y="601"/>
                      </a:lnTo>
                      <a:lnTo>
                        <a:pt x="366" y="599"/>
                      </a:lnTo>
                      <a:lnTo>
                        <a:pt x="366" y="598"/>
                      </a:lnTo>
                      <a:lnTo>
                        <a:pt x="368" y="598"/>
                      </a:lnTo>
                      <a:lnTo>
                        <a:pt x="368" y="596"/>
                      </a:lnTo>
                      <a:lnTo>
                        <a:pt x="370" y="596"/>
                      </a:lnTo>
                      <a:lnTo>
                        <a:pt x="371" y="596"/>
                      </a:lnTo>
                      <a:lnTo>
                        <a:pt x="373" y="596"/>
                      </a:lnTo>
                      <a:lnTo>
                        <a:pt x="373" y="594"/>
                      </a:lnTo>
                      <a:lnTo>
                        <a:pt x="375" y="594"/>
                      </a:lnTo>
                      <a:lnTo>
                        <a:pt x="373" y="593"/>
                      </a:lnTo>
                      <a:lnTo>
                        <a:pt x="375" y="593"/>
                      </a:lnTo>
                      <a:lnTo>
                        <a:pt x="375" y="591"/>
                      </a:lnTo>
                      <a:lnTo>
                        <a:pt x="373" y="590"/>
                      </a:lnTo>
                      <a:lnTo>
                        <a:pt x="373" y="588"/>
                      </a:lnTo>
                      <a:lnTo>
                        <a:pt x="371" y="588"/>
                      </a:lnTo>
                      <a:lnTo>
                        <a:pt x="371" y="586"/>
                      </a:lnTo>
                      <a:lnTo>
                        <a:pt x="371" y="585"/>
                      </a:lnTo>
                      <a:lnTo>
                        <a:pt x="370" y="583"/>
                      </a:lnTo>
                      <a:lnTo>
                        <a:pt x="371" y="583"/>
                      </a:lnTo>
                      <a:lnTo>
                        <a:pt x="370" y="581"/>
                      </a:lnTo>
                      <a:lnTo>
                        <a:pt x="370" y="580"/>
                      </a:lnTo>
                      <a:lnTo>
                        <a:pt x="368" y="580"/>
                      </a:lnTo>
                      <a:lnTo>
                        <a:pt x="368" y="578"/>
                      </a:lnTo>
                      <a:lnTo>
                        <a:pt x="366" y="578"/>
                      </a:lnTo>
                      <a:lnTo>
                        <a:pt x="365" y="578"/>
                      </a:lnTo>
                      <a:lnTo>
                        <a:pt x="363" y="578"/>
                      </a:lnTo>
                      <a:lnTo>
                        <a:pt x="363" y="576"/>
                      </a:lnTo>
                      <a:lnTo>
                        <a:pt x="361" y="576"/>
                      </a:lnTo>
                      <a:lnTo>
                        <a:pt x="361" y="575"/>
                      </a:lnTo>
                      <a:lnTo>
                        <a:pt x="360" y="575"/>
                      </a:lnTo>
                      <a:lnTo>
                        <a:pt x="358" y="575"/>
                      </a:lnTo>
                      <a:lnTo>
                        <a:pt x="358" y="573"/>
                      </a:lnTo>
                      <a:lnTo>
                        <a:pt x="356" y="573"/>
                      </a:lnTo>
                      <a:lnTo>
                        <a:pt x="356" y="571"/>
                      </a:lnTo>
                      <a:lnTo>
                        <a:pt x="356" y="570"/>
                      </a:lnTo>
                      <a:lnTo>
                        <a:pt x="356" y="568"/>
                      </a:lnTo>
                      <a:lnTo>
                        <a:pt x="356" y="567"/>
                      </a:lnTo>
                      <a:lnTo>
                        <a:pt x="356" y="565"/>
                      </a:lnTo>
                      <a:lnTo>
                        <a:pt x="356" y="563"/>
                      </a:lnTo>
                      <a:lnTo>
                        <a:pt x="356" y="562"/>
                      </a:lnTo>
                      <a:lnTo>
                        <a:pt x="356" y="560"/>
                      </a:lnTo>
                      <a:lnTo>
                        <a:pt x="356" y="558"/>
                      </a:lnTo>
                      <a:lnTo>
                        <a:pt x="358" y="558"/>
                      </a:lnTo>
                      <a:lnTo>
                        <a:pt x="358" y="557"/>
                      </a:lnTo>
                      <a:lnTo>
                        <a:pt x="360" y="557"/>
                      </a:lnTo>
                      <a:lnTo>
                        <a:pt x="360" y="555"/>
                      </a:lnTo>
                      <a:lnTo>
                        <a:pt x="361" y="555"/>
                      </a:lnTo>
                      <a:lnTo>
                        <a:pt x="361" y="553"/>
                      </a:lnTo>
                      <a:lnTo>
                        <a:pt x="361" y="552"/>
                      </a:lnTo>
                      <a:lnTo>
                        <a:pt x="361" y="550"/>
                      </a:lnTo>
                      <a:lnTo>
                        <a:pt x="360" y="550"/>
                      </a:lnTo>
                      <a:lnTo>
                        <a:pt x="360" y="548"/>
                      </a:lnTo>
                      <a:lnTo>
                        <a:pt x="360" y="547"/>
                      </a:lnTo>
                      <a:lnTo>
                        <a:pt x="360" y="545"/>
                      </a:lnTo>
                      <a:lnTo>
                        <a:pt x="358" y="545"/>
                      </a:lnTo>
                      <a:lnTo>
                        <a:pt x="356" y="545"/>
                      </a:lnTo>
                      <a:lnTo>
                        <a:pt x="355" y="544"/>
                      </a:lnTo>
                      <a:lnTo>
                        <a:pt x="355" y="542"/>
                      </a:lnTo>
                      <a:lnTo>
                        <a:pt x="353" y="542"/>
                      </a:lnTo>
                      <a:lnTo>
                        <a:pt x="351" y="542"/>
                      </a:lnTo>
                      <a:lnTo>
                        <a:pt x="351" y="540"/>
                      </a:lnTo>
                      <a:lnTo>
                        <a:pt x="349" y="540"/>
                      </a:lnTo>
                      <a:lnTo>
                        <a:pt x="348" y="539"/>
                      </a:lnTo>
                      <a:lnTo>
                        <a:pt x="346" y="539"/>
                      </a:lnTo>
                      <a:lnTo>
                        <a:pt x="344" y="539"/>
                      </a:lnTo>
                      <a:lnTo>
                        <a:pt x="344" y="537"/>
                      </a:lnTo>
                      <a:lnTo>
                        <a:pt x="343" y="537"/>
                      </a:lnTo>
                      <a:lnTo>
                        <a:pt x="343" y="535"/>
                      </a:lnTo>
                      <a:lnTo>
                        <a:pt x="341" y="534"/>
                      </a:lnTo>
                      <a:lnTo>
                        <a:pt x="343" y="534"/>
                      </a:lnTo>
                      <a:lnTo>
                        <a:pt x="343" y="532"/>
                      </a:lnTo>
                      <a:lnTo>
                        <a:pt x="343" y="530"/>
                      </a:lnTo>
                      <a:lnTo>
                        <a:pt x="341" y="530"/>
                      </a:lnTo>
                      <a:lnTo>
                        <a:pt x="341" y="529"/>
                      </a:lnTo>
                      <a:lnTo>
                        <a:pt x="339" y="529"/>
                      </a:lnTo>
                      <a:lnTo>
                        <a:pt x="339" y="527"/>
                      </a:lnTo>
                      <a:lnTo>
                        <a:pt x="338" y="529"/>
                      </a:lnTo>
                      <a:lnTo>
                        <a:pt x="336" y="529"/>
                      </a:lnTo>
                      <a:lnTo>
                        <a:pt x="334" y="530"/>
                      </a:lnTo>
                      <a:lnTo>
                        <a:pt x="333" y="529"/>
                      </a:lnTo>
                      <a:lnTo>
                        <a:pt x="333" y="530"/>
                      </a:lnTo>
                      <a:lnTo>
                        <a:pt x="331" y="530"/>
                      </a:lnTo>
                      <a:lnTo>
                        <a:pt x="329" y="530"/>
                      </a:lnTo>
                      <a:lnTo>
                        <a:pt x="328" y="530"/>
                      </a:lnTo>
                      <a:lnTo>
                        <a:pt x="328" y="532"/>
                      </a:lnTo>
                      <a:lnTo>
                        <a:pt x="328" y="534"/>
                      </a:lnTo>
                      <a:lnTo>
                        <a:pt x="326" y="534"/>
                      </a:lnTo>
                      <a:lnTo>
                        <a:pt x="326" y="535"/>
                      </a:lnTo>
                      <a:lnTo>
                        <a:pt x="324" y="535"/>
                      </a:lnTo>
                      <a:lnTo>
                        <a:pt x="322" y="535"/>
                      </a:lnTo>
                      <a:lnTo>
                        <a:pt x="321" y="534"/>
                      </a:lnTo>
                      <a:lnTo>
                        <a:pt x="319" y="532"/>
                      </a:lnTo>
                      <a:lnTo>
                        <a:pt x="319" y="530"/>
                      </a:lnTo>
                      <a:lnTo>
                        <a:pt x="317" y="530"/>
                      </a:lnTo>
                      <a:lnTo>
                        <a:pt x="317" y="529"/>
                      </a:lnTo>
                      <a:lnTo>
                        <a:pt x="316" y="529"/>
                      </a:lnTo>
                      <a:lnTo>
                        <a:pt x="314" y="530"/>
                      </a:lnTo>
                      <a:lnTo>
                        <a:pt x="312" y="530"/>
                      </a:lnTo>
                      <a:lnTo>
                        <a:pt x="311" y="530"/>
                      </a:lnTo>
                      <a:lnTo>
                        <a:pt x="307" y="530"/>
                      </a:lnTo>
                      <a:lnTo>
                        <a:pt x="306" y="530"/>
                      </a:lnTo>
                      <a:lnTo>
                        <a:pt x="304" y="530"/>
                      </a:lnTo>
                      <a:lnTo>
                        <a:pt x="302" y="530"/>
                      </a:lnTo>
                      <a:lnTo>
                        <a:pt x="302" y="532"/>
                      </a:lnTo>
                      <a:lnTo>
                        <a:pt x="301" y="532"/>
                      </a:lnTo>
                      <a:lnTo>
                        <a:pt x="301" y="534"/>
                      </a:lnTo>
                      <a:lnTo>
                        <a:pt x="301" y="535"/>
                      </a:lnTo>
                      <a:lnTo>
                        <a:pt x="302" y="535"/>
                      </a:lnTo>
                      <a:lnTo>
                        <a:pt x="302" y="537"/>
                      </a:lnTo>
                      <a:lnTo>
                        <a:pt x="301" y="537"/>
                      </a:lnTo>
                      <a:lnTo>
                        <a:pt x="301" y="539"/>
                      </a:lnTo>
                      <a:lnTo>
                        <a:pt x="301" y="540"/>
                      </a:lnTo>
                      <a:lnTo>
                        <a:pt x="299" y="542"/>
                      </a:lnTo>
                      <a:lnTo>
                        <a:pt x="297" y="542"/>
                      </a:lnTo>
                      <a:lnTo>
                        <a:pt x="295" y="542"/>
                      </a:lnTo>
                      <a:lnTo>
                        <a:pt x="295" y="540"/>
                      </a:lnTo>
                      <a:lnTo>
                        <a:pt x="294" y="540"/>
                      </a:lnTo>
                      <a:lnTo>
                        <a:pt x="294" y="539"/>
                      </a:lnTo>
                      <a:lnTo>
                        <a:pt x="294" y="537"/>
                      </a:lnTo>
                      <a:lnTo>
                        <a:pt x="294" y="535"/>
                      </a:lnTo>
                      <a:lnTo>
                        <a:pt x="290" y="534"/>
                      </a:lnTo>
                      <a:lnTo>
                        <a:pt x="290" y="535"/>
                      </a:lnTo>
                      <a:lnTo>
                        <a:pt x="290" y="539"/>
                      </a:lnTo>
                      <a:lnTo>
                        <a:pt x="289" y="540"/>
                      </a:lnTo>
                      <a:lnTo>
                        <a:pt x="289" y="542"/>
                      </a:lnTo>
                      <a:lnTo>
                        <a:pt x="287" y="542"/>
                      </a:lnTo>
                      <a:lnTo>
                        <a:pt x="285" y="542"/>
                      </a:lnTo>
                      <a:lnTo>
                        <a:pt x="285" y="544"/>
                      </a:lnTo>
                      <a:lnTo>
                        <a:pt x="284" y="544"/>
                      </a:lnTo>
                      <a:lnTo>
                        <a:pt x="282" y="545"/>
                      </a:lnTo>
                      <a:lnTo>
                        <a:pt x="280" y="545"/>
                      </a:lnTo>
                      <a:lnTo>
                        <a:pt x="279" y="545"/>
                      </a:lnTo>
                      <a:lnTo>
                        <a:pt x="279" y="544"/>
                      </a:lnTo>
                      <a:lnTo>
                        <a:pt x="277" y="544"/>
                      </a:lnTo>
                      <a:lnTo>
                        <a:pt x="275" y="542"/>
                      </a:lnTo>
                      <a:lnTo>
                        <a:pt x="273" y="540"/>
                      </a:lnTo>
                      <a:lnTo>
                        <a:pt x="272" y="540"/>
                      </a:lnTo>
                      <a:lnTo>
                        <a:pt x="272" y="539"/>
                      </a:lnTo>
                      <a:lnTo>
                        <a:pt x="270" y="537"/>
                      </a:lnTo>
                      <a:lnTo>
                        <a:pt x="270" y="535"/>
                      </a:lnTo>
                      <a:lnTo>
                        <a:pt x="268" y="535"/>
                      </a:lnTo>
                      <a:lnTo>
                        <a:pt x="268" y="534"/>
                      </a:lnTo>
                      <a:lnTo>
                        <a:pt x="267" y="534"/>
                      </a:lnTo>
                      <a:lnTo>
                        <a:pt x="265" y="534"/>
                      </a:lnTo>
                      <a:lnTo>
                        <a:pt x="265" y="535"/>
                      </a:lnTo>
                      <a:lnTo>
                        <a:pt x="265" y="537"/>
                      </a:lnTo>
                      <a:lnTo>
                        <a:pt x="265" y="539"/>
                      </a:lnTo>
                      <a:lnTo>
                        <a:pt x="267" y="540"/>
                      </a:lnTo>
                      <a:lnTo>
                        <a:pt x="268" y="542"/>
                      </a:lnTo>
                      <a:lnTo>
                        <a:pt x="268" y="544"/>
                      </a:lnTo>
                      <a:lnTo>
                        <a:pt x="267" y="544"/>
                      </a:lnTo>
                      <a:lnTo>
                        <a:pt x="265" y="544"/>
                      </a:lnTo>
                      <a:lnTo>
                        <a:pt x="263" y="544"/>
                      </a:lnTo>
                      <a:lnTo>
                        <a:pt x="262" y="544"/>
                      </a:lnTo>
                      <a:lnTo>
                        <a:pt x="262" y="542"/>
                      </a:lnTo>
                      <a:lnTo>
                        <a:pt x="260" y="542"/>
                      </a:lnTo>
                      <a:lnTo>
                        <a:pt x="258" y="542"/>
                      </a:lnTo>
                      <a:lnTo>
                        <a:pt x="257" y="542"/>
                      </a:lnTo>
                      <a:lnTo>
                        <a:pt x="255" y="542"/>
                      </a:lnTo>
                      <a:lnTo>
                        <a:pt x="253" y="542"/>
                      </a:lnTo>
                      <a:lnTo>
                        <a:pt x="252" y="542"/>
                      </a:lnTo>
                      <a:lnTo>
                        <a:pt x="250" y="542"/>
                      </a:lnTo>
                      <a:lnTo>
                        <a:pt x="248" y="542"/>
                      </a:lnTo>
                      <a:lnTo>
                        <a:pt x="246" y="542"/>
                      </a:lnTo>
                      <a:lnTo>
                        <a:pt x="246" y="544"/>
                      </a:lnTo>
                      <a:lnTo>
                        <a:pt x="245" y="544"/>
                      </a:lnTo>
                      <a:lnTo>
                        <a:pt x="243" y="544"/>
                      </a:lnTo>
                      <a:lnTo>
                        <a:pt x="241" y="544"/>
                      </a:lnTo>
                      <a:lnTo>
                        <a:pt x="240" y="544"/>
                      </a:lnTo>
                      <a:lnTo>
                        <a:pt x="238" y="544"/>
                      </a:lnTo>
                      <a:lnTo>
                        <a:pt x="236" y="544"/>
                      </a:lnTo>
                      <a:lnTo>
                        <a:pt x="235" y="544"/>
                      </a:lnTo>
                      <a:lnTo>
                        <a:pt x="233" y="544"/>
                      </a:lnTo>
                      <a:lnTo>
                        <a:pt x="231" y="544"/>
                      </a:lnTo>
                      <a:lnTo>
                        <a:pt x="231" y="545"/>
                      </a:lnTo>
                      <a:lnTo>
                        <a:pt x="230" y="545"/>
                      </a:lnTo>
                      <a:lnTo>
                        <a:pt x="228" y="547"/>
                      </a:lnTo>
                      <a:lnTo>
                        <a:pt x="226" y="547"/>
                      </a:lnTo>
                      <a:lnTo>
                        <a:pt x="225" y="545"/>
                      </a:lnTo>
                      <a:lnTo>
                        <a:pt x="223" y="547"/>
                      </a:lnTo>
                      <a:lnTo>
                        <a:pt x="221" y="545"/>
                      </a:lnTo>
                      <a:lnTo>
                        <a:pt x="219" y="545"/>
                      </a:lnTo>
                      <a:lnTo>
                        <a:pt x="218" y="545"/>
                      </a:lnTo>
                      <a:lnTo>
                        <a:pt x="216" y="545"/>
                      </a:lnTo>
                      <a:lnTo>
                        <a:pt x="214" y="547"/>
                      </a:lnTo>
                      <a:lnTo>
                        <a:pt x="213" y="547"/>
                      </a:lnTo>
                      <a:lnTo>
                        <a:pt x="211" y="545"/>
                      </a:lnTo>
                      <a:lnTo>
                        <a:pt x="209" y="547"/>
                      </a:lnTo>
                      <a:lnTo>
                        <a:pt x="208" y="547"/>
                      </a:lnTo>
                      <a:lnTo>
                        <a:pt x="208" y="548"/>
                      </a:lnTo>
                      <a:lnTo>
                        <a:pt x="208" y="550"/>
                      </a:lnTo>
                      <a:lnTo>
                        <a:pt x="208" y="552"/>
                      </a:lnTo>
                      <a:lnTo>
                        <a:pt x="206" y="553"/>
                      </a:lnTo>
                      <a:lnTo>
                        <a:pt x="206" y="555"/>
                      </a:lnTo>
                      <a:lnTo>
                        <a:pt x="204" y="555"/>
                      </a:lnTo>
                      <a:lnTo>
                        <a:pt x="204" y="557"/>
                      </a:lnTo>
                      <a:lnTo>
                        <a:pt x="204" y="558"/>
                      </a:lnTo>
                      <a:lnTo>
                        <a:pt x="206" y="560"/>
                      </a:lnTo>
                      <a:lnTo>
                        <a:pt x="206" y="562"/>
                      </a:lnTo>
                      <a:lnTo>
                        <a:pt x="206" y="563"/>
                      </a:lnTo>
                      <a:lnTo>
                        <a:pt x="206" y="565"/>
                      </a:lnTo>
                      <a:lnTo>
                        <a:pt x="206" y="567"/>
                      </a:lnTo>
                      <a:lnTo>
                        <a:pt x="206" y="568"/>
                      </a:lnTo>
                      <a:lnTo>
                        <a:pt x="206" y="570"/>
                      </a:lnTo>
                      <a:lnTo>
                        <a:pt x="206" y="571"/>
                      </a:lnTo>
                      <a:lnTo>
                        <a:pt x="204" y="571"/>
                      </a:lnTo>
                      <a:lnTo>
                        <a:pt x="203" y="571"/>
                      </a:lnTo>
                      <a:lnTo>
                        <a:pt x="203" y="570"/>
                      </a:lnTo>
                      <a:lnTo>
                        <a:pt x="201" y="570"/>
                      </a:lnTo>
                      <a:lnTo>
                        <a:pt x="199" y="568"/>
                      </a:lnTo>
                      <a:lnTo>
                        <a:pt x="197" y="568"/>
                      </a:lnTo>
                      <a:lnTo>
                        <a:pt x="197" y="567"/>
                      </a:lnTo>
                      <a:lnTo>
                        <a:pt x="197" y="565"/>
                      </a:lnTo>
                      <a:lnTo>
                        <a:pt x="197" y="563"/>
                      </a:lnTo>
                      <a:lnTo>
                        <a:pt x="197" y="562"/>
                      </a:lnTo>
                      <a:lnTo>
                        <a:pt x="197" y="560"/>
                      </a:lnTo>
                      <a:lnTo>
                        <a:pt x="197" y="558"/>
                      </a:lnTo>
                      <a:lnTo>
                        <a:pt x="197" y="557"/>
                      </a:lnTo>
                      <a:lnTo>
                        <a:pt x="197" y="555"/>
                      </a:lnTo>
                      <a:lnTo>
                        <a:pt x="197" y="550"/>
                      </a:lnTo>
                      <a:lnTo>
                        <a:pt x="196" y="547"/>
                      </a:lnTo>
                      <a:lnTo>
                        <a:pt x="194" y="547"/>
                      </a:lnTo>
                      <a:lnTo>
                        <a:pt x="194" y="545"/>
                      </a:lnTo>
                      <a:lnTo>
                        <a:pt x="192" y="545"/>
                      </a:lnTo>
                      <a:lnTo>
                        <a:pt x="191" y="545"/>
                      </a:lnTo>
                      <a:lnTo>
                        <a:pt x="189" y="545"/>
                      </a:lnTo>
                      <a:lnTo>
                        <a:pt x="187" y="545"/>
                      </a:lnTo>
                      <a:lnTo>
                        <a:pt x="187" y="547"/>
                      </a:lnTo>
                      <a:lnTo>
                        <a:pt x="187" y="548"/>
                      </a:lnTo>
                      <a:lnTo>
                        <a:pt x="186" y="548"/>
                      </a:lnTo>
                      <a:lnTo>
                        <a:pt x="186" y="550"/>
                      </a:lnTo>
                      <a:lnTo>
                        <a:pt x="184" y="553"/>
                      </a:lnTo>
                      <a:lnTo>
                        <a:pt x="182" y="555"/>
                      </a:lnTo>
                      <a:lnTo>
                        <a:pt x="182" y="557"/>
                      </a:lnTo>
                      <a:lnTo>
                        <a:pt x="181" y="557"/>
                      </a:lnTo>
                      <a:lnTo>
                        <a:pt x="179" y="558"/>
                      </a:lnTo>
                      <a:lnTo>
                        <a:pt x="177" y="560"/>
                      </a:lnTo>
                      <a:lnTo>
                        <a:pt x="176" y="560"/>
                      </a:lnTo>
                      <a:lnTo>
                        <a:pt x="174" y="560"/>
                      </a:lnTo>
                      <a:lnTo>
                        <a:pt x="174" y="558"/>
                      </a:lnTo>
                      <a:lnTo>
                        <a:pt x="172" y="560"/>
                      </a:lnTo>
                      <a:lnTo>
                        <a:pt x="172" y="558"/>
                      </a:lnTo>
                      <a:lnTo>
                        <a:pt x="170" y="557"/>
                      </a:lnTo>
                      <a:lnTo>
                        <a:pt x="169" y="555"/>
                      </a:lnTo>
                      <a:lnTo>
                        <a:pt x="169" y="553"/>
                      </a:lnTo>
                      <a:lnTo>
                        <a:pt x="169" y="552"/>
                      </a:lnTo>
                      <a:lnTo>
                        <a:pt x="169" y="550"/>
                      </a:lnTo>
                      <a:lnTo>
                        <a:pt x="167" y="550"/>
                      </a:lnTo>
                      <a:lnTo>
                        <a:pt x="167" y="548"/>
                      </a:lnTo>
                      <a:lnTo>
                        <a:pt x="165" y="547"/>
                      </a:lnTo>
                      <a:lnTo>
                        <a:pt x="165" y="544"/>
                      </a:lnTo>
                      <a:lnTo>
                        <a:pt x="165" y="542"/>
                      </a:lnTo>
                      <a:lnTo>
                        <a:pt x="165" y="540"/>
                      </a:lnTo>
                      <a:lnTo>
                        <a:pt x="165" y="539"/>
                      </a:lnTo>
                      <a:lnTo>
                        <a:pt x="165" y="537"/>
                      </a:lnTo>
                      <a:lnTo>
                        <a:pt x="165" y="534"/>
                      </a:lnTo>
                      <a:lnTo>
                        <a:pt x="165" y="532"/>
                      </a:lnTo>
                      <a:lnTo>
                        <a:pt x="167" y="532"/>
                      </a:lnTo>
                      <a:lnTo>
                        <a:pt x="169" y="532"/>
                      </a:lnTo>
                      <a:lnTo>
                        <a:pt x="170" y="530"/>
                      </a:lnTo>
                      <a:lnTo>
                        <a:pt x="170" y="529"/>
                      </a:lnTo>
                      <a:lnTo>
                        <a:pt x="170" y="527"/>
                      </a:lnTo>
                      <a:lnTo>
                        <a:pt x="169" y="527"/>
                      </a:lnTo>
                      <a:lnTo>
                        <a:pt x="167" y="527"/>
                      </a:lnTo>
                      <a:lnTo>
                        <a:pt x="165" y="527"/>
                      </a:lnTo>
                      <a:lnTo>
                        <a:pt x="164" y="527"/>
                      </a:lnTo>
                      <a:lnTo>
                        <a:pt x="162" y="529"/>
                      </a:lnTo>
                      <a:lnTo>
                        <a:pt x="160" y="530"/>
                      </a:lnTo>
                      <a:lnTo>
                        <a:pt x="159" y="530"/>
                      </a:lnTo>
                      <a:lnTo>
                        <a:pt x="157" y="530"/>
                      </a:lnTo>
                      <a:lnTo>
                        <a:pt x="155" y="529"/>
                      </a:lnTo>
                      <a:lnTo>
                        <a:pt x="154" y="529"/>
                      </a:lnTo>
                      <a:lnTo>
                        <a:pt x="152" y="529"/>
                      </a:lnTo>
                      <a:lnTo>
                        <a:pt x="150" y="529"/>
                      </a:lnTo>
                      <a:lnTo>
                        <a:pt x="149" y="527"/>
                      </a:lnTo>
                      <a:lnTo>
                        <a:pt x="147" y="527"/>
                      </a:lnTo>
                      <a:lnTo>
                        <a:pt x="147" y="525"/>
                      </a:lnTo>
                      <a:lnTo>
                        <a:pt x="147" y="524"/>
                      </a:lnTo>
                      <a:lnTo>
                        <a:pt x="145" y="524"/>
                      </a:lnTo>
                      <a:lnTo>
                        <a:pt x="143" y="522"/>
                      </a:lnTo>
                      <a:lnTo>
                        <a:pt x="142" y="522"/>
                      </a:lnTo>
                      <a:lnTo>
                        <a:pt x="140" y="522"/>
                      </a:lnTo>
                      <a:lnTo>
                        <a:pt x="138" y="522"/>
                      </a:lnTo>
                      <a:lnTo>
                        <a:pt x="137" y="524"/>
                      </a:lnTo>
                      <a:lnTo>
                        <a:pt x="135" y="524"/>
                      </a:lnTo>
                      <a:lnTo>
                        <a:pt x="133" y="525"/>
                      </a:lnTo>
                      <a:lnTo>
                        <a:pt x="132" y="525"/>
                      </a:lnTo>
                      <a:lnTo>
                        <a:pt x="130" y="525"/>
                      </a:lnTo>
                      <a:lnTo>
                        <a:pt x="130" y="524"/>
                      </a:lnTo>
                      <a:lnTo>
                        <a:pt x="128" y="525"/>
                      </a:lnTo>
                      <a:lnTo>
                        <a:pt x="127" y="525"/>
                      </a:lnTo>
                      <a:lnTo>
                        <a:pt x="125" y="524"/>
                      </a:lnTo>
                      <a:lnTo>
                        <a:pt x="123" y="524"/>
                      </a:lnTo>
                      <a:lnTo>
                        <a:pt x="120" y="524"/>
                      </a:lnTo>
                      <a:lnTo>
                        <a:pt x="118" y="525"/>
                      </a:lnTo>
                      <a:lnTo>
                        <a:pt x="115" y="525"/>
                      </a:lnTo>
                      <a:lnTo>
                        <a:pt x="113" y="525"/>
                      </a:lnTo>
                      <a:lnTo>
                        <a:pt x="110" y="525"/>
                      </a:lnTo>
                      <a:lnTo>
                        <a:pt x="108" y="525"/>
                      </a:lnTo>
                      <a:lnTo>
                        <a:pt x="106" y="525"/>
                      </a:lnTo>
                      <a:lnTo>
                        <a:pt x="105" y="524"/>
                      </a:lnTo>
                      <a:lnTo>
                        <a:pt x="103" y="524"/>
                      </a:lnTo>
                      <a:lnTo>
                        <a:pt x="101" y="524"/>
                      </a:lnTo>
                      <a:lnTo>
                        <a:pt x="100" y="524"/>
                      </a:lnTo>
                      <a:lnTo>
                        <a:pt x="98" y="524"/>
                      </a:lnTo>
                      <a:lnTo>
                        <a:pt x="94" y="524"/>
                      </a:lnTo>
                      <a:lnTo>
                        <a:pt x="93" y="522"/>
                      </a:lnTo>
                      <a:lnTo>
                        <a:pt x="93" y="521"/>
                      </a:lnTo>
                      <a:lnTo>
                        <a:pt x="91" y="521"/>
                      </a:lnTo>
                      <a:lnTo>
                        <a:pt x="89" y="519"/>
                      </a:lnTo>
                      <a:lnTo>
                        <a:pt x="86" y="519"/>
                      </a:lnTo>
                      <a:lnTo>
                        <a:pt x="84" y="521"/>
                      </a:lnTo>
                      <a:lnTo>
                        <a:pt x="83" y="519"/>
                      </a:lnTo>
                      <a:lnTo>
                        <a:pt x="81" y="519"/>
                      </a:lnTo>
                      <a:lnTo>
                        <a:pt x="79" y="519"/>
                      </a:lnTo>
                      <a:lnTo>
                        <a:pt x="76" y="519"/>
                      </a:lnTo>
                      <a:lnTo>
                        <a:pt x="73" y="519"/>
                      </a:lnTo>
                      <a:lnTo>
                        <a:pt x="71" y="519"/>
                      </a:lnTo>
                      <a:lnTo>
                        <a:pt x="69" y="519"/>
                      </a:lnTo>
                      <a:lnTo>
                        <a:pt x="67" y="519"/>
                      </a:lnTo>
                      <a:lnTo>
                        <a:pt x="66" y="519"/>
                      </a:lnTo>
                      <a:lnTo>
                        <a:pt x="66" y="517"/>
                      </a:lnTo>
                      <a:lnTo>
                        <a:pt x="64" y="517"/>
                      </a:lnTo>
                      <a:lnTo>
                        <a:pt x="64" y="516"/>
                      </a:lnTo>
                      <a:lnTo>
                        <a:pt x="62" y="516"/>
                      </a:lnTo>
                      <a:lnTo>
                        <a:pt x="62" y="514"/>
                      </a:lnTo>
                      <a:lnTo>
                        <a:pt x="59" y="512"/>
                      </a:lnTo>
                      <a:lnTo>
                        <a:pt x="57" y="512"/>
                      </a:lnTo>
                      <a:lnTo>
                        <a:pt x="56" y="511"/>
                      </a:lnTo>
                      <a:lnTo>
                        <a:pt x="54" y="511"/>
                      </a:lnTo>
                      <a:lnTo>
                        <a:pt x="52" y="512"/>
                      </a:lnTo>
                      <a:lnTo>
                        <a:pt x="51" y="512"/>
                      </a:lnTo>
                      <a:lnTo>
                        <a:pt x="49" y="512"/>
                      </a:lnTo>
                      <a:lnTo>
                        <a:pt x="47" y="514"/>
                      </a:lnTo>
                      <a:lnTo>
                        <a:pt x="45" y="514"/>
                      </a:lnTo>
                      <a:lnTo>
                        <a:pt x="44" y="514"/>
                      </a:lnTo>
                      <a:lnTo>
                        <a:pt x="44" y="516"/>
                      </a:lnTo>
                      <a:lnTo>
                        <a:pt x="42" y="517"/>
                      </a:lnTo>
                      <a:lnTo>
                        <a:pt x="42" y="519"/>
                      </a:lnTo>
                      <a:lnTo>
                        <a:pt x="40" y="519"/>
                      </a:lnTo>
                      <a:lnTo>
                        <a:pt x="39" y="519"/>
                      </a:lnTo>
                      <a:lnTo>
                        <a:pt x="37" y="522"/>
                      </a:lnTo>
                      <a:lnTo>
                        <a:pt x="35" y="522"/>
                      </a:lnTo>
                      <a:lnTo>
                        <a:pt x="34" y="524"/>
                      </a:lnTo>
                      <a:lnTo>
                        <a:pt x="32" y="524"/>
                      </a:lnTo>
                      <a:lnTo>
                        <a:pt x="30" y="524"/>
                      </a:lnTo>
                      <a:lnTo>
                        <a:pt x="25" y="525"/>
                      </a:lnTo>
                      <a:lnTo>
                        <a:pt x="24" y="525"/>
                      </a:lnTo>
                      <a:lnTo>
                        <a:pt x="24" y="527"/>
                      </a:lnTo>
                      <a:lnTo>
                        <a:pt x="22" y="527"/>
                      </a:lnTo>
                      <a:lnTo>
                        <a:pt x="20" y="529"/>
                      </a:lnTo>
                      <a:lnTo>
                        <a:pt x="18" y="529"/>
                      </a:lnTo>
                      <a:lnTo>
                        <a:pt x="17" y="529"/>
                      </a:lnTo>
                      <a:lnTo>
                        <a:pt x="17" y="530"/>
                      </a:lnTo>
                      <a:lnTo>
                        <a:pt x="15" y="530"/>
                      </a:lnTo>
                      <a:lnTo>
                        <a:pt x="13" y="530"/>
                      </a:lnTo>
                      <a:lnTo>
                        <a:pt x="13" y="532"/>
                      </a:lnTo>
                      <a:lnTo>
                        <a:pt x="12" y="532"/>
                      </a:lnTo>
                      <a:lnTo>
                        <a:pt x="10" y="532"/>
                      </a:lnTo>
                      <a:lnTo>
                        <a:pt x="10" y="534"/>
                      </a:lnTo>
                      <a:lnTo>
                        <a:pt x="8" y="534"/>
                      </a:lnTo>
                      <a:lnTo>
                        <a:pt x="7" y="534"/>
                      </a:lnTo>
                      <a:lnTo>
                        <a:pt x="7" y="535"/>
                      </a:lnTo>
                      <a:lnTo>
                        <a:pt x="7" y="537"/>
                      </a:lnTo>
                      <a:lnTo>
                        <a:pt x="5" y="539"/>
                      </a:lnTo>
                      <a:lnTo>
                        <a:pt x="3" y="539"/>
                      </a:lnTo>
                      <a:lnTo>
                        <a:pt x="3" y="537"/>
                      </a:lnTo>
                      <a:lnTo>
                        <a:pt x="3" y="535"/>
                      </a:lnTo>
                      <a:lnTo>
                        <a:pt x="3" y="534"/>
                      </a:lnTo>
                      <a:lnTo>
                        <a:pt x="3" y="532"/>
                      </a:lnTo>
                      <a:lnTo>
                        <a:pt x="3" y="530"/>
                      </a:lnTo>
                      <a:lnTo>
                        <a:pt x="3" y="529"/>
                      </a:lnTo>
                      <a:lnTo>
                        <a:pt x="2" y="527"/>
                      </a:lnTo>
                      <a:lnTo>
                        <a:pt x="3" y="527"/>
                      </a:lnTo>
                      <a:lnTo>
                        <a:pt x="3" y="525"/>
                      </a:lnTo>
                      <a:lnTo>
                        <a:pt x="5" y="524"/>
                      </a:lnTo>
                      <a:lnTo>
                        <a:pt x="5" y="522"/>
                      </a:lnTo>
                      <a:lnTo>
                        <a:pt x="3" y="522"/>
                      </a:lnTo>
                      <a:lnTo>
                        <a:pt x="3" y="521"/>
                      </a:lnTo>
                      <a:lnTo>
                        <a:pt x="3" y="519"/>
                      </a:lnTo>
                      <a:lnTo>
                        <a:pt x="3" y="516"/>
                      </a:lnTo>
                      <a:lnTo>
                        <a:pt x="2" y="514"/>
                      </a:lnTo>
                      <a:lnTo>
                        <a:pt x="2" y="512"/>
                      </a:lnTo>
                      <a:lnTo>
                        <a:pt x="2" y="511"/>
                      </a:lnTo>
                      <a:lnTo>
                        <a:pt x="2" y="509"/>
                      </a:lnTo>
                      <a:lnTo>
                        <a:pt x="0" y="507"/>
                      </a:lnTo>
                      <a:lnTo>
                        <a:pt x="0" y="506"/>
                      </a:lnTo>
                      <a:lnTo>
                        <a:pt x="2" y="506"/>
                      </a:lnTo>
                      <a:lnTo>
                        <a:pt x="0" y="504"/>
                      </a:lnTo>
                      <a:lnTo>
                        <a:pt x="2" y="502"/>
                      </a:lnTo>
                      <a:lnTo>
                        <a:pt x="3" y="501"/>
                      </a:lnTo>
                      <a:lnTo>
                        <a:pt x="3" y="499"/>
                      </a:lnTo>
                      <a:lnTo>
                        <a:pt x="3" y="498"/>
                      </a:lnTo>
                      <a:lnTo>
                        <a:pt x="5" y="496"/>
                      </a:lnTo>
                      <a:lnTo>
                        <a:pt x="5" y="494"/>
                      </a:lnTo>
                      <a:lnTo>
                        <a:pt x="5" y="493"/>
                      </a:lnTo>
                      <a:lnTo>
                        <a:pt x="7" y="493"/>
                      </a:lnTo>
                      <a:lnTo>
                        <a:pt x="8" y="493"/>
                      </a:lnTo>
                      <a:lnTo>
                        <a:pt x="10" y="493"/>
                      </a:lnTo>
                      <a:lnTo>
                        <a:pt x="10" y="494"/>
                      </a:lnTo>
                      <a:lnTo>
                        <a:pt x="10" y="493"/>
                      </a:lnTo>
                      <a:lnTo>
                        <a:pt x="12" y="493"/>
                      </a:lnTo>
                      <a:lnTo>
                        <a:pt x="12" y="491"/>
                      </a:lnTo>
                      <a:lnTo>
                        <a:pt x="12" y="489"/>
                      </a:lnTo>
                      <a:lnTo>
                        <a:pt x="10" y="488"/>
                      </a:lnTo>
                      <a:lnTo>
                        <a:pt x="8" y="484"/>
                      </a:lnTo>
                      <a:lnTo>
                        <a:pt x="8" y="483"/>
                      </a:lnTo>
                      <a:lnTo>
                        <a:pt x="10" y="483"/>
                      </a:lnTo>
                      <a:lnTo>
                        <a:pt x="12" y="483"/>
                      </a:lnTo>
                      <a:lnTo>
                        <a:pt x="13" y="483"/>
                      </a:lnTo>
                      <a:lnTo>
                        <a:pt x="15" y="483"/>
                      </a:lnTo>
                      <a:lnTo>
                        <a:pt x="18" y="484"/>
                      </a:lnTo>
                      <a:lnTo>
                        <a:pt x="20" y="484"/>
                      </a:lnTo>
                      <a:lnTo>
                        <a:pt x="22" y="483"/>
                      </a:lnTo>
                      <a:lnTo>
                        <a:pt x="20" y="483"/>
                      </a:lnTo>
                      <a:lnTo>
                        <a:pt x="20" y="481"/>
                      </a:lnTo>
                      <a:lnTo>
                        <a:pt x="17" y="479"/>
                      </a:lnTo>
                      <a:lnTo>
                        <a:pt x="17" y="478"/>
                      </a:lnTo>
                      <a:lnTo>
                        <a:pt x="17" y="476"/>
                      </a:lnTo>
                      <a:lnTo>
                        <a:pt x="17" y="475"/>
                      </a:lnTo>
                      <a:lnTo>
                        <a:pt x="18" y="473"/>
                      </a:lnTo>
                      <a:lnTo>
                        <a:pt x="20" y="471"/>
                      </a:lnTo>
                      <a:lnTo>
                        <a:pt x="20" y="470"/>
                      </a:lnTo>
                      <a:lnTo>
                        <a:pt x="20" y="468"/>
                      </a:lnTo>
                      <a:lnTo>
                        <a:pt x="20" y="466"/>
                      </a:lnTo>
                      <a:lnTo>
                        <a:pt x="22" y="466"/>
                      </a:lnTo>
                      <a:lnTo>
                        <a:pt x="22" y="465"/>
                      </a:lnTo>
                      <a:lnTo>
                        <a:pt x="24" y="465"/>
                      </a:lnTo>
                      <a:lnTo>
                        <a:pt x="24" y="463"/>
                      </a:lnTo>
                      <a:lnTo>
                        <a:pt x="25" y="463"/>
                      </a:lnTo>
                      <a:lnTo>
                        <a:pt x="27" y="463"/>
                      </a:lnTo>
                      <a:lnTo>
                        <a:pt x="27" y="461"/>
                      </a:lnTo>
                      <a:lnTo>
                        <a:pt x="29" y="461"/>
                      </a:lnTo>
                      <a:lnTo>
                        <a:pt x="29" y="460"/>
                      </a:lnTo>
                      <a:lnTo>
                        <a:pt x="29" y="458"/>
                      </a:lnTo>
                      <a:lnTo>
                        <a:pt x="29" y="457"/>
                      </a:lnTo>
                      <a:lnTo>
                        <a:pt x="30" y="457"/>
                      </a:lnTo>
                      <a:lnTo>
                        <a:pt x="32" y="457"/>
                      </a:lnTo>
                      <a:lnTo>
                        <a:pt x="32" y="455"/>
                      </a:lnTo>
                      <a:lnTo>
                        <a:pt x="34" y="455"/>
                      </a:lnTo>
                      <a:lnTo>
                        <a:pt x="35" y="455"/>
                      </a:lnTo>
                      <a:lnTo>
                        <a:pt x="35" y="453"/>
                      </a:lnTo>
                      <a:lnTo>
                        <a:pt x="35" y="452"/>
                      </a:lnTo>
                      <a:lnTo>
                        <a:pt x="37" y="452"/>
                      </a:lnTo>
                      <a:lnTo>
                        <a:pt x="39" y="452"/>
                      </a:lnTo>
                      <a:lnTo>
                        <a:pt x="40" y="452"/>
                      </a:lnTo>
                      <a:lnTo>
                        <a:pt x="42" y="452"/>
                      </a:lnTo>
                      <a:lnTo>
                        <a:pt x="44" y="452"/>
                      </a:lnTo>
                      <a:lnTo>
                        <a:pt x="45" y="450"/>
                      </a:lnTo>
                      <a:lnTo>
                        <a:pt x="47" y="450"/>
                      </a:lnTo>
                      <a:lnTo>
                        <a:pt x="47" y="448"/>
                      </a:lnTo>
                      <a:lnTo>
                        <a:pt x="49" y="448"/>
                      </a:lnTo>
                      <a:lnTo>
                        <a:pt x="49" y="447"/>
                      </a:lnTo>
                      <a:lnTo>
                        <a:pt x="51" y="445"/>
                      </a:lnTo>
                      <a:lnTo>
                        <a:pt x="51" y="443"/>
                      </a:lnTo>
                      <a:lnTo>
                        <a:pt x="52" y="442"/>
                      </a:lnTo>
                      <a:lnTo>
                        <a:pt x="52" y="440"/>
                      </a:lnTo>
                      <a:lnTo>
                        <a:pt x="52" y="438"/>
                      </a:lnTo>
                      <a:lnTo>
                        <a:pt x="52" y="437"/>
                      </a:lnTo>
                      <a:lnTo>
                        <a:pt x="51" y="437"/>
                      </a:lnTo>
                      <a:lnTo>
                        <a:pt x="51" y="435"/>
                      </a:lnTo>
                      <a:lnTo>
                        <a:pt x="51" y="434"/>
                      </a:lnTo>
                      <a:lnTo>
                        <a:pt x="52" y="432"/>
                      </a:lnTo>
                      <a:lnTo>
                        <a:pt x="54" y="432"/>
                      </a:lnTo>
                      <a:lnTo>
                        <a:pt x="56" y="432"/>
                      </a:lnTo>
                      <a:lnTo>
                        <a:pt x="56" y="430"/>
                      </a:lnTo>
                      <a:lnTo>
                        <a:pt x="57" y="430"/>
                      </a:lnTo>
                      <a:lnTo>
                        <a:pt x="57" y="429"/>
                      </a:lnTo>
                      <a:lnTo>
                        <a:pt x="57" y="427"/>
                      </a:lnTo>
                      <a:lnTo>
                        <a:pt x="59" y="424"/>
                      </a:lnTo>
                      <a:lnTo>
                        <a:pt x="61" y="422"/>
                      </a:lnTo>
                      <a:lnTo>
                        <a:pt x="62" y="422"/>
                      </a:lnTo>
                      <a:lnTo>
                        <a:pt x="64" y="422"/>
                      </a:lnTo>
                      <a:lnTo>
                        <a:pt x="64" y="420"/>
                      </a:lnTo>
                      <a:lnTo>
                        <a:pt x="66" y="419"/>
                      </a:lnTo>
                      <a:lnTo>
                        <a:pt x="66" y="417"/>
                      </a:lnTo>
                      <a:lnTo>
                        <a:pt x="66" y="415"/>
                      </a:lnTo>
                      <a:lnTo>
                        <a:pt x="67" y="414"/>
                      </a:lnTo>
                      <a:lnTo>
                        <a:pt x="69" y="412"/>
                      </a:lnTo>
                      <a:lnTo>
                        <a:pt x="69" y="411"/>
                      </a:lnTo>
                      <a:lnTo>
                        <a:pt x="71" y="411"/>
                      </a:lnTo>
                      <a:lnTo>
                        <a:pt x="73" y="411"/>
                      </a:lnTo>
                      <a:lnTo>
                        <a:pt x="74" y="411"/>
                      </a:lnTo>
                      <a:lnTo>
                        <a:pt x="74" y="409"/>
                      </a:lnTo>
                      <a:lnTo>
                        <a:pt x="76" y="409"/>
                      </a:lnTo>
                      <a:lnTo>
                        <a:pt x="78" y="409"/>
                      </a:lnTo>
                      <a:lnTo>
                        <a:pt x="79" y="409"/>
                      </a:lnTo>
                      <a:lnTo>
                        <a:pt x="81" y="409"/>
                      </a:lnTo>
                      <a:lnTo>
                        <a:pt x="83" y="409"/>
                      </a:lnTo>
                      <a:lnTo>
                        <a:pt x="84" y="407"/>
                      </a:lnTo>
                      <a:lnTo>
                        <a:pt x="88" y="409"/>
                      </a:lnTo>
                      <a:lnTo>
                        <a:pt x="89" y="409"/>
                      </a:lnTo>
                      <a:lnTo>
                        <a:pt x="91" y="409"/>
                      </a:lnTo>
                      <a:lnTo>
                        <a:pt x="93" y="407"/>
                      </a:lnTo>
                      <a:lnTo>
                        <a:pt x="94" y="406"/>
                      </a:lnTo>
                      <a:lnTo>
                        <a:pt x="94" y="404"/>
                      </a:lnTo>
                      <a:lnTo>
                        <a:pt x="96" y="404"/>
                      </a:lnTo>
                      <a:lnTo>
                        <a:pt x="96" y="402"/>
                      </a:lnTo>
                      <a:lnTo>
                        <a:pt x="98" y="402"/>
                      </a:lnTo>
                      <a:lnTo>
                        <a:pt x="100" y="402"/>
                      </a:lnTo>
                      <a:lnTo>
                        <a:pt x="101" y="402"/>
                      </a:lnTo>
                      <a:lnTo>
                        <a:pt x="101" y="404"/>
                      </a:lnTo>
                      <a:lnTo>
                        <a:pt x="103" y="404"/>
                      </a:lnTo>
                      <a:lnTo>
                        <a:pt x="105" y="404"/>
                      </a:lnTo>
                      <a:lnTo>
                        <a:pt x="106" y="404"/>
                      </a:lnTo>
                      <a:lnTo>
                        <a:pt x="108" y="404"/>
                      </a:lnTo>
                      <a:lnTo>
                        <a:pt x="110" y="404"/>
                      </a:lnTo>
                      <a:lnTo>
                        <a:pt x="110" y="402"/>
                      </a:lnTo>
                      <a:lnTo>
                        <a:pt x="111" y="402"/>
                      </a:lnTo>
                      <a:lnTo>
                        <a:pt x="111" y="404"/>
                      </a:lnTo>
                      <a:lnTo>
                        <a:pt x="113" y="404"/>
                      </a:lnTo>
                      <a:lnTo>
                        <a:pt x="115" y="406"/>
                      </a:lnTo>
                      <a:lnTo>
                        <a:pt x="116" y="406"/>
                      </a:lnTo>
                      <a:lnTo>
                        <a:pt x="118" y="406"/>
                      </a:lnTo>
                      <a:lnTo>
                        <a:pt x="120" y="406"/>
                      </a:lnTo>
                      <a:lnTo>
                        <a:pt x="120" y="404"/>
                      </a:lnTo>
                      <a:lnTo>
                        <a:pt x="121" y="404"/>
                      </a:lnTo>
                      <a:lnTo>
                        <a:pt x="121" y="402"/>
                      </a:lnTo>
                      <a:lnTo>
                        <a:pt x="123" y="404"/>
                      </a:lnTo>
                      <a:lnTo>
                        <a:pt x="125" y="404"/>
                      </a:lnTo>
                      <a:lnTo>
                        <a:pt x="125" y="402"/>
                      </a:lnTo>
                      <a:lnTo>
                        <a:pt x="127" y="402"/>
                      </a:lnTo>
                      <a:lnTo>
                        <a:pt x="128" y="401"/>
                      </a:lnTo>
                      <a:lnTo>
                        <a:pt x="130" y="401"/>
                      </a:lnTo>
                      <a:lnTo>
                        <a:pt x="132" y="401"/>
                      </a:lnTo>
                      <a:lnTo>
                        <a:pt x="132" y="402"/>
                      </a:lnTo>
                      <a:lnTo>
                        <a:pt x="133" y="402"/>
                      </a:lnTo>
                      <a:lnTo>
                        <a:pt x="133" y="401"/>
                      </a:lnTo>
                      <a:lnTo>
                        <a:pt x="132" y="399"/>
                      </a:lnTo>
                      <a:lnTo>
                        <a:pt x="133" y="397"/>
                      </a:lnTo>
                      <a:lnTo>
                        <a:pt x="137" y="397"/>
                      </a:lnTo>
                      <a:lnTo>
                        <a:pt x="138" y="397"/>
                      </a:lnTo>
                      <a:lnTo>
                        <a:pt x="140" y="397"/>
                      </a:lnTo>
                      <a:lnTo>
                        <a:pt x="142" y="397"/>
                      </a:lnTo>
                      <a:lnTo>
                        <a:pt x="142" y="396"/>
                      </a:lnTo>
                      <a:lnTo>
                        <a:pt x="143" y="396"/>
                      </a:lnTo>
                      <a:lnTo>
                        <a:pt x="142" y="394"/>
                      </a:lnTo>
                      <a:lnTo>
                        <a:pt x="142" y="392"/>
                      </a:lnTo>
                      <a:lnTo>
                        <a:pt x="143" y="392"/>
                      </a:lnTo>
                      <a:lnTo>
                        <a:pt x="145" y="392"/>
                      </a:lnTo>
                      <a:lnTo>
                        <a:pt x="147" y="392"/>
                      </a:lnTo>
                      <a:lnTo>
                        <a:pt x="149" y="392"/>
                      </a:lnTo>
                      <a:lnTo>
                        <a:pt x="149" y="394"/>
                      </a:lnTo>
                      <a:lnTo>
                        <a:pt x="149" y="396"/>
                      </a:lnTo>
                      <a:lnTo>
                        <a:pt x="149" y="397"/>
                      </a:lnTo>
                      <a:lnTo>
                        <a:pt x="149" y="399"/>
                      </a:lnTo>
                      <a:lnTo>
                        <a:pt x="150" y="401"/>
                      </a:lnTo>
                      <a:lnTo>
                        <a:pt x="152" y="401"/>
                      </a:lnTo>
                      <a:lnTo>
                        <a:pt x="152" y="402"/>
                      </a:lnTo>
                      <a:lnTo>
                        <a:pt x="154" y="402"/>
                      </a:lnTo>
                      <a:lnTo>
                        <a:pt x="154" y="406"/>
                      </a:lnTo>
                      <a:lnTo>
                        <a:pt x="155" y="406"/>
                      </a:lnTo>
                      <a:lnTo>
                        <a:pt x="157" y="406"/>
                      </a:lnTo>
                      <a:lnTo>
                        <a:pt x="159" y="406"/>
                      </a:lnTo>
                      <a:lnTo>
                        <a:pt x="159" y="404"/>
                      </a:lnTo>
                      <a:lnTo>
                        <a:pt x="160" y="402"/>
                      </a:lnTo>
                      <a:lnTo>
                        <a:pt x="162" y="402"/>
                      </a:lnTo>
                      <a:lnTo>
                        <a:pt x="162" y="401"/>
                      </a:lnTo>
                      <a:lnTo>
                        <a:pt x="162" y="399"/>
                      </a:lnTo>
                      <a:lnTo>
                        <a:pt x="164" y="399"/>
                      </a:lnTo>
                      <a:lnTo>
                        <a:pt x="165" y="399"/>
                      </a:lnTo>
                      <a:lnTo>
                        <a:pt x="167" y="399"/>
                      </a:lnTo>
                      <a:lnTo>
                        <a:pt x="167" y="397"/>
                      </a:lnTo>
                      <a:lnTo>
                        <a:pt x="167" y="396"/>
                      </a:lnTo>
                      <a:lnTo>
                        <a:pt x="169" y="396"/>
                      </a:lnTo>
                      <a:lnTo>
                        <a:pt x="170" y="396"/>
                      </a:lnTo>
                      <a:lnTo>
                        <a:pt x="170" y="394"/>
                      </a:lnTo>
                      <a:lnTo>
                        <a:pt x="172" y="392"/>
                      </a:lnTo>
                      <a:lnTo>
                        <a:pt x="172" y="391"/>
                      </a:lnTo>
                      <a:lnTo>
                        <a:pt x="174" y="389"/>
                      </a:lnTo>
                      <a:lnTo>
                        <a:pt x="176" y="389"/>
                      </a:lnTo>
                      <a:lnTo>
                        <a:pt x="176" y="388"/>
                      </a:lnTo>
                      <a:lnTo>
                        <a:pt x="176" y="386"/>
                      </a:lnTo>
                      <a:lnTo>
                        <a:pt x="174" y="386"/>
                      </a:lnTo>
                      <a:lnTo>
                        <a:pt x="174" y="384"/>
                      </a:lnTo>
                      <a:lnTo>
                        <a:pt x="176" y="384"/>
                      </a:lnTo>
                      <a:lnTo>
                        <a:pt x="177" y="386"/>
                      </a:lnTo>
                      <a:lnTo>
                        <a:pt x="177" y="384"/>
                      </a:lnTo>
                      <a:lnTo>
                        <a:pt x="179" y="384"/>
                      </a:lnTo>
                      <a:lnTo>
                        <a:pt x="181" y="383"/>
                      </a:lnTo>
                      <a:lnTo>
                        <a:pt x="182" y="383"/>
                      </a:lnTo>
                      <a:lnTo>
                        <a:pt x="184" y="383"/>
                      </a:lnTo>
                      <a:lnTo>
                        <a:pt x="184" y="384"/>
                      </a:lnTo>
                      <a:lnTo>
                        <a:pt x="186" y="384"/>
                      </a:lnTo>
                      <a:lnTo>
                        <a:pt x="187" y="384"/>
                      </a:lnTo>
                      <a:lnTo>
                        <a:pt x="189" y="384"/>
                      </a:lnTo>
                      <a:lnTo>
                        <a:pt x="189" y="383"/>
                      </a:lnTo>
                      <a:lnTo>
                        <a:pt x="191" y="381"/>
                      </a:lnTo>
                      <a:lnTo>
                        <a:pt x="189" y="381"/>
                      </a:lnTo>
                      <a:lnTo>
                        <a:pt x="191" y="381"/>
                      </a:lnTo>
                      <a:lnTo>
                        <a:pt x="192" y="381"/>
                      </a:lnTo>
                      <a:lnTo>
                        <a:pt x="194" y="381"/>
                      </a:lnTo>
                      <a:lnTo>
                        <a:pt x="194" y="379"/>
                      </a:lnTo>
                      <a:lnTo>
                        <a:pt x="196" y="379"/>
                      </a:lnTo>
                      <a:lnTo>
                        <a:pt x="196" y="378"/>
                      </a:lnTo>
                      <a:lnTo>
                        <a:pt x="197" y="378"/>
                      </a:lnTo>
                      <a:lnTo>
                        <a:pt x="197" y="376"/>
                      </a:lnTo>
                      <a:lnTo>
                        <a:pt x="199" y="376"/>
                      </a:lnTo>
                      <a:lnTo>
                        <a:pt x="201" y="374"/>
                      </a:lnTo>
                      <a:lnTo>
                        <a:pt x="203" y="374"/>
                      </a:lnTo>
                      <a:lnTo>
                        <a:pt x="203" y="376"/>
                      </a:lnTo>
                      <a:lnTo>
                        <a:pt x="204" y="376"/>
                      </a:lnTo>
                      <a:lnTo>
                        <a:pt x="206" y="376"/>
                      </a:lnTo>
                      <a:lnTo>
                        <a:pt x="206" y="378"/>
                      </a:lnTo>
                      <a:lnTo>
                        <a:pt x="208" y="378"/>
                      </a:lnTo>
                      <a:lnTo>
                        <a:pt x="209" y="378"/>
                      </a:lnTo>
                      <a:lnTo>
                        <a:pt x="209" y="379"/>
                      </a:lnTo>
                      <a:lnTo>
                        <a:pt x="211" y="381"/>
                      </a:lnTo>
                      <a:lnTo>
                        <a:pt x="213" y="381"/>
                      </a:lnTo>
                      <a:lnTo>
                        <a:pt x="213" y="379"/>
                      </a:lnTo>
                      <a:lnTo>
                        <a:pt x="214" y="379"/>
                      </a:lnTo>
                      <a:lnTo>
                        <a:pt x="216" y="379"/>
                      </a:lnTo>
                      <a:lnTo>
                        <a:pt x="218" y="378"/>
                      </a:lnTo>
                      <a:lnTo>
                        <a:pt x="218" y="379"/>
                      </a:lnTo>
                      <a:lnTo>
                        <a:pt x="219" y="379"/>
                      </a:lnTo>
                      <a:lnTo>
                        <a:pt x="221" y="378"/>
                      </a:lnTo>
                      <a:lnTo>
                        <a:pt x="223" y="379"/>
                      </a:lnTo>
                      <a:lnTo>
                        <a:pt x="225" y="378"/>
                      </a:lnTo>
                      <a:lnTo>
                        <a:pt x="225" y="379"/>
                      </a:lnTo>
                      <a:lnTo>
                        <a:pt x="226" y="379"/>
                      </a:lnTo>
                      <a:lnTo>
                        <a:pt x="226" y="378"/>
                      </a:lnTo>
                      <a:lnTo>
                        <a:pt x="228" y="378"/>
                      </a:lnTo>
                      <a:lnTo>
                        <a:pt x="228" y="376"/>
                      </a:lnTo>
                      <a:lnTo>
                        <a:pt x="230" y="376"/>
                      </a:lnTo>
                      <a:lnTo>
                        <a:pt x="231" y="376"/>
                      </a:lnTo>
                      <a:lnTo>
                        <a:pt x="231" y="378"/>
                      </a:lnTo>
                      <a:lnTo>
                        <a:pt x="233" y="378"/>
                      </a:lnTo>
                      <a:lnTo>
                        <a:pt x="233" y="376"/>
                      </a:lnTo>
                      <a:lnTo>
                        <a:pt x="236" y="376"/>
                      </a:lnTo>
                      <a:lnTo>
                        <a:pt x="236" y="378"/>
                      </a:lnTo>
                      <a:lnTo>
                        <a:pt x="236" y="379"/>
                      </a:lnTo>
                      <a:lnTo>
                        <a:pt x="238" y="379"/>
                      </a:lnTo>
                      <a:lnTo>
                        <a:pt x="240" y="379"/>
                      </a:lnTo>
                      <a:lnTo>
                        <a:pt x="241" y="379"/>
                      </a:lnTo>
                      <a:lnTo>
                        <a:pt x="243" y="379"/>
                      </a:lnTo>
                      <a:lnTo>
                        <a:pt x="243" y="381"/>
                      </a:lnTo>
                      <a:lnTo>
                        <a:pt x="243" y="383"/>
                      </a:lnTo>
                      <a:lnTo>
                        <a:pt x="243" y="381"/>
                      </a:lnTo>
                      <a:lnTo>
                        <a:pt x="245" y="381"/>
                      </a:lnTo>
                      <a:lnTo>
                        <a:pt x="246" y="379"/>
                      </a:lnTo>
                      <a:lnTo>
                        <a:pt x="246" y="381"/>
                      </a:lnTo>
                      <a:lnTo>
                        <a:pt x="248" y="381"/>
                      </a:lnTo>
                      <a:lnTo>
                        <a:pt x="250" y="379"/>
                      </a:lnTo>
                      <a:lnTo>
                        <a:pt x="250" y="381"/>
                      </a:lnTo>
                      <a:lnTo>
                        <a:pt x="252" y="381"/>
                      </a:lnTo>
                      <a:lnTo>
                        <a:pt x="253" y="381"/>
                      </a:lnTo>
                      <a:lnTo>
                        <a:pt x="255" y="381"/>
                      </a:lnTo>
                      <a:lnTo>
                        <a:pt x="257" y="381"/>
                      </a:lnTo>
                      <a:lnTo>
                        <a:pt x="258" y="383"/>
                      </a:lnTo>
                      <a:lnTo>
                        <a:pt x="260" y="383"/>
                      </a:lnTo>
                      <a:lnTo>
                        <a:pt x="260" y="381"/>
                      </a:lnTo>
                      <a:lnTo>
                        <a:pt x="258" y="381"/>
                      </a:lnTo>
                      <a:lnTo>
                        <a:pt x="260" y="379"/>
                      </a:lnTo>
                      <a:lnTo>
                        <a:pt x="262" y="379"/>
                      </a:lnTo>
                      <a:lnTo>
                        <a:pt x="262" y="378"/>
                      </a:lnTo>
                      <a:lnTo>
                        <a:pt x="263" y="378"/>
                      </a:lnTo>
                      <a:lnTo>
                        <a:pt x="263" y="376"/>
                      </a:lnTo>
                      <a:lnTo>
                        <a:pt x="263" y="378"/>
                      </a:lnTo>
                      <a:lnTo>
                        <a:pt x="265" y="378"/>
                      </a:lnTo>
                      <a:lnTo>
                        <a:pt x="263" y="378"/>
                      </a:lnTo>
                      <a:lnTo>
                        <a:pt x="265" y="378"/>
                      </a:lnTo>
                      <a:lnTo>
                        <a:pt x="268" y="378"/>
                      </a:lnTo>
                      <a:lnTo>
                        <a:pt x="267" y="379"/>
                      </a:lnTo>
                      <a:lnTo>
                        <a:pt x="268" y="379"/>
                      </a:lnTo>
                      <a:lnTo>
                        <a:pt x="270" y="379"/>
                      </a:lnTo>
                      <a:lnTo>
                        <a:pt x="272" y="381"/>
                      </a:lnTo>
                      <a:lnTo>
                        <a:pt x="273" y="381"/>
                      </a:lnTo>
                      <a:lnTo>
                        <a:pt x="273" y="383"/>
                      </a:lnTo>
                      <a:lnTo>
                        <a:pt x="275" y="383"/>
                      </a:lnTo>
                      <a:lnTo>
                        <a:pt x="275" y="384"/>
                      </a:lnTo>
                      <a:lnTo>
                        <a:pt x="277" y="384"/>
                      </a:lnTo>
                      <a:lnTo>
                        <a:pt x="277" y="386"/>
                      </a:lnTo>
                      <a:lnTo>
                        <a:pt x="279" y="386"/>
                      </a:lnTo>
                      <a:lnTo>
                        <a:pt x="280" y="386"/>
                      </a:lnTo>
                      <a:lnTo>
                        <a:pt x="282" y="386"/>
                      </a:lnTo>
                      <a:lnTo>
                        <a:pt x="284" y="384"/>
                      </a:lnTo>
                      <a:lnTo>
                        <a:pt x="285" y="386"/>
                      </a:lnTo>
                      <a:lnTo>
                        <a:pt x="285" y="388"/>
                      </a:lnTo>
                      <a:lnTo>
                        <a:pt x="287" y="388"/>
                      </a:lnTo>
                      <a:lnTo>
                        <a:pt x="287" y="389"/>
                      </a:lnTo>
                      <a:lnTo>
                        <a:pt x="289" y="389"/>
                      </a:lnTo>
                      <a:lnTo>
                        <a:pt x="290" y="388"/>
                      </a:lnTo>
                      <a:lnTo>
                        <a:pt x="290" y="389"/>
                      </a:lnTo>
                      <a:lnTo>
                        <a:pt x="290" y="391"/>
                      </a:lnTo>
                      <a:lnTo>
                        <a:pt x="292" y="391"/>
                      </a:lnTo>
                      <a:lnTo>
                        <a:pt x="292" y="392"/>
                      </a:lnTo>
                      <a:lnTo>
                        <a:pt x="294" y="392"/>
                      </a:lnTo>
                      <a:lnTo>
                        <a:pt x="295" y="391"/>
                      </a:lnTo>
                      <a:lnTo>
                        <a:pt x="295" y="392"/>
                      </a:lnTo>
                      <a:lnTo>
                        <a:pt x="295" y="391"/>
                      </a:lnTo>
                      <a:lnTo>
                        <a:pt x="297" y="389"/>
                      </a:lnTo>
                      <a:lnTo>
                        <a:pt x="299" y="391"/>
                      </a:lnTo>
                      <a:lnTo>
                        <a:pt x="299" y="389"/>
                      </a:lnTo>
                      <a:lnTo>
                        <a:pt x="301" y="389"/>
                      </a:lnTo>
                      <a:lnTo>
                        <a:pt x="301" y="391"/>
                      </a:lnTo>
                      <a:lnTo>
                        <a:pt x="302" y="391"/>
                      </a:lnTo>
                      <a:lnTo>
                        <a:pt x="302" y="389"/>
                      </a:lnTo>
                      <a:lnTo>
                        <a:pt x="301" y="389"/>
                      </a:lnTo>
                      <a:lnTo>
                        <a:pt x="302" y="389"/>
                      </a:lnTo>
                      <a:lnTo>
                        <a:pt x="302" y="388"/>
                      </a:lnTo>
                      <a:lnTo>
                        <a:pt x="304" y="388"/>
                      </a:lnTo>
                      <a:lnTo>
                        <a:pt x="306" y="388"/>
                      </a:lnTo>
                      <a:lnTo>
                        <a:pt x="304" y="388"/>
                      </a:lnTo>
                      <a:lnTo>
                        <a:pt x="304" y="386"/>
                      </a:lnTo>
                      <a:lnTo>
                        <a:pt x="306" y="386"/>
                      </a:lnTo>
                      <a:lnTo>
                        <a:pt x="306" y="384"/>
                      </a:lnTo>
                      <a:lnTo>
                        <a:pt x="307" y="384"/>
                      </a:lnTo>
                      <a:lnTo>
                        <a:pt x="309" y="386"/>
                      </a:lnTo>
                      <a:lnTo>
                        <a:pt x="311" y="386"/>
                      </a:lnTo>
                      <a:lnTo>
                        <a:pt x="311" y="384"/>
                      </a:lnTo>
                      <a:lnTo>
                        <a:pt x="312" y="384"/>
                      </a:lnTo>
                      <a:lnTo>
                        <a:pt x="312" y="383"/>
                      </a:lnTo>
                      <a:lnTo>
                        <a:pt x="312" y="381"/>
                      </a:lnTo>
                      <a:lnTo>
                        <a:pt x="314" y="381"/>
                      </a:lnTo>
                      <a:lnTo>
                        <a:pt x="314" y="379"/>
                      </a:lnTo>
                      <a:lnTo>
                        <a:pt x="316" y="381"/>
                      </a:lnTo>
                      <a:lnTo>
                        <a:pt x="316" y="379"/>
                      </a:lnTo>
                      <a:lnTo>
                        <a:pt x="316" y="381"/>
                      </a:lnTo>
                      <a:lnTo>
                        <a:pt x="317" y="381"/>
                      </a:lnTo>
                      <a:lnTo>
                        <a:pt x="319" y="379"/>
                      </a:lnTo>
                      <a:lnTo>
                        <a:pt x="321" y="379"/>
                      </a:lnTo>
                      <a:lnTo>
                        <a:pt x="321" y="378"/>
                      </a:lnTo>
                      <a:lnTo>
                        <a:pt x="322" y="376"/>
                      </a:lnTo>
                      <a:lnTo>
                        <a:pt x="322" y="378"/>
                      </a:lnTo>
                      <a:lnTo>
                        <a:pt x="324" y="378"/>
                      </a:lnTo>
                      <a:lnTo>
                        <a:pt x="324" y="376"/>
                      </a:lnTo>
                      <a:lnTo>
                        <a:pt x="326" y="376"/>
                      </a:lnTo>
                      <a:lnTo>
                        <a:pt x="326" y="374"/>
                      </a:lnTo>
                      <a:lnTo>
                        <a:pt x="324" y="374"/>
                      </a:lnTo>
                      <a:lnTo>
                        <a:pt x="324" y="373"/>
                      </a:lnTo>
                      <a:lnTo>
                        <a:pt x="322" y="373"/>
                      </a:lnTo>
                      <a:lnTo>
                        <a:pt x="324" y="373"/>
                      </a:lnTo>
                      <a:lnTo>
                        <a:pt x="324" y="371"/>
                      </a:lnTo>
                      <a:lnTo>
                        <a:pt x="324" y="369"/>
                      </a:lnTo>
                      <a:lnTo>
                        <a:pt x="326" y="369"/>
                      </a:lnTo>
                      <a:lnTo>
                        <a:pt x="326" y="371"/>
                      </a:lnTo>
                      <a:lnTo>
                        <a:pt x="326" y="369"/>
                      </a:lnTo>
                      <a:lnTo>
                        <a:pt x="328" y="369"/>
                      </a:lnTo>
                      <a:lnTo>
                        <a:pt x="328" y="368"/>
                      </a:lnTo>
                      <a:lnTo>
                        <a:pt x="329" y="368"/>
                      </a:lnTo>
                      <a:lnTo>
                        <a:pt x="328" y="368"/>
                      </a:lnTo>
                      <a:lnTo>
                        <a:pt x="329" y="368"/>
                      </a:lnTo>
                      <a:lnTo>
                        <a:pt x="329" y="366"/>
                      </a:lnTo>
                      <a:lnTo>
                        <a:pt x="331" y="366"/>
                      </a:lnTo>
                      <a:lnTo>
                        <a:pt x="331" y="365"/>
                      </a:lnTo>
                      <a:lnTo>
                        <a:pt x="333" y="365"/>
                      </a:lnTo>
                      <a:lnTo>
                        <a:pt x="333" y="366"/>
                      </a:lnTo>
                      <a:lnTo>
                        <a:pt x="333" y="368"/>
                      </a:lnTo>
                      <a:lnTo>
                        <a:pt x="334" y="368"/>
                      </a:lnTo>
                      <a:lnTo>
                        <a:pt x="333" y="368"/>
                      </a:lnTo>
                      <a:lnTo>
                        <a:pt x="333" y="366"/>
                      </a:lnTo>
                      <a:lnTo>
                        <a:pt x="334" y="366"/>
                      </a:lnTo>
                      <a:lnTo>
                        <a:pt x="334" y="365"/>
                      </a:lnTo>
                      <a:lnTo>
                        <a:pt x="336" y="365"/>
                      </a:lnTo>
                      <a:lnTo>
                        <a:pt x="338" y="365"/>
                      </a:lnTo>
                      <a:lnTo>
                        <a:pt x="338" y="363"/>
                      </a:lnTo>
                      <a:lnTo>
                        <a:pt x="339" y="363"/>
                      </a:lnTo>
                      <a:lnTo>
                        <a:pt x="341" y="361"/>
                      </a:lnTo>
                      <a:lnTo>
                        <a:pt x="343" y="361"/>
                      </a:lnTo>
                      <a:lnTo>
                        <a:pt x="343" y="363"/>
                      </a:lnTo>
                      <a:lnTo>
                        <a:pt x="343" y="361"/>
                      </a:lnTo>
                      <a:lnTo>
                        <a:pt x="343" y="360"/>
                      </a:lnTo>
                      <a:lnTo>
                        <a:pt x="344" y="360"/>
                      </a:lnTo>
                      <a:lnTo>
                        <a:pt x="346" y="360"/>
                      </a:lnTo>
                      <a:lnTo>
                        <a:pt x="344" y="360"/>
                      </a:lnTo>
                      <a:lnTo>
                        <a:pt x="346" y="358"/>
                      </a:lnTo>
                      <a:lnTo>
                        <a:pt x="348" y="358"/>
                      </a:lnTo>
                      <a:lnTo>
                        <a:pt x="349" y="356"/>
                      </a:lnTo>
                      <a:lnTo>
                        <a:pt x="349" y="355"/>
                      </a:lnTo>
                      <a:lnTo>
                        <a:pt x="349" y="356"/>
                      </a:lnTo>
                      <a:lnTo>
                        <a:pt x="349" y="355"/>
                      </a:lnTo>
                      <a:lnTo>
                        <a:pt x="351" y="355"/>
                      </a:lnTo>
                      <a:lnTo>
                        <a:pt x="353" y="353"/>
                      </a:lnTo>
                      <a:lnTo>
                        <a:pt x="355" y="353"/>
                      </a:lnTo>
                      <a:lnTo>
                        <a:pt x="356" y="353"/>
                      </a:lnTo>
                      <a:lnTo>
                        <a:pt x="356" y="351"/>
                      </a:lnTo>
                      <a:lnTo>
                        <a:pt x="356" y="350"/>
                      </a:lnTo>
                      <a:lnTo>
                        <a:pt x="356" y="351"/>
                      </a:lnTo>
                      <a:lnTo>
                        <a:pt x="356" y="350"/>
                      </a:lnTo>
                      <a:lnTo>
                        <a:pt x="355" y="350"/>
                      </a:lnTo>
                      <a:lnTo>
                        <a:pt x="356" y="350"/>
                      </a:lnTo>
                      <a:lnTo>
                        <a:pt x="356" y="348"/>
                      </a:lnTo>
                      <a:lnTo>
                        <a:pt x="355" y="348"/>
                      </a:lnTo>
                      <a:lnTo>
                        <a:pt x="355" y="346"/>
                      </a:lnTo>
                      <a:lnTo>
                        <a:pt x="355" y="348"/>
                      </a:lnTo>
                      <a:lnTo>
                        <a:pt x="355" y="346"/>
                      </a:lnTo>
                      <a:lnTo>
                        <a:pt x="353" y="346"/>
                      </a:lnTo>
                      <a:lnTo>
                        <a:pt x="353" y="345"/>
                      </a:lnTo>
                      <a:lnTo>
                        <a:pt x="355" y="345"/>
                      </a:lnTo>
                      <a:lnTo>
                        <a:pt x="355" y="343"/>
                      </a:lnTo>
                      <a:lnTo>
                        <a:pt x="353" y="343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1" y="340"/>
                      </a:lnTo>
                      <a:lnTo>
                        <a:pt x="351" y="342"/>
                      </a:lnTo>
                      <a:lnTo>
                        <a:pt x="351" y="340"/>
                      </a:lnTo>
                      <a:lnTo>
                        <a:pt x="351" y="338"/>
                      </a:lnTo>
                      <a:lnTo>
                        <a:pt x="351" y="337"/>
                      </a:lnTo>
                      <a:lnTo>
                        <a:pt x="349" y="337"/>
                      </a:lnTo>
                      <a:lnTo>
                        <a:pt x="349" y="335"/>
                      </a:lnTo>
                      <a:lnTo>
                        <a:pt x="349" y="333"/>
                      </a:lnTo>
                      <a:lnTo>
                        <a:pt x="349" y="332"/>
                      </a:lnTo>
                      <a:lnTo>
                        <a:pt x="348" y="332"/>
                      </a:lnTo>
                      <a:lnTo>
                        <a:pt x="348" y="330"/>
                      </a:lnTo>
                      <a:lnTo>
                        <a:pt x="349" y="330"/>
                      </a:lnTo>
                      <a:lnTo>
                        <a:pt x="351" y="330"/>
                      </a:lnTo>
                      <a:lnTo>
                        <a:pt x="351" y="328"/>
                      </a:lnTo>
                      <a:lnTo>
                        <a:pt x="349" y="328"/>
                      </a:lnTo>
                      <a:lnTo>
                        <a:pt x="351" y="328"/>
                      </a:lnTo>
                      <a:lnTo>
                        <a:pt x="349" y="328"/>
                      </a:lnTo>
                      <a:lnTo>
                        <a:pt x="349" y="327"/>
                      </a:lnTo>
                      <a:lnTo>
                        <a:pt x="351" y="327"/>
                      </a:lnTo>
                      <a:lnTo>
                        <a:pt x="351" y="325"/>
                      </a:lnTo>
                      <a:lnTo>
                        <a:pt x="353" y="325"/>
                      </a:lnTo>
                      <a:lnTo>
                        <a:pt x="351" y="325"/>
                      </a:lnTo>
                      <a:lnTo>
                        <a:pt x="351" y="323"/>
                      </a:lnTo>
                      <a:lnTo>
                        <a:pt x="351" y="322"/>
                      </a:lnTo>
                      <a:lnTo>
                        <a:pt x="353" y="322"/>
                      </a:lnTo>
                      <a:lnTo>
                        <a:pt x="355" y="320"/>
                      </a:lnTo>
                      <a:lnTo>
                        <a:pt x="355" y="319"/>
                      </a:lnTo>
                      <a:lnTo>
                        <a:pt x="355" y="317"/>
                      </a:lnTo>
                      <a:lnTo>
                        <a:pt x="356" y="317"/>
                      </a:lnTo>
                      <a:lnTo>
                        <a:pt x="358" y="317"/>
                      </a:lnTo>
                      <a:lnTo>
                        <a:pt x="358" y="315"/>
                      </a:lnTo>
                      <a:lnTo>
                        <a:pt x="356" y="315"/>
                      </a:lnTo>
                      <a:lnTo>
                        <a:pt x="358" y="315"/>
                      </a:lnTo>
                      <a:lnTo>
                        <a:pt x="356" y="315"/>
                      </a:lnTo>
                      <a:lnTo>
                        <a:pt x="358" y="314"/>
                      </a:lnTo>
                      <a:lnTo>
                        <a:pt x="358" y="312"/>
                      </a:lnTo>
                      <a:lnTo>
                        <a:pt x="358" y="310"/>
                      </a:lnTo>
                      <a:lnTo>
                        <a:pt x="358" y="309"/>
                      </a:lnTo>
                      <a:lnTo>
                        <a:pt x="356" y="309"/>
                      </a:lnTo>
                      <a:lnTo>
                        <a:pt x="356" y="307"/>
                      </a:lnTo>
                      <a:lnTo>
                        <a:pt x="355" y="305"/>
                      </a:lnTo>
                      <a:lnTo>
                        <a:pt x="355" y="304"/>
                      </a:lnTo>
                      <a:lnTo>
                        <a:pt x="353" y="304"/>
                      </a:lnTo>
                      <a:lnTo>
                        <a:pt x="353" y="302"/>
                      </a:lnTo>
                      <a:lnTo>
                        <a:pt x="351" y="302"/>
                      </a:lnTo>
                      <a:lnTo>
                        <a:pt x="351" y="304"/>
                      </a:lnTo>
                      <a:lnTo>
                        <a:pt x="349" y="302"/>
                      </a:lnTo>
                      <a:lnTo>
                        <a:pt x="348" y="302"/>
                      </a:lnTo>
                      <a:lnTo>
                        <a:pt x="346" y="302"/>
                      </a:lnTo>
                      <a:lnTo>
                        <a:pt x="344" y="302"/>
                      </a:lnTo>
                      <a:lnTo>
                        <a:pt x="343" y="302"/>
                      </a:lnTo>
                      <a:lnTo>
                        <a:pt x="343" y="304"/>
                      </a:lnTo>
                      <a:lnTo>
                        <a:pt x="341" y="304"/>
                      </a:lnTo>
                      <a:lnTo>
                        <a:pt x="339" y="304"/>
                      </a:lnTo>
                      <a:lnTo>
                        <a:pt x="339" y="302"/>
                      </a:lnTo>
                      <a:lnTo>
                        <a:pt x="338" y="302"/>
                      </a:lnTo>
                      <a:lnTo>
                        <a:pt x="338" y="304"/>
                      </a:lnTo>
                      <a:lnTo>
                        <a:pt x="336" y="304"/>
                      </a:lnTo>
                      <a:lnTo>
                        <a:pt x="336" y="302"/>
                      </a:lnTo>
                      <a:lnTo>
                        <a:pt x="336" y="300"/>
                      </a:lnTo>
                      <a:lnTo>
                        <a:pt x="336" y="299"/>
                      </a:lnTo>
                      <a:lnTo>
                        <a:pt x="334" y="299"/>
                      </a:lnTo>
                      <a:lnTo>
                        <a:pt x="334" y="297"/>
                      </a:lnTo>
                      <a:lnTo>
                        <a:pt x="333" y="297"/>
                      </a:lnTo>
                      <a:lnTo>
                        <a:pt x="333" y="296"/>
                      </a:lnTo>
                      <a:lnTo>
                        <a:pt x="333" y="297"/>
                      </a:lnTo>
                      <a:lnTo>
                        <a:pt x="333" y="296"/>
                      </a:lnTo>
                      <a:lnTo>
                        <a:pt x="334" y="296"/>
                      </a:lnTo>
                      <a:lnTo>
                        <a:pt x="334" y="294"/>
                      </a:lnTo>
                      <a:lnTo>
                        <a:pt x="333" y="292"/>
                      </a:lnTo>
                      <a:lnTo>
                        <a:pt x="334" y="292"/>
                      </a:lnTo>
                      <a:lnTo>
                        <a:pt x="333" y="292"/>
                      </a:lnTo>
                      <a:lnTo>
                        <a:pt x="333" y="291"/>
                      </a:lnTo>
                      <a:lnTo>
                        <a:pt x="334" y="291"/>
                      </a:lnTo>
                      <a:lnTo>
                        <a:pt x="333" y="289"/>
                      </a:lnTo>
                      <a:lnTo>
                        <a:pt x="334" y="289"/>
                      </a:lnTo>
                      <a:lnTo>
                        <a:pt x="334" y="291"/>
                      </a:lnTo>
                      <a:lnTo>
                        <a:pt x="334" y="289"/>
                      </a:lnTo>
                      <a:lnTo>
                        <a:pt x="334" y="287"/>
                      </a:lnTo>
                      <a:lnTo>
                        <a:pt x="334" y="286"/>
                      </a:lnTo>
                      <a:lnTo>
                        <a:pt x="336" y="286"/>
                      </a:lnTo>
                      <a:lnTo>
                        <a:pt x="334" y="286"/>
                      </a:lnTo>
                      <a:lnTo>
                        <a:pt x="334" y="284"/>
                      </a:lnTo>
                      <a:lnTo>
                        <a:pt x="336" y="284"/>
                      </a:lnTo>
                      <a:lnTo>
                        <a:pt x="336" y="286"/>
                      </a:lnTo>
                      <a:lnTo>
                        <a:pt x="338" y="286"/>
                      </a:lnTo>
                      <a:lnTo>
                        <a:pt x="338" y="287"/>
                      </a:lnTo>
                      <a:lnTo>
                        <a:pt x="339" y="286"/>
                      </a:lnTo>
                      <a:lnTo>
                        <a:pt x="339" y="287"/>
                      </a:lnTo>
                      <a:lnTo>
                        <a:pt x="341" y="287"/>
                      </a:lnTo>
                      <a:lnTo>
                        <a:pt x="339" y="287"/>
                      </a:lnTo>
                      <a:lnTo>
                        <a:pt x="339" y="286"/>
                      </a:lnTo>
                      <a:lnTo>
                        <a:pt x="341" y="286"/>
                      </a:lnTo>
                      <a:lnTo>
                        <a:pt x="341" y="287"/>
                      </a:lnTo>
                      <a:lnTo>
                        <a:pt x="341" y="286"/>
                      </a:lnTo>
                      <a:lnTo>
                        <a:pt x="343" y="286"/>
                      </a:lnTo>
                      <a:lnTo>
                        <a:pt x="341" y="286"/>
                      </a:lnTo>
                      <a:lnTo>
                        <a:pt x="341" y="284"/>
                      </a:lnTo>
                      <a:lnTo>
                        <a:pt x="343" y="284"/>
                      </a:lnTo>
                      <a:lnTo>
                        <a:pt x="344" y="284"/>
                      </a:lnTo>
                      <a:lnTo>
                        <a:pt x="343" y="282"/>
                      </a:lnTo>
                      <a:lnTo>
                        <a:pt x="344" y="282"/>
                      </a:lnTo>
                      <a:lnTo>
                        <a:pt x="344" y="281"/>
                      </a:lnTo>
                      <a:lnTo>
                        <a:pt x="343" y="281"/>
                      </a:lnTo>
                      <a:lnTo>
                        <a:pt x="343" y="279"/>
                      </a:lnTo>
                      <a:lnTo>
                        <a:pt x="344" y="279"/>
                      </a:lnTo>
                      <a:lnTo>
                        <a:pt x="343" y="279"/>
                      </a:lnTo>
                      <a:lnTo>
                        <a:pt x="344" y="279"/>
                      </a:lnTo>
                      <a:lnTo>
                        <a:pt x="344" y="277"/>
                      </a:lnTo>
                      <a:lnTo>
                        <a:pt x="346" y="277"/>
                      </a:lnTo>
                      <a:lnTo>
                        <a:pt x="348" y="277"/>
                      </a:lnTo>
                      <a:lnTo>
                        <a:pt x="348" y="276"/>
                      </a:lnTo>
                      <a:lnTo>
                        <a:pt x="348" y="274"/>
                      </a:lnTo>
                      <a:lnTo>
                        <a:pt x="349" y="274"/>
                      </a:lnTo>
                      <a:lnTo>
                        <a:pt x="349" y="273"/>
                      </a:lnTo>
                      <a:lnTo>
                        <a:pt x="349" y="274"/>
                      </a:lnTo>
                      <a:lnTo>
                        <a:pt x="351" y="274"/>
                      </a:lnTo>
                      <a:lnTo>
                        <a:pt x="351" y="273"/>
                      </a:lnTo>
                      <a:lnTo>
                        <a:pt x="349" y="273"/>
                      </a:lnTo>
                      <a:lnTo>
                        <a:pt x="349" y="271"/>
                      </a:lnTo>
                      <a:lnTo>
                        <a:pt x="349" y="273"/>
                      </a:lnTo>
                      <a:lnTo>
                        <a:pt x="349" y="271"/>
                      </a:lnTo>
                      <a:lnTo>
                        <a:pt x="351" y="271"/>
                      </a:lnTo>
                      <a:lnTo>
                        <a:pt x="351" y="273"/>
                      </a:lnTo>
                      <a:lnTo>
                        <a:pt x="351" y="271"/>
                      </a:lnTo>
                      <a:lnTo>
                        <a:pt x="349" y="271"/>
                      </a:lnTo>
                      <a:lnTo>
                        <a:pt x="351" y="271"/>
                      </a:lnTo>
                      <a:lnTo>
                        <a:pt x="349" y="271"/>
                      </a:lnTo>
                      <a:lnTo>
                        <a:pt x="349" y="269"/>
                      </a:lnTo>
                      <a:lnTo>
                        <a:pt x="351" y="269"/>
                      </a:lnTo>
                      <a:lnTo>
                        <a:pt x="353" y="269"/>
                      </a:lnTo>
                      <a:lnTo>
                        <a:pt x="353" y="268"/>
                      </a:lnTo>
                      <a:lnTo>
                        <a:pt x="353" y="269"/>
                      </a:lnTo>
                      <a:lnTo>
                        <a:pt x="353" y="268"/>
                      </a:lnTo>
                      <a:lnTo>
                        <a:pt x="353" y="269"/>
                      </a:lnTo>
                      <a:lnTo>
                        <a:pt x="355" y="268"/>
                      </a:lnTo>
                      <a:lnTo>
                        <a:pt x="355" y="269"/>
                      </a:lnTo>
                      <a:lnTo>
                        <a:pt x="355" y="268"/>
                      </a:lnTo>
                      <a:lnTo>
                        <a:pt x="356" y="268"/>
                      </a:lnTo>
                      <a:lnTo>
                        <a:pt x="356" y="266"/>
                      </a:lnTo>
                      <a:lnTo>
                        <a:pt x="358" y="266"/>
                      </a:lnTo>
                      <a:lnTo>
                        <a:pt x="356" y="266"/>
                      </a:lnTo>
                      <a:lnTo>
                        <a:pt x="358" y="266"/>
                      </a:lnTo>
                      <a:lnTo>
                        <a:pt x="358" y="264"/>
                      </a:lnTo>
                      <a:lnTo>
                        <a:pt x="356" y="266"/>
                      </a:lnTo>
                      <a:lnTo>
                        <a:pt x="356" y="264"/>
                      </a:lnTo>
                      <a:lnTo>
                        <a:pt x="358" y="264"/>
                      </a:lnTo>
                      <a:lnTo>
                        <a:pt x="358" y="263"/>
                      </a:lnTo>
                      <a:lnTo>
                        <a:pt x="360" y="263"/>
                      </a:lnTo>
                      <a:lnTo>
                        <a:pt x="360" y="264"/>
                      </a:lnTo>
                      <a:lnTo>
                        <a:pt x="360" y="263"/>
                      </a:lnTo>
                      <a:lnTo>
                        <a:pt x="360" y="264"/>
                      </a:lnTo>
                      <a:lnTo>
                        <a:pt x="360" y="263"/>
                      </a:lnTo>
                      <a:lnTo>
                        <a:pt x="360" y="264"/>
                      </a:lnTo>
                      <a:lnTo>
                        <a:pt x="360" y="263"/>
                      </a:lnTo>
                      <a:lnTo>
                        <a:pt x="361" y="263"/>
                      </a:lnTo>
                      <a:lnTo>
                        <a:pt x="363" y="263"/>
                      </a:lnTo>
                      <a:lnTo>
                        <a:pt x="361" y="263"/>
                      </a:lnTo>
                      <a:lnTo>
                        <a:pt x="361" y="261"/>
                      </a:lnTo>
                      <a:lnTo>
                        <a:pt x="363" y="263"/>
                      </a:lnTo>
                      <a:lnTo>
                        <a:pt x="363" y="261"/>
                      </a:lnTo>
                      <a:lnTo>
                        <a:pt x="365" y="261"/>
                      </a:lnTo>
                      <a:lnTo>
                        <a:pt x="363" y="261"/>
                      </a:lnTo>
                      <a:lnTo>
                        <a:pt x="365" y="261"/>
                      </a:lnTo>
                      <a:lnTo>
                        <a:pt x="366" y="261"/>
                      </a:lnTo>
                      <a:lnTo>
                        <a:pt x="365" y="261"/>
                      </a:lnTo>
                      <a:lnTo>
                        <a:pt x="365" y="259"/>
                      </a:lnTo>
                      <a:lnTo>
                        <a:pt x="366" y="259"/>
                      </a:lnTo>
                      <a:lnTo>
                        <a:pt x="366" y="261"/>
                      </a:lnTo>
                      <a:lnTo>
                        <a:pt x="366" y="259"/>
                      </a:lnTo>
                      <a:lnTo>
                        <a:pt x="366" y="258"/>
                      </a:lnTo>
                      <a:lnTo>
                        <a:pt x="368" y="258"/>
                      </a:lnTo>
                      <a:lnTo>
                        <a:pt x="368" y="259"/>
                      </a:lnTo>
                      <a:lnTo>
                        <a:pt x="368" y="258"/>
                      </a:lnTo>
                      <a:lnTo>
                        <a:pt x="370" y="258"/>
                      </a:lnTo>
                      <a:lnTo>
                        <a:pt x="368" y="258"/>
                      </a:lnTo>
                      <a:lnTo>
                        <a:pt x="370" y="256"/>
                      </a:lnTo>
                      <a:lnTo>
                        <a:pt x="370" y="258"/>
                      </a:lnTo>
                      <a:lnTo>
                        <a:pt x="370" y="256"/>
                      </a:lnTo>
                      <a:lnTo>
                        <a:pt x="371" y="256"/>
                      </a:lnTo>
                      <a:lnTo>
                        <a:pt x="371" y="255"/>
                      </a:lnTo>
                      <a:lnTo>
                        <a:pt x="370" y="255"/>
                      </a:lnTo>
                      <a:lnTo>
                        <a:pt x="370" y="256"/>
                      </a:lnTo>
                      <a:lnTo>
                        <a:pt x="370" y="255"/>
                      </a:lnTo>
                      <a:lnTo>
                        <a:pt x="371" y="255"/>
                      </a:lnTo>
                      <a:lnTo>
                        <a:pt x="371" y="253"/>
                      </a:lnTo>
                      <a:lnTo>
                        <a:pt x="370" y="251"/>
                      </a:lnTo>
                      <a:lnTo>
                        <a:pt x="368" y="251"/>
                      </a:lnTo>
                      <a:lnTo>
                        <a:pt x="370" y="251"/>
                      </a:lnTo>
                      <a:lnTo>
                        <a:pt x="370" y="250"/>
                      </a:lnTo>
                      <a:lnTo>
                        <a:pt x="368" y="250"/>
                      </a:lnTo>
                      <a:lnTo>
                        <a:pt x="368" y="248"/>
                      </a:lnTo>
                      <a:lnTo>
                        <a:pt x="366" y="248"/>
                      </a:lnTo>
                      <a:lnTo>
                        <a:pt x="368" y="248"/>
                      </a:lnTo>
                      <a:lnTo>
                        <a:pt x="368" y="246"/>
                      </a:lnTo>
                      <a:lnTo>
                        <a:pt x="366" y="246"/>
                      </a:lnTo>
                      <a:lnTo>
                        <a:pt x="366" y="245"/>
                      </a:lnTo>
                      <a:lnTo>
                        <a:pt x="366" y="246"/>
                      </a:lnTo>
                      <a:lnTo>
                        <a:pt x="365" y="246"/>
                      </a:lnTo>
                      <a:lnTo>
                        <a:pt x="365" y="245"/>
                      </a:lnTo>
                      <a:lnTo>
                        <a:pt x="365" y="243"/>
                      </a:lnTo>
                      <a:lnTo>
                        <a:pt x="363" y="241"/>
                      </a:lnTo>
                      <a:lnTo>
                        <a:pt x="365" y="241"/>
                      </a:lnTo>
                      <a:lnTo>
                        <a:pt x="365" y="240"/>
                      </a:lnTo>
                      <a:lnTo>
                        <a:pt x="365" y="238"/>
                      </a:lnTo>
                      <a:lnTo>
                        <a:pt x="363" y="238"/>
                      </a:lnTo>
                      <a:lnTo>
                        <a:pt x="365" y="238"/>
                      </a:lnTo>
                      <a:lnTo>
                        <a:pt x="363" y="238"/>
                      </a:lnTo>
                      <a:lnTo>
                        <a:pt x="363" y="236"/>
                      </a:lnTo>
                      <a:lnTo>
                        <a:pt x="363" y="235"/>
                      </a:lnTo>
                      <a:lnTo>
                        <a:pt x="361" y="233"/>
                      </a:lnTo>
                      <a:lnTo>
                        <a:pt x="363" y="233"/>
                      </a:lnTo>
                      <a:lnTo>
                        <a:pt x="361" y="233"/>
                      </a:lnTo>
                      <a:lnTo>
                        <a:pt x="361" y="232"/>
                      </a:lnTo>
                      <a:lnTo>
                        <a:pt x="363" y="232"/>
                      </a:lnTo>
                      <a:lnTo>
                        <a:pt x="363" y="230"/>
                      </a:lnTo>
                      <a:lnTo>
                        <a:pt x="361" y="230"/>
                      </a:lnTo>
                      <a:lnTo>
                        <a:pt x="363" y="230"/>
                      </a:lnTo>
                      <a:lnTo>
                        <a:pt x="363" y="228"/>
                      </a:lnTo>
                      <a:lnTo>
                        <a:pt x="361" y="228"/>
                      </a:lnTo>
                      <a:lnTo>
                        <a:pt x="361" y="227"/>
                      </a:lnTo>
                      <a:lnTo>
                        <a:pt x="360" y="228"/>
                      </a:lnTo>
                      <a:lnTo>
                        <a:pt x="360" y="227"/>
                      </a:lnTo>
                      <a:lnTo>
                        <a:pt x="360" y="225"/>
                      </a:lnTo>
                      <a:lnTo>
                        <a:pt x="360" y="223"/>
                      </a:lnTo>
                      <a:lnTo>
                        <a:pt x="358" y="223"/>
                      </a:lnTo>
                      <a:lnTo>
                        <a:pt x="358" y="222"/>
                      </a:lnTo>
                      <a:lnTo>
                        <a:pt x="356" y="222"/>
                      </a:lnTo>
                      <a:lnTo>
                        <a:pt x="356" y="220"/>
                      </a:lnTo>
                      <a:lnTo>
                        <a:pt x="356" y="222"/>
                      </a:lnTo>
                      <a:lnTo>
                        <a:pt x="356" y="220"/>
                      </a:lnTo>
                      <a:lnTo>
                        <a:pt x="355" y="220"/>
                      </a:lnTo>
                      <a:lnTo>
                        <a:pt x="353" y="218"/>
                      </a:lnTo>
                      <a:lnTo>
                        <a:pt x="353" y="220"/>
                      </a:lnTo>
                      <a:lnTo>
                        <a:pt x="353" y="218"/>
                      </a:lnTo>
                      <a:lnTo>
                        <a:pt x="355" y="218"/>
                      </a:lnTo>
                      <a:lnTo>
                        <a:pt x="353" y="218"/>
                      </a:lnTo>
                      <a:lnTo>
                        <a:pt x="351" y="218"/>
                      </a:lnTo>
                      <a:lnTo>
                        <a:pt x="353" y="218"/>
                      </a:lnTo>
                      <a:lnTo>
                        <a:pt x="351" y="218"/>
                      </a:lnTo>
                      <a:lnTo>
                        <a:pt x="351" y="217"/>
                      </a:lnTo>
                      <a:lnTo>
                        <a:pt x="349" y="217"/>
                      </a:lnTo>
                      <a:lnTo>
                        <a:pt x="349" y="218"/>
                      </a:lnTo>
                      <a:lnTo>
                        <a:pt x="348" y="217"/>
                      </a:lnTo>
                      <a:lnTo>
                        <a:pt x="348" y="218"/>
                      </a:lnTo>
                      <a:lnTo>
                        <a:pt x="348" y="217"/>
                      </a:lnTo>
                      <a:lnTo>
                        <a:pt x="348" y="215"/>
                      </a:lnTo>
                      <a:lnTo>
                        <a:pt x="346" y="215"/>
                      </a:lnTo>
                      <a:lnTo>
                        <a:pt x="348" y="217"/>
                      </a:lnTo>
                      <a:lnTo>
                        <a:pt x="346" y="217"/>
                      </a:lnTo>
                      <a:lnTo>
                        <a:pt x="346" y="215"/>
                      </a:lnTo>
                      <a:lnTo>
                        <a:pt x="344" y="215"/>
                      </a:lnTo>
                      <a:lnTo>
                        <a:pt x="344" y="213"/>
                      </a:lnTo>
                      <a:lnTo>
                        <a:pt x="346" y="213"/>
                      </a:lnTo>
                      <a:lnTo>
                        <a:pt x="344" y="213"/>
                      </a:lnTo>
                      <a:lnTo>
                        <a:pt x="343" y="213"/>
                      </a:lnTo>
                      <a:lnTo>
                        <a:pt x="343" y="212"/>
                      </a:lnTo>
                      <a:lnTo>
                        <a:pt x="341" y="212"/>
                      </a:lnTo>
                      <a:lnTo>
                        <a:pt x="341" y="210"/>
                      </a:lnTo>
                      <a:lnTo>
                        <a:pt x="341" y="209"/>
                      </a:lnTo>
                      <a:lnTo>
                        <a:pt x="339" y="209"/>
                      </a:lnTo>
                      <a:lnTo>
                        <a:pt x="341" y="209"/>
                      </a:lnTo>
                      <a:lnTo>
                        <a:pt x="341" y="207"/>
                      </a:lnTo>
                      <a:lnTo>
                        <a:pt x="341" y="205"/>
                      </a:lnTo>
                      <a:lnTo>
                        <a:pt x="341" y="204"/>
                      </a:lnTo>
                      <a:lnTo>
                        <a:pt x="343" y="204"/>
                      </a:lnTo>
                      <a:lnTo>
                        <a:pt x="343" y="202"/>
                      </a:lnTo>
                      <a:lnTo>
                        <a:pt x="343" y="200"/>
                      </a:lnTo>
                      <a:lnTo>
                        <a:pt x="344" y="200"/>
                      </a:lnTo>
                      <a:lnTo>
                        <a:pt x="343" y="200"/>
                      </a:lnTo>
                      <a:lnTo>
                        <a:pt x="343" y="199"/>
                      </a:lnTo>
                      <a:lnTo>
                        <a:pt x="344" y="199"/>
                      </a:lnTo>
                      <a:lnTo>
                        <a:pt x="344" y="197"/>
                      </a:lnTo>
                      <a:lnTo>
                        <a:pt x="346" y="197"/>
                      </a:lnTo>
                      <a:lnTo>
                        <a:pt x="346" y="195"/>
                      </a:lnTo>
                      <a:lnTo>
                        <a:pt x="348" y="195"/>
                      </a:lnTo>
                      <a:lnTo>
                        <a:pt x="348" y="194"/>
                      </a:lnTo>
                      <a:lnTo>
                        <a:pt x="349" y="192"/>
                      </a:lnTo>
                      <a:lnTo>
                        <a:pt x="349" y="190"/>
                      </a:lnTo>
                      <a:lnTo>
                        <a:pt x="351" y="190"/>
                      </a:lnTo>
                      <a:lnTo>
                        <a:pt x="349" y="190"/>
                      </a:lnTo>
                      <a:lnTo>
                        <a:pt x="349" y="189"/>
                      </a:lnTo>
                      <a:lnTo>
                        <a:pt x="351" y="189"/>
                      </a:lnTo>
                      <a:lnTo>
                        <a:pt x="351" y="187"/>
                      </a:lnTo>
                      <a:lnTo>
                        <a:pt x="353" y="186"/>
                      </a:lnTo>
                      <a:lnTo>
                        <a:pt x="353" y="184"/>
                      </a:lnTo>
                      <a:lnTo>
                        <a:pt x="353" y="182"/>
                      </a:lnTo>
                      <a:lnTo>
                        <a:pt x="353" y="181"/>
                      </a:lnTo>
                      <a:lnTo>
                        <a:pt x="353" y="179"/>
                      </a:lnTo>
                      <a:lnTo>
                        <a:pt x="351" y="179"/>
                      </a:lnTo>
                      <a:lnTo>
                        <a:pt x="353" y="179"/>
                      </a:lnTo>
                      <a:lnTo>
                        <a:pt x="353" y="177"/>
                      </a:lnTo>
                      <a:lnTo>
                        <a:pt x="351" y="177"/>
                      </a:lnTo>
                      <a:lnTo>
                        <a:pt x="351" y="176"/>
                      </a:lnTo>
                      <a:lnTo>
                        <a:pt x="351" y="174"/>
                      </a:lnTo>
                      <a:lnTo>
                        <a:pt x="349" y="174"/>
                      </a:lnTo>
                      <a:lnTo>
                        <a:pt x="351" y="174"/>
                      </a:lnTo>
                      <a:lnTo>
                        <a:pt x="351" y="172"/>
                      </a:lnTo>
                      <a:lnTo>
                        <a:pt x="353" y="172"/>
                      </a:lnTo>
                      <a:lnTo>
                        <a:pt x="353" y="171"/>
                      </a:lnTo>
                      <a:lnTo>
                        <a:pt x="351" y="171"/>
                      </a:lnTo>
                      <a:lnTo>
                        <a:pt x="353" y="171"/>
                      </a:lnTo>
                      <a:lnTo>
                        <a:pt x="355" y="171"/>
                      </a:lnTo>
                      <a:lnTo>
                        <a:pt x="355" y="169"/>
                      </a:lnTo>
                      <a:lnTo>
                        <a:pt x="355" y="167"/>
                      </a:lnTo>
                      <a:lnTo>
                        <a:pt x="355" y="166"/>
                      </a:lnTo>
                      <a:lnTo>
                        <a:pt x="355" y="164"/>
                      </a:lnTo>
                      <a:lnTo>
                        <a:pt x="355" y="166"/>
                      </a:lnTo>
                      <a:lnTo>
                        <a:pt x="355" y="164"/>
                      </a:lnTo>
                      <a:lnTo>
                        <a:pt x="356" y="164"/>
                      </a:lnTo>
                      <a:lnTo>
                        <a:pt x="355" y="164"/>
                      </a:lnTo>
                      <a:lnTo>
                        <a:pt x="356" y="164"/>
                      </a:lnTo>
                      <a:lnTo>
                        <a:pt x="355" y="164"/>
                      </a:lnTo>
                      <a:lnTo>
                        <a:pt x="356" y="164"/>
                      </a:lnTo>
                      <a:lnTo>
                        <a:pt x="356" y="163"/>
                      </a:lnTo>
                      <a:lnTo>
                        <a:pt x="358" y="163"/>
                      </a:lnTo>
                      <a:lnTo>
                        <a:pt x="358" y="164"/>
                      </a:lnTo>
                      <a:lnTo>
                        <a:pt x="358" y="163"/>
                      </a:lnTo>
                      <a:lnTo>
                        <a:pt x="358" y="164"/>
                      </a:lnTo>
                      <a:lnTo>
                        <a:pt x="360" y="164"/>
                      </a:lnTo>
                      <a:lnTo>
                        <a:pt x="361" y="164"/>
                      </a:lnTo>
                      <a:lnTo>
                        <a:pt x="361" y="163"/>
                      </a:lnTo>
                      <a:lnTo>
                        <a:pt x="361" y="164"/>
                      </a:lnTo>
                      <a:lnTo>
                        <a:pt x="363" y="164"/>
                      </a:lnTo>
                      <a:lnTo>
                        <a:pt x="363" y="163"/>
                      </a:lnTo>
                      <a:lnTo>
                        <a:pt x="363" y="164"/>
                      </a:lnTo>
                      <a:lnTo>
                        <a:pt x="363" y="163"/>
                      </a:lnTo>
                      <a:lnTo>
                        <a:pt x="365" y="163"/>
                      </a:lnTo>
                      <a:lnTo>
                        <a:pt x="365" y="161"/>
                      </a:lnTo>
                      <a:lnTo>
                        <a:pt x="366" y="161"/>
                      </a:lnTo>
                      <a:lnTo>
                        <a:pt x="365" y="161"/>
                      </a:lnTo>
                      <a:lnTo>
                        <a:pt x="366" y="161"/>
                      </a:lnTo>
                      <a:lnTo>
                        <a:pt x="366" y="159"/>
                      </a:lnTo>
                      <a:lnTo>
                        <a:pt x="368" y="159"/>
                      </a:lnTo>
                      <a:lnTo>
                        <a:pt x="368" y="158"/>
                      </a:lnTo>
                      <a:lnTo>
                        <a:pt x="368" y="156"/>
                      </a:lnTo>
                      <a:lnTo>
                        <a:pt x="370" y="158"/>
                      </a:lnTo>
                      <a:lnTo>
                        <a:pt x="370" y="156"/>
                      </a:lnTo>
                      <a:lnTo>
                        <a:pt x="371" y="156"/>
                      </a:lnTo>
                      <a:lnTo>
                        <a:pt x="370" y="156"/>
                      </a:lnTo>
                      <a:lnTo>
                        <a:pt x="371" y="156"/>
                      </a:lnTo>
                      <a:lnTo>
                        <a:pt x="371" y="158"/>
                      </a:lnTo>
                      <a:lnTo>
                        <a:pt x="373" y="158"/>
                      </a:lnTo>
                      <a:lnTo>
                        <a:pt x="373" y="159"/>
                      </a:lnTo>
                      <a:lnTo>
                        <a:pt x="375" y="158"/>
                      </a:lnTo>
                      <a:lnTo>
                        <a:pt x="375" y="159"/>
                      </a:lnTo>
                      <a:lnTo>
                        <a:pt x="377" y="158"/>
                      </a:lnTo>
                      <a:lnTo>
                        <a:pt x="378" y="158"/>
                      </a:lnTo>
                      <a:lnTo>
                        <a:pt x="378" y="156"/>
                      </a:lnTo>
                      <a:lnTo>
                        <a:pt x="380" y="156"/>
                      </a:lnTo>
                      <a:lnTo>
                        <a:pt x="382" y="156"/>
                      </a:lnTo>
                      <a:lnTo>
                        <a:pt x="383" y="156"/>
                      </a:lnTo>
                      <a:lnTo>
                        <a:pt x="388" y="154"/>
                      </a:lnTo>
                      <a:lnTo>
                        <a:pt x="392" y="153"/>
                      </a:lnTo>
                      <a:lnTo>
                        <a:pt x="395" y="153"/>
                      </a:lnTo>
                      <a:lnTo>
                        <a:pt x="397" y="153"/>
                      </a:lnTo>
                      <a:lnTo>
                        <a:pt x="400" y="151"/>
                      </a:lnTo>
                      <a:lnTo>
                        <a:pt x="402" y="151"/>
                      </a:lnTo>
                      <a:lnTo>
                        <a:pt x="402" y="149"/>
                      </a:lnTo>
                      <a:lnTo>
                        <a:pt x="402" y="148"/>
                      </a:lnTo>
                      <a:lnTo>
                        <a:pt x="400" y="146"/>
                      </a:lnTo>
                      <a:lnTo>
                        <a:pt x="400" y="144"/>
                      </a:lnTo>
                      <a:lnTo>
                        <a:pt x="402" y="144"/>
                      </a:lnTo>
                      <a:lnTo>
                        <a:pt x="402" y="143"/>
                      </a:lnTo>
                      <a:lnTo>
                        <a:pt x="400" y="141"/>
                      </a:lnTo>
                      <a:lnTo>
                        <a:pt x="400" y="140"/>
                      </a:lnTo>
                      <a:lnTo>
                        <a:pt x="400" y="138"/>
                      </a:lnTo>
                      <a:lnTo>
                        <a:pt x="400" y="136"/>
                      </a:lnTo>
                      <a:lnTo>
                        <a:pt x="398" y="136"/>
                      </a:lnTo>
                      <a:lnTo>
                        <a:pt x="398" y="135"/>
                      </a:lnTo>
                      <a:lnTo>
                        <a:pt x="397" y="133"/>
                      </a:lnTo>
                      <a:lnTo>
                        <a:pt x="398" y="131"/>
                      </a:lnTo>
                      <a:lnTo>
                        <a:pt x="398" y="130"/>
                      </a:lnTo>
                      <a:lnTo>
                        <a:pt x="397" y="130"/>
                      </a:lnTo>
                      <a:lnTo>
                        <a:pt x="397" y="128"/>
                      </a:lnTo>
                      <a:lnTo>
                        <a:pt x="397" y="126"/>
                      </a:lnTo>
                      <a:lnTo>
                        <a:pt x="395" y="126"/>
                      </a:lnTo>
                      <a:lnTo>
                        <a:pt x="393" y="126"/>
                      </a:lnTo>
                      <a:lnTo>
                        <a:pt x="393" y="125"/>
                      </a:lnTo>
                      <a:lnTo>
                        <a:pt x="392" y="125"/>
                      </a:lnTo>
                      <a:lnTo>
                        <a:pt x="390" y="123"/>
                      </a:lnTo>
                      <a:lnTo>
                        <a:pt x="388" y="123"/>
                      </a:lnTo>
                      <a:lnTo>
                        <a:pt x="388" y="121"/>
                      </a:lnTo>
                      <a:lnTo>
                        <a:pt x="388" y="120"/>
                      </a:lnTo>
                      <a:lnTo>
                        <a:pt x="388" y="118"/>
                      </a:lnTo>
                      <a:lnTo>
                        <a:pt x="390" y="117"/>
                      </a:lnTo>
                      <a:lnTo>
                        <a:pt x="390" y="115"/>
                      </a:lnTo>
                      <a:lnTo>
                        <a:pt x="390" y="113"/>
                      </a:lnTo>
                      <a:lnTo>
                        <a:pt x="390" y="112"/>
                      </a:lnTo>
                      <a:lnTo>
                        <a:pt x="390" y="110"/>
                      </a:lnTo>
                      <a:lnTo>
                        <a:pt x="392" y="110"/>
                      </a:lnTo>
                      <a:lnTo>
                        <a:pt x="392" y="108"/>
                      </a:lnTo>
                      <a:lnTo>
                        <a:pt x="393" y="107"/>
                      </a:lnTo>
                      <a:lnTo>
                        <a:pt x="395" y="107"/>
                      </a:lnTo>
                      <a:lnTo>
                        <a:pt x="397" y="105"/>
                      </a:lnTo>
                      <a:lnTo>
                        <a:pt x="398" y="105"/>
                      </a:lnTo>
                      <a:lnTo>
                        <a:pt x="398" y="103"/>
                      </a:lnTo>
                      <a:lnTo>
                        <a:pt x="397" y="103"/>
                      </a:lnTo>
                      <a:lnTo>
                        <a:pt x="397" y="102"/>
                      </a:lnTo>
                      <a:lnTo>
                        <a:pt x="398" y="102"/>
                      </a:lnTo>
                      <a:lnTo>
                        <a:pt x="398" y="100"/>
                      </a:lnTo>
                      <a:lnTo>
                        <a:pt x="397" y="98"/>
                      </a:lnTo>
                      <a:lnTo>
                        <a:pt x="395" y="97"/>
                      </a:lnTo>
                      <a:lnTo>
                        <a:pt x="393" y="97"/>
                      </a:lnTo>
                      <a:lnTo>
                        <a:pt x="393" y="95"/>
                      </a:lnTo>
                      <a:lnTo>
                        <a:pt x="395" y="95"/>
                      </a:lnTo>
                      <a:lnTo>
                        <a:pt x="393" y="94"/>
                      </a:lnTo>
                      <a:lnTo>
                        <a:pt x="393" y="92"/>
                      </a:lnTo>
                      <a:lnTo>
                        <a:pt x="392" y="92"/>
                      </a:lnTo>
                      <a:lnTo>
                        <a:pt x="392" y="94"/>
                      </a:lnTo>
                      <a:lnTo>
                        <a:pt x="390" y="94"/>
                      </a:lnTo>
                      <a:lnTo>
                        <a:pt x="390" y="92"/>
                      </a:lnTo>
                      <a:lnTo>
                        <a:pt x="390" y="90"/>
                      </a:lnTo>
                      <a:lnTo>
                        <a:pt x="390" y="89"/>
                      </a:lnTo>
                      <a:lnTo>
                        <a:pt x="390" y="87"/>
                      </a:lnTo>
                      <a:lnTo>
                        <a:pt x="392" y="87"/>
                      </a:lnTo>
                      <a:lnTo>
                        <a:pt x="392" y="85"/>
                      </a:lnTo>
                      <a:lnTo>
                        <a:pt x="392" y="84"/>
                      </a:lnTo>
                      <a:lnTo>
                        <a:pt x="393" y="84"/>
                      </a:lnTo>
                      <a:lnTo>
                        <a:pt x="393" y="82"/>
                      </a:lnTo>
                      <a:lnTo>
                        <a:pt x="395" y="80"/>
                      </a:lnTo>
                      <a:lnTo>
                        <a:pt x="393" y="80"/>
                      </a:lnTo>
                      <a:lnTo>
                        <a:pt x="393" y="79"/>
                      </a:lnTo>
                      <a:lnTo>
                        <a:pt x="392" y="79"/>
                      </a:lnTo>
                      <a:lnTo>
                        <a:pt x="392" y="77"/>
                      </a:lnTo>
                      <a:lnTo>
                        <a:pt x="390" y="77"/>
                      </a:lnTo>
                      <a:lnTo>
                        <a:pt x="390" y="75"/>
                      </a:lnTo>
                      <a:lnTo>
                        <a:pt x="392" y="75"/>
                      </a:lnTo>
                      <a:lnTo>
                        <a:pt x="392" y="74"/>
                      </a:lnTo>
                      <a:lnTo>
                        <a:pt x="393" y="74"/>
                      </a:lnTo>
                      <a:lnTo>
                        <a:pt x="395" y="72"/>
                      </a:lnTo>
                      <a:lnTo>
                        <a:pt x="397" y="72"/>
                      </a:lnTo>
                      <a:lnTo>
                        <a:pt x="397" y="71"/>
                      </a:lnTo>
                      <a:lnTo>
                        <a:pt x="398" y="71"/>
                      </a:lnTo>
                      <a:lnTo>
                        <a:pt x="400" y="71"/>
                      </a:lnTo>
                      <a:lnTo>
                        <a:pt x="402" y="71"/>
                      </a:lnTo>
                      <a:lnTo>
                        <a:pt x="402" y="72"/>
                      </a:lnTo>
                      <a:lnTo>
                        <a:pt x="404" y="72"/>
                      </a:lnTo>
                      <a:lnTo>
                        <a:pt x="405" y="72"/>
                      </a:lnTo>
                      <a:lnTo>
                        <a:pt x="407" y="74"/>
                      </a:lnTo>
                      <a:lnTo>
                        <a:pt x="409" y="74"/>
                      </a:lnTo>
                      <a:lnTo>
                        <a:pt x="410" y="74"/>
                      </a:lnTo>
                      <a:lnTo>
                        <a:pt x="412" y="74"/>
                      </a:lnTo>
                      <a:lnTo>
                        <a:pt x="412" y="75"/>
                      </a:lnTo>
                      <a:lnTo>
                        <a:pt x="414" y="75"/>
                      </a:lnTo>
                      <a:lnTo>
                        <a:pt x="415" y="75"/>
                      </a:lnTo>
                      <a:lnTo>
                        <a:pt x="417" y="77"/>
                      </a:lnTo>
                      <a:lnTo>
                        <a:pt x="417" y="79"/>
                      </a:lnTo>
                      <a:lnTo>
                        <a:pt x="419" y="79"/>
                      </a:lnTo>
                      <a:lnTo>
                        <a:pt x="420" y="77"/>
                      </a:lnTo>
                      <a:lnTo>
                        <a:pt x="420" y="79"/>
                      </a:lnTo>
                      <a:lnTo>
                        <a:pt x="422" y="79"/>
                      </a:lnTo>
                      <a:lnTo>
                        <a:pt x="422" y="77"/>
                      </a:lnTo>
                      <a:lnTo>
                        <a:pt x="424" y="77"/>
                      </a:lnTo>
                      <a:lnTo>
                        <a:pt x="425" y="77"/>
                      </a:lnTo>
                      <a:lnTo>
                        <a:pt x="425" y="75"/>
                      </a:lnTo>
                      <a:lnTo>
                        <a:pt x="427" y="75"/>
                      </a:lnTo>
                      <a:lnTo>
                        <a:pt x="429" y="75"/>
                      </a:lnTo>
                      <a:lnTo>
                        <a:pt x="431" y="75"/>
                      </a:lnTo>
                      <a:lnTo>
                        <a:pt x="431" y="74"/>
                      </a:lnTo>
                      <a:lnTo>
                        <a:pt x="431" y="72"/>
                      </a:lnTo>
                      <a:lnTo>
                        <a:pt x="429" y="72"/>
                      </a:lnTo>
                      <a:lnTo>
                        <a:pt x="429" y="71"/>
                      </a:lnTo>
                      <a:lnTo>
                        <a:pt x="429" y="69"/>
                      </a:lnTo>
                      <a:lnTo>
                        <a:pt x="429" y="67"/>
                      </a:lnTo>
                      <a:lnTo>
                        <a:pt x="427" y="67"/>
                      </a:lnTo>
                      <a:lnTo>
                        <a:pt x="427" y="66"/>
                      </a:lnTo>
                      <a:lnTo>
                        <a:pt x="427" y="64"/>
                      </a:lnTo>
                      <a:lnTo>
                        <a:pt x="427" y="62"/>
                      </a:lnTo>
                      <a:lnTo>
                        <a:pt x="427" y="61"/>
                      </a:lnTo>
                      <a:lnTo>
                        <a:pt x="427" y="59"/>
                      </a:lnTo>
                      <a:lnTo>
                        <a:pt x="429" y="59"/>
                      </a:lnTo>
                      <a:lnTo>
                        <a:pt x="429" y="57"/>
                      </a:lnTo>
                      <a:lnTo>
                        <a:pt x="429" y="56"/>
                      </a:lnTo>
                      <a:lnTo>
                        <a:pt x="429" y="54"/>
                      </a:lnTo>
                      <a:lnTo>
                        <a:pt x="427" y="54"/>
                      </a:lnTo>
                      <a:lnTo>
                        <a:pt x="425" y="54"/>
                      </a:lnTo>
                      <a:lnTo>
                        <a:pt x="425" y="53"/>
                      </a:lnTo>
                      <a:lnTo>
                        <a:pt x="425" y="51"/>
                      </a:lnTo>
                      <a:lnTo>
                        <a:pt x="427" y="49"/>
                      </a:lnTo>
                      <a:lnTo>
                        <a:pt x="427" y="48"/>
                      </a:lnTo>
                      <a:lnTo>
                        <a:pt x="429" y="46"/>
                      </a:lnTo>
                      <a:lnTo>
                        <a:pt x="431" y="46"/>
                      </a:lnTo>
                      <a:lnTo>
                        <a:pt x="431" y="44"/>
                      </a:lnTo>
                      <a:lnTo>
                        <a:pt x="431" y="43"/>
                      </a:lnTo>
                      <a:lnTo>
                        <a:pt x="432" y="43"/>
                      </a:lnTo>
                      <a:lnTo>
                        <a:pt x="434" y="43"/>
                      </a:lnTo>
                      <a:lnTo>
                        <a:pt x="434" y="44"/>
                      </a:lnTo>
                      <a:lnTo>
                        <a:pt x="434" y="46"/>
                      </a:lnTo>
                      <a:lnTo>
                        <a:pt x="436" y="46"/>
                      </a:lnTo>
                      <a:lnTo>
                        <a:pt x="437" y="46"/>
                      </a:lnTo>
                      <a:lnTo>
                        <a:pt x="437" y="48"/>
                      </a:lnTo>
                      <a:lnTo>
                        <a:pt x="439" y="48"/>
                      </a:lnTo>
                      <a:lnTo>
                        <a:pt x="441" y="48"/>
                      </a:lnTo>
                      <a:lnTo>
                        <a:pt x="441" y="49"/>
                      </a:lnTo>
                      <a:lnTo>
                        <a:pt x="442" y="49"/>
                      </a:lnTo>
                      <a:lnTo>
                        <a:pt x="442" y="51"/>
                      </a:lnTo>
                      <a:lnTo>
                        <a:pt x="444" y="51"/>
                      </a:lnTo>
                      <a:lnTo>
                        <a:pt x="446" y="51"/>
                      </a:lnTo>
                      <a:lnTo>
                        <a:pt x="447" y="53"/>
                      </a:lnTo>
                      <a:lnTo>
                        <a:pt x="447" y="54"/>
                      </a:lnTo>
                      <a:lnTo>
                        <a:pt x="447" y="56"/>
                      </a:lnTo>
                      <a:lnTo>
                        <a:pt x="449" y="57"/>
                      </a:lnTo>
                      <a:lnTo>
                        <a:pt x="451" y="57"/>
                      </a:lnTo>
                      <a:lnTo>
                        <a:pt x="449" y="57"/>
                      </a:lnTo>
                      <a:lnTo>
                        <a:pt x="449" y="59"/>
                      </a:lnTo>
                      <a:lnTo>
                        <a:pt x="447" y="61"/>
                      </a:lnTo>
                      <a:lnTo>
                        <a:pt x="449" y="61"/>
                      </a:lnTo>
                      <a:lnTo>
                        <a:pt x="449" y="62"/>
                      </a:lnTo>
                      <a:lnTo>
                        <a:pt x="451" y="62"/>
                      </a:lnTo>
                      <a:lnTo>
                        <a:pt x="451" y="64"/>
                      </a:lnTo>
                      <a:lnTo>
                        <a:pt x="453" y="64"/>
                      </a:lnTo>
                      <a:lnTo>
                        <a:pt x="454" y="64"/>
                      </a:lnTo>
                      <a:lnTo>
                        <a:pt x="454" y="62"/>
                      </a:lnTo>
                      <a:lnTo>
                        <a:pt x="456" y="62"/>
                      </a:lnTo>
                      <a:lnTo>
                        <a:pt x="458" y="64"/>
                      </a:lnTo>
                      <a:lnTo>
                        <a:pt x="458" y="66"/>
                      </a:lnTo>
                      <a:lnTo>
                        <a:pt x="459" y="64"/>
                      </a:lnTo>
                      <a:lnTo>
                        <a:pt x="461" y="66"/>
                      </a:lnTo>
                      <a:lnTo>
                        <a:pt x="463" y="66"/>
                      </a:lnTo>
                      <a:lnTo>
                        <a:pt x="463" y="64"/>
                      </a:lnTo>
                      <a:lnTo>
                        <a:pt x="463" y="62"/>
                      </a:lnTo>
                      <a:lnTo>
                        <a:pt x="463" y="61"/>
                      </a:lnTo>
                      <a:lnTo>
                        <a:pt x="463" y="62"/>
                      </a:lnTo>
                      <a:lnTo>
                        <a:pt x="464" y="62"/>
                      </a:lnTo>
                      <a:lnTo>
                        <a:pt x="464" y="64"/>
                      </a:lnTo>
                      <a:lnTo>
                        <a:pt x="466" y="64"/>
                      </a:lnTo>
                      <a:lnTo>
                        <a:pt x="466" y="62"/>
                      </a:lnTo>
                      <a:lnTo>
                        <a:pt x="468" y="62"/>
                      </a:lnTo>
                      <a:lnTo>
                        <a:pt x="468" y="64"/>
                      </a:lnTo>
                      <a:lnTo>
                        <a:pt x="469" y="64"/>
                      </a:lnTo>
                      <a:lnTo>
                        <a:pt x="471" y="64"/>
                      </a:lnTo>
                      <a:lnTo>
                        <a:pt x="471" y="62"/>
                      </a:lnTo>
                      <a:lnTo>
                        <a:pt x="471" y="61"/>
                      </a:lnTo>
                      <a:lnTo>
                        <a:pt x="473" y="62"/>
                      </a:lnTo>
                      <a:lnTo>
                        <a:pt x="473" y="61"/>
                      </a:lnTo>
                      <a:lnTo>
                        <a:pt x="473" y="59"/>
                      </a:lnTo>
                      <a:lnTo>
                        <a:pt x="474" y="59"/>
                      </a:lnTo>
                      <a:lnTo>
                        <a:pt x="474" y="57"/>
                      </a:lnTo>
                      <a:lnTo>
                        <a:pt x="474" y="59"/>
                      </a:lnTo>
                      <a:lnTo>
                        <a:pt x="476" y="59"/>
                      </a:lnTo>
                      <a:lnTo>
                        <a:pt x="478" y="61"/>
                      </a:lnTo>
                      <a:lnTo>
                        <a:pt x="478" y="62"/>
                      </a:lnTo>
                      <a:lnTo>
                        <a:pt x="478" y="64"/>
                      </a:lnTo>
                      <a:lnTo>
                        <a:pt x="480" y="64"/>
                      </a:lnTo>
                      <a:lnTo>
                        <a:pt x="481" y="66"/>
                      </a:lnTo>
                      <a:lnTo>
                        <a:pt x="481" y="67"/>
                      </a:lnTo>
                      <a:lnTo>
                        <a:pt x="481" y="69"/>
                      </a:lnTo>
                      <a:lnTo>
                        <a:pt x="481" y="71"/>
                      </a:lnTo>
                      <a:lnTo>
                        <a:pt x="481" y="72"/>
                      </a:lnTo>
                      <a:lnTo>
                        <a:pt x="481" y="74"/>
                      </a:lnTo>
                      <a:lnTo>
                        <a:pt x="480" y="74"/>
                      </a:lnTo>
                      <a:lnTo>
                        <a:pt x="480" y="75"/>
                      </a:lnTo>
                      <a:lnTo>
                        <a:pt x="478" y="77"/>
                      </a:lnTo>
                      <a:lnTo>
                        <a:pt x="476" y="77"/>
                      </a:lnTo>
                      <a:lnTo>
                        <a:pt x="476" y="79"/>
                      </a:lnTo>
                      <a:lnTo>
                        <a:pt x="476" y="80"/>
                      </a:lnTo>
                      <a:lnTo>
                        <a:pt x="474" y="80"/>
                      </a:lnTo>
                      <a:lnTo>
                        <a:pt x="474" y="82"/>
                      </a:lnTo>
                      <a:lnTo>
                        <a:pt x="474" y="84"/>
                      </a:lnTo>
                      <a:lnTo>
                        <a:pt x="474" y="85"/>
                      </a:lnTo>
                      <a:lnTo>
                        <a:pt x="473" y="85"/>
                      </a:lnTo>
                      <a:lnTo>
                        <a:pt x="473" y="87"/>
                      </a:lnTo>
                      <a:lnTo>
                        <a:pt x="471" y="87"/>
                      </a:lnTo>
                      <a:lnTo>
                        <a:pt x="469" y="87"/>
                      </a:lnTo>
                      <a:lnTo>
                        <a:pt x="469" y="89"/>
                      </a:lnTo>
                      <a:lnTo>
                        <a:pt x="468" y="87"/>
                      </a:lnTo>
                      <a:lnTo>
                        <a:pt x="468" y="89"/>
                      </a:lnTo>
                      <a:lnTo>
                        <a:pt x="469" y="90"/>
                      </a:lnTo>
                      <a:lnTo>
                        <a:pt x="469" y="92"/>
                      </a:lnTo>
                      <a:lnTo>
                        <a:pt x="469" y="94"/>
                      </a:lnTo>
                      <a:lnTo>
                        <a:pt x="471" y="92"/>
                      </a:lnTo>
                      <a:lnTo>
                        <a:pt x="471" y="94"/>
                      </a:lnTo>
                      <a:lnTo>
                        <a:pt x="471" y="95"/>
                      </a:lnTo>
                      <a:lnTo>
                        <a:pt x="473" y="94"/>
                      </a:lnTo>
                      <a:lnTo>
                        <a:pt x="474" y="94"/>
                      </a:lnTo>
                      <a:lnTo>
                        <a:pt x="473" y="92"/>
                      </a:lnTo>
                      <a:lnTo>
                        <a:pt x="474" y="92"/>
                      </a:lnTo>
                      <a:lnTo>
                        <a:pt x="474" y="90"/>
                      </a:lnTo>
                      <a:lnTo>
                        <a:pt x="476" y="90"/>
                      </a:lnTo>
                      <a:lnTo>
                        <a:pt x="476" y="89"/>
                      </a:lnTo>
                      <a:lnTo>
                        <a:pt x="478" y="89"/>
                      </a:lnTo>
                      <a:lnTo>
                        <a:pt x="480" y="89"/>
                      </a:lnTo>
                      <a:lnTo>
                        <a:pt x="480" y="87"/>
                      </a:lnTo>
                      <a:lnTo>
                        <a:pt x="481" y="87"/>
                      </a:lnTo>
                      <a:lnTo>
                        <a:pt x="481" y="85"/>
                      </a:lnTo>
                      <a:lnTo>
                        <a:pt x="481" y="84"/>
                      </a:lnTo>
                      <a:lnTo>
                        <a:pt x="483" y="84"/>
                      </a:lnTo>
                      <a:lnTo>
                        <a:pt x="483" y="82"/>
                      </a:lnTo>
                      <a:lnTo>
                        <a:pt x="485" y="82"/>
                      </a:lnTo>
                      <a:lnTo>
                        <a:pt x="486" y="82"/>
                      </a:lnTo>
                      <a:lnTo>
                        <a:pt x="488" y="84"/>
                      </a:lnTo>
                      <a:lnTo>
                        <a:pt x="490" y="84"/>
                      </a:lnTo>
                      <a:lnTo>
                        <a:pt x="491" y="85"/>
                      </a:lnTo>
                      <a:lnTo>
                        <a:pt x="491" y="84"/>
                      </a:lnTo>
                      <a:lnTo>
                        <a:pt x="493" y="84"/>
                      </a:lnTo>
                      <a:lnTo>
                        <a:pt x="493" y="82"/>
                      </a:lnTo>
                      <a:lnTo>
                        <a:pt x="495" y="82"/>
                      </a:lnTo>
                      <a:lnTo>
                        <a:pt x="495" y="80"/>
                      </a:lnTo>
                      <a:lnTo>
                        <a:pt x="496" y="80"/>
                      </a:lnTo>
                      <a:lnTo>
                        <a:pt x="498" y="80"/>
                      </a:lnTo>
                      <a:lnTo>
                        <a:pt x="500" y="80"/>
                      </a:lnTo>
                      <a:lnTo>
                        <a:pt x="502" y="80"/>
                      </a:lnTo>
                      <a:lnTo>
                        <a:pt x="502" y="82"/>
                      </a:lnTo>
                      <a:lnTo>
                        <a:pt x="502" y="80"/>
                      </a:lnTo>
                      <a:lnTo>
                        <a:pt x="503" y="80"/>
                      </a:lnTo>
                      <a:lnTo>
                        <a:pt x="505" y="80"/>
                      </a:lnTo>
                      <a:lnTo>
                        <a:pt x="505" y="79"/>
                      </a:lnTo>
                      <a:lnTo>
                        <a:pt x="507" y="79"/>
                      </a:lnTo>
                      <a:lnTo>
                        <a:pt x="508" y="79"/>
                      </a:lnTo>
                      <a:lnTo>
                        <a:pt x="507" y="79"/>
                      </a:lnTo>
                      <a:lnTo>
                        <a:pt x="508" y="77"/>
                      </a:lnTo>
                      <a:lnTo>
                        <a:pt x="508" y="79"/>
                      </a:lnTo>
                      <a:lnTo>
                        <a:pt x="508" y="77"/>
                      </a:lnTo>
                      <a:lnTo>
                        <a:pt x="510" y="77"/>
                      </a:lnTo>
                      <a:lnTo>
                        <a:pt x="510" y="75"/>
                      </a:lnTo>
                      <a:lnTo>
                        <a:pt x="512" y="75"/>
                      </a:lnTo>
                      <a:lnTo>
                        <a:pt x="512" y="74"/>
                      </a:lnTo>
                      <a:lnTo>
                        <a:pt x="510" y="74"/>
                      </a:lnTo>
                      <a:lnTo>
                        <a:pt x="512" y="74"/>
                      </a:lnTo>
                      <a:lnTo>
                        <a:pt x="512" y="72"/>
                      </a:lnTo>
                      <a:lnTo>
                        <a:pt x="512" y="74"/>
                      </a:lnTo>
                      <a:lnTo>
                        <a:pt x="512" y="72"/>
                      </a:lnTo>
                      <a:lnTo>
                        <a:pt x="513" y="72"/>
                      </a:lnTo>
                      <a:lnTo>
                        <a:pt x="515" y="72"/>
                      </a:lnTo>
                      <a:lnTo>
                        <a:pt x="515" y="71"/>
                      </a:lnTo>
                      <a:lnTo>
                        <a:pt x="515" y="69"/>
                      </a:lnTo>
                      <a:lnTo>
                        <a:pt x="515" y="71"/>
                      </a:lnTo>
                      <a:lnTo>
                        <a:pt x="515" y="69"/>
                      </a:lnTo>
                      <a:lnTo>
                        <a:pt x="517" y="69"/>
                      </a:lnTo>
                      <a:lnTo>
                        <a:pt x="517" y="71"/>
                      </a:lnTo>
                      <a:lnTo>
                        <a:pt x="517" y="69"/>
                      </a:lnTo>
                      <a:lnTo>
                        <a:pt x="517" y="67"/>
                      </a:lnTo>
                      <a:lnTo>
                        <a:pt x="518" y="67"/>
                      </a:lnTo>
                      <a:lnTo>
                        <a:pt x="520" y="66"/>
                      </a:lnTo>
                      <a:lnTo>
                        <a:pt x="520" y="64"/>
                      </a:lnTo>
                      <a:lnTo>
                        <a:pt x="522" y="66"/>
                      </a:lnTo>
                      <a:lnTo>
                        <a:pt x="522" y="64"/>
                      </a:lnTo>
                      <a:lnTo>
                        <a:pt x="523" y="64"/>
                      </a:lnTo>
                      <a:lnTo>
                        <a:pt x="523" y="66"/>
                      </a:lnTo>
                      <a:lnTo>
                        <a:pt x="525" y="66"/>
                      </a:lnTo>
                      <a:lnTo>
                        <a:pt x="527" y="66"/>
                      </a:lnTo>
                      <a:lnTo>
                        <a:pt x="529" y="66"/>
                      </a:lnTo>
                      <a:lnTo>
                        <a:pt x="530" y="66"/>
                      </a:lnTo>
                      <a:lnTo>
                        <a:pt x="530" y="64"/>
                      </a:lnTo>
                      <a:lnTo>
                        <a:pt x="532" y="64"/>
                      </a:lnTo>
                      <a:lnTo>
                        <a:pt x="532" y="62"/>
                      </a:lnTo>
                      <a:lnTo>
                        <a:pt x="534" y="62"/>
                      </a:lnTo>
                      <a:lnTo>
                        <a:pt x="534" y="64"/>
                      </a:lnTo>
                      <a:lnTo>
                        <a:pt x="534" y="62"/>
                      </a:lnTo>
                      <a:lnTo>
                        <a:pt x="535" y="62"/>
                      </a:lnTo>
                      <a:lnTo>
                        <a:pt x="537" y="61"/>
                      </a:lnTo>
                      <a:lnTo>
                        <a:pt x="539" y="61"/>
                      </a:lnTo>
                      <a:lnTo>
                        <a:pt x="539" y="59"/>
                      </a:lnTo>
                      <a:lnTo>
                        <a:pt x="539" y="57"/>
                      </a:lnTo>
                      <a:lnTo>
                        <a:pt x="539" y="59"/>
                      </a:lnTo>
                      <a:lnTo>
                        <a:pt x="540" y="59"/>
                      </a:lnTo>
                      <a:lnTo>
                        <a:pt x="540" y="57"/>
                      </a:lnTo>
                      <a:lnTo>
                        <a:pt x="542" y="57"/>
                      </a:lnTo>
                      <a:lnTo>
                        <a:pt x="542" y="56"/>
                      </a:lnTo>
                      <a:lnTo>
                        <a:pt x="544" y="56"/>
                      </a:lnTo>
                      <a:lnTo>
                        <a:pt x="544" y="54"/>
                      </a:lnTo>
                      <a:lnTo>
                        <a:pt x="544" y="56"/>
                      </a:lnTo>
                      <a:lnTo>
                        <a:pt x="544" y="54"/>
                      </a:lnTo>
                      <a:lnTo>
                        <a:pt x="545" y="54"/>
                      </a:lnTo>
                      <a:lnTo>
                        <a:pt x="547" y="54"/>
                      </a:lnTo>
                      <a:lnTo>
                        <a:pt x="545" y="54"/>
                      </a:lnTo>
                      <a:lnTo>
                        <a:pt x="545" y="53"/>
                      </a:lnTo>
                      <a:lnTo>
                        <a:pt x="547" y="53"/>
                      </a:lnTo>
                      <a:lnTo>
                        <a:pt x="547" y="51"/>
                      </a:lnTo>
                      <a:lnTo>
                        <a:pt x="549" y="53"/>
                      </a:lnTo>
                      <a:lnTo>
                        <a:pt x="549" y="51"/>
                      </a:lnTo>
                      <a:lnTo>
                        <a:pt x="550" y="51"/>
                      </a:lnTo>
                      <a:lnTo>
                        <a:pt x="550" y="49"/>
                      </a:lnTo>
                      <a:lnTo>
                        <a:pt x="552" y="49"/>
                      </a:lnTo>
                      <a:lnTo>
                        <a:pt x="552" y="48"/>
                      </a:lnTo>
                      <a:lnTo>
                        <a:pt x="554" y="48"/>
                      </a:lnTo>
                      <a:lnTo>
                        <a:pt x="554" y="46"/>
                      </a:lnTo>
                      <a:lnTo>
                        <a:pt x="554" y="48"/>
                      </a:lnTo>
                      <a:lnTo>
                        <a:pt x="554" y="46"/>
                      </a:lnTo>
                      <a:lnTo>
                        <a:pt x="556" y="48"/>
                      </a:lnTo>
                      <a:lnTo>
                        <a:pt x="556" y="46"/>
                      </a:lnTo>
                      <a:lnTo>
                        <a:pt x="557" y="46"/>
                      </a:lnTo>
                      <a:lnTo>
                        <a:pt x="559" y="46"/>
                      </a:lnTo>
                      <a:lnTo>
                        <a:pt x="561" y="46"/>
                      </a:lnTo>
                      <a:lnTo>
                        <a:pt x="561" y="48"/>
                      </a:lnTo>
                      <a:lnTo>
                        <a:pt x="561" y="46"/>
                      </a:lnTo>
                      <a:lnTo>
                        <a:pt x="561" y="48"/>
                      </a:lnTo>
                      <a:lnTo>
                        <a:pt x="562" y="48"/>
                      </a:lnTo>
                      <a:lnTo>
                        <a:pt x="564" y="48"/>
                      </a:lnTo>
                      <a:lnTo>
                        <a:pt x="566" y="48"/>
                      </a:lnTo>
                      <a:lnTo>
                        <a:pt x="566" y="46"/>
                      </a:lnTo>
                      <a:lnTo>
                        <a:pt x="567" y="46"/>
                      </a:lnTo>
                      <a:lnTo>
                        <a:pt x="567" y="44"/>
                      </a:lnTo>
                      <a:lnTo>
                        <a:pt x="567" y="43"/>
                      </a:lnTo>
                      <a:lnTo>
                        <a:pt x="569" y="43"/>
                      </a:lnTo>
                      <a:lnTo>
                        <a:pt x="569" y="41"/>
                      </a:lnTo>
                      <a:lnTo>
                        <a:pt x="569" y="43"/>
                      </a:lnTo>
                      <a:lnTo>
                        <a:pt x="569" y="41"/>
                      </a:lnTo>
                      <a:lnTo>
                        <a:pt x="571" y="41"/>
                      </a:lnTo>
                      <a:lnTo>
                        <a:pt x="572" y="39"/>
                      </a:lnTo>
                      <a:lnTo>
                        <a:pt x="574" y="39"/>
                      </a:lnTo>
                      <a:lnTo>
                        <a:pt x="576" y="38"/>
                      </a:lnTo>
                      <a:lnTo>
                        <a:pt x="574" y="38"/>
                      </a:lnTo>
                      <a:lnTo>
                        <a:pt x="576" y="38"/>
                      </a:lnTo>
                      <a:lnTo>
                        <a:pt x="576" y="36"/>
                      </a:lnTo>
                      <a:lnTo>
                        <a:pt x="578" y="36"/>
                      </a:lnTo>
                      <a:lnTo>
                        <a:pt x="579" y="36"/>
                      </a:lnTo>
                      <a:lnTo>
                        <a:pt x="581" y="34"/>
                      </a:lnTo>
                      <a:lnTo>
                        <a:pt x="583" y="34"/>
                      </a:lnTo>
                      <a:lnTo>
                        <a:pt x="583" y="33"/>
                      </a:lnTo>
                      <a:lnTo>
                        <a:pt x="583" y="34"/>
                      </a:lnTo>
                      <a:lnTo>
                        <a:pt x="584" y="33"/>
                      </a:lnTo>
                      <a:lnTo>
                        <a:pt x="586" y="33"/>
                      </a:lnTo>
                      <a:lnTo>
                        <a:pt x="584" y="33"/>
                      </a:lnTo>
                      <a:lnTo>
                        <a:pt x="586" y="33"/>
                      </a:lnTo>
                      <a:lnTo>
                        <a:pt x="586" y="31"/>
                      </a:lnTo>
                      <a:lnTo>
                        <a:pt x="588" y="31"/>
                      </a:lnTo>
                      <a:lnTo>
                        <a:pt x="588" y="30"/>
                      </a:lnTo>
                      <a:lnTo>
                        <a:pt x="588" y="31"/>
                      </a:lnTo>
                      <a:lnTo>
                        <a:pt x="586" y="31"/>
                      </a:lnTo>
                      <a:lnTo>
                        <a:pt x="588" y="30"/>
                      </a:lnTo>
                      <a:lnTo>
                        <a:pt x="588" y="28"/>
                      </a:lnTo>
                      <a:lnTo>
                        <a:pt x="589" y="28"/>
                      </a:lnTo>
                      <a:lnTo>
                        <a:pt x="589" y="26"/>
                      </a:lnTo>
                      <a:lnTo>
                        <a:pt x="589" y="28"/>
                      </a:lnTo>
                      <a:lnTo>
                        <a:pt x="589" y="26"/>
                      </a:lnTo>
                      <a:lnTo>
                        <a:pt x="589" y="25"/>
                      </a:lnTo>
                      <a:lnTo>
                        <a:pt x="591" y="25"/>
                      </a:lnTo>
                      <a:lnTo>
                        <a:pt x="591" y="23"/>
                      </a:lnTo>
                      <a:lnTo>
                        <a:pt x="593" y="23"/>
                      </a:lnTo>
                      <a:lnTo>
                        <a:pt x="594" y="23"/>
                      </a:lnTo>
                      <a:lnTo>
                        <a:pt x="594" y="21"/>
                      </a:lnTo>
                      <a:lnTo>
                        <a:pt x="596" y="21"/>
                      </a:lnTo>
                      <a:lnTo>
                        <a:pt x="598" y="21"/>
                      </a:lnTo>
                      <a:lnTo>
                        <a:pt x="598" y="20"/>
                      </a:lnTo>
                      <a:lnTo>
                        <a:pt x="599" y="20"/>
                      </a:lnTo>
                      <a:lnTo>
                        <a:pt x="601" y="18"/>
                      </a:lnTo>
                      <a:lnTo>
                        <a:pt x="601" y="20"/>
                      </a:lnTo>
                      <a:lnTo>
                        <a:pt x="601" y="18"/>
                      </a:lnTo>
                      <a:lnTo>
                        <a:pt x="603" y="18"/>
                      </a:lnTo>
                      <a:lnTo>
                        <a:pt x="603" y="16"/>
                      </a:lnTo>
                      <a:lnTo>
                        <a:pt x="605" y="16"/>
                      </a:lnTo>
                      <a:lnTo>
                        <a:pt x="606" y="16"/>
                      </a:lnTo>
                      <a:lnTo>
                        <a:pt x="605" y="15"/>
                      </a:lnTo>
                      <a:lnTo>
                        <a:pt x="606" y="15"/>
                      </a:lnTo>
                      <a:lnTo>
                        <a:pt x="608" y="15"/>
                      </a:lnTo>
                      <a:lnTo>
                        <a:pt x="608" y="13"/>
                      </a:lnTo>
                      <a:lnTo>
                        <a:pt x="608" y="15"/>
                      </a:lnTo>
                      <a:lnTo>
                        <a:pt x="608" y="13"/>
                      </a:lnTo>
                      <a:lnTo>
                        <a:pt x="610" y="13"/>
                      </a:lnTo>
                      <a:lnTo>
                        <a:pt x="608" y="13"/>
                      </a:lnTo>
                      <a:lnTo>
                        <a:pt x="610" y="13"/>
                      </a:lnTo>
                      <a:lnTo>
                        <a:pt x="610" y="11"/>
                      </a:lnTo>
                      <a:lnTo>
                        <a:pt x="611" y="11"/>
                      </a:lnTo>
                      <a:lnTo>
                        <a:pt x="613" y="11"/>
                      </a:lnTo>
                      <a:lnTo>
                        <a:pt x="613" y="10"/>
                      </a:lnTo>
                      <a:lnTo>
                        <a:pt x="615" y="10"/>
                      </a:lnTo>
                      <a:lnTo>
                        <a:pt x="615" y="8"/>
                      </a:lnTo>
                      <a:lnTo>
                        <a:pt x="616" y="10"/>
                      </a:lnTo>
                      <a:lnTo>
                        <a:pt x="616" y="8"/>
                      </a:lnTo>
                      <a:lnTo>
                        <a:pt x="618" y="8"/>
                      </a:lnTo>
                      <a:lnTo>
                        <a:pt x="620" y="8"/>
                      </a:lnTo>
                      <a:lnTo>
                        <a:pt x="621" y="8"/>
                      </a:lnTo>
                      <a:lnTo>
                        <a:pt x="623" y="8"/>
                      </a:lnTo>
                      <a:lnTo>
                        <a:pt x="623" y="7"/>
                      </a:lnTo>
                      <a:lnTo>
                        <a:pt x="625" y="7"/>
                      </a:lnTo>
                      <a:lnTo>
                        <a:pt x="626" y="7"/>
                      </a:lnTo>
                      <a:lnTo>
                        <a:pt x="628" y="5"/>
                      </a:lnTo>
                      <a:lnTo>
                        <a:pt x="630" y="3"/>
                      </a:lnTo>
                      <a:lnTo>
                        <a:pt x="632" y="3"/>
                      </a:lnTo>
                      <a:lnTo>
                        <a:pt x="633" y="3"/>
                      </a:lnTo>
                      <a:lnTo>
                        <a:pt x="632" y="3"/>
                      </a:lnTo>
                      <a:lnTo>
                        <a:pt x="633" y="3"/>
                      </a:lnTo>
                      <a:lnTo>
                        <a:pt x="635" y="3"/>
                      </a:lnTo>
                      <a:lnTo>
                        <a:pt x="635" y="2"/>
                      </a:lnTo>
                      <a:lnTo>
                        <a:pt x="637" y="2"/>
                      </a:lnTo>
                      <a:lnTo>
                        <a:pt x="638" y="0"/>
                      </a:lnTo>
                      <a:lnTo>
                        <a:pt x="640" y="2"/>
                      </a:lnTo>
                      <a:lnTo>
                        <a:pt x="642" y="2"/>
                      </a:lnTo>
                      <a:lnTo>
                        <a:pt x="642" y="0"/>
                      </a:lnTo>
                      <a:lnTo>
                        <a:pt x="642" y="2"/>
                      </a:lnTo>
                      <a:lnTo>
                        <a:pt x="642" y="0"/>
                      </a:lnTo>
                      <a:lnTo>
                        <a:pt x="643" y="0"/>
                      </a:lnTo>
                      <a:lnTo>
                        <a:pt x="643" y="2"/>
                      </a:lnTo>
                      <a:lnTo>
                        <a:pt x="645" y="2"/>
                      </a:lnTo>
                      <a:lnTo>
                        <a:pt x="645" y="0"/>
                      </a:lnTo>
                      <a:lnTo>
                        <a:pt x="647" y="0"/>
                      </a:lnTo>
                      <a:lnTo>
                        <a:pt x="648" y="0"/>
                      </a:lnTo>
                      <a:lnTo>
                        <a:pt x="647" y="0"/>
                      </a:lnTo>
                      <a:lnTo>
                        <a:pt x="648" y="0"/>
                      </a:lnTo>
                      <a:lnTo>
                        <a:pt x="648" y="2"/>
                      </a:lnTo>
                      <a:lnTo>
                        <a:pt x="650" y="2"/>
                      </a:lnTo>
                      <a:lnTo>
                        <a:pt x="652" y="2"/>
                      </a:lnTo>
                      <a:lnTo>
                        <a:pt x="652" y="3"/>
                      </a:lnTo>
                      <a:lnTo>
                        <a:pt x="654" y="3"/>
                      </a:lnTo>
                      <a:lnTo>
                        <a:pt x="654" y="2"/>
                      </a:lnTo>
                      <a:lnTo>
                        <a:pt x="655" y="2"/>
                      </a:lnTo>
                      <a:lnTo>
                        <a:pt x="655" y="3"/>
                      </a:lnTo>
                      <a:lnTo>
                        <a:pt x="657" y="3"/>
                      </a:lnTo>
                      <a:lnTo>
                        <a:pt x="657" y="2"/>
                      </a:lnTo>
                      <a:lnTo>
                        <a:pt x="659" y="2"/>
                      </a:lnTo>
                      <a:lnTo>
                        <a:pt x="659" y="3"/>
                      </a:lnTo>
                      <a:lnTo>
                        <a:pt x="660" y="3"/>
                      </a:lnTo>
                      <a:lnTo>
                        <a:pt x="662" y="3"/>
                      </a:lnTo>
                      <a:lnTo>
                        <a:pt x="660" y="3"/>
                      </a:lnTo>
                      <a:lnTo>
                        <a:pt x="662" y="3"/>
                      </a:lnTo>
                      <a:lnTo>
                        <a:pt x="660" y="3"/>
                      </a:lnTo>
                      <a:lnTo>
                        <a:pt x="662" y="5"/>
                      </a:lnTo>
                      <a:lnTo>
                        <a:pt x="662" y="3"/>
                      </a:lnTo>
                      <a:lnTo>
                        <a:pt x="664" y="3"/>
                      </a:lnTo>
                      <a:lnTo>
                        <a:pt x="662" y="3"/>
                      </a:lnTo>
                      <a:lnTo>
                        <a:pt x="662" y="5"/>
                      </a:lnTo>
                      <a:lnTo>
                        <a:pt x="664" y="5"/>
                      </a:lnTo>
                      <a:lnTo>
                        <a:pt x="664" y="3"/>
                      </a:lnTo>
                      <a:lnTo>
                        <a:pt x="664" y="5"/>
                      </a:lnTo>
                      <a:lnTo>
                        <a:pt x="664" y="3"/>
                      </a:lnTo>
                      <a:lnTo>
                        <a:pt x="665" y="3"/>
                      </a:lnTo>
                      <a:lnTo>
                        <a:pt x="665" y="5"/>
                      </a:lnTo>
                      <a:lnTo>
                        <a:pt x="665" y="3"/>
                      </a:lnTo>
                      <a:lnTo>
                        <a:pt x="667" y="3"/>
                      </a:lnTo>
                      <a:lnTo>
                        <a:pt x="669" y="2"/>
                      </a:lnTo>
                      <a:lnTo>
                        <a:pt x="669" y="3"/>
                      </a:lnTo>
                      <a:lnTo>
                        <a:pt x="670" y="3"/>
                      </a:lnTo>
                      <a:lnTo>
                        <a:pt x="672" y="3"/>
                      </a:lnTo>
                      <a:lnTo>
                        <a:pt x="672" y="5"/>
                      </a:lnTo>
                      <a:lnTo>
                        <a:pt x="674" y="5"/>
                      </a:lnTo>
                      <a:lnTo>
                        <a:pt x="674" y="7"/>
                      </a:lnTo>
                      <a:lnTo>
                        <a:pt x="674" y="5"/>
                      </a:lnTo>
                      <a:lnTo>
                        <a:pt x="675" y="7"/>
                      </a:lnTo>
                      <a:lnTo>
                        <a:pt x="675" y="5"/>
                      </a:lnTo>
                      <a:lnTo>
                        <a:pt x="675" y="7"/>
                      </a:lnTo>
                      <a:lnTo>
                        <a:pt x="677" y="7"/>
                      </a:lnTo>
                      <a:lnTo>
                        <a:pt x="677" y="5"/>
                      </a:lnTo>
                      <a:lnTo>
                        <a:pt x="679" y="5"/>
                      </a:lnTo>
                      <a:lnTo>
                        <a:pt x="679" y="7"/>
                      </a:lnTo>
                      <a:lnTo>
                        <a:pt x="681" y="7"/>
                      </a:lnTo>
                      <a:lnTo>
                        <a:pt x="682" y="7"/>
                      </a:lnTo>
                      <a:lnTo>
                        <a:pt x="682" y="8"/>
                      </a:lnTo>
                      <a:lnTo>
                        <a:pt x="682" y="7"/>
                      </a:lnTo>
                      <a:lnTo>
                        <a:pt x="684" y="7"/>
                      </a:lnTo>
                      <a:lnTo>
                        <a:pt x="686" y="7"/>
                      </a:lnTo>
                      <a:lnTo>
                        <a:pt x="686" y="8"/>
                      </a:lnTo>
                      <a:lnTo>
                        <a:pt x="687" y="8"/>
                      </a:lnTo>
                      <a:lnTo>
                        <a:pt x="687" y="10"/>
                      </a:lnTo>
                      <a:lnTo>
                        <a:pt x="687" y="8"/>
                      </a:lnTo>
                      <a:lnTo>
                        <a:pt x="689" y="8"/>
                      </a:lnTo>
                      <a:lnTo>
                        <a:pt x="689" y="10"/>
                      </a:lnTo>
                      <a:lnTo>
                        <a:pt x="687" y="10"/>
                      </a:lnTo>
                      <a:lnTo>
                        <a:pt x="687" y="11"/>
                      </a:lnTo>
                      <a:lnTo>
                        <a:pt x="686" y="13"/>
                      </a:lnTo>
                      <a:lnTo>
                        <a:pt x="684" y="18"/>
                      </a:lnTo>
                      <a:lnTo>
                        <a:pt x="682" y="23"/>
                      </a:lnTo>
                      <a:lnTo>
                        <a:pt x="681" y="25"/>
                      </a:lnTo>
                      <a:lnTo>
                        <a:pt x="681" y="26"/>
                      </a:lnTo>
                      <a:lnTo>
                        <a:pt x="681" y="28"/>
                      </a:lnTo>
                      <a:lnTo>
                        <a:pt x="679" y="30"/>
                      </a:lnTo>
                      <a:lnTo>
                        <a:pt x="681" y="30"/>
                      </a:lnTo>
                      <a:lnTo>
                        <a:pt x="679" y="31"/>
                      </a:lnTo>
                      <a:lnTo>
                        <a:pt x="679" y="33"/>
                      </a:lnTo>
                      <a:lnTo>
                        <a:pt x="681" y="33"/>
                      </a:lnTo>
                      <a:lnTo>
                        <a:pt x="681" y="34"/>
                      </a:lnTo>
                      <a:lnTo>
                        <a:pt x="681" y="36"/>
                      </a:lnTo>
                      <a:lnTo>
                        <a:pt x="681" y="34"/>
                      </a:lnTo>
                      <a:lnTo>
                        <a:pt x="679" y="36"/>
                      </a:lnTo>
                      <a:lnTo>
                        <a:pt x="681" y="36"/>
                      </a:lnTo>
                      <a:lnTo>
                        <a:pt x="679" y="36"/>
                      </a:lnTo>
                      <a:lnTo>
                        <a:pt x="681" y="36"/>
                      </a:lnTo>
                      <a:lnTo>
                        <a:pt x="681" y="38"/>
                      </a:lnTo>
                      <a:lnTo>
                        <a:pt x="679" y="38"/>
                      </a:lnTo>
                      <a:lnTo>
                        <a:pt x="681" y="38"/>
                      </a:lnTo>
                      <a:lnTo>
                        <a:pt x="681" y="39"/>
                      </a:lnTo>
                      <a:lnTo>
                        <a:pt x="682" y="39"/>
                      </a:lnTo>
                      <a:lnTo>
                        <a:pt x="684" y="39"/>
                      </a:lnTo>
                      <a:lnTo>
                        <a:pt x="684" y="41"/>
                      </a:lnTo>
                      <a:lnTo>
                        <a:pt x="686" y="41"/>
                      </a:lnTo>
                      <a:lnTo>
                        <a:pt x="687" y="41"/>
                      </a:lnTo>
                      <a:lnTo>
                        <a:pt x="689" y="41"/>
                      </a:lnTo>
                      <a:lnTo>
                        <a:pt x="691" y="41"/>
                      </a:lnTo>
                      <a:lnTo>
                        <a:pt x="691" y="43"/>
                      </a:lnTo>
                      <a:lnTo>
                        <a:pt x="692" y="43"/>
                      </a:lnTo>
                      <a:lnTo>
                        <a:pt x="694" y="43"/>
                      </a:lnTo>
                      <a:lnTo>
                        <a:pt x="696" y="44"/>
                      </a:lnTo>
                      <a:lnTo>
                        <a:pt x="694" y="44"/>
                      </a:lnTo>
                      <a:lnTo>
                        <a:pt x="694" y="46"/>
                      </a:lnTo>
                      <a:lnTo>
                        <a:pt x="696" y="46"/>
                      </a:lnTo>
                      <a:lnTo>
                        <a:pt x="696" y="44"/>
                      </a:lnTo>
                      <a:lnTo>
                        <a:pt x="697" y="44"/>
                      </a:lnTo>
                      <a:lnTo>
                        <a:pt x="697" y="46"/>
                      </a:lnTo>
                      <a:lnTo>
                        <a:pt x="699" y="46"/>
                      </a:lnTo>
                      <a:lnTo>
                        <a:pt x="699" y="44"/>
                      </a:lnTo>
                      <a:lnTo>
                        <a:pt x="699" y="46"/>
                      </a:lnTo>
                      <a:lnTo>
                        <a:pt x="701" y="46"/>
                      </a:lnTo>
                      <a:lnTo>
                        <a:pt x="702" y="46"/>
                      </a:lnTo>
                      <a:lnTo>
                        <a:pt x="702" y="48"/>
                      </a:lnTo>
                      <a:lnTo>
                        <a:pt x="704" y="48"/>
                      </a:lnTo>
                      <a:lnTo>
                        <a:pt x="706" y="48"/>
                      </a:lnTo>
                      <a:lnTo>
                        <a:pt x="708" y="48"/>
                      </a:lnTo>
                      <a:lnTo>
                        <a:pt x="709" y="49"/>
                      </a:lnTo>
                      <a:lnTo>
                        <a:pt x="711" y="49"/>
                      </a:lnTo>
                      <a:lnTo>
                        <a:pt x="713" y="51"/>
                      </a:lnTo>
                      <a:lnTo>
                        <a:pt x="713" y="53"/>
                      </a:lnTo>
                      <a:lnTo>
                        <a:pt x="714" y="53"/>
                      </a:lnTo>
                      <a:lnTo>
                        <a:pt x="714" y="51"/>
                      </a:lnTo>
                      <a:lnTo>
                        <a:pt x="716" y="51"/>
                      </a:lnTo>
                      <a:lnTo>
                        <a:pt x="718" y="51"/>
                      </a:lnTo>
                      <a:lnTo>
                        <a:pt x="719" y="51"/>
                      </a:lnTo>
                      <a:lnTo>
                        <a:pt x="719" y="49"/>
                      </a:lnTo>
                      <a:lnTo>
                        <a:pt x="718" y="49"/>
                      </a:lnTo>
                      <a:lnTo>
                        <a:pt x="718" y="48"/>
                      </a:lnTo>
                      <a:lnTo>
                        <a:pt x="719" y="49"/>
                      </a:lnTo>
                      <a:lnTo>
                        <a:pt x="719" y="48"/>
                      </a:lnTo>
                      <a:lnTo>
                        <a:pt x="719" y="46"/>
                      </a:lnTo>
                      <a:lnTo>
                        <a:pt x="721" y="46"/>
                      </a:lnTo>
                      <a:lnTo>
                        <a:pt x="721" y="44"/>
                      </a:lnTo>
                      <a:lnTo>
                        <a:pt x="723" y="44"/>
                      </a:lnTo>
                      <a:lnTo>
                        <a:pt x="724" y="44"/>
                      </a:lnTo>
                      <a:lnTo>
                        <a:pt x="724" y="43"/>
                      </a:lnTo>
                      <a:lnTo>
                        <a:pt x="726" y="43"/>
                      </a:lnTo>
                      <a:lnTo>
                        <a:pt x="728" y="43"/>
                      </a:lnTo>
                      <a:lnTo>
                        <a:pt x="730" y="43"/>
                      </a:lnTo>
                      <a:lnTo>
                        <a:pt x="730" y="41"/>
                      </a:lnTo>
                      <a:lnTo>
                        <a:pt x="731" y="41"/>
                      </a:lnTo>
                      <a:lnTo>
                        <a:pt x="733" y="41"/>
                      </a:lnTo>
                      <a:lnTo>
                        <a:pt x="733" y="39"/>
                      </a:lnTo>
                      <a:lnTo>
                        <a:pt x="735" y="39"/>
                      </a:lnTo>
                      <a:lnTo>
                        <a:pt x="735" y="41"/>
                      </a:lnTo>
                      <a:lnTo>
                        <a:pt x="736" y="41"/>
                      </a:lnTo>
                      <a:lnTo>
                        <a:pt x="736" y="39"/>
                      </a:lnTo>
                      <a:lnTo>
                        <a:pt x="738" y="39"/>
                      </a:lnTo>
                      <a:lnTo>
                        <a:pt x="740" y="39"/>
                      </a:lnTo>
                      <a:lnTo>
                        <a:pt x="740" y="38"/>
                      </a:lnTo>
                      <a:lnTo>
                        <a:pt x="740" y="39"/>
                      </a:lnTo>
                      <a:lnTo>
                        <a:pt x="740" y="38"/>
                      </a:lnTo>
                      <a:lnTo>
                        <a:pt x="741" y="38"/>
                      </a:lnTo>
                      <a:lnTo>
                        <a:pt x="741" y="39"/>
                      </a:lnTo>
                      <a:lnTo>
                        <a:pt x="743" y="38"/>
                      </a:lnTo>
                      <a:lnTo>
                        <a:pt x="743" y="39"/>
                      </a:lnTo>
                      <a:lnTo>
                        <a:pt x="743" y="38"/>
                      </a:lnTo>
                      <a:lnTo>
                        <a:pt x="745" y="38"/>
                      </a:lnTo>
                      <a:lnTo>
                        <a:pt x="745" y="39"/>
                      </a:lnTo>
                      <a:lnTo>
                        <a:pt x="746" y="39"/>
                      </a:lnTo>
                      <a:lnTo>
                        <a:pt x="746" y="38"/>
                      </a:lnTo>
                      <a:lnTo>
                        <a:pt x="748" y="38"/>
                      </a:lnTo>
                      <a:lnTo>
                        <a:pt x="748" y="39"/>
                      </a:lnTo>
                      <a:lnTo>
                        <a:pt x="750" y="39"/>
                      </a:lnTo>
                      <a:lnTo>
                        <a:pt x="751" y="39"/>
                      </a:lnTo>
                      <a:lnTo>
                        <a:pt x="751" y="41"/>
                      </a:lnTo>
                      <a:lnTo>
                        <a:pt x="753" y="41"/>
                      </a:lnTo>
                      <a:lnTo>
                        <a:pt x="753" y="39"/>
                      </a:lnTo>
                      <a:lnTo>
                        <a:pt x="753" y="41"/>
                      </a:lnTo>
                      <a:lnTo>
                        <a:pt x="755" y="41"/>
                      </a:lnTo>
                      <a:lnTo>
                        <a:pt x="755" y="43"/>
                      </a:lnTo>
                      <a:lnTo>
                        <a:pt x="755" y="41"/>
                      </a:lnTo>
                      <a:lnTo>
                        <a:pt x="757" y="41"/>
                      </a:lnTo>
                      <a:lnTo>
                        <a:pt x="758" y="41"/>
                      </a:lnTo>
                      <a:lnTo>
                        <a:pt x="760" y="41"/>
                      </a:lnTo>
                      <a:lnTo>
                        <a:pt x="760" y="43"/>
                      </a:lnTo>
                      <a:lnTo>
                        <a:pt x="762" y="43"/>
                      </a:lnTo>
                      <a:lnTo>
                        <a:pt x="763" y="43"/>
                      </a:lnTo>
                      <a:lnTo>
                        <a:pt x="765" y="43"/>
                      </a:lnTo>
                      <a:lnTo>
                        <a:pt x="767" y="43"/>
                      </a:lnTo>
                      <a:lnTo>
                        <a:pt x="768" y="43"/>
                      </a:lnTo>
                      <a:lnTo>
                        <a:pt x="768" y="44"/>
                      </a:lnTo>
                      <a:lnTo>
                        <a:pt x="770" y="44"/>
                      </a:lnTo>
                      <a:lnTo>
                        <a:pt x="770" y="46"/>
                      </a:lnTo>
                      <a:lnTo>
                        <a:pt x="770" y="48"/>
                      </a:lnTo>
                      <a:lnTo>
                        <a:pt x="772" y="48"/>
                      </a:lnTo>
                      <a:lnTo>
                        <a:pt x="772" y="46"/>
                      </a:lnTo>
                      <a:lnTo>
                        <a:pt x="772" y="48"/>
                      </a:lnTo>
                      <a:lnTo>
                        <a:pt x="773" y="48"/>
                      </a:lnTo>
                      <a:lnTo>
                        <a:pt x="773" y="49"/>
                      </a:lnTo>
                      <a:lnTo>
                        <a:pt x="775" y="49"/>
                      </a:lnTo>
                      <a:lnTo>
                        <a:pt x="775" y="48"/>
                      </a:lnTo>
                      <a:lnTo>
                        <a:pt x="775" y="49"/>
                      </a:lnTo>
                      <a:lnTo>
                        <a:pt x="777" y="49"/>
                      </a:lnTo>
                      <a:lnTo>
                        <a:pt x="777" y="51"/>
                      </a:lnTo>
                      <a:lnTo>
                        <a:pt x="778" y="51"/>
                      </a:lnTo>
                      <a:lnTo>
                        <a:pt x="778" y="53"/>
                      </a:lnTo>
                      <a:lnTo>
                        <a:pt x="780" y="53"/>
                      </a:lnTo>
                      <a:lnTo>
                        <a:pt x="780" y="54"/>
                      </a:lnTo>
                      <a:lnTo>
                        <a:pt x="782" y="54"/>
                      </a:lnTo>
                      <a:lnTo>
                        <a:pt x="784" y="56"/>
                      </a:lnTo>
                      <a:lnTo>
                        <a:pt x="785" y="56"/>
                      </a:lnTo>
                      <a:lnTo>
                        <a:pt x="787" y="56"/>
                      </a:lnTo>
                      <a:lnTo>
                        <a:pt x="787" y="57"/>
                      </a:lnTo>
                      <a:lnTo>
                        <a:pt x="789" y="59"/>
                      </a:lnTo>
                      <a:lnTo>
                        <a:pt x="790" y="59"/>
                      </a:lnTo>
                      <a:lnTo>
                        <a:pt x="792" y="59"/>
                      </a:lnTo>
                      <a:lnTo>
                        <a:pt x="792" y="61"/>
                      </a:lnTo>
                      <a:lnTo>
                        <a:pt x="794" y="61"/>
                      </a:lnTo>
                      <a:lnTo>
                        <a:pt x="794" y="62"/>
                      </a:lnTo>
                      <a:lnTo>
                        <a:pt x="795" y="62"/>
                      </a:lnTo>
                      <a:lnTo>
                        <a:pt x="797" y="64"/>
                      </a:lnTo>
                      <a:lnTo>
                        <a:pt x="799" y="64"/>
                      </a:lnTo>
                      <a:lnTo>
                        <a:pt x="799" y="66"/>
                      </a:lnTo>
                      <a:lnTo>
                        <a:pt x="799" y="64"/>
                      </a:lnTo>
                      <a:lnTo>
                        <a:pt x="800" y="64"/>
                      </a:lnTo>
                      <a:lnTo>
                        <a:pt x="800" y="62"/>
                      </a:lnTo>
                      <a:lnTo>
                        <a:pt x="802" y="64"/>
                      </a:lnTo>
                      <a:lnTo>
                        <a:pt x="804" y="64"/>
                      </a:lnTo>
                      <a:lnTo>
                        <a:pt x="804" y="66"/>
                      </a:lnTo>
                      <a:lnTo>
                        <a:pt x="804" y="67"/>
                      </a:lnTo>
                      <a:lnTo>
                        <a:pt x="806" y="66"/>
                      </a:lnTo>
                      <a:lnTo>
                        <a:pt x="806" y="67"/>
                      </a:lnTo>
                      <a:lnTo>
                        <a:pt x="807" y="67"/>
                      </a:lnTo>
                      <a:lnTo>
                        <a:pt x="809" y="69"/>
                      </a:lnTo>
                      <a:lnTo>
                        <a:pt x="811" y="69"/>
                      </a:lnTo>
                      <a:lnTo>
                        <a:pt x="811" y="71"/>
                      </a:lnTo>
                      <a:lnTo>
                        <a:pt x="812" y="71"/>
                      </a:lnTo>
                      <a:lnTo>
                        <a:pt x="812" y="72"/>
                      </a:lnTo>
                      <a:lnTo>
                        <a:pt x="814" y="72"/>
                      </a:lnTo>
                      <a:lnTo>
                        <a:pt x="816" y="72"/>
                      </a:lnTo>
                      <a:lnTo>
                        <a:pt x="816" y="74"/>
                      </a:lnTo>
                      <a:lnTo>
                        <a:pt x="816" y="75"/>
                      </a:lnTo>
                      <a:lnTo>
                        <a:pt x="817" y="75"/>
                      </a:lnTo>
                      <a:lnTo>
                        <a:pt x="819" y="77"/>
                      </a:lnTo>
                      <a:lnTo>
                        <a:pt x="821" y="77"/>
                      </a:lnTo>
                      <a:lnTo>
                        <a:pt x="822" y="77"/>
                      </a:lnTo>
                      <a:lnTo>
                        <a:pt x="824" y="79"/>
                      </a:lnTo>
                      <a:lnTo>
                        <a:pt x="826" y="77"/>
                      </a:lnTo>
                      <a:lnTo>
                        <a:pt x="827" y="79"/>
                      </a:lnTo>
                      <a:lnTo>
                        <a:pt x="829" y="79"/>
                      </a:lnTo>
                      <a:lnTo>
                        <a:pt x="831" y="80"/>
                      </a:lnTo>
                      <a:lnTo>
                        <a:pt x="833" y="80"/>
                      </a:lnTo>
                      <a:lnTo>
                        <a:pt x="833" y="82"/>
                      </a:lnTo>
                      <a:lnTo>
                        <a:pt x="834" y="80"/>
                      </a:lnTo>
                      <a:lnTo>
                        <a:pt x="836" y="80"/>
                      </a:lnTo>
                      <a:lnTo>
                        <a:pt x="836" y="79"/>
                      </a:lnTo>
                      <a:lnTo>
                        <a:pt x="838" y="80"/>
                      </a:lnTo>
                      <a:lnTo>
                        <a:pt x="839" y="79"/>
                      </a:lnTo>
                      <a:lnTo>
                        <a:pt x="841" y="79"/>
                      </a:lnTo>
                      <a:lnTo>
                        <a:pt x="843" y="79"/>
                      </a:lnTo>
                      <a:lnTo>
                        <a:pt x="843" y="80"/>
                      </a:lnTo>
                      <a:lnTo>
                        <a:pt x="844" y="80"/>
                      </a:lnTo>
                      <a:lnTo>
                        <a:pt x="844" y="82"/>
                      </a:lnTo>
                      <a:lnTo>
                        <a:pt x="846" y="82"/>
                      </a:lnTo>
                      <a:lnTo>
                        <a:pt x="846" y="84"/>
                      </a:lnTo>
                      <a:lnTo>
                        <a:pt x="848" y="84"/>
                      </a:lnTo>
                      <a:lnTo>
                        <a:pt x="848" y="85"/>
                      </a:lnTo>
                      <a:lnTo>
                        <a:pt x="849" y="87"/>
                      </a:lnTo>
                      <a:lnTo>
                        <a:pt x="851" y="87"/>
                      </a:lnTo>
                      <a:lnTo>
                        <a:pt x="851" y="85"/>
                      </a:lnTo>
                      <a:lnTo>
                        <a:pt x="854" y="85"/>
                      </a:lnTo>
                      <a:lnTo>
                        <a:pt x="856" y="85"/>
                      </a:lnTo>
                      <a:lnTo>
                        <a:pt x="858" y="85"/>
                      </a:lnTo>
                      <a:lnTo>
                        <a:pt x="860" y="85"/>
                      </a:lnTo>
                      <a:lnTo>
                        <a:pt x="861" y="85"/>
                      </a:lnTo>
                      <a:lnTo>
                        <a:pt x="863" y="87"/>
                      </a:lnTo>
                      <a:lnTo>
                        <a:pt x="863" y="85"/>
                      </a:lnTo>
                      <a:lnTo>
                        <a:pt x="865" y="85"/>
                      </a:lnTo>
                      <a:lnTo>
                        <a:pt x="866" y="85"/>
                      </a:lnTo>
                      <a:lnTo>
                        <a:pt x="866" y="84"/>
                      </a:lnTo>
                      <a:lnTo>
                        <a:pt x="868" y="84"/>
                      </a:lnTo>
                      <a:lnTo>
                        <a:pt x="870" y="84"/>
                      </a:lnTo>
                      <a:lnTo>
                        <a:pt x="870" y="82"/>
                      </a:lnTo>
                      <a:lnTo>
                        <a:pt x="870" y="80"/>
                      </a:lnTo>
                      <a:lnTo>
                        <a:pt x="871" y="80"/>
                      </a:lnTo>
                      <a:lnTo>
                        <a:pt x="873" y="80"/>
                      </a:lnTo>
                      <a:lnTo>
                        <a:pt x="875" y="80"/>
                      </a:lnTo>
                      <a:lnTo>
                        <a:pt x="876" y="79"/>
                      </a:lnTo>
                      <a:lnTo>
                        <a:pt x="905" y="105"/>
                      </a:lnTo>
                      <a:lnTo>
                        <a:pt x="909" y="107"/>
                      </a:lnTo>
                      <a:lnTo>
                        <a:pt x="910" y="110"/>
                      </a:lnTo>
                      <a:lnTo>
                        <a:pt x="917" y="115"/>
                      </a:lnTo>
                      <a:lnTo>
                        <a:pt x="919" y="115"/>
                      </a:lnTo>
                      <a:lnTo>
                        <a:pt x="919" y="117"/>
                      </a:lnTo>
                      <a:lnTo>
                        <a:pt x="922" y="138"/>
                      </a:lnTo>
                      <a:lnTo>
                        <a:pt x="924" y="138"/>
                      </a:lnTo>
                      <a:lnTo>
                        <a:pt x="925" y="138"/>
                      </a:lnTo>
                      <a:lnTo>
                        <a:pt x="927" y="138"/>
                      </a:lnTo>
                      <a:lnTo>
                        <a:pt x="927" y="140"/>
                      </a:lnTo>
                      <a:lnTo>
                        <a:pt x="929" y="140"/>
                      </a:lnTo>
                      <a:lnTo>
                        <a:pt x="929" y="138"/>
                      </a:lnTo>
                      <a:lnTo>
                        <a:pt x="930" y="138"/>
                      </a:lnTo>
                      <a:lnTo>
                        <a:pt x="932" y="138"/>
                      </a:lnTo>
                      <a:lnTo>
                        <a:pt x="934" y="140"/>
                      </a:lnTo>
                      <a:lnTo>
                        <a:pt x="937" y="140"/>
                      </a:lnTo>
                      <a:lnTo>
                        <a:pt x="939" y="141"/>
                      </a:lnTo>
                      <a:lnTo>
                        <a:pt x="941" y="140"/>
                      </a:lnTo>
                      <a:lnTo>
                        <a:pt x="941" y="138"/>
                      </a:lnTo>
                      <a:lnTo>
                        <a:pt x="942" y="138"/>
                      </a:lnTo>
                      <a:lnTo>
                        <a:pt x="944" y="138"/>
                      </a:lnTo>
                      <a:lnTo>
                        <a:pt x="946" y="136"/>
                      </a:lnTo>
                      <a:lnTo>
                        <a:pt x="947" y="136"/>
                      </a:lnTo>
                      <a:lnTo>
                        <a:pt x="949" y="136"/>
                      </a:lnTo>
                      <a:lnTo>
                        <a:pt x="951" y="136"/>
                      </a:lnTo>
                      <a:lnTo>
                        <a:pt x="952" y="136"/>
                      </a:lnTo>
                      <a:lnTo>
                        <a:pt x="952" y="135"/>
                      </a:lnTo>
                      <a:lnTo>
                        <a:pt x="954" y="135"/>
                      </a:lnTo>
                      <a:lnTo>
                        <a:pt x="954" y="133"/>
                      </a:lnTo>
                      <a:lnTo>
                        <a:pt x="954" y="131"/>
                      </a:lnTo>
                      <a:lnTo>
                        <a:pt x="956" y="131"/>
                      </a:lnTo>
                      <a:lnTo>
                        <a:pt x="956" y="130"/>
                      </a:lnTo>
                      <a:lnTo>
                        <a:pt x="958" y="131"/>
                      </a:lnTo>
                      <a:lnTo>
                        <a:pt x="959" y="131"/>
                      </a:lnTo>
                      <a:lnTo>
                        <a:pt x="961" y="131"/>
                      </a:lnTo>
                      <a:lnTo>
                        <a:pt x="961" y="133"/>
                      </a:lnTo>
                      <a:lnTo>
                        <a:pt x="963" y="133"/>
                      </a:lnTo>
                      <a:lnTo>
                        <a:pt x="963" y="135"/>
                      </a:lnTo>
                      <a:lnTo>
                        <a:pt x="963" y="133"/>
                      </a:lnTo>
                      <a:lnTo>
                        <a:pt x="964" y="135"/>
                      </a:lnTo>
                      <a:lnTo>
                        <a:pt x="966" y="133"/>
                      </a:lnTo>
                      <a:lnTo>
                        <a:pt x="968" y="133"/>
                      </a:lnTo>
                      <a:lnTo>
                        <a:pt x="968" y="131"/>
                      </a:lnTo>
                      <a:lnTo>
                        <a:pt x="969" y="131"/>
                      </a:lnTo>
                      <a:lnTo>
                        <a:pt x="969" y="130"/>
                      </a:lnTo>
                      <a:lnTo>
                        <a:pt x="971" y="130"/>
                      </a:lnTo>
                      <a:lnTo>
                        <a:pt x="971" y="131"/>
                      </a:lnTo>
                      <a:lnTo>
                        <a:pt x="973" y="131"/>
                      </a:lnTo>
                      <a:lnTo>
                        <a:pt x="973" y="133"/>
                      </a:lnTo>
                      <a:lnTo>
                        <a:pt x="973" y="135"/>
                      </a:lnTo>
                      <a:lnTo>
                        <a:pt x="974" y="135"/>
                      </a:lnTo>
                      <a:lnTo>
                        <a:pt x="974" y="136"/>
                      </a:lnTo>
                      <a:lnTo>
                        <a:pt x="976" y="136"/>
                      </a:lnTo>
                      <a:lnTo>
                        <a:pt x="976" y="135"/>
                      </a:lnTo>
                      <a:lnTo>
                        <a:pt x="978" y="135"/>
                      </a:lnTo>
                      <a:lnTo>
                        <a:pt x="978" y="133"/>
                      </a:lnTo>
                      <a:lnTo>
                        <a:pt x="976" y="133"/>
                      </a:lnTo>
                      <a:lnTo>
                        <a:pt x="978" y="133"/>
                      </a:lnTo>
                      <a:lnTo>
                        <a:pt x="979" y="133"/>
                      </a:lnTo>
                      <a:lnTo>
                        <a:pt x="979" y="131"/>
                      </a:lnTo>
                      <a:lnTo>
                        <a:pt x="981" y="131"/>
                      </a:lnTo>
                      <a:lnTo>
                        <a:pt x="981" y="133"/>
                      </a:lnTo>
                      <a:lnTo>
                        <a:pt x="983" y="133"/>
                      </a:lnTo>
                      <a:lnTo>
                        <a:pt x="983" y="135"/>
                      </a:lnTo>
                      <a:lnTo>
                        <a:pt x="985" y="135"/>
                      </a:lnTo>
                      <a:lnTo>
                        <a:pt x="985" y="136"/>
                      </a:lnTo>
                      <a:lnTo>
                        <a:pt x="986" y="136"/>
                      </a:lnTo>
                      <a:lnTo>
                        <a:pt x="986" y="138"/>
                      </a:lnTo>
                      <a:lnTo>
                        <a:pt x="988" y="136"/>
                      </a:lnTo>
                      <a:lnTo>
                        <a:pt x="990" y="138"/>
                      </a:lnTo>
                      <a:lnTo>
                        <a:pt x="991" y="138"/>
                      </a:lnTo>
                      <a:lnTo>
                        <a:pt x="991" y="140"/>
                      </a:lnTo>
                      <a:lnTo>
                        <a:pt x="990" y="140"/>
                      </a:lnTo>
                      <a:lnTo>
                        <a:pt x="991" y="140"/>
                      </a:lnTo>
                      <a:lnTo>
                        <a:pt x="991" y="141"/>
                      </a:lnTo>
                      <a:lnTo>
                        <a:pt x="993" y="141"/>
                      </a:lnTo>
                      <a:lnTo>
                        <a:pt x="993" y="143"/>
                      </a:lnTo>
                      <a:lnTo>
                        <a:pt x="995" y="144"/>
                      </a:lnTo>
                      <a:lnTo>
                        <a:pt x="996" y="143"/>
                      </a:lnTo>
                      <a:lnTo>
                        <a:pt x="998" y="143"/>
                      </a:lnTo>
                      <a:lnTo>
                        <a:pt x="998" y="141"/>
                      </a:lnTo>
                      <a:lnTo>
                        <a:pt x="1000" y="141"/>
                      </a:lnTo>
                      <a:lnTo>
                        <a:pt x="1001" y="141"/>
                      </a:lnTo>
                      <a:lnTo>
                        <a:pt x="1003" y="141"/>
                      </a:lnTo>
                      <a:lnTo>
                        <a:pt x="1003" y="140"/>
                      </a:lnTo>
                      <a:lnTo>
                        <a:pt x="1005" y="140"/>
                      </a:lnTo>
                      <a:lnTo>
                        <a:pt x="1005" y="141"/>
                      </a:lnTo>
                      <a:lnTo>
                        <a:pt x="1006" y="141"/>
                      </a:lnTo>
                      <a:lnTo>
                        <a:pt x="1006" y="143"/>
                      </a:lnTo>
                      <a:lnTo>
                        <a:pt x="1006" y="144"/>
                      </a:lnTo>
                      <a:lnTo>
                        <a:pt x="1008" y="144"/>
                      </a:lnTo>
                      <a:lnTo>
                        <a:pt x="1010" y="146"/>
                      </a:lnTo>
                      <a:lnTo>
                        <a:pt x="1010" y="144"/>
                      </a:lnTo>
                      <a:lnTo>
                        <a:pt x="1010" y="146"/>
                      </a:lnTo>
                      <a:lnTo>
                        <a:pt x="1012" y="146"/>
                      </a:lnTo>
                      <a:lnTo>
                        <a:pt x="1012" y="144"/>
                      </a:lnTo>
                      <a:lnTo>
                        <a:pt x="1012" y="146"/>
                      </a:lnTo>
                      <a:lnTo>
                        <a:pt x="1012" y="144"/>
                      </a:lnTo>
                      <a:lnTo>
                        <a:pt x="1013" y="144"/>
                      </a:lnTo>
                      <a:lnTo>
                        <a:pt x="1013" y="146"/>
                      </a:lnTo>
                      <a:lnTo>
                        <a:pt x="1013" y="144"/>
                      </a:lnTo>
                      <a:lnTo>
                        <a:pt x="1013" y="146"/>
                      </a:lnTo>
                      <a:lnTo>
                        <a:pt x="1015" y="146"/>
                      </a:lnTo>
                      <a:lnTo>
                        <a:pt x="1017" y="146"/>
                      </a:lnTo>
                      <a:lnTo>
                        <a:pt x="1018" y="146"/>
                      </a:lnTo>
                      <a:lnTo>
                        <a:pt x="1018" y="144"/>
                      </a:lnTo>
                      <a:lnTo>
                        <a:pt x="1018" y="146"/>
                      </a:lnTo>
                      <a:lnTo>
                        <a:pt x="1020" y="146"/>
                      </a:lnTo>
                      <a:lnTo>
                        <a:pt x="1020" y="144"/>
                      </a:lnTo>
                      <a:lnTo>
                        <a:pt x="1022" y="144"/>
                      </a:lnTo>
                      <a:lnTo>
                        <a:pt x="1022" y="146"/>
                      </a:lnTo>
                      <a:lnTo>
                        <a:pt x="1022" y="144"/>
                      </a:lnTo>
                      <a:lnTo>
                        <a:pt x="1023" y="144"/>
                      </a:lnTo>
                      <a:lnTo>
                        <a:pt x="1025" y="144"/>
                      </a:lnTo>
                      <a:lnTo>
                        <a:pt x="1025" y="146"/>
                      </a:lnTo>
                      <a:lnTo>
                        <a:pt x="1027" y="146"/>
                      </a:lnTo>
                      <a:lnTo>
                        <a:pt x="1027" y="148"/>
                      </a:lnTo>
                      <a:lnTo>
                        <a:pt x="1028" y="148"/>
                      </a:lnTo>
                      <a:lnTo>
                        <a:pt x="1028" y="149"/>
                      </a:lnTo>
                      <a:lnTo>
                        <a:pt x="1030" y="149"/>
                      </a:lnTo>
                      <a:lnTo>
                        <a:pt x="1030" y="151"/>
                      </a:lnTo>
                      <a:lnTo>
                        <a:pt x="1032" y="151"/>
                      </a:lnTo>
                      <a:lnTo>
                        <a:pt x="1032" y="149"/>
                      </a:lnTo>
                      <a:lnTo>
                        <a:pt x="1032" y="151"/>
                      </a:lnTo>
                      <a:lnTo>
                        <a:pt x="1032" y="153"/>
                      </a:lnTo>
                      <a:lnTo>
                        <a:pt x="1030" y="153"/>
                      </a:lnTo>
                      <a:lnTo>
                        <a:pt x="1032" y="154"/>
                      </a:lnTo>
                      <a:lnTo>
                        <a:pt x="1032" y="153"/>
                      </a:lnTo>
                      <a:lnTo>
                        <a:pt x="1032" y="154"/>
                      </a:lnTo>
                      <a:lnTo>
                        <a:pt x="1032" y="153"/>
                      </a:lnTo>
                      <a:lnTo>
                        <a:pt x="1034" y="153"/>
                      </a:lnTo>
                      <a:lnTo>
                        <a:pt x="1034" y="154"/>
                      </a:lnTo>
                      <a:lnTo>
                        <a:pt x="1034" y="153"/>
                      </a:lnTo>
                      <a:lnTo>
                        <a:pt x="1035" y="154"/>
                      </a:lnTo>
                      <a:lnTo>
                        <a:pt x="1035" y="153"/>
                      </a:lnTo>
                      <a:lnTo>
                        <a:pt x="1037" y="153"/>
                      </a:lnTo>
                      <a:lnTo>
                        <a:pt x="1037" y="154"/>
                      </a:lnTo>
                      <a:lnTo>
                        <a:pt x="1039" y="154"/>
                      </a:lnTo>
                      <a:lnTo>
                        <a:pt x="1039" y="153"/>
                      </a:lnTo>
                      <a:lnTo>
                        <a:pt x="1040" y="153"/>
                      </a:lnTo>
                      <a:lnTo>
                        <a:pt x="1040" y="154"/>
                      </a:lnTo>
                      <a:lnTo>
                        <a:pt x="1039" y="154"/>
                      </a:lnTo>
                      <a:lnTo>
                        <a:pt x="1040" y="154"/>
                      </a:lnTo>
                      <a:lnTo>
                        <a:pt x="1040" y="156"/>
                      </a:lnTo>
                      <a:lnTo>
                        <a:pt x="1040" y="154"/>
                      </a:lnTo>
                      <a:lnTo>
                        <a:pt x="1042" y="154"/>
                      </a:lnTo>
                      <a:lnTo>
                        <a:pt x="1040" y="154"/>
                      </a:lnTo>
                      <a:lnTo>
                        <a:pt x="1040" y="156"/>
                      </a:lnTo>
                      <a:lnTo>
                        <a:pt x="1042" y="156"/>
                      </a:lnTo>
                      <a:lnTo>
                        <a:pt x="1040" y="156"/>
                      </a:lnTo>
                      <a:lnTo>
                        <a:pt x="1040" y="158"/>
                      </a:lnTo>
                      <a:lnTo>
                        <a:pt x="1040" y="156"/>
                      </a:lnTo>
                      <a:lnTo>
                        <a:pt x="1042" y="156"/>
                      </a:lnTo>
                      <a:lnTo>
                        <a:pt x="1040" y="158"/>
                      </a:lnTo>
                      <a:lnTo>
                        <a:pt x="1042" y="158"/>
                      </a:lnTo>
                      <a:lnTo>
                        <a:pt x="1042" y="159"/>
                      </a:lnTo>
                      <a:lnTo>
                        <a:pt x="1044" y="159"/>
                      </a:lnTo>
                      <a:lnTo>
                        <a:pt x="1045" y="159"/>
                      </a:lnTo>
                      <a:lnTo>
                        <a:pt x="1044" y="161"/>
                      </a:lnTo>
                      <a:lnTo>
                        <a:pt x="1045" y="161"/>
                      </a:lnTo>
                      <a:lnTo>
                        <a:pt x="1047" y="161"/>
                      </a:lnTo>
                      <a:lnTo>
                        <a:pt x="1047" y="163"/>
                      </a:lnTo>
                      <a:lnTo>
                        <a:pt x="1049" y="163"/>
                      </a:lnTo>
                      <a:lnTo>
                        <a:pt x="1050" y="163"/>
                      </a:lnTo>
                      <a:lnTo>
                        <a:pt x="1052" y="161"/>
                      </a:lnTo>
                      <a:lnTo>
                        <a:pt x="1054" y="163"/>
                      </a:lnTo>
                      <a:lnTo>
                        <a:pt x="1055" y="163"/>
                      </a:lnTo>
                      <a:lnTo>
                        <a:pt x="1054" y="164"/>
                      </a:lnTo>
                      <a:lnTo>
                        <a:pt x="1055" y="164"/>
                      </a:lnTo>
                      <a:lnTo>
                        <a:pt x="1055" y="166"/>
                      </a:lnTo>
                      <a:lnTo>
                        <a:pt x="1057" y="167"/>
                      </a:lnTo>
                      <a:lnTo>
                        <a:pt x="1059" y="169"/>
                      </a:lnTo>
                      <a:lnTo>
                        <a:pt x="1059" y="171"/>
                      </a:lnTo>
                      <a:lnTo>
                        <a:pt x="1061" y="171"/>
                      </a:lnTo>
                      <a:lnTo>
                        <a:pt x="1061" y="172"/>
                      </a:lnTo>
                      <a:lnTo>
                        <a:pt x="1061" y="174"/>
                      </a:lnTo>
                      <a:lnTo>
                        <a:pt x="1059" y="176"/>
                      </a:lnTo>
                      <a:lnTo>
                        <a:pt x="1057" y="176"/>
                      </a:lnTo>
                      <a:lnTo>
                        <a:pt x="1059" y="176"/>
                      </a:lnTo>
                      <a:lnTo>
                        <a:pt x="1059" y="177"/>
                      </a:lnTo>
                      <a:lnTo>
                        <a:pt x="1059" y="179"/>
                      </a:lnTo>
                      <a:lnTo>
                        <a:pt x="1059" y="181"/>
                      </a:lnTo>
                      <a:lnTo>
                        <a:pt x="1057" y="181"/>
                      </a:lnTo>
                      <a:lnTo>
                        <a:pt x="1057" y="182"/>
                      </a:lnTo>
                      <a:lnTo>
                        <a:pt x="1055" y="182"/>
                      </a:lnTo>
                      <a:lnTo>
                        <a:pt x="1054" y="184"/>
                      </a:lnTo>
                      <a:lnTo>
                        <a:pt x="1054" y="186"/>
                      </a:lnTo>
                      <a:lnTo>
                        <a:pt x="1055" y="187"/>
                      </a:lnTo>
                      <a:lnTo>
                        <a:pt x="1055" y="189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4" name="Freeform 12"/>
                <p:cNvSpPr>
                  <a:spLocks noChangeAspect="1"/>
                </p:cNvSpPr>
                <p:nvPr/>
              </p:nvSpPr>
              <p:spPr bwMode="auto">
                <a:xfrm>
                  <a:off x="2628633" y="461924"/>
                  <a:ext cx="879427" cy="1055181"/>
                </a:xfrm>
                <a:custGeom>
                  <a:avLst/>
                  <a:gdLst>
                    <a:gd name="T0" fmla="*/ 2147483647 w 564"/>
                    <a:gd name="T1" fmla="*/ 2147483647 h 630"/>
                    <a:gd name="T2" fmla="*/ 2147483647 w 564"/>
                    <a:gd name="T3" fmla="*/ 2147483647 h 630"/>
                    <a:gd name="T4" fmla="*/ 2147483647 w 564"/>
                    <a:gd name="T5" fmla="*/ 2147483647 h 630"/>
                    <a:gd name="T6" fmla="*/ 2147483647 w 564"/>
                    <a:gd name="T7" fmla="*/ 2147483647 h 630"/>
                    <a:gd name="T8" fmla="*/ 2147483647 w 564"/>
                    <a:gd name="T9" fmla="*/ 2147483647 h 630"/>
                    <a:gd name="T10" fmla="*/ 2147483647 w 564"/>
                    <a:gd name="T11" fmla="*/ 2147483647 h 630"/>
                    <a:gd name="T12" fmla="*/ 2147483647 w 564"/>
                    <a:gd name="T13" fmla="*/ 2147483647 h 630"/>
                    <a:gd name="T14" fmla="*/ 2147483647 w 564"/>
                    <a:gd name="T15" fmla="*/ 2147483647 h 630"/>
                    <a:gd name="T16" fmla="*/ 2147483647 w 564"/>
                    <a:gd name="T17" fmla="*/ 2147483647 h 630"/>
                    <a:gd name="T18" fmla="*/ 2147483647 w 564"/>
                    <a:gd name="T19" fmla="*/ 2147483647 h 630"/>
                    <a:gd name="T20" fmla="*/ 2147483647 w 564"/>
                    <a:gd name="T21" fmla="*/ 2147483647 h 630"/>
                    <a:gd name="T22" fmla="*/ 2147483647 w 564"/>
                    <a:gd name="T23" fmla="*/ 2147483647 h 630"/>
                    <a:gd name="T24" fmla="*/ 2147483647 w 564"/>
                    <a:gd name="T25" fmla="*/ 2147483647 h 630"/>
                    <a:gd name="T26" fmla="*/ 2147483647 w 564"/>
                    <a:gd name="T27" fmla="*/ 2147483647 h 630"/>
                    <a:gd name="T28" fmla="*/ 2147483647 w 564"/>
                    <a:gd name="T29" fmla="*/ 2147483647 h 630"/>
                    <a:gd name="T30" fmla="*/ 2147483647 w 564"/>
                    <a:gd name="T31" fmla="*/ 2147483647 h 630"/>
                    <a:gd name="T32" fmla="*/ 2147483647 w 564"/>
                    <a:gd name="T33" fmla="*/ 2147483647 h 630"/>
                    <a:gd name="T34" fmla="*/ 2147483647 w 564"/>
                    <a:gd name="T35" fmla="*/ 2147483647 h 630"/>
                    <a:gd name="T36" fmla="*/ 2147483647 w 564"/>
                    <a:gd name="T37" fmla="*/ 2147483647 h 630"/>
                    <a:gd name="T38" fmla="*/ 2147483647 w 564"/>
                    <a:gd name="T39" fmla="*/ 2147483647 h 630"/>
                    <a:gd name="T40" fmla="*/ 2147483647 w 564"/>
                    <a:gd name="T41" fmla="*/ 2147483647 h 630"/>
                    <a:gd name="T42" fmla="*/ 2147483647 w 564"/>
                    <a:gd name="T43" fmla="*/ 2147483647 h 630"/>
                    <a:gd name="T44" fmla="*/ 2147483647 w 564"/>
                    <a:gd name="T45" fmla="*/ 2147483647 h 630"/>
                    <a:gd name="T46" fmla="*/ 2147483647 w 564"/>
                    <a:gd name="T47" fmla="*/ 2147483647 h 630"/>
                    <a:gd name="T48" fmla="*/ 2147483647 w 564"/>
                    <a:gd name="T49" fmla="*/ 2147483647 h 630"/>
                    <a:gd name="T50" fmla="*/ 2147483647 w 564"/>
                    <a:gd name="T51" fmla="*/ 2147483647 h 630"/>
                    <a:gd name="T52" fmla="*/ 2147483647 w 564"/>
                    <a:gd name="T53" fmla="*/ 2147483647 h 630"/>
                    <a:gd name="T54" fmla="*/ 2147483647 w 564"/>
                    <a:gd name="T55" fmla="*/ 2147483647 h 630"/>
                    <a:gd name="T56" fmla="*/ 2147483647 w 564"/>
                    <a:gd name="T57" fmla="*/ 2147483647 h 630"/>
                    <a:gd name="T58" fmla="*/ 2147483647 w 564"/>
                    <a:gd name="T59" fmla="*/ 2147483647 h 630"/>
                    <a:gd name="T60" fmla="*/ 2147483647 w 564"/>
                    <a:gd name="T61" fmla="*/ 2147483647 h 630"/>
                    <a:gd name="T62" fmla="*/ 2147483647 w 564"/>
                    <a:gd name="T63" fmla="*/ 2147483647 h 630"/>
                    <a:gd name="T64" fmla="*/ 2147483647 w 564"/>
                    <a:gd name="T65" fmla="*/ 2147483647 h 630"/>
                    <a:gd name="T66" fmla="*/ 2147483647 w 564"/>
                    <a:gd name="T67" fmla="*/ 2147483647 h 630"/>
                    <a:gd name="T68" fmla="*/ 2147483647 w 564"/>
                    <a:gd name="T69" fmla="*/ 2147483647 h 630"/>
                    <a:gd name="T70" fmla="*/ 2147483647 w 564"/>
                    <a:gd name="T71" fmla="*/ 2147483647 h 630"/>
                    <a:gd name="T72" fmla="*/ 2147483647 w 564"/>
                    <a:gd name="T73" fmla="*/ 2147483647 h 630"/>
                    <a:gd name="T74" fmla="*/ 2147483647 w 564"/>
                    <a:gd name="T75" fmla="*/ 2147483647 h 630"/>
                    <a:gd name="T76" fmla="*/ 2147483647 w 564"/>
                    <a:gd name="T77" fmla="*/ 2147483647 h 630"/>
                    <a:gd name="T78" fmla="*/ 2147483647 w 564"/>
                    <a:gd name="T79" fmla="*/ 2147483647 h 630"/>
                    <a:gd name="T80" fmla="*/ 2147483647 w 564"/>
                    <a:gd name="T81" fmla="*/ 2147483647 h 630"/>
                    <a:gd name="T82" fmla="*/ 2147483647 w 564"/>
                    <a:gd name="T83" fmla="*/ 2147483647 h 630"/>
                    <a:gd name="T84" fmla="*/ 2147483647 w 564"/>
                    <a:gd name="T85" fmla="*/ 2147483647 h 630"/>
                    <a:gd name="T86" fmla="*/ 2147483647 w 564"/>
                    <a:gd name="T87" fmla="*/ 2147483647 h 630"/>
                    <a:gd name="T88" fmla="*/ 2147483647 w 564"/>
                    <a:gd name="T89" fmla="*/ 2147483647 h 630"/>
                    <a:gd name="T90" fmla="*/ 2147483647 w 564"/>
                    <a:gd name="T91" fmla="*/ 2147483647 h 630"/>
                    <a:gd name="T92" fmla="*/ 2147483647 w 564"/>
                    <a:gd name="T93" fmla="*/ 2147483647 h 630"/>
                    <a:gd name="T94" fmla="*/ 2147483647 w 564"/>
                    <a:gd name="T95" fmla="*/ 2147483647 h 630"/>
                    <a:gd name="T96" fmla="*/ 2147483647 w 564"/>
                    <a:gd name="T97" fmla="*/ 2147483647 h 630"/>
                    <a:gd name="T98" fmla="*/ 2147483647 w 564"/>
                    <a:gd name="T99" fmla="*/ 2147483647 h 630"/>
                    <a:gd name="T100" fmla="*/ 2147483647 w 564"/>
                    <a:gd name="T101" fmla="*/ 2147483647 h 630"/>
                    <a:gd name="T102" fmla="*/ 2147483647 w 564"/>
                    <a:gd name="T103" fmla="*/ 2147483647 h 630"/>
                    <a:gd name="T104" fmla="*/ 2147483647 w 564"/>
                    <a:gd name="T105" fmla="*/ 2147483647 h 630"/>
                    <a:gd name="T106" fmla="*/ 2147483647 w 564"/>
                    <a:gd name="T107" fmla="*/ 2147483647 h 630"/>
                    <a:gd name="T108" fmla="*/ 2147483647 w 564"/>
                    <a:gd name="T109" fmla="*/ 2147483647 h 630"/>
                    <a:gd name="T110" fmla="*/ 2147483647 w 564"/>
                    <a:gd name="T111" fmla="*/ 2147483647 h 630"/>
                    <a:gd name="T112" fmla="*/ 2147483647 w 564"/>
                    <a:gd name="T113" fmla="*/ 2147483647 h 630"/>
                    <a:gd name="T114" fmla="*/ 2147483647 w 564"/>
                    <a:gd name="T115" fmla="*/ 2147483647 h 630"/>
                    <a:gd name="T116" fmla="*/ 2147483647 w 564"/>
                    <a:gd name="T117" fmla="*/ 2147483647 h 630"/>
                    <a:gd name="T118" fmla="*/ 2147483647 w 564"/>
                    <a:gd name="T119" fmla="*/ 2147483647 h 630"/>
                    <a:gd name="T120" fmla="*/ 2147483647 w 564"/>
                    <a:gd name="T121" fmla="*/ 2147483647 h 630"/>
                    <a:gd name="T122" fmla="*/ 2147483647 w 564"/>
                    <a:gd name="T123" fmla="*/ 2147483647 h 630"/>
                    <a:gd name="T124" fmla="*/ 2147483647 w 564"/>
                    <a:gd name="T125" fmla="*/ 2147483647 h 63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564"/>
                    <a:gd name="T190" fmla="*/ 0 h 630"/>
                    <a:gd name="T191" fmla="*/ 564 w 564"/>
                    <a:gd name="T192" fmla="*/ 630 h 63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564" h="630">
                      <a:moveTo>
                        <a:pt x="319" y="630"/>
                      </a:moveTo>
                      <a:lnTo>
                        <a:pt x="317" y="630"/>
                      </a:lnTo>
                      <a:lnTo>
                        <a:pt x="315" y="629"/>
                      </a:lnTo>
                      <a:lnTo>
                        <a:pt x="314" y="629"/>
                      </a:lnTo>
                      <a:lnTo>
                        <a:pt x="312" y="625"/>
                      </a:lnTo>
                      <a:lnTo>
                        <a:pt x="310" y="624"/>
                      </a:lnTo>
                      <a:lnTo>
                        <a:pt x="310" y="622"/>
                      </a:lnTo>
                      <a:lnTo>
                        <a:pt x="309" y="622"/>
                      </a:lnTo>
                      <a:lnTo>
                        <a:pt x="307" y="620"/>
                      </a:lnTo>
                      <a:lnTo>
                        <a:pt x="305" y="619"/>
                      </a:lnTo>
                      <a:lnTo>
                        <a:pt x="304" y="617"/>
                      </a:lnTo>
                      <a:lnTo>
                        <a:pt x="302" y="617"/>
                      </a:lnTo>
                      <a:lnTo>
                        <a:pt x="300" y="617"/>
                      </a:lnTo>
                      <a:lnTo>
                        <a:pt x="299" y="616"/>
                      </a:lnTo>
                      <a:lnTo>
                        <a:pt x="297" y="616"/>
                      </a:lnTo>
                      <a:lnTo>
                        <a:pt x="295" y="616"/>
                      </a:lnTo>
                      <a:lnTo>
                        <a:pt x="294" y="614"/>
                      </a:lnTo>
                      <a:lnTo>
                        <a:pt x="290" y="612"/>
                      </a:lnTo>
                      <a:lnTo>
                        <a:pt x="288" y="612"/>
                      </a:lnTo>
                      <a:lnTo>
                        <a:pt x="287" y="612"/>
                      </a:lnTo>
                      <a:lnTo>
                        <a:pt x="285" y="614"/>
                      </a:lnTo>
                      <a:lnTo>
                        <a:pt x="283" y="614"/>
                      </a:lnTo>
                      <a:lnTo>
                        <a:pt x="280" y="614"/>
                      </a:lnTo>
                      <a:lnTo>
                        <a:pt x="278" y="614"/>
                      </a:lnTo>
                      <a:lnTo>
                        <a:pt x="278" y="612"/>
                      </a:lnTo>
                      <a:lnTo>
                        <a:pt x="277" y="612"/>
                      </a:lnTo>
                      <a:lnTo>
                        <a:pt x="277" y="611"/>
                      </a:lnTo>
                      <a:lnTo>
                        <a:pt x="277" y="609"/>
                      </a:lnTo>
                      <a:lnTo>
                        <a:pt x="275" y="607"/>
                      </a:lnTo>
                      <a:lnTo>
                        <a:pt x="273" y="606"/>
                      </a:lnTo>
                      <a:lnTo>
                        <a:pt x="273" y="604"/>
                      </a:lnTo>
                      <a:lnTo>
                        <a:pt x="273" y="602"/>
                      </a:lnTo>
                      <a:lnTo>
                        <a:pt x="272" y="599"/>
                      </a:lnTo>
                      <a:lnTo>
                        <a:pt x="270" y="597"/>
                      </a:lnTo>
                      <a:lnTo>
                        <a:pt x="270" y="596"/>
                      </a:lnTo>
                      <a:lnTo>
                        <a:pt x="266" y="591"/>
                      </a:lnTo>
                      <a:lnTo>
                        <a:pt x="265" y="588"/>
                      </a:lnTo>
                      <a:lnTo>
                        <a:pt x="263" y="588"/>
                      </a:lnTo>
                      <a:lnTo>
                        <a:pt x="263" y="586"/>
                      </a:lnTo>
                      <a:lnTo>
                        <a:pt x="261" y="586"/>
                      </a:lnTo>
                      <a:lnTo>
                        <a:pt x="260" y="586"/>
                      </a:lnTo>
                      <a:lnTo>
                        <a:pt x="258" y="586"/>
                      </a:lnTo>
                      <a:lnTo>
                        <a:pt x="258" y="584"/>
                      </a:lnTo>
                      <a:lnTo>
                        <a:pt x="256" y="584"/>
                      </a:lnTo>
                      <a:lnTo>
                        <a:pt x="258" y="583"/>
                      </a:lnTo>
                      <a:lnTo>
                        <a:pt x="256" y="581"/>
                      </a:lnTo>
                      <a:lnTo>
                        <a:pt x="255" y="581"/>
                      </a:lnTo>
                      <a:lnTo>
                        <a:pt x="255" y="579"/>
                      </a:lnTo>
                      <a:lnTo>
                        <a:pt x="253" y="579"/>
                      </a:lnTo>
                      <a:lnTo>
                        <a:pt x="253" y="578"/>
                      </a:lnTo>
                      <a:lnTo>
                        <a:pt x="251" y="578"/>
                      </a:lnTo>
                      <a:lnTo>
                        <a:pt x="250" y="578"/>
                      </a:lnTo>
                      <a:lnTo>
                        <a:pt x="250" y="576"/>
                      </a:lnTo>
                      <a:lnTo>
                        <a:pt x="248" y="576"/>
                      </a:lnTo>
                      <a:lnTo>
                        <a:pt x="246" y="574"/>
                      </a:lnTo>
                      <a:lnTo>
                        <a:pt x="245" y="574"/>
                      </a:lnTo>
                      <a:lnTo>
                        <a:pt x="243" y="574"/>
                      </a:lnTo>
                      <a:lnTo>
                        <a:pt x="243" y="573"/>
                      </a:lnTo>
                      <a:lnTo>
                        <a:pt x="241" y="573"/>
                      </a:lnTo>
                      <a:lnTo>
                        <a:pt x="239" y="571"/>
                      </a:lnTo>
                      <a:lnTo>
                        <a:pt x="238" y="570"/>
                      </a:lnTo>
                      <a:lnTo>
                        <a:pt x="236" y="570"/>
                      </a:lnTo>
                      <a:lnTo>
                        <a:pt x="236" y="568"/>
                      </a:lnTo>
                      <a:lnTo>
                        <a:pt x="234" y="566"/>
                      </a:lnTo>
                      <a:lnTo>
                        <a:pt x="234" y="565"/>
                      </a:lnTo>
                      <a:lnTo>
                        <a:pt x="233" y="565"/>
                      </a:lnTo>
                      <a:lnTo>
                        <a:pt x="233" y="563"/>
                      </a:lnTo>
                      <a:lnTo>
                        <a:pt x="233" y="561"/>
                      </a:lnTo>
                      <a:lnTo>
                        <a:pt x="231" y="561"/>
                      </a:lnTo>
                      <a:lnTo>
                        <a:pt x="229" y="560"/>
                      </a:lnTo>
                      <a:lnTo>
                        <a:pt x="228" y="560"/>
                      </a:lnTo>
                      <a:lnTo>
                        <a:pt x="226" y="560"/>
                      </a:lnTo>
                      <a:lnTo>
                        <a:pt x="224" y="560"/>
                      </a:lnTo>
                      <a:lnTo>
                        <a:pt x="224" y="558"/>
                      </a:lnTo>
                      <a:lnTo>
                        <a:pt x="223" y="558"/>
                      </a:lnTo>
                      <a:lnTo>
                        <a:pt x="221" y="558"/>
                      </a:lnTo>
                      <a:lnTo>
                        <a:pt x="221" y="556"/>
                      </a:lnTo>
                      <a:lnTo>
                        <a:pt x="219" y="555"/>
                      </a:lnTo>
                      <a:lnTo>
                        <a:pt x="221" y="555"/>
                      </a:lnTo>
                      <a:lnTo>
                        <a:pt x="221" y="553"/>
                      </a:lnTo>
                      <a:lnTo>
                        <a:pt x="221" y="551"/>
                      </a:lnTo>
                      <a:lnTo>
                        <a:pt x="221" y="550"/>
                      </a:lnTo>
                      <a:lnTo>
                        <a:pt x="221" y="548"/>
                      </a:lnTo>
                      <a:lnTo>
                        <a:pt x="223" y="548"/>
                      </a:lnTo>
                      <a:lnTo>
                        <a:pt x="224" y="548"/>
                      </a:lnTo>
                      <a:lnTo>
                        <a:pt x="228" y="548"/>
                      </a:lnTo>
                      <a:lnTo>
                        <a:pt x="228" y="550"/>
                      </a:lnTo>
                      <a:lnTo>
                        <a:pt x="229" y="550"/>
                      </a:lnTo>
                      <a:lnTo>
                        <a:pt x="229" y="551"/>
                      </a:lnTo>
                      <a:lnTo>
                        <a:pt x="231" y="551"/>
                      </a:lnTo>
                      <a:lnTo>
                        <a:pt x="231" y="550"/>
                      </a:lnTo>
                      <a:lnTo>
                        <a:pt x="233" y="550"/>
                      </a:lnTo>
                      <a:lnTo>
                        <a:pt x="234" y="550"/>
                      </a:lnTo>
                      <a:lnTo>
                        <a:pt x="233" y="550"/>
                      </a:lnTo>
                      <a:lnTo>
                        <a:pt x="233" y="548"/>
                      </a:lnTo>
                      <a:lnTo>
                        <a:pt x="234" y="547"/>
                      </a:lnTo>
                      <a:lnTo>
                        <a:pt x="234" y="548"/>
                      </a:lnTo>
                      <a:lnTo>
                        <a:pt x="236" y="547"/>
                      </a:lnTo>
                      <a:lnTo>
                        <a:pt x="238" y="545"/>
                      </a:lnTo>
                      <a:lnTo>
                        <a:pt x="238" y="547"/>
                      </a:lnTo>
                      <a:lnTo>
                        <a:pt x="239" y="547"/>
                      </a:lnTo>
                      <a:lnTo>
                        <a:pt x="239" y="545"/>
                      </a:lnTo>
                      <a:lnTo>
                        <a:pt x="241" y="545"/>
                      </a:lnTo>
                      <a:lnTo>
                        <a:pt x="241" y="543"/>
                      </a:lnTo>
                      <a:lnTo>
                        <a:pt x="241" y="542"/>
                      </a:lnTo>
                      <a:lnTo>
                        <a:pt x="239" y="542"/>
                      </a:lnTo>
                      <a:lnTo>
                        <a:pt x="241" y="542"/>
                      </a:lnTo>
                      <a:lnTo>
                        <a:pt x="241" y="540"/>
                      </a:lnTo>
                      <a:lnTo>
                        <a:pt x="239" y="540"/>
                      </a:lnTo>
                      <a:lnTo>
                        <a:pt x="239" y="538"/>
                      </a:lnTo>
                      <a:lnTo>
                        <a:pt x="239" y="537"/>
                      </a:lnTo>
                      <a:lnTo>
                        <a:pt x="238" y="537"/>
                      </a:lnTo>
                      <a:lnTo>
                        <a:pt x="239" y="535"/>
                      </a:lnTo>
                      <a:lnTo>
                        <a:pt x="239" y="532"/>
                      </a:lnTo>
                      <a:lnTo>
                        <a:pt x="241" y="532"/>
                      </a:lnTo>
                      <a:lnTo>
                        <a:pt x="241" y="530"/>
                      </a:lnTo>
                      <a:lnTo>
                        <a:pt x="241" y="528"/>
                      </a:lnTo>
                      <a:lnTo>
                        <a:pt x="243" y="528"/>
                      </a:lnTo>
                      <a:lnTo>
                        <a:pt x="241" y="528"/>
                      </a:lnTo>
                      <a:lnTo>
                        <a:pt x="243" y="527"/>
                      </a:lnTo>
                      <a:lnTo>
                        <a:pt x="245" y="527"/>
                      </a:lnTo>
                      <a:lnTo>
                        <a:pt x="245" y="525"/>
                      </a:lnTo>
                      <a:lnTo>
                        <a:pt x="246" y="525"/>
                      </a:lnTo>
                      <a:lnTo>
                        <a:pt x="246" y="524"/>
                      </a:lnTo>
                      <a:lnTo>
                        <a:pt x="248" y="524"/>
                      </a:lnTo>
                      <a:lnTo>
                        <a:pt x="248" y="522"/>
                      </a:lnTo>
                      <a:lnTo>
                        <a:pt x="250" y="522"/>
                      </a:lnTo>
                      <a:lnTo>
                        <a:pt x="250" y="520"/>
                      </a:lnTo>
                      <a:lnTo>
                        <a:pt x="248" y="520"/>
                      </a:lnTo>
                      <a:lnTo>
                        <a:pt x="250" y="519"/>
                      </a:lnTo>
                      <a:lnTo>
                        <a:pt x="250" y="517"/>
                      </a:lnTo>
                      <a:lnTo>
                        <a:pt x="251" y="515"/>
                      </a:lnTo>
                      <a:lnTo>
                        <a:pt x="250" y="515"/>
                      </a:lnTo>
                      <a:lnTo>
                        <a:pt x="248" y="514"/>
                      </a:lnTo>
                      <a:lnTo>
                        <a:pt x="246" y="514"/>
                      </a:lnTo>
                      <a:lnTo>
                        <a:pt x="245" y="512"/>
                      </a:lnTo>
                      <a:lnTo>
                        <a:pt x="245" y="510"/>
                      </a:lnTo>
                      <a:lnTo>
                        <a:pt x="246" y="509"/>
                      </a:lnTo>
                      <a:lnTo>
                        <a:pt x="245" y="509"/>
                      </a:lnTo>
                      <a:lnTo>
                        <a:pt x="245" y="507"/>
                      </a:lnTo>
                      <a:lnTo>
                        <a:pt x="245" y="505"/>
                      </a:lnTo>
                      <a:lnTo>
                        <a:pt x="245" y="504"/>
                      </a:lnTo>
                      <a:lnTo>
                        <a:pt x="245" y="502"/>
                      </a:lnTo>
                      <a:lnTo>
                        <a:pt x="246" y="502"/>
                      </a:lnTo>
                      <a:lnTo>
                        <a:pt x="245" y="501"/>
                      </a:lnTo>
                      <a:lnTo>
                        <a:pt x="243" y="501"/>
                      </a:lnTo>
                      <a:lnTo>
                        <a:pt x="243" y="499"/>
                      </a:lnTo>
                      <a:lnTo>
                        <a:pt x="241" y="499"/>
                      </a:lnTo>
                      <a:lnTo>
                        <a:pt x="241" y="497"/>
                      </a:lnTo>
                      <a:lnTo>
                        <a:pt x="239" y="496"/>
                      </a:lnTo>
                      <a:lnTo>
                        <a:pt x="238" y="494"/>
                      </a:lnTo>
                      <a:lnTo>
                        <a:pt x="238" y="492"/>
                      </a:lnTo>
                      <a:lnTo>
                        <a:pt x="238" y="491"/>
                      </a:lnTo>
                      <a:lnTo>
                        <a:pt x="236" y="491"/>
                      </a:lnTo>
                      <a:lnTo>
                        <a:pt x="238" y="491"/>
                      </a:lnTo>
                      <a:lnTo>
                        <a:pt x="238" y="489"/>
                      </a:lnTo>
                      <a:lnTo>
                        <a:pt x="238" y="487"/>
                      </a:lnTo>
                      <a:lnTo>
                        <a:pt x="238" y="486"/>
                      </a:lnTo>
                      <a:lnTo>
                        <a:pt x="236" y="486"/>
                      </a:lnTo>
                      <a:lnTo>
                        <a:pt x="236" y="484"/>
                      </a:lnTo>
                      <a:lnTo>
                        <a:pt x="236" y="482"/>
                      </a:lnTo>
                      <a:lnTo>
                        <a:pt x="234" y="482"/>
                      </a:lnTo>
                      <a:lnTo>
                        <a:pt x="234" y="481"/>
                      </a:lnTo>
                      <a:lnTo>
                        <a:pt x="233" y="479"/>
                      </a:lnTo>
                      <a:lnTo>
                        <a:pt x="231" y="479"/>
                      </a:lnTo>
                      <a:lnTo>
                        <a:pt x="229" y="478"/>
                      </a:lnTo>
                      <a:lnTo>
                        <a:pt x="228" y="476"/>
                      </a:lnTo>
                      <a:lnTo>
                        <a:pt x="228" y="474"/>
                      </a:lnTo>
                      <a:lnTo>
                        <a:pt x="228" y="473"/>
                      </a:lnTo>
                      <a:lnTo>
                        <a:pt x="228" y="471"/>
                      </a:lnTo>
                      <a:lnTo>
                        <a:pt x="228" y="469"/>
                      </a:lnTo>
                      <a:lnTo>
                        <a:pt x="228" y="468"/>
                      </a:lnTo>
                      <a:lnTo>
                        <a:pt x="226" y="468"/>
                      </a:lnTo>
                      <a:lnTo>
                        <a:pt x="226" y="466"/>
                      </a:lnTo>
                      <a:lnTo>
                        <a:pt x="226" y="464"/>
                      </a:lnTo>
                      <a:lnTo>
                        <a:pt x="226" y="463"/>
                      </a:lnTo>
                      <a:lnTo>
                        <a:pt x="224" y="461"/>
                      </a:lnTo>
                      <a:lnTo>
                        <a:pt x="224" y="459"/>
                      </a:lnTo>
                      <a:lnTo>
                        <a:pt x="224" y="456"/>
                      </a:lnTo>
                      <a:lnTo>
                        <a:pt x="224" y="455"/>
                      </a:lnTo>
                      <a:lnTo>
                        <a:pt x="224" y="453"/>
                      </a:lnTo>
                      <a:lnTo>
                        <a:pt x="224" y="451"/>
                      </a:lnTo>
                      <a:lnTo>
                        <a:pt x="226" y="451"/>
                      </a:lnTo>
                      <a:lnTo>
                        <a:pt x="226" y="450"/>
                      </a:lnTo>
                      <a:lnTo>
                        <a:pt x="224" y="448"/>
                      </a:lnTo>
                      <a:lnTo>
                        <a:pt x="224" y="446"/>
                      </a:lnTo>
                      <a:lnTo>
                        <a:pt x="223" y="443"/>
                      </a:lnTo>
                      <a:lnTo>
                        <a:pt x="221" y="443"/>
                      </a:lnTo>
                      <a:lnTo>
                        <a:pt x="221" y="445"/>
                      </a:lnTo>
                      <a:lnTo>
                        <a:pt x="219" y="445"/>
                      </a:lnTo>
                      <a:lnTo>
                        <a:pt x="219" y="443"/>
                      </a:lnTo>
                      <a:lnTo>
                        <a:pt x="219" y="440"/>
                      </a:lnTo>
                      <a:lnTo>
                        <a:pt x="218" y="438"/>
                      </a:lnTo>
                      <a:lnTo>
                        <a:pt x="218" y="436"/>
                      </a:lnTo>
                      <a:lnTo>
                        <a:pt x="218" y="435"/>
                      </a:lnTo>
                      <a:lnTo>
                        <a:pt x="219" y="433"/>
                      </a:lnTo>
                      <a:lnTo>
                        <a:pt x="219" y="432"/>
                      </a:lnTo>
                      <a:lnTo>
                        <a:pt x="219" y="430"/>
                      </a:lnTo>
                      <a:lnTo>
                        <a:pt x="219" y="428"/>
                      </a:lnTo>
                      <a:lnTo>
                        <a:pt x="218" y="427"/>
                      </a:lnTo>
                      <a:lnTo>
                        <a:pt x="218" y="425"/>
                      </a:lnTo>
                      <a:lnTo>
                        <a:pt x="218" y="423"/>
                      </a:lnTo>
                      <a:lnTo>
                        <a:pt x="218" y="422"/>
                      </a:lnTo>
                      <a:lnTo>
                        <a:pt x="218" y="420"/>
                      </a:lnTo>
                      <a:lnTo>
                        <a:pt x="219" y="418"/>
                      </a:lnTo>
                      <a:lnTo>
                        <a:pt x="219" y="417"/>
                      </a:lnTo>
                      <a:lnTo>
                        <a:pt x="221" y="417"/>
                      </a:lnTo>
                      <a:lnTo>
                        <a:pt x="223" y="415"/>
                      </a:lnTo>
                      <a:lnTo>
                        <a:pt x="224" y="414"/>
                      </a:lnTo>
                      <a:lnTo>
                        <a:pt x="224" y="412"/>
                      </a:lnTo>
                      <a:lnTo>
                        <a:pt x="224" y="409"/>
                      </a:lnTo>
                      <a:lnTo>
                        <a:pt x="223" y="407"/>
                      </a:lnTo>
                      <a:lnTo>
                        <a:pt x="223" y="405"/>
                      </a:lnTo>
                      <a:lnTo>
                        <a:pt x="223" y="404"/>
                      </a:lnTo>
                      <a:lnTo>
                        <a:pt x="223" y="402"/>
                      </a:lnTo>
                      <a:lnTo>
                        <a:pt x="224" y="400"/>
                      </a:lnTo>
                      <a:lnTo>
                        <a:pt x="226" y="399"/>
                      </a:lnTo>
                      <a:lnTo>
                        <a:pt x="226" y="397"/>
                      </a:lnTo>
                      <a:lnTo>
                        <a:pt x="226" y="395"/>
                      </a:lnTo>
                      <a:lnTo>
                        <a:pt x="226" y="394"/>
                      </a:lnTo>
                      <a:lnTo>
                        <a:pt x="224" y="394"/>
                      </a:lnTo>
                      <a:lnTo>
                        <a:pt x="224" y="392"/>
                      </a:lnTo>
                      <a:lnTo>
                        <a:pt x="223" y="391"/>
                      </a:lnTo>
                      <a:lnTo>
                        <a:pt x="223" y="389"/>
                      </a:lnTo>
                      <a:lnTo>
                        <a:pt x="223" y="387"/>
                      </a:lnTo>
                      <a:lnTo>
                        <a:pt x="224" y="387"/>
                      </a:lnTo>
                      <a:lnTo>
                        <a:pt x="224" y="386"/>
                      </a:lnTo>
                      <a:lnTo>
                        <a:pt x="223" y="384"/>
                      </a:lnTo>
                      <a:lnTo>
                        <a:pt x="223" y="386"/>
                      </a:lnTo>
                      <a:lnTo>
                        <a:pt x="219" y="386"/>
                      </a:lnTo>
                      <a:lnTo>
                        <a:pt x="218" y="384"/>
                      </a:lnTo>
                      <a:lnTo>
                        <a:pt x="216" y="382"/>
                      </a:lnTo>
                      <a:lnTo>
                        <a:pt x="216" y="379"/>
                      </a:lnTo>
                      <a:lnTo>
                        <a:pt x="216" y="377"/>
                      </a:lnTo>
                      <a:lnTo>
                        <a:pt x="216" y="376"/>
                      </a:lnTo>
                      <a:lnTo>
                        <a:pt x="214" y="372"/>
                      </a:lnTo>
                      <a:lnTo>
                        <a:pt x="212" y="368"/>
                      </a:lnTo>
                      <a:lnTo>
                        <a:pt x="212" y="366"/>
                      </a:lnTo>
                      <a:lnTo>
                        <a:pt x="211" y="366"/>
                      </a:lnTo>
                      <a:lnTo>
                        <a:pt x="211" y="364"/>
                      </a:lnTo>
                      <a:lnTo>
                        <a:pt x="211" y="363"/>
                      </a:lnTo>
                      <a:lnTo>
                        <a:pt x="211" y="361"/>
                      </a:lnTo>
                      <a:lnTo>
                        <a:pt x="209" y="359"/>
                      </a:lnTo>
                      <a:lnTo>
                        <a:pt x="209" y="358"/>
                      </a:lnTo>
                      <a:lnTo>
                        <a:pt x="209" y="356"/>
                      </a:lnTo>
                      <a:lnTo>
                        <a:pt x="209" y="354"/>
                      </a:lnTo>
                      <a:lnTo>
                        <a:pt x="207" y="353"/>
                      </a:lnTo>
                      <a:lnTo>
                        <a:pt x="207" y="351"/>
                      </a:lnTo>
                      <a:lnTo>
                        <a:pt x="206" y="351"/>
                      </a:lnTo>
                      <a:lnTo>
                        <a:pt x="204" y="351"/>
                      </a:lnTo>
                      <a:lnTo>
                        <a:pt x="202" y="349"/>
                      </a:lnTo>
                      <a:lnTo>
                        <a:pt x="201" y="348"/>
                      </a:lnTo>
                      <a:lnTo>
                        <a:pt x="199" y="346"/>
                      </a:lnTo>
                      <a:lnTo>
                        <a:pt x="199" y="345"/>
                      </a:lnTo>
                      <a:lnTo>
                        <a:pt x="199" y="343"/>
                      </a:lnTo>
                      <a:lnTo>
                        <a:pt x="194" y="340"/>
                      </a:lnTo>
                      <a:lnTo>
                        <a:pt x="194" y="338"/>
                      </a:lnTo>
                      <a:lnTo>
                        <a:pt x="192" y="338"/>
                      </a:lnTo>
                      <a:lnTo>
                        <a:pt x="194" y="336"/>
                      </a:lnTo>
                      <a:lnTo>
                        <a:pt x="194" y="335"/>
                      </a:lnTo>
                      <a:lnTo>
                        <a:pt x="196" y="333"/>
                      </a:lnTo>
                      <a:lnTo>
                        <a:pt x="197" y="331"/>
                      </a:lnTo>
                      <a:lnTo>
                        <a:pt x="199" y="330"/>
                      </a:lnTo>
                      <a:lnTo>
                        <a:pt x="201" y="328"/>
                      </a:lnTo>
                      <a:lnTo>
                        <a:pt x="201" y="326"/>
                      </a:lnTo>
                      <a:lnTo>
                        <a:pt x="201" y="325"/>
                      </a:lnTo>
                      <a:lnTo>
                        <a:pt x="201" y="323"/>
                      </a:lnTo>
                      <a:lnTo>
                        <a:pt x="201" y="322"/>
                      </a:lnTo>
                      <a:lnTo>
                        <a:pt x="201" y="320"/>
                      </a:lnTo>
                      <a:lnTo>
                        <a:pt x="201" y="318"/>
                      </a:lnTo>
                      <a:lnTo>
                        <a:pt x="201" y="317"/>
                      </a:lnTo>
                      <a:lnTo>
                        <a:pt x="202" y="315"/>
                      </a:lnTo>
                      <a:lnTo>
                        <a:pt x="202" y="313"/>
                      </a:lnTo>
                      <a:lnTo>
                        <a:pt x="202" y="312"/>
                      </a:lnTo>
                      <a:lnTo>
                        <a:pt x="204" y="310"/>
                      </a:lnTo>
                      <a:lnTo>
                        <a:pt x="204" y="308"/>
                      </a:lnTo>
                      <a:lnTo>
                        <a:pt x="202" y="307"/>
                      </a:lnTo>
                      <a:lnTo>
                        <a:pt x="202" y="305"/>
                      </a:lnTo>
                      <a:lnTo>
                        <a:pt x="201" y="305"/>
                      </a:lnTo>
                      <a:lnTo>
                        <a:pt x="199" y="303"/>
                      </a:lnTo>
                      <a:lnTo>
                        <a:pt x="196" y="302"/>
                      </a:lnTo>
                      <a:lnTo>
                        <a:pt x="194" y="302"/>
                      </a:lnTo>
                      <a:lnTo>
                        <a:pt x="192" y="302"/>
                      </a:lnTo>
                      <a:lnTo>
                        <a:pt x="192" y="300"/>
                      </a:lnTo>
                      <a:lnTo>
                        <a:pt x="190" y="300"/>
                      </a:lnTo>
                      <a:lnTo>
                        <a:pt x="189" y="300"/>
                      </a:lnTo>
                      <a:lnTo>
                        <a:pt x="187" y="299"/>
                      </a:lnTo>
                      <a:lnTo>
                        <a:pt x="184" y="299"/>
                      </a:lnTo>
                      <a:lnTo>
                        <a:pt x="182" y="299"/>
                      </a:lnTo>
                      <a:lnTo>
                        <a:pt x="180" y="299"/>
                      </a:lnTo>
                      <a:lnTo>
                        <a:pt x="179" y="299"/>
                      </a:lnTo>
                      <a:lnTo>
                        <a:pt x="177" y="299"/>
                      </a:lnTo>
                      <a:lnTo>
                        <a:pt x="177" y="300"/>
                      </a:lnTo>
                      <a:lnTo>
                        <a:pt x="175" y="299"/>
                      </a:lnTo>
                      <a:lnTo>
                        <a:pt x="175" y="300"/>
                      </a:lnTo>
                      <a:lnTo>
                        <a:pt x="174" y="300"/>
                      </a:lnTo>
                      <a:lnTo>
                        <a:pt x="172" y="299"/>
                      </a:lnTo>
                      <a:lnTo>
                        <a:pt x="170" y="299"/>
                      </a:lnTo>
                      <a:lnTo>
                        <a:pt x="169" y="297"/>
                      </a:lnTo>
                      <a:lnTo>
                        <a:pt x="167" y="295"/>
                      </a:lnTo>
                      <a:lnTo>
                        <a:pt x="165" y="295"/>
                      </a:lnTo>
                      <a:lnTo>
                        <a:pt x="165" y="294"/>
                      </a:lnTo>
                      <a:lnTo>
                        <a:pt x="163" y="292"/>
                      </a:lnTo>
                      <a:lnTo>
                        <a:pt x="163" y="290"/>
                      </a:lnTo>
                      <a:lnTo>
                        <a:pt x="163" y="289"/>
                      </a:lnTo>
                      <a:lnTo>
                        <a:pt x="162" y="289"/>
                      </a:lnTo>
                      <a:lnTo>
                        <a:pt x="163" y="287"/>
                      </a:lnTo>
                      <a:lnTo>
                        <a:pt x="163" y="285"/>
                      </a:lnTo>
                      <a:lnTo>
                        <a:pt x="162" y="285"/>
                      </a:lnTo>
                      <a:lnTo>
                        <a:pt x="160" y="285"/>
                      </a:lnTo>
                      <a:lnTo>
                        <a:pt x="158" y="284"/>
                      </a:lnTo>
                      <a:lnTo>
                        <a:pt x="157" y="284"/>
                      </a:lnTo>
                      <a:lnTo>
                        <a:pt x="155" y="285"/>
                      </a:lnTo>
                      <a:lnTo>
                        <a:pt x="153" y="285"/>
                      </a:lnTo>
                      <a:lnTo>
                        <a:pt x="150" y="287"/>
                      </a:lnTo>
                      <a:lnTo>
                        <a:pt x="148" y="287"/>
                      </a:lnTo>
                      <a:lnTo>
                        <a:pt x="147" y="285"/>
                      </a:lnTo>
                      <a:lnTo>
                        <a:pt x="145" y="285"/>
                      </a:lnTo>
                      <a:lnTo>
                        <a:pt x="143" y="284"/>
                      </a:lnTo>
                      <a:lnTo>
                        <a:pt x="142" y="284"/>
                      </a:lnTo>
                      <a:lnTo>
                        <a:pt x="142" y="282"/>
                      </a:lnTo>
                      <a:lnTo>
                        <a:pt x="140" y="282"/>
                      </a:lnTo>
                      <a:lnTo>
                        <a:pt x="138" y="280"/>
                      </a:lnTo>
                      <a:lnTo>
                        <a:pt x="138" y="279"/>
                      </a:lnTo>
                      <a:lnTo>
                        <a:pt x="138" y="277"/>
                      </a:lnTo>
                      <a:lnTo>
                        <a:pt x="138" y="276"/>
                      </a:lnTo>
                      <a:lnTo>
                        <a:pt x="140" y="276"/>
                      </a:lnTo>
                      <a:lnTo>
                        <a:pt x="140" y="274"/>
                      </a:lnTo>
                      <a:lnTo>
                        <a:pt x="140" y="272"/>
                      </a:lnTo>
                      <a:lnTo>
                        <a:pt x="140" y="271"/>
                      </a:lnTo>
                      <a:lnTo>
                        <a:pt x="138" y="269"/>
                      </a:lnTo>
                      <a:lnTo>
                        <a:pt x="138" y="267"/>
                      </a:lnTo>
                      <a:lnTo>
                        <a:pt x="140" y="266"/>
                      </a:lnTo>
                      <a:lnTo>
                        <a:pt x="140" y="264"/>
                      </a:lnTo>
                      <a:lnTo>
                        <a:pt x="138" y="262"/>
                      </a:lnTo>
                      <a:lnTo>
                        <a:pt x="138" y="261"/>
                      </a:lnTo>
                      <a:lnTo>
                        <a:pt x="136" y="261"/>
                      </a:lnTo>
                      <a:lnTo>
                        <a:pt x="133" y="261"/>
                      </a:lnTo>
                      <a:lnTo>
                        <a:pt x="131" y="261"/>
                      </a:lnTo>
                      <a:lnTo>
                        <a:pt x="130" y="261"/>
                      </a:lnTo>
                      <a:lnTo>
                        <a:pt x="126" y="261"/>
                      </a:lnTo>
                      <a:lnTo>
                        <a:pt x="123" y="262"/>
                      </a:lnTo>
                      <a:lnTo>
                        <a:pt x="121" y="262"/>
                      </a:lnTo>
                      <a:lnTo>
                        <a:pt x="120" y="262"/>
                      </a:lnTo>
                      <a:lnTo>
                        <a:pt x="118" y="262"/>
                      </a:lnTo>
                      <a:lnTo>
                        <a:pt x="116" y="264"/>
                      </a:lnTo>
                      <a:lnTo>
                        <a:pt x="113" y="266"/>
                      </a:lnTo>
                      <a:lnTo>
                        <a:pt x="109" y="266"/>
                      </a:lnTo>
                      <a:lnTo>
                        <a:pt x="106" y="266"/>
                      </a:lnTo>
                      <a:lnTo>
                        <a:pt x="104" y="266"/>
                      </a:lnTo>
                      <a:lnTo>
                        <a:pt x="103" y="266"/>
                      </a:lnTo>
                      <a:lnTo>
                        <a:pt x="101" y="264"/>
                      </a:lnTo>
                      <a:lnTo>
                        <a:pt x="99" y="264"/>
                      </a:lnTo>
                      <a:lnTo>
                        <a:pt x="96" y="262"/>
                      </a:lnTo>
                      <a:lnTo>
                        <a:pt x="94" y="262"/>
                      </a:lnTo>
                      <a:lnTo>
                        <a:pt x="93" y="261"/>
                      </a:lnTo>
                      <a:lnTo>
                        <a:pt x="91" y="261"/>
                      </a:lnTo>
                      <a:lnTo>
                        <a:pt x="89" y="261"/>
                      </a:lnTo>
                      <a:lnTo>
                        <a:pt x="87" y="259"/>
                      </a:lnTo>
                      <a:lnTo>
                        <a:pt x="84" y="259"/>
                      </a:lnTo>
                      <a:lnTo>
                        <a:pt x="84" y="257"/>
                      </a:lnTo>
                      <a:lnTo>
                        <a:pt x="82" y="257"/>
                      </a:lnTo>
                      <a:lnTo>
                        <a:pt x="81" y="257"/>
                      </a:lnTo>
                      <a:lnTo>
                        <a:pt x="79" y="257"/>
                      </a:lnTo>
                      <a:lnTo>
                        <a:pt x="79" y="256"/>
                      </a:lnTo>
                      <a:lnTo>
                        <a:pt x="77" y="256"/>
                      </a:lnTo>
                      <a:lnTo>
                        <a:pt x="77" y="257"/>
                      </a:lnTo>
                      <a:lnTo>
                        <a:pt x="76" y="257"/>
                      </a:lnTo>
                      <a:lnTo>
                        <a:pt x="76" y="256"/>
                      </a:lnTo>
                      <a:lnTo>
                        <a:pt x="76" y="254"/>
                      </a:lnTo>
                      <a:lnTo>
                        <a:pt x="74" y="254"/>
                      </a:lnTo>
                      <a:lnTo>
                        <a:pt x="72" y="254"/>
                      </a:lnTo>
                      <a:lnTo>
                        <a:pt x="74" y="253"/>
                      </a:lnTo>
                      <a:lnTo>
                        <a:pt x="74" y="251"/>
                      </a:lnTo>
                      <a:lnTo>
                        <a:pt x="74" y="249"/>
                      </a:lnTo>
                      <a:lnTo>
                        <a:pt x="74" y="248"/>
                      </a:lnTo>
                      <a:lnTo>
                        <a:pt x="76" y="248"/>
                      </a:lnTo>
                      <a:lnTo>
                        <a:pt x="76" y="246"/>
                      </a:lnTo>
                      <a:lnTo>
                        <a:pt x="77" y="246"/>
                      </a:lnTo>
                      <a:lnTo>
                        <a:pt x="77" y="244"/>
                      </a:lnTo>
                      <a:lnTo>
                        <a:pt x="77" y="243"/>
                      </a:lnTo>
                      <a:lnTo>
                        <a:pt x="79" y="243"/>
                      </a:lnTo>
                      <a:lnTo>
                        <a:pt x="81" y="241"/>
                      </a:lnTo>
                      <a:lnTo>
                        <a:pt x="81" y="239"/>
                      </a:lnTo>
                      <a:lnTo>
                        <a:pt x="79" y="239"/>
                      </a:lnTo>
                      <a:lnTo>
                        <a:pt x="81" y="238"/>
                      </a:lnTo>
                      <a:lnTo>
                        <a:pt x="79" y="236"/>
                      </a:lnTo>
                      <a:lnTo>
                        <a:pt x="79" y="234"/>
                      </a:lnTo>
                      <a:lnTo>
                        <a:pt x="81" y="234"/>
                      </a:lnTo>
                      <a:lnTo>
                        <a:pt x="81" y="233"/>
                      </a:lnTo>
                      <a:lnTo>
                        <a:pt x="79" y="233"/>
                      </a:lnTo>
                      <a:lnTo>
                        <a:pt x="79" y="231"/>
                      </a:lnTo>
                      <a:lnTo>
                        <a:pt x="79" y="230"/>
                      </a:lnTo>
                      <a:lnTo>
                        <a:pt x="77" y="230"/>
                      </a:lnTo>
                      <a:lnTo>
                        <a:pt x="77" y="228"/>
                      </a:lnTo>
                      <a:lnTo>
                        <a:pt x="77" y="226"/>
                      </a:lnTo>
                      <a:lnTo>
                        <a:pt x="77" y="225"/>
                      </a:lnTo>
                      <a:lnTo>
                        <a:pt x="76" y="225"/>
                      </a:lnTo>
                      <a:lnTo>
                        <a:pt x="74" y="223"/>
                      </a:lnTo>
                      <a:lnTo>
                        <a:pt x="74" y="221"/>
                      </a:lnTo>
                      <a:lnTo>
                        <a:pt x="72" y="221"/>
                      </a:lnTo>
                      <a:lnTo>
                        <a:pt x="72" y="220"/>
                      </a:lnTo>
                      <a:lnTo>
                        <a:pt x="72" y="216"/>
                      </a:lnTo>
                      <a:lnTo>
                        <a:pt x="72" y="215"/>
                      </a:lnTo>
                      <a:lnTo>
                        <a:pt x="72" y="213"/>
                      </a:lnTo>
                      <a:lnTo>
                        <a:pt x="71" y="213"/>
                      </a:lnTo>
                      <a:lnTo>
                        <a:pt x="69" y="213"/>
                      </a:lnTo>
                      <a:lnTo>
                        <a:pt x="69" y="212"/>
                      </a:lnTo>
                      <a:lnTo>
                        <a:pt x="67" y="210"/>
                      </a:lnTo>
                      <a:lnTo>
                        <a:pt x="67" y="208"/>
                      </a:lnTo>
                      <a:lnTo>
                        <a:pt x="66" y="208"/>
                      </a:lnTo>
                      <a:lnTo>
                        <a:pt x="66" y="207"/>
                      </a:lnTo>
                      <a:lnTo>
                        <a:pt x="64" y="205"/>
                      </a:lnTo>
                      <a:lnTo>
                        <a:pt x="62" y="203"/>
                      </a:lnTo>
                      <a:lnTo>
                        <a:pt x="62" y="202"/>
                      </a:lnTo>
                      <a:lnTo>
                        <a:pt x="60" y="202"/>
                      </a:lnTo>
                      <a:lnTo>
                        <a:pt x="59" y="200"/>
                      </a:lnTo>
                      <a:lnTo>
                        <a:pt x="57" y="200"/>
                      </a:lnTo>
                      <a:lnTo>
                        <a:pt x="57" y="198"/>
                      </a:lnTo>
                      <a:lnTo>
                        <a:pt x="57" y="197"/>
                      </a:lnTo>
                      <a:lnTo>
                        <a:pt x="57" y="195"/>
                      </a:lnTo>
                      <a:lnTo>
                        <a:pt x="59" y="192"/>
                      </a:lnTo>
                      <a:lnTo>
                        <a:pt x="59" y="190"/>
                      </a:lnTo>
                      <a:lnTo>
                        <a:pt x="59" y="189"/>
                      </a:lnTo>
                      <a:lnTo>
                        <a:pt x="59" y="187"/>
                      </a:lnTo>
                      <a:lnTo>
                        <a:pt x="59" y="185"/>
                      </a:lnTo>
                      <a:lnTo>
                        <a:pt x="55" y="180"/>
                      </a:lnTo>
                      <a:lnTo>
                        <a:pt x="55" y="179"/>
                      </a:lnTo>
                      <a:lnTo>
                        <a:pt x="55" y="177"/>
                      </a:lnTo>
                      <a:lnTo>
                        <a:pt x="57" y="174"/>
                      </a:lnTo>
                      <a:lnTo>
                        <a:pt x="57" y="172"/>
                      </a:lnTo>
                      <a:lnTo>
                        <a:pt x="55" y="172"/>
                      </a:lnTo>
                      <a:lnTo>
                        <a:pt x="55" y="170"/>
                      </a:lnTo>
                      <a:lnTo>
                        <a:pt x="54" y="170"/>
                      </a:lnTo>
                      <a:lnTo>
                        <a:pt x="55" y="170"/>
                      </a:lnTo>
                      <a:lnTo>
                        <a:pt x="55" y="169"/>
                      </a:lnTo>
                      <a:lnTo>
                        <a:pt x="55" y="167"/>
                      </a:lnTo>
                      <a:lnTo>
                        <a:pt x="59" y="164"/>
                      </a:lnTo>
                      <a:lnTo>
                        <a:pt x="60" y="164"/>
                      </a:lnTo>
                      <a:lnTo>
                        <a:pt x="60" y="162"/>
                      </a:lnTo>
                      <a:lnTo>
                        <a:pt x="60" y="161"/>
                      </a:lnTo>
                      <a:lnTo>
                        <a:pt x="60" y="159"/>
                      </a:lnTo>
                      <a:lnTo>
                        <a:pt x="60" y="157"/>
                      </a:lnTo>
                      <a:lnTo>
                        <a:pt x="60" y="156"/>
                      </a:lnTo>
                      <a:lnTo>
                        <a:pt x="59" y="154"/>
                      </a:lnTo>
                      <a:lnTo>
                        <a:pt x="55" y="151"/>
                      </a:lnTo>
                      <a:lnTo>
                        <a:pt x="55" y="149"/>
                      </a:lnTo>
                      <a:lnTo>
                        <a:pt x="54" y="149"/>
                      </a:lnTo>
                      <a:lnTo>
                        <a:pt x="52" y="147"/>
                      </a:lnTo>
                      <a:lnTo>
                        <a:pt x="52" y="146"/>
                      </a:lnTo>
                      <a:lnTo>
                        <a:pt x="52" y="144"/>
                      </a:lnTo>
                      <a:lnTo>
                        <a:pt x="49" y="143"/>
                      </a:lnTo>
                      <a:lnTo>
                        <a:pt x="47" y="143"/>
                      </a:lnTo>
                      <a:lnTo>
                        <a:pt x="47" y="141"/>
                      </a:lnTo>
                      <a:lnTo>
                        <a:pt x="45" y="141"/>
                      </a:lnTo>
                      <a:lnTo>
                        <a:pt x="45" y="139"/>
                      </a:lnTo>
                      <a:lnTo>
                        <a:pt x="44" y="139"/>
                      </a:lnTo>
                      <a:lnTo>
                        <a:pt x="42" y="138"/>
                      </a:lnTo>
                      <a:lnTo>
                        <a:pt x="40" y="138"/>
                      </a:lnTo>
                      <a:lnTo>
                        <a:pt x="38" y="136"/>
                      </a:lnTo>
                      <a:lnTo>
                        <a:pt x="37" y="136"/>
                      </a:lnTo>
                      <a:lnTo>
                        <a:pt x="35" y="136"/>
                      </a:lnTo>
                      <a:lnTo>
                        <a:pt x="33" y="136"/>
                      </a:lnTo>
                      <a:lnTo>
                        <a:pt x="32" y="136"/>
                      </a:lnTo>
                      <a:lnTo>
                        <a:pt x="32" y="134"/>
                      </a:lnTo>
                      <a:lnTo>
                        <a:pt x="30" y="133"/>
                      </a:lnTo>
                      <a:lnTo>
                        <a:pt x="28" y="131"/>
                      </a:lnTo>
                      <a:lnTo>
                        <a:pt x="27" y="129"/>
                      </a:lnTo>
                      <a:lnTo>
                        <a:pt x="25" y="128"/>
                      </a:lnTo>
                      <a:lnTo>
                        <a:pt x="23" y="123"/>
                      </a:lnTo>
                      <a:lnTo>
                        <a:pt x="22" y="121"/>
                      </a:lnTo>
                      <a:lnTo>
                        <a:pt x="20" y="121"/>
                      </a:lnTo>
                      <a:lnTo>
                        <a:pt x="20" y="120"/>
                      </a:lnTo>
                      <a:lnTo>
                        <a:pt x="18" y="118"/>
                      </a:lnTo>
                      <a:lnTo>
                        <a:pt x="17" y="116"/>
                      </a:lnTo>
                      <a:lnTo>
                        <a:pt x="15" y="116"/>
                      </a:lnTo>
                      <a:lnTo>
                        <a:pt x="15" y="115"/>
                      </a:lnTo>
                      <a:lnTo>
                        <a:pt x="13" y="113"/>
                      </a:lnTo>
                      <a:lnTo>
                        <a:pt x="13" y="111"/>
                      </a:lnTo>
                      <a:lnTo>
                        <a:pt x="11" y="110"/>
                      </a:lnTo>
                      <a:lnTo>
                        <a:pt x="11" y="108"/>
                      </a:lnTo>
                      <a:lnTo>
                        <a:pt x="10" y="106"/>
                      </a:lnTo>
                      <a:lnTo>
                        <a:pt x="10" y="105"/>
                      </a:lnTo>
                      <a:lnTo>
                        <a:pt x="8" y="105"/>
                      </a:lnTo>
                      <a:lnTo>
                        <a:pt x="8" y="103"/>
                      </a:lnTo>
                      <a:lnTo>
                        <a:pt x="5" y="101"/>
                      </a:lnTo>
                      <a:lnTo>
                        <a:pt x="3" y="101"/>
                      </a:lnTo>
                      <a:lnTo>
                        <a:pt x="1" y="100"/>
                      </a:lnTo>
                      <a:lnTo>
                        <a:pt x="1" y="97"/>
                      </a:lnTo>
                      <a:lnTo>
                        <a:pt x="1" y="95"/>
                      </a:lnTo>
                      <a:lnTo>
                        <a:pt x="0" y="93"/>
                      </a:lnTo>
                      <a:lnTo>
                        <a:pt x="1" y="92"/>
                      </a:lnTo>
                      <a:lnTo>
                        <a:pt x="3" y="90"/>
                      </a:lnTo>
                      <a:lnTo>
                        <a:pt x="5" y="90"/>
                      </a:lnTo>
                      <a:lnTo>
                        <a:pt x="6" y="90"/>
                      </a:lnTo>
                      <a:lnTo>
                        <a:pt x="8" y="92"/>
                      </a:lnTo>
                      <a:lnTo>
                        <a:pt x="10" y="92"/>
                      </a:lnTo>
                      <a:lnTo>
                        <a:pt x="13" y="93"/>
                      </a:lnTo>
                      <a:lnTo>
                        <a:pt x="13" y="95"/>
                      </a:lnTo>
                      <a:lnTo>
                        <a:pt x="17" y="97"/>
                      </a:lnTo>
                      <a:lnTo>
                        <a:pt x="18" y="101"/>
                      </a:lnTo>
                      <a:lnTo>
                        <a:pt x="18" y="103"/>
                      </a:lnTo>
                      <a:lnTo>
                        <a:pt x="20" y="103"/>
                      </a:lnTo>
                      <a:lnTo>
                        <a:pt x="22" y="105"/>
                      </a:lnTo>
                      <a:lnTo>
                        <a:pt x="23" y="106"/>
                      </a:lnTo>
                      <a:lnTo>
                        <a:pt x="25" y="106"/>
                      </a:lnTo>
                      <a:lnTo>
                        <a:pt x="27" y="106"/>
                      </a:lnTo>
                      <a:lnTo>
                        <a:pt x="28" y="106"/>
                      </a:lnTo>
                      <a:lnTo>
                        <a:pt x="30" y="105"/>
                      </a:lnTo>
                      <a:lnTo>
                        <a:pt x="30" y="106"/>
                      </a:lnTo>
                      <a:lnTo>
                        <a:pt x="32" y="106"/>
                      </a:lnTo>
                      <a:lnTo>
                        <a:pt x="35" y="105"/>
                      </a:lnTo>
                      <a:lnTo>
                        <a:pt x="37" y="105"/>
                      </a:lnTo>
                      <a:lnTo>
                        <a:pt x="38" y="103"/>
                      </a:lnTo>
                      <a:lnTo>
                        <a:pt x="40" y="105"/>
                      </a:lnTo>
                      <a:lnTo>
                        <a:pt x="42" y="103"/>
                      </a:lnTo>
                      <a:lnTo>
                        <a:pt x="47" y="105"/>
                      </a:lnTo>
                      <a:lnTo>
                        <a:pt x="49" y="105"/>
                      </a:lnTo>
                      <a:lnTo>
                        <a:pt x="50" y="105"/>
                      </a:lnTo>
                      <a:lnTo>
                        <a:pt x="50" y="103"/>
                      </a:lnTo>
                      <a:lnTo>
                        <a:pt x="52" y="103"/>
                      </a:lnTo>
                      <a:lnTo>
                        <a:pt x="54" y="103"/>
                      </a:lnTo>
                      <a:lnTo>
                        <a:pt x="54" y="105"/>
                      </a:lnTo>
                      <a:lnTo>
                        <a:pt x="55" y="105"/>
                      </a:lnTo>
                      <a:lnTo>
                        <a:pt x="57" y="105"/>
                      </a:lnTo>
                      <a:lnTo>
                        <a:pt x="59" y="105"/>
                      </a:lnTo>
                      <a:lnTo>
                        <a:pt x="59" y="106"/>
                      </a:lnTo>
                      <a:lnTo>
                        <a:pt x="60" y="105"/>
                      </a:lnTo>
                      <a:lnTo>
                        <a:pt x="62" y="105"/>
                      </a:lnTo>
                      <a:lnTo>
                        <a:pt x="64" y="105"/>
                      </a:lnTo>
                      <a:lnTo>
                        <a:pt x="66" y="106"/>
                      </a:lnTo>
                      <a:lnTo>
                        <a:pt x="67" y="108"/>
                      </a:lnTo>
                      <a:lnTo>
                        <a:pt x="69" y="108"/>
                      </a:lnTo>
                      <a:lnTo>
                        <a:pt x="69" y="110"/>
                      </a:lnTo>
                      <a:lnTo>
                        <a:pt x="69" y="111"/>
                      </a:lnTo>
                      <a:lnTo>
                        <a:pt x="69" y="113"/>
                      </a:lnTo>
                      <a:lnTo>
                        <a:pt x="69" y="115"/>
                      </a:lnTo>
                      <a:lnTo>
                        <a:pt x="71" y="115"/>
                      </a:lnTo>
                      <a:lnTo>
                        <a:pt x="72" y="116"/>
                      </a:lnTo>
                      <a:lnTo>
                        <a:pt x="72" y="118"/>
                      </a:lnTo>
                      <a:lnTo>
                        <a:pt x="74" y="120"/>
                      </a:lnTo>
                      <a:lnTo>
                        <a:pt x="74" y="121"/>
                      </a:lnTo>
                      <a:lnTo>
                        <a:pt x="76" y="121"/>
                      </a:lnTo>
                      <a:lnTo>
                        <a:pt x="76" y="123"/>
                      </a:lnTo>
                      <a:lnTo>
                        <a:pt x="79" y="123"/>
                      </a:lnTo>
                      <a:lnTo>
                        <a:pt x="79" y="124"/>
                      </a:lnTo>
                      <a:lnTo>
                        <a:pt x="79" y="126"/>
                      </a:lnTo>
                      <a:lnTo>
                        <a:pt x="81" y="126"/>
                      </a:lnTo>
                      <a:lnTo>
                        <a:pt x="82" y="128"/>
                      </a:lnTo>
                      <a:lnTo>
                        <a:pt x="82" y="126"/>
                      </a:lnTo>
                      <a:lnTo>
                        <a:pt x="84" y="126"/>
                      </a:lnTo>
                      <a:lnTo>
                        <a:pt x="84" y="124"/>
                      </a:lnTo>
                      <a:lnTo>
                        <a:pt x="86" y="123"/>
                      </a:lnTo>
                      <a:lnTo>
                        <a:pt x="87" y="123"/>
                      </a:lnTo>
                      <a:lnTo>
                        <a:pt x="89" y="123"/>
                      </a:lnTo>
                      <a:lnTo>
                        <a:pt x="91" y="123"/>
                      </a:lnTo>
                      <a:lnTo>
                        <a:pt x="91" y="121"/>
                      </a:lnTo>
                      <a:lnTo>
                        <a:pt x="93" y="121"/>
                      </a:lnTo>
                      <a:lnTo>
                        <a:pt x="94" y="121"/>
                      </a:lnTo>
                      <a:lnTo>
                        <a:pt x="96" y="121"/>
                      </a:lnTo>
                      <a:lnTo>
                        <a:pt x="98" y="121"/>
                      </a:lnTo>
                      <a:lnTo>
                        <a:pt x="98" y="123"/>
                      </a:lnTo>
                      <a:lnTo>
                        <a:pt x="99" y="123"/>
                      </a:lnTo>
                      <a:lnTo>
                        <a:pt x="101" y="121"/>
                      </a:lnTo>
                      <a:lnTo>
                        <a:pt x="101" y="123"/>
                      </a:lnTo>
                      <a:lnTo>
                        <a:pt x="101" y="121"/>
                      </a:lnTo>
                      <a:lnTo>
                        <a:pt x="103" y="121"/>
                      </a:lnTo>
                      <a:lnTo>
                        <a:pt x="103" y="123"/>
                      </a:lnTo>
                      <a:lnTo>
                        <a:pt x="104" y="123"/>
                      </a:lnTo>
                      <a:lnTo>
                        <a:pt x="103" y="123"/>
                      </a:lnTo>
                      <a:lnTo>
                        <a:pt x="103" y="124"/>
                      </a:lnTo>
                      <a:lnTo>
                        <a:pt x="104" y="124"/>
                      </a:lnTo>
                      <a:lnTo>
                        <a:pt x="106" y="124"/>
                      </a:lnTo>
                      <a:lnTo>
                        <a:pt x="108" y="124"/>
                      </a:lnTo>
                      <a:lnTo>
                        <a:pt x="109" y="124"/>
                      </a:lnTo>
                      <a:lnTo>
                        <a:pt x="111" y="123"/>
                      </a:lnTo>
                      <a:lnTo>
                        <a:pt x="109" y="123"/>
                      </a:lnTo>
                      <a:lnTo>
                        <a:pt x="108" y="123"/>
                      </a:lnTo>
                      <a:lnTo>
                        <a:pt x="108" y="121"/>
                      </a:lnTo>
                      <a:lnTo>
                        <a:pt x="108" y="120"/>
                      </a:lnTo>
                      <a:lnTo>
                        <a:pt x="108" y="118"/>
                      </a:lnTo>
                      <a:lnTo>
                        <a:pt x="108" y="116"/>
                      </a:lnTo>
                      <a:lnTo>
                        <a:pt x="108" y="115"/>
                      </a:lnTo>
                      <a:lnTo>
                        <a:pt x="109" y="115"/>
                      </a:lnTo>
                      <a:lnTo>
                        <a:pt x="111" y="115"/>
                      </a:lnTo>
                      <a:lnTo>
                        <a:pt x="111" y="116"/>
                      </a:lnTo>
                      <a:lnTo>
                        <a:pt x="113" y="118"/>
                      </a:lnTo>
                      <a:lnTo>
                        <a:pt x="114" y="120"/>
                      </a:lnTo>
                      <a:lnTo>
                        <a:pt x="116" y="121"/>
                      </a:lnTo>
                      <a:lnTo>
                        <a:pt x="116" y="123"/>
                      </a:lnTo>
                      <a:lnTo>
                        <a:pt x="118" y="123"/>
                      </a:lnTo>
                      <a:lnTo>
                        <a:pt x="118" y="124"/>
                      </a:lnTo>
                      <a:lnTo>
                        <a:pt x="118" y="126"/>
                      </a:lnTo>
                      <a:lnTo>
                        <a:pt x="120" y="128"/>
                      </a:lnTo>
                      <a:lnTo>
                        <a:pt x="120" y="126"/>
                      </a:lnTo>
                      <a:lnTo>
                        <a:pt x="121" y="126"/>
                      </a:lnTo>
                      <a:lnTo>
                        <a:pt x="121" y="128"/>
                      </a:lnTo>
                      <a:lnTo>
                        <a:pt x="121" y="129"/>
                      </a:lnTo>
                      <a:lnTo>
                        <a:pt x="123" y="129"/>
                      </a:lnTo>
                      <a:lnTo>
                        <a:pt x="125" y="129"/>
                      </a:lnTo>
                      <a:lnTo>
                        <a:pt x="125" y="131"/>
                      </a:lnTo>
                      <a:lnTo>
                        <a:pt x="126" y="129"/>
                      </a:lnTo>
                      <a:lnTo>
                        <a:pt x="126" y="131"/>
                      </a:lnTo>
                      <a:lnTo>
                        <a:pt x="126" y="129"/>
                      </a:lnTo>
                      <a:lnTo>
                        <a:pt x="126" y="128"/>
                      </a:lnTo>
                      <a:lnTo>
                        <a:pt x="128" y="128"/>
                      </a:lnTo>
                      <a:lnTo>
                        <a:pt x="130" y="128"/>
                      </a:lnTo>
                      <a:lnTo>
                        <a:pt x="130" y="129"/>
                      </a:lnTo>
                      <a:lnTo>
                        <a:pt x="131" y="129"/>
                      </a:lnTo>
                      <a:lnTo>
                        <a:pt x="133" y="129"/>
                      </a:lnTo>
                      <a:lnTo>
                        <a:pt x="133" y="128"/>
                      </a:lnTo>
                      <a:lnTo>
                        <a:pt x="131" y="128"/>
                      </a:lnTo>
                      <a:lnTo>
                        <a:pt x="131" y="126"/>
                      </a:lnTo>
                      <a:lnTo>
                        <a:pt x="133" y="126"/>
                      </a:lnTo>
                      <a:lnTo>
                        <a:pt x="135" y="124"/>
                      </a:lnTo>
                      <a:lnTo>
                        <a:pt x="133" y="123"/>
                      </a:lnTo>
                      <a:lnTo>
                        <a:pt x="135" y="123"/>
                      </a:lnTo>
                      <a:lnTo>
                        <a:pt x="133" y="123"/>
                      </a:lnTo>
                      <a:lnTo>
                        <a:pt x="131" y="121"/>
                      </a:lnTo>
                      <a:lnTo>
                        <a:pt x="131" y="120"/>
                      </a:lnTo>
                      <a:lnTo>
                        <a:pt x="133" y="120"/>
                      </a:lnTo>
                      <a:lnTo>
                        <a:pt x="133" y="118"/>
                      </a:lnTo>
                      <a:lnTo>
                        <a:pt x="135" y="118"/>
                      </a:lnTo>
                      <a:lnTo>
                        <a:pt x="136" y="118"/>
                      </a:lnTo>
                      <a:lnTo>
                        <a:pt x="138" y="118"/>
                      </a:lnTo>
                      <a:lnTo>
                        <a:pt x="138" y="120"/>
                      </a:lnTo>
                      <a:lnTo>
                        <a:pt x="140" y="120"/>
                      </a:lnTo>
                      <a:lnTo>
                        <a:pt x="142" y="120"/>
                      </a:lnTo>
                      <a:lnTo>
                        <a:pt x="143" y="120"/>
                      </a:lnTo>
                      <a:lnTo>
                        <a:pt x="143" y="118"/>
                      </a:lnTo>
                      <a:lnTo>
                        <a:pt x="145" y="118"/>
                      </a:lnTo>
                      <a:lnTo>
                        <a:pt x="145" y="120"/>
                      </a:lnTo>
                      <a:lnTo>
                        <a:pt x="147" y="120"/>
                      </a:lnTo>
                      <a:lnTo>
                        <a:pt x="147" y="118"/>
                      </a:lnTo>
                      <a:lnTo>
                        <a:pt x="147" y="120"/>
                      </a:lnTo>
                      <a:lnTo>
                        <a:pt x="148" y="120"/>
                      </a:lnTo>
                      <a:lnTo>
                        <a:pt x="150" y="120"/>
                      </a:lnTo>
                      <a:lnTo>
                        <a:pt x="152" y="121"/>
                      </a:lnTo>
                      <a:lnTo>
                        <a:pt x="153" y="121"/>
                      </a:lnTo>
                      <a:lnTo>
                        <a:pt x="153" y="123"/>
                      </a:lnTo>
                      <a:lnTo>
                        <a:pt x="152" y="124"/>
                      </a:lnTo>
                      <a:lnTo>
                        <a:pt x="153" y="124"/>
                      </a:lnTo>
                      <a:lnTo>
                        <a:pt x="152" y="126"/>
                      </a:lnTo>
                      <a:lnTo>
                        <a:pt x="152" y="128"/>
                      </a:lnTo>
                      <a:lnTo>
                        <a:pt x="152" y="129"/>
                      </a:lnTo>
                      <a:lnTo>
                        <a:pt x="152" y="131"/>
                      </a:lnTo>
                      <a:lnTo>
                        <a:pt x="153" y="131"/>
                      </a:lnTo>
                      <a:lnTo>
                        <a:pt x="153" y="133"/>
                      </a:lnTo>
                      <a:lnTo>
                        <a:pt x="153" y="134"/>
                      </a:lnTo>
                      <a:lnTo>
                        <a:pt x="155" y="134"/>
                      </a:lnTo>
                      <a:lnTo>
                        <a:pt x="155" y="133"/>
                      </a:lnTo>
                      <a:lnTo>
                        <a:pt x="157" y="133"/>
                      </a:lnTo>
                      <a:lnTo>
                        <a:pt x="157" y="134"/>
                      </a:lnTo>
                      <a:lnTo>
                        <a:pt x="158" y="134"/>
                      </a:lnTo>
                      <a:lnTo>
                        <a:pt x="160" y="134"/>
                      </a:lnTo>
                      <a:lnTo>
                        <a:pt x="162" y="134"/>
                      </a:lnTo>
                      <a:lnTo>
                        <a:pt x="163" y="134"/>
                      </a:lnTo>
                      <a:lnTo>
                        <a:pt x="163" y="136"/>
                      </a:lnTo>
                      <a:lnTo>
                        <a:pt x="165" y="136"/>
                      </a:lnTo>
                      <a:lnTo>
                        <a:pt x="165" y="138"/>
                      </a:lnTo>
                      <a:lnTo>
                        <a:pt x="167" y="138"/>
                      </a:lnTo>
                      <a:lnTo>
                        <a:pt x="167" y="139"/>
                      </a:lnTo>
                      <a:lnTo>
                        <a:pt x="169" y="139"/>
                      </a:lnTo>
                      <a:lnTo>
                        <a:pt x="169" y="141"/>
                      </a:lnTo>
                      <a:lnTo>
                        <a:pt x="167" y="141"/>
                      </a:lnTo>
                      <a:lnTo>
                        <a:pt x="167" y="144"/>
                      </a:lnTo>
                      <a:lnTo>
                        <a:pt x="165" y="144"/>
                      </a:lnTo>
                      <a:lnTo>
                        <a:pt x="167" y="146"/>
                      </a:lnTo>
                      <a:lnTo>
                        <a:pt x="169" y="146"/>
                      </a:lnTo>
                      <a:lnTo>
                        <a:pt x="170" y="147"/>
                      </a:lnTo>
                      <a:lnTo>
                        <a:pt x="170" y="149"/>
                      </a:lnTo>
                      <a:lnTo>
                        <a:pt x="172" y="149"/>
                      </a:lnTo>
                      <a:lnTo>
                        <a:pt x="174" y="151"/>
                      </a:lnTo>
                      <a:lnTo>
                        <a:pt x="174" y="152"/>
                      </a:lnTo>
                      <a:lnTo>
                        <a:pt x="175" y="152"/>
                      </a:lnTo>
                      <a:lnTo>
                        <a:pt x="177" y="152"/>
                      </a:lnTo>
                      <a:lnTo>
                        <a:pt x="179" y="152"/>
                      </a:lnTo>
                      <a:lnTo>
                        <a:pt x="179" y="151"/>
                      </a:lnTo>
                      <a:lnTo>
                        <a:pt x="180" y="151"/>
                      </a:lnTo>
                      <a:lnTo>
                        <a:pt x="180" y="149"/>
                      </a:lnTo>
                      <a:lnTo>
                        <a:pt x="180" y="147"/>
                      </a:lnTo>
                      <a:lnTo>
                        <a:pt x="180" y="146"/>
                      </a:lnTo>
                      <a:lnTo>
                        <a:pt x="182" y="146"/>
                      </a:lnTo>
                      <a:lnTo>
                        <a:pt x="184" y="146"/>
                      </a:lnTo>
                      <a:lnTo>
                        <a:pt x="185" y="144"/>
                      </a:lnTo>
                      <a:lnTo>
                        <a:pt x="187" y="143"/>
                      </a:lnTo>
                      <a:lnTo>
                        <a:pt x="189" y="141"/>
                      </a:lnTo>
                      <a:lnTo>
                        <a:pt x="190" y="141"/>
                      </a:lnTo>
                      <a:lnTo>
                        <a:pt x="192" y="141"/>
                      </a:lnTo>
                      <a:lnTo>
                        <a:pt x="192" y="143"/>
                      </a:lnTo>
                      <a:lnTo>
                        <a:pt x="194" y="143"/>
                      </a:lnTo>
                      <a:lnTo>
                        <a:pt x="194" y="144"/>
                      </a:lnTo>
                      <a:lnTo>
                        <a:pt x="196" y="144"/>
                      </a:lnTo>
                      <a:lnTo>
                        <a:pt x="196" y="146"/>
                      </a:lnTo>
                      <a:lnTo>
                        <a:pt x="197" y="146"/>
                      </a:lnTo>
                      <a:lnTo>
                        <a:pt x="199" y="146"/>
                      </a:lnTo>
                      <a:lnTo>
                        <a:pt x="199" y="144"/>
                      </a:lnTo>
                      <a:lnTo>
                        <a:pt x="199" y="143"/>
                      </a:lnTo>
                      <a:lnTo>
                        <a:pt x="199" y="141"/>
                      </a:lnTo>
                      <a:lnTo>
                        <a:pt x="199" y="139"/>
                      </a:lnTo>
                      <a:lnTo>
                        <a:pt x="199" y="138"/>
                      </a:lnTo>
                      <a:lnTo>
                        <a:pt x="199" y="136"/>
                      </a:lnTo>
                      <a:lnTo>
                        <a:pt x="197" y="136"/>
                      </a:lnTo>
                      <a:lnTo>
                        <a:pt x="199" y="136"/>
                      </a:lnTo>
                      <a:lnTo>
                        <a:pt x="199" y="134"/>
                      </a:lnTo>
                      <a:lnTo>
                        <a:pt x="197" y="134"/>
                      </a:lnTo>
                      <a:lnTo>
                        <a:pt x="197" y="133"/>
                      </a:lnTo>
                      <a:lnTo>
                        <a:pt x="196" y="133"/>
                      </a:lnTo>
                      <a:lnTo>
                        <a:pt x="196" y="131"/>
                      </a:lnTo>
                      <a:lnTo>
                        <a:pt x="197" y="129"/>
                      </a:lnTo>
                      <a:lnTo>
                        <a:pt x="196" y="129"/>
                      </a:lnTo>
                      <a:lnTo>
                        <a:pt x="197" y="129"/>
                      </a:lnTo>
                      <a:lnTo>
                        <a:pt x="196" y="128"/>
                      </a:lnTo>
                      <a:lnTo>
                        <a:pt x="194" y="128"/>
                      </a:lnTo>
                      <a:lnTo>
                        <a:pt x="196" y="128"/>
                      </a:lnTo>
                      <a:lnTo>
                        <a:pt x="194" y="126"/>
                      </a:lnTo>
                      <a:lnTo>
                        <a:pt x="194" y="124"/>
                      </a:lnTo>
                      <a:lnTo>
                        <a:pt x="194" y="123"/>
                      </a:lnTo>
                      <a:lnTo>
                        <a:pt x="196" y="121"/>
                      </a:lnTo>
                      <a:lnTo>
                        <a:pt x="197" y="121"/>
                      </a:lnTo>
                      <a:lnTo>
                        <a:pt x="197" y="120"/>
                      </a:lnTo>
                      <a:lnTo>
                        <a:pt x="197" y="118"/>
                      </a:lnTo>
                      <a:lnTo>
                        <a:pt x="196" y="118"/>
                      </a:lnTo>
                      <a:lnTo>
                        <a:pt x="196" y="116"/>
                      </a:lnTo>
                      <a:lnTo>
                        <a:pt x="196" y="115"/>
                      </a:lnTo>
                      <a:lnTo>
                        <a:pt x="197" y="115"/>
                      </a:lnTo>
                      <a:lnTo>
                        <a:pt x="197" y="113"/>
                      </a:lnTo>
                      <a:lnTo>
                        <a:pt x="199" y="113"/>
                      </a:lnTo>
                      <a:lnTo>
                        <a:pt x="201" y="113"/>
                      </a:lnTo>
                      <a:lnTo>
                        <a:pt x="202" y="113"/>
                      </a:lnTo>
                      <a:lnTo>
                        <a:pt x="204" y="113"/>
                      </a:lnTo>
                      <a:lnTo>
                        <a:pt x="206" y="113"/>
                      </a:lnTo>
                      <a:lnTo>
                        <a:pt x="207" y="111"/>
                      </a:lnTo>
                      <a:lnTo>
                        <a:pt x="207" y="113"/>
                      </a:lnTo>
                      <a:lnTo>
                        <a:pt x="207" y="111"/>
                      </a:lnTo>
                      <a:lnTo>
                        <a:pt x="209" y="113"/>
                      </a:lnTo>
                      <a:lnTo>
                        <a:pt x="211" y="113"/>
                      </a:lnTo>
                      <a:lnTo>
                        <a:pt x="211" y="111"/>
                      </a:lnTo>
                      <a:lnTo>
                        <a:pt x="211" y="113"/>
                      </a:lnTo>
                      <a:lnTo>
                        <a:pt x="212" y="113"/>
                      </a:lnTo>
                      <a:lnTo>
                        <a:pt x="212" y="115"/>
                      </a:lnTo>
                      <a:lnTo>
                        <a:pt x="214" y="115"/>
                      </a:lnTo>
                      <a:lnTo>
                        <a:pt x="216" y="115"/>
                      </a:lnTo>
                      <a:lnTo>
                        <a:pt x="216" y="113"/>
                      </a:lnTo>
                      <a:lnTo>
                        <a:pt x="216" y="111"/>
                      </a:lnTo>
                      <a:lnTo>
                        <a:pt x="218" y="113"/>
                      </a:lnTo>
                      <a:lnTo>
                        <a:pt x="218" y="111"/>
                      </a:lnTo>
                      <a:lnTo>
                        <a:pt x="218" y="110"/>
                      </a:lnTo>
                      <a:lnTo>
                        <a:pt x="218" y="108"/>
                      </a:lnTo>
                      <a:lnTo>
                        <a:pt x="216" y="110"/>
                      </a:lnTo>
                      <a:lnTo>
                        <a:pt x="216" y="108"/>
                      </a:lnTo>
                      <a:lnTo>
                        <a:pt x="218" y="106"/>
                      </a:lnTo>
                      <a:lnTo>
                        <a:pt x="216" y="106"/>
                      </a:lnTo>
                      <a:lnTo>
                        <a:pt x="218" y="106"/>
                      </a:lnTo>
                      <a:lnTo>
                        <a:pt x="219" y="106"/>
                      </a:lnTo>
                      <a:lnTo>
                        <a:pt x="219" y="105"/>
                      </a:lnTo>
                      <a:lnTo>
                        <a:pt x="218" y="105"/>
                      </a:lnTo>
                      <a:lnTo>
                        <a:pt x="218" y="103"/>
                      </a:lnTo>
                      <a:lnTo>
                        <a:pt x="219" y="103"/>
                      </a:lnTo>
                      <a:lnTo>
                        <a:pt x="219" y="105"/>
                      </a:lnTo>
                      <a:lnTo>
                        <a:pt x="221" y="105"/>
                      </a:lnTo>
                      <a:lnTo>
                        <a:pt x="221" y="103"/>
                      </a:lnTo>
                      <a:lnTo>
                        <a:pt x="223" y="103"/>
                      </a:lnTo>
                      <a:lnTo>
                        <a:pt x="223" y="105"/>
                      </a:lnTo>
                      <a:lnTo>
                        <a:pt x="224" y="103"/>
                      </a:lnTo>
                      <a:lnTo>
                        <a:pt x="224" y="101"/>
                      </a:lnTo>
                      <a:lnTo>
                        <a:pt x="226" y="101"/>
                      </a:lnTo>
                      <a:lnTo>
                        <a:pt x="224" y="101"/>
                      </a:lnTo>
                      <a:lnTo>
                        <a:pt x="224" y="100"/>
                      </a:lnTo>
                      <a:lnTo>
                        <a:pt x="226" y="100"/>
                      </a:lnTo>
                      <a:lnTo>
                        <a:pt x="228" y="100"/>
                      </a:lnTo>
                      <a:lnTo>
                        <a:pt x="229" y="100"/>
                      </a:lnTo>
                      <a:lnTo>
                        <a:pt x="231" y="100"/>
                      </a:lnTo>
                      <a:lnTo>
                        <a:pt x="233" y="100"/>
                      </a:lnTo>
                      <a:lnTo>
                        <a:pt x="233" y="101"/>
                      </a:lnTo>
                      <a:lnTo>
                        <a:pt x="234" y="101"/>
                      </a:lnTo>
                      <a:lnTo>
                        <a:pt x="236" y="103"/>
                      </a:lnTo>
                      <a:lnTo>
                        <a:pt x="238" y="103"/>
                      </a:lnTo>
                      <a:lnTo>
                        <a:pt x="239" y="103"/>
                      </a:lnTo>
                      <a:lnTo>
                        <a:pt x="241" y="103"/>
                      </a:lnTo>
                      <a:lnTo>
                        <a:pt x="241" y="105"/>
                      </a:lnTo>
                      <a:lnTo>
                        <a:pt x="243" y="105"/>
                      </a:lnTo>
                      <a:lnTo>
                        <a:pt x="245" y="105"/>
                      </a:lnTo>
                      <a:lnTo>
                        <a:pt x="246" y="105"/>
                      </a:lnTo>
                      <a:lnTo>
                        <a:pt x="246" y="106"/>
                      </a:lnTo>
                      <a:lnTo>
                        <a:pt x="248" y="106"/>
                      </a:lnTo>
                      <a:lnTo>
                        <a:pt x="250" y="106"/>
                      </a:lnTo>
                      <a:lnTo>
                        <a:pt x="251" y="108"/>
                      </a:lnTo>
                      <a:lnTo>
                        <a:pt x="253" y="108"/>
                      </a:lnTo>
                      <a:lnTo>
                        <a:pt x="255" y="110"/>
                      </a:lnTo>
                      <a:lnTo>
                        <a:pt x="255" y="108"/>
                      </a:lnTo>
                      <a:lnTo>
                        <a:pt x="256" y="108"/>
                      </a:lnTo>
                      <a:lnTo>
                        <a:pt x="258" y="108"/>
                      </a:lnTo>
                      <a:lnTo>
                        <a:pt x="258" y="106"/>
                      </a:lnTo>
                      <a:lnTo>
                        <a:pt x="256" y="106"/>
                      </a:lnTo>
                      <a:lnTo>
                        <a:pt x="258" y="106"/>
                      </a:lnTo>
                      <a:lnTo>
                        <a:pt x="256" y="106"/>
                      </a:lnTo>
                      <a:lnTo>
                        <a:pt x="256" y="105"/>
                      </a:lnTo>
                      <a:lnTo>
                        <a:pt x="258" y="105"/>
                      </a:lnTo>
                      <a:lnTo>
                        <a:pt x="258" y="106"/>
                      </a:lnTo>
                      <a:lnTo>
                        <a:pt x="258" y="105"/>
                      </a:lnTo>
                      <a:lnTo>
                        <a:pt x="260" y="105"/>
                      </a:lnTo>
                      <a:lnTo>
                        <a:pt x="258" y="105"/>
                      </a:lnTo>
                      <a:lnTo>
                        <a:pt x="260" y="105"/>
                      </a:lnTo>
                      <a:lnTo>
                        <a:pt x="261" y="105"/>
                      </a:lnTo>
                      <a:lnTo>
                        <a:pt x="261" y="103"/>
                      </a:lnTo>
                      <a:lnTo>
                        <a:pt x="261" y="101"/>
                      </a:lnTo>
                      <a:lnTo>
                        <a:pt x="263" y="101"/>
                      </a:lnTo>
                      <a:lnTo>
                        <a:pt x="263" y="103"/>
                      </a:lnTo>
                      <a:lnTo>
                        <a:pt x="265" y="101"/>
                      </a:lnTo>
                      <a:lnTo>
                        <a:pt x="265" y="103"/>
                      </a:lnTo>
                      <a:lnTo>
                        <a:pt x="266" y="101"/>
                      </a:lnTo>
                      <a:lnTo>
                        <a:pt x="268" y="101"/>
                      </a:lnTo>
                      <a:lnTo>
                        <a:pt x="268" y="100"/>
                      </a:lnTo>
                      <a:lnTo>
                        <a:pt x="270" y="100"/>
                      </a:lnTo>
                      <a:lnTo>
                        <a:pt x="270" y="101"/>
                      </a:lnTo>
                      <a:lnTo>
                        <a:pt x="272" y="103"/>
                      </a:lnTo>
                      <a:lnTo>
                        <a:pt x="273" y="105"/>
                      </a:lnTo>
                      <a:lnTo>
                        <a:pt x="273" y="106"/>
                      </a:lnTo>
                      <a:lnTo>
                        <a:pt x="275" y="106"/>
                      </a:lnTo>
                      <a:lnTo>
                        <a:pt x="275" y="105"/>
                      </a:lnTo>
                      <a:lnTo>
                        <a:pt x="275" y="103"/>
                      </a:lnTo>
                      <a:lnTo>
                        <a:pt x="277" y="101"/>
                      </a:lnTo>
                      <a:lnTo>
                        <a:pt x="275" y="101"/>
                      </a:lnTo>
                      <a:lnTo>
                        <a:pt x="277" y="101"/>
                      </a:lnTo>
                      <a:lnTo>
                        <a:pt x="278" y="101"/>
                      </a:lnTo>
                      <a:lnTo>
                        <a:pt x="280" y="101"/>
                      </a:lnTo>
                      <a:lnTo>
                        <a:pt x="280" y="100"/>
                      </a:lnTo>
                      <a:lnTo>
                        <a:pt x="282" y="100"/>
                      </a:lnTo>
                      <a:lnTo>
                        <a:pt x="283" y="100"/>
                      </a:lnTo>
                      <a:lnTo>
                        <a:pt x="283" y="101"/>
                      </a:lnTo>
                      <a:lnTo>
                        <a:pt x="285" y="101"/>
                      </a:lnTo>
                      <a:lnTo>
                        <a:pt x="285" y="100"/>
                      </a:lnTo>
                      <a:lnTo>
                        <a:pt x="285" y="98"/>
                      </a:lnTo>
                      <a:lnTo>
                        <a:pt x="287" y="98"/>
                      </a:lnTo>
                      <a:lnTo>
                        <a:pt x="287" y="97"/>
                      </a:lnTo>
                      <a:lnTo>
                        <a:pt x="287" y="95"/>
                      </a:lnTo>
                      <a:lnTo>
                        <a:pt x="288" y="95"/>
                      </a:lnTo>
                      <a:lnTo>
                        <a:pt x="290" y="95"/>
                      </a:lnTo>
                      <a:lnTo>
                        <a:pt x="290" y="93"/>
                      </a:lnTo>
                      <a:lnTo>
                        <a:pt x="292" y="93"/>
                      </a:lnTo>
                      <a:lnTo>
                        <a:pt x="294" y="93"/>
                      </a:lnTo>
                      <a:lnTo>
                        <a:pt x="294" y="92"/>
                      </a:lnTo>
                      <a:lnTo>
                        <a:pt x="295" y="92"/>
                      </a:lnTo>
                      <a:lnTo>
                        <a:pt x="294" y="93"/>
                      </a:lnTo>
                      <a:lnTo>
                        <a:pt x="295" y="93"/>
                      </a:lnTo>
                      <a:lnTo>
                        <a:pt x="297" y="93"/>
                      </a:lnTo>
                      <a:lnTo>
                        <a:pt x="299" y="93"/>
                      </a:lnTo>
                      <a:lnTo>
                        <a:pt x="299" y="92"/>
                      </a:lnTo>
                      <a:lnTo>
                        <a:pt x="300" y="92"/>
                      </a:lnTo>
                      <a:lnTo>
                        <a:pt x="300" y="93"/>
                      </a:lnTo>
                      <a:lnTo>
                        <a:pt x="302" y="93"/>
                      </a:lnTo>
                      <a:lnTo>
                        <a:pt x="302" y="95"/>
                      </a:lnTo>
                      <a:lnTo>
                        <a:pt x="304" y="95"/>
                      </a:lnTo>
                      <a:lnTo>
                        <a:pt x="304" y="93"/>
                      </a:lnTo>
                      <a:lnTo>
                        <a:pt x="305" y="92"/>
                      </a:lnTo>
                      <a:lnTo>
                        <a:pt x="305" y="93"/>
                      </a:lnTo>
                      <a:lnTo>
                        <a:pt x="307" y="93"/>
                      </a:lnTo>
                      <a:lnTo>
                        <a:pt x="309" y="93"/>
                      </a:lnTo>
                      <a:lnTo>
                        <a:pt x="310" y="93"/>
                      </a:lnTo>
                      <a:lnTo>
                        <a:pt x="310" y="92"/>
                      </a:lnTo>
                      <a:lnTo>
                        <a:pt x="312" y="92"/>
                      </a:lnTo>
                      <a:lnTo>
                        <a:pt x="312" y="90"/>
                      </a:lnTo>
                      <a:lnTo>
                        <a:pt x="314" y="90"/>
                      </a:lnTo>
                      <a:lnTo>
                        <a:pt x="314" y="88"/>
                      </a:lnTo>
                      <a:lnTo>
                        <a:pt x="314" y="87"/>
                      </a:lnTo>
                      <a:lnTo>
                        <a:pt x="315" y="87"/>
                      </a:lnTo>
                      <a:lnTo>
                        <a:pt x="314" y="87"/>
                      </a:lnTo>
                      <a:lnTo>
                        <a:pt x="314" y="85"/>
                      </a:lnTo>
                      <a:lnTo>
                        <a:pt x="314" y="83"/>
                      </a:lnTo>
                      <a:lnTo>
                        <a:pt x="314" y="82"/>
                      </a:lnTo>
                      <a:lnTo>
                        <a:pt x="314" y="80"/>
                      </a:lnTo>
                      <a:lnTo>
                        <a:pt x="314" y="78"/>
                      </a:lnTo>
                      <a:lnTo>
                        <a:pt x="315" y="78"/>
                      </a:lnTo>
                      <a:lnTo>
                        <a:pt x="317" y="78"/>
                      </a:lnTo>
                      <a:lnTo>
                        <a:pt x="317" y="77"/>
                      </a:lnTo>
                      <a:lnTo>
                        <a:pt x="319" y="77"/>
                      </a:lnTo>
                      <a:lnTo>
                        <a:pt x="319" y="75"/>
                      </a:lnTo>
                      <a:lnTo>
                        <a:pt x="321" y="75"/>
                      </a:lnTo>
                      <a:lnTo>
                        <a:pt x="321" y="77"/>
                      </a:lnTo>
                      <a:lnTo>
                        <a:pt x="321" y="75"/>
                      </a:lnTo>
                      <a:lnTo>
                        <a:pt x="322" y="75"/>
                      </a:lnTo>
                      <a:lnTo>
                        <a:pt x="322" y="77"/>
                      </a:lnTo>
                      <a:lnTo>
                        <a:pt x="321" y="77"/>
                      </a:lnTo>
                      <a:lnTo>
                        <a:pt x="322" y="77"/>
                      </a:lnTo>
                      <a:lnTo>
                        <a:pt x="324" y="77"/>
                      </a:lnTo>
                      <a:lnTo>
                        <a:pt x="326" y="77"/>
                      </a:lnTo>
                      <a:lnTo>
                        <a:pt x="327" y="77"/>
                      </a:lnTo>
                      <a:lnTo>
                        <a:pt x="329" y="77"/>
                      </a:lnTo>
                      <a:lnTo>
                        <a:pt x="331" y="77"/>
                      </a:lnTo>
                      <a:lnTo>
                        <a:pt x="332" y="77"/>
                      </a:lnTo>
                      <a:lnTo>
                        <a:pt x="332" y="75"/>
                      </a:lnTo>
                      <a:lnTo>
                        <a:pt x="334" y="75"/>
                      </a:lnTo>
                      <a:lnTo>
                        <a:pt x="334" y="74"/>
                      </a:lnTo>
                      <a:lnTo>
                        <a:pt x="336" y="74"/>
                      </a:lnTo>
                      <a:lnTo>
                        <a:pt x="337" y="74"/>
                      </a:lnTo>
                      <a:lnTo>
                        <a:pt x="337" y="72"/>
                      </a:lnTo>
                      <a:lnTo>
                        <a:pt x="336" y="72"/>
                      </a:lnTo>
                      <a:lnTo>
                        <a:pt x="336" y="70"/>
                      </a:lnTo>
                      <a:lnTo>
                        <a:pt x="334" y="70"/>
                      </a:lnTo>
                      <a:lnTo>
                        <a:pt x="332" y="70"/>
                      </a:lnTo>
                      <a:lnTo>
                        <a:pt x="332" y="69"/>
                      </a:lnTo>
                      <a:lnTo>
                        <a:pt x="332" y="67"/>
                      </a:lnTo>
                      <a:lnTo>
                        <a:pt x="334" y="67"/>
                      </a:lnTo>
                      <a:lnTo>
                        <a:pt x="336" y="67"/>
                      </a:lnTo>
                      <a:lnTo>
                        <a:pt x="337" y="67"/>
                      </a:lnTo>
                      <a:lnTo>
                        <a:pt x="339" y="67"/>
                      </a:lnTo>
                      <a:lnTo>
                        <a:pt x="339" y="69"/>
                      </a:lnTo>
                      <a:lnTo>
                        <a:pt x="339" y="67"/>
                      </a:lnTo>
                      <a:lnTo>
                        <a:pt x="341" y="67"/>
                      </a:lnTo>
                      <a:lnTo>
                        <a:pt x="342" y="69"/>
                      </a:lnTo>
                      <a:lnTo>
                        <a:pt x="342" y="67"/>
                      </a:lnTo>
                      <a:lnTo>
                        <a:pt x="344" y="69"/>
                      </a:lnTo>
                      <a:lnTo>
                        <a:pt x="346" y="69"/>
                      </a:lnTo>
                      <a:lnTo>
                        <a:pt x="348" y="70"/>
                      </a:lnTo>
                      <a:lnTo>
                        <a:pt x="349" y="70"/>
                      </a:lnTo>
                      <a:lnTo>
                        <a:pt x="349" y="72"/>
                      </a:lnTo>
                      <a:lnTo>
                        <a:pt x="349" y="70"/>
                      </a:lnTo>
                      <a:lnTo>
                        <a:pt x="351" y="70"/>
                      </a:lnTo>
                      <a:lnTo>
                        <a:pt x="353" y="70"/>
                      </a:lnTo>
                      <a:lnTo>
                        <a:pt x="353" y="69"/>
                      </a:lnTo>
                      <a:lnTo>
                        <a:pt x="354" y="69"/>
                      </a:lnTo>
                      <a:lnTo>
                        <a:pt x="356" y="69"/>
                      </a:lnTo>
                      <a:lnTo>
                        <a:pt x="358" y="69"/>
                      </a:lnTo>
                      <a:lnTo>
                        <a:pt x="359" y="69"/>
                      </a:lnTo>
                      <a:lnTo>
                        <a:pt x="361" y="69"/>
                      </a:lnTo>
                      <a:lnTo>
                        <a:pt x="363" y="69"/>
                      </a:lnTo>
                      <a:lnTo>
                        <a:pt x="364" y="69"/>
                      </a:lnTo>
                      <a:lnTo>
                        <a:pt x="363" y="67"/>
                      </a:lnTo>
                      <a:lnTo>
                        <a:pt x="364" y="67"/>
                      </a:lnTo>
                      <a:lnTo>
                        <a:pt x="364" y="65"/>
                      </a:lnTo>
                      <a:lnTo>
                        <a:pt x="364" y="67"/>
                      </a:lnTo>
                      <a:lnTo>
                        <a:pt x="366" y="65"/>
                      </a:lnTo>
                      <a:lnTo>
                        <a:pt x="368" y="65"/>
                      </a:lnTo>
                      <a:lnTo>
                        <a:pt x="368" y="64"/>
                      </a:lnTo>
                      <a:lnTo>
                        <a:pt x="368" y="62"/>
                      </a:lnTo>
                      <a:lnTo>
                        <a:pt x="370" y="62"/>
                      </a:lnTo>
                      <a:lnTo>
                        <a:pt x="370" y="60"/>
                      </a:lnTo>
                      <a:lnTo>
                        <a:pt x="368" y="60"/>
                      </a:lnTo>
                      <a:lnTo>
                        <a:pt x="370" y="60"/>
                      </a:lnTo>
                      <a:lnTo>
                        <a:pt x="370" y="59"/>
                      </a:lnTo>
                      <a:lnTo>
                        <a:pt x="370" y="57"/>
                      </a:lnTo>
                      <a:lnTo>
                        <a:pt x="368" y="57"/>
                      </a:lnTo>
                      <a:lnTo>
                        <a:pt x="368" y="55"/>
                      </a:lnTo>
                      <a:lnTo>
                        <a:pt x="370" y="55"/>
                      </a:lnTo>
                      <a:lnTo>
                        <a:pt x="371" y="55"/>
                      </a:lnTo>
                      <a:lnTo>
                        <a:pt x="371" y="54"/>
                      </a:lnTo>
                      <a:lnTo>
                        <a:pt x="371" y="52"/>
                      </a:lnTo>
                      <a:lnTo>
                        <a:pt x="371" y="51"/>
                      </a:lnTo>
                      <a:lnTo>
                        <a:pt x="373" y="51"/>
                      </a:lnTo>
                      <a:lnTo>
                        <a:pt x="375" y="51"/>
                      </a:lnTo>
                      <a:lnTo>
                        <a:pt x="376" y="51"/>
                      </a:lnTo>
                      <a:lnTo>
                        <a:pt x="378" y="51"/>
                      </a:lnTo>
                      <a:lnTo>
                        <a:pt x="380" y="49"/>
                      </a:lnTo>
                      <a:lnTo>
                        <a:pt x="381" y="49"/>
                      </a:lnTo>
                      <a:lnTo>
                        <a:pt x="381" y="47"/>
                      </a:lnTo>
                      <a:lnTo>
                        <a:pt x="383" y="47"/>
                      </a:lnTo>
                      <a:lnTo>
                        <a:pt x="385" y="47"/>
                      </a:lnTo>
                      <a:lnTo>
                        <a:pt x="385" y="46"/>
                      </a:lnTo>
                      <a:lnTo>
                        <a:pt x="386" y="46"/>
                      </a:lnTo>
                      <a:lnTo>
                        <a:pt x="386" y="47"/>
                      </a:lnTo>
                      <a:lnTo>
                        <a:pt x="386" y="46"/>
                      </a:lnTo>
                      <a:lnTo>
                        <a:pt x="388" y="46"/>
                      </a:lnTo>
                      <a:lnTo>
                        <a:pt x="388" y="44"/>
                      </a:lnTo>
                      <a:lnTo>
                        <a:pt x="390" y="46"/>
                      </a:lnTo>
                      <a:lnTo>
                        <a:pt x="390" y="44"/>
                      </a:lnTo>
                      <a:lnTo>
                        <a:pt x="390" y="42"/>
                      </a:lnTo>
                      <a:lnTo>
                        <a:pt x="391" y="41"/>
                      </a:lnTo>
                      <a:lnTo>
                        <a:pt x="393" y="41"/>
                      </a:lnTo>
                      <a:lnTo>
                        <a:pt x="393" y="39"/>
                      </a:lnTo>
                      <a:lnTo>
                        <a:pt x="395" y="39"/>
                      </a:lnTo>
                      <a:lnTo>
                        <a:pt x="395" y="37"/>
                      </a:lnTo>
                      <a:lnTo>
                        <a:pt x="397" y="36"/>
                      </a:lnTo>
                      <a:lnTo>
                        <a:pt x="397" y="34"/>
                      </a:lnTo>
                      <a:lnTo>
                        <a:pt x="398" y="34"/>
                      </a:lnTo>
                      <a:lnTo>
                        <a:pt x="398" y="32"/>
                      </a:lnTo>
                      <a:lnTo>
                        <a:pt x="400" y="31"/>
                      </a:lnTo>
                      <a:lnTo>
                        <a:pt x="402" y="31"/>
                      </a:lnTo>
                      <a:lnTo>
                        <a:pt x="402" y="29"/>
                      </a:lnTo>
                      <a:lnTo>
                        <a:pt x="403" y="28"/>
                      </a:lnTo>
                      <a:lnTo>
                        <a:pt x="402" y="26"/>
                      </a:lnTo>
                      <a:lnTo>
                        <a:pt x="402" y="24"/>
                      </a:lnTo>
                      <a:lnTo>
                        <a:pt x="400" y="24"/>
                      </a:lnTo>
                      <a:lnTo>
                        <a:pt x="400" y="23"/>
                      </a:lnTo>
                      <a:lnTo>
                        <a:pt x="398" y="21"/>
                      </a:lnTo>
                      <a:lnTo>
                        <a:pt x="398" y="19"/>
                      </a:lnTo>
                      <a:lnTo>
                        <a:pt x="397" y="19"/>
                      </a:lnTo>
                      <a:lnTo>
                        <a:pt x="397" y="18"/>
                      </a:lnTo>
                      <a:lnTo>
                        <a:pt x="397" y="16"/>
                      </a:lnTo>
                      <a:lnTo>
                        <a:pt x="397" y="14"/>
                      </a:lnTo>
                      <a:lnTo>
                        <a:pt x="397" y="13"/>
                      </a:lnTo>
                      <a:lnTo>
                        <a:pt x="395" y="13"/>
                      </a:lnTo>
                      <a:lnTo>
                        <a:pt x="395" y="11"/>
                      </a:lnTo>
                      <a:lnTo>
                        <a:pt x="397" y="11"/>
                      </a:lnTo>
                      <a:lnTo>
                        <a:pt x="395" y="10"/>
                      </a:lnTo>
                      <a:lnTo>
                        <a:pt x="395" y="8"/>
                      </a:lnTo>
                      <a:lnTo>
                        <a:pt x="393" y="8"/>
                      </a:lnTo>
                      <a:lnTo>
                        <a:pt x="393" y="6"/>
                      </a:lnTo>
                      <a:lnTo>
                        <a:pt x="391" y="6"/>
                      </a:lnTo>
                      <a:lnTo>
                        <a:pt x="390" y="6"/>
                      </a:lnTo>
                      <a:lnTo>
                        <a:pt x="388" y="6"/>
                      </a:lnTo>
                      <a:lnTo>
                        <a:pt x="388" y="5"/>
                      </a:lnTo>
                      <a:lnTo>
                        <a:pt x="390" y="3"/>
                      </a:lnTo>
                      <a:lnTo>
                        <a:pt x="390" y="5"/>
                      </a:lnTo>
                      <a:lnTo>
                        <a:pt x="391" y="5"/>
                      </a:lnTo>
                      <a:lnTo>
                        <a:pt x="391" y="3"/>
                      </a:lnTo>
                      <a:lnTo>
                        <a:pt x="393" y="3"/>
                      </a:lnTo>
                      <a:lnTo>
                        <a:pt x="395" y="3"/>
                      </a:lnTo>
                      <a:lnTo>
                        <a:pt x="397" y="3"/>
                      </a:lnTo>
                      <a:lnTo>
                        <a:pt x="398" y="3"/>
                      </a:lnTo>
                      <a:lnTo>
                        <a:pt x="398" y="5"/>
                      </a:lnTo>
                      <a:lnTo>
                        <a:pt x="400" y="5"/>
                      </a:lnTo>
                      <a:lnTo>
                        <a:pt x="402" y="5"/>
                      </a:lnTo>
                      <a:lnTo>
                        <a:pt x="402" y="3"/>
                      </a:lnTo>
                      <a:lnTo>
                        <a:pt x="402" y="5"/>
                      </a:lnTo>
                      <a:lnTo>
                        <a:pt x="403" y="6"/>
                      </a:lnTo>
                      <a:lnTo>
                        <a:pt x="405" y="6"/>
                      </a:lnTo>
                      <a:lnTo>
                        <a:pt x="407" y="6"/>
                      </a:lnTo>
                      <a:lnTo>
                        <a:pt x="407" y="5"/>
                      </a:lnTo>
                      <a:lnTo>
                        <a:pt x="408" y="5"/>
                      </a:lnTo>
                      <a:lnTo>
                        <a:pt x="410" y="5"/>
                      </a:lnTo>
                      <a:lnTo>
                        <a:pt x="412" y="5"/>
                      </a:lnTo>
                      <a:lnTo>
                        <a:pt x="413" y="6"/>
                      </a:lnTo>
                      <a:lnTo>
                        <a:pt x="413" y="5"/>
                      </a:lnTo>
                      <a:lnTo>
                        <a:pt x="413" y="6"/>
                      </a:lnTo>
                      <a:lnTo>
                        <a:pt x="415" y="5"/>
                      </a:lnTo>
                      <a:lnTo>
                        <a:pt x="415" y="6"/>
                      </a:lnTo>
                      <a:lnTo>
                        <a:pt x="417" y="8"/>
                      </a:lnTo>
                      <a:lnTo>
                        <a:pt x="417" y="6"/>
                      </a:lnTo>
                      <a:lnTo>
                        <a:pt x="419" y="6"/>
                      </a:lnTo>
                      <a:lnTo>
                        <a:pt x="419" y="5"/>
                      </a:lnTo>
                      <a:lnTo>
                        <a:pt x="420" y="5"/>
                      </a:lnTo>
                      <a:lnTo>
                        <a:pt x="422" y="3"/>
                      </a:lnTo>
                      <a:lnTo>
                        <a:pt x="422" y="5"/>
                      </a:lnTo>
                      <a:lnTo>
                        <a:pt x="424" y="5"/>
                      </a:lnTo>
                      <a:lnTo>
                        <a:pt x="425" y="5"/>
                      </a:lnTo>
                      <a:lnTo>
                        <a:pt x="427" y="5"/>
                      </a:lnTo>
                      <a:lnTo>
                        <a:pt x="429" y="5"/>
                      </a:lnTo>
                      <a:lnTo>
                        <a:pt x="429" y="3"/>
                      </a:lnTo>
                      <a:lnTo>
                        <a:pt x="430" y="3"/>
                      </a:lnTo>
                      <a:lnTo>
                        <a:pt x="432" y="3"/>
                      </a:lnTo>
                      <a:lnTo>
                        <a:pt x="432" y="1"/>
                      </a:lnTo>
                      <a:lnTo>
                        <a:pt x="434" y="1"/>
                      </a:lnTo>
                      <a:lnTo>
                        <a:pt x="435" y="1"/>
                      </a:lnTo>
                      <a:lnTo>
                        <a:pt x="435" y="0"/>
                      </a:lnTo>
                      <a:lnTo>
                        <a:pt x="437" y="0"/>
                      </a:lnTo>
                      <a:lnTo>
                        <a:pt x="439" y="0"/>
                      </a:lnTo>
                      <a:lnTo>
                        <a:pt x="440" y="1"/>
                      </a:lnTo>
                      <a:lnTo>
                        <a:pt x="439" y="1"/>
                      </a:lnTo>
                      <a:lnTo>
                        <a:pt x="440" y="3"/>
                      </a:lnTo>
                      <a:lnTo>
                        <a:pt x="442" y="3"/>
                      </a:lnTo>
                      <a:lnTo>
                        <a:pt x="446" y="1"/>
                      </a:lnTo>
                      <a:lnTo>
                        <a:pt x="446" y="3"/>
                      </a:lnTo>
                      <a:lnTo>
                        <a:pt x="446" y="5"/>
                      </a:lnTo>
                      <a:lnTo>
                        <a:pt x="447" y="5"/>
                      </a:lnTo>
                      <a:lnTo>
                        <a:pt x="447" y="6"/>
                      </a:lnTo>
                      <a:lnTo>
                        <a:pt x="449" y="8"/>
                      </a:lnTo>
                      <a:lnTo>
                        <a:pt x="449" y="10"/>
                      </a:lnTo>
                      <a:lnTo>
                        <a:pt x="449" y="11"/>
                      </a:lnTo>
                      <a:lnTo>
                        <a:pt x="451" y="11"/>
                      </a:lnTo>
                      <a:lnTo>
                        <a:pt x="452" y="11"/>
                      </a:lnTo>
                      <a:lnTo>
                        <a:pt x="452" y="13"/>
                      </a:lnTo>
                      <a:lnTo>
                        <a:pt x="452" y="14"/>
                      </a:lnTo>
                      <a:lnTo>
                        <a:pt x="454" y="14"/>
                      </a:lnTo>
                      <a:lnTo>
                        <a:pt x="456" y="14"/>
                      </a:lnTo>
                      <a:lnTo>
                        <a:pt x="456" y="16"/>
                      </a:lnTo>
                      <a:lnTo>
                        <a:pt x="457" y="16"/>
                      </a:lnTo>
                      <a:lnTo>
                        <a:pt x="459" y="16"/>
                      </a:lnTo>
                      <a:lnTo>
                        <a:pt x="457" y="16"/>
                      </a:lnTo>
                      <a:lnTo>
                        <a:pt x="457" y="18"/>
                      </a:lnTo>
                      <a:lnTo>
                        <a:pt x="459" y="18"/>
                      </a:lnTo>
                      <a:lnTo>
                        <a:pt x="457" y="19"/>
                      </a:lnTo>
                      <a:lnTo>
                        <a:pt x="459" y="19"/>
                      </a:lnTo>
                      <a:lnTo>
                        <a:pt x="457" y="21"/>
                      </a:lnTo>
                      <a:lnTo>
                        <a:pt x="457" y="23"/>
                      </a:lnTo>
                      <a:lnTo>
                        <a:pt x="459" y="26"/>
                      </a:lnTo>
                      <a:lnTo>
                        <a:pt x="459" y="28"/>
                      </a:lnTo>
                      <a:lnTo>
                        <a:pt x="459" y="29"/>
                      </a:lnTo>
                      <a:lnTo>
                        <a:pt x="459" y="31"/>
                      </a:lnTo>
                      <a:lnTo>
                        <a:pt x="457" y="31"/>
                      </a:lnTo>
                      <a:lnTo>
                        <a:pt x="457" y="32"/>
                      </a:lnTo>
                      <a:lnTo>
                        <a:pt x="457" y="34"/>
                      </a:lnTo>
                      <a:lnTo>
                        <a:pt x="457" y="36"/>
                      </a:lnTo>
                      <a:lnTo>
                        <a:pt x="456" y="37"/>
                      </a:lnTo>
                      <a:lnTo>
                        <a:pt x="457" y="37"/>
                      </a:lnTo>
                      <a:lnTo>
                        <a:pt x="456" y="39"/>
                      </a:lnTo>
                      <a:lnTo>
                        <a:pt x="456" y="41"/>
                      </a:lnTo>
                      <a:lnTo>
                        <a:pt x="454" y="41"/>
                      </a:lnTo>
                      <a:lnTo>
                        <a:pt x="456" y="42"/>
                      </a:lnTo>
                      <a:lnTo>
                        <a:pt x="454" y="42"/>
                      </a:lnTo>
                      <a:lnTo>
                        <a:pt x="454" y="44"/>
                      </a:lnTo>
                      <a:lnTo>
                        <a:pt x="456" y="44"/>
                      </a:lnTo>
                      <a:lnTo>
                        <a:pt x="456" y="46"/>
                      </a:lnTo>
                      <a:lnTo>
                        <a:pt x="456" y="47"/>
                      </a:lnTo>
                      <a:lnTo>
                        <a:pt x="456" y="49"/>
                      </a:lnTo>
                      <a:lnTo>
                        <a:pt x="454" y="49"/>
                      </a:lnTo>
                      <a:lnTo>
                        <a:pt x="454" y="51"/>
                      </a:lnTo>
                      <a:lnTo>
                        <a:pt x="456" y="51"/>
                      </a:lnTo>
                      <a:lnTo>
                        <a:pt x="456" y="52"/>
                      </a:lnTo>
                      <a:lnTo>
                        <a:pt x="454" y="52"/>
                      </a:lnTo>
                      <a:lnTo>
                        <a:pt x="452" y="54"/>
                      </a:lnTo>
                      <a:lnTo>
                        <a:pt x="452" y="55"/>
                      </a:lnTo>
                      <a:lnTo>
                        <a:pt x="451" y="57"/>
                      </a:lnTo>
                      <a:lnTo>
                        <a:pt x="451" y="59"/>
                      </a:lnTo>
                      <a:lnTo>
                        <a:pt x="451" y="60"/>
                      </a:lnTo>
                      <a:lnTo>
                        <a:pt x="449" y="60"/>
                      </a:lnTo>
                      <a:lnTo>
                        <a:pt x="449" y="62"/>
                      </a:lnTo>
                      <a:lnTo>
                        <a:pt x="447" y="60"/>
                      </a:lnTo>
                      <a:lnTo>
                        <a:pt x="447" y="62"/>
                      </a:lnTo>
                      <a:lnTo>
                        <a:pt x="446" y="60"/>
                      </a:lnTo>
                      <a:lnTo>
                        <a:pt x="446" y="62"/>
                      </a:lnTo>
                      <a:lnTo>
                        <a:pt x="446" y="64"/>
                      </a:lnTo>
                      <a:lnTo>
                        <a:pt x="444" y="64"/>
                      </a:lnTo>
                      <a:lnTo>
                        <a:pt x="444" y="65"/>
                      </a:lnTo>
                      <a:lnTo>
                        <a:pt x="446" y="65"/>
                      </a:lnTo>
                      <a:lnTo>
                        <a:pt x="444" y="65"/>
                      </a:lnTo>
                      <a:lnTo>
                        <a:pt x="444" y="64"/>
                      </a:lnTo>
                      <a:lnTo>
                        <a:pt x="442" y="64"/>
                      </a:lnTo>
                      <a:lnTo>
                        <a:pt x="442" y="65"/>
                      </a:lnTo>
                      <a:lnTo>
                        <a:pt x="442" y="67"/>
                      </a:lnTo>
                      <a:lnTo>
                        <a:pt x="442" y="69"/>
                      </a:lnTo>
                      <a:lnTo>
                        <a:pt x="442" y="70"/>
                      </a:lnTo>
                      <a:lnTo>
                        <a:pt x="444" y="70"/>
                      </a:lnTo>
                      <a:lnTo>
                        <a:pt x="446" y="70"/>
                      </a:lnTo>
                      <a:lnTo>
                        <a:pt x="447" y="70"/>
                      </a:lnTo>
                      <a:lnTo>
                        <a:pt x="449" y="70"/>
                      </a:lnTo>
                      <a:lnTo>
                        <a:pt x="447" y="69"/>
                      </a:lnTo>
                      <a:lnTo>
                        <a:pt x="449" y="69"/>
                      </a:lnTo>
                      <a:lnTo>
                        <a:pt x="451" y="69"/>
                      </a:lnTo>
                      <a:lnTo>
                        <a:pt x="452" y="69"/>
                      </a:lnTo>
                      <a:lnTo>
                        <a:pt x="451" y="70"/>
                      </a:lnTo>
                      <a:lnTo>
                        <a:pt x="452" y="70"/>
                      </a:lnTo>
                      <a:lnTo>
                        <a:pt x="454" y="70"/>
                      </a:lnTo>
                      <a:lnTo>
                        <a:pt x="456" y="70"/>
                      </a:lnTo>
                      <a:lnTo>
                        <a:pt x="457" y="70"/>
                      </a:lnTo>
                      <a:lnTo>
                        <a:pt x="457" y="72"/>
                      </a:lnTo>
                      <a:lnTo>
                        <a:pt x="459" y="72"/>
                      </a:lnTo>
                      <a:lnTo>
                        <a:pt x="461" y="72"/>
                      </a:lnTo>
                      <a:lnTo>
                        <a:pt x="461" y="70"/>
                      </a:lnTo>
                      <a:lnTo>
                        <a:pt x="462" y="70"/>
                      </a:lnTo>
                      <a:lnTo>
                        <a:pt x="464" y="70"/>
                      </a:lnTo>
                      <a:lnTo>
                        <a:pt x="464" y="72"/>
                      </a:lnTo>
                      <a:lnTo>
                        <a:pt x="466" y="72"/>
                      </a:lnTo>
                      <a:lnTo>
                        <a:pt x="464" y="72"/>
                      </a:lnTo>
                      <a:lnTo>
                        <a:pt x="466" y="72"/>
                      </a:lnTo>
                      <a:lnTo>
                        <a:pt x="467" y="72"/>
                      </a:lnTo>
                      <a:lnTo>
                        <a:pt x="466" y="74"/>
                      </a:lnTo>
                      <a:lnTo>
                        <a:pt x="467" y="74"/>
                      </a:lnTo>
                      <a:lnTo>
                        <a:pt x="467" y="72"/>
                      </a:lnTo>
                      <a:lnTo>
                        <a:pt x="469" y="72"/>
                      </a:lnTo>
                      <a:lnTo>
                        <a:pt x="469" y="74"/>
                      </a:lnTo>
                      <a:lnTo>
                        <a:pt x="469" y="72"/>
                      </a:lnTo>
                      <a:lnTo>
                        <a:pt x="471" y="72"/>
                      </a:lnTo>
                      <a:lnTo>
                        <a:pt x="471" y="74"/>
                      </a:lnTo>
                      <a:lnTo>
                        <a:pt x="471" y="75"/>
                      </a:lnTo>
                      <a:lnTo>
                        <a:pt x="473" y="75"/>
                      </a:lnTo>
                      <a:lnTo>
                        <a:pt x="474" y="75"/>
                      </a:lnTo>
                      <a:lnTo>
                        <a:pt x="474" y="74"/>
                      </a:lnTo>
                      <a:lnTo>
                        <a:pt x="474" y="75"/>
                      </a:lnTo>
                      <a:lnTo>
                        <a:pt x="476" y="75"/>
                      </a:lnTo>
                      <a:lnTo>
                        <a:pt x="476" y="74"/>
                      </a:lnTo>
                      <a:lnTo>
                        <a:pt x="478" y="74"/>
                      </a:lnTo>
                      <a:lnTo>
                        <a:pt x="478" y="75"/>
                      </a:lnTo>
                      <a:lnTo>
                        <a:pt x="479" y="75"/>
                      </a:lnTo>
                      <a:lnTo>
                        <a:pt x="481" y="75"/>
                      </a:lnTo>
                      <a:lnTo>
                        <a:pt x="481" y="77"/>
                      </a:lnTo>
                      <a:lnTo>
                        <a:pt x="483" y="77"/>
                      </a:lnTo>
                      <a:lnTo>
                        <a:pt x="483" y="78"/>
                      </a:lnTo>
                      <a:lnTo>
                        <a:pt x="484" y="78"/>
                      </a:lnTo>
                      <a:lnTo>
                        <a:pt x="484" y="80"/>
                      </a:lnTo>
                      <a:lnTo>
                        <a:pt x="486" y="80"/>
                      </a:lnTo>
                      <a:lnTo>
                        <a:pt x="486" y="82"/>
                      </a:lnTo>
                      <a:lnTo>
                        <a:pt x="488" y="82"/>
                      </a:lnTo>
                      <a:lnTo>
                        <a:pt x="488" y="80"/>
                      </a:lnTo>
                      <a:lnTo>
                        <a:pt x="489" y="82"/>
                      </a:lnTo>
                      <a:lnTo>
                        <a:pt x="488" y="82"/>
                      </a:lnTo>
                      <a:lnTo>
                        <a:pt x="488" y="83"/>
                      </a:lnTo>
                      <a:lnTo>
                        <a:pt x="489" y="85"/>
                      </a:lnTo>
                      <a:lnTo>
                        <a:pt x="488" y="85"/>
                      </a:lnTo>
                      <a:lnTo>
                        <a:pt x="486" y="87"/>
                      </a:lnTo>
                      <a:lnTo>
                        <a:pt x="486" y="88"/>
                      </a:lnTo>
                      <a:lnTo>
                        <a:pt x="484" y="88"/>
                      </a:lnTo>
                      <a:lnTo>
                        <a:pt x="484" y="90"/>
                      </a:lnTo>
                      <a:lnTo>
                        <a:pt x="483" y="90"/>
                      </a:lnTo>
                      <a:lnTo>
                        <a:pt x="484" y="90"/>
                      </a:lnTo>
                      <a:lnTo>
                        <a:pt x="484" y="92"/>
                      </a:lnTo>
                      <a:lnTo>
                        <a:pt x="486" y="92"/>
                      </a:lnTo>
                      <a:lnTo>
                        <a:pt x="484" y="92"/>
                      </a:lnTo>
                      <a:lnTo>
                        <a:pt x="483" y="95"/>
                      </a:lnTo>
                      <a:lnTo>
                        <a:pt x="483" y="97"/>
                      </a:lnTo>
                      <a:lnTo>
                        <a:pt x="484" y="98"/>
                      </a:lnTo>
                      <a:lnTo>
                        <a:pt x="484" y="100"/>
                      </a:lnTo>
                      <a:lnTo>
                        <a:pt x="486" y="101"/>
                      </a:lnTo>
                      <a:lnTo>
                        <a:pt x="488" y="103"/>
                      </a:lnTo>
                      <a:lnTo>
                        <a:pt x="489" y="103"/>
                      </a:lnTo>
                      <a:lnTo>
                        <a:pt x="491" y="103"/>
                      </a:lnTo>
                      <a:lnTo>
                        <a:pt x="493" y="103"/>
                      </a:lnTo>
                      <a:lnTo>
                        <a:pt x="495" y="103"/>
                      </a:lnTo>
                      <a:lnTo>
                        <a:pt x="495" y="105"/>
                      </a:lnTo>
                      <a:lnTo>
                        <a:pt x="493" y="106"/>
                      </a:lnTo>
                      <a:lnTo>
                        <a:pt x="493" y="108"/>
                      </a:lnTo>
                      <a:lnTo>
                        <a:pt x="491" y="108"/>
                      </a:lnTo>
                      <a:lnTo>
                        <a:pt x="491" y="110"/>
                      </a:lnTo>
                      <a:lnTo>
                        <a:pt x="493" y="110"/>
                      </a:lnTo>
                      <a:lnTo>
                        <a:pt x="493" y="111"/>
                      </a:lnTo>
                      <a:lnTo>
                        <a:pt x="495" y="111"/>
                      </a:lnTo>
                      <a:lnTo>
                        <a:pt x="495" y="113"/>
                      </a:lnTo>
                      <a:lnTo>
                        <a:pt x="496" y="113"/>
                      </a:lnTo>
                      <a:lnTo>
                        <a:pt x="496" y="115"/>
                      </a:lnTo>
                      <a:lnTo>
                        <a:pt x="495" y="115"/>
                      </a:lnTo>
                      <a:lnTo>
                        <a:pt x="496" y="115"/>
                      </a:lnTo>
                      <a:lnTo>
                        <a:pt x="498" y="115"/>
                      </a:lnTo>
                      <a:lnTo>
                        <a:pt x="496" y="116"/>
                      </a:lnTo>
                      <a:lnTo>
                        <a:pt x="498" y="116"/>
                      </a:lnTo>
                      <a:lnTo>
                        <a:pt x="498" y="118"/>
                      </a:lnTo>
                      <a:lnTo>
                        <a:pt x="498" y="120"/>
                      </a:lnTo>
                      <a:lnTo>
                        <a:pt x="500" y="120"/>
                      </a:lnTo>
                      <a:lnTo>
                        <a:pt x="500" y="118"/>
                      </a:lnTo>
                      <a:lnTo>
                        <a:pt x="501" y="118"/>
                      </a:lnTo>
                      <a:lnTo>
                        <a:pt x="501" y="120"/>
                      </a:lnTo>
                      <a:lnTo>
                        <a:pt x="503" y="120"/>
                      </a:lnTo>
                      <a:lnTo>
                        <a:pt x="503" y="121"/>
                      </a:lnTo>
                      <a:lnTo>
                        <a:pt x="505" y="121"/>
                      </a:lnTo>
                      <a:lnTo>
                        <a:pt x="503" y="121"/>
                      </a:lnTo>
                      <a:lnTo>
                        <a:pt x="503" y="123"/>
                      </a:lnTo>
                      <a:lnTo>
                        <a:pt x="501" y="123"/>
                      </a:lnTo>
                      <a:lnTo>
                        <a:pt x="501" y="124"/>
                      </a:lnTo>
                      <a:lnTo>
                        <a:pt x="500" y="123"/>
                      </a:lnTo>
                      <a:lnTo>
                        <a:pt x="500" y="124"/>
                      </a:lnTo>
                      <a:lnTo>
                        <a:pt x="500" y="126"/>
                      </a:lnTo>
                      <a:lnTo>
                        <a:pt x="498" y="126"/>
                      </a:lnTo>
                      <a:lnTo>
                        <a:pt x="498" y="124"/>
                      </a:lnTo>
                      <a:lnTo>
                        <a:pt x="498" y="126"/>
                      </a:lnTo>
                      <a:lnTo>
                        <a:pt x="496" y="126"/>
                      </a:lnTo>
                      <a:lnTo>
                        <a:pt x="496" y="128"/>
                      </a:lnTo>
                      <a:lnTo>
                        <a:pt x="496" y="129"/>
                      </a:lnTo>
                      <a:lnTo>
                        <a:pt x="498" y="129"/>
                      </a:lnTo>
                      <a:lnTo>
                        <a:pt x="496" y="129"/>
                      </a:lnTo>
                      <a:lnTo>
                        <a:pt x="498" y="131"/>
                      </a:lnTo>
                      <a:lnTo>
                        <a:pt x="498" y="133"/>
                      </a:lnTo>
                      <a:lnTo>
                        <a:pt x="496" y="133"/>
                      </a:lnTo>
                      <a:lnTo>
                        <a:pt x="496" y="134"/>
                      </a:lnTo>
                      <a:lnTo>
                        <a:pt x="496" y="136"/>
                      </a:lnTo>
                      <a:lnTo>
                        <a:pt x="496" y="134"/>
                      </a:lnTo>
                      <a:lnTo>
                        <a:pt x="495" y="134"/>
                      </a:lnTo>
                      <a:lnTo>
                        <a:pt x="495" y="136"/>
                      </a:lnTo>
                      <a:lnTo>
                        <a:pt x="493" y="136"/>
                      </a:lnTo>
                      <a:lnTo>
                        <a:pt x="493" y="134"/>
                      </a:lnTo>
                      <a:lnTo>
                        <a:pt x="493" y="136"/>
                      </a:lnTo>
                      <a:lnTo>
                        <a:pt x="491" y="136"/>
                      </a:lnTo>
                      <a:lnTo>
                        <a:pt x="489" y="136"/>
                      </a:lnTo>
                      <a:lnTo>
                        <a:pt x="489" y="138"/>
                      </a:lnTo>
                      <a:lnTo>
                        <a:pt x="488" y="138"/>
                      </a:lnTo>
                      <a:lnTo>
                        <a:pt x="488" y="139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9" y="143"/>
                      </a:lnTo>
                      <a:lnTo>
                        <a:pt x="489" y="144"/>
                      </a:lnTo>
                      <a:lnTo>
                        <a:pt x="488" y="144"/>
                      </a:lnTo>
                      <a:lnTo>
                        <a:pt x="486" y="144"/>
                      </a:lnTo>
                      <a:lnTo>
                        <a:pt x="486" y="146"/>
                      </a:lnTo>
                      <a:lnTo>
                        <a:pt x="484" y="146"/>
                      </a:lnTo>
                      <a:lnTo>
                        <a:pt x="484" y="147"/>
                      </a:lnTo>
                      <a:lnTo>
                        <a:pt x="483" y="147"/>
                      </a:lnTo>
                      <a:lnTo>
                        <a:pt x="481" y="147"/>
                      </a:lnTo>
                      <a:lnTo>
                        <a:pt x="481" y="149"/>
                      </a:lnTo>
                      <a:lnTo>
                        <a:pt x="481" y="151"/>
                      </a:lnTo>
                      <a:lnTo>
                        <a:pt x="479" y="151"/>
                      </a:lnTo>
                      <a:lnTo>
                        <a:pt x="481" y="151"/>
                      </a:lnTo>
                      <a:lnTo>
                        <a:pt x="479" y="151"/>
                      </a:lnTo>
                      <a:lnTo>
                        <a:pt x="478" y="151"/>
                      </a:lnTo>
                      <a:lnTo>
                        <a:pt x="476" y="151"/>
                      </a:lnTo>
                      <a:lnTo>
                        <a:pt x="476" y="152"/>
                      </a:lnTo>
                      <a:lnTo>
                        <a:pt x="474" y="152"/>
                      </a:lnTo>
                      <a:lnTo>
                        <a:pt x="473" y="152"/>
                      </a:lnTo>
                      <a:lnTo>
                        <a:pt x="473" y="154"/>
                      </a:lnTo>
                      <a:lnTo>
                        <a:pt x="471" y="154"/>
                      </a:lnTo>
                      <a:lnTo>
                        <a:pt x="471" y="156"/>
                      </a:lnTo>
                      <a:lnTo>
                        <a:pt x="471" y="157"/>
                      </a:lnTo>
                      <a:lnTo>
                        <a:pt x="473" y="157"/>
                      </a:lnTo>
                      <a:lnTo>
                        <a:pt x="473" y="159"/>
                      </a:lnTo>
                      <a:lnTo>
                        <a:pt x="474" y="161"/>
                      </a:lnTo>
                      <a:lnTo>
                        <a:pt x="476" y="161"/>
                      </a:lnTo>
                      <a:lnTo>
                        <a:pt x="476" y="162"/>
                      </a:lnTo>
                      <a:lnTo>
                        <a:pt x="476" y="164"/>
                      </a:lnTo>
                      <a:lnTo>
                        <a:pt x="474" y="164"/>
                      </a:lnTo>
                      <a:lnTo>
                        <a:pt x="476" y="164"/>
                      </a:lnTo>
                      <a:lnTo>
                        <a:pt x="476" y="166"/>
                      </a:lnTo>
                      <a:lnTo>
                        <a:pt x="474" y="166"/>
                      </a:lnTo>
                      <a:lnTo>
                        <a:pt x="474" y="167"/>
                      </a:lnTo>
                      <a:lnTo>
                        <a:pt x="473" y="167"/>
                      </a:lnTo>
                      <a:lnTo>
                        <a:pt x="473" y="169"/>
                      </a:lnTo>
                      <a:lnTo>
                        <a:pt x="474" y="169"/>
                      </a:lnTo>
                      <a:lnTo>
                        <a:pt x="476" y="169"/>
                      </a:lnTo>
                      <a:lnTo>
                        <a:pt x="476" y="170"/>
                      </a:lnTo>
                      <a:lnTo>
                        <a:pt x="474" y="170"/>
                      </a:lnTo>
                      <a:lnTo>
                        <a:pt x="476" y="172"/>
                      </a:lnTo>
                      <a:lnTo>
                        <a:pt x="476" y="174"/>
                      </a:lnTo>
                      <a:lnTo>
                        <a:pt x="476" y="175"/>
                      </a:lnTo>
                      <a:lnTo>
                        <a:pt x="474" y="175"/>
                      </a:lnTo>
                      <a:lnTo>
                        <a:pt x="474" y="177"/>
                      </a:lnTo>
                      <a:lnTo>
                        <a:pt x="474" y="179"/>
                      </a:lnTo>
                      <a:lnTo>
                        <a:pt x="473" y="179"/>
                      </a:lnTo>
                      <a:lnTo>
                        <a:pt x="473" y="180"/>
                      </a:lnTo>
                      <a:lnTo>
                        <a:pt x="473" y="182"/>
                      </a:lnTo>
                      <a:lnTo>
                        <a:pt x="471" y="182"/>
                      </a:lnTo>
                      <a:lnTo>
                        <a:pt x="471" y="184"/>
                      </a:lnTo>
                      <a:lnTo>
                        <a:pt x="469" y="184"/>
                      </a:lnTo>
                      <a:lnTo>
                        <a:pt x="469" y="185"/>
                      </a:lnTo>
                      <a:lnTo>
                        <a:pt x="469" y="187"/>
                      </a:lnTo>
                      <a:lnTo>
                        <a:pt x="469" y="189"/>
                      </a:lnTo>
                      <a:lnTo>
                        <a:pt x="467" y="189"/>
                      </a:lnTo>
                      <a:lnTo>
                        <a:pt x="466" y="190"/>
                      </a:lnTo>
                      <a:lnTo>
                        <a:pt x="466" y="192"/>
                      </a:lnTo>
                      <a:lnTo>
                        <a:pt x="467" y="193"/>
                      </a:lnTo>
                      <a:lnTo>
                        <a:pt x="467" y="195"/>
                      </a:lnTo>
                      <a:lnTo>
                        <a:pt x="466" y="195"/>
                      </a:lnTo>
                      <a:lnTo>
                        <a:pt x="467" y="195"/>
                      </a:lnTo>
                      <a:lnTo>
                        <a:pt x="466" y="195"/>
                      </a:lnTo>
                      <a:lnTo>
                        <a:pt x="466" y="197"/>
                      </a:lnTo>
                      <a:lnTo>
                        <a:pt x="467" y="197"/>
                      </a:lnTo>
                      <a:lnTo>
                        <a:pt x="467" y="198"/>
                      </a:lnTo>
                      <a:lnTo>
                        <a:pt x="466" y="198"/>
                      </a:lnTo>
                      <a:lnTo>
                        <a:pt x="466" y="197"/>
                      </a:lnTo>
                      <a:lnTo>
                        <a:pt x="466" y="198"/>
                      </a:lnTo>
                      <a:lnTo>
                        <a:pt x="464" y="198"/>
                      </a:lnTo>
                      <a:lnTo>
                        <a:pt x="464" y="200"/>
                      </a:lnTo>
                      <a:lnTo>
                        <a:pt x="462" y="200"/>
                      </a:lnTo>
                      <a:lnTo>
                        <a:pt x="462" y="202"/>
                      </a:lnTo>
                      <a:lnTo>
                        <a:pt x="462" y="203"/>
                      </a:lnTo>
                      <a:lnTo>
                        <a:pt x="462" y="205"/>
                      </a:lnTo>
                      <a:lnTo>
                        <a:pt x="462" y="207"/>
                      </a:lnTo>
                      <a:lnTo>
                        <a:pt x="461" y="207"/>
                      </a:lnTo>
                      <a:lnTo>
                        <a:pt x="462" y="207"/>
                      </a:lnTo>
                      <a:lnTo>
                        <a:pt x="462" y="208"/>
                      </a:lnTo>
                      <a:lnTo>
                        <a:pt x="462" y="210"/>
                      </a:lnTo>
                      <a:lnTo>
                        <a:pt x="461" y="212"/>
                      </a:lnTo>
                      <a:lnTo>
                        <a:pt x="462" y="212"/>
                      </a:lnTo>
                      <a:lnTo>
                        <a:pt x="462" y="213"/>
                      </a:lnTo>
                      <a:lnTo>
                        <a:pt x="461" y="213"/>
                      </a:lnTo>
                      <a:lnTo>
                        <a:pt x="459" y="215"/>
                      </a:lnTo>
                      <a:lnTo>
                        <a:pt x="459" y="216"/>
                      </a:lnTo>
                      <a:lnTo>
                        <a:pt x="461" y="216"/>
                      </a:lnTo>
                      <a:lnTo>
                        <a:pt x="461" y="218"/>
                      </a:lnTo>
                      <a:lnTo>
                        <a:pt x="459" y="220"/>
                      </a:lnTo>
                      <a:lnTo>
                        <a:pt x="459" y="221"/>
                      </a:lnTo>
                      <a:lnTo>
                        <a:pt x="459" y="223"/>
                      </a:lnTo>
                      <a:lnTo>
                        <a:pt x="459" y="226"/>
                      </a:lnTo>
                      <a:lnTo>
                        <a:pt x="459" y="228"/>
                      </a:lnTo>
                      <a:lnTo>
                        <a:pt x="459" y="230"/>
                      </a:lnTo>
                      <a:lnTo>
                        <a:pt x="459" y="231"/>
                      </a:lnTo>
                      <a:lnTo>
                        <a:pt x="459" y="233"/>
                      </a:lnTo>
                      <a:lnTo>
                        <a:pt x="459" y="234"/>
                      </a:lnTo>
                      <a:lnTo>
                        <a:pt x="459" y="236"/>
                      </a:lnTo>
                      <a:lnTo>
                        <a:pt x="459" y="238"/>
                      </a:lnTo>
                      <a:lnTo>
                        <a:pt x="461" y="238"/>
                      </a:lnTo>
                      <a:lnTo>
                        <a:pt x="461" y="239"/>
                      </a:lnTo>
                      <a:lnTo>
                        <a:pt x="461" y="241"/>
                      </a:lnTo>
                      <a:lnTo>
                        <a:pt x="461" y="243"/>
                      </a:lnTo>
                      <a:lnTo>
                        <a:pt x="461" y="244"/>
                      </a:lnTo>
                      <a:lnTo>
                        <a:pt x="462" y="244"/>
                      </a:lnTo>
                      <a:lnTo>
                        <a:pt x="461" y="244"/>
                      </a:lnTo>
                      <a:lnTo>
                        <a:pt x="461" y="246"/>
                      </a:lnTo>
                      <a:lnTo>
                        <a:pt x="462" y="246"/>
                      </a:lnTo>
                      <a:lnTo>
                        <a:pt x="464" y="246"/>
                      </a:lnTo>
                      <a:lnTo>
                        <a:pt x="464" y="248"/>
                      </a:lnTo>
                      <a:lnTo>
                        <a:pt x="464" y="249"/>
                      </a:lnTo>
                      <a:lnTo>
                        <a:pt x="464" y="251"/>
                      </a:lnTo>
                      <a:lnTo>
                        <a:pt x="466" y="251"/>
                      </a:lnTo>
                      <a:lnTo>
                        <a:pt x="466" y="253"/>
                      </a:lnTo>
                      <a:lnTo>
                        <a:pt x="466" y="254"/>
                      </a:lnTo>
                      <a:lnTo>
                        <a:pt x="467" y="256"/>
                      </a:lnTo>
                      <a:lnTo>
                        <a:pt x="467" y="257"/>
                      </a:lnTo>
                      <a:lnTo>
                        <a:pt x="467" y="259"/>
                      </a:lnTo>
                      <a:lnTo>
                        <a:pt x="467" y="261"/>
                      </a:lnTo>
                      <a:lnTo>
                        <a:pt x="469" y="261"/>
                      </a:lnTo>
                      <a:lnTo>
                        <a:pt x="467" y="261"/>
                      </a:lnTo>
                      <a:lnTo>
                        <a:pt x="467" y="262"/>
                      </a:lnTo>
                      <a:lnTo>
                        <a:pt x="467" y="264"/>
                      </a:lnTo>
                      <a:lnTo>
                        <a:pt x="467" y="266"/>
                      </a:lnTo>
                      <a:lnTo>
                        <a:pt x="467" y="267"/>
                      </a:lnTo>
                      <a:lnTo>
                        <a:pt x="469" y="267"/>
                      </a:lnTo>
                      <a:lnTo>
                        <a:pt x="471" y="267"/>
                      </a:lnTo>
                      <a:lnTo>
                        <a:pt x="471" y="269"/>
                      </a:lnTo>
                      <a:lnTo>
                        <a:pt x="473" y="269"/>
                      </a:lnTo>
                      <a:lnTo>
                        <a:pt x="473" y="271"/>
                      </a:lnTo>
                      <a:lnTo>
                        <a:pt x="474" y="271"/>
                      </a:lnTo>
                      <a:lnTo>
                        <a:pt x="476" y="271"/>
                      </a:lnTo>
                      <a:lnTo>
                        <a:pt x="476" y="272"/>
                      </a:lnTo>
                      <a:lnTo>
                        <a:pt x="476" y="274"/>
                      </a:lnTo>
                      <a:lnTo>
                        <a:pt x="478" y="274"/>
                      </a:lnTo>
                      <a:lnTo>
                        <a:pt x="479" y="274"/>
                      </a:lnTo>
                      <a:lnTo>
                        <a:pt x="481" y="274"/>
                      </a:lnTo>
                      <a:lnTo>
                        <a:pt x="483" y="274"/>
                      </a:lnTo>
                      <a:lnTo>
                        <a:pt x="484" y="274"/>
                      </a:lnTo>
                      <a:lnTo>
                        <a:pt x="484" y="276"/>
                      </a:lnTo>
                      <a:lnTo>
                        <a:pt x="484" y="277"/>
                      </a:lnTo>
                      <a:lnTo>
                        <a:pt x="484" y="279"/>
                      </a:lnTo>
                      <a:lnTo>
                        <a:pt x="484" y="280"/>
                      </a:lnTo>
                      <a:lnTo>
                        <a:pt x="484" y="282"/>
                      </a:lnTo>
                      <a:lnTo>
                        <a:pt x="483" y="282"/>
                      </a:lnTo>
                      <a:lnTo>
                        <a:pt x="484" y="282"/>
                      </a:lnTo>
                      <a:lnTo>
                        <a:pt x="483" y="284"/>
                      </a:lnTo>
                      <a:lnTo>
                        <a:pt x="483" y="285"/>
                      </a:lnTo>
                      <a:lnTo>
                        <a:pt x="483" y="287"/>
                      </a:lnTo>
                      <a:lnTo>
                        <a:pt x="484" y="287"/>
                      </a:lnTo>
                      <a:lnTo>
                        <a:pt x="484" y="289"/>
                      </a:lnTo>
                      <a:lnTo>
                        <a:pt x="484" y="290"/>
                      </a:lnTo>
                      <a:lnTo>
                        <a:pt x="484" y="292"/>
                      </a:lnTo>
                      <a:lnTo>
                        <a:pt x="483" y="292"/>
                      </a:lnTo>
                      <a:lnTo>
                        <a:pt x="483" y="294"/>
                      </a:lnTo>
                      <a:lnTo>
                        <a:pt x="483" y="295"/>
                      </a:lnTo>
                      <a:lnTo>
                        <a:pt x="483" y="297"/>
                      </a:lnTo>
                      <a:lnTo>
                        <a:pt x="484" y="297"/>
                      </a:lnTo>
                      <a:lnTo>
                        <a:pt x="483" y="297"/>
                      </a:lnTo>
                      <a:lnTo>
                        <a:pt x="484" y="297"/>
                      </a:lnTo>
                      <a:lnTo>
                        <a:pt x="484" y="299"/>
                      </a:lnTo>
                      <a:lnTo>
                        <a:pt x="483" y="299"/>
                      </a:lnTo>
                      <a:lnTo>
                        <a:pt x="483" y="300"/>
                      </a:lnTo>
                      <a:lnTo>
                        <a:pt x="483" y="302"/>
                      </a:lnTo>
                      <a:lnTo>
                        <a:pt x="483" y="303"/>
                      </a:lnTo>
                      <a:lnTo>
                        <a:pt x="483" y="305"/>
                      </a:lnTo>
                      <a:lnTo>
                        <a:pt x="483" y="307"/>
                      </a:lnTo>
                      <a:lnTo>
                        <a:pt x="481" y="307"/>
                      </a:lnTo>
                      <a:lnTo>
                        <a:pt x="481" y="308"/>
                      </a:lnTo>
                      <a:lnTo>
                        <a:pt x="481" y="310"/>
                      </a:lnTo>
                      <a:lnTo>
                        <a:pt x="481" y="312"/>
                      </a:lnTo>
                      <a:lnTo>
                        <a:pt x="483" y="312"/>
                      </a:lnTo>
                      <a:lnTo>
                        <a:pt x="481" y="312"/>
                      </a:lnTo>
                      <a:lnTo>
                        <a:pt x="481" y="313"/>
                      </a:lnTo>
                      <a:lnTo>
                        <a:pt x="483" y="313"/>
                      </a:lnTo>
                      <a:lnTo>
                        <a:pt x="483" y="315"/>
                      </a:lnTo>
                      <a:lnTo>
                        <a:pt x="484" y="315"/>
                      </a:lnTo>
                      <a:lnTo>
                        <a:pt x="486" y="313"/>
                      </a:lnTo>
                      <a:lnTo>
                        <a:pt x="488" y="313"/>
                      </a:lnTo>
                      <a:lnTo>
                        <a:pt x="488" y="315"/>
                      </a:lnTo>
                      <a:lnTo>
                        <a:pt x="489" y="315"/>
                      </a:lnTo>
                      <a:lnTo>
                        <a:pt x="489" y="313"/>
                      </a:lnTo>
                      <a:lnTo>
                        <a:pt x="491" y="313"/>
                      </a:lnTo>
                      <a:lnTo>
                        <a:pt x="491" y="315"/>
                      </a:lnTo>
                      <a:lnTo>
                        <a:pt x="491" y="317"/>
                      </a:lnTo>
                      <a:lnTo>
                        <a:pt x="491" y="318"/>
                      </a:lnTo>
                      <a:lnTo>
                        <a:pt x="489" y="318"/>
                      </a:lnTo>
                      <a:lnTo>
                        <a:pt x="488" y="318"/>
                      </a:lnTo>
                      <a:lnTo>
                        <a:pt x="488" y="320"/>
                      </a:lnTo>
                      <a:lnTo>
                        <a:pt x="488" y="322"/>
                      </a:lnTo>
                      <a:lnTo>
                        <a:pt x="488" y="323"/>
                      </a:lnTo>
                      <a:lnTo>
                        <a:pt x="489" y="323"/>
                      </a:lnTo>
                      <a:lnTo>
                        <a:pt x="489" y="325"/>
                      </a:lnTo>
                      <a:lnTo>
                        <a:pt x="491" y="325"/>
                      </a:lnTo>
                      <a:lnTo>
                        <a:pt x="493" y="325"/>
                      </a:lnTo>
                      <a:lnTo>
                        <a:pt x="493" y="326"/>
                      </a:lnTo>
                      <a:lnTo>
                        <a:pt x="495" y="326"/>
                      </a:lnTo>
                      <a:lnTo>
                        <a:pt x="496" y="326"/>
                      </a:lnTo>
                      <a:lnTo>
                        <a:pt x="498" y="326"/>
                      </a:lnTo>
                      <a:lnTo>
                        <a:pt x="498" y="325"/>
                      </a:lnTo>
                      <a:lnTo>
                        <a:pt x="500" y="325"/>
                      </a:lnTo>
                      <a:lnTo>
                        <a:pt x="500" y="326"/>
                      </a:lnTo>
                      <a:lnTo>
                        <a:pt x="501" y="325"/>
                      </a:lnTo>
                      <a:lnTo>
                        <a:pt x="501" y="326"/>
                      </a:lnTo>
                      <a:lnTo>
                        <a:pt x="503" y="326"/>
                      </a:lnTo>
                      <a:lnTo>
                        <a:pt x="503" y="328"/>
                      </a:lnTo>
                      <a:lnTo>
                        <a:pt x="503" y="330"/>
                      </a:lnTo>
                      <a:lnTo>
                        <a:pt x="505" y="330"/>
                      </a:lnTo>
                      <a:lnTo>
                        <a:pt x="505" y="331"/>
                      </a:lnTo>
                      <a:lnTo>
                        <a:pt x="505" y="330"/>
                      </a:lnTo>
                      <a:lnTo>
                        <a:pt x="506" y="330"/>
                      </a:lnTo>
                      <a:lnTo>
                        <a:pt x="506" y="331"/>
                      </a:lnTo>
                      <a:lnTo>
                        <a:pt x="506" y="333"/>
                      </a:lnTo>
                      <a:lnTo>
                        <a:pt x="506" y="335"/>
                      </a:lnTo>
                      <a:lnTo>
                        <a:pt x="508" y="335"/>
                      </a:lnTo>
                      <a:lnTo>
                        <a:pt x="508" y="336"/>
                      </a:lnTo>
                      <a:lnTo>
                        <a:pt x="510" y="336"/>
                      </a:lnTo>
                      <a:lnTo>
                        <a:pt x="511" y="336"/>
                      </a:lnTo>
                      <a:lnTo>
                        <a:pt x="511" y="338"/>
                      </a:lnTo>
                      <a:lnTo>
                        <a:pt x="513" y="338"/>
                      </a:lnTo>
                      <a:lnTo>
                        <a:pt x="513" y="340"/>
                      </a:lnTo>
                      <a:lnTo>
                        <a:pt x="511" y="340"/>
                      </a:lnTo>
                      <a:lnTo>
                        <a:pt x="511" y="341"/>
                      </a:lnTo>
                      <a:lnTo>
                        <a:pt x="513" y="341"/>
                      </a:lnTo>
                      <a:lnTo>
                        <a:pt x="515" y="341"/>
                      </a:lnTo>
                      <a:lnTo>
                        <a:pt x="515" y="343"/>
                      </a:lnTo>
                      <a:lnTo>
                        <a:pt x="516" y="345"/>
                      </a:lnTo>
                      <a:lnTo>
                        <a:pt x="516" y="346"/>
                      </a:lnTo>
                      <a:lnTo>
                        <a:pt x="518" y="346"/>
                      </a:lnTo>
                      <a:lnTo>
                        <a:pt x="518" y="345"/>
                      </a:lnTo>
                      <a:lnTo>
                        <a:pt x="520" y="345"/>
                      </a:lnTo>
                      <a:lnTo>
                        <a:pt x="522" y="346"/>
                      </a:lnTo>
                      <a:lnTo>
                        <a:pt x="522" y="348"/>
                      </a:lnTo>
                      <a:lnTo>
                        <a:pt x="522" y="349"/>
                      </a:lnTo>
                      <a:lnTo>
                        <a:pt x="523" y="351"/>
                      </a:lnTo>
                      <a:lnTo>
                        <a:pt x="523" y="349"/>
                      </a:lnTo>
                      <a:lnTo>
                        <a:pt x="525" y="349"/>
                      </a:lnTo>
                      <a:lnTo>
                        <a:pt x="525" y="351"/>
                      </a:lnTo>
                      <a:lnTo>
                        <a:pt x="527" y="351"/>
                      </a:lnTo>
                      <a:lnTo>
                        <a:pt x="525" y="351"/>
                      </a:lnTo>
                      <a:lnTo>
                        <a:pt x="525" y="353"/>
                      </a:lnTo>
                      <a:lnTo>
                        <a:pt x="527" y="353"/>
                      </a:lnTo>
                      <a:lnTo>
                        <a:pt x="527" y="354"/>
                      </a:lnTo>
                      <a:lnTo>
                        <a:pt x="527" y="356"/>
                      </a:lnTo>
                      <a:lnTo>
                        <a:pt x="528" y="356"/>
                      </a:lnTo>
                      <a:lnTo>
                        <a:pt x="528" y="358"/>
                      </a:lnTo>
                      <a:lnTo>
                        <a:pt x="530" y="358"/>
                      </a:lnTo>
                      <a:lnTo>
                        <a:pt x="532" y="358"/>
                      </a:lnTo>
                      <a:lnTo>
                        <a:pt x="533" y="358"/>
                      </a:lnTo>
                      <a:lnTo>
                        <a:pt x="533" y="359"/>
                      </a:lnTo>
                      <a:lnTo>
                        <a:pt x="533" y="358"/>
                      </a:lnTo>
                      <a:lnTo>
                        <a:pt x="535" y="358"/>
                      </a:lnTo>
                      <a:lnTo>
                        <a:pt x="535" y="359"/>
                      </a:lnTo>
                      <a:lnTo>
                        <a:pt x="537" y="359"/>
                      </a:lnTo>
                      <a:lnTo>
                        <a:pt x="538" y="361"/>
                      </a:lnTo>
                      <a:lnTo>
                        <a:pt x="540" y="361"/>
                      </a:lnTo>
                      <a:lnTo>
                        <a:pt x="542" y="361"/>
                      </a:lnTo>
                      <a:lnTo>
                        <a:pt x="543" y="361"/>
                      </a:lnTo>
                      <a:lnTo>
                        <a:pt x="545" y="361"/>
                      </a:lnTo>
                      <a:lnTo>
                        <a:pt x="545" y="363"/>
                      </a:lnTo>
                      <a:lnTo>
                        <a:pt x="547" y="363"/>
                      </a:lnTo>
                      <a:lnTo>
                        <a:pt x="549" y="363"/>
                      </a:lnTo>
                      <a:lnTo>
                        <a:pt x="550" y="363"/>
                      </a:lnTo>
                      <a:lnTo>
                        <a:pt x="552" y="363"/>
                      </a:lnTo>
                      <a:lnTo>
                        <a:pt x="554" y="363"/>
                      </a:lnTo>
                      <a:lnTo>
                        <a:pt x="554" y="364"/>
                      </a:lnTo>
                      <a:lnTo>
                        <a:pt x="555" y="364"/>
                      </a:lnTo>
                      <a:lnTo>
                        <a:pt x="557" y="364"/>
                      </a:lnTo>
                      <a:lnTo>
                        <a:pt x="559" y="364"/>
                      </a:lnTo>
                      <a:lnTo>
                        <a:pt x="560" y="364"/>
                      </a:lnTo>
                      <a:lnTo>
                        <a:pt x="560" y="366"/>
                      </a:lnTo>
                      <a:lnTo>
                        <a:pt x="562" y="368"/>
                      </a:lnTo>
                      <a:lnTo>
                        <a:pt x="564" y="368"/>
                      </a:lnTo>
                      <a:lnTo>
                        <a:pt x="564" y="369"/>
                      </a:lnTo>
                      <a:lnTo>
                        <a:pt x="562" y="369"/>
                      </a:lnTo>
                      <a:lnTo>
                        <a:pt x="562" y="371"/>
                      </a:lnTo>
                      <a:lnTo>
                        <a:pt x="560" y="371"/>
                      </a:lnTo>
                      <a:lnTo>
                        <a:pt x="562" y="371"/>
                      </a:lnTo>
                      <a:lnTo>
                        <a:pt x="562" y="372"/>
                      </a:lnTo>
                      <a:lnTo>
                        <a:pt x="562" y="461"/>
                      </a:lnTo>
                      <a:lnTo>
                        <a:pt x="535" y="461"/>
                      </a:lnTo>
                      <a:lnTo>
                        <a:pt x="454" y="461"/>
                      </a:lnTo>
                      <a:lnTo>
                        <a:pt x="454" y="463"/>
                      </a:lnTo>
                      <a:lnTo>
                        <a:pt x="454" y="464"/>
                      </a:lnTo>
                      <a:lnTo>
                        <a:pt x="452" y="468"/>
                      </a:lnTo>
                      <a:lnTo>
                        <a:pt x="452" y="469"/>
                      </a:lnTo>
                      <a:lnTo>
                        <a:pt x="451" y="471"/>
                      </a:lnTo>
                      <a:lnTo>
                        <a:pt x="449" y="473"/>
                      </a:lnTo>
                      <a:lnTo>
                        <a:pt x="447" y="473"/>
                      </a:lnTo>
                      <a:lnTo>
                        <a:pt x="447" y="474"/>
                      </a:lnTo>
                      <a:lnTo>
                        <a:pt x="446" y="476"/>
                      </a:lnTo>
                      <a:lnTo>
                        <a:pt x="446" y="478"/>
                      </a:lnTo>
                      <a:lnTo>
                        <a:pt x="446" y="479"/>
                      </a:lnTo>
                      <a:lnTo>
                        <a:pt x="444" y="481"/>
                      </a:lnTo>
                      <a:lnTo>
                        <a:pt x="446" y="482"/>
                      </a:lnTo>
                      <a:lnTo>
                        <a:pt x="444" y="482"/>
                      </a:lnTo>
                      <a:lnTo>
                        <a:pt x="442" y="484"/>
                      </a:lnTo>
                      <a:lnTo>
                        <a:pt x="442" y="486"/>
                      </a:lnTo>
                      <a:lnTo>
                        <a:pt x="440" y="486"/>
                      </a:lnTo>
                      <a:lnTo>
                        <a:pt x="440" y="487"/>
                      </a:lnTo>
                      <a:lnTo>
                        <a:pt x="439" y="487"/>
                      </a:lnTo>
                      <a:lnTo>
                        <a:pt x="439" y="489"/>
                      </a:lnTo>
                      <a:lnTo>
                        <a:pt x="439" y="491"/>
                      </a:lnTo>
                      <a:lnTo>
                        <a:pt x="437" y="492"/>
                      </a:lnTo>
                      <a:lnTo>
                        <a:pt x="437" y="494"/>
                      </a:lnTo>
                      <a:lnTo>
                        <a:pt x="435" y="496"/>
                      </a:lnTo>
                      <a:lnTo>
                        <a:pt x="437" y="496"/>
                      </a:lnTo>
                      <a:lnTo>
                        <a:pt x="437" y="497"/>
                      </a:lnTo>
                      <a:lnTo>
                        <a:pt x="437" y="499"/>
                      </a:lnTo>
                      <a:lnTo>
                        <a:pt x="435" y="499"/>
                      </a:lnTo>
                      <a:lnTo>
                        <a:pt x="434" y="501"/>
                      </a:lnTo>
                      <a:lnTo>
                        <a:pt x="432" y="502"/>
                      </a:lnTo>
                      <a:lnTo>
                        <a:pt x="434" y="502"/>
                      </a:lnTo>
                      <a:lnTo>
                        <a:pt x="432" y="502"/>
                      </a:lnTo>
                      <a:lnTo>
                        <a:pt x="432" y="504"/>
                      </a:lnTo>
                      <a:lnTo>
                        <a:pt x="430" y="504"/>
                      </a:lnTo>
                      <a:lnTo>
                        <a:pt x="430" y="505"/>
                      </a:lnTo>
                      <a:lnTo>
                        <a:pt x="430" y="509"/>
                      </a:lnTo>
                      <a:lnTo>
                        <a:pt x="429" y="509"/>
                      </a:lnTo>
                      <a:lnTo>
                        <a:pt x="429" y="510"/>
                      </a:lnTo>
                      <a:lnTo>
                        <a:pt x="430" y="510"/>
                      </a:lnTo>
                      <a:lnTo>
                        <a:pt x="430" y="512"/>
                      </a:lnTo>
                      <a:lnTo>
                        <a:pt x="429" y="514"/>
                      </a:lnTo>
                      <a:lnTo>
                        <a:pt x="429" y="515"/>
                      </a:lnTo>
                      <a:lnTo>
                        <a:pt x="427" y="515"/>
                      </a:lnTo>
                      <a:lnTo>
                        <a:pt x="429" y="517"/>
                      </a:lnTo>
                      <a:lnTo>
                        <a:pt x="429" y="519"/>
                      </a:lnTo>
                      <a:lnTo>
                        <a:pt x="427" y="519"/>
                      </a:lnTo>
                      <a:lnTo>
                        <a:pt x="427" y="520"/>
                      </a:lnTo>
                      <a:lnTo>
                        <a:pt x="425" y="522"/>
                      </a:lnTo>
                      <a:lnTo>
                        <a:pt x="425" y="524"/>
                      </a:lnTo>
                      <a:lnTo>
                        <a:pt x="425" y="525"/>
                      </a:lnTo>
                      <a:lnTo>
                        <a:pt x="425" y="527"/>
                      </a:lnTo>
                      <a:lnTo>
                        <a:pt x="424" y="527"/>
                      </a:lnTo>
                      <a:lnTo>
                        <a:pt x="422" y="528"/>
                      </a:lnTo>
                      <a:lnTo>
                        <a:pt x="422" y="530"/>
                      </a:lnTo>
                      <a:lnTo>
                        <a:pt x="420" y="530"/>
                      </a:lnTo>
                      <a:lnTo>
                        <a:pt x="420" y="532"/>
                      </a:lnTo>
                      <a:lnTo>
                        <a:pt x="420" y="533"/>
                      </a:lnTo>
                      <a:lnTo>
                        <a:pt x="420" y="535"/>
                      </a:lnTo>
                      <a:lnTo>
                        <a:pt x="420" y="537"/>
                      </a:lnTo>
                      <a:lnTo>
                        <a:pt x="422" y="537"/>
                      </a:lnTo>
                      <a:lnTo>
                        <a:pt x="422" y="538"/>
                      </a:lnTo>
                      <a:lnTo>
                        <a:pt x="422" y="540"/>
                      </a:lnTo>
                      <a:lnTo>
                        <a:pt x="424" y="540"/>
                      </a:lnTo>
                      <a:lnTo>
                        <a:pt x="424" y="542"/>
                      </a:lnTo>
                      <a:lnTo>
                        <a:pt x="425" y="542"/>
                      </a:lnTo>
                      <a:lnTo>
                        <a:pt x="425" y="543"/>
                      </a:lnTo>
                      <a:lnTo>
                        <a:pt x="427" y="543"/>
                      </a:lnTo>
                      <a:lnTo>
                        <a:pt x="429" y="545"/>
                      </a:lnTo>
                      <a:lnTo>
                        <a:pt x="429" y="547"/>
                      </a:lnTo>
                      <a:lnTo>
                        <a:pt x="429" y="548"/>
                      </a:lnTo>
                      <a:lnTo>
                        <a:pt x="429" y="550"/>
                      </a:lnTo>
                      <a:lnTo>
                        <a:pt x="429" y="551"/>
                      </a:lnTo>
                      <a:lnTo>
                        <a:pt x="425" y="553"/>
                      </a:lnTo>
                      <a:lnTo>
                        <a:pt x="422" y="553"/>
                      </a:lnTo>
                      <a:lnTo>
                        <a:pt x="422" y="555"/>
                      </a:lnTo>
                      <a:lnTo>
                        <a:pt x="420" y="555"/>
                      </a:lnTo>
                      <a:lnTo>
                        <a:pt x="419" y="555"/>
                      </a:lnTo>
                      <a:lnTo>
                        <a:pt x="419" y="556"/>
                      </a:lnTo>
                      <a:lnTo>
                        <a:pt x="417" y="556"/>
                      </a:lnTo>
                      <a:lnTo>
                        <a:pt x="415" y="556"/>
                      </a:lnTo>
                      <a:lnTo>
                        <a:pt x="413" y="556"/>
                      </a:lnTo>
                      <a:lnTo>
                        <a:pt x="412" y="556"/>
                      </a:lnTo>
                      <a:lnTo>
                        <a:pt x="410" y="558"/>
                      </a:lnTo>
                      <a:lnTo>
                        <a:pt x="412" y="558"/>
                      </a:lnTo>
                      <a:lnTo>
                        <a:pt x="412" y="560"/>
                      </a:lnTo>
                      <a:lnTo>
                        <a:pt x="410" y="561"/>
                      </a:lnTo>
                      <a:lnTo>
                        <a:pt x="408" y="561"/>
                      </a:lnTo>
                      <a:lnTo>
                        <a:pt x="410" y="563"/>
                      </a:lnTo>
                      <a:lnTo>
                        <a:pt x="410" y="565"/>
                      </a:lnTo>
                      <a:lnTo>
                        <a:pt x="408" y="565"/>
                      </a:lnTo>
                      <a:lnTo>
                        <a:pt x="408" y="566"/>
                      </a:lnTo>
                      <a:lnTo>
                        <a:pt x="407" y="566"/>
                      </a:lnTo>
                      <a:lnTo>
                        <a:pt x="407" y="565"/>
                      </a:lnTo>
                      <a:lnTo>
                        <a:pt x="405" y="565"/>
                      </a:lnTo>
                      <a:lnTo>
                        <a:pt x="403" y="565"/>
                      </a:lnTo>
                      <a:lnTo>
                        <a:pt x="402" y="563"/>
                      </a:lnTo>
                      <a:lnTo>
                        <a:pt x="402" y="565"/>
                      </a:lnTo>
                      <a:lnTo>
                        <a:pt x="402" y="566"/>
                      </a:lnTo>
                      <a:lnTo>
                        <a:pt x="400" y="565"/>
                      </a:lnTo>
                      <a:lnTo>
                        <a:pt x="398" y="565"/>
                      </a:lnTo>
                      <a:lnTo>
                        <a:pt x="398" y="566"/>
                      </a:lnTo>
                      <a:lnTo>
                        <a:pt x="397" y="566"/>
                      </a:lnTo>
                      <a:lnTo>
                        <a:pt x="395" y="566"/>
                      </a:lnTo>
                      <a:lnTo>
                        <a:pt x="395" y="568"/>
                      </a:lnTo>
                      <a:lnTo>
                        <a:pt x="395" y="566"/>
                      </a:lnTo>
                      <a:lnTo>
                        <a:pt x="393" y="566"/>
                      </a:lnTo>
                      <a:lnTo>
                        <a:pt x="391" y="565"/>
                      </a:lnTo>
                      <a:lnTo>
                        <a:pt x="390" y="565"/>
                      </a:lnTo>
                      <a:lnTo>
                        <a:pt x="388" y="565"/>
                      </a:lnTo>
                      <a:lnTo>
                        <a:pt x="386" y="565"/>
                      </a:lnTo>
                      <a:lnTo>
                        <a:pt x="386" y="563"/>
                      </a:lnTo>
                      <a:lnTo>
                        <a:pt x="386" y="561"/>
                      </a:lnTo>
                      <a:lnTo>
                        <a:pt x="386" y="560"/>
                      </a:lnTo>
                      <a:lnTo>
                        <a:pt x="386" y="558"/>
                      </a:lnTo>
                      <a:lnTo>
                        <a:pt x="385" y="558"/>
                      </a:lnTo>
                      <a:lnTo>
                        <a:pt x="385" y="556"/>
                      </a:lnTo>
                      <a:lnTo>
                        <a:pt x="386" y="555"/>
                      </a:lnTo>
                      <a:lnTo>
                        <a:pt x="385" y="555"/>
                      </a:lnTo>
                      <a:lnTo>
                        <a:pt x="383" y="553"/>
                      </a:lnTo>
                      <a:lnTo>
                        <a:pt x="381" y="553"/>
                      </a:lnTo>
                      <a:lnTo>
                        <a:pt x="383" y="551"/>
                      </a:lnTo>
                      <a:lnTo>
                        <a:pt x="383" y="550"/>
                      </a:lnTo>
                      <a:lnTo>
                        <a:pt x="381" y="548"/>
                      </a:lnTo>
                      <a:lnTo>
                        <a:pt x="380" y="548"/>
                      </a:lnTo>
                      <a:lnTo>
                        <a:pt x="378" y="548"/>
                      </a:lnTo>
                      <a:lnTo>
                        <a:pt x="378" y="547"/>
                      </a:lnTo>
                      <a:lnTo>
                        <a:pt x="378" y="545"/>
                      </a:lnTo>
                      <a:lnTo>
                        <a:pt x="376" y="545"/>
                      </a:lnTo>
                      <a:lnTo>
                        <a:pt x="375" y="545"/>
                      </a:lnTo>
                      <a:lnTo>
                        <a:pt x="373" y="545"/>
                      </a:lnTo>
                      <a:lnTo>
                        <a:pt x="373" y="543"/>
                      </a:lnTo>
                      <a:lnTo>
                        <a:pt x="371" y="543"/>
                      </a:lnTo>
                      <a:lnTo>
                        <a:pt x="371" y="542"/>
                      </a:lnTo>
                      <a:lnTo>
                        <a:pt x="371" y="540"/>
                      </a:lnTo>
                      <a:lnTo>
                        <a:pt x="371" y="538"/>
                      </a:lnTo>
                      <a:lnTo>
                        <a:pt x="371" y="537"/>
                      </a:lnTo>
                      <a:lnTo>
                        <a:pt x="370" y="537"/>
                      </a:lnTo>
                      <a:lnTo>
                        <a:pt x="368" y="537"/>
                      </a:lnTo>
                      <a:lnTo>
                        <a:pt x="366" y="537"/>
                      </a:lnTo>
                      <a:lnTo>
                        <a:pt x="363" y="537"/>
                      </a:lnTo>
                      <a:lnTo>
                        <a:pt x="361" y="535"/>
                      </a:lnTo>
                      <a:lnTo>
                        <a:pt x="359" y="535"/>
                      </a:lnTo>
                      <a:lnTo>
                        <a:pt x="358" y="535"/>
                      </a:lnTo>
                      <a:lnTo>
                        <a:pt x="358" y="533"/>
                      </a:lnTo>
                      <a:lnTo>
                        <a:pt x="358" y="532"/>
                      </a:lnTo>
                      <a:lnTo>
                        <a:pt x="356" y="532"/>
                      </a:lnTo>
                      <a:lnTo>
                        <a:pt x="354" y="532"/>
                      </a:lnTo>
                      <a:lnTo>
                        <a:pt x="353" y="532"/>
                      </a:lnTo>
                      <a:lnTo>
                        <a:pt x="351" y="530"/>
                      </a:lnTo>
                      <a:lnTo>
                        <a:pt x="349" y="532"/>
                      </a:lnTo>
                      <a:lnTo>
                        <a:pt x="348" y="532"/>
                      </a:lnTo>
                      <a:lnTo>
                        <a:pt x="346" y="532"/>
                      </a:lnTo>
                      <a:lnTo>
                        <a:pt x="344" y="532"/>
                      </a:lnTo>
                      <a:lnTo>
                        <a:pt x="342" y="532"/>
                      </a:lnTo>
                      <a:lnTo>
                        <a:pt x="342" y="533"/>
                      </a:lnTo>
                      <a:lnTo>
                        <a:pt x="342" y="535"/>
                      </a:lnTo>
                      <a:lnTo>
                        <a:pt x="342" y="537"/>
                      </a:lnTo>
                      <a:lnTo>
                        <a:pt x="341" y="537"/>
                      </a:lnTo>
                      <a:lnTo>
                        <a:pt x="339" y="538"/>
                      </a:lnTo>
                      <a:lnTo>
                        <a:pt x="337" y="538"/>
                      </a:lnTo>
                      <a:lnTo>
                        <a:pt x="336" y="538"/>
                      </a:lnTo>
                      <a:lnTo>
                        <a:pt x="334" y="538"/>
                      </a:lnTo>
                      <a:lnTo>
                        <a:pt x="334" y="540"/>
                      </a:lnTo>
                      <a:lnTo>
                        <a:pt x="332" y="540"/>
                      </a:lnTo>
                      <a:lnTo>
                        <a:pt x="331" y="540"/>
                      </a:lnTo>
                      <a:lnTo>
                        <a:pt x="329" y="540"/>
                      </a:lnTo>
                      <a:lnTo>
                        <a:pt x="329" y="542"/>
                      </a:lnTo>
                      <a:lnTo>
                        <a:pt x="326" y="542"/>
                      </a:lnTo>
                      <a:lnTo>
                        <a:pt x="324" y="543"/>
                      </a:lnTo>
                      <a:lnTo>
                        <a:pt x="322" y="543"/>
                      </a:lnTo>
                      <a:lnTo>
                        <a:pt x="322" y="545"/>
                      </a:lnTo>
                      <a:lnTo>
                        <a:pt x="321" y="545"/>
                      </a:lnTo>
                      <a:lnTo>
                        <a:pt x="319" y="547"/>
                      </a:lnTo>
                      <a:lnTo>
                        <a:pt x="319" y="548"/>
                      </a:lnTo>
                      <a:lnTo>
                        <a:pt x="319" y="550"/>
                      </a:lnTo>
                      <a:lnTo>
                        <a:pt x="317" y="551"/>
                      </a:lnTo>
                      <a:lnTo>
                        <a:pt x="315" y="553"/>
                      </a:lnTo>
                      <a:lnTo>
                        <a:pt x="314" y="553"/>
                      </a:lnTo>
                      <a:lnTo>
                        <a:pt x="312" y="555"/>
                      </a:lnTo>
                      <a:lnTo>
                        <a:pt x="312" y="556"/>
                      </a:lnTo>
                      <a:lnTo>
                        <a:pt x="310" y="560"/>
                      </a:lnTo>
                      <a:lnTo>
                        <a:pt x="310" y="561"/>
                      </a:lnTo>
                      <a:lnTo>
                        <a:pt x="310" y="563"/>
                      </a:lnTo>
                      <a:lnTo>
                        <a:pt x="312" y="563"/>
                      </a:lnTo>
                      <a:lnTo>
                        <a:pt x="310" y="565"/>
                      </a:lnTo>
                      <a:lnTo>
                        <a:pt x="310" y="566"/>
                      </a:lnTo>
                      <a:lnTo>
                        <a:pt x="310" y="568"/>
                      </a:lnTo>
                      <a:lnTo>
                        <a:pt x="309" y="568"/>
                      </a:lnTo>
                      <a:lnTo>
                        <a:pt x="309" y="570"/>
                      </a:lnTo>
                      <a:lnTo>
                        <a:pt x="309" y="571"/>
                      </a:lnTo>
                      <a:lnTo>
                        <a:pt x="307" y="571"/>
                      </a:lnTo>
                      <a:lnTo>
                        <a:pt x="307" y="573"/>
                      </a:lnTo>
                      <a:lnTo>
                        <a:pt x="309" y="573"/>
                      </a:lnTo>
                      <a:lnTo>
                        <a:pt x="307" y="574"/>
                      </a:lnTo>
                      <a:lnTo>
                        <a:pt x="307" y="576"/>
                      </a:lnTo>
                      <a:lnTo>
                        <a:pt x="309" y="576"/>
                      </a:lnTo>
                      <a:lnTo>
                        <a:pt x="310" y="576"/>
                      </a:lnTo>
                      <a:lnTo>
                        <a:pt x="310" y="578"/>
                      </a:lnTo>
                      <a:lnTo>
                        <a:pt x="310" y="579"/>
                      </a:lnTo>
                      <a:lnTo>
                        <a:pt x="312" y="581"/>
                      </a:lnTo>
                      <a:lnTo>
                        <a:pt x="312" y="583"/>
                      </a:lnTo>
                      <a:lnTo>
                        <a:pt x="312" y="584"/>
                      </a:lnTo>
                      <a:lnTo>
                        <a:pt x="310" y="584"/>
                      </a:lnTo>
                      <a:lnTo>
                        <a:pt x="309" y="584"/>
                      </a:lnTo>
                      <a:lnTo>
                        <a:pt x="309" y="586"/>
                      </a:lnTo>
                      <a:lnTo>
                        <a:pt x="309" y="588"/>
                      </a:lnTo>
                      <a:lnTo>
                        <a:pt x="309" y="589"/>
                      </a:lnTo>
                      <a:lnTo>
                        <a:pt x="309" y="591"/>
                      </a:lnTo>
                      <a:lnTo>
                        <a:pt x="309" y="593"/>
                      </a:lnTo>
                      <a:lnTo>
                        <a:pt x="309" y="594"/>
                      </a:lnTo>
                      <a:lnTo>
                        <a:pt x="307" y="596"/>
                      </a:lnTo>
                      <a:lnTo>
                        <a:pt x="307" y="597"/>
                      </a:lnTo>
                      <a:lnTo>
                        <a:pt x="305" y="599"/>
                      </a:lnTo>
                      <a:lnTo>
                        <a:pt x="305" y="601"/>
                      </a:lnTo>
                      <a:lnTo>
                        <a:pt x="305" y="602"/>
                      </a:lnTo>
                      <a:lnTo>
                        <a:pt x="304" y="604"/>
                      </a:lnTo>
                      <a:lnTo>
                        <a:pt x="304" y="606"/>
                      </a:lnTo>
                      <a:lnTo>
                        <a:pt x="305" y="606"/>
                      </a:lnTo>
                      <a:lnTo>
                        <a:pt x="307" y="607"/>
                      </a:lnTo>
                      <a:lnTo>
                        <a:pt x="307" y="609"/>
                      </a:lnTo>
                      <a:lnTo>
                        <a:pt x="309" y="611"/>
                      </a:lnTo>
                      <a:lnTo>
                        <a:pt x="307" y="611"/>
                      </a:lnTo>
                      <a:lnTo>
                        <a:pt x="305" y="612"/>
                      </a:lnTo>
                      <a:lnTo>
                        <a:pt x="304" y="614"/>
                      </a:lnTo>
                      <a:lnTo>
                        <a:pt x="305" y="614"/>
                      </a:lnTo>
                      <a:lnTo>
                        <a:pt x="305" y="616"/>
                      </a:lnTo>
                      <a:lnTo>
                        <a:pt x="307" y="614"/>
                      </a:lnTo>
                      <a:lnTo>
                        <a:pt x="309" y="616"/>
                      </a:lnTo>
                      <a:lnTo>
                        <a:pt x="309" y="617"/>
                      </a:lnTo>
                      <a:lnTo>
                        <a:pt x="310" y="617"/>
                      </a:lnTo>
                      <a:lnTo>
                        <a:pt x="312" y="617"/>
                      </a:lnTo>
                      <a:lnTo>
                        <a:pt x="312" y="619"/>
                      </a:lnTo>
                      <a:lnTo>
                        <a:pt x="312" y="620"/>
                      </a:lnTo>
                      <a:lnTo>
                        <a:pt x="314" y="622"/>
                      </a:lnTo>
                      <a:lnTo>
                        <a:pt x="314" y="624"/>
                      </a:lnTo>
                      <a:lnTo>
                        <a:pt x="315" y="624"/>
                      </a:lnTo>
                      <a:lnTo>
                        <a:pt x="317" y="624"/>
                      </a:lnTo>
                      <a:lnTo>
                        <a:pt x="317" y="625"/>
                      </a:lnTo>
                      <a:lnTo>
                        <a:pt x="319" y="625"/>
                      </a:lnTo>
                      <a:lnTo>
                        <a:pt x="319" y="627"/>
                      </a:lnTo>
                      <a:lnTo>
                        <a:pt x="319" y="629"/>
                      </a:lnTo>
                      <a:lnTo>
                        <a:pt x="319" y="630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5" name="Freeform 13"/>
                <p:cNvSpPr>
                  <a:spLocks noChangeAspect="1"/>
                </p:cNvSpPr>
                <p:nvPr/>
              </p:nvSpPr>
              <p:spPr bwMode="auto">
                <a:xfrm>
                  <a:off x="4103263" y="588015"/>
                  <a:ext cx="738988" cy="875999"/>
                </a:xfrm>
                <a:custGeom>
                  <a:avLst/>
                  <a:gdLst>
                    <a:gd name="T0" fmla="*/ 2147483647 w 474"/>
                    <a:gd name="T1" fmla="*/ 2147483647 h 524"/>
                    <a:gd name="T2" fmla="*/ 2147483647 w 474"/>
                    <a:gd name="T3" fmla="*/ 2147483647 h 524"/>
                    <a:gd name="T4" fmla="*/ 2147483647 w 474"/>
                    <a:gd name="T5" fmla="*/ 2147483647 h 524"/>
                    <a:gd name="T6" fmla="*/ 2147483647 w 474"/>
                    <a:gd name="T7" fmla="*/ 2147483647 h 524"/>
                    <a:gd name="T8" fmla="*/ 2147483647 w 474"/>
                    <a:gd name="T9" fmla="*/ 2147483647 h 524"/>
                    <a:gd name="T10" fmla="*/ 2147483647 w 474"/>
                    <a:gd name="T11" fmla="*/ 2147483647 h 524"/>
                    <a:gd name="T12" fmla="*/ 2147483647 w 474"/>
                    <a:gd name="T13" fmla="*/ 2147483647 h 524"/>
                    <a:gd name="T14" fmla="*/ 2147483647 w 474"/>
                    <a:gd name="T15" fmla="*/ 2147483647 h 524"/>
                    <a:gd name="T16" fmla="*/ 2147483647 w 474"/>
                    <a:gd name="T17" fmla="*/ 2147483647 h 524"/>
                    <a:gd name="T18" fmla="*/ 2147483647 w 474"/>
                    <a:gd name="T19" fmla="*/ 2147483647 h 524"/>
                    <a:gd name="T20" fmla="*/ 2147483647 w 474"/>
                    <a:gd name="T21" fmla="*/ 2147483647 h 524"/>
                    <a:gd name="T22" fmla="*/ 2147483647 w 474"/>
                    <a:gd name="T23" fmla="*/ 2147483647 h 524"/>
                    <a:gd name="T24" fmla="*/ 2147483647 w 474"/>
                    <a:gd name="T25" fmla="*/ 2147483647 h 524"/>
                    <a:gd name="T26" fmla="*/ 2147483647 w 474"/>
                    <a:gd name="T27" fmla="*/ 2147483647 h 524"/>
                    <a:gd name="T28" fmla="*/ 2147483647 w 474"/>
                    <a:gd name="T29" fmla="*/ 2147483647 h 524"/>
                    <a:gd name="T30" fmla="*/ 2147483647 w 474"/>
                    <a:gd name="T31" fmla="*/ 2147483647 h 524"/>
                    <a:gd name="T32" fmla="*/ 2147483647 w 474"/>
                    <a:gd name="T33" fmla="*/ 2147483647 h 524"/>
                    <a:gd name="T34" fmla="*/ 2147483647 w 474"/>
                    <a:gd name="T35" fmla="*/ 2147483647 h 524"/>
                    <a:gd name="T36" fmla="*/ 2147483647 w 474"/>
                    <a:gd name="T37" fmla="*/ 2147483647 h 524"/>
                    <a:gd name="T38" fmla="*/ 2147483647 w 474"/>
                    <a:gd name="T39" fmla="*/ 2147483647 h 524"/>
                    <a:gd name="T40" fmla="*/ 2147483647 w 474"/>
                    <a:gd name="T41" fmla="*/ 2147483647 h 524"/>
                    <a:gd name="T42" fmla="*/ 2147483647 w 474"/>
                    <a:gd name="T43" fmla="*/ 2147483647 h 524"/>
                    <a:gd name="T44" fmla="*/ 2147483647 w 474"/>
                    <a:gd name="T45" fmla="*/ 2147483647 h 524"/>
                    <a:gd name="T46" fmla="*/ 2147483647 w 474"/>
                    <a:gd name="T47" fmla="*/ 2147483647 h 524"/>
                    <a:gd name="T48" fmla="*/ 2147483647 w 474"/>
                    <a:gd name="T49" fmla="*/ 2147483647 h 524"/>
                    <a:gd name="T50" fmla="*/ 2147483647 w 474"/>
                    <a:gd name="T51" fmla="*/ 2147483647 h 524"/>
                    <a:gd name="T52" fmla="*/ 2147483647 w 474"/>
                    <a:gd name="T53" fmla="*/ 2147483647 h 524"/>
                    <a:gd name="T54" fmla="*/ 2147483647 w 474"/>
                    <a:gd name="T55" fmla="*/ 2147483647 h 524"/>
                    <a:gd name="T56" fmla="*/ 2147483647 w 474"/>
                    <a:gd name="T57" fmla="*/ 2147483647 h 524"/>
                    <a:gd name="T58" fmla="*/ 2147483647 w 474"/>
                    <a:gd name="T59" fmla="*/ 2147483647 h 524"/>
                    <a:gd name="T60" fmla="*/ 2147483647 w 474"/>
                    <a:gd name="T61" fmla="*/ 2147483647 h 524"/>
                    <a:gd name="T62" fmla="*/ 2147483647 w 474"/>
                    <a:gd name="T63" fmla="*/ 2147483647 h 524"/>
                    <a:gd name="T64" fmla="*/ 2147483647 w 474"/>
                    <a:gd name="T65" fmla="*/ 2147483647 h 524"/>
                    <a:gd name="T66" fmla="*/ 2147483647 w 474"/>
                    <a:gd name="T67" fmla="*/ 2147483647 h 524"/>
                    <a:gd name="T68" fmla="*/ 2147483647 w 474"/>
                    <a:gd name="T69" fmla="*/ 2147483647 h 524"/>
                    <a:gd name="T70" fmla="*/ 2147483647 w 474"/>
                    <a:gd name="T71" fmla="*/ 2147483647 h 524"/>
                    <a:gd name="T72" fmla="*/ 2147483647 w 474"/>
                    <a:gd name="T73" fmla="*/ 2147483647 h 524"/>
                    <a:gd name="T74" fmla="*/ 2147483647 w 474"/>
                    <a:gd name="T75" fmla="*/ 2147483647 h 524"/>
                    <a:gd name="T76" fmla="*/ 2147483647 w 474"/>
                    <a:gd name="T77" fmla="*/ 2147483647 h 524"/>
                    <a:gd name="T78" fmla="*/ 2147483647 w 474"/>
                    <a:gd name="T79" fmla="*/ 2147483647 h 524"/>
                    <a:gd name="T80" fmla="*/ 2147483647 w 474"/>
                    <a:gd name="T81" fmla="*/ 2147483647 h 524"/>
                    <a:gd name="T82" fmla="*/ 2147483647 w 474"/>
                    <a:gd name="T83" fmla="*/ 2147483647 h 524"/>
                    <a:gd name="T84" fmla="*/ 2147483647 w 474"/>
                    <a:gd name="T85" fmla="*/ 2147483647 h 524"/>
                    <a:gd name="T86" fmla="*/ 2147483647 w 474"/>
                    <a:gd name="T87" fmla="*/ 2147483647 h 524"/>
                    <a:gd name="T88" fmla="*/ 2147483647 w 474"/>
                    <a:gd name="T89" fmla="*/ 2147483647 h 524"/>
                    <a:gd name="T90" fmla="*/ 2147483647 w 474"/>
                    <a:gd name="T91" fmla="*/ 2147483647 h 524"/>
                    <a:gd name="T92" fmla="*/ 2147483647 w 474"/>
                    <a:gd name="T93" fmla="*/ 2147483647 h 524"/>
                    <a:gd name="T94" fmla="*/ 2147483647 w 474"/>
                    <a:gd name="T95" fmla="*/ 2147483647 h 524"/>
                    <a:gd name="T96" fmla="*/ 2147483647 w 474"/>
                    <a:gd name="T97" fmla="*/ 2147483647 h 524"/>
                    <a:gd name="T98" fmla="*/ 2147483647 w 474"/>
                    <a:gd name="T99" fmla="*/ 2147483647 h 524"/>
                    <a:gd name="T100" fmla="*/ 2147483647 w 474"/>
                    <a:gd name="T101" fmla="*/ 2147483647 h 524"/>
                    <a:gd name="T102" fmla="*/ 2147483647 w 474"/>
                    <a:gd name="T103" fmla="*/ 2147483647 h 524"/>
                    <a:gd name="T104" fmla="*/ 2147483647 w 474"/>
                    <a:gd name="T105" fmla="*/ 2147483647 h 524"/>
                    <a:gd name="T106" fmla="*/ 2147483647 w 474"/>
                    <a:gd name="T107" fmla="*/ 2147483647 h 524"/>
                    <a:gd name="T108" fmla="*/ 2147483647 w 474"/>
                    <a:gd name="T109" fmla="*/ 2147483647 h 524"/>
                    <a:gd name="T110" fmla="*/ 2147483647 w 474"/>
                    <a:gd name="T111" fmla="*/ 2147483647 h 524"/>
                    <a:gd name="T112" fmla="*/ 2147483647 w 474"/>
                    <a:gd name="T113" fmla="*/ 2147483647 h 524"/>
                    <a:gd name="T114" fmla="*/ 2147483647 w 474"/>
                    <a:gd name="T115" fmla="*/ 2147483647 h 524"/>
                    <a:gd name="T116" fmla="*/ 2147483647 w 474"/>
                    <a:gd name="T117" fmla="*/ 2147483647 h 524"/>
                    <a:gd name="T118" fmla="*/ 2147483647 w 474"/>
                    <a:gd name="T119" fmla="*/ 2147483647 h 524"/>
                    <a:gd name="T120" fmla="*/ 2147483647 w 474"/>
                    <a:gd name="T121" fmla="*/ 2147483647 h 52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474"/>
                    <a:gd name="T184" fmla="*/ 0 h 524"/>
                    <a:gd name="T185" fmla="*/ 474 w 474"/>
                    <a:gd name="T186" fmla="*/ 524 h 52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474" h="524">
                      <a:moveTo>
                        <a:pt x="152" y="209"/>
                      </a:moveTo>
                      <a:lnTo>
                        <a:pt x="152" y="207"/>
                      </a:lnTo>
                      <a:lnTo>
                        <a:pt x="152" y="209"/>
                      </a:lnTo>
                      <a:lnTo>
                        <a:pt x="153" y="209"/>
                      </a:lnTo>
                      <a:lnTo>
                        <a:pt x="153" y="207"/>
                      </a:lnTo>
                      <a:lnTo>
                        <a:pt x="155" y="207"/>
                      </a:lnTo>
                      <a:lnTo>
                        <a:pt x="157" y="207"/>
                      </a:lnTo>
                      <a:lnTo>
                        <a:pt x="159" y="207"/>
                      </a:lnTo>
                      <a:lnTo>
                        <a:pt x="160" y="207"/>
                      </a:lnTo>
                      <a:lnTo>
                        <a:pt x="162" y="207"/>
                      </a:lnTo>
                      <a:lnTo>
                        <a:pt x="164" y="207"/>
                      </a:lnTo>
                      <a:lnTo>
                        <a:pt x="165" y="205"/>
                      </a:lnTo>
                      <a:lnTo>
                        <a:pt x="167" y="205"/>
                      </a:lnTo>
                      <a:lnTo>
                        <a:pt x="169" y="205"/>
                      </a:lnTo>
                      <a:lnTo>
                        <a:pt x="170" y="205"/>
                      </a:lnTo>
                      <a:lnTo>
                        <a:pt x="172" y="207"/>
                      </a:lnTo>
                      <a:lnTo>
                        <a:pt x="172" y="209"/>
                      </a:lnTo>
                      <a:lnTo>
                        <a:pt x="174" y="209"/>
                      </a:lnTo>
                      <a:lnTo>
                        <a:pt x="174" y="210"/>
                      </a:lnTo>
                      <a:lnTo>
                        <a:pt x="175" y="210"/>
                      </a:lnTo>
                      <a:lnTo>
                        <a:pt x="177" y="210"/>
                      </a:lnTo>
                      <a:lnTo>
                        <a:pt x="179" y="210"/>
                      </a:lnTo>
                      <a:lnTo>
                        <a:pt x="180" y="210"/>
                      </a:lnTo>
                      <a:lnTo>
                        <a:pt x="182" y="210"/>
                      </a:lnTo>
                      <a:lnTo>
                        <a:pt x="184" y="210"/>
                      </a:lnTo>
                      <a:lnTo>
                        <a:pt x="184" y="209"/>
                      </a:lnTo>
                      <a:lnTo>
                        <a:pt x="184" y="207"/>
                      </a:lnTo>
                      <a:lnTo>
                        <a:pt x="184" y="209"/>
                      </a:lnTo>
                      <a:lnTo>
                        <a:pt x="186" y="209"/>
                      </a:lnTo>
                      <a:lnTo>
                        <a:pt x="186" y="207"/>
                      </a:lnTo>
                      <a:lnTo>
                        <a:pt x="186" y="209"/>
                      </a:lnTo>
                      <a:lnTo>
                        <a:pt x="187" y="209"/>
                      </a:lnTo>
                      <a:lnTo>
                        <a:pt x="187" y="207"/>
                      </a:lnTo>
                      <a:lnTo>
                        <a:pt x="187" y="205"/>
                      </a:lnTo>
                      <a:lnTo>
                        <a:pt x="189" y="205"/>
                      </a:lnTo>
                      <a:lnTo>
                        <a:pt x="189" y="204"/>
                      </a:lnTo>
                      <a:lnTo>
                        <a:pt x="191" y="202"/>
                      </a:lnTo>
                      <a:lnTo>
                        <a:pt x="192" y="202"/>
                      </a:lnTo>
                      <a:lnTo>
                        <a:pt x="192" y="201"/>
                      </a:lnTo>
                      <a:lnTo>
                        <a:pt x="191" y="201"/>
                      </a:lnTo>
                      <a:lnTo>
                        <a:pt x="192" y="201"/>
                      </a:lnTo>
                      <a:lnTo>
                        <a:pt x="192" y="199"/>
                      </a:lnTo>
                      <a:lnTo>
                        <a:pt x="194" y="199"/>
                      </a:lnTo>
                      <a:lnTo>
                        <a:pt x="196" y="197"/>
                      </a:lnTo>
                      <a:lnTo>
                        <a:pt x="196" y="199"/>
                      </a:lnTo>
                      <a:lnTo>
                        <a:pt x="197" y="197"/>
                      </a:lnTo>
                      <a:lnTo>
                        <a:pt x="199" y="197"/>
                      </a:lnTo>
                      <a:lnTo>
                        <a:pt x="199" y="196"/>
                      </a:lnTo>
                      <a:lnTo>
                        <a:pt x="201" y="197"/>
                      </a:lnTo>
                      <a:lnTo>
                        <a:pt x="201" y="196"/>
                      </a:lnTo>
                      <a:lnTo>
                        <a:pt x="202" y="196"/>
                      </a:lnTo>
                      <a:lnTo>
                        <a:pt x="204" y="194"/>
                      </a:lnTo>
                      <a:lnTo>
                        <a:pt x="206" y="192"/>
                      </a:lnTo>
                      <a:lnTo>
                        <a:pt x="208" y="192"/>
                      </a:lnTo>
                      <a:lnTo>
                        <a:pt x="208" y="191"/>
                      </a:lnTo>
                      <a:lnTo>
                        <a:pt x="209" y="191"/>
                      </a:lnTo>
                      <a:lnTo>
                        <a:pt x="209" y="189"/>
                      </a:lnTo>
                      <a:lnTo>
                        <a:pt x="211" y="189"/>
                      </a:lnTo>
                      <a:lnTo>
                        <a:pt x="209" y="189"/>
                      </a:lnTo>
                      <a:lnTo>
                        <a:pt x="211" y="187"/>
                      </a:lnTo>
                      <a:lnTo>
                        <a:pt x="213" y="186"/>
                      </a:lnTo>
                      <a:lnTo>
                        <a:pt x="211" y="186"/>
                      </a:lnTo>
                      <a:lnTo>
                        <a:pt x="213" y="186"/>
                      </a:lnTo>
                      <a:lnTo>
                        <a:pt x="213" y="184"/>
                      </a:lnTo>
                      <a:lnTo>
                        <a:pt x="214" y="184"/>
                      </a:lnTo>
                      <a:lnTo>
                        <a:pt x="216" y="184"/>
                      </a:lnTo>
                      <a:lnTo>
                        <a:pt x="214" y="182"/>
                      </a:lnTo>
                      <a:lnTo>
                        <a:pt x="216" y="182"/>
                      </a:lnTo>
                      <a:lnTo>
                        <a:pt x="218" y="182"/>
                      </a:lnTo>
                      <a:lnTo>
                        <a:pt x="218" y="181"/>
                      </a:lnTo>
                      <a:lnTo>
                        <a:pt x="218" y="179"/>
                      </a:lnTo>
                      <a:lnTo>
                        <a:pt x="219" y="178"/>
                      </a:lnTo>
                      <a:lnTo>
                        <a:pt x="219" y="176"/>
                      </a:lnTo>
                      <a:lnTo>
                        <a:pt x="219" y="174"/>
                      </a:lnTo>
                      <a:lnTo>
                        <a:pt x="221" y="174"/>
                      </a:lnTo>
                      <a:lnTo>
                        <a:pt x="221" y="173"/>
                      </a:lnTo>
                      <a:lnTo>
                        <a:pt x="223" y="173"/>
                      </a:lnTo>
                      <a:lnTo>
                        <a:pt x="223" y="171"/>
                      </a:lnTo>
                      <a:lnTo>
                        <a:pt x="221" y="171"/>
                      </a:lnTo>
                      <a:lnTo>
                        <a:pt x="219" y="169"/>
                      </a:lnTo>
                      <a:lnTo>
                        <a:pt x="221" y="169"/>
                      </a:lnTo>
                      <a:lnTo>
                        <a:pt x="221" y="168"/>
                      </a:lnTo>
                      <a:lnTo>
                        <a:pt x="219" y="168"/>
                      </a:lnTo>
                      <a:lnTo>
                        <a:pt x="219" y="166"/>
                      </a:lnTo>
                      <a:lnTo>
                        <a:pt x="221" y="166"/>
                      </a:lnTo>
                      <a:lnTo>
                        <a:pt x="223" y="166"/>
                      </a:lnTo>
                      <a:lnTo>
                        <a:pt x="223" y="164"/>
                      </a:lnTo>
                      <a:lnTo>
                        <a:pt x="223" y="163"/>
                      </a:lnTo>
                      <a:lnTo>
                        <a:pt x="224" y="163"/>
                      </a:lnTo>
                      <a:lnTo>
                        <a:pt x="224" y="161"/>
                      </a:lnTo>
                      <a:lnTo>
                        <a:pt x="224" y="159"/>
                      </a:lnTo>
                      <a:lnTo>
                        <a:pt x="226" y="158"/>
                      </a:lnTo>
                      <a:lnTo>
                        <a:pt x="226" y="156"/>
                      </a:lnTo>
                      <a:lnTo>
                        <a:pt x="226" y="155"/>
                      </a:lnTo>
                      <a:lnTo>
                        <a:pt x="228" y="153"/>
                      </a:lnTo>
                      <a:lnTo>
                        <a:pt x="228" y="151"/>
                      </a:lnTo>
                      <a:lnTo>
                        <a:pt x="229" y="150"/>
                      </a:lnTo>
                      <a:lnTo>
                        <a:pt x="229" y="148"/>
                      </a:lnTo>
                      <a:lnTo>
                        <a:pt x="231" y="146"/>
                      </a:lnTo>
                      <a:lnTo>
                        <a:pt x="233" y="143"/>
                      </a:lnTo>
                      <a:lnTo>
                        <a:pt x="235" y="143"/>
                      </a:lnTo>
                      <a:lnTo>
                        <a:pt x="236" y="141"/>
                      </a:lnTo>
                      <a:lnTo>
                        <a:pt x="235" y="141"/>
                      </a:lnTo>
                      <a:lnTo>
                        <a:pt x="235" y="140"/>
                      </a:lnTo>
                      <a:lnTo>
                        <a:pt x="235" y="138"/>
                      </a:lnTo>
                      <a:lnTo>
                        <a:pt x="236" y="138"/>
                      </a:lnTo>
                      <a:lnTo>
                        <a:pt x="236" y="137"/>
                      </a:lnTo>
                      <a:lnTo>
                        <a:pt x="238" y="135"/>
                      </a:lnTo>
                      <a:lnTo>
                        <a:pt x="238" y="133"/>
                      </a:lnTo>
                      <a:lnTo>
                        <a:pt x="238" y="132"/>
                      </a:lnTo>
                      <a:lnTo>
                        <a:pt x="240" y="132"/>
                      </a:lnTo>
                      <a:lnTo>
                        <a:pt x="240" y="130"/>
                      </a:lnTo>
                      <a:lnTo>
                        <a:pt x="240" y="128"/>
                      </a:lnTo>
                      <a:lnTo>
                        <a:pt x="241" y="127"/>
                      </a:lnTo>
                      <a:lnTo>
                        <a:pt x="241" y="125"/>
                      </a:lnTo>
                      <a:lnTo>
                        <a:pt x="240" y="125"/>
                      </a:lnTo>
                      <a:lnTo>
                        <a:pt x="240" y="123"/>
                      </a:lnTo>
                      <a:lnTo>
                        <a:pt x="240" y="122"/>
                      </a:lnTo>
                      <a:lnTo>
                        <a:pt x="240" y="120"/>
                      </a:lnTo>
                      <a:lnTo>
                        <a:pt x="241" y="120"/>
                      </a:lnTo>
                      <a:lnTo>
                        <a:pt x="241" y="118"/>
                      </a:lnTo>
                      <a:lnTo>
                        <a:pt x="241" y="117"/>
                      </a:lnTo>
                      <a:lnTo>
                        <a:pt x="243" y="117"/>
                      </a:lnTo>
                      <a:lnTo>
                        <a:pt x="243" y="115"/>
                      </a:lnTo>
                      <a:lnTo>
                        <a:pt x="243" y="114"/>
                      </a:lnTo>
                      <a:lnTo>
                        <a:pt x="245" y="114"/>
                      </a:lnTo>
                      <a:lnTo>
                        <a:pt x="245" y="112"/>
                      </a:lnTo>
                      <a:lnTo>
                        <a:pt x="246" y="112"/>
                      </a:lnTo>
                      <a:lnTo>
                        <a:pt x="246" y="110"/>
                      </a:lnTo>
                      <a:lnTo>
                        <a:pt x="248" y="110"/>
                      </a:lnTo>
                      <a:lnTo>
                        <a:pt x="250" y="110"/>
                      </a:lnTo>
                      <a:lnTo>
                        <a:pt x="250" y="112"/>
                      </a:lnTo>
                      <a:lnTo>
                        <a:pt x="250" y="110"/>
                      </a:lnTo>
                      <a:lnTo>
                        <a:pt x="251" y="110"/>
                      </a:lnTo>
                      <a:lnTo>
                        <a:pt x="251" y="109"/>
                      </a:lnTo>
                      <a:lnTo>
                        <a:pt x="253" y="107"/>
                      </a:lnTo>
                      <a:lnTo>
                        <a:pt x="253" y="105"/>
                      </a:lnTo>
                      <a:lnTo>
                        <a:pt x="255" y="105"/>
                      </a:lnTo>
                      <a:lnTo>
                        <a:pt x="255" y="104"/>
                      </a:lnTo>
                      <a:lnTo>
                        <a:pt x="255" y="102"/>
                      </a:lnTo>
                      <a:lnTo>
                        <a:pt x="256" y="102"/>
                      </a:lnTo>
                      <a:lnTo>
                        <a:pt x="256" y="100"/>
                      </a:lnTo>
                      <a:lnTo>
                        <a:pt x="258" y="100"/>
                      </a:lnTo>
                      <a:lnTo>
                        <a:pt x="258" y="99"/>
                      </a:lnTo>
                      <a:lnTo>
                        <a:pt x="260" y="95"/>
                      </a:lnTo>
                      <a:lnTo>
                        <a:pt x="262" y="92"/>
                      </a:lnTo>
                      <a:lnTo>
                        <a:pt x="263" y="91"/>
                      </a:lnTo>
                      <a:lnTo>
                        <a:pt x="263" y="89"/>
                      </a:lnTo>
                      <a:lnTo>
                        <a:pt x="265" y="87"/>
                      </a:lnTo>
                      <a:lnTo>
                        <a:pt x="265" y="86"/>
                      </a:lnTo>
                      <a:lnTo>
                        <a:pt x="267" y="86"/>
                      </a:lnTo>
                      <a:lnTo>
                        <a:pt x="268" y="84"/>
                      </a:lnTo>
                      <a:lnTo>
                        <a:pt x="268" y="82"/>
                      </a:lnTo>
                      <a:lnTo>
                        <a:pt x="268" y="81"/>
                      </a:lnTo>
                      <a:lnTo>
                        <a:pt x="270" y="81"/>
                      </a:lnTo>
                      <a:lnTo>
                        <a:pt x="270" y="79"/>
                      </a:lnTo>
                      <a:lnTo>
                        <a:pt x="272" y="77"/>
                      </a:lnTo>
                      <a:lnTo>
                        <a:pt x="273" y="76"/>
                      </a:lnTo>
                      <a:lnTo>
                        <a:pt x="273" y="74"/>
                      </a:lnTo>
                      <a:lnTo>
                        <a:pt x="273" y="72"/>
                      </a:lnTo>
                      <a:lnTo>
                        <a:pt x="273" y="71"/>
                      </a:lnTo>
                      <a:lnTo>
                        <a:pt x="275" y="71"/>
                      </a:lnTo>
                      <a:lnTo>
                        <a:pt x="275" y="69"/>
                      </a:lnTo>
                      <a:lnTo>
                        <a:pt x="275" y="68"/>
                      </a:lnTo>
                      <a:lnTo>
                        <a:pt x="275" y="66"/>
                      </a:lnTo>
                      <a:lnTo>
                        <a:pt x="277" y="66"/>
                      </a:lnTo>
                      <a:lnTo>
                        <a:pt x="278" y="66"/>
                      </a:lnTo>
                      <a:lnTo>
                        <a:pt x="280" y="66"/>
                      </a:lnTo>
                      <a:lnTo>
                        <a:pt x="280" y="64"/>
                      </a:lnTo>
                      <a:lnTo>
                        <a:pt x="278" y="63"/>
                      </a:lnTo>
                      <a:lnTo>
                        <a:pt x="280" y="61"/>
                      </a:lnTo>
                      <a:lnTo>
                        <a:pt x="282" y="61"/>
                      </a:lnTo>
                      <a:lnTo>
                        <a:pt x="282" y="59"/>
                      </a:lnTo>
                      <a:lnTo>
                        <a:pt x="284" y="59"/>
                      </a:lnTo>
                      <a:lnTo>
                        <a:pt x="285" y="58"/>
                      </a:lnTo>
                      <a:lnTo>
                        <a:pt x="287" y="56"/>
                      </a:lnTo>
                      <a:lnTo>
                        <a:pt x="287" y="54"/>
                      </a:lnTo>
                      <a:lnTo>
                        <a:pt x="289" y="54"/>
                      </a:lnTo>
                      <a:lnTo>
                        <a:pt x="289" y="53"/>
                      </a:lnTo>
                      <a:lnTo>
                        <a:pt x="290" y="53"/>
                      </a:lnTo>
                      <a:lnTo>
                        <a:pt x="292" y="53"/>
                      </a:lnTo>
                      <a:lnTo>
                        <a:pt x="292" y="51"/>
                      </a:lnTo>
                      <a:lnTo>
                        <a:pt x="292" y="49"/>
                      </a:lnTo>
                      <a:lnTo>
                        <a:pt x="294" y="48"/>
                      </a:lnTo>
                      <a:lnTo>
                        <a:pt x="294" y="46"/>
                      </a:lnTo>
                      <a:lnTo>
                        <a:pt x="294" y="45"/>
                      </a:lnTo>
                      <a:lnTo>
                        <a:pt x="295" y="43"/>
                      </a:lnTo>
                      <a:lnTo>
                        <a:pt x="295" y="41"/>
                      </a:lnTo>
                      <a:lnTo>
                        <a:pt x="297" y="41"/>
                      </a:lnTo>
                      <a:lnTo>
                        <a:pt x="299" y="41"/>
                      </a:lnTo>
                      <a:lnTo>
                        <a:pt x="300" y="41"/>
                      </a:lnTo>
                      <a:lnTo>
                        <a:pt x="300" y="40"/>
                      </a:lnTo>
                      <a:lnTo>
                        <a:pt x="302" y="40"/>
                      </a:lnTo>
                      <a:lnTo>
                        <a:pt x="304" y="38"/>
                      </a:lnTo>
                      <a:lnTo>
                        <a:pt x="305" y="38"/>
                      </a:lnTo>
                      <a:lnTo>
                        <a:pt x="305" y="36"/>
                      </a:lnTo>
                      <a:lnTo>
                        <a:pt x="307" y="36"/>
                      </a:lnTo>
                      <a:lnTo>
                        <a:pt x="307" y="35"/>
                      </a:lnTo>
                      <a:lnTo>
                        <a:pt x="305" y="35"/>
                      </a:lnTo>
                      <a:lnTo>
                        <a:pt x="307" y="33"/>
                      </a:lnTo>
                      <a:lnTo>
                        <a:pt x="309" y="30"/>
                      </a:lnTo>
                      <a:lnTo>
                        <a:pt x="309" y="28"/>
                      </a:lnTo>
                      <a:lnTo>
                        <a:pt x="309" y="26"/>
                      </a:lnTo>
                      <a:lnTo>
                        <a:pt x="311" y="26"/>
                      </a:lnTo>
                      <a:lnTo>
                        <a:pt x="311" y="25"/>
                      </a:lnTo>
                      <a:lnTo>
                        <a:pt x="311" y="23"/>
                      </a:lnTo>
                      <a:lnTo>
                        <a:pt x="311" y="22"/>
                      </a:lnTo>
                      <a:lnTo>
                        <a:pt x="311" y="20"/>
                      </a:lnTo>
                      <a:lnTo>
                        <a:pt x="312" y="18"/>
                      </a:lnTo>
                      <a:lnTo>
                        <a:pt x="312" y="17"/>
                      </a:lnTo>
                      <a:lnTo>
                        <a:pt x="312" y="15"/>
                      </a:lnTo>
                      <a:lnTo>
                        <a:pt x="312" y="12"/>
                      </a:lnTo>
                      <a:lnTo>
                        <a:pt x="312" y="10"/>
                      </a:lnTo>
                      <a:lnTo>
                        <a:pt x="314" y="7"/>
                      </a:lnTo>
                      <a:lnTo>
                        <a:pt x="314" y="3"/>
                      </a:lnTo>
                      <a:lnTo>
                        <a:pt x="316" y="3"/>
                      </a:lnTo>
                      <a:lnTo>
                        <a:pt x="316" y="2"/>
                      </a:lnTo>
                      <a:lnTo>
                        <a:pt x="317" y="2"/>
                      </a:lnTo>
                      <a:lnTo>
                        <a:pt x="319" y="0"/>
                      </a:lnTo>
                      <a:lnTo>
                        <a:pt x="321" y="2"/>
                      </a:lnTo>
                      <a:lnTo>
                        <a:pt x="324" y="5"/>
                      </a:lnTo>
                      <a:lnTo>
                        <a:pt x="327" y="7"/>
                      </a:lnTo>
                      <a:lnTo>
                        <a:pt x="329" y="8"/>
                      </a:lnTo>
                      <a:lnTo>
                        <a:pt x="331" y="12"/>
                      </a:lnTo>
                      <a:lnTo>
                        <a:pt x="334" y="13"/>
                      </a:lnTo>
                      <a:lnTo>
                        <a:pt x="338" y="17"/>
                      </a:lnTo>
                      <a:lnTo>
                        <a:pt x="339" y="20"/>
                      </a:lnTo>
                      <a:lnTo>
                        <a:pt x="341" y="20"/>
                      </a:lnTo>
                      <a:lnTo>
                        <a:pt x="341" y="22"/>
                      </a:lnTo>
                      <a:lnTo>
                        <a:pt x="343" y="22"/>
                      </a:lnTo>
                      <a:lnTo>
                        <a:pt x="344" y="23"/>
                      </a:lnTo>
                      <a:lnTo>
                        <a:pt x="344" y="25"/>
                      </a:lnTo>
                      <a:lnTo>
                        <a:pt x="346" y="26"/>
                      </a:lnTo>
                      <a:lnTo>
                        <a:pt x="346" y="28"/>
                      </a:lnTo>
                      <a:lnTo>
                        <a:pt x="348" y="28"/>
                      </a:lnTo>
                      <a:lnTo>
                        <a:pt x="348" y="30"/>
                      </a:lnTo>
                      <a:lnTo>
                        <a:pt x="348" y="31"/>
                      </a:lnTo>
                      <a:lnTo>
                        <a:pt x="349" y="33"/>
                      </a:lnTo>
                      <a:lnTo>
                        <a:pt x="349" y="35"/>
                      </a:lnTo>
                      <a:lnTo>
                        <a:pt x="349" y="36"/>
                      </a:lnTo>
                      <a:lnTo>
                        <a:pt x="349" y="38"/>
                      </a:lnTo>
                      <a:lnTo>
                        <a:pt x="349" y="40"/>
                      </a:lnTo>
                      <a:lnTo>
                        <a:pt x="351" y="41"/>
                      </a:lnTo>
                      <a:lnTo>
                        <a:pt x="351" y="43"/>
                      </a:lnTo>
                      <a:lnTo>
                        <a:pt x="351" y="45"/>
                      </a:lnTo>
                      <a:lnTo>
                        <a:pt x="351" y="46"/>
                      </a:lnTo>
                      <a:lnTo>
                        <a:pt x="351" y="48"/>
                      </a:lnTo>
                      <a:lnTo>
                        <a:pt x="353" y="48"/>
                      </a:lnTo>
                      <a:lnTo>
                        <a:pt x="356" y="49"/>
                      </a:lnTo>
                      <a:lnTo>
                        <a:pt x="358" y="49"/>
                      </a:lnTo>
                      <a:lnTo>
                        <a:pt x="360" y="49"/>
                      </a:lnTo>
                      <a:lnTo>
                        <a:pt x="360" y="51"/>
                      </a:lnTo>
                      <a:lnTo>
                        <a:pt x="361" y="53"/>
                      </a:lnTo>
                      <a:lnTo>
                        <a:pt x="360" y="53"/>
                      </a:lnTo>
                      <a:lnTo>
                        <a:pt x="360" y="54"/>
                      </a:lnTo>
                      <a:lnTo>
                        <a:pt x="360" y="56"/>
                      </a:lnTo>
                      <a:lnTo>
                        <a:pt x="360" y="58"/>
                      </a:lnTo>
                      <a:lnTo>
                        <a:pt x="360" y="59"/>
                      </a:lnTo>
                      <a:lnTo>
                        <a:pt x="360" y="61"/>
                      </a:lnTo>
                      <a:lnTo>
                        <a:pt x="360" y="63"/>
                      </a:lnTo>
                      <a:lnTo>
                        <a:pt x="360" y="64"/>
                      </a:lnTo>
                      <a:lnTo>
                        <a:pt x="360" y="66"/>
                      </a:lnTo>
                      <a:lnTo>
                        <a:pt x="360" y="68"/>
                      </a:lnTo>
                      <a:lnTo>
                        <a:pt x="360" y="69"/>
                      </a:lnTo>
                      <a:lnTo>
                        <a:pt x="360" y="71"/>
                      </a:lnTo>
                      <a:lnTo>
                        <a:pt x="360" y="72"/>
                      </a:lnTo>
                      <a:lnTo>
                        <a:pt x="360" y="76"/>
                      </a:lnTo>
                      <a:lnTo>
                        <a:pt x="360" y="81"/>
                      </a:lnTo>
                      <a:lnTo>
                        <a:pt x="360" y="82"/>
                      </a:lnTo>
                      <a:lnTo>
                        <a:pt x="360" y="84"/>
                      </a:lnTo>
                      <a:lnTo>
                        <a:pt x="361" y="84"/>
                      </a:lnTo>
                      <a:lnTo>
                        <a:pt x="361" y="87"/>
                      </a:lnTo>
                      <a:lnTo>
                        <a:pt x="361" y="89"/>
                      </a:lnTo>
                      <a:lnTo>
                        <a:pt x="360" y="91"/>
                      </a:lnTo>
                      <a:lnTo>
                        <a:pt x="360" y="92"/>
                      </a:lnTo>
                      <a:lnTo>
                        <a:pt x="360" y="94"/>
                      </a:lnTo>
                      <a:lnTo>
                        <a:pt x="360" y="95"/>
                      </a:lnTo>
                      <a:lnTo>
                        <a:pt x="360" y="97"/>
                      </a:lnTo>
                      <a:lnTo>
                        <a:pt x="360" y="99"/>
                      </a:lnTo>
                      <a:lnTo>
                        <a:pt x="360" y="100"/>
                      </a:lnTo>
                      <a:lnTo>
                        <a:pt x="361" y="102"/>
                      </a:lnTo>
                      <a:lnTo>
                        <a:pt x="361" y="104"/>
                      </a:lnTo>
                      <a:lnTo>
                        <a:pt x="361" y="105"/>
                      </a:lnTo>
                      <a:lnTo>
                        <a:pt x="363" y="107"/>
                      </a:lnTo>
                      <a:lnTo>
                        <a:pt x="363" y="109"/>
                      </a:lnTo>
                      <a:lnTo>
                        <a:pt x="363" y="110"/>
                      </a:lnTo>
                      <a:lnTo>
                        <a:pt x="365" y="110"/>
                      </a:lnTo>
                      <a:lnTo>
                        <a:pt x="365" y="112"/>
                      </a:lnTo>
                      <a:lnTo>
                        <a:pt x="365" y="114"/>
                      </a:lnTo>
                      <a:lnTo>
                        <a:pt x="365" y="115"/>
                      </a:lnTo>
                      <a:lnTo>
                        <a:pt x="365" y="117"/>
                      </a:lnTo>
                      <a:lnTo>
                        <a:pt x="365" y="118"/>
                      </a:lnTo>
                      <a:lnTo>
                        <a:pt x="365" y="120"/>
                      </a:lnTo>
                      <a:lnTo>
                        <a:pt x="365" y="123"/>
                      </a:lnTo>
                      <a:lnTo>
                        <a:pt x="366" y="125"/>
                      </a:lnTo>
                      <a:lnTo>
                        <a:pt x="366" y="127"/>
                      </a:lnTo>
                      <a:lnTo>
                        <a:pt x="366" y="128"/>
                      </a:lnTo>
                      <a:lnTo>
                        <a:pt x="366" y="130"/>
                      </a:lnTo>
                      <a:lnTo>
                        <a:pt x="368" y="132"/>
                      </a:lnTo>
                      <a:lnTo>
                        <a:pt x="368" y="133"/>
                      </a:lnTo>
                      <a:lnTo>
                        <a:pt x="368" y="135"/>
                      </a:lnTo>
                      <a:lnTo>
                        <a:pt x="370" y="137"/>
                      </a:lnTo>
                      <a:lnTo>
                        <a:pt x="368" y="137"/>
                      </a:lnTo>
                      <a:lnTo>
                        <a:pt x="370" y="138"/>
                      </a:lnTo>
                      <a:lnTo>
                        <a:pt x="370" y="140"/>
                      </a:lnTo>
                      <a:lnTo>
                        <a:pt x="371" y="141"/>
                      </a:lnTo>
                      <a:lnTo>
                        <a:pt x="373" y="145"/>
                      </a:lnTo>
                      <a:lnTo>
                        <a:pt x="373" y="146"/>
                      </a:lnTo>
                      <a:lnTo>
                        <a:pt x="373" y="148"/>
                      </a:lnTo>
                      <a:lnTo>
                        <a:pt x="373" y="150"/>
                      </a:lnTo>
                      <a:lnTo>
                        <a:pt x="373" y="151"/>
                      </a:lnTo>
                      <a:lnTo>
                        <a:pt x="375" y="151"/>
                      </a:lnTo>
                      <a:lnTo>
                        <a:pt x="376" y="151"/>
                      </a:lnTo>
                      <a:lnTo>
                        <a:pt x="376" y="153"/>
                      </a:lnTo>
                      <a:lnTo>
                        <a:pt x="376" y="155"/>
                      </a:lnTo>
                      <a:lnTo>
                        <a:pt x="376" y="156"/>
                      </a:lnTo>
                      <a:lnTo>
                        <a:pt x="378" y="156"/>
                      </a:lnTo>
                      <a:lnTo>
                        <a:pt x="378" y="158"/>
                      </a:lnTo>
                      <a:lnTo>
                        <a:pt x="378" y="159"/>
                      </a:lnTo>
                      <a:lnTo>
                        <a:pt x="378" y="161"/>
                      </a:lnTo>
                      <a:lnTo>
                        <a:pt x="378" y="163"/>
                      </a:lnTo>
                      <a:lnTo>
                        <a:pt x="380" y="163"/>
                      </a:lnTo>
                      <a:lnTo>
                        <a:pt x="380" y="164"/>
                      </a:lnTo>
                      <a:lnTo>
                        <a:pt x="381" y="164"/>
                      </a:lnTo>
                      <a:lnTo>
                        <a:pt x="381" y="166"/>
                      </a:lnTo>
                      <a:lnTo>
                        <a:pt x="383" y="166"/>
                      </a:lnTo>
                      <a:lnTo>
                        <a:pt x="383" y="168"/>
                      </a:lnTo>
                      <a:lnTo>
                        <a:pt x="383" y="169"/>
                      </a:lnTo>
                      <a:lnTo>
                        <a:pt x="381" y="171"/>
                      </a:lnTo>
                      <a:lnTo>
                        <a:pt x="383" y="171"/>
                      </a:lnTo>
                      <a:lnTo>
                        <a:pt x="381" y="171"/>
                      </a:lnTo>
                      <a:lnTo>
                        <a:pt x="383" y="171"/>
                      </a:lnTo>
                      <a:lnTo>
                        <a:pt x="383" y="173"/>
                      </a:lnTo>
                      <a:lnTo>
                        <a:pt x="383" y="174"/>
                      </a:lnTo>
                      <a:lnTo>
                        <a:pt x="383" y="176"/>
                      </a:lnTo>
                      <a:lnTo>
                        <a:pt x="383" y="178"/>
                      </a:lnTo>
                      <a:lnTo>
                        <a:pt x="383" y="179"/>
                      </a:lnTo>
                      <a:lnTo>
                        <a:pt x="381" y="179"/>
                      </a:lnTo>
                      <a:lnTo>
                        <a:pt x="381" y="181"/>
                      </a:lnTo>
                      <a:lnTo>
                        <a:pt x="381" y="179"/>
                      </a:lnTo>
                      <a:lnTo>
                        <a:pt x="383" y="179"/>
                      </a:lnTo>
                      <a:lnTo>
                        <a:pt x="383" y="181"/>
                      </a:lnTo>
                      <a:lnTo>
                        <a:pt x="383" y="179"/>
                      </a:lnTo>
                      <a:lnTo>
                        <a:pt x="385" y="179"/>
                      </a:lnTo>
                      <a:lnTo>
                        <a:pt x="387" y="179"/>
                      </a:lnTo>
                      <a:lnTo>
                        <a:pt x="388" y="181"/>
                      </a:lnTo>
                      <a:lnTo>
                        <a:pt x="388" y="182"/>
                      </a:lnTo>
                      <a:lnTo>
                        <a:pt x="390" y="184"/>
                      </a:lnTo>
                      <a:lnTo>
                        <a:pt x="390" y="186"/>
                      </a:lnTo>
                      <a:lnTo>
                        <a:pt x="390" y="187"/>
                      </a:lnTo>
                      <a:lnTo>
                        <a:pt x="390" y="189"/>
                      </a:lnTo>
                      <a:lnTo>
                        <a:pt x="390" y="191"/>
                      </a:lnTo>
                      <a:lnTo>
                        <a:pt x="390" y="192"/>
                      </a:lnTo>
                      <a:lnTo>
                        <a:pt x="392" y="192"/>
                      </a:lnTo>
                      <a:lnTo>
                        <a:pt x="392" y="194"/>
                      </a:lnTo>
                      <a:lnTo>
                        <a:pt x="392" y="196"/>
                      </a:lnTo>
                      <a:lnTo>
                        <a:pt x="392" y="197"/>
                      </a:lnTo>
                      <a:lnTo>
                        <a:pt x="393" y="197"/>
                      </a:lnTo>
                      <a:lnTo>
                        <a:pt x="393" y="199"/>
                      </a:lnTo>
                      <a:lnTo>
                        <a:pt x="393" y="201"/>
                      </a:lnTo>
                      <a:lnTo>
                        <a:pt x="393" y="202"/>
                      </a:lnTo>
                      <a:lnTo>
                        <a:pt x="393" y="204"/>
                      </a:lnTo>
                      <a:lnTo>
                        <a:pt x="395" y="204"/>
                      </a:lnTo>
                      <a:lnTo>
                        <a:pt x="395" y="205"/>
                      </a:lnTo>
                      <a:lnTo>
                        <a:pt x="397" y="207"/>
                      </a:lnTo>
                      <a:lnTo>
                        <a:pt x="397" y="209"/>
                      </a:lnTo>
                      <a:lnTo>
                        <a:pt x="398" y="210"/>
                      </a:lnTo>
                      <a:lnTo>
                        <a:pt x="397" y="212"/>
                      </a:lnTo>
                      <a:lnTo>
                        <a:pt x="395" y="212"/>
                      </a:lnTo>
                      <a:lnTo>
                        <a:pt x="397" y="212"/>
                      </a:lnTo>
                      <a:lnTo>
                        <a:pt x="398" y="212"/>
                      </a:lnTo>
                      <a:lnTo>
                        <a:pt x="402" y="210"/>
                      </a:lnTo>
                      <a:lnTo>
                        <a:pt x="407" y="209"/>
                      </a:lnTo>
                      <a:lnTo>
                        <a:pt x="408" y="209"/>
                      </a:lnTo>
                      <a:lnTo>
                        <a:pt x="412" y="207"/>
                      </a:lnTo>
                      <a:lnTo>
                        <a:pt x="414" y="207"/>
                      </a:lnTo>
                      <a:lnTo>
                        <a:pt x="415" y="207"/>
                      </a:lnTo>
                      <a:lnTo>
                        <a:pt x="417" y="207"/>
                      </a:lnTo>
                      <a:lnTo>
                        <a:pt x="419" y="207"/>
                      </a:lnTo>
                      <a:lnTo>
                        <a:pt x="420" y="207"/>
                      </a:lnTo>
                      <a:lnTo>
                        <a:pt x="420" y="209"/>
                      </a:lnTo>
                      <a:lnTo>
                        <a:pt x="420" y="207"/>
                      </a:lnTo>
                      <a:lnTo>
                        <a:pt x="422" y="209"/>
                      </a:lnTo>
                      <a:lnTo>
                        <a:pt x="422" y="210"/>
                      </a:lnTo>
                      <a:lnTo>
                        <a:pt x="424" y="210"/>
                      </a:lnTo>
                      <a:lnTo>
                        <a:pt x="424" y="212"/>
                      </a:lnTo>
                      <a:lnTo>
                        <a:pt x="425" y="214"/>
                      </a:lnTo>
                      <a:lnTo>
                        <a:pt x="425" y="215"/>
                      </a:lnTo>
                      <a:lnTo>
                        <a:pt x="427" y="215"/>
                      </a:lnTo>
                      <a:lnTo>
                        <a:pt x="427" y="217"/>
                      </a:lnTo>
                      <a:lnTo>
                        <a:pt x="429" y="217"/>
                      </a:lnTo>
                      <a:lnTo>
                        <a:pt x="429" y="219"/>
                      </a:lnTo>
                      <a:lnTo>
                        <a:pt x="429" y="220"/>
                      </a:lnTo>
                      <a:lnTo>
                        <a:pt x="430" y="222"/>
                      </a:lnTo>
                      <a:lnTo>
                        <a:pt x="430" y="224"/>
                      </a:lnTo>
                      <a:lnTo>
                        <a:pt x="432" y="224"/>
                      </a:lnTo>
                      <a:lnTo>
                        <a:pt x="432" y="225"/>
                      </a:lnTo>
                      <a:lnTo>
                        <a:pt x="432" y="227"/>
                      </a:lnTo>
                      <a:lnTo>
                        <a:pt x="432" y="228"/>
                      </a:lnTo>
                      <a:lnTo>
                        <a:pt x="434" y="228"/>
                      </a:lnTo>
                      <a:lnTo>
                        <a:pt x="434" y="230"/>
                      </a:lnTo>
                      <a:lnTo>
                        <a:pt x="439" y="243"/>
                      </a:lnTo>
                      <a:lnTo>
                        <a:pt x="441" y="243"/>
                      </a:lnTo>
                      <a:lnTo>
                        <a:pt x="442" y="243"/>
                      </a:lnTo>
                      <a:lnTo>
                        <a:pt x="444" y="243"/>
                      </a:lnTo>
                      <a:lnTo>
                        <a:pt x="446" y="243"/>
                      </a:lnTo>
                      <a:lnTo>
                        <a:pt x="447" y="243"/>
                      </a:lnTo>
                      <a:lnTo>
                        <a:pt x="449" y="243"/>
                      </a:lnTo>
                      <a:lnTo>
                        <a:pt x="451" y="243"/>
                      </a:lnTo>
                      <a:lnTo>
                        <a:pt x="452" y="245"/>
                      </a:lnTo>
                      <a:lnTo>
                        <a:pt x="454" y="245"/>
                      </a:lnTo>
                      <a:lnTo>
                        <a:pt x="456" y="245"/>
                      </a:lnTo>
                      <a:lnTo>
                        <a:pt x="456" y="247"/>
                      </a:lnTo>
                      <a:lnTo>
                        <a:pt x="457" y="247"/>
                      </a:lnTo>
                      <a:lnTo>
                        <a:pt x="459" y="247"/>
                      </a:lnTo>
                      <a:lnTo>
                        <a:pt x="461" y="248"/>
                      </a:lnTo>
                      <a:lnTo>
                        <a:pt x="463" y="248"/>
                      </a:lnTo>
                      <a:lnTo>
                        <a:pt x="466" y="251"/>
                      </a:lnTo>
                      <a:lnTo>
                        <a:pt x="469" y="253"/>
                      </a:lnTo>
                      <a:lnTo>
                        <a:pt x="471" y="253"/>
                      </a:lnTo>
                      <a:lnTo>
                        <a:pt x="471" y="255"/>
                      </a:lnTo>
                      <a:lnTo>
                        <a:pt x="469" y="255"/>
                      </a:lnTo>
                      <a:lnTo>
                        <a:pt x="469" y="256"/>
                      </a:lnTo>
                      <a:lnTo>
                        <a:pt x="471" y="256"/>
                      </a:lnTo>
                      <a:lnTo>
                        <a:pt x="471" y="258"/>
                      </a:lnTo>
                      <a:lnTo>
                        <a:pt x="473" y="260"/>
                      </a:lnTo>
                      <a:lnTo>
                        <a:pt x="473" y="261"/>
                      </a:lnTo>
                      <a:lnTo>
                        <a:pt x="473" y="265"/>
                      </a:lnTo>
                      <a:lnTo>
                        <a:pt x="473" y="268"/>
                      </a:lnTo>
                      <a:lnTo>
                        <a:pt x="473" y="270"/>
                      </a:lnTo>
                      <a:lnTo>
                        <a:pt x="473" y="271"/>
                      </a:lnTo>
                      <a:lnTo>
                        <a:pt x="474" y="271"/>
                      </a:lnTo>
                      <a:lnTo>
                        <a:pt x="474" y="273"/>
                      </a:lnTo>
                      <a:lnTo>
                        <a:pt x="474" y="274"/>
                      </a:lnTo>
                      <a:lnTo>
                        <a:pt x="474" y="276"/>
                      </a:lnTo>
                      <a:lnTo>
                        <a:pt x="474" y="278"/>
                      </a:lnTo>
                      <a:lnTo>
                        <a:pt x="474" y="279"/>
                      </a:lnTo>
                      <a:lnTo>
                        <a:pt x="473" y="279"/>
                      </a:lnTo>
                      <a:lnTo>
                        <a:pt x="473" y="281"/>
                      </a:lnTo>
                      <a:lnTo>
                        <a:pt x="473" y="283"/>
                      </a:lnTo>
                      <a:lnTo>
                        <a:pt x="473" y="284"/>
                      </a:lnTo>
                      <a:lnTo>
                        <a:pt x="473" y="286"/>
                      </a:lnTo>
                      <a:lnTo>
                        <a:pt x="473" y="288"/>
                      </a:lnTo>
                      <a:lnTo>
                        <a:pt x="471" y="289"/>
                      </a:lnTo>
                      <a:lnTo>
                        <a:pt x="471" y="291"/>
                      </a:lnTo>
                      <a:lnTo>
                        <a:pt x="471" y="293"/>
                      </a:lnTo>
                      <a:lnTo>
                        <a:pt x="471" y="296"/>
                      </a:lnTo>
                      <a:lnTo>
                        <a:pt x="473" y="297"/>
                      </a:lnTo>
                      <a:lnTo>
                        <a:pt x="473" y="299"/>
                      </a:lnTo>
                      <a:lnTo>
                        <a:pt x="473" y="301"/>
                      </a:lnTo>
                      <a:lnTo>
                        <a:pt x="471" y="301"/>
                      </a:lnTo>
                      <a:lnTo>
                        <a:pt x="471" y="302"/>
                      </a:lnTo>
                      <a:lnTo>
                        <a:pt x="471" y="304"/>
                      </a:lnTo>
                      <a:lnTo>
                        <a:pt x="469" y="306"/>
                      </a:lnTo>
                      <a:lnTo>
                        <a:pt x="469" y="307"/>
                      </a:lnTo>
                      <a:lnTo>
                        <a:pt x="468" y="307"/>
                      </a:lnTo>
                      <a:lnTo>
                        <a:pt x="468" y="309"/>
                      </a:lnTo>
                      <a:lnTo>
                        <a:pt x="468" y="314"/>
                      </a:lnTo>
                      <a:lnTo>
                        <a:pt x="468" y="316"/>
                      </a:lnTo>
                      <a:lnTo>
                        <a:pt x="468" y="317"/>
                      </a:lnTo>
                      <a:lnTo>
                        <a:pt x="468" y="319"/>
                      </a:lnTo>
                      <a:lnTo>
                        <a:pt x="466" y="320"/>
                      </a:lnTo>
                      <a:lnTo>
                        <a:pt x="466" y="322"/>
                      </a:lnTo>
                      <a:lnTo>
                        <a:pt x="464" y="322"/>
                      </a:lnTo>
                      <a:lnTo>
                        <a:pt x="464" y="324"/>
                      </a:lnTo>
                      <a:lnTo>
                        <a:pt x="463" y="324"/>
                      </a:lnTo>
                      <a:lnTo>
                        <a:pt x="463" y="327"/>
                      </a:lnTo>
                      <a:lnTo>
                        <a:pt x="461" y="329"/>
                      </a:lnTo>
                      <a:lnTo>
                        <a:pt x="459" y="330"/>
                      </a:lnTo>
                      <a:lnTo>
                        <a:pt x="457" y="330"/>
                      </a:lnTo>
                      <a:lnTo>
                        <a:pt x="457" y="332"/>
                      </a:lnTo>
                      <a:lnTo>
                        <a:pt x="457" y="334"/>
                      </a:lnTo>
                      <a:lnTo>
                        <a:pt x="456" y="334"/>
                      </a:lnTo>
                      <a:lnTo>
                        <a:pt x="457" y="334"/>
                      </a:lnTo>
                      <a:lnTo>
                        <a:pt x="457" y="335"/>
                      </a:lnTo>
                      <a:lnTo>
                        <a:pt x="456" y="335"/>
                      </a:lnTo>
                      <a:lnTo>
                        <a:pt x="456" y="337"/>
                      </a:lnTo>
                      <a:lnTo>
                        <a:pt x="454" y="337"/>
                      </a:lnTo>
                      <a:lnTo>
                        <a:pt x="454" y="339"/>
                      </a:lnTo>
                      <a:lnTo>
                        <a:pt x="452" y="339"/>
                      </a:lnTo>
                      <a:lnTo>
                        <a:pt x="454" y="345"/>
                      </a:lnTo>
                      <a:lnTo>
                        <a:pt x="452" y="345"/>
                      </a:lnTo>
                      <a:lnTo>
                        <a:pt x="451" y="345"/>
                      </a:lnTo>
                      <a:lnTo>
                        <a:pt x="449" y="345"/>
                      </a:lnTo>
                      <a:lnTo>
                        <a:pt x="447" y="345"/>
                      </a:lnTo>
                      <a:lnTo>
                        <a:pt x="444" y="345"/>
                      </a:lnTo>
                      <a:lnTo>
                        <a:pt x="437" y="347"/>
                      </a:lnTo>
                      <a:lnTo>
                        <a:pt x="432" y="348"/>
                      </a:lnTo>
                      <a:lnTo>
                        <a:pt x="430" y="348"/>
                      </a:lnTo>
                      <a:lnTo>
                        <a:pt x="429" y="348"/>
                      </a:lnTo>
                      <a:lnTo>
                        <a:pt x="425" y="352"/>
                      </a:lnTo>
                      <a:lnTo>
                        <a:pt x="424" y="353"/>
                      </a:lnTo>
                      <a:lnTo>
                        <a:pt x="422" y="353"/>
                      </a:lnTo>
                      <a:lnTo>
                        <a:pt x="420" y="355"/>
                      </a:lnTo>
                      <a:lnTo>
                        <a:pt x="420" y="357"/>
                      </a:lnTo>
                      <a:lnTo>
                        <a:pt x="419" y="358"/>
                      </a:lnTo>
                      <a:lnTo>
                        <a:pt x="419" y="361"/>
                      </a:lnTo>
                      <a:lnTo>
                        <a:pt x="417" y="363"/>
                      </a:lnTo>
                      <a:lnTo>
                        <a:pt x="417" y="365"/>
                      </a:lnTo>
                      <a:lnTo>
                        <a:pt x="415" y="368"/>
                      </a:lnTo>
                      <a:lnTo>
                        <a:pt x="415" y="370"/>
                      </a:lnTo>
                      <a:lnTo>
                        <a:pt x="414" y="371"/>
                      </a:lnTo>
                      <a:lnTo>
                        <a:pt x="414" y="373"/>
                      </a:lnTo>
                      <a:lnTo>
                        <a:pt x="412" y="376"/>
                      </a:lnTo>
                      <a:lnTo>
                        <a:pt x="412" y="378"/>
                      </a:lnTo>
                      <a:lnTo>
                        <a:pt x="410" y="380"/>
                      </a:lnTo>
                      <a:lnTo>
                        <a:pt x="410" y="381"/>
                      </a:lnTo>
                      <a:lnTo>
                        <a:pt x="407" y="384"/>
                      </a:lnTo>
                      <a:lnTo>
                        <a:pt x="405" y="386"/>
                      </a:lnTo>
                      <a:lnTo>
                        <a:pt x="405" y="388"/>
                      </a:lnTo>
                      <a:lnTo>
                        <a:pt x="403" y="388"/>
                      </a:lnTo>
                      <a:lnTo>
                        <a:pt x="403" y="389"/>
                      </a:lnTo>
                      <a:lnTo>
                        <a:pt x="402" y="389"/>
                      </a:lnTo>
                      <a:lnTo>
                        <a:pt x="400" y="391"/>
                      </a:lnTo>
                      <a:lnTo>
                        <a:pt x="398" y="393"/>
                      </a:lnTo>
                      <a:lnTo>
                        <a:pt x="398" y="394"/>
                      </a:lnTo>
                      <a:lnTo>
                        <a:pt x="395" y="394"/>
                      </a:lnTo>
                      <a:lnTo>
                        <a:pt x="393" y="396"/>
                      </a:lnTo>
                      <a:lnTo>
                        <a:pt x="392" y="398"/>
                      </a:lnTo>
                      <a:lnTo>
                        <a:pt x="390" y="399"/>
                      </a:lnTo>
                      <a:lnTo>
                        <a:pt x="387" y="399"/>
                      </a:lnTo>
                      <a:lnTo>
                        <a:pt x="375" y="403"/>
                      </a:lnTo>
                      <a:lnTo>
                        <a:pt x="373" y="404"/>
                      </a:lnTo>
                      <a:lnTo>
                        <a:pt x="371" y="404"/>
                      </a:lnTo>
                      <a:lnTo>
                        <a:pt x="370" y="406"/>
                      </a:lnTo>
                      <a:lnTo>
                        <a:pt x="370" y="407"/>
                      </a:lnTo>
                      <a:lnTo>
                        <a:pt x="368" y="409"/>
                      </a:lnTo>
                      <a:lnTo>
                        <a:pt x="368" y="411"/>
                      </a:lnTo>
                      <a:lnTo>
                        <a:pt x="366" y="411"/>
                      </a:lnTo>
                      <a:lnTo>
                        <a:pt x="363" y="414"/>
                      </a:lnTo>
                      <a:lnTo>
                        <a:pt x="361" y="416"/>
                      </a:lnTo>
                      <a:lnTo>
                        <a:pt x="361" y="417"/>
                      </a:lnTo>
                      <a:lnTo>
                        <a:pt x="360" y="417"/>
                      </a:lnTo>
                      <a:lnTo>
                        <a:pt x="358" y="419"/>
                      </a:lnTo>
                      <a:lnTo>
                        <a:pt x="358" y="417"/>
                      </a:lnTo>
                      <a:lnTo>
                        <a:pt x="358" y="419"/>
                      </a:lnTo>
                      <a:lnTo>
                        <a:pt x="356" y="419"/>
                      </a:lnTo>
                      <a:lnTo>
                        <a:pt x="354" y="419"/>
                      </a:lnTo>
                      <a:lnTo>
                        <a:pt x="353" y="419"/>
                      </a:lnTo>
                      <a:lnTo>
                        <a:pt x="351" y="419"/>
                      </a:lnTo>
                      <a:lnTo>
                        <a:pt x="349" y="421"/>
                      </a:lnTo>
                      <a:lnTo>
                        <a:pt x="348" y="421"/>
                      </a:lnTo>
                      <a:lnTo>
                        <a:pt x="346" y="422"/>
                      </a:lnTo>
                      <a:lnTo>
                        <a:pt x="344" y="424"/>
                      </a:lnTo>
                      <a:lnTo>
                        <a:pt x="343" y="427"/>
                      </a:lnTo>
                      <a:lnTo>
                        <a:pt x="339" y="430"/>
                      </a:lnTo>
                      <a:lnTo>
                        <a:pt x="339" y="432"/>
                      </a:lnTo>
                      <a:lnTo>
                        <a:pt x="339" y="434"/>
                      </a:lnTo>
                      <a:lnTo>
                        <a:pt x="338" y="434"/>
                      </a:lnTo>
                      <a:lnTo>
                        <a:pt x="336" y="435"/>
                      </a:lnTo>
                      <a:lnTo>
                        <a:pt x="336" y="437"/>
                      </a:lnTo>
                      <a:lnTo>
                        <a:pt x="334" y="437"/>
                      </a:lnTo>
                      <a:lnTo>
                        <a:pt x="334" y="439"/>
                      </a:lnTo>
                      <a:lnTo>
                        <a:pt x="332" y="444"/>
                      </a:lnTo>
                      <a:lnTo>
                        <a:pt x="332" y="445"/>
                      </a:lnTo>
                      <a:lnTo>
                        <a:pt x="329" y="447"/>
                      </a:lnTo>
                      <a:lnTo>
                        <a:pt x="329" y="449"/>
                      </a:lnTo>
                      <a:lnTo>
                        <a:pt x="327" y="449"/>
                      </a:lnTo>
                      <a:lnTo>
                        <a:pt x="327" y="450"/>
                      </a:lnTo>
                      <a:lnTo>
                        <a:pt x="327" y="453"/>
                      </a:lnTo>
                      <a:lnTo>
                        <a:pt x="326" y="453"/>
                      </a:lnTo>
                      <a:lnTo>
                        <a:pt x="324" y="457"/>
                      </a:lnTo>
                      <a:lnTo>
                        <a:pt x="324" y="458"/>
                      </a:lnTo>
                      <a:lnTo>
                        <a:pt x="322" y="460"/>
                      </a:lnTo>
                      <a:lnTo>
                        <a:pt x="321" y="460"/>
                      </a:lnTo>
                      <a:lnTo>
                        <a:pt x="321" y="462"/>
                      </a:lnTo>
                      <a:lnTo>
                        <a:pt x="319" y="462"/>
                      </a:lnTo>
                      <a:lnTo>
                        <a:pt x="317" y="463"/>
                      </a:lnTo>
                      <a:lnTo>
                        <a:pt x="314" y="468"/>
                      </a:lnTo>
                      <a:lnTo>
                        <a:pt x="311" y="470"/>
                      </a:lnTo>
                      <a:lnTo>
                        <a:pt x="309" y="472"/>
                      </a:lnTo>
                      <a:lnTo>
                        <a:pt x="309" y="473"/>
                      </a:lnTo>
                      <a:lnTo>
                        <a:pt x="307" y="475"/>
                      </a:lnTo>
                      <a:lnTo>
                        <a:pt x="305" y="480"/>
                      </a:lnTo>
                      <a:lnTo>
                        <a:pt x="304" y="480"/>
                      </a:lnTo>
                      <a:lnTo>
                        <a:pt x="304" y="481"/>
                      </a:lnTo>
                      <a:lnTo>
                        <a:pt x="304" y="483"/>
                      </a:lnTo>
                      <a:lnTo>
                        <a:pt x="302" y="483"/>
                      </a:lnTo>
                      <a:lnTo>
                        <a:pt x="302" y="485"/>
                      </a:lnTo>
                      <a:lnTo>
                        <a:pt x="302" y="486"/>
                      </a:lnTo>
                      <a:lnTo>
                        <a:pt x="302" y="488"/>
                      </a:lnTo>
                      <a:lnTo>
                        <a:pt x="302" y="490"/>
                      </a:lnTo>
                      <a:lnTo>
                        <a:pt x="302" y="491"/>
                      </a:lnTo>
                      <a:lnTo>
                        <a:pt x="302" y="493"/>
                      </a:lnTo>
                      <a:lnTo>
                        <a:pt x="302" y="495"/>
                      </a:lnTo>
                      <a:lnTo>
                        <a:pt x="302" y="499"/>
                      </a:lnTo>
                      <a:lnTo>
                        <a:pt x="302" y="503"/>
                      </a:lnTo>
                      <a:lnTo>
                        <a:pt x="302" y="506"/>
                      </a:lnTo>
                      <a:lnTo>
                        <a:pt x="300" y="508"/>
                      </a:lnTo>
                      <a:lnTo>
                        <a:pt x="299" y="509"/>
                      </a:lnTo>
                      <a:lnTo>
                        <a:pt x="295" y="513"/>
                      </a:lnTo>
                      <a:lnTo>
                        <a:pt x="294" y="514"/>
                      </a:lnTo>
                      <a:lnTo>
                        <a:pt x="294" y="516"/>
                      </a:lnTo>
                      <a:lnTo>
                        <a:pt x="292" y="516"/>
                      </a:lnTo>
                      <a:lnTo>
                        <a:pt x="290" y="516"/>
                      </a:lnTo>
                      <a:lnTo>
                        <a:pt x="289" y="518"/>
                      </a:lnTo>
                      <a:lnTo>
                        <a:pt x="284" y="518"/>
                      </a:lnTo>
                      <a:lnTo>
                        <a:pt x="282" y="518"/>
                      </a:lnTo>
                      <a:lnTo>
                        <a:pt x="282" y="516"/>
                      </a:lnTo>
                      <a:lnTo>
                        <a:pt x="280" y="516"/>
                      </a:lnTo>
                      <a:lnTo>
                        <a:pt x="280" y="514"/>
                      </a:lnTo>
                      <a:lnTo>
                        <a:pt x="278" y="514"/>
                      </a:lnTo>
                      <a:lnTo>
                        <a:pt x="278" y="516"/>
                      </a:lnTo>
                      <a:lnTo>
                        <a:pt x="278" y="518"/>
                      </a:lnTo>
                      <a:lnTo>
                        <a:pt x="277" y="518"/>
                      </a:lnTo>
                      <a:lnTo>
                        <a:pt x="275" y="518"/>
                      </a:lnTo>
                      <a:lnTo>
                        <a:pt x="275" y="516"/>
                      </a:lnTo>
                      <a:lnTo>
                        <a:pt x="277" y="514"/>
                      </a:lnTo>
                      <a:lnTo>
                        <a:pt x="275" y="514"/>
                      </a:lnTo>
                      <a:lnTo>
                        <a:pt x="275" y="513"/>
                      </a:lnTo>
                      <a:lnTo>
                        <a:pt x="273" y="513"/>
                      </a:lnTo>
                      <a:lnTo>
                        <a:pt x="273" y="514"/>
                      </a:lnTo>
                      <a:lnTo>
                        <a:pt x="273" y="516"/>
                      </a:lnTo>
                      <a:lnTo>
                        <a:pt x="273" y="518"/>
                      </a:lnTo>
                      <a:lnTo>
                        <a:pt x="272" y="518"/>
                      </a:lnTo>
                      <a:lnTo>
                        <a:pt x="270" y="518"/>
                      </a:lnTo>
                      <a:lnTo>
                        <a:pt x="268" y="518"/>
                      </a:lnTo>
                      <a:lnTo>
                        <a:pt x="267" y="519"/>
                      </a:lnTo>
                      <a:lnTo>
                        <a:pt x="267" y="521"/>
                      </a:lnTo>
                      <a:lnTo>
                        <a:pt x="268" y="522"/>
                      </a:lnTo>
                      <a:lnTo>
                        <a:pt x="268" y="524"/>
                      </a:lnTo>
                      <a:lnTo>
                        <a:pt x="267" y="524"/>
                      </a:lnTo>
                      <a:lnTo>
                        <a:pt x="265" y="524"/>
                      </a:lnTo>
                      <a:lnTo>
                        <a:pt x="263" y="522"/>
                      </a:lnTo>
                      <a:lnTo>
                        <a:pt x="262" y="522"/>
                      </a:lnTo>
                      <a:lnTo>
                        <a:pt x="262" y="521"/>
                      </a:lnTo>
                      <a:lnTo>
                        <a:pt x="263" y="519"/>
                      </a:lnTo>
                      <a:lnTo>
                        <a:pt x="262" y="518"/>
                      </a:lnTo>
                      <a:lnTo>
                        <a:pt x="262" y="516"/>
                      </a:lnTo>
                      <a:lnTo>
                        <a:pt x="260" y="516"/>
                      </a:lnTo>
                      <a:lnTo>
                        <a:pt x="258" y="516"/>
                      </a:lnTo>
                      <a:lnTo>
                        <a:pt x="256" y="514"/>
                      </a:lnTo>
                      <a:lnTo>
                        <a:pt x="255" y="514"/>
                      </a:lnTo>
                      <a:lnTo>
                        <a:pt x="253" y="514"/>
                      </a:lnTo>
                      <a:lnTo>
                        <a:pt x="251" y="514"/>
                      </a:lnTo>
                      <a:lnTo>
                        <a:pt x="250" y="514"/>
                      </a:lnTo>
                      <a:lnTo>
                        <a:pt x="248" y="514"/>
                      </a:lnTo>
                      <a:lnTo>
                        <a:pt x="246" y="514"/>
                      </a:lnTo>
                      <a:lnTo>
                        <a:pt x="245" y="513"/>
                      </a:lnTo>
                      <a:lnTo>
                        <a:pt x="243" y="513"/>
                      </a:lnTo>
                      <a:lnTo>
                        <a:pt x="241" y="513"/>
                      </a:lnTo>
                      <a:lnTo>
                        <a:pt x="240" y="509"/>
                      </a:lnTo>
                      <a:lnTo>
                        <a:pt x="238" y="508"/>
                      </a:lnTo>
                      <a:lnTo>
                        <a:pt x="236" y="508"/>
                      </a:lnTo>
                      <a:lnTo>
                        <a:pt x="236" y="506"/>
                      </a:lnTo>
                      <a:lnTo>
                        <a:pt x="235" y="506"/>
                      </a:lnTo>
                      <a:lnTo>
                        <a:pt x="233" y="508"/>
                      </a:lnTo>
                      <a:lnTo>
                        <a:pt x="231" y="506"/>
                      </a:lnTo>
                      <a:lnTo>
                        <a:pt x="233" y="506"/>
                      </a:lnTo>
                      <a:lnTo>
                        <a:pt x="233" y="504"/>
                      </a:lnTo>
                      <a:lnTo>
                        <a:pt x="233" y="503"/>
                      </a:lnTo>
                      <a:lnTo>
                        <a:pt x="233" y="499"/>
                      </a:lnTo>
                      <a:lnTo>
                        <a:pt x="233" y="498"/>
                      </a:lnTo>
                      <a:lnTo>
                        <a:pt x="231" y="498"/>
                      </a:lnTo>
                      <a:lnTo>
                        <a:pt x="231" y="496"/>
                      </a:lnTo>
                      <a:lnTo>
                        <a:pt x="231" y="495"/>
                      </a:lnTo>
                      <a:lnTo>
                        <a:pt x="233" y="495"/>
                      </a:lnTo>
                      <a:lnTo>
                        <a:pt x="235" y="495"/>
                      </a:lnTo>
                      <a:lnTo>
                        <a:pt x="235" y="491"/>
                      </a:lnTo>
                      <a:lnTo>
                        <a:pt x="233" y="490"/>
                      </a:lnTo>
                      <a:lnTo>
                        <a:pt x="233" y="488"/>
                      </a:lnTo>
                      <a:lnTo>
                        <a:pt x="231" y="488"/>
                      </a:lnTo>
                      <a:lnTo>
                        <a:pt x="231" y="486"/>
                      </a:lnTo>
                      <a:lnTo>
                        <a:pt x="229" y="486"/>
                      </a:lnTo>
                      <a:lnTo>
                        <a:pt x="229" y="488"/>
                      </a:lnTo>
                      <a:lnTo>
                        <a:pt x="228" y="488"/>
                      </a:lnTo>
                      <a:lnTo>
                        <a:pt x="226" y="488"/>
                      </a:lnTo>
                      <a:lnTo>
                        <a:pt x="224" y="490"/>
                      </a:lnTo>
                      <a:lnTo>
                        <a:pt x="223" y="490"/>
                      </a:lnTo>
                      <a:lnTo>
                        <a:pt x="221" y="490"/>
                      </a:lnTo>
                      <a:lnTo>
                        <a:pt x="221" y="488"/>
                      </a:lnTo>
                      <a:lnTo>
                        <a:pt x="223" y="488"/>
                      </a:lnTo>
                      <a:lnTo>
                        <a:pt x="223" y="486"/>
                      </a:lnTo>
                      <a:lnTo>
                        <a:pt x="224" y="485"/>
                      </a:lnTo>
                      <a:lnTo>
                        <a:pt x="223" y="485"/>
                      </a:lnTo>
                      <a:lnTo>
                        <a:pt x="223" y="483"/>
                      </a:lnTo>
                      <a:lnTo>
                        <a:pt x="223" y="481"/>
                      </a:lnTo>
                      <a:lnTo>
                        <a:pt x="224" y="481"/>
                      </a:lnTo>
                      <a:lnTo>
                        <a:pt x="224" y="478"/>
                      </a:lnTo>
                      <a:lnTo>
                        <a:pt x="226" y="478"/>
                      </a:lnTo>
                      <a:lnTo>
                        <a:pt x="226" y="476"/>
                      </a:lnTo>
                      <a:lnTo>
                        <a:pt x="226" y="475"/>
                      </a:lnTo>
                      <a:lnTo>
                        <a:pt x="224" y="473"/>
                      </a:lnTo>
                      <a:lnTo>
                        <a:pt x="224" y="472"/>
                      </a:lnTo>
                      <a:lnTo>
                        <a:pt x="224" y="470"/>
                      </a:lnTo>
                      <a:lnTo>
                        <a:pt x="224" y="468"/>
                      </a:lnTo>
                      <a:lnTo>
                        <a:pt x="224" y="467"/>
                      </a:lnTo>
                      <a:lnTo>
                        <a:pt x="223" y="467"/>
                      </a:lnTo>
                      <a:lnTo>
                        <a:pt x="223" y="465"/>
                      </a:lnTo>
                      <a:lnTo>
                        <a:pt x="223" y="463"/>
                      </a:lnTo>
                      <a:lnTo>
                        <a:pt x="221" y="463"/>
                      </a:lnTo>
                      <a:lnTo>
                        <a:pt x="218" y="463"/>
                      </a:lnTo>
                      <a:lnTo>
                        <a:pt x="216" y="463"/>
                      </a:lnTo>
                      <a:lnTo>
                        <a:pt x="214" y="465"/>
                      </a:lnTo>
                      <a:lnTo>
                        <a:pt x="213" y="465"/>
                      </a:lnTo>
                      <a:lnTo>
                        <a:pt x="213" y="463"/>
                      </a:lnTo>
                      <a:lnTo>
                        <a:pt x="209" y="462"/>
                      </a:lnTo>
                      <a:lnTo>
                        <a:pt x="209" y="460"/>
                      </a:lnTo>
                      <a:lnTo>
                        <a:pt x="209" y="458"/>
                      </a:lnTo>
                      <a:lnTo>
                        <a:pt x="208" y="458"/>
                      </a:lnTo>
                      <a:lnTo>
                        <a:pt x="206" y="455"/>
                      </a:lnTo>
                      <a:lnTo>
                        <a:pt x="208" y="455"/>
                      </a:lnTo>
                      <a:lnTo>
                        <a:pt x="208" y="453"/>
                      </a:lnTo>
                      <a:lnTo>
                        <a:pt x="206" y="453"/>
                      </a:lnTo>
                      <a:lnTo>
                        <a:pt x="206" y="452"/>
                      </a:lnTo>
                      <a:lnTo>
                        <a:pt x="208" y="450"/>
                      </a:lnTo>
                      <a:lnTo>
                        <a:pt x="208" y="449"/>
                      </a:lnTo>
                      <a:lnTo>
                        <a:pt x="206" y="447"/>
                      </a:lnTo>
                      <a:lnTo>
                        <a:pt x="206" y="445"/>
                      </a:lnTo>
                      <a:lnTo>
                        <a:pt x="206" y="444"/>
                      </a:lnTo>
                      <a:lnTo>
                        <a:pt x="208" y="444"/>
                      </a:lnTo>
                      <a:lnTo>
                        <a:pt x="208" y="442"/>
                      </a:lnTo>
                      <a:lnTo>
                        <a:pt x="208" y="440"/>
                      </a:lnTo>
                      <a:lnTo>
                        <a:pt x="208" y="439"/>
                      </a:lnTo>
                      <a:lnTo>
                        <a:pt x="208" y="437"/>
                      </a:lnTo>
                      <a:lnTo>
                        <a:pt x="206" y="437"/>
                      </a:lnTo>
                      <a:lnTo>
                        <a:pt x="204" y="437"/>
                      </a:lnTo>
                      <a:lnTo>
                        <a:pt x="202" y="435"/>
                      </a:lnTo>
                      <a:lnTo>
                        <a:pt x="201" y="434"/>
                      </a:lnTo>
                      <a:lnTo>
                        <a:pt x="201" y="432"/>
                      </a:lnTo>
                      <a:lnTo>
                        <a:pt x="196" y="429"/>
                      </a:lnTo>
                      <a:lnTo>
                        <a:pt x="194" y="427"/>
                      </a:lnTo>
                      <a:lnTo>
                        <a:pt x="192" y="427"/>
                      </a:lnTo>
                      <a:lnTo>
                        <a:pt x="192" y="426"/>
                      </a:lnTo>
                      <a:lnTo>
                        <a:pt x="192" y="424"/>
                      </a:lnTo>
                      <a:lnTo>
                        <a:pt x="191" y="424"/>
                      </a:lnTo>
                      <a:lnTo>
                        <a:pt x="189" y="424"/>
                      </a:lnTo>
                      <a:lnTo>
                        <a:pt x="187" y="424"/>
                      </a:lnTo>
                      <a:lnTo>
                        <a:pt x="186" y="424"/>
                      </a:lnTo>
                      <a:lnTo>
                        <a:pt x="184" y="424"/>
                      </a:lnTo>
                      <a:lnTo>
                        <a:pt x="184" y="421"/>
                      </a:lnTo>
                      <a:lnTo>
                        <a:pt x="182" y="419"/>
                      </a:lnTo>
                      <a:lnTo>
                        <a:pt x="182" y="417"/>
                      </a:lnTo>
                      <a:lnTo>
                        <a:pt x="182" y="416"/>
                      </a:lnTo>
                      <a:lnTo>
                        <a:pt x="180" y="416"/>
                      </a:lnTo>
                      <a:lnTo>
                        <a:pt x="180" y="414"/>
                      </a:lnTo>
                      <a:lnTo>
                        <a:pt x="180" y="412"/>
                      </a:lnTo>
                      <a:lnTo>
                        <a:pt x="180" y="411"/>
                      </a:lnTo>
                      <a:lnTo>
                        <a:pt x="180" y="409"/>
                      </a:lnTo>
                      <a:lnTo>
                        <a:pt x="180" y="407"/>
                      </a:lnTo>
                      <a:lnTo>
                        <a:pt x="179" y="407"/>
                      </a:lnTo>
                      <a:lnTo>
                        <a:pt x="179" y="406"/>
                      </a:lnTo>
                      <a:lnTo>
                        <a:pt x="177" y="406"/>
                      </a:lnTo>
                      <a:lnTo>
                        <a:pt x="177" y="404"/>
                      </a:lnTo>
                      <a:lnTo>
                        <a:pt x="177" y="403"/>
                      </a:lnTo>
                      <a:lnTo>
                        <a:pt x="177" y="401"/>
                      </a:lnTo>
                      <a:lnTo>
                        <a:pt x="175" y="401"/>
                      </a:lnTo>
                      <a:lnTo>
                        <a:pt x="174" y="399"/>
                      </a:lnTo>
                      <a:lnTo>
                        <a:pt x="174" y="398"/>
                      </a:lnTo>
                      <a:lnTo>
                        <a:pt x="174" y="396"/>
                      </a:lnTo>
                      <a:lnTo>
                        <a:pt x="172" y="396"/>
                      </a:lnTo>
                      <a:lnTo>
                        <a:pt x="172" y="394"/>
                      </a:lnTo>
                      <a:lnTo>
                        <a:pt x="170" y="394"/>
                      </a:lnTo>
                      <a:lnTo>
                        <a:pt x="170" y="393"/>
                      </a:lnTo>
                      <a:lnTo>
                        <a:pt x="169" y="393"/>
                      </a:lnTo>
                      <a:lnTo>
                        <a:pt x="169" y="389"/>
                      </a:lnTo>
                      <a:lnTo>
                        <a:pt x="167" y="389"/>
                      </a:lnTo>
                      <a:lnTo>
                        <a:pt x="167" y="388"/>
                      </a:lnTo>
                      <a:lnTo>
                        <a:pt x="169" y="386"/>
                      </a:lnTo>
                      <a:lnTo>
                        <a:pt x="167" y="384"/>
                      </a:lnTo>
                      <a:lnTo>
                        <a:pt x="167" y="383"/>
                      </a:lnTo>
                      <a:lnTo>
                        <a:pt x="165" y="383"/>
                      </a:lnTo>
                      <a:lnTo>
                        <a:pt x="165" y="381"/>
                      </a:lnTo>
                      <a:lnTo>
                        <a:pt x="165" y="380"/>
                      </a:lnTo>
                      <a:lnTo>
                        <a:pt x="164" y="380"/>
                      </a:lnTo>
                      <a:lnTo>
                        <a:pt x="164" y="378"/>
                      </a:lnTo>
                      <a:lnTo>
                        <a:pt x="162" y="378"/>
                      </a:lnTo>
                      <a:lnTo>
                        <a:pt x="162" y="376"/>
                      </a:lnTo>
                      <a:lnTo>
                        <a:pt x="162" y="375"/>
                      </a:lnTo>
                      <a:lnTo>
                        <a:pt x="162" y="373"/>
                      </a:lnTo>
                      <a:lnTo>
                        <a:pt x="162" y="371"/>
                      </a:lnTo>
                      <a:lnTo>
                        <a:pt x="162" y="370"/>
                      </a:lnTo>
                      <a:lnTo>
                        <a:pt x="162" y="368"/>
                      </a:lnTo>
                      <a:lnTo>
                        <a:pt x="164" y="366"/>
                      </a:lnTo>
                      <a:lnTo>
                        <a:pt x="164" y="365"/>
                      </a:lnTo>
                      <a:lnTo>
                        <a:pt x="162" y="365"/>
                      </a:lnTo>
                      <a:lnTo>
                        <a:pt x="162" y="363"/>
                      </a:lnTo>
                      <a:lnTo>
                        <a:pt x="162" y="361"/>
                      </a:lnTo>
                      <a:lnTo>
                        <a:pt x="164" y="361"/>
                      </a:lnTo>
                      <a:lnTo>
                        <a:pt x="164" y="360"/>
                      </a:lnTo>
                      <a:lnTo>
                        <a:pt x="164" y="358"/>
                      </a:lnTo>
                      <a:lnTo>
                        <a:pt x="164" y="357"/>
                      </a:lnTo>
                      <a:lnTo>
                        <a:pt x="164" y="355"/>
                      </a:lnTo>
                      <a:lnTo>
                        <a:pt x="165" y="353"/>
                      </a:lnTo>
                      <a:lnTo>
                        <a:pt x="165" y="352"/>
                      </a:lnTo>
                      <a:lnTo>
                        <a:pt x="167" y="352"/>
                      </a:lnTo>
                      <a:lnTo>
                        <a:pt x="167" y="350"/>
                      </a:lnTo>
                      <a:lnTo>
                        <a:pt x="167" y="348"/>
                      </a:lnTo>
                      <a:lnTo>
                        <a:pt x="167" y="347"/>
                      </a:lnTo>
                      <a:lnTo>
                        <a:pt x="167" y="345"/>
                      </a:lnTo>
                      <a:lnTo>
                        <a:pt x="165" y="345"/>
                      </a:lnTo>
                      <a:lnTo>
                        <a:pt x="165" y="347"/>
                      </a:lnTo>
                      <a:lnTo>
                        <a:pt x="164" y="345"/>
                      </a:lnTo>
                      <a:lnTo>
                        <a:pt x="164" y="343"/>
                      </a:lnTo>
                      <a:lnTo>
                        <a:pt x="162" y="342"/>
                      </a:lnTo>
                      <a:lnTo>
                        <a:pt x="160" y="342"/>
                      </a:lnTo>
                      <a:lnTo>
                        <a:pt x="160" y="340"/>
                      </a:lnTo>
                      <a:lnTo>
                        <a:pt x="160" y="339"/>
                      </a:lnTo>
                      <a:lnTo>
                        <a:pt x="159" y="339"/>
                      </a:lnTo>
                      <a:lnTo>
                        <a:pt x="157" y="337"/>
                      </a:lnTo>
                      <a:lnTo>
                        <a:pt x="155" y="337"/>
                      </a:lnTo>
                      <a:lnTo>
                        <a:pt x="153" y="335"/>
                      </a:lnTo>
                      <a:lnTo>
                        <a:pt x="152" y="334"/>
                      </a:lnTo>
                      <a:lnTo>
                        <a:pt x="150" y="332"/>
                      </a:lnTo>
                      <a:lnTo>
                        <a:pt x="148" y="330"/>
                      </a:lnTo>
                      <a:lnTo>
                        <a:pt x="147" y="330"/>
                      </a:lnTo>
                      <a:lnTo>
                        <a:pt x="143" y="329"/>
                      </a:lnTo>
                      <a:lnTo>
                        <a:pt x="143" y="327"/>
                      </a:lnTo>
                      <a:lnTo>
                        <a:pt x="142" y="327"/>
                      </a:lnTo>
                      <a:lnTo>
                        <a:pt x="142" y="325"/>
                      </a:lnTo>
                      <a:lnTo>
                        <a:pt x="140" y="325"/>
                      </a:lnTo>
                      <a:lnTo>
                        <a:pt x="138" y="324"/>
                      </a:lnTo>
                      <a:lnTo>
                        <a:pt x="138" y="322"/>
                      </a:lnTo>
                      <a:lnTo>
                        <a:pt x="138" y="320"/>
                      </a:lnTo>
                      <a:lnTo>
                        <a:pt x="138" y="319"/>
                      </a:lnTo>
                      <a:lnTo>
                        <a:pt x="137" y="319"/>
                      </a:lnTo>
                      <a:lnTo>
                        <a:pt x="137" y="317"/>
                      </a:lnTo>
                      <a:lnTo>
                        <a:pt x="137" y="316"/>
                      </a:lnTo>
                      <a:lnTo>
                        <a:pt x="138" y="316"/>
                      </a:lnTo>
                      <a:lnTo>
                        <a:pt x="138" y="314"/>
                      </a:lnTo>
                      <a:lnTo>
                        <a:pt x="137" y="314"/>
                      </a:lnTo>
                      <a:lnTo>
                        <a:pt x="137" y="312"/>
                      </a:lnTo>
                      <a:lnTo>
                        <a:pt x="135" y="312"/>
                      </a:lnTo>
                      <a:lnTo>
                        <a:pt x="135" y="311"/>
                      </a:lnTo>
                      <a:lnTo>
                        <a:pt x="135" y="307"/>
                      </a:lnTo>
                      <a:lnTo>
                        <a:pt x="135" y="306"/>
                      </a:lnTo>
                      <a:lnTo>
                        <a:pt x="135" y="304"/>
                      </a:lnTo>
                      <a:lnTo>
                        <a:pt x="137" y="304"/>
                      </a:lnTo>
                      <a:lnTo>
                        <a:pt x="138" y="304"/>
                      </a:lnTo>
                      <a:lnTo>
                        <a:pt x="140" y="304"/>
                      </a:lnTo>
                      <a:lnTo>
                        <a:pt x="140" y="302"/>
                      </a:lnTo>
                      <a:lnTo>
                        <a:pt x="140" y="301"/>
                      </a:lnTo>
                      <a:lnTo>
                        <a:pt x="140" y="299"/>
                      </a:lnTo>
                      <a:lnTo>
                        <a:pt x="138" y="299"/>
                      </a:lnTo>
                      <a:lnTo>
                        <a:pt x="138" y="297"/>
                      </a:lnTo>
                      <a:lnTo>
                        <a:pt x="137" y="297"/>
                      </a:lnTo>
                      <a:lnTo>
                        <a:pt x="137" y="296"/>
                      </a:lnTo>
                      <a:lnTo>
                        <a:pt x="135" y="296"/>
                      </a:lnTo>
                      <a:lnTo>
                        <a:pt x="133" y="296"/>
                      </a:lnTo>
                      <a:lnTo>
                        <a:pt x="131" y="297"/>
                      </a:lnTo>
                      <a:lnTo>
                        <a:pt x="130" y="297"/>
                      </a:lnTo>
                      <a:lnTo>
                        <a:pt x="128" y="297"/>
                      </a:lnTo>
                      <a:lnTo>
                        <a:pt x="128" y="299"/>
                      </a:lnTo>
                      <a:lnTo>
                        <a:pt x="126" y="299"/>
                      </a:lnTo>
                      <a:lnTo>
                        <a:pt x="126" y="297"/>
                      </a:lnTo>
                      <a:lnTo>
                        <a:pt x="126" y="296"/>
                      </a:lnTo>
                      <a:lnTo>
                        <a:pt x="128" y="296"/>
                      </a:lnTo>
                      <a:lnTo>
                        <a:pt x="128" y="294"/>
                      </a:lnTo>
                      <a:lnTo>
                        <a:pt x="128" y="293"/>
                      </a:lnTo>
                      <a:lnTo>
                        <a:pt x="126" y="293"/>
                      </a:lnTo>
                      <a:lnTo>
                        <a:pt x="125" y="293"/>
                      </a:lnTo>
                      <a:lnTo>
                        <a:pt x="125" y="291"/>
                      </a:lnTo>
                      <a:lnTo>
                        <a:pt x="125" y="289"/>
                      </a:lnTo>
                      <a:lnTo>
                        <a:pt x="126" y="289"/>
                      </a:lnTo>
                      <a:lnTo>
                        <a:pt x="126" y="288"/>
                      </a:lnTo>
                      <a:lnTo>
                        <a:pt x="126" y="286"/>
                      </a:lnTo>
                      <a:lnTo>
                        <a:pt x="125" y="286"/>
                      </a:lnTo>
                      <a:lnTo>
                        <a:pt x="123" y="286"/>
                      </a:lnTo>
                      <a:lnTo>
                        <a:pt x="121" y="286"/>
                      </a:lnTo>
                      <a:lnTo>
                        <a:pt x="121" y="284"/>
                      </a:lnTo>
                      <a:lnTo>
                        <a:pt x="120" y="286"/>
                      </a:lnTo>
                      <a:lnTo>
                        <a:pt x="118" y="286"/>
                      </a:lnTo>
                      <a:lnTo>
                        <a:pt x="116" y="288"/>
                      </a:lnTo>
                      <a:lnTo>
                        <a:pt x="115" y="286"/>
                      </a:lnTo>
                      <a:lnTo>
                        <a:pt x="116" y="286"/>
                      </a:lnTo>
                      <a:lnTo>
                        <a:pt x="116" y="284"/>
                      </a:lnTo>
                      <a:lnTo>
                        <a:pt x="116" y="283"/>
                      </a:lnTo>
                      <a:lnTo>
                        <a:pt x="116" y="281"/>
                      </a:lnTo>
                      <a:lnTo>
                        <a:pt x="116" y="279"/>
                      </a:lnTo>
                      <a:lnTo>
                        <a:pt x="116" y="281"/>
                      </a:lnTo>
                      <a:lnTo>
                        <a:pt x="115" y="281"/>
                      </a:lnTo>
                      <a:lnTo>
                        <a:pt x="115" y="283"/>
                      </a:lnTo>
                      <a:lnTo>
                        <a:pt x="113" y="283"/>
                      </a:lnTo>
                      <a:lnTo>
                        <a:pt x="111" y="283"/>
                      </a:lnTo>
                      <a:lnTo>
                        <a:pt x="110" y="283"/>
                      </a:lnTo>
                      <a:lnTo>
                        <a:pt x="110" y="281"/>
                      </a:lnTo>
                      <a:lnTo>
                        <a:pt x="111" y="281"/>
                      </a:lnTo>
                      <a:lnTo>
                        <a:pt x="111" y="279"/>
                      </a:lnTo>
                      <a:lnTo>
                        <a:pt x="110" y="278"/>
                      </a:lnTo>
                      <a:lnTo>
                        <a:pt x="110" y="279"/>
                      </a:lnTo>
                      <a:lnTo>
                        <a:pt x="110" y="281"/>
                      </a:lnTo>
                      <a:lnTo>
                        <a:pt x="108" y="281"/>
                      </a:lnTo>
                      <a:lnTo>
                        <a:pt x="108" y="283"/>
                      </a:lnTo>
                      <a:lnTo>
                        <a:pt x="108" y="281"/>
                      </a:lnTo>
                      <a:lnTo>
                        <a:pt x="106" y="281"/>
                      </a:lnTo>
                      <a:lnTo>
                        <a:pt x="106" y="279"/>
                      </a:lnTo>
                      <a:lnTo>
                        <a:pt x="104" y="281"/>
                      </a:lnTo>
                      <a:lnTo>
                        <a:pt x="103" y="281"/>
                      </a:lnTo>
                      <a:lnTo>
                        <a:pt x="103" y="279"/>
                      </a:lnTo>
                      <a:lnTo>
                        <a:pt x="101" y="279"/>
                      </a:lnTo>
                      <a:lnTo>
                        <a:pt x="99" y="279"/>
                      </a:lnTo>
                      <a:lnTo>
                        <a:pt x="101" y="279"/>
                      </a:lnTo>
                      <a:lnTo>
                        <a:pt x="101" y="281"/>
                      </a:lnTo>
                      <a:lnTo>
                        <a:pt x="99" y="283"/>
                      </a:lnTo>
                      <a:lnTo>
                        <a:pt x="99" y="281"/>
                      </a:lnTo>
                      <a:lnTo>
                        <a:pt x="98" y="281"/>
                      </a:lnTo>
                      <a:lnTo>
                        <a:pt x="96" y="281"/>
                      </a:lnTo>
                      <a:lnTo>
                        <a:pt x="94" y="279"/>
                      </a:lnTo>
                      <a:lnTo>
                        <a:pt x="94" y="281"/>
                      </a:lnTo>
                      <a:lnTo>
                        <a:pt x="94" y="279"/>
                      </a:lnTo>
                      <a:lnTo>
                        <a:pt x="94" y="278"/>
                      </a:lnTo>
                      <a:lnTo>
                        <a:pt x="93" y="276"/>
                      </a:lnTo>
                      <a:lnTo>
                        <a:pt x="91" y="276"/>
                      </a:lnTo>
                      <a:lnTo>
                        <a:pt x="91" y="278"/>
                      </a:lnTo>
                      <a:lnTo>
                        <a:pt x="89" y="278"/>
                      </a:lnTo>
                      <a:lnTo>
                        <a:pt x="89" y="276"/>
                      </a:lnTo>
                      <a:lnTo>
                        <a:pt x="89" y="274"/>
                      </a:lnTo>
                      <a:lnTo>
                        <a:pt x="88" y="274"/>
                      </a:lnTo>
                      <a:lnTo>
                        <a:pt x="88" y="273"/>
                      </a:lnTo>
                      <a:lnTo>
                        <a:pt x="86" y="273"/>
                      </a:lnTo>
                      <a:lnTo>
                        <a:pt x="86" y="274"/>
                      </a:lnTo>
                      <a:lnTo>
                        <a:pt x="84" y="274"/>
                      </a:lnTo>
                      <a:lnTo>
                        <a:pt x="84" y="273"/>
                      </a:lnTo>
                      <a:lnTo>
                        <a:pt x="84" y="274"/>
                      </a:lnTo>
                      <a:lnTo>
                        <a:pt x="83" y="274"/>
                      </a:lnTo>
                      <a:lnTo>
                        <a:pt x="83" y="273"/>
                      </a:lnTo>
                      <a:lnTo>
                        <a:pt x="83" y="271"/>
                      </a:lnTo>
                      <a:lnTo>
                        <a:pt x="83" y="270"/>
                      </a:lnTo>
                      <a:lnTo>
                        <a:pt x="81" y="270"/>
                      </a:lnTo>
                      <a:lnTo>
                        <a:pt x="81" y="271"/>
                      </a:lnTo>
                      <a:lnTo>
                        <a:pt x="79" y="271"/>
                      </a:lnTo>
                      <a:lnTo>
                        <a:pt x="77" y="273"/>
                      </a:lnTo>
                      <a:lnTo>
                        <a:pt x="76" y="271"/>
                      </a:lnTo>
                      <a:lnTo>
                        <a:pt x="76" y="273"/>
                      </a:lnTo>
                      <a:lnTo>
                        <a:pt x="74" y="273"/>
                      </a:lnTo>
                      <a:lnTo>
                        <a:pt x="74" y="271"/>
                      </a:lnTo>
                      <a:lnTo>
                        <a:pt x="74" y="270"/>
                      </a:lnTo>
                      <a:lnTo>
                        <a:pt x="74" y="268"/>
                      </a:lnTo>
                      <a:lnTo>
                        <a:pt x="74" y="266"/>
                      </a:lnTo>
                      <a:lnTo>
                        <a:pt x="72" y="266"/>
                      </a:lnTo>
                      <a:lnTo>
                        <a:pt x="72" y="265"/>
                      </a:lnTo>
                      <a:lnTo>
                        <a:pt x="74" y="265"/>
                      </a:lnTo>
                      <a:lnTo>
                        <a:pt x="74" y="263"/>
                      </a:lnTo>
                      <a:lnTo>
                        <a:pt x="72" y="263"/>
                      </a:lnTo>
                      <a:lnTo>
                        <a:pt x="72" y="265"/>
                      </a:lnTo>
                      <a:lnTo>
                        <a:pt x="71" y="263"/>
                      </a:lnTo>
                      <a:lnTo>
                        <a:pt x="71" y="261"/>
                      </a:lnTo>
                      <a:lnTo>
                        <a:pt x="71" y="260"/>
                      </a:lnTo>
                      <a:lnTo>
                        <a:pt x="69" y="260"/>
                      </a:lnTo>
                      <a:lnTo>
                        <a:pt x="69" y="258"/>
                      </a:lnTo>
                      <a:lnTo>
                        <a:pt x="67" y="258"/>
                      </a:lnTo>
                      <a:lnTo>
                        <a:pt x="66" y="258"/>
                      </a:lnTo>
                      <a:lnTo>
                        <a:pt x="66" y="256"/>
                      </a:lnTo>
                      <a:lnTo>
                        <a:pt x="66" y="258"/>
                      </a:lnTo>
                      <a:lnTo>
                        <a:pt x="66" y="260"/>
                      </a:lnTo>
                      <a:lnTo>
                        <a:pt x="64" y="260"/>
                      </a:lnTo>
                      <a:lnTo>
                        <a:pt x="64" y="258"/>
                      </a:lnTo>
                      <a:lnTo>
                        <a:pt x="62" y="258"/>
                      </a:lnTo>
                      <a:lnTo>
                        <a:pt x="62" y="256"/>
                      </a:lnTo>
                      <a:lnTo>
                        <a:pt x="61" y="256"/>
                      </a:lnTo>
                      <a:lnTo>
                        <a:pt x="61" y="255"/>
                      </a:lnTo>
                      <a:lnTo>
                        <a:pt x="59" y="255"/>
                      </a:lnTo>
                      <a:lnTo>
                        <a:pt x="57" y="255"/>
                      </a:lnTo>
                      <a:lnTo>
                        <a:pt x="57" y="253"/>
                      </a:lnTo>
                      <a:lnTo>
                        <a:pt x="57" y="251"/>
                      </a:lnTo>
                      <a:lnTo>
                        <a:pt x="57" y="253"/>
                      </a:lnTo>
                      <a:lnTo>
                        <a:pt x="55" y="253"/>
                      </a:lnTo>
                      <a:lnTo>
                        <a:pt x="55" y="251"/>
                      </a:lnTo>
                      <a:lnTo>
                        <a:pt x="54" y="251"/>
                      </a:lnTo>
                      <a:lnTo>
                        <a:pt x="54" y="250"/>
                      </a:lnTo>
                      <a:lnTo>
                        <a:pt x="52" y="250"/>
                      </a:lnTo>
                      <a:lnTo>
                        <a:pt x="50" y="250"/>
                      </a:lnTo>
                      <a:lnTo>
                        <a:pt x="50" y="248"/>
                      </a:lnTo>
                      <a:lnTo>
                        <a:pt x="49" y="248"/>
                      </a:lnTo>
                      <a:lnTo>
                        <a:pt x="47" y="248"/>
                      </a:lnTo>
                      <a:lnTo>
                        <a:pt x="45" y="250"/>
                      </a:lnTo>
                      <a:lnTo>
                        <a:pt x="45" y="248"/>
                      </a:lnTo>
                      <a:lnTo>
                        <a:pt x="44" y="248"/>
                      </a:lnTo>
                      <a:lnTo>
                        <a:pt x="42" y="248"/>
                      </a:lnTo>
                      <a:lnTo>
                        <a:pt x="40" y="248"/>
                      </a:lnTo>
                      <a:lnTo>
                        <a:pt x="39" y="248"/>
                      </a:lnTo>
                      <a:lnTo>
                        <a:pt x="37" y="248"/>
                      </a:lnTo>
                      <a:lnTo>
                        <a:pt x="35" y="248"/>
                      </a:lnTo>
                      <a:lnTo>
                        <a:pt x="34" y="248"/>
                      </a:lnTo>
                      <a:lnTo>
                        <a:pt x="34" y="247"/>
                      </a:lnTo>
                      <a:lnTo>
                        <a:pt x="32" y="247"/>
                      </a:lnTo>
                      <a:lnTo>
                        <a:pt x="30" y="247"/>
                      </a:lnTo>
                      <a:lnTo>
                        <a:pt x="28" y="247"/>
                      </a:lnTo>
                      <a:lnTo>
                        <a:pt x="28" y="245"/>
                      </a:lnTo>
                      <a:lnTo>
                        <a:pt x="28" y="247"/>
                      </a:lnTo>
                      <a:lnTo>
                        <a:pt x="27" y="247"/>
                      </a:lnTo>
                      <a:lnTo>
                        <a:pt x="27" y="245"/>
                      </a:lnTo>
                      <a:lnTo>
                        <a:pt x="25" y="245"/>
                      </a:lnTo>
                      <a:lnTo>
                        <a:pt x="25" y="247"/>
                      </a:lnTo>
                      <a:lnTo>
                        <a:pt x="23" y="247"/>
                      </a:lnTo>
                      <a:lnTo>
                        <a:pt x="22" y="247"/>
                      </a:lnTo>
                      <a:lnTo>
                        <a:pt x="20" y="247"/>
                      </a:lnTo>
                      <a:lnTo>
                        <a:pt x="18" y="247"/>
                      </a:lnTo>
                      <a:lnTo>
                        <a:pt x="17" y="247"/>
                      </a:lnTo>
                      <a:lnTo>
                        <a:pt x="15" y="247"/>
                      </a:lnTo>
                      <a:lnTo>
                        <a:pt x="13" y="247"/>
                      </a:lnTo>
                      <a:lnTo>
                        <a:pt x="12" y="247"/>
                      </a:lnTo>
                      <a:lnTo>
                        <a:pt x="12" y="245"/>
                      </a:lnTo>
                      <a:lnTo>
                        <a:pt x="12" y="243"/>
                      </a:lnTo>
                      <a:lnTo>
                        <a:pt x="12" y="242"/>
                      </a:lnTo>
                      <a:lnTo>
                        <a:pt x="13" y="242"/>
                      </a:lnTo>
                      <a:lnTo>
                        <a:pt x="13" y="240"/>
                      </a:lnTo>
                      <a:lnTo>
                        <a:pt x="12" y="240"/>
                      </a:lnTo>
                      <a:lnTo>
                        <a:pt x="12" y="238"/>
                      </a:lnTo>
                      <a:lnTo>
                        <a:pt x="12" y="237"/>
                      </a:lnTo>
                      <a:lnTo>
                        <a:pt x="12" y="235"/>
                      </a:lnTo>
                      <a:lnTo>
                        <a:pt x="10" y="235"/>
                      </a:lnTo>
                      <a:lnTo>
                        <a:pt x="10" y="233"/>
                      </a:lnTo>
                      <a:lnTo>
                        <a:pt x="10" y="232"/>
                      </a:lnTo>
                      <a:lnTo>
                        <a:pt x="10" y="230"/>
                      </a:lnTo>
                      <a:lnTo>
                        <a:pt x="12" y="230"/>
                      </a:lnTo>
                      <a:lnTo>
                        <a:pt x="12" y="228"/>
                      </a:lnTo>
                      <a:lnTo>
                        <a:pt x="10" y="227"/>
                      </a:lnTo>
                      <a:lnTo>
                        <a:pt x="10" y="225"/>
                      </a:lnTo>
                      <a:lnTo>
                        <a:pt x="8" y="225"/>
                      </a:lnTo>
                      <a:lnTo>
                        <a:pt x="8" y="224"/>
                      </a:lnTo>
                      <a:lnTo>
                        <a:pt x="7" y="224"/>
                      </a:lnTo>
                      <a:lnTo>
                        <a:pt x="7" y="222"/>
                      </a:lnTo>
                      <a:lnTo>
                        <a:pt x="7" y="220"/>
                      </a:lnTo>
                      <a:lnTo>
                        <a:pt x="7" y="219"/>
                      </a:lnTo>
                      <a:lnTo>
                        <a:pt x="7" y="217"/>
                      </a:lnTo>
                      <a:lnTo>
                        <a:pt x="7" y="215"/>
                      </a:lnTo>
                      <a:lnTo>
                        <a:pt x="7" y="214"/>
                      </a:lnTo>
                      <a:lnTo>
                        <a:pt x="7" y="212"/>
                      </a:lnTo>
                      <a:lnTo>
                        <a:pt x="8" y="212"/>
                      </a:lnTo>
                      <a:lnTo>
                        <a:pt x="8" y="210"/>
                      </a:lnTo>
                      <a:lnTo>
                        <a:pt x="8" y="209"/>
                      </a:lnTo>
                      <a:lnTo>
                        <a:pt x="10" y="209"/>
                      </a:lnTo>
                      <a:lnTo>
                        <a:pt x="10" y="207"/>
                      </a:lnTo>
                      <a:lnTo>
                        <a:pt x="10" y="205"/>
                      </a:lnTo>
                      <a:lnTo>
                        <a:pt x="8" y="205"/>
                      </a:lnTo>
                      <a:lnTo>
                        <a:pt x="8" y="204"/>
                      </a:lnTo>
                      <a:lnTo>
                        <a:pt x="7" y="202"/>
                      </a:lnTo>
                      <a:lnTo>
                        <a:pt x="7" y="201"/>
                      </a:lnTo>
                      <a:lnTo>
                        <a:pt x="7" y="199"/>
                      </a:lnTo>
                      <a:lnTo>
                        <a:pt x="7" y="197"/>
                      </a:lnTo>
                      <a:lnTo>
                        <a:pt x="8" y="197"/>
                      </a:lnTo>
                      <a:lnTo>
                        <a:pt x="8" y="196"/>
                      </a:lnTo>
                      <a:lnTo>
                        <a:pt x="7" y="196"/>
                      </a:lnTo>
                      <a:lnTo>
                        <a:pt x="7" y="194"/>
                      </a:lnTo>
                      <a:lnTo>
                        <a:pt x="5" y="194"/>
                      </a:lnTo>
                      <a:lnTo>
                        <a:pt x="3" y="191"/>
                      </a:lnTo>
                      <a:lnTo>
                        <a:pt x="1" y="189"/>
                      </a:lnTo>
                      <a:lnTo>
                        <a:pt x="1" y="187"/>
                      </a:lnTo>
                      <a:lnTo>
                        <a:pt x="0" y="187"/>
                      </a:lnTo>
                      <a:lnTo>
                        <a:pt x="0" y="186"/>
                      </a:lnTo>
                      <a:lnTo>
                        <a:pt x="7" y="186"/>
                      </a:lnTo>
                      <a:lnTo>
                        <a:pt x="12" y="182"/>
                      </a:lnTo>
                      <a:lnTo>
                        <a:pt x="18" y="184"/>
                      </a:lnTo>
                      <a:lnTo>
                        <a:pt x="18" y="187"/>
                      </a:lnTo>
                      <a:lnTo>
                        <a:pt x="17" y="192"/>
                      </a:lnTo>
                      <a:lnTo>
                        <a:pt x="20" y="196"/>
                      </a:lnTo>
                      <a:lnTo>
                        <a:pt x="25" y="194"/>
                      </a:lnTo>
                      <a:lnTo>
                        <a:pt x="42" y="205"/>
                      </a:lnTo>
                      <a:lnTo>
                        <a:pt x="66" y="209"/>
                      </a:lnTo>
                      <a:lnTo>
                        <a:pt x="83" y="204"/>
                      </a:lnTo>
                      <a:lnTo>
                        <a:pt x="84" y="204"/>
                      </a:lnTo>
                      <a:lnTo>
                        <a:pt x="86" y="204"/>
                      </a:lnTo>
                      <a:lnTo>
                        <a:pt x="88" y="202"/>
                      </a:lnTo>
                      <a:lnTo>
                        <a:pt x="88" y="204"/>
                      </a:lnTo>
                      <a:lnTo>
                        <a:pt x="88" y="202"/>
                      </a:lnTo>
                      <a:lnTo>
                        <a:pt x="89" y="202"/>
                      </a:lnTo>
                      <a:lnTo>
                        <a:pt x="89" y="201"/>
                      </a:lnTo>
                      <a:lnTo>
                        <a:pt x="88" y="201"/>
                      </a:lnTo>
                      <a:lnTo>
                        <a:pt x="89" y="199"/>
                      </a:lnTo>
                      <a:lnTo>
                        <a:pt x="91" y="199"/>
                      </a:lnTo>
                      <a:lnTo>
                        <a:pt x="91" y="201"/>
                      </a:lnTo>
                      <a:lnTo>
                        <a:pt x="93" y="201"/>
                      </a:lnTo>
                      <a:lnTo>
                        <a:pt x="93" y="199"/>
                      </a:lnTo>
                      <a:lnTo>
                        <a:pt x="93" y="201"/>
                      </a:lnTo>
                      <a:lnTo>
                        <a:pt x="93" y="199"/>
                      </a:lnTo>
                      <a:lnTo>
                        <a:pt x="94" y="197"/>
                      </a:lnTo>
                      <a:lnTo>
                        <a:pt x="93" y="197"/>
                      </a:lnTo>
                      <a:lnTo>
                        <a:pt x="94" y="197"/>
                      </a:lnTo>
                      <a:lnTo>
                        <a:pt x="94" y="196"/>
                      </a:lnTo>
                      <a:lnTo>
                        <a:pt x="94" y="197"/>
                      </a:lnTo>
                      <a:lnTo>
                        <a:pt x="94" y="196"/>
                      </a:lnTo>
                      <a:lnTo>
                        <a:pt x="96" y="197"/>
                      </a:lnTo>
                      <a:lnTo>
                        <a:pt x="96" y="196"/>
                      </a:lnTo>
                      <a:lnTo>
                        <a:pt x="98" y="197"/>
                      </a:lnTo>
                      <a:lnTo>
                        <a:pt x="99" y="197"/>
                      </a:lnTo>
                      <a:lnTo>
                        <a:pt x="99" y="196"/>
                      </a:lnTo>
                      <a:lnTo>
                        <a:pt x="101" y="196"/>
                      </a:lnTo>
                      <a:lnTo>
                        <a:pt x="99" y="196"/>
                      </a:lnTo>
                      <a:lnTo>
                        <a:pt x="98" y="196"/>
                      </a:lnTo>
                      <a:lnTo>
                        <a:pt x="99" y="194"/>
                      </a:lnTo>
                      <a:lnTo>
                        <a:pt x="101" y="194"/>
                      </a:lnTo>
                      <a:lnTo>
                        <a:pt x="101" y="192"/>
                      </a:lnTo>
                      <a:lnTo>
                        <a:pt x="103" y="192"/>
                      </a:lnTo>
                      <a:lnTo>
                        <a:pt x="103" y="191"/>
                      </a:lnTo>
                      <a:lnTo>
                        <a:pt x="104" y="191"/>
                      </a:lnTo>
                      <a:lnTo>
                        <a:pt x="106" y="191"/>
                      </a:lnTo>
                      <a:lnTo>
                        <a:pt x="108" y="191"/>
                      </a:lnTo>
                      <a:lnTo>
                        <a:pt x="108" y="192"/>
                      </a:lnTo>
                      <a:lnTo>
                        <a:pt x="106" y="192"/>
                      </a:lnTo>
                      <a:lnTo>
                        <a:pt x="108" y="192"/>
                      </a:lnTo>
                      <a:lnTo>
                        <a:pt x="110" y="194"/>
                      </a:lnTo>
                      <a:lnTo>
                        <a:pt x="110" y="192"/>
                      </a:lnTo>
                      <a:lnTo>
                        <a:pt x="110" y="194"/>
                      </a:lnTo>
                      <a:lnTo>
                        <a:pt x="108" y="194"/>
                      </a:lnTo>
                      <a:lnTo>
                        <a:pt x="108" y="196"/>
                      </a:lnTo>
                      <a:lnTo>
                        <a:pt x="106" y="196"/>
                      </a:lnTo>
                      <a:lnTo>
                        <a:pt x="106" y="197"/>
                      </a:lnTo>
                      <a:lnTo>
                        <a:pt x="108" y="197"/>
                      </a:lnTo>
                      <a:lnTo>
                        <a:pt x="110" y="197"/>
                      </a:lnTo>
                      <a:lnTo>
                        <a:pt x="111" y="197"/>
                      </a:lnTo>
                      <a:lnTo>
                        <a:pt x="113" y="197"/>
                      </a:lnTo>
                      <a:lnTo>
                        <a:pt x="113" y="199"/>
                      </a:lnTo>
                      <a:lnTo>
                        <a:pt x="113" y="197"/>
                      </a:lnTo>
                      <a:lnTo>
                        <a:pt x="115" y="197"/>
                      </a:lnTo>
                      <a:lnTo>
                        <a:pt x="116" y="197"/>
                      </a:lnTo>
                      <a:lnTo>
                        <a:pt x="116" y="199"/>
                      </a:lnTo>
                      <a:lnTo>
                        <a:pt x="115" y="199"/>
                      </a:lnTo>
                      <a:lnTo>
                        <a:pt x="116" y="199"/>
                      </a:lnTo>
                      <a:lnTo>
                        <a:pt x="118" y="199"/>
                      </a:lnTo>
                      <a:lnTo>
                        <a:pt x="120" y="201"/>
                      </a:lnTo>
                      <a:lnTo>
                        <a:pt x="120" y="199"/>
                      </a:lnTo>
                      <a:lnTo>
                        <a:pt x="121" y="199"/>
                      </a:lnTo>
                      <a:lnTo>
                        <a:pt x="121" y="201"/>
                      </a:lnTo>
                      <a:lnTo>
                        <a:pt x="123" y="201"/>
                      </a:lnTo>
                      <a:lnTo>
                        <a:pt x="125" y="201"/>
                      </a:lnTo>
                      <a:lnTo>
                        <a:pt x="125" y="202"/>
                      </a:lnTo>
                      <a:lnTo>
                        <a:pt x="126" y="202"/>
                      </a:lnTo>
                      <a:lnTo>
                        <a:pt x="128" y="202"/>
                      </a:lnTo>
                      <a:lnTo>
                        <a:pt x="128" y="201"/>
                      </a:lnTo>
                      <a:lnTo>
                        <a:pt x="130" y="202"/>
                      </a:lnTo>
                      <a:lnTo>
                        <a:pt x="130" y="201"/>
                      </a:lnTo>
                      <a:lnTo>
                        <a:pt x="131" y="202"/>
                      </a:lnTo>
                      <a:lnTo>
                        <a:pt x="131" y="201"/>
                      </a:lnTo>
                      <a:lnTo>
                        <a:pt x="133" y="202"/>
                      </a:lnTo>
                      <a:lnTo>
                        <a:pt x="135" y="202"/>
                      </a:lnTo>
                      <a:lnTo>
                        <a:pt x="135" y="201"/>
                      </a:lnTo>
                      <a:lnTo>
                        <a:pt x="133" y="201"/>
                      </a:lnTo>
                      <a:lnTo>
                        <a:pt x="133" y="199"/>
                      </a:lnTo>
                      <a:lnTo>
                        <a:pt x="135" y="199"/>
                      </a:lnTo>
                      <a:lnTo>
                        <a:pt x="137" y="201"/>
                      </a:lnTo>
                      <a:lnTo>
                        <a:pt x="137" y="199"/>
                      </a:lnTo>
                      <a:lnTo>
                        <a:pt x="138" y="199"/>
                      </a:lnTo>
                      <a:lnTo>
                        <a:pt x="140" y="199"/>
                      </a:lnTo>
                      <a:lnTo>
                        <a:pt x="140" y="197"/>
                      </a:lnTo>
                      <a:lnTo>
                        <a:pt x="142" y="197"/>
                      </a:lnTo>
                      <a:lnTo>
                        <a:pt x="142" y="196"/>
                      </a:lnTo>
                      <a:lnTo>
                        <a:pt x="143" y="196"/>
                      </a:lnTo>
                      <a:lnTo>
                        <a:pt x="143" y="194"/>
                      </a:lnTo>
                      <a:lnTo>
                        <a:pt x="143" y="192"/>
                      </a:lnTo>
                      <a:lnTo>
                        <a:pt x="145" y="194"/>
                      </a:lnTo>
                      <a:lnTo>
                        <a:pt x="145" y="192"/>
                      </a:lnTo>
                      <a:lnTo>
                        <a:pt x="147" y="194"/>
                      </a:lnTo>
                      <a:lnTo>
                        <a:pt x="148" y="194"/>
                      </a:lnTo>
                      <a:lnTo>
                        <a:pt x="148" y="196"/>
                      </a:lnTo>
                      <a:lnTo>
                        <a:pt x="148" y="197"/>
                      </a:lnTo>
                      <a:lnTo>
                        <a:pt x="150" y="197"/>
                      </a:lnTo>
                      <a:lnTo>
                        <a:pt x="152" y="197"/>
                      </a:lnTo>
                      <a:lnTo>
                        <a:pt x="152" y="199"/>
                      </a:lnTo>
                      <a:lnTo>
                        <a:pt x="153" y="199"/>
                      </a:lnTo>
                      <a:lnTo>
                        <a:pt x="153" y="201"/>
                      </a:lnTo>
                      <a:lnTo>
                        <a:pt x="155" y="201"/>
                      </a:lnTo>
                      <a:lnTo>
                        <a:pt x="155" y="202"/>
                      </a:lnTo>
                      <a:lnTo>
                        <a:pt x="153" y="202"/>
                      </a:lnTo>
                      <a:lnTo>
                        <a:pt x="153" y="204"/>
                      </a:lnTo>
                      <a:lnTo>
                        <a:pt x="152" y="205"/>
                      </a:lnTo>
                      <a:lnTo>
                        <a:pt x="152" y="207"/>
                      </a:lnTo>
                      <a:lnTo>
                        <a:pt x="150" y="207"/>
                      </a:lnTo>
                      <a:lnTo>
                        <a:pt x="150" y="209"/>
                      </a:lnTo>
                      <a:lnTo>
                        <a:pt x="152" y="209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6" name="Freeform 14"/>
                <p:cNvSpPr>
                  <a:spLocks noChangeAspect="1"/>
                </p:cNvSpPr>
                <p:nvPr/>
              </p:nvSpPr>
              <p:spPr bwMode="auto">
                <a:xfrm>
                  <a:off x="1274379" y="2359922"/>
                  <a:ext cx="1090090" cy="620498"/>
                </a:xfrm>
                <a:custGeom>
                  <a:avLst/>
                  <a:gdLst>
                    <a:gd name="T0" fmla="*/ 2147483647 w 699"/>
                    <a:gd name="T1" fmla="*/ 2147483647 h 371"/>
                    <a:gd name="T2" fmla="*/ 2147483647 w 699"/>
                    <a:gd name="T3" fmla="*/ 2147483647 h 371"/>
                    <a:gd name="T4" fmla="*/ 2147483647 w 699"/>
                    <a:gd name="T5" fmla="*/ 2147483647 h 371"/>
                    <a:gd name="T6" fmla="*/ 2147483647 w 699"/>
                    <a:gd name="T7" fmla="*/ 2147483647 h 371"/>
                    <a:gd name="T8" fmla="*/ 2147483647 w 699"/>
                    <a:gd name="T9" fmla="*/ 2147483647 h 371"/>
                    <a:gd name="T10" fmla="*/ 2147483647 w 699"/>
                    <a:gd name="T11" fmla="*/ 2147483647 h 371"/>
                    <a:gd name="T12" fmla="*/ 2147483647 w 699"/>
                    <a:gd name="T13" fmla="*/ 2147483647 h 371"/>
                    <a:gd name="T14" fmla="*/ 2147483647 w 699"/>
                    <a:gd name="T15" fmla="*/ 2147483647 h 371"/>
                    <a:gd name="T16" fmla="*/ 2147483647 w 699"/>
                    <a:gd name="T17" fmla="*/ 2147483647 h 371"/>
                    <a:gd name="T18" fmla="*/ 2147483647 w 699"/>
                    <a:gd name="T19" fmla="*/ 2147483647 h 371"/>
                    <a:gd name="T20" fmla="*/ 2147483647 w 699"/>
                    <a:gd name="T21" fmla="*/ 2147483647 h 371"/>
                    <a:gd name="T22" fmla="*/ 2147483647 w 699"/>
                    <a:gd name="T23" fmla="*/ 2147483647 h 371"/>
                    <a:gd name="T24" fmla="*/ 2147483647 w 699"/>
                    <a:gd name="T25" fmla="*/ 2147483647 h 371"/>
                    <a:gd name="T26" fmla="*/ 2147483647 w 699"/>
                    <a:gd name="T27" fmla="*/ 2147483647 h 371"/>
                    <a:gd name="T28" fmla="*/ 2147483647 w 699"/>
                    <a:gd name="T29" fmla="*/ 2147483647 h 371"/>
                    <a:gd name="T30" fmla="*/ 2147483647 w 699"/>
                    <a:gd name="T31" fmla="*/ 2147483647 h 371"/>
                    <a:gd name="T32" fmla="*/ 2147483647 w 699"/>
                    <a:gd name="T33" fmla="*/ 2147483647 h 371"/>
                    <a:gd name="T34" fmla="*/ 2147483647 w 699"/>
                    <a:gd name="T35" fmla="*/ 2147483647 h 371"/>
                    <a:gd name="T36" fmla="*/ 2147483647 w 699"/>
                    <a:gd name="T37" fmla="*/ 2147483647 h 371"/>
                    <a:gd name="T38" fmla="*/ 2147483647 w 699"/>
                    <a:gd name="T39" fmla="*/ 2147483647 h 371"/>
                    <a:gd name="T40" fmla="*/ 2147483647 w 699"/>
                    <a:gd name="T41" fmla="*/ 2147483647 h 371"/>
                    <a:gd name="T42" fmla="*/ 2147483647 w 699"/>
                    <a:gd name="T43" fmla="*/ 2147483647 h 371"/>
                    <a:gd name="T44" fmla="*/ 2147483647 w 699"/>
                    <a:gd name="T45" fmla="*/ 2147483647 h 371"/>
                    <a:gd name="T46" fmla="*/ 2147483647 w 699"/>
                    <a:gd name="T47" fmla="*/ 2147483647 h 371"/>
                    <a:gd name="T48" fmla="*/ 2147483647 w 699"/>
                    <a:gd name="T49" fmla="*/ 2147483647 h 371"/>
                    <a:gd name="T50" fmla="*/ 2147483647 w 699"/>
                    <a:gd name="T51" fmla="*/ 2147483647 h 371"/>
                    <a:gd name="T52" fmla="*/ 2147483647 w 699"/>
                    <a:gd name="T53" fmla="*/ 2147483647 h 371"/>
                    <a:gd name="T54" fmla="*/ 2147483647 w 699"/>
                    <a:gd name="T55" fmla="*/ 2147483647 h 371"/>
                    <a:gd name="T56" fmla="*/ 2147483647 w 699"/>
                    <a:gd name="T57" fmla="*/ 2147483647 h 371"/>
                    <a:gd name="T58" fmla="*/ 2147483647 w 699"/>
                    <a:gd name="T59" fmla="*/ 2147483647 h 371"/>
                    <a:gd name="T60" fmla="*/ 2147483647 w 699"/>
                    <a:gd name="T61" fmla="*/ 2147483647 h 371"/>
                    <a:gd name="T62" fmla="*/ 2147483647 w 699"/>
                    <a:gd name="T63" fmla="*/ 2147483647 h 371"/>
                    <a:gd name="T64" fmla="*/ 2147483647 w 699"/>
                    <a:gd name="T65" fmla="*/ 2147483647 h 371"/>
                    <a:gd name="T66" fmla="*/ 2147483647 w 699"/>
                    <a:gd name="T67" fmla="*/ 2147483647 h 371"/>
                    <a:gd name="T68" fmla="*/ 2147483647 w 699"/>
                    <a:gd name="T69" fmla="*/ 2147483647 h 371"/>
                    <a:gd name="T70" fmla="*/ 2147483647 w 699"/>
                    <a:gd name="T71" fmla="*/ 2147483647 h 371"/>
                    <a:gd name="T72" fmla="*/ 2147483647 w 699"/>
                    <a:gd name="T73" fmla="*/ 2147483647 h 371"/>
                    <a:gd name="T74" fmla="*/ 2147483647 w 699"/>
                    <a:gd name="T75" fmla="*/ 2147483647 h 371"/>
                    <a:gd name="T76" fmla="*/ 2147483647 w 699"/>
                    <a:gd name="T77" fmla="*/ 2147483647 h 371"/>
                    <a:gd name="T78" fmla="*/ 2147483647 w 699"/>
                    <a:gd name="T79" fmla="*/ 2147483647 h 371"/>
                    <a:gd name="T80" fmla="*/ 2147483647 w 699"/>
                    <a:gd name="T81" fmla="*/ 2147483647 h 371"/>
                    <a:gd name="T82" fmla="*/ 2147483647 w 699"/>
                    <a:gd name="T83" fmla="*/ 2147483647 h 371"/>
                    <a:gd name="T84" fmla="*/ 2147483647 w 699"/>
                    <a:gd name="T85" fmla="*/ 2147483647 h 371"/>
                    <a:gd name="T86" fmla="*/ 2147483647 w 699"/>
                    <a:gd name="T87" fmla="*/ 2147483647 h 371"/>
                    <a:gd name="T88" fmla="*/ 2147483647 w 699"/>
                    <a:gd name="T89" fmla="*/ 2147483647 h 371"/>
                    <a:gd name="T90" fmla="*/ 2147483647 w 699"/>
                    <a:gd name="T91" fmla="*/ 2147483647 h 371"/>
                    <a:gd name="T92" fmla="*/ 2147483647 w 699"/>
                    <a:gd name="T93" fmla="*/ 2147483647 h 371"/>
                    <a:gd name="T94" fmla="*/ 2147483647 w 699"/>
                    <a:gd name="T95" fmla="*/ 2147483647 h 371"/>
                    <a:gd name="T96" fmla="*/ 2147483647 w 699"/>
                    <a:gd name="T97" fmla="*/ 2147483647 h 371"/>
                    <a:gd name="T98" fmla="*/ 2147483647 w 699"/>
                    <a:gd name="T99" fmla="*/ 2147483647 h 371"/>
                    <a:gd name="T100" fmla="*/ 2147483647 w 699"/>
                    <a:gd name="T101" fmla="*/ 2147483647 h 371"/>
                    <a:gd name="T102" fmla="*/ 2147483647 w 699"/>
                    <a:gd name="T103" fmla="*/ 2147483647 h 371"/>
                    <a:gd name="T104" fmla="*/ 2147483647 w 699"/>
                    <a:gd name="T105" fmla="*/ 2147483647 h 371"/>
                    <a:gd name="T106" fmla="*/ 2147483647 w 699"/>
                    <a:gd name="T107" fmla="*/ 2147483647 h 371"/>
                    <a:gd name="T108" fmla="*/ 2147483647 w 699"/>
                    <a:gd name="T109" fmla="*/ 2147483647 h 371"/>
                    <a:gd name="T110" fmla="*/ 2147483647 w 699"/>
                    <a:gd name="T111" fmla="*/ 2147483647 h 371"/>
                    <a:gd name="T112" fmla="*/ 2147483647 w 699"/>
                    <a:gd name="T113" fmla="*/ 2147483647 h 371"/>
                    <a:gd name="T114" fmla="*/ 2147483647 w 699"/>
                    <a:gd name="T115" fmla="*/ 2147483647 h 371"/>
                    <a:gd name="T116" fmla="*/ 2147483647 w 699"/>
                    <a:gd name="T117" fmla="*/ 2147483647 h 371"/>
                    <a:gd name="T118" fmla="*/ 2147483647 w 699"/>
                    <a:gd name="T119" fmla="*/ 2147483647 h 371"/>
                    <a:gd name="T120" fmla="*/ 2147483647 w 699"/>
                    <a:gd name="T121" fmla="*/ 2147483647 h 37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699"/>
                    <a:gd name="T184" fmla="*/ 0 h 371"/>
                    <a:gd name="T185" fmla="*/ 699 w 699"/>
                    <a:gd name="T186" fmla="*/ 371 h 37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699" h="371">
                      <a:moveTo>
                        <a:pt x="33" y="87"/>
                      </a:moveTo>
                      <a:lnTo>
                        <a:pt x="33" y="85"/>
                      </a:lnTo>
                      <a:lnTo>
                        <a:pt x="33" y="84"/>
                      </a:lnTo>
                      <a:lnTo>
                        <a:pt x="33" y="82"/>
                      </a:lnTo>
                      <a:lnTo>
                        <a:pt x="32" y="82"/>
                      </a:lnTo>
                      <a:lnTo>
                        <a:pt x="30" y="82"/>
                      </a:lnTo>
                      <a:lnTo>
                        <a:pt x="28" y="82"/>
                      </a:lnTo>
                      <a:lnTo>
                        <a:pt x="28" y="81"/>
                      </a:lnTo>
                      <a:lnTo>
                        <a:pt x="28" y="79"/>
                      </a:lnTo>
                      <a:lnTo>
                        <a:pt x="27" y="77"/>
                      </a:lnTo>
                      <a:lnTo>
                        <a:pt x="27" y="79"/>
                      </a:lnTo>
                      <a:lnTo>
                        <a:pt x="25" y="77"/>
                      </a:lnTo>
                      <a:lnTo>
                        <a:pt x="25" y="79"/>
                      </a:lnTo>
                      <a:lnTo>
                        <a:pt x="23" y="79"/>
                      </a:lnTo>
                      <a:lnTo>
                        <a:pt x="23" y="77"/>
                      </a:lnTo>
                      <a:lnTo>
                        <a:pt x="21" y="77"/>
                      </a:lnTo>
                      <a:lnTo>
                        <a:pt x="23" y="76"/>
                      </a:lnTo>
                      <a:lnTo>
                        <a:pt x="21" y="74"/>
                      </a:lnTo>
                      <a:lnTo>
                        <a:pt x="20" y="72"/>
                      </a:lnTo>
                      <a:lnTo>
                        <a:pt x="21" y="72"/>
                      </a:lnTo>
                      <a:lnTo>
                        <a:pt x="21" y="71"/>
                      </a:lnTo>
                      <a:lnTo>
                        <a:pt x="20" y="69"/>
                      </a:lnTo>
                      <a:lnTo>
                        <a:pt x="21" y="69"/>
                      </a:lnTo>
                      <a:lnTo>
                        <a:pt x="23" y="71"/>
                      </a:lnTo>
                      <a:lnTo>
                        <a:pt x="25" y="71"/>
                      </a:lnTo>
                      <a:lnTo>
                        <a:pt x="27" y="71"/>
                      </a:lnTo>
                      <a:lnTo>
                        <a:pt x="27" y="69"/>
                      </a:lnTo>
                      <a:lnTo>
                        <a:pt x="28" y="69"/>
                      </a:lnTo>
                      <a:lnTo>
                        <a:pt x="28" y="67"/>
                      </a:lnTo>
                      <a:lnTo>
                        <a:pt x="28" y="66"/>
                      </a:lnTo>
                      <a:lnTo>
                        <a:pt x="28" y="64"/>
                      </a:lnTo>
                      <a:lnTo>
                        <a:pt x="28" y="62"/>
                      </a:lnTo>
                      <a:lnTo>
                        <a:pt x="28" y="61"/>
                      </a:lnTo>
                      <a:lnTo>
                        <a:pt x="27" y="59"/>
                      </a:lnTo>
                      <a:lnTo>
                        <a:pt x="25" y="59"/>
                      </a:lnTo>
                      <a:lnTo>
                        <a:pt x="23" y="58"/>
                      </a:lnTo>
                      <a:lnTo>
                        <a:pt x="21" y="58"/>
                      </a:lnTo>
                      <a:lnTo>
                        <a:pt x="18" y="56"/>
                      </a:lnTo>
                      <a:lnTo>
                        <a:pt x="16" y="56"/>
                      </a:lnTo>
                      <a:lnTo>
                        <a:pt x="15" y="56"/>
                      </a:lnTo>
                      <a:lnTo>
                        <a:pt x="15" y="54"/>
                      </a:lnTo>
                      <a:lnTo>
                        <a:pt x="13" y="53"/>
                      </a:lnTo>
                      <a:lnTo>
                        <a:pt x="13" y="51"/>
                      </a:lnTo>
                      <a:lnTo>
                        <a:pt x="11" y="53"/>
                      </a:lnTo>
                      <a:lnTo>
                        <a:pt x="11" y="51"/>
                      </a:lnTo>
                      <a:lnTo>
                        <a:pt x="10" y="51"/>
                      </a:lnTo>
                      <a:lnTo>
                        <a:pt x="10" y="49"/>
                      </a:lnTo>
                      <a:lnTo>
                        <a:pt x="10" y="48"/>
                      </a:lnTo>
                      <a:lnTo>
                        <a:pt x="8" y="48"/>
                      </a:lnTo>
                      <a:lnTo>
                        <a:pt x="6" y="48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3" y="43"/>
                      </a:lnTo>
                      <a:lnTo>
                        <a:pt x="1" y="41"/>
                      </a:lnTo>
                      <a:lnTo>
                        <a:pt x="0" y="41"/>
                      </a:lnTo>
                      <a:lnTo>
                        <a:pt x="0" y="39"/>
                      </a:lnTo>
                      <a:lnTo>
                        <a:pt x="0" y="38"/>
                      </a:lnTo>
                      <a:lnTo>
                        <a:pt x="1" y="38"/>
                      </a:lnTo>
                      <a:lnTo>
                        <a:pt x="3" y="38"/>
                      </a:lnTo>
                      <a:lnTo>
                        <a:pt x="5" y="36"/>
                      </a:lnTo>
                      <a:lnTo>
                        <a:pt x="5" y="35"/>
                      </a:lnTo>
                      <a:lnTo>
                        <a:pt x="5" y="33"/>
                      </a:lnTo>
                      <a:lnTo>
                        <a:pt x="6" y="33"/>
                      </a:lnTo>
                      <a:lnTo>
                        <a:pt x="6" y="31"/>
                      </a:lnTo>
                      <a:lnTo>
                        <a:pt x="5" y="31"/>
                      </a:lnTo>
                      <a:lnTo>
                        <a:pt x="5" y="28"/>
                      </a:lnTo>
                      <a:lnTo>
                        <a:pt x="3" y="26"/>
                      </a:lnTo>
                      <a:lnTo>
                        <a:pt x="3" y="25"/>
                      </a:lnTo>
                      <a:lnTo>
                        <a:pt x="1" y="23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3" y="23"/>
                      </a:lnTo>
                      <a:lnTo>
                        <a:pt x="5" y="23"/>
                      </a:lnTo>
                      <a:lnTo>
                        <a:pt x="5" y="21"/>
                      </a:lnTo>
                      <a:lnTo>
                        <a:pt x="6" y="23"/>
                      </a:lnTo>
                      <a:lnTo>
                        <a:pt x="6" y="25"/>
                      </a:lnTo>
                      <a:lnTo>
                        <a:pt x="8" y="25"/>
                      </a:lnTo>
                      <a:lnTo>
                        <a:pt x="10" y="25"/>
                      </a:lnTo>
                      <a:lnTo>
                        <a:pt x="11" y="25"/>
                      </a:lnTo>
                      <a:lnTo>
                        <a:pt x="11" y="23"/>
                      </a:lnTo>
                      <a:lnTo>
                        <a:pt x="11" y="21"/>
                      </a:lnTo>
                      <a:lnTo>
                        <a:pt x="13" y="21"/>
                      </a:lnTo>
                      <a:lnTo>
                        <a:pt x="15" y="20"/>
                      </a:lnTo>
                      <a:lnTo>
                        <a:pt x="16" y="20"/>
                      </a:lnTo>
                      <a:lnTo>
                        <a:pt x="18" y="21"/>
                      </a:lnTo>
                      <a:lnTo>
                        <a:pt x="20" y="20"/>
                      </a:lnTo>
                      <a:lnTo>
                        <a:pt x="21" y="20"/>
                      </a:lnTo>
                      <a:lnTo>
                        <a:pt x="21" y="21"/>
                      </a:lnTo>
                      <a:lnTo>
                        <a:pt x="23" y="21"/>
                      </a:lnTo>
                      <a:lnTo>
                        <a:pt x="25" y="20"/>
                      </a:lnTo>
                      <a:lnTo>
                        <a:pt x="27" y="18"/>
                      </a:lnTo>
                      <a:lnTo>
                        <a:pt x="27" y="16"/>
                      </a:lnTo>
                      <a:lnTo>
                        <a:pt x="27" y="15"/>
                      </a:lnTo>
                      <a:lnTo>
                        <a:pt x="25" y="15"/>
                      </a:lnTo>
                      <a:lnTo>
                        <a:pt x="25" y="13"/>
                      </a:lnTo>
                      <a:lnTo>
                        <a:pt x="25" y="12"/>
                      </a:lnTo>
                      <a:lnTo>
                        <a:pt x="25" y="10"/>
                      </a:lnTo>
                      <a:lnTo>
                        <a:pt x="23" y="10"/>
                      </a:lnTo>
                      <a:lnTo>
                        <a:pt x="23" y="8"/>
                      </a:lnTo>
                      <a:lnTo>
                        <a:pt x="21" y="8"/>
                      </a:lnTo>
                      <a:lnTo>
                        <a:pt x="21" y="7"/>
                      </a:lnTo>
                      <a:lnTo>
                        <a:pt x="21" y="5"/>
                      </a:lnTo>
                      <a:lnTo>
                        <a:pt x="20" y="5"/>
                      </a:lnTo>
                      <a:lnTo>
                        <a:pt x="20" y="3"/>
                      </a:lnTo>
                      <a:lnTo>
                        <a:pt x="18" y="3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23" y="3"/>
                      </a:lnTo>
                      <a:lnTo>
                        <a:pt x="106" y="38"/>
                      </a:lnTo>
                      <a:lnTo>
                        <a:pt x="126" y="48"/>
                      </a:lnTo>
                      <a:lnTo>
                        <a:pt x="172" y="58"/>
                      </a:lnTo>
                      <a:lnTo>
                        <a:pt x="189" y="61"/>
                      </a:lnTo>
                      <a:lnTo>
                        <a:pt x="234" y="71"/>
                      </a:lnTo>
                      <a:lnTo>
                        <a:pt x="236" y="72"/>
                      </a:lnTo>
                      <a:lnTo>
                        <a:pt x="260" y="77"/>
                      </a:lnTo>
                      <a:lnTo>
                        <a:pt x="280" y="82"/>
                      </a:lnTo>
                      <a:lnTo>
                        <a:pt x="324" y="90"/>
                      </a:lnTo>
                      <a:lnTo>
                        <a:pt x="331" y="92"/>
                      </a:lnTo>
                      <a:lnTo>
                        <a:pt x="342" y="95"/>
                      </a:lnTo>
                      <a:lnTo>
                        <a:pt x="400" y="125"/>
                      </a:lnTo>
                      <a:lnTo>
                        <a:pt x="420" y="135"/>
                      </a:lnTo>
                      <a:lnTo>
                        <a:pt x="432" y="141"/>
                      </a:lnTo>
                      <a:lnTo>
                        <a:pt x="472" y="163"/>
                      </a:lnTo>
                      <a:lnTo>
                        <a:pt x="498" y="174"/>
                      </a:lnTo>
                      <a:lnTo>
                        <a:pt x="550" y="195"/>
                      </a:lnTo>
                      <a:lnTo>
                        <a:pt x="574" y="205"/>
                      </a:lnTo>
                      <a:lnTo>
                        <a:pt x="631" y="228"/>
                      </a:lnTo>
                      <a:lnTo>
                        <a:pt x="650" y="237"/>
                      </a:lnTo>
                      <a:lnTo>
                        <a:pt x="651" y="237"/>
                      </a:lnTo>
                      <a:lnTo>
                        <a:pt x="680" y="250"/>
                      </a:lnTo>
                      <a:lnTo>
                        <a:pt x="699" y="256"/>
                      </a:lnTo>
                      <a:lnTo>
                        <a:pt x="697" y="256"/>
                      </a:lnTo>
                      <a:lnTo>
                        <a:pt x="697" y="258"/>
                      </a:lnTo>
                      <a:lnTo>
                        <a:pt x="697" y="260"/>
                      </a:lnTo>
                      <a:lnTo>
                        <a:pt x="697" y="261"/>
                      </a:lnTo>
                      <a:lnTo>
                        <a:pt x="697" y="260"/>
                      </a:lnTo>
                      <a:lnTo>
                        <a:pt x="697" y="261"/>
                      </a:lnTo>
                      <a:lnTo>
                        <a:pt x="695" y="261"/>
                      </a:lnTo>
                      <a:lnTo>
                        <a:pt x="695" y="260"/>
                      </a:lnTo>
                      <a:lnTo>
                        <a:pt x="695" y="261"/>
                      </a:lnTo>
                      <a:lnTo>
                        <a:pt x="695" y="260"/>
                      </a:lnTo>
                      <a:lnTo>
                        <a:pt x="694" y="261"/>
                      </a:lnTo>
                      <a:lnTo>
                        <a:pt x="694" y="263"/>
                      </a:lnTo>
                      <a:lnTo>
                        <a:pt x="692" y="263"/>
                      </a:lnTo>
                      <a:lnTo>
                        <a:pt x="694" y="263"/>
                      </a:lnTo>
                      <a:lnTo>
                        <a:pt x="692" y="263"/>
                      </a:lnTo>
                      <a:lnTo>
                        <a:pt x="690" y="263"/>
                      </a:lnTo>
                      <a:lnTo>
                        <a:pt x="692" y="263"/>
                      </a:lnTo>
                      <a:lnTo>
                        <a:pt x="690" y="264"/>
                      </a:lnTo>
                      <a:lnTo>
                        <a:pt x="689" y="264"/>
                      </a:lnTo>
                      <a:lnTo>
                        <a:pt x="687" y="264"/>
                      </a:lnTo>
                      <a:lnTo>
                        <a:pt x="687" y="266"/>
                      </a:lnTo>
                      <a:lnTo>
                        <a:pt x="685" y="266"/>
                      </a:lnTo>
                      <a:lnTo>
                        <a:pt x="684" y="268"/>
                      </a:lnTo>
                      <a:lnTo>
                        <a:pt x="682" y="268"/>
                      </a:lnTo>
                      <a:lnTo>
                        <a:pt x="682" y="269"/>
                      </a:lnTo>
                      <a:lnTo>
                        <a:pt x="680" y="269"/>
                      </a:lnTo>
                      <a:lnTo>
                        <a:pt x="680" y="271"/>
                      </a:lnTo>
                      <a:lnTo>
                        <a:pt x="678" y="271"/>
                      </a:lnTo>
                      <a:lnTo>
                        <a:pt x="678" y="273"/>
                      </a:lnTo>
                      <a:lnTo>
                        <a:pt x="677" y="273"/>
                      </a:lnTo>
                      <a:lnTo>
                        <a:pt x="677" y="274"/>
                      </a:lnTo>
                      <a:lnTo>
                        <a:pt x="675" y="274"/>
                      </a:lnTo>
                      <a:lnTo>
                        <a:pt x="673" y="274"/>
                      </a:lnTo>
                      <a:lnTo>
                        <a:pt x="675" y="274"/>
                      </a:lnTo>
                      <a:lnTo>
                        <a:pt x="673" y="274"/>
                      </a:lnTo>
                      <a:lnTo>
                        <a:pt x="675" y="274"/>
                      </a:lnTo>
                      <a:lnTo>
                        <a:pt x="673" y="276"/>
                      </a:lnTo>
                      <a:lnTo>
                        <a:pt x="673" y="274"/>
                      </a:lnTo>
                      <a:lnTo>
                        <a:pt x="673" y="276"/>
                      </a:lnTo>
                      <a:lnTo>
                        <a:pt x="672" y="276"/>
                      </a:lnTo>
                      <a:lnTo>
                        <a:pt x="672" y="278"/>
                      </a:lnTo>
                      <a:lnTo>
                        <a:pt x="670" y="278"/>
                      </a:lnTo>
                      <a:lnTo>
                        <a:pt x="670" y="279"/>
                      </a:lnTo>
                      <a:lnTo>
                        <a:pt x="668" y="279"/>
                      </a:lnTo>
                      <a:lnTo>
                        <a:pt x="668" y="281"/>
                      </a:lnTo>
                      <a:lnTo>
                        <a:pt x="667" y="281"/>
                      </a:lnTo>
                      <a:lnTo>
                        <a:pt x="667" y="283"/>
                      </a:lnTo>
                      <a:lnTo>
                        <a:pt x="667" y="284"/>
                      </a:lnTo>
                      <a:lnTo>
                        <a:pt x="667" y="283"/>
                      </a:lnTo>
                      <a:lnTo>
                        <a:pt x="665" y="283"/>
                      </a:lnTo>
                      <a:lnTo>
                        <a:pt x="665" y="284"/>
                      </a:lnTo>
                      <a:lnTo>
                        <a:pt x="665" y="283"/>
                      </a:lnTo>
                      <a:lnTo>
                        <a:pt x="665" y="284"/>
                      </a:lnTo>
                      <a:lnTo>
                        <a:pt x="663" y="284"/>
                      </a:lnTo>
                      <a:lnTo>
                        <a:pt x="665" y="284"/>
                      </a:lnTo>
                      <a:lnTo>
                        <a:pt x="663" y="284"/>
                      </a:lnTo>
                      <a:lnTo>
                        <a:pt x="663" y="286"/>
                      </a:lnTo>
                      <a:lnTo>
                        <a:pt x="662" y="286"/>
                      </a:lnTo>
                      <a:lnTo>
                        <a:pt x="663" y="286"/>
                      </a:lnTo>
                      <a:lnTo>
                        <a:pt x="663" y="287"/>
                      </a:lnTo>
                      <a:lnTo>
                        <a:pt x="662" y="287"/>
                      </a:lnTo>
                      <a:lnTo>
                        <a:pt x="662" y="289"/>
                      </a:lnTo>
                      <a:lnTo>
                        <a:pt x="660" y="289"/>
                      </a:lnTo>
                      <a:lnTo>
                        <a:pt x="658" y="291"/>
                      </a:lnTo>
                      <a:lnTo>
                        <a:pt x="657" y="291"/>
                      </a:lnTo>
                      <a:lnTo>
                        <a:pt x="658" y="291"/>
                      </a:lnTo>
                      <a:lnTo>
                        <a:pt x="657" y="292"/>
                      </a:lnTo>
                      <a:lnTo>
                        <a:pt x="655" y="292"/>
                      </a:lnTo>
                      <a:lnTo>
                        <a:pt x="653" y="292"/>
                      </a:lnTo>
                      <a:lnTo>
                        <a:pt x="651" y="292"/>
                      </a:lnTo>
                      <a:lnTo>
                        <a:pt x="650" y="292"/>
                      </a:lnTo>
                      <a:lnTo>
                        <a:pt x="650" y="294"/>
                      </a:lnTo>
                      <a:lnTo>
                        <a:pt x="650" y="296"/>
                      </a:lnTo>
                      <a:lnTo>
                        <a:pt x="648" y="296"/>
                      </a:lnTo>
                      <a:lnTo>
                        <a:pt x="646" y="296"/>
                      </a:lnTo>
                      <a:lnTo>
                        <a:pt x="646" y="297"/>
                      </a:lnTo>
                      <a:lnTo>
                        <a:pt x="645" y="297"/>
                      </a:lnTo>
                      <a:lnTo>
                        <a:pt x="643" y="296"/>
                      </a:lnTo>
                      <a:lnTo>
                        <a:pt x="641" y="296"/>
                      </a:lnTo>
                      <a:lnTo>
                        <a:pt x="640" y="296"/>
                      </a:lnTo>
                      <a:lnTo>
                        <a:pt x="638" y="296"/>
                      </a:lnTo>
                      <a:lnTo>
                        <a:pt x="638" y="297"/>
                      </a:lnTo>
                      <a:lnTo>
                        <a:pt x="636" y="297"/>
                      </a:lnTo>
                      <a:lnTo>
                        <a:pt x="636" y="296"/>
                      </a:lnTo>
                      <a:lnTo>
                        <a:pt x="635" y="296"/>
                      </a:lnTo>
                      <a:lnTo>
                        <a:pt x="633" y="296"/>
                      </a:lnTo>
                      <a:lnTo>
                        <a:pt x="631" y="296"/>
                      </a:lnTo>
                      <a:lnTo>
                        <a:pt x="631" y="297"/>
                      </a:lnTo>
                      <a:lnTo>
                        <a:pt x="633" y="297"/>
                      </a:lnTo>
                      <a:lnTo>
                        <a:pt x="633" y="299"/>
                      </a:lnTo>
                      <a:lnTo>
                        <a:pt x="631" y="299"/>
                      </a:lnTo>
                      <a:lnTo>
                        <a:pt x="633" y="299"/>
                      </a:lnTo>
                      <a:lnTo>
                        <a:pt x="633" y="301"/>
                      </a:lnTo>
                      <a:lnTo>
                        <a:pt x="631" y="301"/>
                      </a:lnTo>
                      <a:lnTo>
                        <a:pt x="631" y="302"/>
                      </a:lnTo>
                      <a:lnTo>
                        <a:pt x="631" y="301"/>
                      </a:lnTo>
                      <a:lnTo>
                        <a:pt x="630" y="301"/>
                      </a:lnTo>
                      <a:lnTo>
                        <a:pt x="628" y="302"/>
                      </a:lnTo>
                      <a:lnTo>
                        <a:pt x="630" y="302"/>
                      </a:lnTo>
                      <a:lnTo>
                        <a:pt x="628" y="302"/>
                      </a:lnTo>
                      <a:lnTo>
                        <a:pt x="628" y="301"/>
                      </a:lnTo>
                      <a:lnTo>
                        <a:pt x="626" y="301"/>
                      </a:lnTo>
                      <a:lnTo>
                        <a:pt x="624" y="301"/>
                      </a:lnTo>
                      <a:lnTo>
                        <a:pt x="623" y="301"/>
                      </a:lnTo>
                      <a:lnTo>
                        <a:pt x="623" y="302"/>
                      </a:lnTo>
                      <a:lnTo>
                        <a:pt x="623" y="304"/>
                      </a:lnTo>
                      <a:lnTo>
                        <a:pt x="623" y="306"/>
                      </a:lnTo>
                      <a:lnTo>
                        <a:pt x="621" y="306"/>
                      </a:lnTo>
                      <a:lnTo>
                        <a:pt x="621" y="307"/>
                      </a:lnTo>
                      <a:lnTo>
                        <a:pt x="619" y="309"/>
                      </a:lnTo>
                      <a:lnTo>
                        <a:pt x="618" y="309"/>
                      </a:lnTo>
                      <a:lnTo>
                        <a:pt x="616" y="310"/>
                      </a:lnTo>
                      <a:lnTo>
                        <a:pt x="614" y="310"/>
                      </a:lnTo>
                      <a:lnTo>
                        <a:pt x="614" y="309"/>
                      </a:lnTo>
                      <a:lnTo>
                        <a:pt x="614" y="310"/>
                      </a:lnTo>
                      <a:lnTo>
                        <a:pt x="613" y="310"/>
                      </a:lnTo>
                      <a:lnTo>
                        <a:pt x="613" y="312"/>
                      </a:lnTo>
                      <a:lnTo>
                        <a:pt x="611" y="310"/>
                      </a:lnTo>
                      <a:lnTo>
                        <a:pt x="611" y="312"/>
                      </a:lnTo>
                      <a:lnTo>
                        <a:pt x="611" y="310"/>
                      </a:lnTo>
                      <a:lnTo>
                        <a:pt x="609" y="312"/>
                      </a:lnTo>
                      <a:lnTo>
                        <a:pt x="608" y="312"/>
                      </a:lnTo>
                      <a:lnTo>
                        <a:pt x="606" y="314"/>
                      </a:lnTo>
                      <a:lnTo>
                        <a:pt x="606" y="315"/>
                      </a:lnTo>
                      <a:lnTo>
                        <a:pt x="604" y="315"/>
                      </a:lnTo>
                      <a:lnTo>
                        <a:pt x="604" y="317"/>
                      </a:lnTo>
                      <a:lnTo>
                        <a:pt x="604" y="319"/>
                      </a:lnTo>
                      <a:lnTo>
                        <a:pt x="602" y="319"/>
                      </a:lnTo>
                      <a:lnTo>
                        <a:pt x="602" y="320"/>
                      </a:lnTo>
                      <a:lnTo>
                        <a:pt x="601" y="320"/>
                      </a:lnTo>
                      <a:lnTo>
                        <a:pt x="601" y="322"/>
                      </a:lnTo>
                      <a:lnTo>
                        <a:pt x="599" y="324"/>
                      </a:lnTo>
                      <a:lnTo>
                        <a:pt x="599" y="322"/>
                      </a:lnTo>
                      <a:lnTo>
                        <a:pt x="597" y="322"/>
                      </a:lnTo>
                      <a:lnTo>
                        <a:pt x="596" y="332"/>
                      </a:lnTo>
                      <a:lnTo>
                        <a:pt x="594" y="332"/>
                      </a:lnTo>
                      <a:lnTo>
                        <a:pt x="592" y="332"/>
                      </a:lnTo>
                      <a:lnTo>
                        <a:pt x="592" y="330"/>
                      </a:lnTo>
                      <a:lnTo>
                        <a:pt x="591" y="330"/>
                      </a:lnTo>
                      <a:lnTo>
                        <a:pt x="591" y="328"/>
                      </a:lnTo>
                      <a:lnTo>
                        <a:pt x="589" y="330"/>
                      </a:lnTo>
                      <a:lnTo>
                        <a:pt x="589" y="328"/>
                      </a:lnTo>
                      <a:lnTo>
                        <a:pt x="587" y="328"/>
                      </a:lnTo>
                      <a:lnTo>
                        <a:pt x="586" y="328"/>
                      </a:lnTo>
                      <a:lnTo>
                        <a:pt x="586" y="327"/>
                      </a:lnTo>
                      <a:lnTo>
                        <a:pt x="584" y="327"/>
                      </a:lnTo>
                      <a:lnTo>
                        <a:pt x="582" y="325"/>
                      </a:lnTo>
                      <a:lnTo>
                        <a:pt x="582" y="327"/>
                      </a:lnTo>
                      <a:lnTo>
                        <a:pt x="582" y="325"/>
                      </a:lnTo>
                      <a:lnTo>
                        <a:pt x="581" y="325"/>
                      </a:lnTo>
                      <a:lnTo>
                        <a:pt x="579" y="325"/>
                      </a:lnTo>
                      <a:lnTo>
                        <a:pt x="577" y="325"/>
                      </a:lnTo>
                      <a:lnTo>
                        <a:pt x="575" y="325"/>
                      </a:lnTo>
                      <a:lnTo>
                        <a:pt x="575" y="327"/>
                      </a:lnTo>
                      <a:lnTo>
                        <a:pt x="574" y="327"/>
                      </a:lnTo>
                      <a:lnTo>
                        <a:pt x="572" y="327"/>
                      </a:lnTo>
                      <a:lnTo>
                        <a:pt x="572" y="325"/>
                      </a:lnTo>
                      <a:lnTo>
                        <a:pt x="572" y="327"/>
                      </a:lnTo>
                      <a:lnTo>
                        <a:pt x="572" y="325"/>
                      </a:lnTo>
                      <a:lnTo>
                        <a:pt x="570" y="325"/>
                      </a:lnTo>
                      <a:lnTo>
                        <a:pt x="570" y="327"/>
                      </a:lnTo>
                      <a:lnTo>
                        <a:pt x="569" y="327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5" y="325"/>
                      </a:lnTo>
                      <a:lnTo>
                        <a:pt x="565" y="327"/>
                      </a:lnTo>
                      <a:lnTo>
                        <a:pt x="565" y="325"/>
                      </a:lnTo>
                      <a:lnTo>
                        <a:pt x="565" y="327"/>
                      </a:lnTo>
                      <a:lnTo>
                        <a:pt x="564" y="327"/>
                      </a:lnTo>
                      <a:lnTo>
                        <a:pt x="565" y="327"/>
                      </a:lnTo>
                      <a:lnTo>
                        <a:pt x="564" y="327"/>
                      </a:lnTo>
                      <a:lnTo>
                        <a:pt x="564" y="328"/>
                      </a:lnTo>
                      <a:lnTo>
                        <a:pt x="562" y="328"/>
                      </a:lnTo>
                      <a:lnTo>
                        <a:pt x="560" y="328"/>
                      </a:lnTo>
                      <a:lnTo>
                        <a:pt x="560" y="330"/>
                      </a:lnTo>
                      <a:lnTo>
                        <a:pt x="559" y="330"/>
                      </a:lnTo>
                      <a:lnTo>
                        <a:pt x="559" y="332"/>
                      </a:lnTo>
                      <a:lnTo>
                        <a:pt x="557" y="332"/>
                      </a:lnTo>
                      <a:lnTo>
                        <a:pt x="559" y="332"/>
                      </a:lnTo>
                      <a:lnTo>
                        <a:pt x="557" y="332"/>
                      </a:lnTo>
                      <a:lnTo>
                        <a:pt x="557" y="333"/>
                      </a:lnTo>
                      <a:lnTo>
                        <a:pt x="557" y="335"/>
                      </a:lnTo>
                      <a:lnTo>
                        <a:pt x="559" y="335"/>
                      </a:lnTo>
                      <a:lnTo>
                        <a:pt x="557" y="335"/>
                      </a:lnTo>
                      <a:lnTo>
                        <a:pt x="557" y="337"/>
                      </a:lnTo>
                      <a:lnTo>
                        <a:pt x="557" y="338"/>
                      </a:lnTo>
                      <a:lnTo>
                        <a:pt x="557" y="337"/>
                      </a:lnTo>
                      <a:lnTo>
                        <a:pt x="557" y="338"/>
                      </a:lnTo>
                      <a:lnTo>
                        <a:pt x="555" y="338"/>
                      </a:lnTo>
                      <a:lnTo>
                        <a:pt x="555" y="340"/>
                      </a:lnTo>
                      <a:lnTo>
                        <a:pt x="554" y="340"/>
                      </a:lnTo>
                      <a:lnTo>
                        <a:pt x="554" y="342"/>
                      </a:lnTo>
                      <a:lnTo>
                        <a:pt x="552" y="342"/>
                      </a:lnTo>
                      <a:lnTo>
                        <a:pt x="552" y="343"/>
                      </a:lnTo>
                      <a:lnTo>
                        <a:pt x="550" y="343"/>
                      </a:lnTo>
                      <a:lnTo>
                        <a:pt x="550" y="345"/>
                      </a:lnTo>
                      <a:lnTo>
                        <a:pt x="548" y="345"/>
                      </a:lnTo>
                      <a:lnTo>
                        <a:pt x="548" y="347"/>
                      </a:lnTo>
                      <a:lnTo>
                        <a:pt x="548" y="348"/>
                      </a:lnTo>
                      <a:lnTo>
                        <a:pt x="548" y="350"/>
                      </a:lnTo>
                      <a:lnTo>
                        <a:pt x="547" y="350"/>
                      </a:lnTo>
                      <a:lnTo>
                        <a:pt x="545" y="351"/>
                      </a:lnTo>
                      <a:lnTo>
                        <a:pt x="545" y="353"/>
                      </a:lnTo>
                      <a:lnTo>
                        <a:pt x="545" y="355"/>
                      </a:lnTo>
                      <a:lnTo>
                        <a:pt x="543" y="355"/>
                      </a:lnTo>
                      <a:lnTo>
                        <a:pt x="543" y="356"/>
                      </a:lnTo>
                      <a:lnTo>
                        <a:pt x="542" y="356"/>
                      </a:lnTo>
                      <a:lnTo>
                        <a:pt x="542" y="358"/>
                      </a:lnTo>
                      <a:lnTo>
                        <a:pt x="540" y="358"/>
                      </a:lnTo>
                      <a:lnTo>
                        <a:pt x="540" y="356"/>
                      </a:lnTo>
                      <a:lnTo>
                        <a:pt x="540" y="358"/>
                      </a:lnTo>
                      <a:lnTo>
                        <a:pt x="538" y="358"/>
                      </a:lnTo>
                      <a:lnTo>
                        <a:pt x="537" y="358"/>
                      </a:lnTo>
                      <a:lnTo>
                        <a:pt x="537" y="360"/>
                      </a:lnTo>
                      <a:lnTo>
                        <a:pt x="535" y="360"/>
                      </a:lnTo>
                      <a:lnTo>
                        <a:pt x="535" y="358"/>
                      </a:lnTo>
                      <a:lnTo>
                        <a:pt x="533" y="358"/>
                      </a:lnTo>
                      <a:lnTo>
                        <a:pt x="532" y="360"/>
                      </a:lnTo>
                      <a:lnTo>
                        <a:pt x="530" y="360"/>
                      </a:lnTo>
                      <a:lnTo>
                        <a:pt x="530" y="361"/>
                      </a:lnTo>
                      <a:lnTo>
                        <a:pt x="530" y="363"/>
                      </a:lnTo>
                      <a:lnTo>
                        <a:pt x="528" y="363"/>
                      </a:lnTo>
                      <a:lnTo>
                        <a:pt x="528" y="361"/>
                      </a:lnTo>
                      <a:lnTo>
                        <a:pt x="526" y="361"/>
                      </a:lnTo>
                      <a:lnTo>
                        <a:pt x="525" y="361"/>
                      </a:lnTo>
                      <a:lnTo>
                        <a:pt x="525" y="363"/>
                      </a:lnTo>
                      <a:lnTo>
                        <a:pt x="523" y="363"/>
                      </a:lnTo>
                      <a:lnTo>
                        <a:pt x="521" y="363"/>
                      </a:lnTo>
                      <a:lnTo>
                        <a:pt x="520" y="365"/>
                      </a:lnTo>
                      <a:lnTo>
                        <a:pt x="518" y="366"/>
                      </a:lnTo>
                      <a:lnTo>
                        <a:pt x="516" y="366"/>
                      </a:lnTo>
                      <a:lnTo>
                        <a:pt x="516" y="368"/>
                      </a:lnTo>
                      <a:lnTo>
                        <a:pt x="499" y="371"/>
                      </a:lnTo>
                      <a:lnTo>
                        <a:pt x="499" y="370"/>
                      </a:lnTo>
                      <a:lnTo>
                        <a:pt x="499" y="368"/>
                      </a:lnTo>
                      <a:lnTo>
                        <a:pt x="498" y="368"/>
                      </a:lnTo>
                      <a:lnTo>
                        <a:pt x="498" y="366"/>
                      </a:lnTo>
                      <a:lnTo>
                        <a:pt x="498" y="368"/>
                      </a:lnTo>
                      <a:lnTo>
                        <a:pt x="496" y="366"/>
                      </a:lnTo>
                      <a:lnTo>
                        <a:pt x="496" y="365"/>
                      </a:lnTo>
                      <a:lnTo>
                        <a:pt x="494" y="365"/>
                      </a:lnTo>
                      <a:lnTo>
                        <a:pt x="496" y="363"/>
                      </a:lnTo>
                      <a:lnTo>
                        <a:pt x="494" y="363"/>
                      </a:lnTo>
                      <a:lnTo>
                        <a:pt x="496" y="361"/>
                      </a:lnTo>
                      <a:lnTo>
                        <a:pt x="496" y="360"/>
                      </a:lnTo>
                      <a:lnTo>
                        <a:pt x="494" y="360"/>
                      </a:lnTo>
                      <a:lnTo>
                        <a:pt x="496" y="360"/>
                      </a:lnTo>
                      <a:lnTo>
                        <a:pt x="496" y="358"/>
                      </a:lnTo>
                      <a:lnTo>
                        <a:pt x="494" y="360"/>
                      </a:lnTo>
                      <a:lnTo>
                        <a:pt x="494" y="358"/>
                      </a:lnTo>
                      <a:lnTo>
                        <a:pt x="493" y="358"/>
                      </a:lnTo>
                      <a:lnTo>
                        <a:pt x="494" y="358"/>
                      </a:lnTo>
                      <a:lnTo>
                        <a:pt x="493" y="358"/>
                      </a:lnTo>
                      <a:lnTo>
                        <a:pt x="493" y="360"/>
                      </a:lnTo>
                      <a:lnTo>
                        <a:pt x="493" y="358"/>
                      </a:lnTo>
                      <a:lnTo>
                        <a:pt x="491" y="358"/>
                      </a:lnTo>
                      <a:lnTo>
                        <a:pt x="493" y="358"/>
                      </a:lnTo>
                      <a:lnTo>
                        <a:pt x="491" y="358"/>
                      </a:lnTo>
                      <a:lnTo>
                        <a:pt x="489" y="358"/>
                      </a:lnTo>
                      <a:lnTo>
                        <a:pt x="489" y="360"/>
                      </a:lnTo>
                      <a:lnTo>
                        <a:pt x="489" y="358"/>
                      </a:lnTo>
                      <a:lnTo>
                        <a:pt x="488" y="358"/>
                      </a:lnTo>
                      <a:lnTo>
                        <a:pt x="486" y="358"/>
                      </a:lnTo>
                      <a:lnTo>
                        <a:pt x="486" y="360"/>
                      </a:lnTo>
                      <a:lnTo>
                        <a:pt x="484" y="360"/>
                      </a:lnTo>
                      <a:lnTo>
                        <a:pt x="483" y="360"/>
                      </a:lnTo>
                      <a:lnTo>
                        <a:pt x="484" y="360"/>
                      </a:lnTo>
                      <a:lnTo>
                        <a:pt x="483" y="360"/>
                      </a:lnTo>
                      <a:lnTo>
                        <a:pt x="481" y="360"/>
                      </a:lnTo>
                      <a:lnTo>
                        <a:pt x="479" y="360"/>
                      </a:lnTo>
                      <a:lnTo>
                        <a:pt x="479" y="358"/>
                      </a:lnTo>
                      <a:lnTo>
                        <a:pt x="477" y="360"/>
                      </a:lnTo>
                      <a:lnTo>
                        <a:pt x="477" y="358"/>
                      </a:lnTo>
                      <a:lnTo>
                        <a:pt x="476" y="358"/>
                      </a:lnTo>
                      <a:lnTo>
                        <a:pt x="476" y="356"/>
                      </a:lnTo>
                      <a:lnTo>
                        <a:pt x="476" y="358"/>
                      </a:lnTo>
                      <a:lnTo>
                        <a:pt x="474" y="358"/>
                      </a:lnTo>
                      <a:lnTo>
                        <a:pt x="474" y="360"/>
                      </a:lnTo>
                      <a:lnTo>
                        <a:pt x="472" y="360"/>
                      </a:lnTo>
                      <a:lnTo>
                        <a:pt x="472" y="358"/>
                      </a:lnTo>
                      <a:lnTo>
                        <a:pt x="472" y="360"/>
                      </a:lnTo>
                      <a:lnTo>
                        <a:pt x="471" y="358"/>
                      </a:lnTo>
                      <a:lnTo>
                        <a:pt x="471" y="356"/>
                      </a:lnTo>
                      <a:lnTo>
                        <a:pt x="469" y="356"/>
                      </a:lnTo>
                      <a:lnTo>
                        <a:pt x="467" y="356"/>
                      </a:lnTo>
                      <a:lnTo>
                        <a:pt x="466" y="356"/>
                      </a:lnTo>
                      <a:lnTo>
                        <a:pt x="466" y="355"/>
                      </a:lnTo>
                      <a:lnTo>
                        <a:pt x="466" y="356"/>
                      </a:lnTo>
                      <a:lnTo>
                        <a:pt x="464" y="356"/>
                      </a:lnTo>
                      <a:lnTo>
                        <a:pt x="464" y="355"/>
                      </a:lnTo>
                      <a:lnTo>
                        <a:pt x="464" y="356"/>
                      </a:lnTo>
                      <a:lnTo>
                        <a:pt x="462" y="356"/>
                      </a:lnTo>
                      <a:lnTo>
                        <a:pt x="461" y="356"/>
                      </a:lnTo>
                      <a:lnTo>
                        <a:pt x="461" y="355"/>
                      </a:lnTo>
                      <a:lnTo>
                        <a:pt x="459" y="356"/>
                      </a:lnTo>
                      <a:lnTo>
                        <a:pt x="459" y="355"/>
                      </a:lnTo>
                      <a:lnTo>
                        <a:pt x="459" y="356"/>
                      </a:lnTo>
                      <a:lnTo>
                        <a:pt x="459" y="355"/>
                      </a:lnTo>
                      <a:lnTo>
                        <a:pt x="457" y="355"/>
                      </a:lnTo>
                      <a:lnTo>
                        <a:pt x="459" y="355"/>
                      </a:lnTo>
                      <a:lnTo>
                        <a:pt x="457" y="355"/>
                      </a:lnTo>
                      <a:lnTo>
                        <a:pt x="456" y="355"/>
                      </a:lnTo>
                      <a:lnTo>
                        <a:pt x="456" y="353"/>
                      </a:lnTo>
                      <a:lnTo>
                        <a:pt x="454" y="353"/>
                      </a:lnTo>
                      <a:lnTo>
                        <a:pt x="452" y="355"/>
                      </a:lnTo>
                      <a:lnTo>
                        <a:pt x="452" y="353"/>
                      </a:lnTo>
                      <a:lnTo>
                        <a:pt x="450" y="353"/>
                      </a:lnTo>
                      <a:lnTo>
                        <a:pt x="449" y="353"/>
                      </a:lnTo>
                      <a:lnTo>
                        <a:pt x="447" y="353"/>
                      </a:lnTo>
                      <a:lnTo>
                        <a:pt x="447" y="355"/>
                      </a:lnTo>
                      <a:lnTo>
                        <a:pt x="445" y="353"/>
                      </a:lnTo>
                      <a:lnTo>
                        <a:pt x="444" y="353"/>
                      </a:lnTo>
                      <a:lnTo>
                        <a:pt x="442" y="353"/>
                      </a:lnTo>
                      <a:lnTo>
                        <a:pt x="440" y="353"/>
                      </a:lnTo>
                      <a:lnTo>
                        <a:pt x="439" y="353"/>
                      </a:lnTo>
                      <a:lnTo>
                        <a:pt x="437" y="353"/>
                      </a:lnTo>
                      <a:lnTo>
                        <a:pt x="437" y="355"/>
                      </a:lnTo>
                      <a:lnTo>
                        <a:pt x="437" y="353"/>
                      </a:lnTo>
                      <a:lnTo>
                        <a:pt x="435" y="353"/>
                      </a:lnTo>
                      <a:lnTo>
                        <a:pt x="435" y="351"/>
                      </a:lnTo>
                      <a:lnTo>
                        <a:pt x="435" y="353"/>
                      </a:lnTo>
                      <a:lnTo>
                        <a:pt x="435" y="351"/>
                      </a:lnTo>
                      <a:lnTo>
                        <a:pt x="434" y="351"/>
                      </a:lnTo>
                      <a:lnTo>
                        <a:pt x="434" y="353"/>
                      </a:lnTo>
                      <a:lnTo>
                        <a:pt x="434" y="351"/>
                      </a:lnTo>
                      <a:lnTo>
                        <a:pt x="432" y="351"/>
                      </a:lnTo>
                      <a:lnTo>
                        <a:pt x="432" y="353"/>
                      </a:lnTo>
                      <a:lnTo>
                        <a:pt x="432" y="351"/>
                      </a:lnTo>
                      <a:lnTo>
                        <a:pt x="430" y="353"/>
                      </a:lnTo>
                      <a:lnTo>
                        <a:pt x="429" y="353"/>
                      </a:lnTo>
                      <a:lnTo>
                        <a:pt x="427" y="353"/>
                      </a:lnTo>
                      <a:lnTo>
                        <a:pt x="427" y="355"/>
                      </a:lnTo>
                      <a:lnTo>
                        <a:pt x="427" y="353"/>
                      </a:lnTo>
                      <a:lnTo>
                        <a:pt x="425" y="353"/>
                      </a:lnTo>
                      <a:lnTo>
                        <a:pt x="423" y="353"/>
                      </a:lnTo>
                      <a:lnTo>
                        <a:pt x="422" y="351"/>
                      </a:lnTo>
                      <a:lnTo>
                        <a:pt x="422" y="353"/>
                      </a:lnTo>
                      <a:lnTo>
                        <a:pt x="420" y="353"/>
                      </a:lnTo>
                      <a:lnTo>
                        <a:pt x="418" y="353"/>
                      </a:lnTo>
                      <a:lnTo>
                        <a:pt x="417" y="353"/>
                      </a:lnTo>
                      <a:lnTo>
                        <a:pt x="415" y="353"/>
                      </a:lnTo>
                      <a:lnTo>
                        <a:pt x="415" y="355"/>
                      </a:lnTo>
                      <a:lnTo>
                        <a:pt x="413" y="353"/>
                      </a:lnTo>
                      <a:lnTo>
                        <a:pt x="413" y="355"/>
                      </a:lnTo>
                      <a:lnTo>
                        <a:pt x="412" y="355"/>
                      </a:lnTo>
                      <a:lnTo>
                        <a:pt x="410" y="353"/>
                      </a:lnTo>
                      <a:lnTo>
                        <a:pt x="408" y="355"/>
                      </a:lnTo>
                      <a:lnTo>
                        <a:pt x="407" y="355"/>
                      </a:lnTo>
                      <a:lnTo>
                        <a:pt x="407" y="356"/>
                      </a:lnTo>
                      <a:lnTo>
                        <a:pt x="407" y="355"/>
                      </a:lnTo>
                      <a:lnTo>
                        <a:pt x="405" y="356"/>
                      </a:lnTo>
                      <a:lnTo>
                        <a:pt x="405" y="355"/>
                      </a:lnTo>
                      <a:lnTo>
                        <a:pt x="403" y="355"/>
                      </a:lnTo>
                      <a:lnTo>
                        <a:pt x="403" y="356"/>
                      </a:lnTo>
                      <a:lnTo>
                        <a:pt x="401" y="356"/>
                      </a:lnTo>
                      <a:lnTo>
                        <a:pt x="401" y="355"/>
                      </a:lnTo>
                      <a:lnTo>
                        <a:pt x="403" y="355"/>
                      </a:lnTo>
                      <a:lnTo>
                        <a:pt x="401" y="355"/>
                      </a:lnTo>
                      <a:lnTo>
                        <a:pt x="401" y="353"/>
                      </a:lnTo>
                      <a:lnTo>
                        <a:pt x="400" y="353"/>
                      </a:lnTo>
                      <a:lnTo>
                        <a:pt x="400" y="351"/>
                      </a:lnTo>
                      <a:lnTo>
                        <a:pt x="398" y="351"/>
                      </a:lnTo>
                      <a:lnTo>
                        <a:pt x="396" y="351"/>
                      </a:lnTo>
                      <a:lnTo>
                        <a:pt x="395" y="351"/>
                      </a:lnTo>
                      <a:lnTo>
                        <a:pt x="393" y="351"/>
                      </a:lnTo>
                      <a:lnTo>
                        <a:pt x="391" y="351"/>
                      </a:lnTo>
                      <a:lnTo>
                        <a:pt x="390" y="351"/>
                      </a:lnTo>
                      <a:lnTo>
                        <a:pt x="388" y="351"/>
                      </a:lnTo>
                      <a:lnTo>
                        <a:pt x="386" y="351"/>
                      </a:lnTo>
                      <a:lnTo>
                        <a:pt x="385" y="351"/>
                      </a:lnTo>
                      <a:lnTo>
                        <a:pt x="383" y="351"/>
                      </a:lnTo>
                      <a:lnTo>
                        <a:pt x="381" y="351"/>
                      </a:lnTo>
                      <a:lnTo>
                        <a:pt x="383" y="351"/>
                      </a:lnTo>
                      <a:lnTo>
                        <a:pt x="381" y="351"/>
                      </a:lnTo>
                      <a:lnTo>
                        <a:pt x="381" y="353"/>
                      </a:lnTo>
                      <a:lnTo>
                        <a:pt x="381" y="351"/>
                      </a:lnTo>
                      <a:lnTo>
                        <a:pt x="381" y="353"/>
                      </a:lnTo>
                      <a:lnTo>
                        <a:pt x="380" y="353"/>
                      </a:lnTo>
                      <a:lnTo>
                        <a:pt x="380" y="355"/>
                      </a:lnTo>
                      <a:lnTo>
                        <a:pt x="378" y="353"/>
                      </a:lnTo>
                      <a:lnTo>
                        <a:pt x="378" y="355"/>
                      </a:lnTo>
                      <a:lnTo>
                        <a:pt x="376" y="355"/>
                      </a:lnTo>
                      <a:lnTo>
                        <a:pt x="374" y="356"/>
                      </a:lnTo>
                      <a:lnTo>
                        <a:pt x="374" y="355"/>
                      </a:lnTo>
                      <a:lnTo>
                        <a:pt x="374" y="356"/>
                      </a:lnTo>
                      <a:lnTo>
                        <a:pt x="373" y="356"/>
                      </a:lnTo>
                      <a:lnTo>
                        <a:pt x="371" y="356"/>
                      </a:lnTo>
                      <a:lnTo>
                        <a:pt x="371" y="358"/>
                      </a:lnTo>
                      <a:lnTo>
                        <a:pt x="371" y="356"/>
                      </a:lnTo>
                      <a:lnTo>
                        <a:pt x="369" y="358"/>
                      </a:lnTo>
                      <a:lnTo>
                        <a:pt x="369" y="356"/>
                      </a:lnTo>
                      <a:lnTo>
                        <a:pt x="369" y="358"/>
                      </a:lnTo>
                      <a:lnTo>
                        <a:pt x="369" y="356"/>
                      </a:lnTo>
                      <a:lnTo>
                        <a:pt x="369" y="358"/>
                      </a:lnTo>
                      <a:lnTo>
                        <a:pt x="368" y="358"/>
                      </a:lnTo>
                      <a:lnTo>
                        <a:pt x="368" y="360"/>
                      </a:lnTo>
                      <a:lnTo>
                        <a:pt x="368" y="358"/>
                      </a:lnTo>
                      <a:lnTo>
                        <a:pt x="366" y="358"/>
                      </a:lnTo>
                      <a:lnTo>
                        <a:pt x="366" y="360"/>
                      </a:lnTo>
                      <a:lnTo>
                        <a:pt x="368" y="360"/>
                      </a:lnTo>
                      <a:lnTo>
                        <a:pt x="366" y="360"/>
                      </a:lnTo>
                      <a:lnTo>
                        <a:pt x="364" y="360"/>
                      </a:lnTo>
                      <a:lnTo>
                        <a:pt x="364" y="361"/>
                      </a:lnTo>
                      <a:lnTo>
                        <a:pt x="363" y="361"/>
                      </a:lnTo>
                      <a:lnTo>
                        <a:pt x="361" y="361"/>
                      </a:lnTo>
                      <a:lnTo>
                        <a:pt x="361" y="363"/>
                      </a:lnTo>
                      <a:lnTo>
                        <a:pt x="359" y="363"/>
                      </a:lnTo>
                      <a:lnTo>
                        <a:pt x="358" y="363"/>
                      </a:lnTo>
                      <a:lnTo>
                        <a:pt x="356" y="363"/>
                      </a:lnTo>
                      <a:lnTo>
                        <a:pt x="354" y="363"/>
                      </a:lnTo>
                      <a:lnTo>
                        <a:pt x="353" y="363"/>
                      </a:lnTo>
                      <a:lnTo>
                        <a:pt x="351" y="363"/>
                      </a:lnTo>
                      <a:lnTo>
                        <a:pt x="351" y="365"/>
                      </a:lnTo>
                      <a:lnTo>
                        <a:pt x="349" y="365"/>
                      </a:lnTo>
                      <a:lnTo>
                        <a:pt x="347" y="365"/>
                      </a:lnTo>
                      <a:lnTo>
                        <a:pt x="346" y="365"/>
                      </a:lnTo>
                      <a:lnTo>
                        <a:pt x="344" y="365"/>
                      </a:lnTo>
                      <a:lnTo>
                        <a:pt x="344" y="363"/>
                      </a:lnTo>
                      <a:lnTo>
                        <a:pt x="344" y="365"/>
                      </a:lnTo>
                      <a:lnTo>
                        <a:pt x="342" y="363"/>
                      </a:lnTo>
                      <a:lnTo>
                        <a:pt x="342" y="365"/>
                      </a:lnTo>
                      <a:lnTo>
                        <a:pt x="342" y="363"/>
                      </a:lnTo>
                      <a:lnTo>
                        <a:pt x="341" y="363"/>
                      </a:lnTo>
                      <a:lnTo>
                        <a:pt x="339" y="363"/>
                      </a:lnTo>
                      <a:lnTo>
                        <a:pt x="339" y="361"/>
                      </a:lnTo>
                      <a:lnTo>
                        <a:pt x="337" y="361"/>
                      </a:lnTo>
                      <a:lnTo>
                        <a:pt x="336" y="361"/>
                      </a:lnTo>
                      <a:lnTo>
                        <a:pt x="336" y="360"/>
                      </a:lnTo>
                      <a:lnTo>
                        <a:pt x="336" y="358"/>
                      </a:lnTo>
                      <a:lnTo>
                        <a:pt x="334" y="358"/>
                      </a:lnTo>
                      <a:lnTo>
                        <a:pt x="334" y="356"/>
                      </a:lnTo>
                      <a:lnTo>
                        <a:pt x="332" y="356"/>
                      </a:lnTo>
                      <a:lnTo>
                        <a:pt x="332" y="355"/>
                      </a:lnTo>
                      <a:lnTo>
                        <a:pt x="331" y="355"/>
                      </a:lnTo>
                      <a:lnTo>
                        <a:pt x="331" y="353"/>
                      </a:lnTo>
                      <a:lnTo>
                        <a:pt x="329" y="353"/>
                      </a:lnTo>
                      <a:lnTo>
                        <a:pt x="327" y="351"/>
                      </a:lnTo>
                      <a:lnTo>
                        <a:pt x="319" y="358"/>
                      </a:lnTo>
                      <a:lnTo>
                        <a:pt x="319" y="332"/>
                      </a:lnTo>
                      <a:lnTo>
                        <a:pt x="319" y="299"/>
                      </a:lnTo>
                      <a:lnTo>
                        <a:pt x="319" y="274"/>
                      </a:lnTo>
                      <a:lnTo>
                        <a:pt x="319" y="250"/>
                      </a:lnTo>
                      <a:lnTo>
                        <a:pt x="319" y="248"/>
                      </a:lnTo>
                      <a:lnTo>
                        <a:pt x="320" y="248"/>
                      </a:lnTo>
                      <a:lnTo>
                        <a:pt x="322" y="248"/>
                      </a:lnTo>
                      <a:lnTo>
                        <a:pt x="322" y="246"/>
                      </a:lnTo>
                      <a:lnTo>
                        <a:pt x="324" y="246"/>
                      </a:lnTo>
                      <a:lnTo>
                        <a:pt x="325" y="246"/>
                      </a:lnTo>
                      <a:lnTo>
                        <a:pt x="325" y="245"/>
                      </a:lnTo>
                      <a:lnTo>
                        <a:pt x="327" y="245"/>
                      </a:lnTo>
                      <a:lnTo>
                        <a:pt x="327" y="243"/>
                      </a:lnTo>
                      <a:lnTo>
                        <a:pt x="327" y="241"/>
                      </a:lnTo>
                      <a:lnTo>
                        <a:pt x="327" y="240"/>
                      </a:lnTo>
                      <a:lnTo>
                        <a:pt x="327" y="238"/>
                      </a:lnTo>
                      <a:lnTo>
                        <a:pt x="325" y="237"/>
                      </a:lnTo>
                      <a:lnTo>
                        <a:pt x="325" y="235"/>
                      </a:lnTo>
                      <a:lnTo>
                        <a:pt x="324" y="235"/>
                      </a:lnTo>
                      <a:lnTo>
                        <a:pt x="324" y="233"/>
                      </a:lnTo>
                      <a:lnTo>
                        <a:pt x="322" y="233"/>
                      </a:lnTo>
                      <a:lnTo>
                        <a:pt x="322" y="232"/>
                      </a:lnTo>
                      <a:lnTo>
                        <a:pt x="322" y="230"/>
                      </a:lnTo>
                      <a:lnTo>
                        <a:pt x="320" y="230"/>
                      </a:lnTo>
                      <a:lnTo>
                        <a:pt x="322" y="228"/>
                      </a:lnTo>
                      <a:lnTo>
                        <a:pt x="322" y="227"/>
                      </a:lnTo>
                      <a:lnTo>
                        <a:pt x="320" y="225"/>
                      </a:lnTo>
                      <a:lnTo>
                        <a:pt x="322" y="225"/>
                      </a:lnTo>
                      <a:lnTo>
                        <a:pt x="322" y="227"/>
                      </a:lnTo>
                      <a:lnTo>
                        <a:pt x="322" y="225"/>
                      </a:lnTo>
                      <a:lnTo>
                        <a:pt x="324" y="227"/>
                      </a:lnTo>
                      <a:lnTo>
                        <a:pt x="325" y="227"/>
                      </a:lnTo>
                      <a:lnTo>
                        <a:pt x="325" y="225"/>
                      </a:lnTo>
                      <a:lnTo>
                        <a:pt x="324" y="225"/>
                      </a:lnTo>
                      <a:lnTo>
                        <a:pt x="324" y="223"/>
                      </a:lnTo>
                      <a:lnTo>
                        <a:pt x="325" y="223"/>
                      </a:lnTo>
                      <a:lnTo>
                        <a:pt x="327" y="223"/>
                      </a:lnTo>
                      <a:lnTo>
                        <a:pt x="325" y="223"/>
                      </a:lnTo>
                      <a:lnTo>
                        <a:pt x="325" y="222"/>
                      </a:lnTo>
                      <a:lnTo>
                        <a:pt x="327" y="222"/>
                      </a:lnTo>
                      <a:lnTo>
                        <a:pt x="327" y="220"/>
                      </a:lnTo>
                      <a:lnTo>
                        <a:pt x="329" y="220"/>
                      </a:lnTo>
                      <a:lnTo>
                        <a:pt x="331" y="220"/>
                      </a:lnTo>
                      <a:lnTo>
                        <a:pt x="329" y="218"/>
                      </a:lnTo>
                      <a:lnTo>
                        <a:pt x="329" y="217"/>
                      </a:lnTo>
                      <a:lnTo>
                        <a:pt x="327" y="217"/>
                      </a:lnTo>
                      <a:lnTo>
                        <a:pt x="329" y="217"/>
                      </a:lnTo>
                      <a:lnTo>
                        <a:pt x="329" y="215"/>
                      </a:lnTo>
                      <a:lnTo>
                        <a:pt x="331" y="215"/>
                      </a:lnTo>
                      <a:lnTo>
                        <a:pt x="331" y="214"/>
                      </a:lnTo>
                      <a:lnTo>
                        <a:pt x="329" y="214"/>
                      </a:lnTo>
                      <a:lnTo>
                        <a:pt x="327" y="214"/>
                      </a:lnTo>
                      <a:lnTo>
                        <a:pt x="329" y="214"/>
                      </a:lnTo>
                      <a:lnTo>
                        <a:pt x="327" y="215"/>
                      </a:lnTo>
                      <a:lnTo>
                        <a:pt x="327" y="214"/>
                      </a:lnTo>
                      <a:lnTo>
                        <a:pt x="325" y="214"/>
                      </a:lnTo>
                      <a:lnTo>
                        <a:pt x="324" y="214"/>
                      </a:lnTo>
                      <a:lnTo>
                        <a:pt x="322" y="215"/>
                      </a:lnTo>
                      <a:lnTo>
                        <a:pt x="320" y="215"/>
                      </a:lnTo>
                      <a:lnTo>
                        <a:pt x="320" y="217"/>
                      </a:lnTo>
                      <a:lnTo>
                        <a:pt x="319" y="217"/>
                      </a:lnTo>
                      <a:lnTo>
                        <a:pt x="319" y="218"/>
                      </a:lnTo>
                      <a:lnTo>
                        <a:pt x="319" y="217"/>
                      </a:lnTo>
                      <a:lnTo>
                        <a:pt x="319" y="218"/>
                      </a:lnTo>
                      <a:lnTo>
                        <a:pt x="317" y="218"/>
                      </a:lnTo>
                      <a:lnTo>
                        <a:pt x="317" y="220"/>
                      </a:lnTo>
                      <a:lnTo>
                        <a:pt x="315" y="220"/>
                      </a:lnTo>
                      <a:lnTo>
                        <a:pt x="315" y="222"/>
                      </a:lnTo>
                      <a:lnTo>
                        <a:pt x="314" y="222"/>
                      </a:lnTo>
                      <a:lnTo>
                        <a:pt x="314" y="223"/>
                      </a:lnTo>
                      <a:lnTo>
                        <a:pt x="312" y="223"/>
                      </a:lnTo>
                      <a:lnTo>
                        <a:pt x="310" y="223"/>
                      </a:lnTo>
                      <a:lnTo>
                        <a:pt x="310" y="225"/>
                      </a:lnTo>
                      <a:lnTo>
                        <a:pt x="309" y="225"/>
                      </a:lnTo>
                      <a:lnTo>
                        <a:pt x="309" y="227"/>
                      </a:lnTo>
                      <a:lnTo>
                        <a:pt x="309" y="225"/>
                      </a:lnTo>
                      <a:lnTo>
                        <a:pt x="307" y="225"/>
                      </a:lnTo>
                      <a:lnTo>
                        <a:pt x="307" y="227"/>
                      </a:lnTo>
                      <a:lnTo>
                        <a:pt x="305" y="227"/>
                      </a:lnTo>
                      <a:lnTo>
                        <a:pt x="305" y="228"/>
                      </a:lnTo>
                      <a:lnTo>
                        <a:pt x="305" y="230"/>
                      </a:lnTo>
                      <a:lnTo>
                        <a:pt x="304" y="230"/>
                      </a:lnTo>
                      <a:lnTo>
                        <a:pt x="304" y="232"/>
                      </a:lnTo>
                      <a:lnTo>
                        <a:pt x="302" y="232"/>
                      </a:lnTo>
                      <a:lnTo>
                        <a:pt x="302" y="233"/>
                      </a:lnTo>
                      <a:lnTo>
                        <a:pt x="302" y="232"/>
                      </a:lnTo>
                      <a:lnTo>
                        <a:pt x="302" y="233"/>
                      </a:lnTo>
                      <a:lnTo>
                        <a:pt x="300" y="233"/>
                      </a:lnTo>
                      <a:lnTo>
                        <a:pt x="298" y="233"/>
                      </a:lnTo>
                      <a:lnTo>
                        <a:pt x="298" y="235"/>
                      </a:lnTo>
                      <a:lnTo>
                        <a:pt x="298" y="233"/>
                      </a:lnTo>
                      <a:lnTo>
                        <a:pt x="297" y="235"/>
                      </a:lnTo>
                      <a:lnTo>
                        <a:pt x="297" y="233"/>
                      </a:lnTo>
                      <a:lnTo>
                        <a:pt x="297" y="235"/>
                      </a:lnTo>
                      <a:lnTo>
                        <a:pt x="295" y="235"/>
                      </a:lnTo>
                      <a:lnTo>
                        <a:pt x="295" y="237"/>
                      </a:lnTo>
                      <a:lnTo>
                        <a:pt x="293" y="237"/>
                      </a:lnTo>
                      <a:lnTo>
                        <a:pt x="293" y="238"/>
                      </a:lnTo>
                      <a:lnTo>
                        <a:pt x="292" y="238"/>
                      </a:lnTo>
                      <a:lnTo>
                        <a:pt x="292" y="240"/>
                      </a:lnTo>
                      <a:lnTo>
                        <a:pt x="292" y="241"/>
                      </a:lnTo>
                      <a:lnTo>
                        <a:pt x="290" y="241"/>
                      </a:lnTo>
                      <a:lnTo>
                        <a:pt x="288" y="241"/>
                      </a:lnTo>
                      <a:lnTo>
                        <a:pt x="287" y="241"/>
                      </a:lnTo>
                      <a:lnTo>
                        <a:pt x="287" y="243"/>
                      </a:lnTo>
                      <a:lnTo>
                        <a:pt x="285" y="243"/>
                      </a:lnTo>
                      <a:lnTo>
                        <a:pt x="283" y="246"/>
                      </a:lnTo>
                      <a:lnTo>
                        <a:pt x="283" y="248"/>
                      </a:lnTo>
                      <a:lnTo>
                        <a:pt x="283" y="250"/>
                      </a:lnTo>
                      <a:lnTo>
                        <a:pt x="282" y="250"/>
                      </a:lnTo>
                      <a:lnTo>
                        <a:pt x="282" y="248"/>
                      </a:lnTo>
                      <a:lnTo>
                        <a:pt x="282" y="250"/>
                      </a:lnTo>
                      <a:lnTo>
                        <a:pt x="280" y="248"/>
                      </a:lnTo>
                      <a:lnTo>
                        <a:pt x="280" y="250"/>
                      </a:lnTo>
                      <a:lnTo>
                        <a:pt x="278" y="250"/>
                      </a:lnTo>
                      <a:lnTo>
                        <a:pt x="277" y="250"/>
                      </a:lnTo>
                      <a:lnTo>
                        <a:pt x="275" y="250"/>
                      </a:lnTo>
                      <a:lnTo>
                        <a:pt x="273" y="250"/>
                      </a:lnTo>
                      <a:lnTo>
                        <a:pt x="271" y="251"/>
                      </a:lnTo>
                      <a:lnTo>
                        <a:pt x="270" y="251"/>
                      </a:lnTo>
                      <a:lnTo>
                        <a:pt x="270" y="253"/>
                      </a:lnTo>
                      <a:lnTo>
                        <a:pt x="268" y="255"/>
                      </a:lnTo>
                      <a:lnTo>
                        <a:pt x="266" y="255"/>
                      </a:lnTo>
                      <a:lnTo>
                        <a:pt x="266" y="256"/>
                      </a:lnTo>
                      <a:lnTo>
                        <a:pt x="266" y="258"/>
                      </a:lnTo>
                      <a:lnTo>
                        <a:pt x="265" y="260"/>
                      </a:lnTo>
                      <a:lnTo>
                        <a:pt x="265" y="261"/>
                      </a:lnTo>
                      <a:lnTo>
                        <a:pt x="263" y="261"/>
                      </a:lnTo>
                      <a:lnTo>
                        <a:pt x="263" y="263"/>
                      </a:lnTo>
                      <a:lnTo>
                        <a:pt x="261" y="263"/>
                      </a:lnTo>
                      <a:lnTo>
                        <a:pt x="260" y="263"/>
                      </a:lnTo>
                      <a:lnTo>
                        <a:pt x="258" y="263"/>
                      </a:lnTo>
                      <a:lnTo>
                        <a:pt x="258" y="264"/>
                      </a:lnTo>
                      <a:lnTo>
                        <a:pt x="256" y="264"/>
                      </a:lnTo>
                      <a:lnTo>
                        <a:pt x="255" y="264"/>
                      </a:lnTo>
                      <a:lnTo>
                        <a:pt x="253" y="266"/>
                      </a:lnTo>
                      <a:lnTo>
                        <a:pt x="253" y="264"/>
                      </a:lnTo>
                      <a:lnTo>
                        <a:pt x="251" y="263"/>
                      </a:lnTo>
                      <a:lnTo>
                        <a:pt x="249" y="264"/>
                      </a:lnTo>
                      <a:lnTo>
                        <a:pt x="248" y="264"/>
                      </a:lnTo>
                      <a:lnTo>
                        <a:pt x="248" y="266"/>
                      </a:lnTo>
                      <a:lnTo>
                        <a:pt x="206" y="266"/>
                      </a:lnTo>
                      <a:lnTo>
                        <a:pt x="189" y="266"/>
                      </a:lnTo>
                      <a:lnTo>
                        <a:pt x="170" y="266"/>
                      </a:lnTo>
                      <a:lnTo>
                        <a:pt x="170" y="264"/>
                      </a:lnTo>
                      <a:lnTo>
                        <a:pt x="172" y="264"/>
                      </a:lnTo>
                      <a:lnTo>
                        <a:pt x="173" y="263"/>
                      </a:lnTo>
                      <a:lnTo>
                        <a:pt x="173" y="261"/>
                      </a:lnTo>
                      <a:lnTo>
                        <a:pt x="172" y="261"/>
                      </a:lnTo>
                      <a:lnTo>
                        <a:pt x="172" y="260"/>
                      </a:lnTo>
                      <a:lnTo>
                        <a:pt x="172" y="258"/>
                      </a:lnTo>
                      <a:lnTo>
                        <a:pt x="173" y="258"/>
                      </a:lnTo>
                      <a:lnTo>
                        <a:pt x="173" y="256"/>
                      </a:lnTo>
                      <a:lnTo>
                        <a:pt x="175" y="255"/>
                      </a:lnTo>
                      <a:lnTo>
                        <a:pt x="173" y="253"/>
                      </a:lnTo>
                      <a:lnTo>
                        <a:pt x="173" y="251"/>
                      </a:lnTo>
                      <a:lnTo>
                        <a:pt x="172" y="251"/>
                      </a:lnTo>
                      <a:lnTo>
                        <a:pt x="172" y="250"/>
                      </a:lnTo>
                      <a:lnTo>
                        <a:pt x="173" y="250"/>
                      </a:lnTo>
                      <a:lnTo>
                        <a:pt x="173" y="248"/>
                      </a:lnTo>
                      <a:lnTo>
                        <a:pt x="173" y="246"/>
                      </a:lnTo>
                      <a:lnTo>
                        <a:pt x="172" y="246"/>
                      </a:lnTo>
                      <a:lnTo>
                        <a:pt x="170" y="246"/>
                      </a:lnTo>
                      <a:lnTo>
                        <a:pt x="168" y="245"/>
                      </a:lnTo>
                      <a:lnTo>
                        <a:pt x="167" y="245"/>
                      </a:lnTo>
                      <a:lnTo>
                        <a:pt x="165" y="245"/>
                      </a:lnTo>
                      <a:lnTo>
                        <a:pt x="163" y="243"/>
                      </a:lnTo>
                      <a:lnTo>
                        <a:pt x="162" y="243"/>
                      </a:lnTo>
                      <a:lnTo>
                        <a:pt x="162" y="241"/>
                      </a:lnTo>
                      <a:lnTo>
                        <a:pt x="163" y="241"/>
                      </a:lnTo>
                      <a:lnTo>
                        <a:pt x="163" y="240"/>
                      </a:lnTo>
                      <a:lnTo>
                        <a:pt x="165" y="238"/>
                      </a:lnTo>
                      <a:lnTo>
                        <a:pt x="165" y="237"/>
                      </a:lnTo>
                      <a:lnTo>
                        <a:pt x="163" y="237"/>
                      </a:lnTo>
                      <a:lnTo>
                        <a:pt x="165" y="235"/>
                      </a:lnTo>
                      <a:lnTo>
                        <a:pt x="163" y="233"/>
                      </a:lnTo>
                      <a:lnTo>
                        <a:pt x="163" y="232"/>
                      </a:lnTo>
                      <a:lnTo>
                        <a:pt x="163" y="230"/>
                      </a:lnTo>
                      <a:lnTo>
                        <a:pt x="162" y="230"/>
                      </a:lnTo>
                      <a:lnTo>
                        <a:pt x="160" y="230"/>
                      </a:lnTo>
                      <a:lnTo>
                        <a:pt x="160" y="228"/>
                      </a:lnTo>
                      <a:lnTo>
                        <a:pt x="162" y="228"/>
                      </a:lnTo>
                      <a:lnTo>
                        <a:pt x="162" y="227"/>
                      </a:lnTo>
                      <a:lnTo>
                        <a:pt x="162" y="225"/>
                      </a:lnTo>
                      <a:lnTo>
                        <a:pt x="162" y="223"/>
                      </a:lnTo>
                      <a:lnTo>
                        <a:pt x="160" y="223"/>
                      </a:lnTo>
                      <a:lnTo>
                        <a:pt x="158" y="223"/>
                      </a:lnTo>
                      <a:lnTo>
                        <a:pt x="157" y="223"/>
                      </a:lnTo>
                      <a:lnTo>
                        <a:pt x="157" y="222"/>
                      </a:lnTo>
                      <a:lnTo>
                        <a:pt x="155" y="222"/>
                      </a:lnTo>
                      <a:lnTo>
                        <a:pt x="157" y="222"/>
                      </a:lnTo>
                      <a:lnTo>
                        <a:pt x="155" y="222"/>
                      </a:lnTo>
                      <a:lnTo>
                        <a:pt x="155" y="220"/>
                      </a:lnTo>
                      <a:lnTo>
                        <a:pt x="153" y="220"/>
                      </a:lnTo>
                      <a:lnTo>
                        <a:pt x="153" y="218"/>
                      </a:lnTo>
                      <a:lnTo>
                        <a:pt x="153" y="220"/>
                      </a:lnTo>
                      <a:lnTo>
                        <a:pt x="152" y="220"/>
                      </a:lnTo>
                      <a:lnTo>
                        <a:pt x="152" y="218"/>
                      </a:lnTo>
                      <a:lnTo>
                        <a:pt x="150" y="218"/>
                      </a:lnTo>
                      <a:lnTo>
                        <a:pt x="148" y="218"/>
                      </a:lnTo>
                      <a:lnTo>
                        <a:pt x="146" y="218"/>
                      </a:lnTo>
                      <a:lnTo>
                        <a:pt x="145" y="218"/>
                      </a:lnTo>
                      <a:lnTo>
                        <a:pt x="143" y="218"/>
                      </a:lnTo>
                      <a:lnTo>
                        <a:pt x="141" y="218"/>
                      </a:lnTo>
                      <a:lnTo>
                        <a:pt x="140" y="218"/>
                      </a:lnTo>
                      <a:lnTo>
                        <a:pt x="138" y="218"/>
                      </a:lnTo>
                      <a:lnTo>
                        <a:pt x="138" y="217"/>
                      </a:lnTo>
                      <a:lnTo>
                        <a:pt x="136" y="217"/>
                      </a:lnTo>
                      <a:lnTo>
                        <a:pt x="135" y="217"/>
                      </a:lnTo>
                      <a:lnTo>
                        <a:pt x="133" y="217"/>
                      </a:lnTo>
                      <a:lnTo>
                        <a:pt x="133" y="215"/>
                      </a:lnTo>
                      <a:lnTo>
                        <a:pt x="133" y="217"/>
                      </a:lnTo>
                      <a:lnTo>
                        <a:pt x="133" y="215"/>
                      </a:lnTo>
                      <a:lnTo>
                        <a:pt x="131" y="215"/>
                      </a:lnTo>
                      <a:lnTo>
                        <a:pt x="130" y="215"/>
                      </a:lnTo>
                      <a:lnTo>
                        <a:pt x="128" y="215"/>
                      </a:lnTo>
                      <a:lnTo>
                        <a:pt x="126" y="215"/>
                      </a:lnTo>
                      <a:lnTo>
                        <a:pt x="125" y="215"/>
                      </a:lnTo>
                      <a:lnTo>
                        <a:pt x="125" y="214"/>
                      </a:lnTo>
                      <a:lnTo>
                        <a:pt x="123" y="214"/>
                      </a:lnTo>
                      <a:lnTo>
                        <a:pt x="121" y="214"/>
                      </a:lnTo>
                      <a:lnTo>
                        <a:pt x="119" y="212"/>
                      </a:lnTo>
                      <a:lnTo>
                        <a:pt x="74" y="212"/>
                      </a:lnTo>
                      <a:lnTo>
                        <a:pt x="74" y="210"/>
                      </a:lnTo>
                      <a:lnTo>
                        <a:pt x="76" y="210"/>
                      </a:lnTo>
                      <a:lnTo>
                        <a:pt x="76" y="207"/>
                      </a:lnTo>
                      <a:lnTo>
                        <a:pt x="77" y="207"/>
                      </a:lnTo>
                      <a:lnTo>
                        <a:pt x="79" y="207"/>
                      </a:lnTo>
                      <a:lnTo>
                        <a:pt x="79" y="205"/>
                      </a:lnTo>
                      <a:lnTo>
                        <a:pt x="81" y="204"/>
                      </a:lnTo>
                      <a:lnTo>
                        <a:pt x="81" y="202"/>
                      </a:lnTo>
                      <a:lnTo>
                        <a:pt x="82" y="202"/>
                      </a:lnTo>
                      <a:lnTo>
                        <a:pt x="84" y="202"/>
                      </a:lnTo>
                      <a:lnTo>
                        <a:pt x="84" y="200"/>
                      </a:lnTo>
                      <a:lnTo>
                        <a:pt x="82" y="200"/>
                      </a:lnTo>
                      <a:lnTo>
                        <a:pt x="82" y="199"/>
                      </a:lnTo>
                      <a:lnTo>
                        <a:pt x="84" y="199"/>
                      </a:lnTo>
                      <a:lnTo>
                        <a:pt x="86" y="195"/>
                      </a:lnTo>
                      <a:lnTo>
                        <a:pt x="87" y="195"/>
                      </a:lnTo>
                      <a:lnTo>
                        <a:pt x="89" y="195"/>
                      </a:lnTo>
                      <a:lnTo>
                        <a:pt x="91" y="195"/>
                      </a:lnTo>
                      <a:lnTo>
                        <a:pt x="91" y="194"/>
                      </a:lnTo>
                      <a:lnTo>
                        <a:pt x="92" y="194"/>
                      </a:lnTo>
                      <a:lnTo>
                        <a:pt x="92" y="192"/>
                      </a:lnTo>
                      <a:lnTo>
                        <a:pt x="94" y="192"/>
                      </a:lnTo>
                      <a:lnTo>
                        <a:pt x="92" y="191"/>
                      </a:lnTo>
                      <a:lnTo>
                        <a:pt x="92" y="189"/>
                      </a:lnTo>
                      <a:lnTo>
                        <a:pt x="94" y="189"/>
                      </a:lnTo>
                      <a:lnTo>
                        <a:pt x="96" y="189"/>
                      </a:lnTo>
                      <a:lnTo>
                        <a:pt x="96" y="187"/>
                      </a:lnTo>
                      <a:lnTo>
                        <a:pt x="97" y="186"/>
                      </a:lnTo>
                      <a:lnTo>
                        <a:pt x="97" y="184"/>
                      </a:lnTo>
                      <a:lnTo>
                        <a:pt x="99" y="184"/>
                      </a:lnTo>
                      <a:lnTo>
                        <a:pt x="99" y="182"/>
                      </a:lnTo>
                      <a:lnTo>
                        <a:pt x="97" y="181"/>
                      </a:lnTo>
                      <a:lnTo>
                        <a:pt x="99" y="181"/>
                      </a:lnTo>
                      <a:lnTo>
                        <a:pt x="99" y="179"/>
                      </a:lnTo>
                      <a:lnTo>
                        <a:pt x="99" y="177"/>
                      </a:lnTo>
                      <a:lnTo>
                        <a:pt x="97" y="177"/>
                      </a:lnTo>
                      <a:lnTo>
                        <a:pt x="97" y="176"/>
                      </a:lnTo>
                      <a:lnTo>
                        <a:pt x="97" y="174"/>
                      </a:lnTo>
                      <a:lnTo>
                        <a:pt x="99" y="174"/>
                      </a:lnTo>
                      <a:lnTo>
                        <a:pt x="99" y="172"/>
                      </a:lnTo>
                      <a:lnTo>
                        <a:pt x="97" y="172"/>
                      </a:lnTo>
                      <a:lnTo>
                        <a:pt x="96" y="172"/>
                      </a:lnTo>
                      <a:lnTo>
                        <a:pt x="96" y="171"/>
                      </a:lnTo>
                      <a:lnTo>
                        <a:pt x="96" y="169"/>
                      </a:lnTo>
                      <a:lnTo>
                        <a:pt x="94" y="169"/>
                      </a:lnTo>
                      <a:lnTo>
                        <a:pt x="94" y="168"/>
                      </a:lnTo>
                      <a:lnTo>
                        <a:pt x="94" y="166"/>
                      </a:lnTo>
                      <a:lnTo>
                        <a:pt x="92" y="166"/>
                      </a:lnTo>
                      <a:lnTo>
                        <a:pt x="91" y="166"/>
                      </a:lnTo>
                      <a:lnTo>
                        <a:pt x="89" y="166"/>
                      </a:lnTo>
                      <a:lnTo>
                        <a:pt x="87" y="166"/>
                      </a:lnTo>
                      <a:lnTo>
                        <a:pt x="87" y="164"/>
                      </a:lnTo>
                      <a:lnTo>
                        <a:pt x="87" y="163"/>
                      </a:lnTo>
                      <a:lnTo>
                        <a:pt x="86" y="163"/>
                      </a:lnTo>
                      <a:lnTo>
                        <a:pt x="86" y="161"/>
                      </a:lnTo>
                      <a:lnTo>
                        <a:pt x="86" y="159"/>
                      </a:lnTo>
                      <a:lnTo>
                        <a:pt x="84" y="159"/>
                      </a:lnTo>
                      <a:lnTo>
                        <a:pt x="84" y="158"/>
                      </a:lnTo>
                      <a:lnTo>
                        <a:pt x="82" y="158"/>
                      </a:lnTo>
                      <a:lnTo>
                        <a:pt x="82" y="154"/>
                      </a:lnTo>
                      <a:lnTo>
                        <a:pt x="82" y="153"/>
                      </a:lnTo>
                      <a:lnTo>
                        <a:pt x="81" y="153"/>
                      </a:lnTo>
                      <a:lnTo>
                        <a:pt x="81" y="151"/>
                      </a:lnTo>
                      <a:lnTo>
                        <a:pt x="81" y="149"/>
                      </a:lnTo>
                      <a:lnTo>
                        <a:pt x="79" y="148"/>
                      </a:lnTo>
                      <a:lnTo>
                        <a:pt x="79" y="146"/>
                      </a:lnTo>
                      <a:lnTo>
                        <a:pt x="77" y="146"/>
                      </a:lnTo>
                      <a:lnTo>
                        <a:pt x="77" y="145"/>
                      </a:lnTo>
                      <a:lnTo>
                        <a:pt x="76" y="145"/>
                      </a:lnTo>
                      <a:lnTo>
                        <a:pt x="74" y="145"/>
                      </a:lnTo>
                      <a:lnTo>
                        <a:pt x="72" y="145"/>
                      </a:lnTo>
                      <a:lnTo>
                        <a:pt x="70" y="145"/>
                      </a:lnTo>
                      <a:lnTo>
                        <a:pt x="69" y="145"/>
                      </a:lnTo>
                      <a:lnTo>
                        <a:pt x="67" y="143"/>
                      </a:lnTo>
                      <a:lnTo>
                        <a:pt x="65" y="143"/>
                      </a:lnTo>
                      <a:lnTo>
                        <a:pt x="65" y="141"/>
                      </a:lnTo>
                      <a:lnTo>
                        <a:pt x="65" y="140"/>
                      </a:lnTo>
                      <a:lnTo>
                        <a:pt x="64" y="140"/>
                      </a:lnTo>
                      <a:lnTo>
                        <a:pt x="64" y="138"/>
                      </a:lnTo>
                      <a:lnTo>
                        <a:pt x="62" y="138"/>
                      </a:lnTo>
                      <a:lnTo>
                        <a:pt x="60" y="138"/>
                      </a:lnTo>
                      <a:lnTo>
                        <a:pt x="60" y="136"/>
                      </a:lnTo>
                      <a:lnTo>
                        <a:pt x="60" y="135"/>
                      </a:lnTo>
                      <a:lnTo>
                        <a:pt x="62" y="133"/>
                      </a:lnTo>
                      <a:lnTo>
                        <a:pt x="62" y="131"/>
                      </a:lnTo>
                      <a:lnTo>
                        <a:pt x="62" y="130"/>
                      </a:lnTo>
                      <a:lnTo>
                        <a:pt x="62" y="128"/>
                      </a:lnTo>
                      <a:lnTo>
                        <a:pt x="62" y="126"/>
                      </a:lnTo>
                      <a:lnTo>
                        <a:pt x="62" y="125"/>
                      </a:lnTo>
                      <a:lnTo>
                        <a:pt x="60" y="125"/>
                      </a:lnTo>
                      <a:lnTo>
                        <a:pt x="59" y="125"/>
                      </a:lnTo>
                      <a:lnTo>
                        <a:pt x="57" y="125"/>
                      </a:lnTo>
                      <a:lnTo>
                        <a:pt x="55" y="123"/>
                      </a:lnTo>
                      <a:lnTo>
                        <a:pt x="55" y="122"/>
                      </a:lnTo>
                      <a:lnTo>
                        <a:pt x="55" y="120"/>
                      </a:lnTo>
                      <a:lnTo>
                        <a:pt x="54" y="120"/>
                      </a:lnTo>
                      <a:lnTo>
                        <a:pt x="52" y="120"/>
                      </a:lnTo>
                      <a:lnTo>
                        <a:pt x="50" y="120"/>
                      </a:lnTo>
                      <a:lnTo>
                        <a:pt x="50" y="118"/>
                      </a:lnTo>
                      <a:lnTo>
                        <a:pt x="49" y="118"/>
                      </a:lnTo>
                      <a:lnTo>
                        <a:pt x="47" y="118"/>
                      </a:lnTo>
                      <a:lnTo>
                        <a:pt x="47" y="117"/>
                      </a:lnTo>
                      <a:lnTo>
                        <a:pt x="45" y="117"/>
                      </a:lnTo>
                      <a:lnTo>
                        <a:pt x="43" y="115"/>
                      </a:lnTo>
                      <a:lnTo>
                        <a:pt x="43" y="113"/>
                      </a:lnTo>
                      <a:lnTo>
                        <a:pt x="42" y="113"/>
                      </a:lnTo>
                      <a:lnTo>
                        <a:pt x="42" y="112"/>
                      </a:lnTo>
                      <a:lnTo>
                        <a:pt x="43" y="110"/>
                      </a:lnTo>
                      <a:lnTo>
                        <a:pt x="42" y="110"/>
                      </a:lnTo>
                      <a:lnTo>
                        <a:pt x="42" y="108"/>
                      </a:lnTo>
                      <a:lnTo>
                        <a:pt x="42" y="107"/>
                      </a:lnTo>
                      <a:lnTo>
                        <a:pt x="42" y="105"/>
                      </a:lnTo>
                      <a:lnTo>
                        <a:pt x="40" y="105"/>
                      </a:lnTo>
                      <a:lnTo>
                        <a:pt x="40" y="103"/>
                      </a:lnTo>
                      <a:lnTo>
                        <a:pt x="38" y="103"/>
                      </a:lnTo>
                      <a:lnTo>
                        <a:pt x="38" y="102"/>
                      </a:lnTo>
                      <a:lnTo>
                        <a:pt x="38" y="100"/>
                      </a:lnTo>
                      <a:lnTo>
                        <a:pt x="37" y="100"/>
                      </a:lnTo>
                      <a:lnTo>
                        <a:pt x="38" y="99"/>
                      </a:lnTo>
                      <a:lnTo>
                        <a:pt x="38" y="97"/>
                      </a:lnTo>
                      <a:lnTo>
                        <a:pt x="37" y="95"/>
                      </a:lnTo>
                      <a:lnTo>
                        <a:pt x="37" y="94"/>
                      </a:lnTo>
                      <a:lnTo>
                        <a:pt x="38" y="94"/>
                      </a:lnTo>
                      <a:lnTo>
                        <a:pt x="37" y="90"/>
                      </a:lnTo>
                      <a:lnTo>
                        <a:pt x="35" y="90"/>
                      </a:lnTo>
                      <a:lnTo>
                        <a:pt x="35" y="89"/>
                      </a:lnTo>
                      <a:lnTo>
                        <a:pt x="33" y="87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7" name="Freeform 15"/>
                <p:cNvSpPr>
                  <a:spLocks noChangeAspect="1"/>
                </p:cNvSpPr>
                <p:nvPr/>
              </p:nvSpPr>
              <p:spPr bwMode="auto">
                <a:xfrm>
                  <a:off x="2334376" y="2502603"/>
                  <a:ext cx="1039931" cy="882636"/>
                </a:xfrm>
                <a:custGeom>
                  <a:avLst/>
                  <a:gdLst>
                    <a:gd name="T0" fmla="*/ 2147483647 w 667"/>
                    <a:gd name="T1" fmla="*/ 2147483647 h 527"/>
                    <a:gd name="T2" fmla="*/ 2147483647 w 667"/>
                    <a:gd name="T3" fmla="*/ 2147483647 h 527"/>
                    <a:gd name="T4" fmla="*/ 2147483647 w 667"/>
                    <a:gd name="T5" fmla="*/ 2147483647 h 527"/>
                    <a:gd name="T6" fmla="*/ 2147483647 w 667"/>
                    <a:gd name="T7" fmla="*/ 2147483647 h 527"/>
                    <a:gd name="T8" fmla="*/ 2147483647 w 667"/>
                    <a:gd name="T9" fmla="*/ 2147483647 h 527"/>
                    <a:gd name="T10" fmla="*/ 2147483647 w 667"/>
                    <a:gd name="T11" fmla="*/ 2147483647 h 527"/>
                    <a:gd name="T12" fmla="*/ 2147483647 w 667"/>
                    <a:gd name="T13" fmla="*/ 2147483647 h 527"/>
                    <a:gd name="T14" fmla="*/ 2147483647 w 667"/>
                    <a:gd name="T15" fmla="*/ 2147483647 h 527"/>
                    <a:gd name="T16" fmla="*/ 2147483647 w 667"/>
                    <a:gd name="T17" fmla="*/ 2147483647 h 527"/>
                    <a:gd name="T18" fmla="*/ 2147483647 w 667"/>
                    <a:gd name="T19" fmla="*/ 2147483647 h 527"/>
                    <a:gd name="T20" fmla="*/ 2147483647 w 667"/>
                    <a:gd name="T21" fmla="*/ 2147483647 h 527"/>
                    <a:gd name="T22" fmla="*/ 2147483647 w 667"/>
                    <a:gd name="T23" fmla="*/ 2147483647 h 527"/>
                    <a:gd name="T24" fmla="*/ 2147483647 w 667"/>
                    <a:gd name="T25" fmla="*/ 2147483647 h 527"/>
                    <a:gd name="T26" fmla="*/ 2147483647 w 667"/>
                    <a:gd name="T27" fmla="*/ 2147483647 h 527"/>
                    <a:gd name="T28" fmla="*/ 2147483647 w 667"/>
                    <a:gd name="T29" fmla="*/ 2147483647 h 527"/>
                    <a:gd name="T30" fmla="*/ 2147483647 w 667"/>
                    <a:gd name="T31" fmla="*/ 2147483647 h 527"/>
                    <a:gd name="T32" fmla="*/ 2147483647 w 667"/>
                    <a:gd name="T33" fmla="*/ 2147483647 h 527"/>
                    <a:gd name="T34" fmla="*/ 2147483647 w 667"/>
                    <a:gd name="T35" fmla="*/ 2147483647 h 527"/>
                    <a:gd name="T36" fmla="*/ 2147483647 w 667"/>
                    <a:gd name="T37" fmla="*/ 2147483647 h 527"/>
                    <a:gd name="T38" fmla="*/ 2147483647 w 667"/>
                    <a:gd name="T39" fmla="*/ 2147483647 h 527"/>
                    <a:gd name="T40" fmla="*/ 2147483647 w 667"/>
                    <a:gd name="T41" fmla="*/ 2147483647 h 527"/>
                    <a:gd name="T42" fmla="*/ 2147483647 w 667"/>
                    <a:gd name="T43" fmla="*/ 2147483647 h 527"/>
                    <a:gd name="T44" fmla="*/ 2147483647 w 667"/>
                    <a:gd name="T45" fmla="*/ 2147483647 h 527"/>
                    <a:gd name="T46" fmla="*/ 2147483647 w 667"/>
                    <a:gd name="T47" fmla="*/ 2147483647 h 527"/>
                    <a:gd name="T48" fmla="*/ 2147483647 w 667"/>
                    <a:gd name="T49" fmla="*/ 2147483647 h 527"/>
                    <a:gd name="T50" fmla="*/ 2147483647 w 667"/>
                    <a:gd name="T51" fmla="*/ 2147483647 h 527"/>
                    <a:gd name="T52" fmla="*/ 2147483647 w 667"/>
                    <a:gd name="T53" fmla="*/ 2147483647 h 527"/>
                    <a:gd name="T54" fmla="*/ 2147483647 w 667"/>
                    <a:gd name="T55" fmla="*/ 2147483647 h 527"/>
                    <a:gd name="T56" fmla="*/ 2147483647 w 667"/>
                    <a:gd name="T57" fmla="*/ 2147483647 h 527"/>
                    <a:gd name="T58" fmla="*/ 2147483647 w 667"/>
                    <a:gd name="T59" fmla="*/ 2147483647 h 527"/>
                    <a:gd name="T60" fmla="*/ 2147483647 w 667"/>
                    <a:gd name="T61" fmla="*/ 2147483647 h 527"/>
                    <a:gd name="T62" fmla="*/ 2147483647 w 667"/>
                    <a:gd name="T63" fmla="*/ 2147483647 h 527"/>
                    <a:gd name="T64" fmla="*/ 2147483647 w 667"/>
                    <a:gd name="T65" fmla="*/ 2147483647 h 527"/>
                    <a:gd name="T66" fmla="*/ 2147483647 w 667"/>
                    <a:gd name="T67" fmla="*/ 2147483647 h 527"/>
                    <a:gd name="T68" fmla="*/ 2147483647 w 667"/>
                    <a:gd name="T69" fmla="*/ 2147483647 h 527"/>
                    <a:gd name="T70" fmla="*/ 2147483647 w 667"/>
                    <a:gd name="T71" fmla="*/ 2147483647 h 527"/>
                    <a:gd name="T72" fmla="*/ 2147483647 w 667"/>
                    <a:gd name="T73" fmla="*/ 2147483647 h 527"/>
                    <a:gd name="T74" fmla="*/ 2147483647 w 667"/>
                    <a:gd name="T75" fmla="*/ 2147483647 h 527"/>
                    <a:gd name="T76" fmla="*/ 2147483647 w 667"/>
                    <a:gd name="T77" fmla="*/ 2147483647 h 527"/>
                    <a:gd name="T78" fmla="*/ 2147483647 w 667"/>
                    <a:gd name="T79" fmla="*/ 2147483647 h 527"/>
                    <a:gd name="T80" fmla="*/ 2147483647 w 667"/>
                    <a:gd name="T81" fmla="*/ 2147483647 h 527"/>
                    <a:gd name="T82" fmla="*/ 2147483647 w 667"/>
                    <a:gd name="T83" fmla="*/ 2147483647 h 527"/>
                    <a:gd name="T84" fmla="*/ 2147483647 w 667"/>
                    <a:gd name="T85" fmla="*/ 2147483647 h 527"/>
                    <a:gd name="T86" fmla="*/ 2147483647 w 667"/>
                    <a:gd name="T87" fmla="*/ 2147483647 h 527"/>
                    <a:gd name="T88" fmla="*/ 2147483647 w 667"/>
                    <a:gd name="T89" fmla="*/ 2147483647 h 527"/>
                    <a:gd name="T90" fmla="*/ 2147483647 w 667"/>
                    <a:gd name="T91" fmla="*/ 2147483647 h 527"/>
                    <a:gd name="T92" fmla="*/ 2147483647 w 667"/>
                    <a:gd name="T93" fmla="*/ 2147483647 h 527"/>
                    <a:gd name="T94" fmla="*/ 2147483647 w 667"/>
                    <a:gd name="T95" fmla="*/ 2147483647 h 527"/>
                    <a:gd name="T96" fmla="*/ 2147483647 w 667"/>
                    <a:gd name="T97" fmla="*/ 2147483647 h 527"/>
                    <a:gd name="T98" fmla="*/ 2147483647 w 667"/>
                    <a:gd name="T99" fmla="*/ 2147483647 h 527"/>
                    <a:gd name="T100" fmla="*/ 2147483647 w 667"/>
                    <a:gd name="T101" fmla="*/ 2147483647 h 527"/>
                    <a:gd name="T102" fmla="*/ 2147483647 w 667"/>
                    <a:gd name="T103" fmla="*/ 2147483647 h 527"/>
                    <a:gd name="T104" fmla="*/ 2147483647 w 667"/>
                    <a:gd name="T105" fmla="*/ 2147483647 h 527"/>
                    <a:gd name="T106" fmla="*/ 2147483647 w 667"/>
                    <a:gd name="T107" fmla="*/ 2147483647 h 527"/>
                    <a:gd name="T108" fmla="*/ 2147483647 w 667"/>
                    <a:gd name="T109" fmla="*/ 2147483647 h 527"/>
                    <a:gd name="T110" fmla="*/ 2147483647 w 667"/>
                    <a:gd name="T111" fmla="*/ 2147483647 h 527"/>
                    <a:gd name="T112" fmla="*/ 2147483647 w 667"/>
                    <a:gd name="T113" fmla="*/ 2147483647 h 527"/>
                    <a:gd name="T114" fmla="*/ 2147483647 w 667"/>
                    <a:gd name="T115" fmla="*/ 2147483647 h 527"/>
                    <a:gd name="T116" fmla="*/ 2147483647 w 667"/>
                    <a:gd name="T117" fmla="*/ 2147483647 h 527"/>
                    <a:gd name="T118" fmla="*/ 2147483647 w 667"/>
                    <a:gd name="T119" fmla="*/ 2147483647 h 527"/>
                    <a:gd name="T120" fmla="*/ 2147483647 w 667"/>
                    <a:gd name="T121" fmla="*/ 2147483647 h 527"/>
                    <a:gd name="T122" fmla="*/ 2147483647 w 667"/>
                    <a:gd name="T123" fmla="*/ 2147483647 h 527"/>
                    <a:gd name="T124" fmla="*/ 2147483647 w 667"/>
                    <a:gd name="T125" fmla="*/ 2147483647 h 5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67"/>
                    <a:gd name="T190" fmla="*/ 0 h 527"/>
                    <a:gd name="T191" fmla="*/ 667 w 667"/>
                    <a:gd name="T192" fmla="*/ 527 h 5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67" h="527">
                      <a:moveTo>
                        <a:pt x="19" y="177"/>
                      </a:moveTo>
                      <a:lnTo>
                        <a:pt x="0" y="171"/>
                      </a:lnTo>
                      <a:lnTo>
                        <a:pt x="2" y="169"/>
                      </a:lnTo>
                      <a:lnTo>
                        <a:pt x="4" y="167"/>
                      </a:lnTo>
                      <a:lnTo>
                        <a:pt x="4" y="166"/>
                      </a:lnTo>
                      <a:lnTo>
                        <a:pt x="4" y="164"/>
                      </a:lnTo>
                      <a:lnTo>
                        <a:pt x="5" y="166"/>
                      </a:lnTo>
                      <a:lnTo>
                        <a:pt x="7" y="164"/>
                      </a:lnTo>
                      <a:lnTo>
                        <a:pt x="9" y="164"/>
                      </a:lnTo>
                      <a:lnTo>
                        <a:pt x="10" y="164"/>
                      </a:lnTo>
                      <a:lnTo>
                        <a:pt x="12" y="162"/>
                      </a:lnTo>
                      <a:lnTo>
                        <a:pt x="12" y="161"/>
                      </a:lnTo>
                      <a:lnTo>
                        <a:pt x="14" y="161"/>
                      </a:lnTo>
                      <a:lnTo>
                        <a:pt x="14" y="159"/>
                      </a:lnTo>
                      <a:lnTo>
                        <a:pt x="15" y="159"/>
                      </a:lnTo>
                      <a:lnTo>
                        <a:pt x="17" y="158"/>
                      </a:lnTo>
                      <a:lnTo>
                        <a:pt x="19" y="158"/>
                      </a:lnTo>
                      <a:lnTo>
                        <a:pt x="19" y="156"/>
                      </a:lnTo>
                      <a:lnTo>
                        <a:pt x="20" y="156"/>
                      </a:lnTo>
                      <a:lnTo>
                        <a:pt x="20" y="158"/>
                      </a:lnTo>
                      <a:lnTo>
                        <a:pt x="22" y="158"/>
                      </a:lnTo>
                      <a:lnTo>
                        <a:pt x="22" y="156"/>
                      </a:lnTo>
                      <a:lnTo>
                        <a:pt x="24" y="156"/>
                      </a:lnTo>
                      <a:lnTo>
                        <a:pt x="26" y="156"/>
                      </a:lnTo>
                      <a:lnTo>
                        <a:pt x="26" y="154"/>
                      </a:lnTo>
                      <a:lnTo>
                        <a:pt x="27" y="154"/>
                      </a:lnTo>
                      <a:lnTo>
                        <a:pt x="29" y="153"/>
                      </a:lnTo>
                      <a:lnTo>
                        <a:pt x="31" y="153"/>
                      </a:lnTo>
                      <a:lnTo>
                        <a:pt x="31" y="151"/>
                      </a:lnTo>
                      <a:lnTo>
                        <a:pt x="31" y="149"/>
                      </a:lnTo>
                      <a:lnTo>
                        <a:pt x="32" y="149"/>
                      </a:lnTo>
                      <a:lnTo>
                        <a:pt x="34" y="148"/>
                      </a:lnTo>
                      <a:lnTo>
                        <a:pt x="36" y="146"/>
                      </a:lnTo>
                      <a:lnTo>
                        <a:pt x="36" y="144"/>
                      </a:lnTo>
                      <a:lnTo>
                        <a:pt x="37" y="143"/>
                      </a:lnTo>
                      <a:lnTo>
                        <a:pt x="39" y="141"/>
                      </a:lnTo>
                      <a:lnTo>
                        <a:pt x="39" y="139"/>
                      </a:lnTo>
                      <a:lnTo>
                        <a:pt x="41" y="138"/>
                      </a:lnTo>
                      <a:lnTo>
                        <a:pt x="41" y="136"/>
                      </a:lnTo>
                      <a:lnTo>
                        <a:pt x="39" y="135"/>
                      </a:lnTo>
                      <a:lnTo>
                        <a:pt x="37" y="135"/>
                      </a:lnTo>
                      <a:lnTo>
                        <a:pt x="37" y="133"/>
                      </a:lnTo>
                      <a:lnTo>
                        <a:pt x="39" y="133"/>
                      </a:lnTo>
                      <a:lnTo>
                        <a:pt x="41" y="133"/>
                      </a:lnTo>
                      <a:lnTo>
                        <a:pt x="41" y="135"/>
                      </a:lnTo>
                      <a:lnTo>
                        <a:pt x="42" y="135"/>
                      </a:lnTo>
                      <a:lnTo>
                        <a:pt x="42" y="133"/>
                      </a:lnTo>
                      <a:lnTo>
                        <a:pt x="44" y="133"/>
                      </a:lnTo>
                      <a:lnTo>
                        <a:pt x="44" y="135"/>
                      </a:lnTo>
                      <a:lnTo>
                        <a:pt x="46" y="135"/>
                      </a:lnTo>
                      <a:lnTo>
                        <a:pt x="47" y="133"/>
                      </a:lnTo>
                      <a:lnTo>
                        <a:pt x="47" y="135"/>
                      </a:lnTo>
                      <a:lnTo>
                        <a:pt x="49" y="135"/>
                      </a:lnTo>
                      <a:lnTo>
                        <a:pt x="51" y="135"/>
                      </a:lnTo>
                      <a:lnTo>
                        <a:pt x="49" y="135"/>
                      </a:lnTo>
                      <a:lnTo>
                        <a:pt x="49" y="133"/>
                      </a:lnTo>
                      <a:lnTo>
                        <a:pt x="51" y="133"/>
                      </a:lnTo>
                      <a:lnTo>
                        <a:pt x="53" y="133"/>
                      </a:lnTo>
                      <a:lnTo>
                        <a:pt x="54" y="135"/>
                      </a:lnTo>
                      <a:lnTo>
                        <a:pt x="56" y="135"/>
                      </a:lnTo>
                      <a:lnTo>
                        <a:pt x="58" y="135"/>
                      </a:lnTo>
                      <a:lnTo>
                        <a:pt x="59" y="135"/>
                      </a:lnTo>
                      <a:lnTo>
                        <a:pt x="61" y="135"/>
                      </a:lnTo>
                      <a:lnTo>
                        <a:pt x="63" y="135"/>
                      </a:lnTo>
                      <a:lnTo>
                        <a:pt x="63" y="133"/>
                      </a:lnTo>
                      <a:lnTo>
                        <a:pt x="66" y="133"/>
                      </a:lnTo>
                      <a:lnTo>
                        <a:pt x="68" y="133"/>
                      </a:lnTo>
                      <a:lnTo>
                        <a:pt x="71" y="133"/>
                      </a:lnTo>
                      <a:lnTo>
                        <a:pt x="73" y="133"/>
                      </a:lnTo>
                      <a:lnTo>
                        <a:pt x="73" y="131"/>
                      </a:lnTo>
                      <a:lnTo>
                        <a:pt x="74" y="131"/>
                      </a:lnTo>
                      <a:lnTo>
                        <a:pt x="76" y="133"/>
                      </a:lnTo>
                      <a:lnTo>
                        <a:pt x="78" y="133"/>
                      </a:lnTo>
                      <a:lnTo>
                        <a:pt x="80" y="133"/>
                      </a:lnTo>
                      <a:lnTo>
                        <a:pt x="81" y="135"/>
                      </a:lnTo>
                      <a:lnTo>
                        <a:pt x="83" y="136"/>
                      </a:lnTo>
                      <a:lnTo>
                        <a:pt x="85" y="136"/>
                      </a:lnTo>
                      <a:lnTo>
                        <a:pt x="85" y="138"/>
                      </a:lnTo>
                      <a:lnTo>
                        <a:pt x="85" y="139"/>
                      </a:lnTo>
                      <a:lnTo>
                        <a:pt x="86" y="139"/>
                      </a:lnTo>
                      <a:lnTo>
                        <a:pt x="88" y="139"/>
                      </a:lnTo>
                      <a:lnTo>
                        <a:pt x="90" y="139"/>
                      </a:lnTo>
                      <a:lnTo>
                        <a:pt x="90" y="141"/>
                      </a:lnTo>
                      <a:lnTo>
                        <a:pt x="90" y="143"/>
                      </a:lnTo>
                      <a:lnTo>
                        <a:pt x="91" y="141"/>
                      </a:lnTo>
                      <a:lnTo>
                        <a:pt x="91" y="143"/>
                      </a:lnTo>
                      <a:lnTo>
                        <a:pt x="91" y="144"/>
                      </a:lnTo>
                      <a:lnTo>
                        <a:pt x="93" y="144"/>
                      </a:lnTo>
                      <a:lnTo>
                        <a:pt x="95" y="146"/>
                      </a:lnTo>
                      <a:lnTo>
                        <a:pt x="95" y="148"/>
                      </a:lnTo>
                      <a:lnTo>
                        <a:pt x="96" y="149"/>
                      </a:lnTo>
                      <a:lnTo>
                        <a:pt x="98" y="149"/>
                      </a:lnTo>
                      <a:lnTo>
                        <a:pt x="98" y="148"/>
                      </a:lnTo>
                      <a:lnTo>
                        <a:pt x="100" y="148"/>
                      </a:lnTo>
                      <a:lnTo>
                        <a:pt x="100" y="146"/>
                      </a:lnTo>
                      <a:lnTo>
                        <a:pt x="102" y="146"/>
                      </a:lnTo>
                      <a:lnTo>
                        <a:pt x="103" y="146"/>
                      </a:lnTo>
                      <a:lnTo>
                        <a:pt x="105" y="144"/>
                      </a:lnTo>
                      <a:lnTo>
                        <a:pt x="105" y="143"/>
                      </a:lnTo>
                      <a:lnTo>
                        <a:pt x="107" y="141"/>
                      </a:lnTo>
                      <a:lnTo>
                        <a:pt x="107" y="138"/>
                      </a:lnTo>
                      <a:lnTo>
                        <a:pt x="108" y="136"/>
                      </a:lnTo>
                      <a:lnTo>
                        <a:pt x="110" y="136"/>
                      </a:lnTo>
                      <a:lnTo>
                        <a:pt x="112" y="135"/>
                      </a:lnTo>
                      <a:lnTo>
                        <a:pt x="113" y="135"/>
                      </a:lnTo>
                      <a:lnTo>
                        <a:pt x="115" y="133"/>
                      </a:lnTo>
                      <a:lnTo>
                        <a:pt x="117" y="133"/>
                      </a:lnTo>
                      <a:lnTo>
                        <a:pt x="118" y="133"/>
                      </a:lnTo>
                      <a:lnTo>
                        <a:pt x="118" y="135"/>
                      </a:lnTo>
                      <a:lnTo>
                        <a:pt x="120" y="135"/>
                      </a:lnTo>
                      <a:lnTo>
                        <a:pt x="122" y="135"/>
                      </a:lnTo>
                      <a:lnTo>
                        <a:pt x="122" y="136"/>
                      </a:lnTo>
                      <a:lnTo>
                        <a:pt x="123" y="136"/>
                      </a:lnTo>
                      <a:lnTo>
                        <a:pt x="123" y="138"/>
                      </a:lnTo>
                      <a:lnTo>
                        <a:pt x="125" y="138"/>
                      </a:lnTo>
                      <a:lnTo>
                        <a:pt x="127" y="138"/>
                      </a:lnTo>
                      <a:lnTo>
                        <a:pt x="129" y="138"/>
                      </a:lnTo>
                      <a:lnTo>
                        <a:pt x="130" y="138"/>
                      </a:lnTo>
                      <a:lnTo>
                        <a:pt x="130" y="136"/>
                      </a:lnTo>
                      <a:lnTo>
                        <a:pt x="130" y="135"/>
                      </a:lnTo>
                      <a:lnTo>
                        <a:pt x="130" y="133"/>
                      </a:lnTo>
                      <a:lnTo>
                        <a:pt x="129" y="133"/>
                      </a:lnTo>
                      <a:lnTo>
                        <a:pt x="129" y="131"/>
                      </a:lnTo>
                      <a:lnTo>
                        <a:pt x="130" y="130"/>
                      </a:lnTo>
                      <a:lnTo>
                        <a:pt x="130" y="126"/>
                      </a:lnTo>
                      <a:lnTo>
                        <a:pt x="130" y="125"/>
                      </a:lnTo>
                      <a:lnTo>
                        <a:pt x="129" y="125"/>
                      </a:lnTo>
                      <a:lnTo>
                        <a:pt x="130" y="125"/>
                      </a:lnTo>
                      <a:lnTo>
                        <a:pt x="130" y="123"/>
                      </a:lnTo>
                      <a:lnTo>
                        <a:pt x="132" y="125"/>
                      </a:lnTo>
                      <a:lnTo>
                        <a:pt x="134" y="125"/>
                      </a:lnTo>
                      <a:lnTo>
                        <a:pt x="134" y="126"/>
                      </a:lnTo>
                      <a:lnTo>
                        <a:pt x="135" y="126"/>
                      </a:lnTo>
                      <a:lnTo>
                        <a:pt x="135" y="125"/>
                      </a:lnTo>
                      <a:lnTo>
                        <a:pt x="139" y="125"/>
                      </a:lnTo>
                      <a:lnTo>
                        <a:pt x="139" y="123"/>
                      </a:lnTo>
                      <a:lnTo>
                        <a:pt x="140" y="123"/>
                      </a:lnTo>
                      <a:lnTo>
                        <a:pt x="142" y="123"/>
                      </a:lnTo>
                      <a:lnTo>
                        <a:pt x="142" y="121"/>
                      </a:lnTo>
                      <a:lnTo>
                        <a:pt x="144" y="121"/>
                      </a:lnTo>
                      <a:lnTo>
                        <a:pt x="144" y="120"/>
                      </a:lnTo>
                      <a:lnTo>
                        <a:pt x="145" y="120"/>
                      </a:lnTo>
                      <a:lnTo>
                        <a:pt x="147" y="118"/>
                      </a:lnTo>
                      <a:lnTo>
                        <a:pt x="149" y="118"/>
                      </a:lnTo>
                      <a:lnTo>
                        <a:pt x="150" y="120"/>
                      </a:lnTo>
                      <a:lnTo>
                        <a:pt x="152" y="120"/>
                      </a:lnTo>
                      <a:lnTo>
                        <a:pt x="152" y="121"/>
                      </a:lnTo>
                      <a:lnTo>
                        <a:pt x="152" y="123"/>
                      </a:lnTo>
                      <a:lnTo>
                        <a:pt x="152" y="125"/>
                      </a:lnTo>
                      <a:lnTo>
                        <a:pt x="154" y="126"/>
                      </a:lnTo>
                      <a:lnTo>
                        <a:pt x="154" y="128"/>
                      </a:lnTo>
                      <a:lnTo>
                        <a:pt x="154" y="130"/>
                      </a:lnTo>
                      <a:lnTo>
                        <a:pt x="156" y="130"/>
                      </a:lnTo>
                      <a:lnTo>
                        <a:pt x="156" y="131"/>
                      </a:lnTo>
                      <a:lnTo>
                        <a:pt x="154" y="133"/>
                      </a:lnTo>
                      <a:lnTo>
                        <a:pt x="154" y="135"/>
                      </a:lnTo>
                      <a:lnTo>
                        <a:pt x="156" y="135"/>
                      </a:lnTo>
                      <a:lnTo>
                        <a:pt x="157" y="135"/>
                      </a:lnTo>
                      <a:lnTo>
                        <a:pt x="157" y="136"/>
                      </a:lnTo>
                      <a:lnTo>
                        <a:pt x="159" y="136"/>
                      </a:lnTo>
                      <a:lnTo>
                        <a:pt x="161" y="136"/>
                      </a:lnTo>
                      <a:lnTo>
                        <a:pt x="161" y="135"/>
                      </a:lnTo>
                      <a:lnTo>
                        <a:pt x="162" y="135"/>
                      </a:lnTo>
                      <a:lnTo>
                        <a:pt x="164" y="135"/>
                      </a:lnTo>
                      <a:lnTo>
                        <a:pt x="162" y="133"/>
                      </a:lnTo>
                      <a:lnTo>
                        <a:pt x="164" y="133"/>
                      </a:lnTo>
                      <a:lnTo>
                        <a:pt x="164" y="131"/>
                      </a:lnTo>
                      <a:lnTo>
                        <a:pt x="166" y="131"/>
                      </a:lnTo>
                      <a:lnTo>
                        <a:pt x="167" y="131"/>
                      </a:lnTo>
                      <a:lnTo>
                        <a:pt x="167" y="130"/>
                      </a:lnTo>
                      <a:lnTo>
                        <a:pt x="169" y="130"/>
                      </a:lnTo>
                      <a:lnTo>
                        <a:pt x="167" y="128"/>
                      </a:lnTo>
                      <a:lnTo>
                        <a:pt x="169" y="128"/>
                      </a:lnTo>
                      <a:lnTo>
                        <a:pt x="169" y="126"/>
                      </a:lnTo>
                      <a:lnTo>
                        <a:pt x="171" y="126"/>
                      </a:lnTo>
                      <a:lnTo>
                        <a:pt x="171" y="125"/>
                      </a:lnTo>
                      <a:lnTo>
                        <a:pt x="172" y="125"/>
                      </a:lnTo>
                      <a:lnTo>
                        <a:pt x="172" y="123"/>
                      </a:lnTo>
                      <a:lnTo>
                        <a:pt x="172" y="121"/>
                      </a:lnTo>
                      <a:lnTo>
                        <a:pt x="174" y="121"/>
                      </a:lnTo>
                      <a:lnTo>
                        <a:pt x="176" y="121"/>
                      </a:lnTo>
                      <a:lnTo>
                        <a:pt x="176" y="120"/>
                      </a:lnTo>
                      <a:lnTo>
                        <a:pt x="178" y="120"/>
                      </a:lnTo>
                      <a:lnTo>
                        <a:pt x="178" y="118"/>
                      </a:lnTo>
                      <a:lnTo>
                        <a:pt x="178" y="116"/>
                      </a:lnTo>
                      <a:lnTo>
                        <a:pt x="179" y="116"/>
                      </a:lnTo>
                      <a:lnTo>
                        <a:pt x="179" y="115"/>
                      </a:lnTo>
                      <a:lnTo>
                        <a:pt x="179" y="113"/>
                      </a:lnTo>
                      <a:lnTo>
                        <a:pt x="178" y="112"/>
                      </a:lnTo>
                      <a:lnTo>
                        <a:pt x="179" y="112"/>
                      </a:lnTo>
                      <a:lnTo>
                        <a:pt x="179" y="110"/>
                      </a:lnTo>
                      <a:lnTo>
                        <a:pt x="178" y="110"/>
                      </a:lnTo>
                      <a:lnTo>
                        <a:pt x="178" y="108"/>
                      </a:lnTo>
                      <a:lnTo>
                        <a:pt x="178" y="107"/>
                      </a:lnTo>
                      <a:lnTo>
                        <a:pt x="179" y="105"/>
                      </a:lnTo>
                      <a:lnTo>
                        <a:pt x="179" y="103"/>
                      </a:lnTo>
                      <a:lnTo>
                        <a:pt x="179" y="102"/>
                      </a:lnTo>
                      <a:lnTo>
                        <a:pt x="179" y="100"/>
                      </a:lnTo>
                      <a:lnTo>
                        <a:pt x="179" y="98"/>
                      </a:lnTo>
                      <a:lnTo>
                        <a:pt x="181" y="98"/>
                      </a:lnTo>
                      <a:lnTo>
                        <a:pt x="183" y="98"/>
                      </a:lnTo>
                      <a:lnTo>
                        <a:pt x="183" y="97"/>
                      </a:lnTo>
                      <a:lnTo>
                        <a:pt x="184" y="97"/>
                      </a:lnTo>
                      <a:lnTo>
                        <a:pt x="184" y="95"/>
                      </a:lnTo>
                      <a:lnTo>
                        <a:pt x="186" y="95"/>
                      </a:lnTo>
                      <a:lnTo>
                        <a:pt x="188" y="93"/>
                      </a:lnTo>
                      <a:lnTo>
                        <a:pt x="189" y="93"/>
                      </a:lnTo>
                      <a:lnTo>
                        <a:pt x="191" y="93"/>
                      </a:lnTo>
                      <a:lnTo>
                        <a:pt x="193" y="93"/>
                      </a:lnTo>
                      <a:lnTo>
                        <a:pt x="193" y="95"/>
                      </a:lnTo>
                      <a:lnTo>
                        <a:pt x="194" y="97"/>
                      </a:lnTo>
                      <a:lnTo>
                        <a:pt x="196" y="97"/>
                      </a:lnTo>
                      <a:lnTo>
                        <a:pt x="198" y="97"/>
                      </a:lnTo>
                      <a:lnTo>
                        <a:pt x="198" y="95"/>
                      </a:lnTo>
                      <a:lnTo>
                        <a:pt x="199" y="93"/>
                      </a:lnTo>
                      <a:lnTo>
                        <a:pt x="201" y="93"/>
                      </a:lnTo>
                      <a:lnTo>
                        <a:pt x="203" y="95"/>
                      </a:lnTo>
                      <a:lnTo>
                        <a:pt x="203" y="97"/>
                      </a:lnTo>
                      <a:lnTo>
                        <a:pt x="205" y="95"/>
                      </a:lnTo>
                      <a:lnTo>
                        <a:pt x="206" y="95"/>
                      </a:lnTo>
                      <a:lnTo>
                        <a:pt x="208" y="97"/>
                      </a:lnTo>
                      <a:lnTo>
                        <a:pt x="210" y="97"/>
                      </a:lnTo>
                      <a:lnTo>
                        <a:pt x="210" y="95"/>
                      </a:lnTo>
                      <a:lnTo>
                        <a:pt x="211" y="95"/>
                      </a:lnTo>
                      <a:lnTo>
                        <a:pt x="211" y="93"/>
                      </a:lnTo>
                      <a:lnTo>
                        <a:pt x="213" y="93"/>
                      </a:lnTo>
                      <a:lnTo>
                        <a:pt x="215" y="93"/>
                      </a:lnTo>
                      <a:lnTo>
                        <a:pt x="216" y="92"/>
                      </a:lnTo>
                      <a:lnTo>
                        <a:pt x="218" y="93"/>
                      </a:lnTo>
                      <a:lnTo>
                        <a:pt x="220" y="93"/>
                      </a:lnTo>
                      <a:lnTo>
                        <a:pt x="221" y="92"/>
                      </a:lnTo>
                      <a:lnTo>
                        <a:pt x="223" y="93"/>
                      </a:lnTo>
                      <a:lnTo>
                        <a:pt x="225" y="93"/>
                      </a:lnTo>
                      <a:lnTo>
                        <a:pt x="225" y="92"/>
                      </a:lnTo>
                      <a:lnTo>
                        <a:pt x="228" y="92"/>
                      </a:lnTo>
                      <a:lnTo>
                        <a:pt x="230" y="90"/>
                      </a:lnTo>
                      <a:lnTo>
                        <a:pt x="232" y="90"/>
                      </a:lnTo>
                      <a:lnTo>
                        <a:pt x="235" y="89"/>
                      </a:lnTo>
                      <a:lnTo>
                        <a:pt x="237" y="89"/>
                      </a:lnTo>
                      <a:lnTo>
                        <a:pt x="237" y="90"/>
                      </a:lnTo>
                      <a:lnTo>
                        <a:pt x="235" y="93"/>
                      </a:lnTo>
                      <a:lnTo>
                        <a:pt x="237" y="93"/>
                      </a:lnTo>
                      <a:lnTo>
                        <a:pt x="237" y="95"/>
                      </a:lnTo>
                      <a:lnTo>
                        <a:pt x="238" y="95"/>
                      </a:lnTo>
                      <a:lnTo>
                        <a:pt x="240" y="93"/>
                      </a:lnTo>
                      <a:lnTo>
                        <a:pt x="242" y="93"/>
                      </a:lnTo>
                      <a:lnTo>
                        <a:pt x="243" y="93"/>
                      </a:lnTo>
                      <a:lnTo>
                        <a:pt x="245" y="93"/>
                      </a:lnTo>
                      <a:lnTo>
                        <a:pt x="247" y="93"/>
                      </a:lnTo>
                      <a:lnTo>
                        <a:pt x="250" y="92"/>
                      </a:lnTo>
                      <a:lnTo>
                        <a:pt x="250" y="90"/>
                      </a:lnTo>
                      <a:lnTo>
                        <a:pt x="252" y="92"/>
                      </a:lnTo>
                      <a:lnTo>
                        <a:pt x="254" y="90"/>
                      </a:lnTo>
                      <a:lnTo>
                        <a:pt x="254" y="89"/>
                      </a:lnTo>
                      <a:lnTo>
                        <a:pt x="252" y="85"/>
                      </a:lnTo>
                      <a:lnTo>
                        <a:pt x="252" y="84"/>
                      </a:lnTo>
                      <a:lnTo>
                        <a:pt x="252" y="82"/>
                      </a:lnTo>
                      <a:lnTo>
                        <a:pt x="252" y="80"/>
                      </a:lnTo>
                      <a:lnTo>
                        <a:pt x="254" y="79"/>
                      </a:lnTo>
                      <a:lnTo>
                        <a:pt x="254" y="77"/>
                      </a:lnTo>
                      <a:lnTo>
                        <a:pt x="255" y="77"/>
                      </a:lnTo>
                      <a:lnTo>
                        <a:pt x="254" y="75"/>
                      </a:lnTo>
                      <a:lnTo>
                        <a:pt x="254" y="74"/>
                      </a:lnTo>
                      <a:lnTo>
                        <a:pt x="254" y="72"/>
                      </a:lnTo>
                      <a:lnTo>
                        <a:pt x="254" y="70"/>
                      </a:lnTo>
                      <a:lnTo>
                        <a:pt x="254" y="69"/>
                      </a:lnTo>
                      <a:lnTo>
                        <a:pt x="255" y="69"/>
                      </a:lnTo>
                      <a:lnTo>
                        <a:pt x="257" y="69"/>
                      </a:lnTo>
                      <a:lnTo>
                        <a:pt x="257" y="70"/>
                      </a:lnTo>
                      <a:lnTo>
                        <a:pt x="259" y="69"/>
                      </a:lnTo>
                      <a:lnTo>
                        <a:pt x="260" y="69"/>
                      </a:lnTo>
                      <a:lnTo>
                        <a:pt x="262" y="69"/>
                      </a:lnTo>
                      <a:lnTo>
                        <a:pt x="264" y="69"/>
                      </a:lnTo>
                      <a:lnTo>
                        <a:pt x="264" y="67"/>
                      </a:lnTo>
                      <a:lnTo>
                        <a:pt x="264" y="66"/>
                      </a:lnTo>
                      <a:lnTo>
                        <a:pt x="265" y="66"/>
                      </a:lnTo>
                      <a:lnTo>
                        <a:pt x="265" y="64"/>
                      </a:lnTo>
                      <a:lnTo>
                        <a:pt x="265" y="62"/>
                      </a:lnTo>
                      <a:lnTo>
                        <a:pt x="267" y="62"/>
                      </a:lnTo>
                      <a:lnTo>
                        <a:pt x="265" y="61"/>
                      </a:lnTo>
                      <a:lnTo>
                        <a:pt x="267" y="61"/>
                      </a:lnTo>
                      <a:lnTo>
                        <a:pt x="267" y="59"/>
                      </a:lnTo>
                      <a:lnTo>
                        <a:pt x="269" y="57"/>
                      </a:lnTo>
                      <a:lnTo>
                        <a:pt x="269" y="56"/>
                      </a:lnTo>
                      <a:lnTo>
                        <a:pt x="270" y="57"/>
                      </a:lnTo>
                      <a:lnTo>
                        <a:pt x="270" y="59"/>
                      </a:lnTo>
                      <a:lnTo>
                        <a:pt x="272" y="59"/>
                      </a:lnTo>
                      <a:lnTo>
                        <a:pt x="272" y="57"/>
                      </a:lnTo>
                      <a:lnTo>
                        <a:pt x="274" y="57"/>
                      </a:lnTo>
                      <a:lnTo>
                        <a:pt x="274" y="56"/>
                      </a:lnTo>
                      <a:lnTo>
                        <a:pt x="274" y="54"/>
                      </a:lnTo>
                      <a:lnTo>
                        <a:pt x="272" y="54"/>
                      </a:lnTo>
                      <a:lnTo>
                        <a:pt x="272" y="52"/>
                      </a:lnTo>
                      <a:lnTo>
                        <a:pt x="272" y="51"/>
                      </a:lnTo>
                      <a:lnTo>
                        <a:pt x="270" y="49"/>
                      </a:lnTo>
                      <a:lnTo>
                        <a:pt x="269" y="49"/>
                      </a:lnTo>
                      <a:lnTo>
                        <a:pt x="269" y="47"/>
                      </a:lnTo>
                      <a:lnTo>
                        <a:pt x="270" y="46"/>
                      </a:lnTo>
                      <a:lnTo>
                        <a:pt x="272" y="44"/>
                      </a:lnTo>
                      <a:lnTo>
                        <a:pt x="272" y="43"/>
                      </a:lnTo>
                      <a:lnTo>
                        <a:pt x="270" y="43"/>
                      </a:lnTo>
                      <a:lnTo>
                        <a:pt x="270" y="41"/>
                      </a:lnTo>
                      <a:lnTo>
                        <a:pt x="269" y="41"/>
                      </a:lnTo>
                      <a:lnTo>
                        <a:pt x="270" y="39"/>
                      </a:lnTo>
                      <a:lnTo>
                        <a:pt x="272" y="38"/>
                      </a:lnTo>
                      <a:lnTo>
                        <a:pt x="272" y="36"/>
                      </a:lnTo>
                      <a:lnTo>
                        <a:pt x="272" y="34"/>
                      </a:lnTo>
                      <a:lnTo>
                        <a:pt x="272" y="33"/>
                      </a:lnTo>
                      <a:lnTo>
                        <a:pt x="274" y="33"/>
                      </a:lnTo>
                      <a:lnTo>
                        <a:pt x="275" y="33"/>
                      </a:lnTo>
                      <a:lnTo>
                        <a:pt x="275" y="31"/>
                      </a:lnTo>
                      <a:lnTo>
                        <a:pt x="277" y="31"/>
                      </a:lnTo>
                      <a:lnTo>
                        <a:pt x="277" y="29"/>
                      </a:lnTo>
                      <a:lnTo>
                        <a:pt x="279" y="29"/>
                      </a:lnTo>
                      <a:lnTo>
                        <a:pt x="281" y="29"/>
                      </a:lnTo>
                      <a:lnTo>
                        <a:pt x="284" y="31"/>
                      </a:lnTo>
                      <a:lnTo>
                        <a:pt x="286" y="33"/>
                      </a:lnTo>
                      <a:lnTo>
                        <a:pt x="287" y="33"/>
                      </a:lnTo>
                      <a:lnTo>
                        <a:pt x="289" y="33"/>
                      </a:lnTo>
                      <a:lnTo>
                        <a:pt x="289" y="31"/>
                      </a:lnTo>
                      <a:lnTo>
                        <a:pt x="289" y="29"/>
                      </a:lnTo>
                      <a:lnTo>
                        <a:pt x="291" y="28"/>
                      </a:lnTo>
                      <a:lnTo>
                        <a:pt x="292" y="26"/>
                      </a:lnTo>
                      <a:lnTo>
                        <a:pt x="292" y="24"/>
                      </a:lnTo>
                      <a:lnTo>
                        <a:pt x="291" y="23"/>
                      </a:lnTo>
                      <a:lnTo>
                        <a:pt x="291" y="21"/>
                      </a:lnTo>
                      <a:lnTo>
                        <a:pt x="291" y="20"/>
                      </a:lnTo>
                      <a:lnTo>
                        <a:pt x="292" y="20"/>
                      </a:lnTo>
                      <a:lnTo>
                        <a:pt x="296" y="18"/>
                      </a:lnTo>
                      <a:lnTo>
                        <a:pt x="296" y="16"/>
                      </a:lnTo>
                      <a:lnTo>
                        <a:pt x="297" y="15"/>
                      </a:lnTo>
                      <a:lnTo>
                        <a:pt x="299" y="11"/>
                      </a:lnTo>
                      <a:lnTo>
                        <a:pt x="297" y="11"/>
                      </a:lnTo>
                      <a:lnTo>
                        <a:pt x="297" y="10"/>
                      </a:lnTo>
                      <a:lnTo>
                        <a:pt x="299" y="8"/>
                      </a:lnTo>
                      <a:lnTo>
                        <a:pt x="301" y="8"/>
                      </a:lnTo>
                      <a:lnTo>
                        <a:pt x="301" y="6"/>
                      </a:lnTo>
                      <a:lnTo>
                        <a:pt x="302" y="6"/>
                      </a:lnTo>
                      <a:lnTo>
                        <a:pt x="302" y="5"/>
                      </a:lnTo>
                      <a:lnTo>
                        <a:pt x="302" y="3"/>
                      </a:lnTo>
                      <a:lnTo>
                        <a:pt x="302" y="2"/>
                      </a:lnTo>
                      <a:lnTo>
                        <a:pt x="302" y="0"/>
                      </a:lnTo>
                      <a:lnTo>
                        <a:pt x="314" y="0"/>
                      </a:lnTo>
                      <a:lnTo>
                        <a:pt x="351" y="0"/>
                      </a:lnTo>
                      <a:lnTo>
                        <a:pt x="373" y="0"/>
                      </a:lnTo>
                      <a:lnTo>
                        <a:pt x="375" y="2"/>
                      </a:lnTo>
                      <a:lnTo>
                        <a:pt x="377" y="2"/>
                      </a:lnTo>
                      <a:lnTo>
                        <a:pt x="378" y="3"/>
                      </a:lnTo>
                      <a:lnTo>
                        <a:pt x="378" y="5"/>
                      </a:lnTo>
                      <a:lnTo>
                        <a:pt x="380" y="5"/>
                      </a:lnTo>
                      <a:lnTo>
                        <a:pt x="382" y="5"/>
                      </a:lnTo>
                      <a:lnTo>
                        <a:pt x="384" y="5"/>
                      </a:lnTo>
                      <a:lnTo>
                        <a:pt x="384" y="6"/>
                      </a:lnTo>
                      <a:lnTo>
                        <a:pt x="385" y="6"/>
                      </a:lnTo>
                      <a:lnTo>
                        <a:pt x="387" y="6"/>
                      </a:lnTo>
                      <a:lnTo>
                        <a:pt x="387" y="8"/>
                      </a:lnTo>
                      <a:lnTo>
                        <a:pt x="387" y="10"/>
                      </a:lnTo>
                      <a:lnTo>
                        <a:pt x="389" y="10"/>
                      </a:lnTo>
                      <a:lnTo>
                        <a:pt x="390" y="11"/>
                      </a:lnTo>
                      <a:lnTo>
                        <a:pt x="392" y="13"/>
                      </a:lnTo>
                      <a:lnTo>
                        <a:pt x="392" y="15"/>
                      </a:lnTo>
                      <a:lnTo>
                        <a:pt x="392" y="16"/>
                      </a:lnTo>
                      <a:lnTo>
                        <a:pt x="392" y="18"/>
                      </a:lnTo>
                      <a:lnTo>
                        <a:pt x="392" y="20"/>
                      </a:lnTo>
                      <a:lnTo>
                        <a:pt x="392" y="21"/>
                      </a:lnTo>
                      <a:lnTo>
                        <a:pt x="394" y="21"/>
                      </a:lnTo>
                      <a:lnTo>
                        <a:pt x="395" y="23"/>
                      </a:lnTo>
                      <a:lnTo>
                        <a:pt x="394" y="24"/>
                      </a:lnTo>
                      <a:lnTo>
                        <a:pt x="395" y="24"/>
                      </a:lnTo>
                      <a:lnTo>
                        <a:pt x="397" y="26"/>
                      </a:lnTo>
                      <a:lnTo>
                        <a:pt x="399" y="26"/>
                      </a:lnTo>
                      <a:lnTo>
                        <a:pt x="399" y="28"/>
                      </a:lnTo>
                      <a:lnTo>
                        <a:pt x="400" y="28"/>
                      </a:lnTo>
                      <a:lnTo>
                        <a:pt x="402" y="28"/>
                      </a:lnTo>
                      <a:lnTo>
                        <a:pt x="402" y="29"/>
                      </a:lnTo>
                      <a:lnTo>
                        <a:pt x="404" y="29"/>
                      </a:lnTo>
                      <a:lnTo>
                        <a:pt x="404" y="31"/>
                      </a:lnTo>
                      <a:lnTo>
                        <a:pt x="404" y="33"/>
                      </a:lnTo>
                      <a:lnTo>
                        <a:pt x="404" y="34"/>
                      </a:lnTo>
                      <a:lnTo>
                        <a:pt x="404" y="36"/>
                      </a:lnTo>
                      <a:lnTo>
                        <a:pt x="406" y="36"/>
                      </a:lnTo>
                      <a:lnTo>
                        <a:pt x="406" y="38"/>
                      </a:lnTo>
                      <a:lnTo>
                        <a:pt x="407" y="38"/>
                      </a:lnTo>
                      <a:lnTo>
                        <a:pt x="409" y="38"/>
                      </a:lnTo>
                      <a:lnTo>
                        <a:pt x="409" y="36"/>
                      </a:lnTo>
                      <a:lnTo>
                        <a:pt x="411" y="36"/>
                      </a:lnTo>
                      <a:lnTo>
                        <a:pt x="411" y="34"/>
                      </a:lnTo>
                      <a:lnTo>
                        <a:pt x="412" y="34"/>
                      </a:lnTo>
                      <a:lnTo>
                        <a:pt x="414" y="34"/>
                      </a:lnTo>
                      <a:lnTo>
                        <a:pt x="414" y="36"/>
                      </a:lnTo>
                      <a:lnTo>
                        <a:pt x="416" y="38"/>
                      </a:lnTo>
                      <a:lnTo>
                        <a:pt x="417" y="38"/>
                      </a:lnTo>
                      <a:lnTo>
                        <a:pt x="419" y="38"/>
                      </a:lnTo>
                      <a:lnTo>
                        <a:pt x="421" y="38"/>
                      </a:lnTo>
                      <a:lnTo>
                        <a:pt x="422" y="39"/>
                      </a:lnTo>
                      <a:lnTo>
                        <a:pt x="422" y="41"/>
                      </a:lnTo>
                      <a:lnTo>
                        <a:pt x="421" y="43"/>
                      </a:lnTo>
                      <a:lnTo>
                        <a:pt x="421" y="44"/>
                      </a:lnTo>
                      <a:lnTo>
                        <a:pt x="422" y="47"/>
                      </a:lnTo>
                      <a:lnTo>
                        <a:pt x="422" y="49"/>
                      </a:lnTo>
                      <a:lnTo>
                        <a:pt x="424" y="49"/>
                      </a:lnTo>
                      <a:lnTo>
                        <a:pt x="424" y="51"/>
                      </a:lnTo>
                      <a:lnTo>
                        <a:pt x="424" y="52"/>
                      </a:lnTo>
                      <a:lnTo>
                        <a:pt x="426" y="54"/>
                      </a:lnTo>
                      <a:lnTo>
                        <a:pt x="426" y="56"/>
                      </a:lnTo>
                      <a:lnTo>
                        <a:pt x="424" y="56"/>
                      </a:lnTo>
                      <a:lnTo>
                        <a:pt x="424" y="57"/>
                      </a:lnTo>
                      <a:lnTo>
                        <a:pt x="424" y="59"/>
                      </a:lnTo>
                      <a:lnTo>
                        <a:pt x="426" y="59"/>
                      </a:lnTo>
                      <a:lnTo>
                        <a:pt x="427" y="61"/>
                      </a:lnTo>
                      <a:lnTo>
                        <a:pt x="429" y="62"/>
                      </a:lnTo>
                      <a:lnTo>
                        <a:pt x="429" y="61"/>
                      </a:lnTo>
                      <a:lnTo>
                        <a:pt x="429" y="59"/>
                      </a:lnTo>
                      <a:lnTo>
                        <a:pt x="429" y="57"/>
                      </a:lnTo>
                      <a:lnTo>
                        <a:pt x="431" y="56"/>
                      </a:lnTo>
                      <a:lnTo>
                        <a:pt x="433" y="56"/>
                      </a:lnTo>
                      <a:lnTo>
                        <a:pt x="434" y="57"/>
                      </a:lnTo>
                      <a:lnTo>
                        <a:pt x="436" y="57"/>
                      </a:lnTo>
                      <a:lnTo>
                        <a:pt x="438" y="57"/>
                      </a:lnTo>
                      <a:lnTo>
                        <a:pt x="439" y="57"/>
                      </a:lnTo>
                      <a:lnTo>
                        <a:pt x="439" y="61"/>
                      </a:lnTo>
                      <a:lnTo>
                        <a:pt x="438" y="61"/>
                      </a:lnTo>
                      <a:lnTo>
                        <a:pt x="438" y="62"/>
                      </a:lnTo>
                      <a:lnTo>
                        <a:pt x="439" y="64"/>
                      </a:lnTo>
                      <a:lnTo>
                        <a:pt x="441" y="66"/>
                      </a:lnTo>
                      <a:lnTo>
                        <a:pt x="439" y="67"/>
                      </a:lnTo>
                      <a:lnTo>
                        <a:pt x="441" y="67"/>
                      </a:lnTo>
                      <a:lnTo>
                        <a:pt x="441" y="69"/>
                      </a:lnTo>
                      <a:lnTo>
                        <a:pt x="443" y="69"/>
                      </a:lnTo>
                      <a:lnTo>
                        <a:pt x="441" y="70"/>
                      </a:lnTo>
                      <a:lnTo>
                        <a:pt x="444" y="75"/>
                      </a:lnTo>
                      <a:lnTo>
                        <a:pt x="444" y="77"/>
                      </a:lnTo>
                      <a:lnTo>
                        <a:pt x="446" y="77"/>
                      </a:lnTo>
                      <a:lnTo>
                        <a:pt x="448" y="77"/>
                      </a:lnTo>
                      <a:lnTo>
                        <a:pt x="449" y="77"/>
                      </a:lnTo>
                      <a:lnTo>
                        <a:pt x="451" y="75"/>
                      </a:lnTo>
                      <a:lnTo>
                        <a:pt x="453" y="75"/>
                      </a:lnTo>
                      <a:lnTo>
                        <a:pt x="453" y="77"/>
                      </a:lnTo>
                      <a:lnTo>
                        <a:pt x="454" y="77"/>
                      </a:lnTo>
                      <a:lnTo>
                        <a:pt x="454" y="79"/>
                      </a:lnTo>
                      <a:lnTo>
                        <a:pt x="456" y="79"/>
                      </a:lnTo>
                      <a:lnTo>
                        <a:pt x="456" y="80"/>
                      </a:lnTo>
                      <a:lnTo>
                        <a:pt x="458" y="82"/>
                      </a:lnTo>
                      <a:lnTo>
                        <a:pt x="458" y="84"/>
                      </a:lnTo>
                      <a:lnTo>
                        <a:pt x="460" y="84"/>
                      </a:lnTo>
                      <a:lnTo>
                        <a:pt x="461" y="84"/>
                      </a:lnTo>
                      <a:lnTo>
                        <a:pt x="463" y="84"/>
                      </a:lnTo>
                      <a:lnTo>
                        <a:pt x="465" y="84"/>
                      </a:lnTo>
                      <a:lnTo>
                        <a:pt x="466" y="82"/>
                      </a:lnTo>
                      <a:lnTo>
                        <a:pt x="468" y="82"/>
                      </a:lnTo>
                      <a:lnTo>
                        <a:pt x="470" y="82"/>
                      </a:lnTo>
                      <a:lnTo>
                        <a:pt x="470" y="79"/>
                      </a:lnTo>
                      <a:lnTo>
                        <a:pt x="470" y="77"/>
                      </a:lnTo>
                      <a:lnTo>
                        <a:pt x="470" y="75"/>
                      </a:lnTo>
                      <a:lnTo>
                        <a:pt x="471" y="75"/>
                      </a:lnTo>
                      <a:lnTo>
                        <a:pt x="471" y="74"/>
                      </a:lnTo>
                      <a:lnTo>
                        <a:pt x="471" y="72"/>
                      </a:lnTo>
                      <a:lnTo>
                        <a:pt x="471" y="70"/>
                      </a:lnTo>
                      <a:lnTo>
                        <a:pt x="473" y="70"/>
                      </a:lnTo>
                      <a:lnTo>
                        <a:pt x="475" y="72"/>
                      </a:lnTo>
                      <a:lnTo>
                        <a:pt x="476" y="72"/>
                      </a:lnTo>
                      <a:lnTo>
                        <a:pt x="478" y="72"/>
                      </a:lnTo>
                      <a:lnTo>
                        <a:pt x="478" y="70"/>
                      </a:lnTo>
                      <a:lnTo>
                        <a:pt x="480" y="70"/>
                      </a:lnTo>
                      <a:lnTo>
                        <a:pt x="480" y="69"/>
                      </a:lnTo>
                      <a:lnTo>
                        <a:pt x="482" y="69"/>
                      </a:lnTo>
                      <a:lnTo>
                        <a:pt x="480" y="67"/>
                      </a:lnTo>
                      <a:lnTo>
                        <a:pt x="482" y="67"/>
                      </a:lnTo>
                      <a:lnTo>
                        <a:pt x="483" y="66"/>
                      </a:lnTo>
                      <a:lnTo>
                        <a:pt x="483" y="67"/>
                      </a:lnTo>
                      <a:lnTo>
                        <a:pt x="485" y="67"/>
                      </a:lnTo>
                      <a:lnTo>
                        <a:pt x="485" y="69"/>
                      </a:lnTo>
                      <a:lnTo>
                        <a:pt x="487" y="67"/>
                      </a:lnTo>
                      <a:lnTo>
                        <a:pt x="488" y="67"/>
                      </a:lnTo>
                      <a:lnTo>
                        <a:pt x="490" y="69"/>
                      </a:lnTo>
                      <a:lnTo>
                        <a:pt x="492" y="69"/>
                      </a:lnTo>
                      <a:lnTo>
                        <a:pt x="492" y="70"/>
                      </a:lnTo>
                      <a:lnTo>
                        <a:pt x="492" y="72"/>
                      </a:lnTo>
                      <a:lnTo>
                        <a:pt x="493" y="74"/>
                      </a:lnTo>
                      <a:lnTo>
                        <a:pt x="493" y="75"/>
                      </a:lnTo>
                      <a:lnTo>
                        <a:pt x="495" y="75"/>
                      </a:lnTo>
                      <a:lnTo>
                        <a:pt x="495" y="77"/>
                      </a:lnTo>
                      <a:lnTo>
                        <a:pt x="497" y="77"/>
                      </a:lnTo>
                      <a:lnTo>
                        <a:pt x="498" y="77"/>
                      </a:lnTo>
                      <a:lnTo>
                        <a:pt x="500" y="79"/>
                      </a:lnTo>
                      <a:lnTo>
                        <a:pt x="502" y="79"/>
                      </a:lnTo>
                      <a:lnTo>
                        <a:pt x="502" y="80"/>
                      </a:lnTo>
                      <a:lnTo>
                        <a:pt x="502" y="82"/>
                      </a:lnTo>
                      <a:lnTo>
                        <a:pt x="503" y="82"/>
                      </a:lnTo>
                      <a:lnTo>
                        <a:pt x="503" y="84"/>
                      </a:lnTo>
                      <a:lnTo>
                        <a:pt x="505" y="84"/>
                      </a:lnTo>
                      <a:lnTo>
                        <a:pt x="505" y="85"/>
                      </a:lnTo>
                      <a:lnTo>
                        <a:pt x="505" y="87"/>
                      </a:lnTo>
                      <a:lnTo>
                        <a:pt x="507" y="87"/>
                      </a:lnTo>
                      <a:lnTo>
                        <a:pt x="505" y="89"/>
                      </a:lnTo>
                      <a:lnTo>
                        <a:pt x="503" y="90"/>
                      </a:lnTo>
                      <a:lnTo>
                        <a:pt x="503" y="92"/>
                      </a:lnTo>
                      <a:lnTo>
                        <a:pt x="502" y="93"/>
                      </a:lnTo>
                      <a:lnTo>
                        <a:pt x="502" y="95"/>
                      </a:lnTo>
                      <a:lnTo>
                        <a:pt x="502" y="97"/>
                      </a:lnTo>
                      <a:lnTo>
                        <a:pt x="500" y="98"/>
                      </a:lnTo>
                      <a:lnTo>
                        <a:pt x="500" y="100"/>
                      </a:lnTo>
                      <a:lnTo>
                        <a:pt x="500" y="102"/>
                      </a:lnTo>
                      <a:lnTo>
                        <a:pt x="498" y="102"/>
                      </a:lnTo>
                      <a:lnTo>
                        <a:pt x="498" y="103"/>
                      </a:lnTo>
                      <a:lnTo>
                        <a:pt x="498" y="105"/>
                      </a:lnTo>
                      <a:lnTo>
                        <a:pt x="498" y="107"/>
                      </a:lnTo>
                      <a:lnTo>
                        <a:pt x="498" y="108"/>
                      </a:lnTo>
                      <a:lnTo>
                        <a:pt x="500" y="108"/>
                      </a:lnTo>
                      <a:lnTo>
                        <a:pt x="500" y="110"/>
                      </a:lnTo>
                      <a:lnTo>
                        <a:pt x="502" y="112"/>
                      </a:lnTo>
                      <a:lnTo>
                        <a:pt x="502" y="113"/>
                      </a:lnTo>
                      <a:lnTo>
                        <a:pt x="502" y="115"/>
                      </a:lnTo>
                      <a:lnTo>
                        <a:pt x="502" y="116"/>
                      </a:lnTo>
                      <a:lnTo>
                        <a:pt x="502" y="118"/>
                      </a:lnTo>
                      <a:lnTo>
                        <a:pt x="500" y="118"/>
                      </a:lnTo>
                      <a:lnTo>
                        <a:pt x="498" y="118"/>
                      </a:lnTo>
                      <a:lnTo>
                        <a:pt x="497" y="116"/>
                      </a:lnTo>
                      <a:lnTo>
                        <a:pt x="495" y="116"/>
                      </a:lnTo>
                      <a:lnTo>
                        <a:pt x="495" y="118"/>
                      </a:lnTo>
                      <a:lnTo>
                        <a:pt x="493" y="118"/>
                      </a:lnTo>
                      <a:lnTo>
                        <a:pt x="492" y="118"/>
                      </a:lnTo>
                      <a:lnTo>
                        <a:pt x="492" y="120"/>
                      </a:lnTo>
                      <a:lnTo>
                        <a:pt x="492" y="121"/>
                      </a:lnTo>
                      <a:lnTo>
                        <a:pt x="493" y="120"/>
                      </a:lnTo>
                      <a:lnTo>
                        <a:pt x="493" y="121"/>
                      </a:lnTo>
                      <a:lnTo>
                        <a:pt x="493" y="123"/>
                      </a:lnTo>
                      <a:lnTo>
                        <a:pt x="493" y="125"/>
                      </a:lnTo>
                      <a:lnTo>
                        <a:pt x="492" y="126"/>
                      </a:lnTo>
                      <a:lnTo>
                        <a:pt x="492" y="128"/>
                      </a:lnTo>
                      <a:lnTo>
                        <a:pt x="493" y="128"/>
                      </a:lnTo>
                      <a:lnTo>
                        <a:pt x="495" y="130"/>
                      </a:lnTo>
                      <a:lnTo>
                        <a:pt x="497" y="128"/>
                      </a:lnTo>
                      <a:lnTo>
                        <a:pt x="497" y="130"/>
                      </a:lnTo>
                      <a:lnTo>
                        <a:pt x="498" y="130"/>
                      </a:lnTo>
                      <a:lnTo>
                        <a:pt x="498" y="131"/>
                      </a:lnTo>
                      <a:lnTo>
                        <a:pt x="498" y="133"/>
                      </a:lnTo>
                      <a:lnTo>
                        <a:pt x="498" y="135"/>
                      </a:lnTo>
                      <a:lnTo>
                        <a:pt x="497" y="136"/>
                      </a:lnTo>
                      <a:lnTo>
                        <a:pt x="497" y="138"/>
                      </a:lnTo>
                      <a:lnTo>
                        <a:pt x="497" y="139"/>
                      </a:lnTo>
                      <a:lnTo>
                        <a:pt x="498" y="139"/>
                      </a:lnTo>
                      <a:lnTo>
                        <a:pt x="500" y="141"/>
                      </a:lnTo>
                      <a:lnTo>
                        <a:pt x="502" y="141"/>
                      </a:lnTo>
                      <a:lnTo>
                        <a:pt x="500" y="141"/>
                      </a:lnTo>
                      <a:lnTo>
                        <a:pt x="500" y="143"/>
                      </a:lnTo>
                      <a:lnTo>
                        <a:pt x="498" y="143"/>
                      </a:lnTo>
                      <a:lnTo>
                        <a:pt x="500" y="143"/>
                      </a:lnTo>
                      <a:lnTo>
                        <a:pt x="500" y="144"/>
                      </a:lnTo>
                      <a:lnTo>
                        <a:pt x="502" y="144"/>
                      </a:lnTo>
                      <a:lnTo>
                        <a:pt x="503" y="144"/>
                      </a:lnTo>
                      <a:lnTo>
                        <a:pt x="503" y="146"/>
                      </a:lnTo>
                      <a:lnTo>
                        <a:pt x="503" y="148"/>
                      </a:lnTo>
                      <a:lnTo>
                        <a:pt x="503" y="149"/>
                      </a:lnTo>
                      <a:lnTo>
                        <a:pt x="503" y="151"/>
                      </a:lnTo>
                      <a:lnTo>
                        <a:pt x="503" y="153"/>
                      </a:lnTo>
                      <a:lnTo>
                        <a:pt x="505" y="153"/>
                      </a:lnTo>
                      <a:lnTo>
                        <a:pt x="505" y="154"/>
                      </a:lnTo>
                      <a:lnTo>
                        <a:pt x="503" y="156"/>
                      </a:lnTo>
                      <a:lnTo>
                        <a:pt x="503" y="158"/>
                      </a:lnTo>
                      <a:lnTo>
                        <a:pt x="503" y="159"/>
                      </a:lnTo>
                      <a:lnTo>
                        <a:pt x="502" y="159"/>
                      </a:lnTo>
                      <a:lnTo>
                        <a:pt x="502" y="161"/>
                      </a:lnTo>
                      <a:lnTo>
                        <a:pt x="500" y="161"/>
                      </a:lnTo>
                      <a:lnTo>
                        <a:pt x="498" y="161"/>
                      </a:lnTo>
                      <a:lnTo>
                        <a:pt x="497" y="161"/>
                      </a:lnTo>
                      <a:lnTo>
                        <a:pt x="497" y="162"/>
                      </a:lnTo>
                      <a:lnTo>
                        <a:pt x="498" y="162"/>
                      </a:lnTo>
                      <a:lnTo>
                        <a:pt x="500" y="162"/>
                      </a:lnTo>
                      <a:lnTo>
                        <a:pt x="500" y="164"/>
                      </a:lnTo>
                      <a:lnTo>
                        <a:pt x="500" y="166"/>
                      </a:lnTo>
                      <a:lnTo>
                        <a:pt x="500" y="167"/>
                      </a:lnTo>
                      <a:lnTo>
                        <a:pt x="502" y="167"/>
                      </a:lnTo>
                      <a:lnTo>
                        <a:pt x="502" y="169"/>
                      </a:lnTo>
                      <a:lnTo>
                        <a:pt x="500" y="171"/>
                      </a:lnTo>
                      <a:lnTo>
                        <a:pt x="502" y="171"/>
                      </a:lnTo>
                      <a:lnTo>
                        <a:pt x="502" y="172"/>
                      </a:lnTo>
                      <a:lnTo>
                        <a:pt x="502" y="174"/>
                      </a:lnTo>
                      <a:lnTo>
                        <a:pt x="503" y="174"/>
                      </a:lnTo>
                      <a:lnTo>
                        <a:pt x="503" y="176"/>
                      </a:lnTo>
                      <a:lnTo>
                        <a:pt x="503" y="177"/>
                      </a:lnTo>
                      <a:lnTo>
                        <a:pt x="502" y="177"/>
                      </a:lnTo>
                      <a:lnTo>
                        <a:pt x="502" y="179"/>
                      </a:lnTo>
                      <a:lnTo>
                        <a:pt x="502" y="181"/>
                      </a:lnTo>
                      <a:lnTo>
                        <a:pt x="502" y="182"/>
                      </a:lnTo>
                      <a:lnTo>
                        <a:pt x="500" y="182"/>
                      </a:lnTo>
                      <a:lnTo>
                        <a:pt x="500" y="184"/>
                      </a:lnTo>
                      <a:lnTo>
                        <a:pt x="502" y="184"/>
                      </a:lnTo>
                      <a:lnTo>
                        <a:pt x="502" y="185"/>
                      </a:lnTo>
                      <a:lnTo>
                        <a:pt x="500" y="185"/>
                      </a:lnTo>
                      <a:lnTo>
                        <a:pt x="500" y="187"/>
                      </a:lnTo>
                      <a:lnTo>
                        <a:pt x="500" y="189"/>
                      </a:lnTo>
                      <a:lnTo>
                        <a:pt x="498" y="190"/>
                      </a:lnTo>
                      <a:lnTo>
                        <a:pt x="497" y="192"/>
                      </a:lnTo>
                      <a:lnTo>
                        <a:pt x="495" y="192"/>
                      </a:lnTo>
                      <a:lnTo>
                        <a:pt x="497" y="194"/>
                      </a:lnTo>
                      <a:lnTo>
                        <a:pt x="495" y="195"/>
                      </a:lnTo>
                      <a:lnTo>
                        <a:pt x="495" y="197"/>
                      </a:lnTo>
                      <a:lnTo>
                        <a:pt x="495" y="199"/>
                      </a:lnTo>
                      <a:lnTo>
                        <a:pt x="495" y="200"/>
                      </a:lnTo>
                      <a:lnTo>
                        <a:pt x="493" y="200"/>
                      </a:lnTo>
                      <a:lnTo>
                        <a:pt x="493" y="202"/>
                      </a:lnTo>
                      <a:lnTo>
                        <a:pt x="495" y="202"/>
                      </a:lnTo>
                      <a:lnTo>
                        <a:pt x="497" y="202"/>
                      </a:lnTo>
                      <a:lnTo>
                        <a:pt x="498" y="204"/>
                      </a:lnTo>
                      <a:lnTo>
                        <a:pt x="498" y="205"/>
                      </a:lnTo>
                      <a:lnTo>
                        <a:pt x="497" y="205"/>
                      </a:lnTo>
                      <a:lnTo>
                        <a:pt x="497" y="207"/>
                      </a:lnTo>
                      <a:lnTo>
                        <a:pt x="497" y="208"/>
                      </a:lnTo>
                      <a:lnTo>
                        <a:pt x="497" y="210"/>
                      </a:lnTo>
                      <a:lnTo>
                        <a:pt x="497" y="212"/>
                      </a:lnTo>
                      <a:lnTo>
                        <a:pt x="498" y="212"/>
                      </a:lnTo>
                      <a:lnTo>
                        <a:pt x="498" y="213"/>
                      </a:lnTo>
                      <a:lnTo>
                        <a:pt x="500" y="215"/>
                      </a:lnTo>
                      <a:lnTo>
                        <a:pt x="498" y="215"/>
                      </a:lnTo>
                      <a:lnTo>
                        <a:pt x="498" y="217"/>
                      </a:lnTo>
                      <a:lnTo>
                        <a:pt x="500" y="217"/>
                      </a:lnTo>
                      <a:lnTo>
                        <a:pt x="500" y="218"/>
                      </a:lnTo>
                      <a:lnTo>
                        <a:pt x="502" y="218"/>
                      </a:lnTo>
                      <a:lnTo>
                        <a:pt x="502" y="220"/>
                      </a:lnTo>
                      <a:lnTo>
                        <a:pt x="503" y="220"/>
                      </a:lnTo>
                      <a:lnTo>
                        <a:pt x="503" y="222"/>
                      </a:lnTo>
                      <a:lnTo>
                        <a:pt x="503" y="223"/>
                      </a:lnTo>
                      <a:lnTo>
                        <a:pt x="505" y="223"/>
                      </a:lnTo>
                      <a:lnTo>
                        <a:pt x="505" y="225"/>
                      </a:lnTo>
                      <a:lnTo>
                        <a:pt x="507" y="225"/>
                      </a:lnTo>
                      <a:lnTo>
                        <a:pt x="505" y="225"/>
                      </a:lnTo>
                      <a:lnTo>
                        <a:pt x="507" y="225"/>
                      </a:lnTo>
                      <a:lnTo>
                        <a:pt x="507" y="227"/>
                      </a:lnTo>
                      <a:lnTo>
                        <a:pt x="507" y="228"/>
                      </a:lnTo>
                      <a:lnTo>
                        <a:pt x="507" y="230"/>
                      </a:lnTo>
                      <a:lnTo>
                        <a:pt x="507" y="231"/>
                      </a:lnTo>
                      <a:lnTo>
                        <a:pt x="505" y="231"/>
                      </a:lnTo>
                      <a:lnTo>
                        <a:pt x="505" y="233"/>
                      </a:lnTo>
                      <a:lnTo>
                        <a:pt x="505" y="235"/>
                      </a:lnTo>
                      <a:lnTo>
                        <a:pt x="505" y="236"/>
                      </a:lnTo>
                      <a:lnTo>
                        <a:pt x="507" y="236"/>
                      </a:lnTo>
                      <a:lnTo>
                        <a:pt x="507" y="238"/>
                      </a:lnTo>
                      <a:lnTo>
                        <a:pt x="507" y="240"/>
                      </a:lnTo>
                      <a:lnTo>
                        <a:pt x="505" y="240"/>
                      </a:lnTo>
                      <a:lnTo>
                        <a:pt x="505" y="241"/>
                      </a:lnTo>
                      <a:lnTo>
                        <a:pt x="505" y="243"/>
                      </a:lnTo>
                      <a:lnTo>
                        <a:pt x="505" y="245"/>
                      </a:lnTo>
                      <a:lnTo>
                        <a:pt x="505" y="246"/>
                      </a:lnTo>
                      <a:lnTo>
                        <a:pt x="505" y="248"/>
                      </a:lnTo>
                      <a:lnTo>
                        <a:pt x="505" y="249"/>
                      </a:lnTo>
                      <a:lnTo>
                        <a:pt x="503" y="249"/>
                      </a:lnTo>
                      <a:lnTo>
                        <a:pt x="503" y="251"/>
                      </a:lnTo>
                      <a:lnTo>
                        <a:pt x="503" y="253"/>
                      </a:lnTo>
                      <a:lnTo>
                        <a:pt x="505" y="253"/>
                      </a:lnTo>
                      <a:lnTo>
                        <a:pt x="507" y="253"/>
                      </a:lnTo>
                      <a:lnTo>
                        <a:pt x="505" y="254"/>
                      </a:lnTo>
                      <a:lnTo>
                        <a:pt x="505" y="256"/>
                      </a:lnTo>
                      <a:lnTo>
                        <a:pt x="505" y="258"/>
                      </a:lnTo>
                      <a:lnTo>
                        <a:pt x="505" y="259"/>
                      </a:lnTo>
                      <a:lnTo>
                        <a:pt x="507" y="259"/>
                      </a:lnTo>
                      <a:lnTo>
                        <a:pt x="507" y="261"/>
                      </a:lnTo>
                      <a:lnTo>
                        <a:pt x="505" y="261"/>
                      </a:lnTo>
                      <a:lnTo>
                        <a:pt x="505" y="259"/>
                      </a:lnTo>
                      <a:lnTo>
                        <a:pt x="503" y="259"/>
                      </a:lnTo>
                      <a:lnTo>
                        <a:pt x="503" y="261"/>
                      </a:lnTo>
                      <a:lnTo>
                        <a:pt x="503" y="263"/>
                      </a:lnTo>
                      <a:lnTo>
                        <a:pt x="502" y="263"/>
                      </a:lnTo>
                      <a:lnTo>
                        <a:pt x="503" y="264"/>
                      </a:lnTo>
                      <a:lnTo>
                        <a:pt x="502" y="264"/>
                      </a:lnTo>
                      <a:lnTo>
                        <a:pt x="502" y="266"/>
                      </a:lnTo>
                      <a:lnTo>
                        <a:pt x="502" y="268"/>
                      </a:lnTo>
                      <a:lnTo>
                        <a:pt x="502" y="269"/>
                      </a:lnTo>
                      <a:lnTo>
                        <a:pt x="502" y="271"/>
                      </a:lnTo>
                      <a:lnTo>
                        <a:pt x="502" y="272"/>
                      </a:lnTo>
                      <a:lnTo>
                        <a:pt x="502" y="274"/>
                      </a:lnTo>
                      <a:lnTo>
                        <a:pt x="502" y="276"/>
                      </a:lnTo>
                      <a:lnTo>
                        <a:pt x="502" y="277"/>
                      </a:lnTo>
                      <a:lnTo>
                        <a:pt x="500" y="277"/>
                      </a:lnTo>
                      <a:lnTo>
                        <a:pt x="498" y="277"/>
                      </a:lnTo>
                      <a:lnTo>
                        <a:pt x="510" y="277"/>
                      </a:lnTo>
                      <a:lnTo>
                        <a:pt x="551" y="279"/>
                      </a:lnTo>
                      <a:lnTo>
                        <a:pt x="603" y="279"/>
                      </a:lnTo>
                      <a:lnTo>
                        <a:pt x="603" y="281"/>
                      </a:lnTo>
                      <a:lnTo>
                        <a:pt x="605" y="281"/>
                      </a:lnTo>
                      <a:lnTo>
                        <a:pt x="603" y="282"/>
                      </a:lnTo>
                      <a:lnTo>
                        <a:pt x="605" y="282"/>
                      </a:lnTo>
                      <a:lnTo>
                        <a:pt x="607" y="282"/>
                      </a:lnTo>
                      <a:lnTo>
                        <a:pt x="607" y="284"/>
                      </a:lnTo>
                      <a:lnTo>
                        <a:pt x="607" y="286"/>
                      </a:lnTo>
                      <a:lnTo>
                        <a:pt x="608" y="286"/>
                      </a:lnTo>
                      <a:lnTo>
                        <a:pt x="608" y="287"/>
                      </a:lnTo>
                      <a:lnTo>
                        <a:pt x="610" y="289"/>
                      </a:lnTo>
                      <a:lnTo>
                        <a:pt x="610" y="287"/>
                      </a:lnTo>
                      <a:lnTo>
                        <a:pt x="612" y="289"/>
                      </a:lnTo>
                      <a:lnTo>
                        <a:pt x="613" y="289"/>
                      </a:lnTo>
                      <a:lnTo>
                        <a:pt x="613" y="287"/>
                      </a:lnTo>
                      <a:lnTo>
                        <a:pt x="613" y="286"/>
                      </a:lnTo>
                      <a:lnTo>
                        <a:pt x="613" y="287"/>
                      </a:lnTo>
                      <a:lnTo>
                        <a:pt x="615" y="287"/>
                      </a:lnTo>
                      <a:lnTo>
                        <a:pt x="615" y="286"/>
                      </a:lnTo>
                      <a:lnTo>
                        <a:pt x="617" y="286"/>
                      </a:lnTo>
                      <a:lnTo>
                        <a:pt x="617" y="284"/>
                      </a:lnTo>
                      <a:lnTo>
                        <a:pt x="618" y="286"/>
                      </a:lnTo>
                      <a:lnTo>
                        <a:pt x="620" y="286"/>
                      </a:lnTo>
                      <a:lnTo>
                        <a:pt x="620" y="287"/>
                      </a:lnTo>
                      <a:lnTo>
                        <a:pt x="620" y="289"/>
                      </a:lnTo>
                      <a:lnTo>
                        <a:pt x="620" y="287"/>
                      </a:lnTo>
                      <a:lnTo>
                        <a:pt x="622" y="287"/>
                      </a:lnTo>
                      <a:lnTo>
                        <a:pt x="622" y="289"/>
                      </a:lnTo>
                      <a:lnTo>
                        <a:pt x="623" y="289"/>
                      </a:lnTo>
                      <a:lnTo>
                        <a:pt x="623" y="287"/>
                      </a:lnTo>
                      <a:lnTo>
                        <a:pt x="623" y="289"/>
                      </a:lnTo>
                      <a:lnTo>
                        <a:pt x="625" y="289"/>
                      </a:lnTo>
                      <a:lnTo>
                        <a:pt x="627" y="289"/>
                      </a:lnTo>
                      <a:lnTo>
                        <a:pt x="627" y="291"/>
                      </a:lnTo>
                      <a:lnTo>
                        <a:pt x="627" y="289"/>
                      </a:lnTo>
                      <a:lnTo>
                        <a:pt x="628" y="291"/>
                      </a:lnTo>
                      <a:lnTo>
                        <a:pt x="628" y="289"/>
                      </a:lnTo>
                      <a:lnTo>
                        <a:pt x="630" y="289"/>
                      </a:lnTo>
                      <a:lnTo>
                        <a:pt x="630" y="287"/>
                      </a:lnTo>
                      <a:lnTo>
                        <a:pt x="632" y="289"/>
                      </a:lnTo>
                      <a:lnTo>
                        <a:pt x="634" y="289"/>
                      </a:lnTo>
                      <a:lnTo>
                        <a:pt x="635" y="289"/>
                      </a:lnTo>
                      <a:lnTo>
                        <a:pt x="637" y="289"/>
                      </a:lnTo>
                      <a:lnTo>
                        <a:pt x="639" y="289"/>
                      </a:lnTo>
                      <a:lnTo>
                        <a:pt x="640" y="291"/>
                      </a:lnTo>
                      <a:lnTo>
                        <a:pt x="642" y="291"/>
                      </a:lnTo>
                      <a:lnTo>
                        <a:pt x="644" y="291"/>
                      </a:lnTo>
                      <a:lnTo>
                        <a:pt x="645" y="291"/>
                      </a:lnTo>
                      <a:lnTo>
                        <a:pt x="647" y="291"/>
                      </a:lnTo>
                      <a:lnTo>
                        <a:pt x="649" y="291"/>
                      </a:lnTo>
                      <a:lnTo>
                        <a:pt x="649" y="292"/>
                      </a:lnTo>
                      <a:lnTo>
                        <a:pt x="647" y="292"/>
                      </a:lnTo>
                      <a:lnTo>
                        <a:pt x="647" y="294"/>
                      </a:lnTo>
                      <a:lnTo>
                        <a:pt x="647" y="295"/>
                      </a:lnTo>
                      <a:lnTo>
                        <a:pt x="649" y="295"/>
                      </a:lnTo>
                      <a:lnTo>
                        <a:pt x="649" y="297"/>
                      </a:lnTo>
                      <a:lnTo>
                        <a:pt x="649" y="299"/>
                      </a:lnTo>
                      <a:lnTo>
                        <a:pt x="647" y="299"/>
                      </a:lnTo>
                      <a:lnTo>
                        <a:pt x="647" y="300"/>
                      </a:lnTo>
                      <a:lnTo>
                        <a:pt x="649" y="302"/>
                      </a:lnTo>
                      <a:lnTo>
                        <a:pt x="649" y="304"/>
                      </a:lnTo>
                      <a:lnTo>
                        <a:pt x="650" y="305"/>
                      </a:lnTo>
                      <a:lnTo>
                        <a:pt x="650" y="307"/>
                      </a:lnTo>
                      <a:lnTo>
                        <a:pt x="652" y="307"/>
                      </a:lnTo>
                      <a:lnTo>
                        <a:pt x="652" y="309"/>
                      </a:lnTo>
                      <a:lnTo>
                        <a:pt x="654" y="309"/>
                      </a:lnTo>
                      <a:lnTo>
                        <a:pt x="654" y="310"/>
                      </a:lnTo>
                      <a:lnTo>
                        <a:pt x="654" y="312"/>
                      </a:lnTo>
                      <a:lnTo>
                        <a:pt x="654" y="314"/>
                      </a:lnTo>
                      <a:lnTo>
                        <a:pt x="654" y="315"/>
                      </a:lnTo>
                      <a:lnTo>
                        <a:pt x="654" y="317"/>
                      </a:lnTo>
                      <a:lnTo>
                        <a:pt x="652" y="317"/>
                      </a:lnTo>
                      <a:lnTo>
                        <a:pt x="654" y="317"/>
                      </a:lnTo>
                      <a:lnTo>
                        <a:pt x="652" y="318"/>
                      </a:lnTo>
                      <a:lnTo>
                        <a:pt x="650" y="318"/>
                      </a:lnTo>
                      <a:lnTo>
                        <a:pt x="650" y="320"/>
                      </a:lnTo>
                      <a:lnTo>
                        <a:pt x="649" y="320"/>
                      </a:lnTo>
                      <a:lnTo>
                        <a:pt x="649" y="322"/>
                      </a:lnTo>
                      <a:lnTo>
                        <a:pt x="647" y="322"/>
                      </a:lnTo>
                      <a:lnTo>
                        <a:pt x="647" y="323"/>
                      </a:lnTo>
                      <a:lnTo>
                        <a:pt x="645" y="323"/>
                      </a:lnTo>
                      <a:lnTo>
                        <a:pt x="644" y="325"/>
                      </a:lnTo>
                      <a:lnTo>
                        <a:pt x="644" y="327"/>
                      </a:lnTo>
                      <a:lnTo>
                        <a:pt x="642" y="327"/>
                      </a:lnTo>
                      <a:lnTo>
                        <a:pt x="642" y="328"/>
                      </a:lnTo>
                      <a:lnTo>
                        <a:pt x="640" y="328"/>
                      </a:lnTo>
                      <a:lnTo>
                        <a:pt x="640" y="330"/>
                      </a:lnTo>
                      <a:lnTo>
                        <a:pt x="639" y="330"/>
                      </a:lnTo>
                      <a:lnTo>
                        <a:pt x="639" y="332"/>
                      </a:lnTo>
                      <a:lnTo>
                        <a:pt x="637" y="332"/>
                      </a:lnTo>
                      <a:lnTo>
                        <a:pt x="637" y="330"/>
                      </a:lnTo>
                      <a:lnTo>
                        <a:pt x="637" y="332"/>
                      </a:lnTo>
                      <a:lnTo>
                        <a:pt x="639" y="332"/>
                      </a:lnTo>
                      <a:lnTo>
                        <a:pt x="637" y="332"/>
                      </a:lnTo>
                      <a:lnTo>
                        <a:pt x="637" y="333"/>
                      </a:lnTo>
                      <a:lnTo>
                        <a:pt x="637" y="332"/>
                      </a:lnTo>
                      <a:lnTo>
                        <a:pt x="637" y="333"/>
                      </a:lnTo>
                      <a:lnTo>
                        <a:pt x="635" y="333"/>
                      </a:lnTo>
                      <a:lnTo>
                        <a:pt x="635" y="335"/>
                      </a:lnTo>
                      <a:lnTo>
                        <a:pt x="635" y="337"/>
                      </a:lnTo>
                      <a:lnTo>
                        <a:pt x="635" y="338"/>
                      </a:lnTo>
                      <a:lnTo>
                        <a:pt x="635" y="340"/>
                      </a:lnTo>
                      <a:lnTo>
                        <a:pt x="635" y="341"/>
                      </a:lnTo>
                      <a:lnTo>
                        <a:pt x="635" y="343"/>
                      </a:lnTo>
                      <a:lnTo>
                        <a:pt x="635" y="345"/>
                      </a:lnTo>
                      <a:lnTo>
                        <a:pt x="635" y="346"/>
                      </a:lnTo>
                      <a:lnTo>
                        <a:pt x="635" y="348"/>
                      </a:lnTo>
                      <a:lnTo>
                        <a:pt x="635" y="350"/>
                      </a:lnTo>
                      <a:lnTo>
                        <a:pt x="637" y="350"/>
                      </a:lnTo>
                      <a:lnTo>
                        <a:pt x="637" y="351"/>
                      </a:lnTo>
                      <a:lnTo>
                        <a:pt x="635" y="351"/>
                      </a:lnTo>
                      <a:lnTo>
                        <a:pt x="637" y="351"/>
                      </a:lnTo>
                      <a:lnTo>
                        <a:pt x="635" y="351"/>
                      </a:lnTo>
                      <a:lnTo>
                        <a:pt x="637" y="351"/>
                      </a:lnTo>
                      <a:lnTo>
                        <a:pt x="635" y="353"/>
                      </a:lnTo>
                      <a:lnTo>
                        <a:pt x="637" y="353"/>
                      </a:lnTo>
                      <a:lnTo>
                        <a:pt x="637" y="355"/>
                      </a:lnTo>
                      <a:lnTo>
                        <a:pt x="637" y="356"/>
                      </a:lnTo>
                      <a:lnTo>
                        <a:pt x="635" y="356"/>
                      </a:lnTo>
                      <a:lnTo>
                        <a:pt x="637" y="356"/>
                      </a:lnTo>
                      <a:lnTo>
                        <a:pt x="637" y="358"/>
                      </a:lnTo>
                      <a:lnTo>
                        <a:pt x="637" y="360"/>
                      </a:lnTo>
                      <a:lnTo>
                        <a:pt x="639" y="358"/>
                      </a:lnTo>
                      <a:lnTo>
                        <a:pt x="639" y="360"/>
                      </a:lnTo>
                      <a:lnTo>
                        <a:pt x="639" y="361"/>
                      </a:lnTo>
                      <a:lnTo>
                        <a:pt x="640" y="361"/>
                      </a:lnTo>
                      <a:lnTo>
                        <a:pt x="642" y="363"/>
                      </a:lnTo>
                      <a:lnTo>
                        <a:pt x="642" y="361"/>
                      </a:lnTo>
                      <a:lnTo>
                        <a:pt x="642" y="363"/>
                      </a:lnTo>
                      <a:lnTo>
                        <a:pt x="644" y="361"/>
                      </a:lnTo>
                      <a:lnTo>
                        <a:pt x="644" y="363"/>
                      </a:lnTo>
                      <a:lnTo>
                        <a:pt x="644" y="361"/>
                      </a:lnTo>
                      <a:lnTo>
                        <a:pt x="645" y="361"/>
                      </a:lnTo>
                      <a:lnTo>
                        <a:pt x="645" y="363"/>
                      </a:lnTo>
                      <a:lnTo>
                        <a:pt x="647" y="363"/>
                      </a:lnTo>
                      <a:lnTo>
                        <a:pt x="647" y="364"/>
                      </a:lnTo>
                      <a:lnTo>
                        <a:pt x="647" y="366"/>
                      </a:lnTo>
                      <a:lnTo>
                        <a:pt x="647" y="368"/>
                      </a:lnTo>
                      <a:lnTo>
                        <a:pt x="649" y="368"/>
                      </a:lnTo>
                      <a:lnTo>
                        <a:pt x="649" y="369"/>
                      </a:lnTo>
                      <a:lnTo>
                        <a:pt x="649" y="371"/>
                      </a:lnTo>
                      <a:lnTo>
                        <a:pt x="649" y="373"/>
                      </a:lnTo>
                      <a:lnTo>
                        <a:pt x="649" y="374"/>
                      </a:lnTo>
                      <a:lnTo>
                        <a:pt x="649" y="376"/>
                      </a:lnTo>
                      <a:lnTo>
                        <a:pt x="650" y="376"/>
                      </a:lnTo>
                      <a:lnTo>
                        <a:pt x="649" y="376"/>
                      </a:lnTo>
                      <a:lnTo>
                        <a:pt x="650" y="376"/>
                      </a:lnTo>
                      <a:lnTo>
                        <a:pt x="650" y="378"/>
                      </a:lnTo>
                      <a:lnTo>
                        <a:pt x="652" y="378"/>
                      </a:lnTo>
                      <a:lnTo>
                        <a:pt x="652" y="379"/>
                      </a:lnTo>
                      <a:lnTo>
                        <a:pt x="654" y="381"/>
                      </a:lnTo>
                      <a:lnTo>
                        <a:pt x="655" y="383"/>
                      </a:lnTo>
                      <a:lnTo>
                        <a:pt x="655" y="384"/>
                      </a:lnTo>
                      <a:lnTo>
                        <a:pt x="655" y="386"/>
                      </a:lnTo>
                      <a:lnTo>
                        <a:pt x="655" y="387"/>
                      </a:lnTo>
                      <a:lnTo>
                        <a:pt x="654" y="387"/>
                      </a:lnTo>
                      <a:lnTo>
                        <a:pt x="654" y="389"/>
                      </a:lnTo>
                      <a:lnTo>
                        <a:pt x="655" y="391"/>
                      </a:lnTo>
                      <a:lnTo>
                        <a:pt x="655" y="392"/>
                      </a:lnTo>
                      <a:lnTo>
                        <a:pt x="655" y="394"/>
                      </a:lnTo>
                      <a:lnTo>
                        <a:pt x="657" y="394"/>
                      </a:lnTo>
                      <a:lnTo>
                        <a:pt x="667" y="402"/>
                      </a:lnTo>
                      <a:lnTo>
                        <a:pt x="666" y="404"/>
                      </a:lnTo>
                      <a:lnTo>
                        <a:pt x="664" y="404"/>
                      </a:lnTo>
                      <a:lnTo>
                        <a:pt x="664" y="406"/>
                      </a:lnTo>
                      <a:lnTo>
                        <a:pt x="664" y="407"/>
                      </a:lnTo>
                      <a:lnTo>
                        <a:pt x="662" y="407"/>
                      </a:lnTo>
                      <a:lnTo>
                        <a:pt x="664" y="407"/>
                      </a:lnTo>
                      <a:lnTo>
                        <a:pt x="662" y="407"/>
                      </a:lnTo>
                      <a:lnTo>
                        <a:pt x="662" y="409"/>
                      </a:lnTo>
                      <a:lnTo>
                        <a:pt x="661" y="410"/>
                      </a:lnTo>
                      <a:lnTo>
                        <a:pt x="661" y="412"/>
                      </a:lnTo>
                      <a:lnTo>
                        <a:pt x="661" y="414"/>
                      </a:lnTo>
                      <a:lnTo>
                        <a:pt x="661" y="415"/>
                      </a:lnTo>
                      <a:lnTo>
                        <a:pt x="659" y="415"/>
                      </a:lnTo>
                      <a:lnTo>
                        <a:pt x="657" y="415"/>
                      </a:lnTo>
                      <a:lnTo>
                        <a:pt x="655" y="415"/>
                      </a:lnTo>
                      <a:lnTo>
                        <a:pt x="654" y="415"/>
                      </a:lnTo>
                      <a:lnTo>
                        <a:pt x="652" y="417"/>
                      </a:lnTo>
                      <a:lnTo>
                        <a:pt x="650" y="417"/>
                      </a:lnTo>
                      <a:lnTo>
                        <a:pt x="649" y="419"/>
                      </a:lnTo>
                      <a:lnTo>
                        <a:pt x="649" y="420"/>
                      </a:lnTo>
                      <a:lnTo>
                        <a:pt x="647" y="420"/>
                      </a:lnTo>
                      <a:lnTo>
                        <a:pt x="645" y="420"/>
                      </a:lnTo>
                      <a:lnTo>
                        <a:pt x="645" y="422"/>
                      </a:lnTo>
                      <a:lnTo>
                        <a:pt x="644" y="422"/>
                      </a:lnTo>
                      <a:lnTo>
                        <a:pt x="644" y="424"/>
                      </a:lnTo>
                      <a:lnTo>
                        <a:pt x="644" y="425"/>
                      </a:lnTo>
                      <a:lnTo>
                        <a:pt x="642" y="427"/>
                      </a:lnTo>
                      <a:lnTo>
                        <a:pt x="640" y="427"/>
                      </a:lnTo>
                      <a:lnTo>
                        <a:pt x="640" y="429"/>
                      </a:lnTo>
                      <a:lnTo>
                        <a:pt x="639" y="429"/>
                      </a:lnTo>
                      <a:lnTo>
                        <a:pt x="640" y="430"/>
                      </a:lnTo>
                      <a:lnTo>
                        <a:pt x="639" y="432"/>
                      </a:lnTo>
                      <a:lnTo>
                        <a:pt x="639" y="433"/>
                      </a:lnTo>
                      <a:lnTo>
                        <a:pt x="639" y="435"/>
                      </a:lnTo>
                      <a:lnTo>
                        <a:pt x="639" y="437"/>
                      </a:lnTo>
                      <a:lnTo>
                        <a:pt x="637" y="437"/>
                      </a:lnTo>
                      <a:lnTo>
                        <a:pt x="637" y="438"/>
                      </a:lnTo>
                      <a:lnTo>
                        <a:pt x="637" y="440"/>
                      </a:lnTo>
                      <a:lnTo>
                        <a:pt x="639" y="442"/>
                      </a:lnTo>
                      <a:lnTo>
                        <a:pt x="639" y="443"/>
                      </a:lnTo>
                      <a:lnTo>
                        <a:pt x="639" y="445"/>
                      </a:lnTo>
                      <a:lnTo>
                        <a:pt x="639" y="447"/>
                      </a:lnTo>
                      <a:lnTo>
                        <a:pt x="639" y="448"/>
                      </a:lnTo>
                      <a:lnTo>
                        <a:pt x="639" y="451"/>
                      </a:lnTo>
                      <a:lnTo>
                        <a:pt x="639" y="453"/>
                      </a:lnTo>
                      <a:lnTo>
                        <a:pt x="639" y="455"/>
                      </a:lnTo>
                      <a:lnTo>
                        <a:pt x="637" y="455"/>
                      </a:lnTo>
                      <a:lnTo>
                        <a:pt x="637" y="456"/>
                      </a:lnTo>
                      <a:lnTo>
                        <a:pt x="635" y="456"/>
                      </a:lnTo>
                      <a:lnTo>
                        <a:pt x="635" y="458"/>
                      </a:lnTo>
                      <a:lnTo>
                        <a:pt x="635" y="460"/>
                      </a:lnTo>
                      <a:lnTo>
                        <a:pt x="634" y="460"/>
                      </a:lnTo>
                      <a:lnTo>
                        <a:pt x="634" y="461"/>
                      </a:lnTo>
                      <a:lnTo>
                        <a:pt x="632" y="461"/>
                      </a:lnTo>
                      <a:lnTo>
                        <a:pt x="632" y="460"/>
                      </a:lnTo>
                      <a:lnTo>
                        <a:pt x="632" y="461"/>
                      </a:lnTo>
                      <a:lnTo>
                        <a:pt x="630" y="461"/>
                      </a:lnTo>
                      <a:lnTo>
                        <a:pt x="628" y="461"/>
                      </a:lnTo>
                      <a:lnTo>
                        <a:pt x="627" y="461"/>
                      </a:lnTo>
                      <a:lnTo>
                        <a:pt x="627" y="463"/>
                      </a:lnTo>
                      <a:lnTo>
                        <a:pt x="625" y="465"/>
                      </a:lnTo>
                      <a:lnTo>
                        <a:pt x="625" y="466"/>
                      </a:lnTo>
                      <a:lnTo>
                        <a:pt x="623" y="466"/>
                      </a:lnTo>
                      <a:lnTo>
                        <a:pt x="623" y="468"/>
                      </a:lnTo>
                      <a:lnTo>
                        <a:pt x="623" y="466"/>
                      </a:lnTo>
                      <a:lnTo>
                        <a:pt x="623" y="468"/>
                      </a:lnTo>
                      <a:lnTo>
                        <a:pt x="622" y="468"/>
                      </a:lnTo>
                      <a:lnTo>
                        <a:pt x="622" y="470"/>
                      </a:lnTo>
                      <a:lnTo>
                        <a:pt x="622" y="468"/>
                      </a:lnTo>
                      <a:lnTo>
                        <a:pt x="622" y="470"/>
                      </a:lnTo>
                      <a:lnTo>
                        <a:pt x="620" y="471"/>
                      </a:lnTo>
                      <a:lnTo>
                        <a:pt x="618" y="471"/>
                      </a:lnTo>
                      <a:lnTo>
                        <a:pt x="618" y="473"/>
                      </a:lnTo>
                      <a:lnTo>
                        <a:pt x="620" y="473"/>
                      </a:lnTo>
                      <a:lnTo>
                        <a:pt x="618" y="473"/>
                      </a:lnTo>
                      <a:lnTo>
                        <a:pt x="620" y="473"/>
                      </a:lnTo>
                      <a:lnTo>
                        <a:pt x="620" y="474"/>
                      </a:lnTo>
                      <a:lnTo>
                        <a:pt x="620" y="476"/>
                      </a:lnTo>
                      <a:lnTo>
                        <a:pt x="620" y="478"/>
                      </a:lnTo>
                      <a:lnTo>
                        <a:pt x="618" y="479"/>
                      </a:lnTo>
                      <a:lnTo>
                        <a:pt x="617" y="479"/>
                      </a:lnTo>
                      <a:lnTo>
                        <a:pt x="617" y="481"/>
                      </a:lnTo>
                      <a:lnTo>
                        <a:pt x="617" y="483"/>
                      </a:lnTo>
                      <a:lnTo>
                        <a:pt x="615" y="484"/>
                      </a:lnTo>
                      <a:lnTo>
                        <a:pt x="615" y="486"/>
                      </a:lnTo>
                      <a:lnTo>
                        <a:pt x="615" y="488"/>
                      </a:lnTo>
                      <a:lnTo>
                        <a:pt x="613" y="489"/>
                      </a:lnTo>
                      <a:lnTo>
                        <a:pt x="613" y="491"/>
                      </a:lnTo>
                      <a:lnTo>
                        <a:pt x="612" y="491"/>
                      </a:lnTo>
                      <a:lnTo>
                        <a:pt x="612" y="493"/>
                      </a:lnTo>
                      <a:lnTo>
                        <a:pt x="610" y="494"/>
                      </a:lnTo>
                      <a:lnTo>
                        <a:pt x="612" y="494"/>
                      </a:lnTo>
                      <a:lnTo>
                        <a:pt x="612" y="496"/>
                      </a:lnTo>
                      <a:lnTo>
                        <a:pt x="612" y="497"/>
                      </a:lnTo>
                      <a:lnTo>
                        <a:pt x="610" y="497"/>
                      </a:lnTo>
                      <a:lnTo>
                        <a:pt x="610" y="499"/>
                      </a:lnTo>
                      <a:lnTo>
                        <a:pt x="610" y="501"/>
                      </a:lnTo>
                      <a:lnTo>
                        <a:pt x="610" y="502"/>
                      </a:lnTo>
                      <a:lnTo>
                        <a:pt x="610" y="504"/>
                      </a:lnTo>
                      <a:lnTo>
                        <a:pt x="610" y="506"/>
                      </a:lnTo>
                      <a:lnTo>
                        <a:pt x="608" y="506"/>
                      </a:lnTo>
                      <a:lnTo>
                        <a:pt x="607" y="506"/>
                      </a:lnTo>
                      <a:lnTo>
                        <a:pt x="607" y="507"/>
                      </a:lnTo>
                      <a:lnTo>
                        <a:pt x="605" y="507"/>
                      </a:lnTo>
                      <a:lnTo>
                        <a:pt x="605" y="509"/>
                      </a:lnTo>
                      <a:lnTo>
                        <a:pt x="603" y="509"/>
                      </a:lnTo>
                      <a:lnTo>
                        <a:pt x="601" y="509"/>
                      </a:lnTo>
                      <a:lnTo>
                        <a:pt x="600" y="509"/>
                      </a:lnTo>
                      <a:lnTo>
                        <a:pt x="598" y="509"/>
                      </a:lnTo>
                      <a:lnTo>
                        <a:pt x="598" y="511"/>
                      </a:lnTo>
                      <a:lnTo>
                        <a:pt x="596" y="511"/>
                      </a:lnTo>
                      <a:lnTo>
                        <a:pt x="596" y="512"/>
                      </a:lnTo>
                      <a:lnTo>
                        <a:pt x="595" y="512"/>
                      </a:lnTo>
                      <a:lnTo>
                        <a:pt x="596" y="512"/>
                      </a:lnTo>
                      <a:lnTo>
                        <a:pt x="595" y="514"/>
                      </a:lnTo>
                      <a:lnTo>
                        <a:pt x="593" y="514"/>
                      </a:lnTo>
                      <a:lnTo>
                        <a:pt x="593" y="516"/>
                      </a:lnTo>
                      <a:lnTo>
                        <a:pt x="591" y="516"/>
                      </a:lnTo>
                      <a:lnTo>
                        <a:pt x="590" y="516"/>
                      </a:lnTo>
                      <a:lnTo>
                        <a:pt x="590" y="517"/>
                      </a:lnTo>
                      <a:lnTo>
                        <a:pt x="588" y="516"/>
                      </a:lnTo>
                      <a:lnTo>
                        <a:pt x="586" y="516"/>
                      </a:lnTo>
                      <a:lnTo>
                        <a:pt x="586" y="517"/>
                      </a:lnTo>
                      <a:lnTo>
                        <a:pt x="585" y="517"/>
                      </a:lnTo>
                      <a:lnTo>
                        <a:pt x="585" y="519"/>
                      </a:lnTo>
                      <a:lnTo>
                        <a:pt x="586" y="519"/>
                      </a:lnTo>
                      <a:lnTo>
                        <a:pt x="585" y="519"/>
                      </a:lnTo>
                      <a:lnTo>
                        <a:pt x="583" y="519"/>
                      </a:lnTo>
                      <a:lnTo>
                        <a:pt x="583" y="520"/>
                      </a:lnTo>
                      <a:lnTo>
                        <a:pt x="581" y="520"/>
                      </a:lnTo>
                      <a:lnTo>
                        <a:pt x="581" y="522"/>
                      </a:lnTo>
                      <a:lnTo>
                        <a:pt x="581" y="524"/>
                      </a:lnTo>
                      <a:lnTo>
                        <a:pt x="579" y="524"/>
                      </a:lnTo>
                      <a:lnTo>
                        <a:pt x="579" y="525"/>
                      </a:lnTo>
                      <a:lnTo>
                        <a:pt x="578" y="525"/>
                      </a:lnTo>
                      <a:lnTo>
                        <a:pt x="578" y="527"/>
                      </a:lnTo>
                      <a:lnTo>
                        <a:pt x="579" y="527"/>
                      </a:lnTo>
                      <a:lnTo>
                        <a:pt x="578" y="527"/>
                      </a:lnTo>
                      <a:lnTo>
                        <a:pt x="576" y="527"/>
                      </a:lnTo>
                      <a:lnTo>
                        <a:pt x="574" y="527"/>
                      </a:lnTo>
                      <a:lnTo>
                        <a:pt x="573" y="527"/>
                      </a:lnTo>
                      <a:lnTo>
                        <a:pt x="573" y="525"/>
                      </a:lnTo>
                      <a:lnTo>
                        <a:pt x="573" y="524"/>
                      </a:lnTo>
                      <a:lnTo>
                        <a:pt x="571" y="524"/>
                      </a:lnTo>
                      <a:lnTo>
                        <a:pt x="569" y="524"/>
                      </a:lnTo>
                      <a:lnTo>
                        <a:pt x="568" y="522"/>
                      </a:lnTo>
                      <a:lnTo>
                        <a:pt x="566" y="522"/>
                      </a:lnTo>
                      <a:lnTo>
                        <a:pt x="564" y="522"/>
                      </a:lnTo>
                      <a:lnTo>
                        <a:pt x="564" y="520"/>
                      </a:lnTo>
                      <a:lnTo>
                        <a:pt x="563" y="520"/>
                      </a:lnTo>
                      <a:lnTo>
                        <a:pt x="563" y="519"/>
                      </a:lnTo>
                      <a:lnTo>
                        <a:pt x="561" y="519"/>
                      </a:lnTo>
                      <a:lnTo>
                        <a:pt x="561" y="517"/>
                      </a:lnTo>
                      <a:lnTo>
                        <a:pt x="559" y="517"/>
                      </a:lnTo>
                      <a:lnTo>
                        <a:pt x="559" y="516"/>
                      </a:lnTo>
                      <a:lnTo>
                        <a:pt x="558" y="516"/>
                      </a:lnTo>
                      <a:lnTo>
                        <a:pt x="559" y="514"/>
                      </a:lnTo>
                      <a:lnTo>
                        <a:pt x="558" y="514"/>
                      </a:lnTo>
                      <a:lnTo>
                        <a:pt x="556" y="514"/>
                      </a:lnTo>
                      <a:lnTo>
                        <a:pt x="554" y="514"/>
                      </a:lnTo>
                      <a:lnTo>
                        <a:pt x="552" y="514"/>
                      </a:lnTo>
                      <a:lnTo>
                        <a:pt x="551" y="514"/>
                      </a:lnTo>
                      <a:lnTo>
                        <a:pt x="551" y="512"/>
                      </a:lnTo>
                      <a:lnTo>
                        <a:pt x="551" y="511"/>
                      </a:lnTo>
                      <a:lnTo>
                        <a:pt x="551" y="509"/>
                      </a:lnTo>
                      <a:lnTo>
                        <a:pt x="552" y="511"/>
                      </a:lnTo>
                      <a:lnTo>
                        <a:pt x="552" y="509"/>
                      </a:lnTo>
                      <a:lnTo>
                        <a:pt x="551" y="509"/>
                      </a:lnTo>
                      <a:lnTo>
                        <a:pt x="549" y="509"/>
                      </a:lnTo>
                      <a:lnTo>
                        <a:pt x="547" y="509"/>
                      </a:lnTo>
                      <a:lnTo>
                        <a:pt x="546" y="509"/>
                      </a:lnTo>
                      <a:lnTo>
                        <a:pt x="547" y="509"/>
                      </a:lnTo>
                      <a:lnTo>
                        <a:pt x="547" y="511"/>
                      </a:lnTo>
                      <a:lnTo>
                        <a:pt x="546" y="511"/>
                      </a:lnTo>
                      <a:lnTo>
                        <a:pt x="544" y="509"/>
                      </a:lnTo>
                      <a:lnTo>
                        <a:pt x="542" y="509"/>
                      </a:lnTo>
                      <a:lnTo>
                        <a:pt x="542" y="511"/>
                      </a:lnTo>
                      <a:lnTo>
                        <a:pt x="541" y="511"/>
                      </a:lnTo>
                      <a:lnTo>
                        <a:pt x="541" y="512"/>
                      </a:lnTo>
                      <a:lnTo>
                        <a:pt x="542" y="512"/>
                      </a:lnTo>
                      <a:lnTo>
                        <a:pt x="541" y="512"/>
                      </a:lnTo>
                      <a:lnTo>
                        <a:pt x="539" y="512"/>
                      </a:lnTo>
                      <a:lnTo>
                        <a:pt x="537" y="512"/>
                      </a:lnTo>
                      <a:lnTo>
                        <a:pt x="537" y="511"/>
                      </a:lnTo>
                      <a:lnTo>
                        <a:pt x="539" y="511"/>
                      </a:lnTo>
                      <a:lnTo>
                        <a:pt x="537" y="511"/>
                      </a:lnTo>
                      <a:lnTo>
                        <a:pt x="537" y="512"/>
                      </a:lnTo>
                      <a:lnTo>
                        <a:pt x="536" y="511"/>
                      </a:lnTo>
                      <a:lnTo>
                        <a:pt x="534" y="511"/>
                      </a:lnTo>
                      <a:lnTo>
                        <a:pt x="534" y="512"/>
                      </a:lnTo>
                      <a:lnTo>
                        <a:pt x="532" y="512"/>
                      </a:lnTo>
                      <a:lnTo>
                        <a:pt x="532" y="514"/>
                      </a:lnTo>
                      <a:lnTo>
                        <a:pt x="532" y="512"/>
                      </a:lnTo>
                      <a:lnTo>
                        <a:pt x="530" y="512"/>
                      </a:lnTo>
                      <a:lnTo>
                        <a:pt x="529" y="512"/>
                      </a:lnTo>
                      <a:lnTo>
                        <a:pt x="529" y="511"/>
                      </a:lnTo>
                      <a:lnTo>
                        <a:pt x="529" y="509"/>
                      </a:lnTo>
                      <a:lnTo>
                        <a:pt x="527" y="509"/>
                      </a:lnTo>
                      <a:lnTo>
                        <a:pt x="525" y="511"/>
                      </a:lnTo>
                      <a:lnTo>
                        <a:pt x="524" y="511"/>
                      </a:lnTo>
                      <a:lnTo>
                        <a:pt x="524" y="509"/>
                      </a:lnTo>
                      <a:lnTo>
                        <a:pt x="524" y="507"/>
                      </a:lnTo>
                      <a:lnTo>
                        <a:pt x="522" y="507"/>
                      </a:lnTo>
                      <a:lnTo>
                        <a:pt x="522" y="509"/>
                      </a:lnTo>
                      <a:lnTo>
                        <a:pt x="522" y="511"/>
                      </a:lnTo>
                      <a:lnTo>
                        <a:pt x="520" y="511"/>
                      </a:lnTo>
                      <a:lnTo>
                        <a:pt x="519" y="511"/>
                      </a:lnTo>
                      <a:lnTo>
                        <a:pt x="519" y="512"/>
                      </a:lnTo>
                      <a:lnTo>
                        <a:pt x="515" y="512"/>
                      </a:lnTo>
                      <a:lnTo>
                        <a:pt x="514" y="512"/>
                      </a:lnTo>
                      <a:lnTo>
                        <a:pt x="512" y="512"/>
                      </a:lnTo>
                      <a:lnTo>
                        <a:pt x="514" y="512"/>
                      </a:lnTo>
                      <a:lnTo>
                        <a:pt x="514" y="514"/>
                      </a:lnTo>
                      <a:lnTo>
                        <a:pt x="512" y="514"/>
                      </a:lnTo>
                      <a:lnTo>
                        <a:pt x="510" y="514"/>
                      </a:lnTo>
                      <a:lnTo>
                        <a:pt x="509" y="514"/>
                      </a:lnTo>
                      <a:lnTo>
                        <a:pt x="507" y="516"/>
                      </a:lnTo>
                      <a:lnTo>
                        <a:pt x="507" y="514"/>
                      </a:lnTo>
                      <a:lnTo>
                        <a:pt x="505" y="514"/>
                      </a:lnTo>
                      <a:lnTo>
                        <a:pt x="503" y="514"/>
                      </a:lnTo>
                      <a:lnTo>
                        <a:pt x="502" y="514"/>
                      </a:lnTo>
                      <a:lnTo>
                        <a:pt x="502" y="512"/>
                      </a:lnTo>
                      <a:lnTo>
                        <a:pt x="500" y="512"/>
                      </a:lnTo>
                      <a:lnTo>
                        <a:pt x="498" y="511"/>
                      </a:lnTo>
                      <a:lnTo>
                        <a:pt x="498" y="512"/>
                      </a:lnTo>
                      <a:lnTo>
                        <a:pt x="497" y="512"/>
                      </a:lnTo>
                      <a:lnTo>
                        <a:pt x="497" y="511"/>
                      </a:lnTo>
                      <a:lnTo>
                        <a:pt x="497" y="509"/>
                      </a:lnTo>
                      <a:lnTo>
                        <a:pt x="495" y="509"/>
                      </a:lnTo>
                      <a:lnTo>
                        <a:pt x="495" y="511"/>
                      </a:lnTo>
                      <a:lnTo>
                        <a:pt x="493" y="511"/>
                      </a:lnTo>
                      <a:lnTo>
                        <a:pt x="492" y="511"/>
                      </a:lnTo>
                      <a:lnTo>
                        <a:pt x="492" y="509"/>
                      </a:lnTo>
                      <a:lnTo>
                        <a:pt x="492" y="511"/>
                      </a:lnTo>
                      <a:lnTo>
                        <a:pt x="490" y="511"/>
                      </a:lnTo>
                      <a:lnTo>
                        <a:pt x="490" y="512"/>
                      </a:lnTo>
                      <a:lnTo>
                        <a:pt x="488" y="511"/>
                      </a:lnTo>
                      <a:lnTo>
                        <a:pt x="487" y="511"/>
                      </a:lnTo>
                      <a:lnTo>
                        <a:pt x="485" y="509"/>
                      </a:lnTo>
                      <a:lnTo>
                        <a:pt x="485" y="511"/>
                      </a:lnTo>
                      <a:lnTo>
                        <a:pt x="483" y="512"/>
                      </a:lnTo>
                      <a:lnTo>
                        <a:pt x="482" y="512"/>
                      </a:lnTo>
                      <a:lnTo>
                        <a:pt x="480" y="512"/>
                      </a:lnTo>
                      <a:lnTo>
                        <a:pt x="480" y="514"/>
                      </a:lnTo>
                      <a:lnTo>
                        <a:pt x="478" y="514"/>
                      </a:lnTo>
                      <a:lnTo>
                        <a:pt x="478" y="512"/>
                      </a:lnTo>
                      <a:lnTo>
                        <a:pt x="478" y="511"/>
                      </a:lnTo>
                      <a:lnTo>
                        <a:pt x="478" y="512"/>
                      </a:lnTo>
                      <a:lnTo>
                        <a:pt x="476" y="514"/>
                      </a:lnTo>
                      <a:lnTo>
                        <a:pt x="475" y="512"/>
                      </a:lnTo>
                      <a:lnTo>
                        <a:pt x="473" y="512"/>
                      </a:lnTo>
                      <a:lnTo>
                        <a:pt x="475" y="512"/>
                      </a:lnTo>
                      <a:lnTo>
                        <a:pt x="475" y="514"/>
                      </a:lnTo>
                      <a:lnTo>
                        <a:pt x="473" y="514"/>
                      </a:lnTo>
                      <a:lnTo>
                        <a:pt x="473" y="512"/>
                      </a:lnTo>
                      <a:lnTo>
                        <a:pt x="473" y="514"/>
                      </a:lnTo>
                      <a:lnTo>
                        <a:pt x="471" y="514"/>
                      </a:lnTo>
                      <a:lnTo>
                        <a:pt x="471" y="512"/>
                      </a:lnTo>
                      <a:lnTo>
                        <a:pt x="471" y="514"/>
                      </a:lnTo>
                      <a:lnTo>
                        <a:pt x="470" y="514"/>
                      </a:lnTo>
                      <a:lnTo>
                        <a:pt x="470" y="512"/>
                      </a:lnTo>
                      <a:lnTo>
                        <a:pt x="468" y="512"/>
                      </a:lnTo>
                      <a:lnTo>
                        <a:pt x="468" y="511"/>
                      </a:lnTo>
                      <a:lnTo>
                        <a:pt x="468" y="509"/>
                      </a:lnTo>
                      <a:lnTo>
                        <a:pt x="468" y="507"/>
                      </a:lnTo>
                      <a:lnTo>
                        <a:pt x="468" y="506"/>
                      </a:lnTo>
                      <a:lnTo>
                        <a:pt x="466" y="506"/>
                      </a:lnTo>
                      <a:lnTo>
                        <a:pt x="466" y="504"/>
                      </a:lnTo>
                      <a:lnTo>
                        <a:pt x="466" y="502"/>
                      </a:lnTo>
                      <a:lnTo>
                        <a:pt x="465" y="502"/>
                      </a:lnTo>
                      <a:lnTo>
                        <a:pt x="465" y="504"/>
                      </a:lnTo>
                      <a:lnTo>
                        <a:pt x="463" y="504"/>
                      </a:lnTo>
                      <a:lnTo>
                        <a:pt x="463" y="502"/>
                      </a:lnTo>
                      <a:lnTo>
                        <a:pt x="463" y="501"/>
                      </a:lnTo>
                      <a:lnTo>
                        <a:pt x="461" y="501"/>
                      </a:lnTo>
                      <a:lnTo>
                        <a:pt x="461" y="502"/>
                      </a:lnTo>
                      <a:lnTo>
                        <a:pt x="461" y="501"/>
                      </a:lnTo>
                      <a:lnTo>
                        <a:pt x="460" y="501"/>
                      </a:lnTo>
                      <a:lnTo>
                        <a:pt x="460" y="499"/>
                      </a:lnTo>
                      <a:lnTo>
                        <a:pt x="458" y="499"/>
                      </a:lnTo>
                      <a:lnTo>
                        <a:pt x="460" y="497"/>
                      </a:lnTo>
                      <a:lnTo>
                        <a:pt x="458" y="497"/>
                      </a:lnTo>
                      <a:lnTo>
                        <a:pt x="456" y="497"/>
                      </a:lnTo>
                      <a:lnTo>
                        <a:pt x="454" y="497"/>
                      </a:lnTo>
                      <a:lnTo>
                        <a:pt x="454" y="496"/>
                      </a:lnTo>
                      <a:lnTo>
                        <a:pt x="454" y="494"/>
                      </a:lnTo>
                      <a:lnTo>
                        <a:pt x="453" y="494"/>
                      </a:lnTo>
                      <a:lnTo>
                        <a:pt x="451" y="493"/>
                      </a:lnTo>
                      <a:lnTo>
                        <a:pt x="451" y="491"/>
                      </a:lnTo>
                      <a:lnTo>
                        <a:pt x="449" y="491"/>
                      </a:lnTo>
                      <a:lnTo>
                        <a:pt x="448" y="491"/>
                      </a:lnTo>
                      <a:lnTo>
                        <a:pt x="448" y="489"/>
                      </a:lnTo>
                      <a:lnTo>
                        <a:pt x="446" y="489"/>
                      </a:lnTo>
                      <a:lnTo>
                        <a:pt x="446" y="488"/>
                      </a:lnTo>
                      <a:lnTo>
                        <a:pt x="446" y="486"/>
                      </a:lnTo>
                      <a:lnTo>
                        <a:pt x="446" y="484"/>
                      </a:lnTo>
                      <a:lnTo>
                        <a:pt x="446" y="483"/>
                      </a:lnTo>
                      <a:lnTo>
                        <a:pt x="446" y="481"/>
                      </a:lnTo>
                      <a:lnTo>
                        <a:pt x="444" y="479"/>
                      </a:lnTo>
                      <a:lnTo>
                        <a:pt x="446" y="479"/>
                      </a:lnTo>
                      <a:lnTo>
                        <a:pt x="446" y="478"/>
                      </a:lnTo>
                      <a:lnTo>
                        <a:pt x="444" y="478"/>
                      </a:lnTo>
                      <a:lnTo>
                        <a:pt x="443" y="478"/>
                      </a:lnTo>
                      <a:lnTo>
                        <a:pt x="443" y="479"/>
                      </a:lnTo>
                      <a:lnTo>
                        <a:pt x="443" y="478"/>
                      </a:lnTo>
                      <a:lnTo>
                        <a:pt x="441" y="478"/>
                      </a:lnTo>
                      <a:lnTo>
                        <a:pt x="441" y="476"/>
                      </a:lnTo>
                      <a:lnTo>
                        <a:pt x="441" y="474"/>
                      </a:lnTo>
                      <a:lnTo>
                        <a:pt x="439" y="474"/>
                      </a:lnTo>
                      <a:lnTo>
                        <a:pt x="439" y="476"/>
                      </a:lnTo>
                      <a:lnTo>
                        <a:pt x="439" y="478"/>
                      </a:lnTo>
                      <a:lnTo>
                        <a:pt x="438" y="478"/>
                      </a:lnTo>
                      <a:lnTo>
                        <a:pt x="438" y="476"/>
                      </a:lnTo>
                      <a:lnTo>
                        <a:pt x="438" y="474"/>
                      </a:lnTo>
                      <a:lnTo>
                        <a:pt x="436" y="474"/>
                      </a:lnTo>
                      <a:lnTo>
                        <a:pt x="434" y="474"/>
                      </a:lnTo>
                      <a:lnTo>
                        <a:pt x="433" y="474"/>
                      </a:lnTo>
                      <a:lnTo>
                        <a:pt x="433" y="476"/>
                      </a:lnTo>
                      <a:lnTo>
                        <a:pt x="433" y="478"/>
                      </a:lnTo>
                      <a:lnTo>
                        <a:pt x="431" y="478"/>
                      </a:lnTo>
                      <a:lnTo>
                        <a:pt x="429" y="478"/>
                      </a:lnTo>
                      <a:lnTo>
                        <a:pt x="429" y="476"/>
                      </a:lnTo>
                      <a:lnTo>
                        <a:pt x="429" y="478"/>
                      </a:lnTo>
                      <a:lnTo>
                        <a:pt x="427" y="478"/>
                      </a:lnTo>
                      <a:lnTo>
                        <a:pt x="427" y="476"/>
                      </a:lnTo>
                      <a:lnTo>
                        <a:pt x="426" y="476"/>
                      </a:lnTo>
                      <a:lnTo>
                        <a:pt x="426" y="478"/>
                      </a:lnTo>
                      <a:lnTo>
                        <a:pt x="426" y="476"/>
                      </a:lnTo>
                      <a:lnTo>
                        <a:pt x="424" y="478"/>
                      </a:lnTo>
                      <a:lnTo>
                        <a:pt x="424" y="476"/>
                      </a:lnTo>
                      <a:lnTo>
                        <a:pt x="422" y="476"/>
                      </a:lnTo>
                      <a:lnTo>
                        <a:pt x="421" y="476"/>
                      </a:lnTo>
                      <a:lnTo>
                        <a:pt x="419" y="476"/>
                      </a:lnTo>
                      <a:lnTo>
                        <a:pt x="419" y="474"/>
                      </a:lnTo>
                      <a:lnTo>
                        <a:pt x="417" y="474"/>
                      </a:lnTo>
                      <a:lnTo>
                        <a:pt x="417" y="476"/>
                      </a:lnTo>
                      <a:lnTo>
                        <a:pt x="417" y="474"/>
                      </a:lnTo>
                      <a:lnTo>
                        <a:pt x="416" y="473"/>
                      </a:lnTo>
                      <a:lnTo>
                        <a:pt x="416" y="471"/>
                      </a:lnTo>
                      <a:lnTo>
                        <a:pt x="414" y="471"/>
                      </a:lnTo>
                      <a:lnTo>
                        <a:pt x="412" y="471"/>
                      </a:lnTo>
                      <a:lnTo>
                        <a:pt x="414" y="470"/>
                      </a:lnTo>
                      <a:lnTo>
                        <a:pt x="412" y="470"/>
                      </a:lnTo>
                      <a:lnTo>
                        <a:pt x="412" y="471"/>
                      </a:lnTo>
                      <a:lnTo>
                        <a:pt x="411" y="471"/>
                      </a:lnTo>
                      <a:lnTo>
                        <a:pt x="412" y="470"/>
                      </a:lnTo>
                      <a:lnTo>
                        <a:pt x="411" y="470"/>
                      </a:lnTo>
                      <a:lnTo>
                        <a:pt x="411" y="471"/>
                      </a:lnTo>
                      <a:lnTo>
                        <a:pt x="409" y="471"/>
                      </a:lnTo>
                      <a:lnTo>
                        <a:pt x="407" y="471"/>
                      </a:lnTo>
                      <a:lnTo>
                        <a:pt x="407" y="470"/>
                      </a:lnTo>
                      <a:lnTo>
                        <a:pt x="406" y="471"/>
                      </a:lnTo>
                      <a:lnTo>
                        <a:pt x="404" y="471"/>
                      </a:lnTo>
                      <a:lnTo>
                        <a:pt x="404" y="470"/>
                      </a:lnTo>
                      <a:lnTo>
                        <a:pt x="402" y="470"/>
                      </a:lnTo>
                      <a:lnTo>
                        <a:pt x="400" y="468"/>
                      </a:lnTo>
                      <a:lnTo>
                        <a:pt x="399" y="468"/>
                      </a:lnTo>
                      <a:lnTo>
                        <a:pt x="399" y="466"/>
                      </a:lnTo>
                      <a:lnTo>
                        <a:pt x="399" y="465"/>
                      </a:lnTo>
                      <a:lnTo>
                        <a:pt x="397" y="465"/>
                      </a:lnTo>
                      <a:lnTo>
                        <a:pt x="397" y="463"/>
                      </a:lnTo>
                      <a:lnTo>
                        <a:pt x="395" y="463"/>
                      </a:lnTo>
                      <a:lnTo>
                        <a:pt x="394" y="463"/>
                      </a:lnTo>
                      <a:lnTo>
                        <a:pt x="395" y="463"/>
                      </a:lnTo>
                      <a:lnTo>
                        <a:pt x="395" y="461"/>
                      </a:lnTo>
                      <a:lnTo>
                        <a:pt x="395" y="460"/>
                      </a:lnTo>
                      <a:lnTo>
                        <a:pt x="394" y="461"/>
                      </a:lnTo>
                      <a:lnTo>
                        <a:pt x="394" y="463"/>
                      </a:lnTo>
                      <a:lnTo>
                        <a:pt x="392" y="463"/>
                      </a:lnTo>
                      <a:lnTo>
                        <a:pt x="390" y="463"/>
                      </a:lnTo>
                      <a:lnTo>
                        <a:pt x="390" y="465"/>
                      </a:lnTo>
                      <a:lnTo>
                        <a:pt x="389" y="463"/>
                      </a:lnTo>
                      <a:lnTo>
                        <a:pt x="389" y="465"/>
                      </a:lnTo>
                      <a:lnTo>
                        <a:pt x="387" y="463"/>
                      </a:lnTo>
                      <a:lnTo>
                        <a:pt x="387" y="465"/>
                      </a:lnTo>
                      <a:lnTo>
                        <a:pt x="387" y="466"/>
                      </a:lnTo>
                      <a:lnTo>
                        <a:pt x="387" y="465"/>
                      </a:lnTo>
                      <a:lnTo>
                        <a:pt x="385" y="465"/>
                      </a:lnTo>
                      <a:lnTo>
                        <a:pt x="385" y="463"/>
                      </a:lnTo>
                      <a:lnTo>
                        <a:pt x="385" y="465"/>
                      </a:lnTo>
                      <a:lnTo>
                        <a:pt x="384" y="465"/>
                      </a:lnTo>
                      <a:lnTo>
                        <a:pt x="382" y="465"/>
                      </a:lnTo>
                      <a:lnTo>
                        <a:pt x="380" y="463"/>
                      </a:lnTo>
                      <a:lnTo>
                        <a:pt x="380" y="461"/>
                      </a:lnTo>
                      <a:lnTo>
                        <a:pt x="380" y="460"/>
                      </a:lnTo>
                      <a:lnTo>
                        <a:pt x="380" y="458"/>
                      </a:lnTo>
                      <a:lnTo>
                        <a:pt x="378" y="458"/>
                      </a:lnTo>
                      <a:lnTo>
                        <a:pt x="377" y="458"/>
                      </a:lnTo>
                      <a:lnTo>
                        <a:pt x="377" y="460"/>
                      </a:lnTo>
                      <a:lnTo>
                        <a:pt x="375" y="458"/>
                      </a:lnTo>
                      <a:lnTo>
                        <a:pt x="377" y="458"/>
                      </a:lnTo>
                      <a:lnTo>
                        <a:pt x="377" y="456"/>
                      </a:lnTo>
                      <a:lnTo>
                        <a:pt x="375" y="456"/>
                      </a:lnTo>
                      <a:lnTo>
                        <a:pt x="373" y="455"/>
                      </a:lnTo>
                      <a:lnTo>
                        <a:pt x="373" y="453"/>
                      </a:lnTo>
                      <a:lnTo>
                        <a:pt x="372" y="453"/>
                      </a:lnTo>
                      <a:lnTo>
                        <a:pt x="372" y="451"/>
                      </a:lnTo>
                      <a:lnTo>
                        <a:pt x="372" y="450"/>
                      </a:lnTo>
                      <a:lnTo>
                        <a:pt x="370" y="450"/>
                      </a:lnTo>
                      <a:lnTo>
                        <a:pt x="368" y="448"/>
                      </a:lnTo>
                      <a:lnTo>
                        <a:pt x="367" y="450"/>
                      </a:lnTo>
                      <a:lnTo>
                        <a:pt x="365" y="450"/>
                      </a:lnTo>
                      <a:lnTo>
                        <a:pt x="363" y="451"/>
                      </a:lnTo>
                      <a:lnTo>
                        <a:pt x="363" y="450"/>
                      </a:lnTo>
                      <a:lnTo>
                        <a:pt x="362" y="448"/>
                      </a:lnTo>
                      <a:lnTo>
                        <a:pt x="362" y="450"/>
                      </a:lnTo>
                      <a:lnTo>
                        <a:pt x="362" y="448"/>
                      </a:lnTo>
                      <a:lnTo>
                        <a:pt x="360" y="448"/>
                      </a:lnTo>
                      <a:lnTo>
                        <a:pt x="360" y="447"/>
                      </a:lnTo>
                      <a:lnTo>
                        <a:pt x="360" y="445"/>
                      </a:lnTo>
                      <a:lnTo>
                        <a:pt x="358" y="443"/>
                      </a:lnTo>
                      <a:lnTo>
                        <a:pt x="358" y="442"/>
                      </a:lnTo>
                      <a:lnTo>
                        <a:pt x="358" y="440"/>
                      </a:lnTo>
                      <a:lnTo>
                        <a:pt x="357" y="440"/>
                      </a:lnTo>
                      <a:lnTo>
                        <a:pt x="357" y="438"/>
                      </a:lnTo>
                      <a:lnTo>
                        <a:pt x="355" y="438"/>
                      </a:lnTo>
                      <a:lnTo>
                        <a:pt x="353" y="438"/>
                      </a:lnTo>
                      <a:lnTo>
                        <a:pt x="353" y="437"/>
                      </a:lnTo>
                      <a:lnTo>
                        <a:pt x="355" y="437"/>
                      </a:lnTo>
                      <a:lnTo>
                        <a:pt x="355" y="435"/>
                      </a:lnTo>
                      <a:lnTo>
                        <a:pt x="357" y="435"/>
                      </a:lnTo>
                      <a:lnTo>
                        <a:pt x="355" y="435"/>
                      </a:lnTo>
                      <a:lnTo>
                        <a:pt x="353" y="435"/>
                      </a:lnTo>
                      <a:lnTo>
                        <a:pt x="351" y="435"/>
                      </a:lnTo>
                      <a:lnTo>
                        <a:pt x="351" y="433"/>
                      </a:lnTo>
                      <a:lnTo>
                        <a:pt x="353" y="433"/>
                      </a:lnTo>
                      <a:lnTo>
                        <a:pt x="353" y="432"/>
                      </a:lnTo>
                      <a:lnTo>
                        <a:pt x="351" y="432"/>
                      </a:lnTo>
                      <a:lnTo>
                        <a:pt x="350" y="432"/>
                      </a:lnTo>
                      <a:lnTo>
                        <a:pt x="348" y="432"/>
                      </a:lnTo>
                      <a:lnTo>
                        <a:pt x="348" y="430"/>
                      </a:lnTo>
                      <a:lnTo>
                        <a:pt x="346" y="430"/>
                      </a:lnTo>
                      <a:lnTo>
                        <a:pt x="346" y="429"/>
                      </a:lnTo>
                      <a:lnTo>
                        <a:pt x="346" y="430"/>
                      </a:lnTo>
                      <a:lnTo>
                        <a:pt x="345" y="430"/>
                      </a:lnTo>
                      <a:lnTo>
                        <a:pt x="345" y="429"/>
                      </a:lnTo>
                      <a:lnTo>
                        <a:pt x="343" y="429"/>
                      </a:lnTo>
                      <a:lnTo>
                        <a:pt x="343" y="430"/>
                      </a:lnTo>
                      <a:lnTo>
                        <a:pt x="343" y="432"/>
                      </a:lnTo>
                      <a:lnTo>
                        <a:pt x="341" y="432"/>
                      </a:lnTo>
                      <a:lnTo>
                        <a:pt x="340" y="432"/>
                      </a:lnTo>
                      <a:lnTo>
                        <a:pt x="340" y="433"/>
                      </a:lnTo>
                      <a:lnTo>
                        <a:pt x="338" y="432"/>
                      </a:lnTo>
                      <a:lnTo>
                        <a:pt x="338" y="433"/>
                      </a:lnTo>
                      <a:lnTo>
                        <a:pt x="340" y="435"/>
                      </a:lnTo>
                      <a:lnTo>
                        <a:pt x="338" y="435"/>
                      </a:lnTo>
                      <a:lnTo>
                        <a:pt x="336" y="435"/>
                      </a:lnTo>
                      <a:lnTo>
                        <a:pt x="335" y="435"/>
                      </a:lnTo>
                      <a:lnTo>
                        <a:pt x="333" y="435"/>
                      </a:lnTo>
                      <a:lnTo>
                        <a:pt x="331" y="433"/>
                      </a:lnTo>
                      <a:lnTo>
                        <a:pt x="330" y="433"/>
                      </a:lnTo>
                      <a:lnTo>
                        <a:pt x="330" y="432"/>
                      </a:lnTo>
                      <a:lnTo>
                        <a:pt x="328" y="432"/>
                      </a:lnTo>
                      <a:lnTo>
                        <a:pt x="326" y="432"/>
                      </a:lnTo>
                      <a:lnTo>
                        <a:pt x="324" y="432"/>
                      </a:lnTo>
                      <a:lnTo>
                        <a:pt x="323" y="430"/>
                      </a:lnTo>
                      <a:lnTo>
                        <a:pt x="323" y="429"/>
                      </a:lnTo>
                      <a:lnTo>
                        <a:pt x="321" y="427"/>
                      </a:lnTo>
                      <a:lnTo>
                        <a:pt x="319" y="427"/>
                      </a:lnTo>
                      <a:lnTo>
                        <a:pt x="321" y="427"/>
                      </a:lnTo>
                      <a:lnTo>
                        <a:pt x="319" y="425"/>
                      </a:lnTo>
                      <a:lnTo>
                        <a:pt x="321" y="424"/>
                      </a:lnTo>
                      <a:lnTo>
                        <a:pt x="319" y="424"/>
                      </a:lnTo>
                      <a:lnTo>
                        <a:pt x="318" y="424"/>
                      </a:lnTo>
                      <a:lnTo>
                        <a:pt x="316" y="424"/>
                      </a:lnTo>
                      <a:lnTo>
                        <a:pt x="314" y="424"/>
                      </a:lnTo>
                      <a:lnTo>
                        <a:pt x="313" y="424"/>
                      </a:lnTo>
                      <a:lnTo>
                        <a:pt x="313" y="422"/>
                      </a:lnTo>
                      <a:lnTo>
                        <a:pt x="311" y="422"/>
                      </a:lnTo>
                      <a:lnTo>
                        <a:pt x="311" y="420"/>
                      </a:lnTo>
                      <a:lnTo>
                        <a:pt x="309" y="419"/>
                      </a:lnTo>
                      <a:lnTo>
                        <a:pt x="308" y="419"/>
                      </a:lnTo>
                      <a:lnTo>
                        <a:pt x="308" y="417"/>
                      </a:lnTo>
                      <a:lnTo>
                        <a:pt x="306" y="417"/>
                      </a:lnTo>
                      <a:lnTo>
                        <a:pt x="302" y="417"/>
                      </a:lnTo>
                      <a:lnTo>
                        <a:pt x="302" y="415"/>
                      </a:lnTo>
                      <a:lnTo>
                        <a:pt x="301" y="415"/>
                      </a:lnTo>
                      <a:lnTo>
                        <a:pt x="299" y="414"/>
                      </a:lnTo>
                      <a:lnTo>
                        <a:pt x="297" y="414"/>
                      </a:lnTo>
                      <a:lnTo>
                        <a:pt x="296" y="412"/>
                      </a:lnTo>
                      <a:lnTo>
                        <a:pt x="292" y="412"/>
                      </a:lnTo>
                      <a:lnTo>
                        <a:pt x="291" y="412"/>
                      </a:lnTo>
                      <a:lnTo>
                        <a:pt x="289" y="412"/>
                      </a:lnTo>
                      <a:lnTo>
                        <a:pt x="287" y="412"/>
                      </a:lnTo>
                      <a:lnTo>
                        <a:pt x="287" y="410"/>
                      </a:lnTo>
                      <a:lnTo>
                        <a:pt x="286" y="412"/>
                      </a:lnTo>
                      <a:lnTo>
                        <a:pt x="284" y="412"/>
                      </a:lnTo>
                      <a:lnTo>
                        <a:pt x="284" y="414"/>
                      </a:lnTo>
                      <a:lnTo>
                        <a:pt x="282" y="414"/>
                      </a:lnTo>
                      <a:lnTo>
                        <a:pt x="281" y="414"/>
                      </a:lnTo>
                      <a:lnTo>
                        <a:pt x="279" y="412"/>
                      </a:lnTo>
                      <a:lnTo>
                        <a:pt x="277" y="412"/>
                      </a:lnTo>
                      <a:lnTo>
                        <a:pt x="277" y="414"/>
                      </a:lnTo>
                      <a:lnTo>
                        <a:pt x="277" y="415"/>
                      </a:lnTo>
                      <a:lnTo>
                        <a:pt x="275" y="415"/>
                      </a:lnTo>
                      <a:lnTo>
                        <a:pt x="275" y="417"/>
                      </a:lnTo>
                      <a:lnTo>
                        <a:pt x="277" y="417"/>
                      </a:lnTo>
                      <a:lnTo>
                        <a:pt x="275" y="419"/>
                      </a:lnTo>
                      <a:lnTo>
                        <a:pt x="274" y="419"/>
                      </a:lnTo>
                      <a:lnTo>
                        <a:pt x="272" y="420"/>
                      </a:lnTo>
                      <a:lnTo>
                        <a:pt x="270" y="420"/>
                      </a:lnTo>
                      <a:lnTo>
                        <a:pt x="269" y="420"/>
                      </a:lnTo>
                      <a:lnTo>
                        <a:pt x="269" y="419"/>
                      </a:lnTo>
                      <a:lnTo>
                        <a:pt x="267" y="419"/>
                      </a:lnTo>
                      <a:lnTo>
                        <a:pt x="265" y="419"/>
                      </a:lnTo>
                      <a:lnTo>
                        <a:pt x="264" y="419"/>
                      </a:lnTo>
                      <a:lnTo>
                        <a:pt x="262" y="419"/>
                      </a:lnTo>
                      <a:lnTo>
                        <a:pt x="262" y="417"/>
                      </a:lnTo>
                      <a:lnTo>
                        <a:pt x="260" y="417"/>
                      </a:lnTo>
                      <a:lnTo>
                        <a:pt x="259" y="417"/>
                      </a:lnTo>
                      <a:lnTo>
                        <a:pt x="259" y="415"/>
                      </a:lnTo>
                      <a:lnTo>
                        <a:pt x="257" y="415"/>
                      </a:lnTo>
                      <a:lnTo>
                        <a:pt x="257" y="417"/>
                      </a:lnTo>
                      <a:lnTo>
                        <a:pt x="255" y="419"/>
                      </a:lnTo>
                      <a:lnTo>
                        <a:pt x="255" y="417"/>
                      </a:lnTo>
                      <a:lnTo>
                        <a:pt x="255" y="415"/>
                      </a:lnTo>
                      <a:lnTo>
                        <a:pt x="254" y="415"/>
                      </a:lnTo>
                      <a:lnTo>
                        <a:pt x="254" y="417"/>
                      </a:lnTo>
                      <a:lnTo>
                        <a:pt x="252" y="419"/>
                      </a:lnTo>
                      <a:lnTo>
                        <a:pt x="250" y="419"/>
                      </a:lnTo>
                      <a:lnTo>
                        <a:pt x="250" y="417"/>
                      </a:lnTo>
                      <a:lnTo>
                        <a:pt x="250" y="415"/>
                      </a:lnTo>
                      <a:lnTo>
                        <a:pt x="250" y="414"/>
                      </a:lnTo>
                      <a:lnTo>
                        <a:pt x="248" y="414"/>
                      </a:lnTo>
                      <a:lnTo>
                        <a:pt x="248" y="415"/>
                      </a:lnTo>
                      <a:lnTo>
                        <a:pt x="247" y="414"/>
                      </a:lnTo>
                      <a:lnTo>
                        <a:pt x="245" y="414"/>
                      </a:lnTo>
                      <a:lnTo>
                        <a:pt x="243" y="414"/>
                      </a:lnTo>
                      <a:lnTo>
                        <a:pt x="243" y="415"/>
                      </a:lnTo>
                      <a:lnTo>
                        <a:pt x="242" y="415"/>
                      </a:lnTo>
                      <a:lnTo>
                        <a:pt x="242" y="417"/>
                      </a:lnTo>
                      <a:lnTo>
                        <a:pt x="240" y="417"/>
                      </a:lnTo>
                      <a:lnTo>
                        <a:pt x="240" y="419"/>
                      </a:lnTo>
                      <a:lnTo>
                        <a:pt x="240" y="417"/>
                      </a:lnTo>
                      <a:lnTo>
                        <a:pt x="238" y="417"/>
                      </a:lnTo>
                      <a:lnTo>
                        <a:pt x="238" y="415"/>
                      </a:lnTo>
                      <a:lnTo>
                        <a:pt x="238" y="414"/>
                      </a:lnTo>
                      <a:lnTo>
                        <a:pt x="237" y="414"/>
                      </a:lnTo>
                      <a:lnTo>
                        <a:pt x="233" y="414"/>
                      </a:lnTo>
                      <a:lnTo>
                        <a:pt x="232" y="414"/>
                      </a:lnTo>
                      <a:lnTo>
                        <a:pt x="230" y="414"/>
                      </a:lnTo>
                      <a:lnTo>
                        <a:pt x="230" y="412"/>
                      </a:lnTo>
                      <a:lnTo>
                        <a:pt x="228" y="412"/>
                      </a:lnTo>
                      <a:lnTo>
                        <a:pt x="226" y="412"/>
                      </a:lnTo>
                      <a:lnTo>
                        <a:pt x="226" y="410"/>
                      </a:lnTo>
                      <a:lnTo>
                        <a:pt x="225" y="410"/>
                      </a:lnTo>
                      <a:lnTo>
                        <a:pt x="225" y="409"/>
                      </a:lnTo>
                      <a:lnTo>
                        <a:pt x="223" y="409"/>
                      </a:lnTo>
                      <a:lnTo>
                        <a:pt x="223" y="407"/>
                      </a:lnTo>
                      <a:lnTo>
                        <a:pt x="221" y="407"/>
                      </a:lnTo>
                      <a:lnTo>
                        <a:pt x="221" y="406"/>
                      </a:lnTo>
                      <a:lnTo>
                        <a:pt x="220" y="406"/>
                      </a:lnTo>
                      <a:lnTo>
                        <a:pt x="218" y="404"/>
                      </a:lnTo>
                      <a:lnTo>
                        <a:pt x="218" y="402"/>
                      </a:lnTo>
                      <a:lnTo>
                        <a:pt x="220" y="402"/>
                      </a:lnTo>
                      <a:lnTo>
                        <a:pt x="220" y="401"/>
                      </a:lnTo>
                      <a:lnTo>
                        <a:pt x="220" y="399"/>
                      </a:lnTo>
                      <a:lnTo>
                        <a:pt x="220" y="396"/>
                      </a:lnTo>
                      <a:lnTo>
                        <a:pt x="220" y="394"/>
                      </a:lnTo>
                      <a:lnTo>
                        <a:pt x="220" y="392"/>
                      </a:lnTo>
                      <a:lnTo>
                        <a:pt x="218" y="392"/>
                      </a:lnTo>
                      <a:lnTo>
                        <a:pt x="216" y="392"/>
                      </a:lnTo>
                      <a:lnTo>
                        <a:pt x="215" y="394"/>
                      </a:lnTo>
                      <a:lnTo>
                        <a:pt x="213" y="392"/>
                      </a:lnTo>
                      <a:lnTo>
                        <a:pt x="211" y="391"/>
                      </a:lnTo>
                      <a:lnTo>
                        <a:pt x="210" y="391"/>
                      </a:lnTo>
                      <a:lnTo>
                        <a:pt x="208" y="391"/>
                      </a:lnTo>
                      <a:lnTo>
                        <a:pt x="206" y="391"/>
                      </a:lnTo>
                      <a:lnTo>
                        <a:pt x="205" y="389"/>
                      </a:lnTo>
                      <a:lnTo>
                        <a:pt x="203" y="389"/>
                      </a:lnTo>
                      <a:lnTo>
                        <a:pt x="201" y="389"/>
                      </a:lnTo>
                      <a:lnTo>
                        <a:pt x="199" y="387"/>
                      </a:lnTo>
                      <a:lnTo>
                        <a:pt x="199" y="386"/>
                      </a:lnTo>
                      <a:lnTo>
                        <a:pt x="199" y="384"/>
                      </a:lnTo>
                      <a:lnTo>
                        <a:pt x="199" y="383"/>
                      </a:lnTo>
                      <a:lnTo>
                        <a:pt x="201" y="381"/>
                      </a:lnTo>
                      <a:lnTo>
                        <a:pt x="199" y="379"/>
                      </a:lnTo>
                      <a:lnTo>
                        <a:pt x="198" y="379"/>
                      </a:lnTo>
                      <a:lnTo>
                        <a:pt x="198" y="381"/>
                      </a:lnTo>
                      <a:lnTo>
                        <a:pt x="196" y="381"/>
                      </a:lnTo>
                      <a:lnTo>
                        <a:pt x="198" y="383"/>
                      </a:lnTo>
                      <a:lnTo>
                        <a:pt x="196" y="384"/>
                      </a:lnTo>
                      <a:lnTo>
                        <a:pt x="196" y="386"/>
                      </a:lnTo>
                      <a:lnTo>
                        <a:pt x="194" y="386"/>
                      </a:lnTo>
                      <a:lnTo>
                        <a:pt x="194" y="384"/>
                      </a:lnTo>
                      <a:lnTo>
                        <a:pt x="194" y="383"/>
                      </a:lnTo>
                      <a:lnTo>
                        <a:pt x="194" y="381"/>
                      </a:lnTo>
                      <a:lnTo>
                        <a:pt x="193" y="379"/>
                      </a:lnTo>
                      <a:lnTo>
                        <a:pt x="191" y="379"/>
                      </a:lnTo>
                      <a:lnTo>
                        <a:pt x="189" y="381"/>
                      </a:lnTo>
                      <a:lnTo>
                        <a:pt x="189" y="383"/>
                      </a:lnTo>
                      <a:lnTo>
                        <a:pt x="188" y="383"/>
                      </a:lnTo>
                      <a:lnTo>
                        <a:pt x="188" y="381"/>
                      </a:lnTo>
                      <a:lnTo>
                        <a:pt x="186" y="381"/>
                      </a:lnTo>
                      <a:lnTo>
                        <a:pt x="188" y="381"/>
                      </a:lnTo>
                      <a:lnTo>
                        <a:pt x="188" y="379"/>
                      </a:lnTo>
                      <a:lnTo>
                        <a:pt x="189" y="379"/>
                      </a:lnTo>
                      <a:lnTo>
                        <a:pt x="189" y="378"/>
                      </a:lnTo>
                      <a:lnTo>
                        <a:pt x="189" y="376"/>
                      </a:lnTo>
                      <a:lnTo>
                        <a:pt x="189" y="374"/>
                      </a:lnTo>
                      <a:lnTo>
                        <a:pt x="188" y="373"/>
                      </a:lnTo>
                      <a:lnTo>
                        <a:pt x="186" y="373"/>
                      </a:lnTo>
                      <a:lnTo>
                        <a:pt x="184" y="373"/>
                      </a:lnTo>
                      <a:lnTo>
                        <a:pt x="183" y="373"/>
                      </a:lnTo>
                      <a:lnTo>
                        <a:pt x="181" y="373"/>
                      </a:lnTo>
                      <a:lnTo>
                        <a:pt x="181" y="374"/>
                      </a:lnTo>
                      <a:lnTo>
                        <a:pt x="179" y="374"/>
                      </a:lnTo>
                      <a:lnTo>
                        <a:pt x="179" y="373"/>
                      </a:lnTo>
                      <a:lnTo>
                        <a:pt x="178" y="373"/>
                      </a:lnTo>
                      <a:lnTo>
                        <a:pt x="178" y="371"/>
                      </a:lnTo>
                      <a:lnTo>
                        <a:pt x="176" y="371"/>
                      </a:lnTo>
                      <a:lnTo>
                        <a:pt x="174" y="373"/>
                      </a:lnTo>
                      <a:lnTo>
                        <a:pt x="172" y="373"/>
                      </a:lnTo>
                      <a:lnTo>
                        <a:pt x="172" y="371"/>
                      </a:lnTo>
                      <a:lnTo>
                        <a:pt x="171" y="371"/>
                      </a:lnTo>
                      <a:lnTo>
                        <a:pt x="169" y="371"/>
                      </a:lnTo>
                      <a:lnTo>
                        <a:pt x="169" y="369"/>
                      </a:lnTo>
                      <a:lnTo>
                        <a:pt x="169" y="368"/>
                      </a:lnTo>
                      <a:lnTo>
                        <a:pt x="167" y="369"/>
                      </a:lnTo>
                      <a:lnTo>
                        <a:pt x="167" y="368"/>
                      </a:lnTo>
                      <a:lnTo>
                        <a:pt x="169" y="366"/>
                      </a:lnTo>
                      <a:lnTo>
                        <a:pt x="171" y="364"/>
                      </a:lnTo>
                      <a:lnTo>
                        <a:pt x="171" y="363"/>
                      </a:lnTo>
                      <a:lnTo>
                        <a:pt x="171" y="361"/>
                      </a:lnTo>
                      <a:lnTo>
                        <a:pt x="169" y="361"/>
                      </a:lnTo>
                      <a:lnTo>
                        <a:pt x="167" y="361"/>
                      </a:lnTo>
                      <a:lnTo>
                        <a:pt x="166" y="361"/>
                      </a:lnTo>
                      <a:lnTo>
                        <a:pt x="166" y="360"/>
                      </a:lnTo>
                      <a:lnTo>
                        <a:pt x="166" y="358"/>
                      </a:lnTo>
                      <a:lnTo>
                        <a:pt x="166" y="355"/>
                      </a:lnTo>
                      <a:lnTo>
                        <a:pt x="166" y="353"/>
                      </a:lnTo>
                      <a:lnTo>
                        <a:pt x="166" y="351"/>
                      </a:lnTo>
                      <a:lnTo>
                        <a:pt x="166" y="350"/>
                      </a:lnTo>
                      <a:lnTo>
                        <a:pt x="164" y="346"/>
                      </a:lnTo>
                      <a:lnTo>
                        <a:pt x="164" y="345"/>
                      </a:lnTo>
                      <a:lnTo>
                        <a:pt x="162" y="345"/>
                      </a:lnTo>
                      <a:lnTo>
                        <a:pt x="161" y="345"/>
                      </a:lnTo>
                      <a:lnTo>
                        <a:pt x="159" y="346"/>
                      </a:lnTo>
                      <a:lnTo>
                        <a:pt x="156" y="346"/>
                      </a:lnTo>
                      <a:lnTo>
                        <a:pt x="154" y="346"/>
                      </a:lnTo>
                      <a:lnTo>
                        <a:pt x="156" y="348"/>
                      </a:lnTo>
                      <a:lnTo>
                        <a:pt x="156" y="350"/>
                      </a:lnTo>
                      <a:lnTo>
                        <a:pt x="154" y="350"/>
                      </a:lnTo>
                      <a:lnTo>
                        <a:pt x="152" y="348"/>
                      </a:lnTo>
                      <a:lnTo>
                        <a:pt x="149" y="346"/>
                      </a:lnTo>
                      <a:lnTo>
                        <a:pt x="147" y="345"/>
                      </a:lnTo>
                      <a:lnTo>
                        <a:pt x="147" y="343"/>
                      </a:lnTo>
                      <a:lnTo>
                        <a:pt x="149" y="343"/>
                      </a:lnTo>
                      <a:lnTo>
                        <a:pt x="150" y="341"/>
                      </a:lnTo>
                      <a:lnTo>
                        <a:pt x="150" y="340"/>
                      </a:lnTo>
                      <a:lnTo>
                        <a:pt x="150" y="338"/>
                      </a:lnTo>
                      <a:lnTo>
                        <a:pt x="150" y="337"/>
                      </a:lnTo>
                      <a:lnTo>
                        <a:pt x="150" y="335"/>
                      </a:lnTo>
                      <a:lnTo>
                        <a:pt x="150" y="333"/>
                      </a:lnTo>
                      <a:lnTo>
                        <a:pt x="149" y="332"/>
                      </a:lnTo>
                      <a:lnTo>
                        <a:pt x="150" y="332"/>
                      </a:lnTo>
                      <a:lnTo>
                        <a:pt x="150" y="330"/>
                      </a:lnTo>
                      <a:lnTo>
                        <a:pt x="152" y="330"/>
                      </a:lnTo>
                      <a:lnTo>
                        <a:pt x="152" y="328"/>
                      </a:lnTo>
                      <a:lnTo>
                        <a:pt x="150" y="327"/>
                      </a:lnTo>
                      <a:lnTo>
                        <a:pt x="147" y="327"/>
                      </a:lnTo>
                      <a:lnTo>
                        <a:pt x="145" y="327"/>
                      </a:lnTo>
                      <a:lnTo>
                        <a:pt x="144" y="325"/>
                      </a:lnTo>
                      <a:lnTo>
                        <a:pt x="142" y="325"/>
                      </a:lnTo>
                      <a:lnTo>
                        <a:pt x="142" y="323"/>
                      </a:lnTo>
                      <a:lnTo>
                        <a:pt x="142" y="320"/>
                      </a:lnTo>
                      <a:lnTo>
                        <a:pt x="140" y="317"/>
                      </a:lnTo>
                      <a:lnTo>
                        <a:pt x="140" y="315"/>
                      </a:lnTo>
                      <a:lnTo>
                        <a:pt x="140" y="314"/>
                      </a:lnTo>
                      <a:lnTo>
                        <a:pt x="140" y="312"/>
                      </a:lnTo>
                      <a:lnTo>
                        <a:pt x="140" y="310"/>
                      </a:lnTo>
                      <a:lnTo>
                        <a:pt x="144" y="310"/>
                      </a:lnTo>
                      <a:lnTo>
                        <a:pt x="144" y="309"/>
                      </a:lnTo>
                      <a:lnTo>
                        <a:pt x="140" y="309"/>
                      </a:lnTo>
                      <a:lnTo>
                        <a:pt x="139" y="307"/>
                      </a:lnTo>
                      <a:lnTo>
                        <a:pt x="137" y="302"/>
                      </a:lnTo>
                      <a:lnTo>
                        <a:pt x="137" y="300"/>
                      </a:lnTo>
                      <a:lnTo>
                        <a:pt x="139" y="299"/>
                      </a:lnTo>
                      <a:lnTo>
                        <a:pt x="140" y="299"/>
                      </a:lnTo>
                      <a:lnTo>
                        <a:pt x="142" y="299"/>
                      </a:lnTo>
                      <a:lnTo>
                        <a:pt x="142" y="297"/>
                      </a:lnTo>
                      <a:lnTo>
                        <a:pt x="140" y="297"/>
                      </a:lnTo>
                      <a:lnTo>
                        <a:pt x="139" y="297"/>
                      </a:lnTo>
                      <a:lnTo>
                        <a:pt x="139" y="295"/>
                      </a:lnTo>
                      <a:lnTo>
                        <a:pt x="137" y="292"/>
                      </a:lnTo>
                      <a:lnTo>
                        <a:pt x="139" y="291"/>
                      </a:lnTo>
                      <a:lnTo>
                        <a:pt x="140" y="289"/>
                      </a:lnTo>
                      <a:lnTo>
                        <a:pt x="142" y="289"/>
                      </a:lnTo>
                      <a:lnTo>
                        <a:pt x="144" y="287"/>
                      </a:lnTo>
                      <a:lnTo>
                        <a:pt x="145" y="287"/>
                      </a:lnTo>
                      <a:lnTo>
                        <a:pt x="145" y="286"/>
                      </a:lnTo>
                      <a:lnTo>
                        <a:pt x="145" y="284"/>
                      </a:lnTo>
                      <a:lnTo>
                        <a:pt x="144" y="282"/>
                      </a:lnTo>
                      <a:lnTo>
                        <a:pt x="145" y="279"/>
                      </a:lnTo>
                      <a:lnTo>
                        <a:pt x="147" y="279"/>
                      </a:lnTo>
                      <a:lnTo>
                        <a:pt x="149" y="279"/>
                      </a:lnTo>
                      <a:lnTo>
                        <a:pt x="149" y="277"/>
                      </a:lnTo>
                      <a:lnTo>
                        <a:pt x="147" y="277"/>
                      </a:lnTo>
                      <a:lnTo>
                        <a:pt x="147" y="276"/>
                      </a:lnTo>
                      <a:lnTo>
                        <a:pt x="145" y="274"/>
                      </a:lnTo>
                      <a:lnTo>
                        <a:pt x="145" y="272"/>
                      </a:lnTo>
                      <a:lnTo>
                        <a:pt x="147" y="272"/>
                      </a:lnTo>
                      <a:lnTo>
                        <a:pt x="147" y="271"/>
                      </a:lnTo>
                      <a:lnTo>
                        <a:pt x="147" y="269"/>
                      </a:lnTo>
                      <a:lnTo>
                        <a:pt x="145" y="268"/>
                      </a:lnTo>
                      <a:lnTo>
                        <a:pt x="144" y="266"/>
                      </a:lnTo>
                      <a:lnTo>
                        <a:pt x="144" y="264"/>
                      </a:lnTo>
                      <a:lnTo>
                        <a:pt x="142" y="263"/>
                      </a:lnTo>
                      <a:lnTo>
                        <a:pt x="140" y="263"/>
                      </a:lnTo>
                      <a:lnTo>
                        <a:pt x="140" y="261"/>
                      </a:lnTo>
                      <a:lnTo>
                        <a:pt x="139" y="261"/>
                      </a:lnTo>
                      <a:lnTo>
                        <a:pt x="137" y="261"/>
                      </a:lnTo>
                      <a:lnTo>
                        <a:pt x="137" y="259"/>
                      </a:lnTo>
                      <a:lnTo>
                        <a:pt x="139" y="259"/>
                      </a:lnTo>
                      <a:lnTo>
                        <a:pt x="139" y="258"/>
                      </a:lnTo>
                      <a:lnTo>
                        <a:pt x="139" y="256"/>
                      </a:lnTo>
                      <a:lnTo>
                        <a:pt x="139" y="253"/>
                      </a:lnTo>
                      <a:lnTo>
                        <a:pt x="139" y="251"/>
                      </a:lnTo>
                      <a:lnTo>
                        <a:pt x="139" y="249"/>
                      </a:lnTo>
                      <a:lnTo>
                        <a:pt x="139" y="248"/>
                      </a:lnTo>
                      <a:lnTo>
                        <a:pt x="137" y="246"/>
                      </a:lnTo>
                      <a:lnTo>
                        <a:pt x="135" y="246"/>
                      </a:lnTo>
                      <a:lnTo>
                        <a:pt x="134" y="246"/>
                      </a:lnTo>
                      <a:lnTo>
                        <a:pt x="134" y="245"/>
                      </a:lnTo>
                      <a:lnTo>
                        <a:pt x="132" y="245"/>
                      </a:lnTo>
                      <a:lnTo>
                        <a:pt x="134" y="243"/>
                      </a:lnTo>
                      <a:lnTo>
                        <a:pt x="134" y="241"/>
                      </a:lnTo>
                      <a:lnTo>
                        <a:pt x="134" y="240"/>
                      </a:lnTo>
                      <a:lnTo>
                        <a:pt x="134" y="238"/>
                      </a:lnTo>
                      <a:lnTo>
                        <a:pt x="132" y="236"/>
                      </a:lnTo>
                      <a:lnTo>
                        <a:pt x="134" y="235"/>
                      </a:lnTo>
                      <a:lnTo>
                        <a:pt x="132" y="233"/>
                      </a:lnTo>
                      <a:lnTo>
                        <a:pt x="132" y="231"/>
                      </a:lnTo>
                      <a:lnTo>
                        <a:pt x="132" y="230"/>
                      </a:lnTo>
                      <a:lnTo>
                        <a:pt x="134" y="230"/>
                      </a:lnTo>
                      <a:lnTo>
                        <a:pt x="135" y="228"/>
                      </a:lnTo>
                      <a:lnTo>
                        <a:pt x="135" y="227"/>
                      </a:lnTo>
                      <a:lnTo>
                        <a:pt x="135" y="225"/>
                      </a:lnTo>
                      <a:lnTo>
                        <a:pt x="135" y="223"/>
                      </a:lnTo>
                      <a:lnTo>
                        <a:pt x="135" y="222"/>
                      </a:lnTo>
                      <a:lnTo>
                        <a:pt x="137" y="220"/>
                      </a:lnTo>
                      <a:lnTo>
                        <a:pt x="137" y="218"/>
                      </a:lnTo>
                      <a:lnTo>
                        <a:pt x="139" y="217"/>
                      </a:lnTo>
                      <a:lnTo>
                        <a:pt x="140" y="217"/>
                      </a:lnTo>
                      <a:lnTo>
                        <a:pt x="140" y="215"/>
                      </a:lnTo>
                      <a:lnTo>
                        <a:pt x="142" y="215"/>
                      </a:lnTo>
                      <a:lnTo>
                        <a:pt x="142" y="213"/>
                      </a:lnTo>
                      <a:lnTo>
                        <a:pt x="142" y="210"/>
                      </a:lnTo>
                      <a:lnTo>
                        <a:pt x="144" y="208"/>
                      </a:lnTo>
                      <a:lnTo>
                        <a:pt x="144" y="207"/>
                      </a:lnTo>
                      <a:lnTo>
                        <a:pt x="144" y="204"/>
                      </a:lnTo>
                      <a:lnTo>
                        <a:pt x="142" y="202"/>
                      </a:lnTo>
                      <a:lnTo>
                        <a:pt x="144" y="200"/>
                      </a:lnTo>
                      <a:lnTo>
                        <a:pt x="144" y="199"/>
                      </a:lnTo>
                      <a:lnTo>
                        <a:pt x="144" y="197"/>
                      </a:lnTo>
                      <a:lnTo>
                        <a:pt x="144" y="195"/>
                      </a:lnTo>
                      <a:lnTo>
                        <a:pt x="142" y="195"/>
                      </a:lnTo>
                      <a:lnTo>
                        <a:pt x="140" y="194"/>
                      </a:lnTo>
                      <a:lnTo>
                        <a:pt x="140" y="192"/>
                      </a:lnTo>
                      <a:lnTo>
                        <a:pt x="140" y="190"/>
                      </a:lnTo>
                      <a:lnTo>
                        <a:pt x="142" y="187"/>
                      </a:lnTo>
                      <a:lnTo>
                        <a:pt x="142" y="185"/>
                      </a:lnTo>
                      <a:lnTo>
                        <a:pt x="140" y="184"/>
                      </a:lnTo>
                      <a:lnTo>
                        <a:pt x="140" y="182"/>
                      </a:lnTo>
                      <a:lnTo>
                        <a:pt x="140" y="181"/>
                      </a:lnTo>
                      <a:lnTo>
                        <a:pt x="142" y="179"/>
                      </a:lnTo>
                      <a:lnTo>
                        <a:pt x="142" y="177"/>
                      </a:lnTo>
                      <a:lnTo>
                        <a:pt x="144" y="176"/>
                      </a:lnTo>
                      <a:lnTo>
                        <a:pt x="145" y="174"/>
                      </a:lnTo>
                      <a:lnTo>
                        <a:pt x="145" y="172"/>
                      </a:lnTo>
                      <a:lnTo>
                        <a:pt x="144" y="172"/>
                      </a:lnTo>
                      <a:lnTo>
                        <a:pt x="142" y="171"/>
                      </a:lnTo>
                      <a:lnTo>
                        <a:pt x="142" y="169"/>
                      </a:lnTo>
                      <a:lnTo>
                        <a:pt x="140" y="167"/>
                      </a:lnTo>
                      <a:lnTo>
                        <a:pt x="139" y="164"/>
                      </a:lnTo>
                      <a:lnTo>
                        <a:pt x="139" y="162"/>
                      </a:lnTo>
                      <a:lnTo>
                        <a:pt x="139" y="161"/>
                      </a:lnTo>
                      <a:lnTo>
                        <a:pt x="137" y="161"/>
                      </a:lnTo>
                      <a:lnTo>
                        <a:pt x="137" y="159"/>
                      </a:lnTo>
                      <a:lnTo>
                        <a:pt x="134" y="158"/>
                      </a:lnTo>
                      <a:lnTo>
                        <a:pt x="132" y="158"/>
                      </a:lnTo>
                      <a:lnTo>
                        <a:pt x="130" y="158"/>
                      </a:lnTo>
                      <a:lnTo>
                        <a:pt x="130" y="156"/>
                      </a:lnTo>
                      <a:lnTo>
                        <a:pt x="130" y="158"/>
                      </a:lnTo>
                      <a:lnTo>
                        <a:pt x="130" y="159"/>
                      </a:lnTo>
                      <a:lnTo>
                        <a:pt x="129" y="159"/>
                      </a:lnTo>
                      <a:lnTo>
                        <a:pt x="127" y="161"/>
                      </a:lnTo>
                      <a:lnTo>
                        <a:pt x="125" y="161"/>
                      </a:lnTo>
                      <a:lnTo>
                        <a:pt x="127" y="162"/>
                      </a:lnTo>
                      <a:lnTo>
                        <a:pt x="125" y="162"/>
                      </a:lnTo>
                      <a:lnTo>
                        <a:pt x="125" y="164"/>
                      </a:lnTo>
                      <a:lnTo>
                        <a:pt x="123" y="164"/>
                      </a:lnTo>
                      <a:lnTo>
                        <a:pt x="123" y="166"/>
                      </a:lnTo>
                      <a:lnTo>
                        <a:pt x="125" y="166"/>
                      </a:lnTo>
                      <a:lnTo>
                        <a:pt x="125" y="167"/>
                      </a:lnTo>
                      <a:lnTo>
                        <a:pt x="123" y="167"/>
                      </a:lnTo>
                      <a:lnTo>
                        <a:pt x="122" y="167"/>
                      </a:lnTo>
                      <a:lnTo>
                        <a:pt x="122" y="169"/>
                      </a:lnTo>
                      <a:lnTo>
                        <a:pt x="120" y="169"/>
                      </a:lnTo>
                      <a:lnTo>
                        <a:pt x="118" y="169"/>
                      </a:lnTo>
                      <a:lnTo>
                        <a:pt x="118" y="171"/>
                      </a:lnTo>
                      <a:lnTo>
                        <a:pt x="120" y="172"/>
                      </a:lnTo>
                      <a:lnTo>
                        <a:pt x="118" y="172"/>
                      </a:lnTo>
                      <a:lnTo>
                        <a:pt x="115" y="172"/>
                      </a:lnTo>
                      <a:lnTo>
                        <a:pt x="115" y="171"/>
                      </a:lnTo>
                      <a:lnTo>
                        <a:pt x="113" y="172"/>
                      </a:lnTo>
                      <a:lnTo>
                        <a:pt x="112" y="172"/>
                      </a:lnTo>
                      <a:lnTo>
                        <a:pt x="112" y="171"/>
                      </a:lnTo>
                      <a:lnTo>
                        <a:pt x="112" y="169"/>
                      </a:lnTo>
                      <a:lnTo>
                        <a:pt x="110" y="171"/>
                      </a:lnTo>
                      <a:lnTo>
                        <a:pt x="110" y="169"/>
                      </a:lnTo>
                      <a:lnTo>
                        <a:pt x="112" y="169"/>
                      </a:lnTo>
                      <a:lnTo>
                        <a:pt x="110" y="167"/>
                      </a:lnTo>
                      <a:lnTo>
                        <a:pt x="108" y="167"/>
                      </a:lnTo>
                      <a:lnTo>
                        <a:pt x="107" y="167"/>
                      </a:lnTo>
                      <a:lnTo>
                        <a:pt x="107" y="169"/>
                      </a:lnTo>
                      <a:lnTo>
                        <a:pt x="105" y="169"/>
                      </a:lnTo>
                      <a:lnTo>
                        <a:pt x="105" y="167"/>
                      </a:lnTo>
                      <a:lnTo>
                        <a:pt x="105" y="166"/>
                      </a:lnTo>
                      <a:lnTo>
                        <a:pt x="107" y="166"/>
                      </a:lnTo>
                      <a:lnTo>
                        <a:pt x="108" y="166"/>
                      </a:lnTo>
                      <a:lnTo>
                        <a:pt x="107" y="166"/>
                      </a:lnTo>
                      <a:lnTo>
                        <a:pt x="107" y="164"/>
                      </a:lnTo>
                      <a:lnTo>
                        <a:pt x="105" y="164"/>
                      </a:lnTo>
                      <a:lnTo>
                        <a:pt x="103" y="164"/>
                      </a:lnTo>
                      <a:lnTo>
                        <a:pt x="102" y="166"/>
                      </a:lnTo>
                      <a:lnTo>
                        <a:pt x="102" y="167"/>
                      </a:lnTo>
                      <a:lnTo>
                        <a:pt x="102" y="166"/>
                      </a:lnTo>
                      <a:lnTo>
                        <a:pt x="100" y="166"/>
                      </a:lnTo>
                      <a:lnTo>
                        <a:pt x="98" y="164"/>
                      </a:lnTo>
                      <a:lnTo>
                        <a:pt x="100" y="162"/>
                      </a:lnTo>
                      <a:lnTo>
                        <a:pt x="98" y="162"/>
                      </a:lnTo>
                      <a:lnTo>
                        <a:pt x="98" y="164"/>
                      </a:lnTo>
                      <a:lnTo>
                        <a:pt x="98" y="166"/>
                      </a:lnTo>
                      <a:lnTo>
                        <a:pt x="98" y="167"/>
                      </a:lnTo>
                      <a:lnTo>
                        <a:pt x="96" y="167"/>
                      </a:lnTo>
                      <a:lnTo>
                        <a:pt x="95" y="167"/>
                      </a:lnTo>
                      <a:lnTo>
                        <a:pt x="95" y="166"/>
                      </a:lnTo>
                      <a:lnTo>
                        <a:pt x="96" y="166"/>
                      </a:lnTo>
                      <a:lnTo>
                        <a:pt x="96" y="164"/>
                      </a:lnTo>
                      <a:lnTo>
                        <a:pt x="95" y="166"/>
                      </a:lnTo>
                      <a:lnTo>
                        <a:pt x="95" y="164"/>
                      </a:lnTo>
                      <a:lnTo>
                        <a:pt x="95" y="166"/>
                      </a:lnTo>
                      <a:lnTo>
                        <a:pt x="93" y="166"/>
                      </a:lnTo>
                      <a:lnTo>
                        <a:pt x="91" y="167"/>
                      </a:lnTo>
                      <a:lnTo>
                        <a:pt x="90" y="167"/>
                      </a:lnTo>
                      <a:lnTo>
                        <a:pt x="90" y="166"/>
                      </a:lnTo>
                      <a:lnTo>
                        <a:pt x="90" y="164"/>
                      </a:lnTo>
                      <a:lnTo>
                        <a:pt x="88" y="164"/>
                      </a:lnTo>
                      <a:lnTo>
                        <a:pt x="86" y="164"/>
                      </a:lnTo>
                      <a:lnTo>
                        <a:pt x="86" y="166"/>
                      </a:lnTo>
                      <a:lnTo>
                        <a:pt x="85" y="166"/>
                      </a:lnTo>
                      <a:lnTo>
                        <a:pt x="85" y="164"/>
                      </a:lnTo>
                      <a:lnTo>
                        <a:pt x="85" y="166"/>
                      </a:lnTo>
                      <a:lnTo>
                        <a:pt x="83" y="166"/>
                      </a:lnTo>
                      <a:lnTo>
                        <a:pt x="81" y="166"/>
                      </a:lnTo>
                      <a:lnTo>
                        <a:pt x="80" y="166"/>
                      </a:lnTo>
                      <a:lnTo>
                        <a:pt x="80" y="167"/>
                      </a:lnTo>
                      <a:lnTo>
                        <a:pt x="80" y="169"/>
                      </a:lnTo>
                      <a:lnTo>
                        <a:pt x="81" y="169"/>
                      </a:lnTo>
                      <a:lnTo>
                        <a:pt x="80" y="169"/>
                      </a:lnTo>
                      <a:lnTo>
                        <a:pt x="78" y="169"/>
                      </a:lnTo>
                      <a:lnTo>
                        <a:pt x="80" y="169"/>
                      </a:lnTo>
                      <a:lnTo>
                        <a:pt x="78" y="169"/>
                      </a:lnTo>
                      <a:lnTo>
                        <a:pt x="78" y="167"/>
                      </a:lnTo>
                      <a:lnTo>
                        <a:pt x="76" y="167"/>
                      </a:lnTo>
                      <a:lnTo>
                        <a:pt x="76" y="169"/>
                      </a:lnTo>
                      <a:lnTo>
                        <a:pt x="74" y="169"/>
                      </a:lnTo>
                      <a:lnTo>
                        <a:pt x="74" y="167"/>
                      </a:lnTo>
                      <a:lnTo>
                        <a:pt x="73" y="167"/>
                      </a:lnTo>
                      <a:lnTo>
                        <a:pt x="71" y="167"/>
                      </a:lnTo>
                      <a:lnTo>
                        <a:pt x="69" y="167"/>
                      </a:lnTo>
                      <a:lnTo>
                        <a:pt x="69" y="169"/>
                      </a:lnTo>
                      <a:lnTo>
                        <a:pt x="68" y="169"/>
                      </a:lnTo>
                      <a:lnTo>
                        <a:pt x="68" y="171"/>
                      </a:lnTo>
                      <a:lnTo>
                        <a:pt x="68" y="169"/>
                      </a:lnTo>
                      <a:lnTo>
                        <a:pt x="68" y="167"/>
                      </a:lnTo>
                      <a:lnTo>
                        <a:pt x="66" y="167"/>
                      </a:lnTo>
                      <a:lnTo>
                        <a:pt x="64" y="167"/>
                      </a:lnTo>
                      <a:lnTo>
                        <a:pt x="63" y="167"/>
                      </a:lnTo>
                      <a:lnTo>
                        <a:pt x="61" y="167"/>
                      </a:lnTo>
                      <a:lnTo>
                        <a:pt x="61" y="169"/>
                      </a:lnTo>
                      <a:lnTo>
                        <a:pt x="59" y="169"/>
                      </a:lnTo>
                      <a:lnTo>
                        <a:pt x="58" y="171"/>
                      </a:lnTo>
                      <a:lnTo>
                        <a:pt x="59" y="171"/>
                      </a:lnTo>
                      <a:lnTo>
                        <a:pt x="58" y="171"/>
                      </a:lnTo>
                      <a:lnTo>
                        <a:pt x="59" y="171"/>
                      </a:lnTo>
                      <a:lnTo>
                        <a:pt x="58" y="172"/>
                      </a:lnTo>
                      <a:lnTo>
                        <a:pt x="56" y="172"/>
                      </a:lnTo>
                      <a:lnTo>
                        <a:pt x="56" y="171"/>
                      </a:lnTo>
                      <a:lnTo>
                        <a:pt x="54" y="171"/>
                      </a:lnTo>
                      <a:lnTo>
                        <a:pt x="53" y="171"/>
                      </a:lnTo>
                      <a:lnTo>
                        <a:pt x="53" y="172"/>
                      </a:lnTo>
                      <a:lnTo>
                        <a:pt x="53" y="171"/>
                      </a:lnTo>
                      <a:lnTo>
                        <a:pt x="51" y="172"/>
                      </a:lnTo>
                      <a:lnTo>
                        <a:pt x="51" y="171"/>
                      </a:lnTo>
                      <a:lnTo>
                        <a:pt x="51" y="172"/>
                      </a:lnTo>
                      <a:lnTo>
                        <a:pt x="49" y="172"/>
                      </a:lnTo>
                      <a:lnTo>
                        <a:pt x="47" y="172"/>
                      </a:lnTo>
                      <a:lnTo>
                        <a:pt x="46" y="172"/>
                      </a:lnTo>
                      <a:lnTo>
                        <a:pt x="44" y="172"/>
                      </a:lnTo>
                      <a:lnTo>
                        <a:pt x="44" y="174"/>
                      </a:lnTo>
                      <a:lnTo>
                        <a:pt x="42" y="174"/>
                      </a:lnTo>
                      <a:lnTo>
                        <a:pt x="41" y="176"/>
                      </a:lnTo>
                      <a:lnTo>
                        <a:pt x="39" y="174"/>
                      </a:lnTo>
                      <a:lnTo>
                        <a:pt x="39" y="176"/>
                      </a:lnTo>
                      <a:lnTo>
                        <a:pt x="37" y="176"/>
                      </a:lnTo>
                      <a:lnTo>
                        <a:pt x="37" y="177"/>
                      </a:lnTo>
                      <a:lnTo>
                        <a:pt x="36" y="177"/>
                      </a:lnTo>
                      <a:lnTo>
                        <a:pt x="37" y="176"/>
                      </a:lnTo>
                      <a:lnTo>
                        <a:pt x="36" y="174"/>
                      </a:lnTo>
                      <a:lnTo>
                        <a:pt x="36" y="176"/>
                      </a:lnTo>
                      <a:lnTo>
                        <a:pt x="34" y="176"/>
                      </a:lnTo>
                      <a:lnTo>
                        <a:pt x="32" y="176"/>
                      </a:lnTo>
                      <a:lnTo>
                        <a:pt x="31" y="176"/>
                      </a:lnTo>
                      <a:lnTo>
                        <a:pt x="29" y="176"/>
                      </a:lnTo>
                      <a:lnTo>
                        <a:pt x="27" y="177"/>
                      </a:lnTo>
                      <a:lnTo>
                        <a:pt x="26" y="176"/>
                      </a:lnTo>
                      <a:lnTo>
                        <a:pt x="26" y="177"/>
                      </a:lnTo>
                      <a:lnTo>
                        <a:pt x="24" y="176"/>
                      </a:lnTo>
                      <a:lnTo>
                        <a:pt x="24" y="177"/>
                      </a:lnTo>
                      <a:lnTo>
                        <a:pt x="22" y="177"/>
                      </a:lnTo>
                      <a:lnTo>
                        <a:pt x="22" y="179"/>
                      </a:lnTo>
                      <a:lnTo>
                        <a:pt x="22" y="177"/>
                      </a:lnTo>
                      <a:lnTo>
                        <a:pt x="20" y="177"/>
                      </a:lnTo>
                      <a:lnTo>
                        <a:pt x="19" y="177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8" name="Freeform 16"/>
                <p:cNvSpPr>
                  <a:spLocks noChangeAspect="1"/>
                </p:cNvSpPr>
                <p:nvPr/>
              </p:nvSpPr>
              <p:spPr bwMode="auto">
                <a:xfrm>
                  <a:off x="1297787" y="926469"/>
                  <a:ext cx="2621566" cy="1864816"/>
                </a:xfrm>
                <a:custGeom>
                  <a:avLst/>
                  <a:gdLst>
                    <a:gd name="T0" fmla="*/ 2147483647 w 1679"/>
                    <a:gd name="T1" fmla="*/ 2147483647 h 1114"/>
                    <a:gd name="T2" fmla="*/ 2147483647 w 1679"/>
                    <a:gd name="T3" fmla="*/ 2147483647 h 1114"/>
                    <a:gd name="T4" fmla="*/ 2147483647 w 1679"/>
                    <a:gd name="T5" fmla="*/ 2147483647 h 1114"/>
                    <a:gd name="T6" fmla="*/ 2147483647 w 1679"/>
                    <a:gd name="T7" fmla="*/ 2147483647 h 1114"/>
                    <a:gd name="T8" fmla="*/ 2147483647 w 1679"/>
                    <a:gd name="T9" fmla="*/ 2147483647 h 1114"/>
                    <a:gd name="T10" fmla="*/ 2147483647 w 1679"/>
                    <a:gd name="T11" fmla="*/ 2147483647 h 1114"/>
                    <a:gd name="T12" fmla="*/ 2147483647 w 1679"/>
                    <a:gd name="T13" fmla="*/ 2147483647 h 1114"/>
                    <a:gd name="T14" fmla="*/ 2147483647 w 1679"/>
                    <a:gd name="T15" fmla="*/ 2147483647 h 1114"/>
                    <a:gd name="T16" fmla="*/ 2147483647 w 1679"/>
                    <a:gd name="T17" fmla="*/ 2147483647 h 1114"/>
                    <a:gd name="T18" fmla="*/ 2147483647 w 1679"/>
                    <a:gd name="T19" fmla="*/ 2147483647 h 1114"/>
                    <a:gd name="T20" fmla="*/ 2147483647 w 1679"/>
                    <a:gd name="T21" fmla="*/ 2147483647 h 1114"/>
                    <a:gd name="T22" fmla="*/ 2147483647 w 1679"/>
                    <a:gd name="T23" fmla="*/ 2147483647 h 1114"/>
                    <a:gd name="T24" fmla="*/ 2147483647 w 1679"/>
                    <a:gd name="T25" fmla="*/ 2147483647 h 1114"/>
                    <a:gd name="T26" fmla="*/ 2147483647 w 1679"/>
                    <a:gd name="T27" fmla="*/ 2147483647 h 1114"/>
                    <a:gd name="T28" fmla="*/ 2147483647 w 1679"/>
                    <a:gd name="T29" fmla="*/ 2147483647 h 1114"/>
                    <a:gd name="T30" fmla="*/ 2147483647 w 1679"/>
                    <a:gd name="T31" fmla="*/ 2147483647 h 1114"/>
                    <a:gd name="T32" fmla="*/ 2147483647 w 1679"/>
                    <a:gd name="T33" fmla="*/ 2147483647 h 1114"/>
                    <a:gd name="T34" fmla="*/ 2147483647 w 1679"/>
                    <a:gd name="T35" fmla="*/ 2147483647 h 1114"/>
                    <a:gd name="T36" fmla="*/ 2147483647 w 1679"/>
                    <a:gd name="T37" fmla="*/ 2147483647 h 1114"/>
                    <a:gd name="T38" fmla="*/ 2147483647 w 1679"/>
                    <a:gd name="T39" fmla="*/ 2147483647 h 1114"/>
                    <a:gd name="T40" fmla="*/ 2147483647 w 1679"/>
                    <a:gd name="T41" fmla="*/ 2147483647 h 1114"/>
                    <a:gd name="T42" fmla="*/ 2147483647 w 1679"/>
                    <a:gd name="T43" fmla="*/ 2147483647 h 1114"/>
                    <a:gd name="T44" fmla="*/ 2147483647 w 1679"/>
                    <a:gd name="T45" fmla="*/ 2147483647 h 1114"/>
                    <a:gd name="T46" fmla="*/ 2147483647 w 1679"/>
                    <a:gd name="T47" fmla="*/ 2147483647 h 1114"/>
                    <a:gd name="T48" fmla="*/ 2147483647 w 1679"/>
                    <a:gd name="T49" fmla="*/ 2147483647 h 1114"/>
                    <a:gd name="T50" fmla="*/ 2147483647 w 1679"/>
                    <a:gd name="T51" fmla="*/ 2147483647 h 1114"/>
                    <a:gd name="T52" fmla="*/ 2147483647 w 1679"/>
                    <a:gd name="T53" fmla="*/ 2147483647 h 1114"/>
                    <a:gd name="T54" fmla="*/ 2147483647 w 1679"/>
                    <a:gd name="T55" fmla="*/ 2147483647 h 1114"/>
                    <a:gd name="T56" fmla="*/ 2147483647 w 1679"/>
                    <a:gd name="T57" fmla="*/ 2147483647 h 1114"/>
                    <a:gd name="T58" fmla="*/ 2147483647 w 1679"/>
                    <a:gd name="T59" fmla="*/ 2147483647 h 1114"/>
                    <a:gd name="T60" fmla="*/ 2147483647 w 1679"/>
                    <a:gd name="T61" fmla="*/ 2147483647 h 1114"/>
                    <a:gd name="T62" fmla="*/ 2147483647 w 1679"/>
                    <a:gd name="T63" fmla="*/ 2147483647 h 1114"/>
                    <a:gd name="T64" fmla="*/ 2147483647 w 1679"/>
                    <a:gd name="T65" fmla="*/ 2147483647 h 1114"/>
                    <a:gd name="T66" fmla="*/ 2147483647 w 1679"/>
                    <a:gd name="T67" fmla="*/ 2147483647 h 1114"/>
                    <a:gd name="T68" fmla="*/ 2147483647 w 1679"/>
                    <a:gd name="T69" fmla="*/ 2147483647 h 1114"/>
                    <a:gd name="T70" fmla="*/ 2147483647 w 1679"/>
                    <a:gd name="T71" fmla="*/ 2147483647 h 1114"/>
                    <a:gd name="T72" fmla="*/ 2147483647 w 1679"/>
                    <a:gd name="T73" fmla="*/ 2147483647 h 1114"/>
                    <a:gd name="T74" fmla="*/ 2147483647 w 1679"/>
                    <a:gd name="T75" fmla="*/ 2147483647 h 1114"/>
                    <a:gd name="T76" fmla="*/ 2147483647 w 1679"/>
                    <a:gd name="T77" fmla="*/ 2147483647 h 1114"/>
                    <a:gd name="T78" fmla="*/ 2147483647 w 1679"/>
                    <a:gd name="T79" fmla="*/ 2147483647 h 1114"/>
                    <a:gd name="T80" fmla="*/ 2147483647 w 1679"/>
                    <a:gd name="T81" fmla="*/ 2147483647 h 1114"/>
                    <a:gd name="T82" fmla="*/ 2147483647 w 1679"/>
                    <a:gd name="T83" fmla="*/ 2147483647 h 1114"/>
                    <a:gd name="T84" fmla="*/ 2147483647 w 1679"/>
                    <a:gd name="T85" fmla="*/ 2147483647 h 1114"/>
                    <a:gd name="T86" fmla="*/ 2147483647 w 1679"/>
                    <a:gd name="T87" fmla="*/ 2147483647 h 1114"/>
                    <a:gd name="T88" fmla="*/ 2147483647 w 1679"/>
                    <a:gd name="T89" fmla="*/ 2147483647 h 1114"/>
                    <a:gd name="T90" fmla="*/ 2147483647 w 1679"/>
                    <a:gd name="T91" fmla="*/ 2147483647 h 1114"/>
                    <a:gd name="T92" fmla="*/ 2147483647 w 1679"/>
                    <a:gd name="T93" fmla="*/ 2147483647 h 1114"/>
                    <a:gd name="T94" fmla="*/ 2147483647 w 1679"/>
                    <a:gd name="T95" fmla="*/ 2147483647 h 1114"/>
                    <a:gd name="T96" fmla="*/ 2147483647 w 1679"/>
                    <a:gd name="T97" fmla="*/ 2147483647 h 1114"/>
                    <a:gd name="T98" fmla="*/ 2147483647 w 1679"/>
                    <a:gd name="T99" fmla="*/ 2147483647 h 1114"/>
                    <a:gd name="T100" fmla="*/ 2147483647 w 1679"/>
                    <a:gd name="T101" fmla="*/ 2147483647 h 1114"/>
                    <a:gd name="T102" fmla="*/ 2147483647 w 1679"/>
                    <a:gd name="T103" fmla="*/ 2147483647 h 1114"/>
                    <a:gd name="T104" fmla="*/ 2147483647 w 1679"/>
                    <a:gd name="T105" fmla="*/ 2147483647 h 1114"/>
                    <a:gd name="T106" fmla="*/ 2147483647 w 1679"/>
                    <a:gd name="T107" fmla="*/ 2147483647 h 1114"/>
                    <a:gd name="T108" fmla="*/ 2147483647 w 1679"/>
                    <a:gd name="T109" fmla="*/ 2147483647 h 1114"/>
                    <a:gd name="T110" fmla="*/ 2147483647 w 1679"/>
                    <a:gd name="T111" fmla="*/ 2147483647 h 1114"/>
                    <a:gd name="T112" fmla="*/ 2147483647 w 1679"/>
                    <a:gd name="T113" fmla="*/ 2147483647 h 1114"/>
                    <a:gd name="T114" fmla="*/ 2147483647 w 1679"/>
                    <a:gd name="T115" fmla="*/ 2147483647 h 1114"/>
                    <a:gd name="T116" fmla="*/ 2147483647 w 1679"/>
                    <a:gd name="T117" fmla="*/ 2147483647 h 1114"/>
                    <a:gd name="T118" fmla="*/ 2147483647 w 1679"/>
                    <a:gd name="T119" fmla="*/ 2147483647 h 1114"/>
                    <a:gd name="T120" fmla="*/ 2147483647 w 1679"/>
                    <a:gd name="T121" fmla="*/ 2147483647 h 1114"/>
                    <a:gd name="T122" fmla="*/ 2147483647 w 1679"/>
                    <a:gd name="T123" fmla="*/ 2147483647 h 1114"/>
                    <a:gd name="T124" fmla="*/ 2147483647 w 1679"/>
                    <a:gd name="T125" fmla="*/ 2147483647 h 111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679"/>
                    <a:gd name="T190" fmla="*/ 0 h 1114"/>
                    <a:gd name="T191" fmla="*/ 1679 w 1679"/>
                    <a:gd name="T192" fmla="*/ 1114 h 111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679" h="1114">
                      <a:moveTo>
                        <a:pt x="90" y="902"/>
                      </a:moveTo>
                      <a:lnTo>
                        <a:pt x="7" y="867"/>
                      </a:lnTo>
                      <a:lnTo>
                        <a:pt x="0" y="864"/>
                      </a:lnTo>
                      <a:lnTo>
                        <a:pt x="2" y="862"/>
                      </a:lnTo>
                      <a:lnTo>
                        <a:pt x="4" y="862"/>
                      </a:lnTo>
                      <a:lnTo>
                        <a:pt x="4" y="861"/>
                      </a:lnTo>
                      <a:lnTo>
                        <a:pt x="7" y="857"/>
                      </a:lnTo>
                      <a:lnTo>
                        <a:pt x="9" y="856"/>
                      </a:lnTo>
                      <a:lnTo>
                        <a:pt x="9" y="854"/>
                      </a:lnTo>
                      <a:lnTo>
                        <a:pt x="7" y="853"/>
                      </a:lnTo>
                      <a:lnTo>
                        <a:pt x="7" y="851"/>
                      </a:lnTo>
                      <a:lnTo>
                        <a:pt x="5" y="848"/>
                      </a:lnTo>
                      <a:lnTo>
                        <a:pt x="7" y="846"/>
                      </a:lnTo>
                      <a:lnTo>
                        <a:pt x="7" y="844"/>
                      </a:lnTo>
                      <a:lnTo>
                        <a:pt x="9" y="843"/>
                      </a:lnTo>
                      <a:lnTo>
                        <a:pt x="9" y="841"/>
                      </a:lnTo>
                      <a:lnTo>
                        <a:pt x="11" y="841"/>
                      </a:lnTo>
                      <a:lnTo>
                        <a:pt x="11" y="839"/>
                      </a:lnTo>
                      <a:lnTo>
                        <a:pt x="12" y="838"/>
                      </a:lnTo>
                      <a:lnTo>
                        <a:pt x="12" y="836"/>
                      </a:lnTo>
                      <a:lnTo>
                        <a:pt x="14" y="836"/>
                      </a:lnTo>
                      <a:lnTo>
                        <a:pt x="14" y="834"/>
                      </a:lnTo>
                      <a:lnTo>
                        <a:pt x="16" y="833"/>
                      </a:lnTo>
                      <a:lnTo>
                        <a:pt x="16" y="831"/>
                      </a:lnTo>
                      <a:lnTo>
                        <a:pt x="17" y="831"/>
                      </a:lnTo>
                      <a:lnTo>
                        <a:pt x="19" y="830"/>
                      </a:lnTo>
                      <a:lnTo>
                        <a:pt x="21" y="830"/>
                      </a:lnTo>
                      <a:lnTo>
                        <a:pt x="21" y="828"/>
                      </a:lnTo>
                      <a:lnTo>
                        <a:pt x="22" y="828"/>
                      </a:lnTo>
                      <a:lnTo>
                        <a:pt x="24" y="828"/>
                      </a:lnTo>
                      <a:lnTo>
                        <a:pt x="26" y="826"/>
                      </a:lnTo>
                      <a:lnTo>
                        <a:pt x="26" y="825"/>
                      </a:lnTo>
                      <a:lnTo>
                        <a:pt x="27" y="825"/>
                      </a:lnTo>
                      <a:lnTo>
                        <a:pt x="29" y="823"/>
                      </a:lnTo>
                      <a:lnTo>
                        <a:pt x="31" y="823"/>
                      </a:lnTo>
                      <a:lnTo>
                        <a:pt x="33" y="823"/>
                      </a:lnTo>
                      <a:lnTo>
                        <a:pt x="34" y="823"/>
                      </a:lnTo>
                      <a:lnTo>
                        <a:pt x="36" y="821"/>
                      </a:lnTo>
                      <a:lnTo>
                        <a:pt x="38" y="821"/>
                      </a:lnTo>
                      <a:lnTo>
                        <a:pt x="38" y="820"/>
                      </a:lnTo>
                      <a:lnTo>
                        <a:pt x="39" y="820"/>
                      </a:lnTo>
                      <a:lnTo>
                        <a:pt x="41" y="820"/>
                      </a:lnTo>
                      <a:lnTo>
                        <a:pt x="41" y="818"/>
                      </a:lnTo>
                      <a:lnTo>
                        <a:pt x="43" y="818"/>
                      </a:lnTo>
                      <a:lnTo>
                        <a:pt x="43" y="816"/>
                      </a:lnTo>
                      <a:lnTo>
                        <a:pt x="44" y="816"/>
                      </a:lnTo>
                      <a:lnTo>
                        <a:pt x="46" y="816"/>
                      </a:lnTo>
                      <a:lnTo>
                        <a:pt x="48" y="816"/>
                      </a:lnTo>
                      <a:lnTo>
                        <a:pt x="49" y="816"/>
                      </a:lnTo>
                      <a:lnTo>
                        <a:pt x="49" y="815"/>
                      </a:lnTo>
                      <a:lnTo>
                        <a:pt x="51" y="815"/>
                      </a:lnTo>
                      <a:lnTo>
                        <a:pt x="53" y="815"/>
                      </a:lnTo>
                      <a:lnTo>
                        <a:pt x="54" y="815"/>
                      </a:lnTo>
                      <a:lnTo>
                        <a:pt x="56" y="813"/>
                      </a:lnTo>
                      <a:lnTo>
                        <a:pt x="56" y="815"/>
                      </a:lnTo>
                      <a:lnTo>
                        <a:pt x="58" y="815"/>
                      </a:lnTo>
                      <a:lnTo>
                        <a:pt x="58" y="813"/>
                      </a:lnTo>
                      <a:lnTo>
                        <a:pt x="58" y="811"/>
                      </a:lnTo>
                      <a:lnTo>
                        <a:pt x="60" y="811"/>
                      </a:lnTo>
                      <a:lnTo>
                        <a:pt x="60" y="810"/>
                      </a:lnTo>
                      <a:lnTo>
                        <a:pt x="61" y="808"/>
                      </a:lnTo>
                      <a:lnTo>
                        <a:pt x="61" y="810"/>
                      </a:lnTo>
                      <a:lnTo>
                        <a:pt x="63" y="810"/>
                      </a:lnTo>
                      <a:lnTo>
                        <a:pt x="63" y="808"/>
                      </a:lnTo>
                      <a:lnTo>
                        <a:pt x="65" y="808"/>
                      </a:lnTo>
                      <a:lnTo>
                        <a:pt x="65" y="807"/>
                      </a:lnTo>
                      <a:lnTo>
                        <a:pt x="65" y="805"/>
                      </a:lnTo>
                      <a:lnTo>
                        <a:pt x="66" y="803"/>
                      </a:lnTo>
                      <a:lnTo>
                        <a:pt x="66" y="802"/>
                      </a:lnTo>
                      <a:lnTo>
                        <a:pt x="66" y="800"/>
                      </a:lnTo>
                      <a:lnTo>
                        <a:pt x="66" y="798"/>
                      </a:lnTo>
                      <a:lnTo>
                        <a:pt x="65" y="797"/>
                      </a:lnTo>
                      <a:lnTo>
                        <a:pt x="65" y="795"/>
                      </a:lnTo>
                      <a:lnTo>
                        <a:pt x="63" y="793"/>
                      </a:lnTo>
                      <a:lnTo>
                        <a:pt x="63" y="792"/>
                      </a:lnTo>
                      <a:lnTo>
                        <a:pt x="63" y="790"/>
                      </a:lnTo>
                      <a:lnTo>
                        <a:pt x="63" y="792"/>
                      </a:lnTo>
                      <a:lnTo>
                        <a:pt x="61" y="790"/>
                      </a:lnTo>
                      <a:lnTo>
                        <a:pt x="61" y="788"/>
                      </a:lnTo>
                      <a:lnTo>
                        <a:pt x="61" y="787"/>
                      </a:lnTo>
                      <a:lnTo>
                        <a:pt x="61" y="785"/>
                      </a:lnTo>
                      <a:lnTo>
                        <a:pt x="60" y="785"/>
                      </a:lnTo>
                      <a:lnTo>
                        <a:pt x="58" y="784"/>
                      </a:lnTo>
                      <a:lnTo>
                        <a:pt x="58" y="782"/>
                      </a:lnTo>
                      <a:lnTo>
                        <a:pt x="56" y="782"/>
                      </a:lnTo>
                      <a:lnTo>
                        <a:pt x="56" y="780"/>
                      </a:lnTo>
                      <a:lnTo>
                        <a:pt x="56" y="779"/>
                      </a:lnTo>
                      <a:lnTo>
                        <a:pt x="56" y="777"/>
                      </a:lnTo>
                      <a:lnTo>
                        <a:pt x="54" y="777"/>
                      </a:lnTo>
                      <a:lnTo>
                        <a:pt x="54" y="775"/>
                      </a:lnTo>
                      <a:lnTo>
                        <a:pt x="53" y="775"/>
                      </a:lnTo>
                      <a:lnTo>
                        <a:pt x="54" y="774"/>
                      </a:lnTo>
                      <a:lnTo>
                        <a:pt x="53" y="774"/>
                      </a:lnTo>
                      <a:lnTo>
                        <a:pt x="53" y="772"/>
                      </a:lnTo>
                      <a:lnTo>
                        <a:pt x="53" y="770"/>
                      </a:lnTo>
                      <a:lnTo>
                        <a:pt x="54" y="770"/>
                      </a:lnTo>
                      <a:lnTo>
                        <a:pt x="54" y="769"/>
                      </a:lnTo>
                      <a:lnTo>
                        <a:pt x="54" y="765"/>
                      </a:lnTo>
                      <a:lnTo>
                        <a:pt x="54" y="764"/>
                      </a:lnTo>
                      <a:lnTo>
                        <a:pt x="56" y="764"/>
                      </a:lnTo>
                      <a:lnTo>
                        <a:pt x="56" y="762"/>
                      </a:lnTo>
                      <a:lnTo>
                        <a:pt x="58" y="762"/>
                      </a:lnTo>
                      <a:lnTo>
                        <a:pt x="60" y="761"/>
                      </a:lnTo>
                      <a:lnTo>
                        <a:pt x="60" y="759"/>
                      </a:lnTo>
                      <a:lnTo>
                        <a:pt x="60" y="757"/>
                      </a:lnTo>
                      <a:lnTo>
                        <a:pt x="60" y="756"/>
                      </a:lnTo>
                      <a:lnTo>
                        <a:pt x="60" y="754"/>
                      </a:lnTo>
                      <a:lnTo>
                        <a:pt x="61" y="754"/>
                      </a:lnTo>
                      <a:lnTo>
                        <a:pt x="61" y="752"/>
                      </a:lnTo>
                      <a:lnTo>
                        <a:pt x="61" y="751"/>
                      </a:lnTo>
                      <a:lnTo>
                        <a:pt x="63" y="751"/>
                      </a:lnTo>
                      <a:lnTo>
                        <a:pt x="61" y="749"/>
                      </a:lnTo>
                      <a:lnTo>
                        <a:pt x="63" y="749"/>
                      </a:lnTo>
                      <a:lnTo>
                        <a:pt x="65" y="747"/>
                      </a:lnTo>
                      <a:lnTo>
                        <a:pt x="66" y="747"/>
                      </a:lnTo>
                      <a:lnTo>
                        <a:pt x="66" y="746"/>
                      </a:lnTo>
                      <a:lnTo>
                        <a:pt x="68" y="744"/>
                      </a:lnTo>
                      <a:lnTo>
                        <a:pt x="70" y="744"/>
                      </a:lnTo>
                      <a:lnTo>
                        <a:pt x="71" y="743"/>
                      </a:lnTo>
                      <a:lnTo>
                        <a:pt x="71" y="741"/>
                      </a:lnTo>
                      <a:lnTo>
                        <a:pt x="73" y="739"/>
                      </a:lnTo>
                      <a:lnTo>
                        <a:pt x="73" y="738"/>
                      </a:lnTo>
                      <a:lnTo>
                        <a:pt x="75" y="738"/>
                      </a:lnTo>
                      <a:lnTo>
                        <a:pt x="75" y="736"/>
                      </a:lnTo>
                      <a:lnTo>
                        <a:pt x="76" y="736"/>
                      </a:lnTo>
                      <a:lnTo>
                        <a:pt x="78" y="734"/>
                      </a:lnTo>
                      <a:lnTo>
                        <a:pt x="76" y="734"/>
                      </a:lnTo>
                      <a:lnTo>
                        <a:pt x="78" y="734"/>
                      </a:lnTo>
                      <a:lnTo>
                        <a:pt x="78" y="733"/>
                      </a:lnTo>
                      <a:lnTo>
                        <a:pt x="78" y="731"/>
                      </a:lnTo>
                      <a:lnTo>
                        <a:pt x="78" y="729"/>
                      </a:lnTo>
                      <a:lnTo>
                        <a:pt x="80" y="729"/>
                      </a:lnTo>
                      <a:lnTo>
                        <a:pt x="81" y="729"/>
                      </a:lnTo>
                      <a:lnTo>
                        <a:pt x="80" y="728"/>
                      </a:lnTo>
                      <a:lnTo>
                        <a:pt x="80" y="726"/>
                      </a:lnTo>
                      <a:lnTo>
                        <a:pt x="80" y="724"/>
                      </a:lnTo>
                      <a:lnTo>
                        <a:pt x="81" y="723"/>
                      </a:lnTo>
                      <a:lnTo>
                        <a:pt x="81" y="721"/>
                      </a:lnTo>
                      <a:lnTo>
                        <a:pt x="81" y="720"/>
                      </a:lnTo>
                      <a:lnTo>
                        <a:pt x="81" y="718"/>
                      </a:lnTo>
                      <a:lnTo>
                        <a:pt x="81" y="716"/>
                      </a:lnTo>
                      <a:lnTo>
                        <a:pt x="81" y="715"/>
                      </a:lnTo>
                      <a:lnTo>
                        <a:pt x="81" y="713"/>
                      </a:lnTo>
                      <a:lnTo>
                        <a:pt x="81" y="711"/>
                      </a:lnTo>
                      <a:lnTo>
                        <a:pt x="81" y="710"/>
                      </a:lnTo>
                      <a:lnTo>
                        <a:pt x="83" y="710"/>
                      </a:lnTo>
                      <a:lnTo>
                        <a:pt x="83" y="708"/>
                      </a:lnTo>
                      <a:lnTo>
                        <a:pt x="83" y="706"/>
                      </a:lnTo>
                      <a:lnTo>
                        <a:pt x="85" y="706"/>
                      </a:lnTo>
                      <a:lnTo>
                        <a:pt x="85" y="705"/>
                      </a:lnTo>
                      <a:lnTo>
                        <a:pt x="85" y="703"/>
                      </a:lnTo>
                      <a:lnTo>
                        <a:pt x="87" y="703"/>
                      </a:lnTo>
                      <a:lnTo>
                        <a:pt x="87" y="701"/>
                      </a:lnTo>
                      <a:lnTo>
                        <a:pt x="87" y="700"/>
                      </a:lnTo>
                      <a:lnTo>
                        <a:pt x="88" y="700"/>
                      </a:lnTo>
                      <a:lnTo>
                        <a:pt x="88" y="698"/>
                      </a:lnTo>
                      <a:lnTo>
                        <a:pt x="90" y="697"/>
                      </a:lnTo>
                      <a:lnTo>
                        <a:pt x="88" y="697"/>
                      </a:lnTo>
                      <a:lnTo>
                        <a:pt x="90" y="695"/>
                      </a:lnTo>
                      <a:lnTo>
                        <a:pt x="90" y="693"/>
                      </a:lnTo>
                      <a:lnTo>
                        <a:pt x="90" y="692"/>
                      </a:lnTo>
                      <a:lnTo>
                        <a:pt x="90" y="690"/>
                      </a:lnTo>
                      <a:lnTo>
                        <a:pt x="90" y="688"/>
                      </a:lnTo>
                      <a:lnTo>
                        <a:pt x="90" y="687"/>
                      </a:lnTo>
                      <a:lnTo>
                        <a:pt x="88" y="687"/>
                      </a:lnTo>
                      <a:lnTo>
                        <a:pt x="88" y="685"/>
                      </a:lnTo>
                      <a:lnTo>
                        <a:pt x="88" y="683"/>
                      </a:lnTo>
                      <a:lnTo>
                        <a:pt x="90" y="683"/>
                      </a:lnTo>
                      <a:lnTo>
                        <a:pt x="92" y="682"/>
                      </a:lnTo>
                      <a:lnTo>
                        <a:pt x="92" y="683"/>
                      </a:lnTo>
                      <a:lnTo>
                        <a:pt x="93" y="683"/>
                      </a:lnTo>
                      <a:lnTo>
                        <a:pt x="93" y="682"/>
                      </a:lnTo>
                      <a:lnTo>
                        <a:pt x="95" y="682"/>
                      </a:lnTo>
                      <a:lnTo>
                        <a:pt x="95" y="678"/>
                      </a:lnTo>
                      <a:lnTo>
                        <a:pt x="97" y="680"/>
                      </a:lnTo>
                      <a:lnTo>
                        <a:pt x="98" y="680"/>
                      </a:lnTo>
                      <a:lnTo>
                        <a:pt x="98" y="678"/>
                      </a:lnTo>
                      <a:lnTo>
                        <a:pt x="100" y="678"/>
                      </a:lnTo>
                      <a:lnTo>
                        <a:pt x="100" y="677"/>
                      </a:lnTo>
                      <a:lnTo>
                        <a:pt x="102" y="677"/>
                      </a:lnTo>
                      <a:lnTo>
                        <a:pt x="103" y="677"/>
                      </a:lnTo>
                      <a:lnTo>
                        <a:pt x="102" y="675"/>
                      </a:lnTo>
                      <a:lnTo>
                        <a:pt x="103" y="675"/>
                      </a:lnTo>
                      <a:lnTo>
                        <a:pt x="105" y="675"/>
                      </a:lnTo>
                      <a:lnTo>
                        <a:pt x="105" y="674"/>
                      </a:lnTo>
                      <a:lnTo>
                        <a:pt x="105" y="675"/>
                      </a:lnTo>
                      <a:lnTo>
                        <a:pt x="107" y="675"/>
                      </a:lnTo>
                      <a:lnTo>
                        <a:pt x="109" y="674"/>
                      </a:lnTo>
                      <a:lnTo>
                        <a:pt x="110" y="675"/>
                      </a:lnTo>
                      <a:lnTo>
                        <a:pt x="110" y="674"/>
                      </a:lnTo>
                      <a:lnTo>
                        <a:pt x="112" y="674"/>
                      </a:lnTo>
                      <a:lnTo>
                        <a:pt x="112" y="675"/>
                      </a:lnTo>
                      <a:lnTo>
                        <a:pt x="112" y="674"/>
                      </a:lnTo>
                      <a:lnTo>
                        <a:pt x="114" y="672"/>
                      </a:lnTo>
                      <a:lnTo>
                        <a:pt x="114" y="670"/>
                      </a:lnTo>
                      <a:lnTo>
                        <a:pt x="115" y="670"/>
                      </a:lnTo>
                      <a:lnTo>
                        <a:pt x="115" y="669"/>
                      </a:lnTo>
                      <a:lnTo>
                        <a:pt x="117" y="667"/>
                      </a:lnTo>
                      <a:lnTo>
                        <a:pt x="119" y="667"/>
                      </a:lnTo>
                      <a:lnTo>
                        <a:pt x="120" y="665"/>
                      </a:lnTo>
                      <a:lnTo>
                        <a:pt x="122" y="665"/>
                      </a:lnTo>
                      <a:lnTo>
                        <a:pt x="122" y="664"/>
                      </a:lnTo>
                      <a:lnTo>
                        <a:pt x="124" y="664"/>
                      </a:lnTo>
                      <a:lnTo>
                        <a:pt x="125" y="665"/>
                      </a:lnTo>
                      <a:lnTo>
                        <a:pt x="125" y="664"/>
                      </a:lnTo>
                      <a:lnTo>
                        <a:pt x="127" y="665"/>
                      </a:lnTo>
                      <a:lnTo>
                        <a:pt x="127" y="664"/>
                      </a:lnTo>
                      <a:lnTo>
                        <a:pt x="127" y="662"/>
                      </a:lnTo>
                      <a:lnTo>
                        <a:pt x="129" y="662"/>
                      </a:lnTo>
                      <a:lnTo>
                        <a:pt x="129" y="660"/>
                      </a:lnTo>
                      <a:lnTo>
                        <a:pt x="127" y="660"/>
                      </a:lnTo>
                      <a:lnTo>
                        <a:pt x="129" y="659"/>
                      </a:lnTo>
                      <a:lnTo>
                        <a:pt x="129" y="660"/>
                      </a:lnTo>
                      <a:lnTo>
                        <a:pt x="130" y="660"/>
                      </a:lnTo>
                      <a:lnTo>
                        <a:pt x="132" y="660"/>
                      </a:lnTo>
                      <a:lnTo>
                        <a:pt x="132" y="659"/>
                      </a:lnTo>
                      <a:lnTo>
                        <a:pt x="132" y="657"/>
                      </a:lnTo>
                      <a:lnTo>
                        <a:pt x="132" y="659"/>
                      </a:lnTo>
                      <a:lnTo>
                        <a:pt x="134" y="659"/>
                      </a:lnTo>
                      <a:lnTo>
                        <a:pt x="134" y="657"/>
                      </a:lnTo>
                      <a:lnTo>
                        <a:pt x="136" y="657"/>
                      </a:lnTo>
                      <a:lnTo>
                        <a:pt x="136" y="655"/>
                      </a:lnTo>
                      <a:lnTo>
                        <a:pt x="136" y="654"/>
                      </a:lnTo>
                      <a:lnTo>
                        <a:pt x="137" y="654"/>
                      </a:lnTo>
                      <a:lnTo>
                        <a:pt x="137" y="651"/>
                      </a:lnTo>
                      <a:lnTo>
                        <a:pt x="139" y="651"/>
                      </a:lnTo>
                      <a:lnTo>
                        <a:pt x="141" y="651"/>
                      </a:lnTo>
                      <a:lnTo>
                        <a:pt x="141" y="649"/>
                      </a:lnTo>
                      <a:lnTo>
                        <a:pt x="142" y="649"/>
                      </a:lnTo>
                      <a:lnTo>
                        <a:pt x="144" y="649"/>
                      </a:lnTo>
                      <a:lnTo>
                        <a:pt x="146" y="649"/>
                      </a:lnTo>
                      <a:lnTo>
                        <a:pt x="146" y="651"/>
                      </a:lnTo>
                      <a:lnTo>
                        <a:pt x="147" y="649"/>
                      </a:lnTo>
                      <a:lnTo>
                        <a:pt x="147" y="647"/>
                      </a:lnTo>
                      <a:lnTo>
                        <a:pt x="149" y="649"/>
                      </a:lnTo>
                      <a:lnTo>
                        <a:pt x="151" y="649"/>
                      </a:lnTo>
                      <a:lnTo>
                        <a:pt x="151" y="647"/>
                      </a:lnTo>
                      <a:lnTo>
                        <a:pt x="152" y="647"/>
                      </a:lnTo>
                      <a:lnTo>
                        <a:pt x="152" y="646"/>
                      </a:lnTo>
                      <a:lnTo>
                        <a:pt x="152" y="647"/>
                      </a:lnTo>
                      <a:lnTo>
                        <a:pt x="154" y="647"/>
                      </a:lnTo>
                      <a:lnTo>
                        <a:pt x="154" y="646"/>
                      </a:lnTo>
                      <a:lnTo>
                        <a:pt x="156" y="644"/>
                      </a:lnTo>
                      <a:lnTo>
                        <a:pt x="157" y="644"/>
                      </a:lnTo>
                      <a:lnTo>
                        <a:pt x="159" y="642"/>
                      </a:lnTo>
                      <a:lnTo>
                        <a:pt x="161" y="644"/>
                      </a:lnTo>
                      <a:lnTo>
                        <a:pt x="163" y="642"/>
                      </a:lnTo>
                      <a:lnTo>
                        <a:pt x="163" y="641"/>
                      </a:lnTo>
                      <a:lnTo>
                        <a:pt x="164" y="641"/>
                      </a:lnTo>
                      <a:lnTo>
                        <a:pt x="164" y="639"/>
                      </a:lnTo>
                      <a:lnTo>
                        <a:pt x="166" y="637"/>
                      </a:lnTo>
                      <a:lnTo>
                        <a:pt x="168" y="637"/>
                      </a:lnTo>
                      <a:lnTo>
                        <a:pt x="168" y="636"/>
                      </a:lnTo>
                      <a:lnTo>
                        <a:pt x="169" y="636"/>
                      </a:lnTo>
                      <a:lnTo>
                        <a:pt x="168" y="634"/>
                      </a:lnTo>
                      <a:lnTo>
                        <a:pt x="171" y="636"/>
                      </a:lnTo>
                      <a:lnTo>
                        <a:pt x="173" y="634"/>
                      </a:lnTo>
                      <a:lnTo>
                        <a:pt x="174" y="634"/>
                      </a:lnTo>
                      <a:lnTo>
                        <a:pt x="174" y="632"/>
                      </a:lnTo>
                      <a:lnTo>
                        <a:pt x="176" y="632"/>
                      </a:lnTo>
                      <a:lnTo>
                        <a:pt x="178" y="632"/>
                      </a:lnTo>
                      <a:lnTo>
                        <a:pt x="176" y="632"/>
                      </a:lnTo>
                      <a:lnTo>
                        <a:pt x="178" y="631"/>
                      </a:lnTo>
                      <a:lnTo>
                        <a:pt x="178" y="629"/>
                      </a:lnTo>
                      <a:lnTo>
                        <a:pt x="179" y="629"/>
                      </a:lnTo>
                      <a:lnTo>
                        <a:pt x="178" y="629"/>
                      </a:lnTo>
                      <a:lnTo>
                        <a:pt x="179" y="629"/>
                      </a:lnTo>
                      <a:lnTo>
                        <a:pt x="179" y="628"/>
                      </a:lnTo>
                      <a:lnTo>
                        <a:pt x="179" y="626"/>
                      </a:lnTo>
                      <a:lnTo>
                        <a:pt x="181" y="626"/>
                      </a:lnTo>
                      <a:lnTo>
                        <a:pt x="181" y="628"/>
                      </a:lnTo>
                      <a:lnTo>
                        <a:pt x="181" y="626"/>
                      </a:lnTo>
                      <a:lnTo>
                        <a:pt x="183" y="626"/>
                      </a:lnTo>
                      <a:lnTo>
                        <a:pt x="183" y="624"/>
                      </a:lnTo>
                      <a:lnTo>
                        <a:pt x="185" y="624"/>
                      </a:lnTo>
                      <a:lnTo>
                        <a:pt x="185" y="626"/>
                      </a:lnTo>
                      <a:lnTo>
                        <a:pt x="185" y="624"/>
                      </a:lnTo>
                      <a:lnTo>
                        <a:pt x="186" y="624"/>
                      </a:lnTo>
                      <a:lnTo>
                        <a:pt x="188" y="623"/>
                      </a:lnTo>
                      <a:lnTo>
                        <a:pt x="190" y="623"/>
                      </a:lnTo>
                      <a:lnTo>
                        <a:pt x="191" y="623"/>
                      </a:lnTo>
                      <a:lnTo>
                        <a:pt x="193" y="621"/>
                      </a:lnTo>
                      <a:lnTo>
                        <a:pt x="193" y="623"/>
                      </a:lnTo>
                      <a:lnTo>
                        <a:pt x="195" y="623"/>
                      </a:lnTo>
                      <a:lnTo>
                        <a:pt x="196" y="623"/>
                      </a:lnTo>
                      <a:lnTo>
                        <a:pt x="196" y="621"/>
                      </a:lnTo>
                      <a:lnTo>
                        <a:pt x="195" y="621"/>
                      </a:lnTo>
                      <a:lnTo>
                        <a:pt x="196" y="621"/>
                      </a:lnTo>
                      <a:lnTo>
                        <a:pt x="196" y="623"/>
                      </a:lnTo>
                      <a:lnTo>
                        <a:pt x="198" y="623"/>
                      </a:lnTo>
                      <a:lnTo>
                        <a:pt x="198" y="624"/>
                      </a:lnTo>
                      <a:lnTo>
                        <a:pt x="200" y="624"/>
                      </a:lnTo>
                      <a:lnTo>
                        <a:pt x="201" y="624"/>
                      </a:lnTo>
                      <a:lnTo>
                        <a:pt x="201" y="623"/>
                      </a:lnTo>
                      <a:lnTo>
                        <a:pt x="203" y="623"/>
                      </a:lnTo>
                      <a:lnTo>
                        <a:pt x="203" y="624"/>
                      </a:lnTo>
                      <a:lnTo>
                        <a:pt x="205" y="623"/>
                      </a:lnTo>
                      <a:lnTo>
                        <a:pt x="205" y="624"/>
                      </a:lnTo>
                      <a:lnTo>
                        <a:pt x="206" y="623"/>
                      </a:lnTo>
                      <a:lnTo>
                        <a:pt x="208" y="623"/>
                      </a:lnTo>
                      <a:lnTo>
                        <a:pt x="206" y="621"/>
                      </a:lnTo>
                      <a:lnTo>
                        <a:pt x="208" y="621"/>
                      </a:lnTo>
                      <a:lnTo>
                        <a:pt x="208" y="624"/>
                      </a:lnTo>
                      <a:lnTo>
                        <a:pt x="206" y="624"/>
                      </a:lnTo>
                      <a:lnTo>
                        <a:pt x="208" y="626"/>
                      </a:lnTo>
                      <a:lnTo>
                        <a:pt x="210" y="626"/>
                      </a:lnTo>
                      <a:lnTo>
                        <a:pt x="212" y="624"/>
                      </a:lnTo>
                      <a:lnTo>
                        <a:pt x="213" y="624"/>
                      </a:lnTo>
                      <a:lnTo>
                        <a:pt x="213" y="623"/>
                      </a:lnTo>
                      <a:lnTo>
                        <a:pt x="215" y="621"/>
                      </a:lnTo>
                      <a:lnTo>
                        <a:pt x="217" y="619"/>
                      </a:lnTo>
                      <a:lnTo>
                        <a:pt x="218" y="619"/>
                      </a:lnTo>
                      <a:lnTo>
                        <a:pt x="218" y="621"/>
                      </a:lnTo>
                      <a:lnTo>
                        <a:pt x="220" y="621"/>
                      </a:lnTo>
                      <a:lnTo>
                        <a:pt x="218" y="619"/>
                      </a:lnTo>
                      <a:lnTo>
                        <a:pt x="218" y="618"/>
                      </a:lnTo>
                      <a:lnTo>
                        <a:pt x="220" y="618"/>
                      </a:lnTo>
                      <a:lnTo>
                        <a:pt x="220" y="619"/>
                      </a:lnTo>
                      <a:lnTo>
                        <a:pt x="222" y="619"/>
                      </a:lnTo>
                      <a:lnTo>
                        <a:pt x="222" y="618"/>
                      </a:lnTo>
                      <a:lnTo>
                        <a:pt x="223" y="618"/>
                      </a:lnTo>
                      <a:lnTo>
                        <a:pt x="225" y="618"/>
                      </a:lnTo>
                      <a:lnTo>
                        <a:pt x="225" y="619"/>
                      </a:lnTo>
                      <a:lnTo>
                        <a:pt x="227" y="619"/>
                      </a:lnTo>
                      <a:lnTo>
                        <a:pt x="228" y="618"/>
                      </a:lnTo>
                      <a:lnTo>
                        <a:pt x="230" y="616"/>
                      </a:lnTo>
                      <a:lnTo>
                        <a:pt x="232" y="616"/>
                      </a:lnTo>
                      <a:lnTo>
                        <a:pt x="232" y="618"/>
                      </a:lnTo>
                      <a:lnTo>
                        <a:pt x="233" y="616"/>
                      </a:lnTo>
                      <a:lnTo>
                        <a:pt x="233" y="618"/>
                      </a:lnTo>
                      <a:lnTo>
                        <a:pt x="235" y="618"/>
                      </a:lnTo>
                      <a:lnTo>
                        <a:pt x="237" y="618"/>
                      </a:lnTo>
                      <a:lnTo>
                        <a:pt x="237" y="619"/>
                      </a:lnTo>
                      <a:lnTo>
                        <a:pt x="239" y="618"/>
                      </a:lnTo>
                      <a:lnTo>
                        <a:pt x="237" y="616"/>
                      </a:lnTo>
                      <a:lnTo>
                        <a:pt x="239" y="618"/>
                      </a:lnTo>
                      <a:lnTo>
                        <a:pt x="240" y="618"/>
                      </a:lnTo>
                      <a:lnTo>
                        <a:pt x="242" y="616"/>
                      </a:lnTo>
                      <a:lnTo>
                        <a:pt x="242" y="614"/>
                      </a:lnTo>
                      <a:lnTo>
                        <a:pt x="242" y="613"/>
                      </a:lnTo>
                      <a:lnTo>
                        <a:pt x="240" y="613"/>
                      </a:lnTo>
                      <a:lnTo>
                        <a:pt x="242" y="613"/>
                      </a:lnTo>
                      <a:lnTo>
                        <a:pt x="244" y="613"/>
                      </a:lnTo>
                      <a:lnTo>
                        <a:pt x="245" y="613"/>
                      </a:lnTo>
                      <a:lnTo>
                        <a:pt x="245" y="614"/>
                      </a:lnTo>
                      <a:lnTo>
                        <a:pt x="245" y="613"/>
                      </a:lnTo>
                      <a:lnTo>
                        <a:pt x="247" y="611"/>
                      </a:lnTo>
                      <a:lnTo>
                        <a:pt x="247" y="613"/>
                      </a:lnTo>
                      <a:lnTo>
                        <a:pt x="247" y="614"/>
                      </a:lnTo>
                      <a:lnTo>
                        <a:pt x="247" y="616"/>
                      </a:lnTo>
                      <a:lnTo>
                        <a:pt x="249" y="616"/>
                      </a:lnTo>
                      <a:lnTo>
                        <a:pt x="249" y="614"/>
                      </a:lnTo>
                      <a:lnTo>
                        <a:pt x="249" y="613"/>
                      </a:lnTo>
                      <a:lnTo>
                        <a:pt x="250" y="613"/>
                      </a:lnTo>
                      <a:lnTo>
                        <a:pt x="252" y="613"/>
                      </a:lnTo>
                      <a:lnTo>
                        <a:pt x="252" y="614"/>
                      </a:lnTo>
                      <a:lnTo>
                        <a:pt x="252" y="613"/>
                      </a:lnTo>
                      <a:lnTo>
                        <a:pt x="254" y="613"/>
                      </a:lnTo>
                      <a:lnTo>
                        <a:pt x="255" y="614"/>
                      </a:lnTo>
                      <a:lnTo>
                        <a:pt x="257" y="614"/>
                      </a:lnTo>
                      <a:lnTo>
                        <a:pt x="257" y="613"/>
                      </a:lnTo>
                      <a:lnTo>
                        <a:pt x="257" y="611"/>
                      </a:lnTo>
                      <a:lnTo>
                        <a:pt x="259" y="611"/>
                      </a:lnTo>
                      <a:lnTo>
                        <a:pt x="259" y="613"/>
                      </a:lnTo>
                      <a:lnTo>
                        <a:pt x="262" y="613"/>
                      </a:lnTo>
                      <a:lnTo>
                        <a:pt x="262" y="611"/>
                      </a:lnTo>
                      <a:lnTo>
                        <a:pt x="262" y="613"/>
                      </a:lnTo>
                      <a:lnTo>
                        <a:pt x="262" y="614"/>
                      </a:lnTo>
                      <a:lnTo>
                        <a:pt x="264" y="613"/>
                      </a:lnTo>
                      <a:lnTo>
                        <a:pt x="266" y="613"/>
                      </a:lnTo>
                      <a:lnTo>
                        <a:pt x="267" y="613"/>
                      </a:lnTo>
                      <a:lnTo>
                        <a:pt x="267" y="611"/>
                      </a:lnTo>
                      <a:lnTo>
                        <a:pt x="267" y="609"/>
                      </a:lnTo>
                      <a:lnTo>
                        <a:pt x="267" y="608"/>
                      </a:lnTo>
                      <a:lnTo>
                        <a:pt x="269" y="609"/>
                      </a:lnTo>
                      <a:lnTo>
                        <a:pt x="269" y="611"/>
                      </a:lnTo>
                      <a:lnTo>
                        <a:pt x="271" y="611"/>
                      </a:lnTo>
                      <a:lnTo>
                        <a:pt x="272" y="611"/>
                      </a:lnTo>
                      <a:lnTo>
                        <a:pt x="272" y="613"/>
                      </a:lnTo>
                      <a:lnTo>
                        <a:pt x="272" y="611"/>
                      </a:lnTo>
                      <a:lnTo>
                        <a:pt x="274" y="609"/>
                      </a:lnTo>
                      <a:lnTo>
                        <a:pt x="276" y="609"/>
                      </a:lnTo>
                      <a:lnTo>
                        <a:pt x="276" y="608"/>
                      </a:lnTo>
                      <a:lnTo>
                        <a:pt x="276" y="606"/>
                      </a:lnTo>
                      <a:lnTo>
                        <a:pt x="277" y="606"/>
                      </a:lnTo>
                      <a:lnTo>
                        <a:pt x="279" y="606"/>
                      </a:lnTo>
                      <a:lnTo>
                        <a:pt x="277" y="605"/>
                      </a:lnTo>
                      <a:lnTo>
                        <a:pt x="279" y="605"/>
                      </a:lnTo>
                      <a:lnTo>
                        <a:pt x="281" y="603"/>
                      </a:lnTo>
                      <a:lnTo>
                        <a:pt x="281" y="601"/>
                      </a:lnTo>
                      <a:lnTo>
                        <a:pt x="279" y="601"/>
                      </a:lnTo>
                      <a:lnTo>
                        <a:pt x="279" y="600"/>
                      </a:lnTo>
                      <a:lnTo>
                        <a:pt x="281" y="600"/>
                      </a:lnTo>
                      <a:lnTo>
                        <a:pt x="282" y="600"/>
                      </a:lnTo>
                      <a:lnTo>
                        <a:pt x="284" y="598"/>
                      </a:lnTo>
                      <a:lnTo>
                        <a:pt x="282" y="596"/>
                      </a:lnTo>
                      <a:lnTo>
                        <a:pt x="284" y="596"/>
                      </a:lnTo>
                      <a:lnTo>
                        <a:pt x="284" y="595"/>
                      </a:lnTo>
                      <a:lnTo>
                        <a:pt x="286" y="593"/>
                      </a:lnTo>
                      <a:lnTo>
                        <a:pt x="288" y="595"/>
                      </a:lnTo>
                      <a:lnTo>
                        <a:pt x="288" y="591"/>
                      </a:lnTo>
                      <a:lnTo>
                        <a:pt x="289" y="591"/>
                      </a:lnTo>
                      <a:lnTo>
                        <a:pt x="291" y="591"/>
                      </a:lnTo>
                      <a:lnTo>
                        <a:pt x="293" y="593"/>
                      </a:lnTo>
                      <a:lnTo>
                        <a:pt x="294" y="595"/>
                      </a:lnTo>
                      <a:lnTo>
                        <a:pt x="296" y="595"/>
                      </a:lnTo>
                      <a:lnTo>
                        <a:pt x="298" y="595"/>
                      </a:lnTo>
                      <a:lnTo>
                        <a:pt x="298" y="591"/>
                      </a:lnTo>
                      <a:lnTo>
                        <a:pt x="298" y="590"/>
                      </a:lnTo>
                      <a:lnTo>
                        <a:pt x="299" y="590"/>
                      </a:lnTo>
                      <a:lnTo>
                        <a:pt x="299" y="591"/>
                      </a:lnTo>
                      <a:lnTo>
                        <a:pt x="299" y="590"/>
                      </a:lnTo>
                      <a:lnTo>
                        <a:pt x="299" y="588"/>
                      </a:lnTo>
                      <a:lnTo>
                        <a:pt x="301" y="588"/>
                      </a:lnTo>
                      <a:lnTo>
                        <a:pt x="303" y="590"/>
                      </a:lnTo>
                      <a:lnTo>
                        <a:pt x="301" y="591"/>
                      </a:lnTo>
                      <a:lnTo>
                        <a:pt x="301" y="593"/>
                      </a:lnTo>
                      <a:lnTo>
                        <a:pt x="301" y="595"/>
                      </a:lnTo>
                      <a:lnTo>
                        <a:pt x="303" y="595"/>
                      </a:lnTo>
                      <a:lnTo>
                        <a:pt x="304" y="595"/>
                      </a:lnTo>
                      <a:lnTo>
                        <a:pt x="306" y="593"/>
                      </a:lnTo>
                      <a:lnTo>
                        <a:pt x="308" y="593"/>
                      </a:lnTo>
                      <a:lnTo>
                        <a:pt x="308" y="591"/>
                      </a:lnTo>
                      <a:lnTo>
                        <a:pt x="309" y="591"/>
                      </a:lnTo>
                      <a:lnTo>
                        <a:pt x="309" y="590"/>
                      </a:lnTo>
                      <a:lnTo>
                        <a:pt x="311" y="590"/>
                      </a:lnTo>
                      <a:lnTo>
                        <a:pt x="313" y="590"/>
                      </a:lnTo>
                      <a:lnTo>
                        <a:pt x="313" y="591"/>
                      </a:lnTo>
                      <a:lnTo>
                        <a:pt x="313" y="593"/>
                      </a:lnTo>
                      <a:lnTo>
                        <a:pt x="313" y="595"/>
                      </a:lnTo>
                      <a:lnTo>
                        <a:pt x="315" y="595"/>
                      </a:lnTo>
                      <a:lnTo>
                        <a:pt x="315" y="591"/>
                      </a:lnTo>
                      <a:lnTo>
                        <a:pt x="316" y="591"/>
                      </a:lnTo>
                      <a:lnTo>
                        <a:pt x="316" y="593"/>
                      </a:lnTo>
                      <a:lnTo>
                        <a:pt x="318" y="593"/>
                      </a:lnTo>
                      <a:lnTo>
                        <a:pt x="318" y="591"/>
                      </a:lnTo>
                      <a:lnTo>
                        <a:pt x="320" y="591"/>
                      </a:lnTo>
                      <a:lnTo>
                        <a:pt x="320" y="590"/>
                      </a:lnTo>
                      <a:lnTo>
                        <a:pt x="321" y="590"/>
                      </a:lnTo>
                      <a:lnTo>
                        <a:pt x="325" y="590"/>
                      </a:lnTo>
                      <a:lnTo>
                        <a:pt x="326" y="590"/>
                      </a:lnTo>
                      <a:lnTo>
                        <a:pt x="326" y="591"/>
                      </a:lnTo>
                      <a:lnTo>
                        <a:pt x="328" y="593"/>
                      </a:lnTo>
                      <a:lnTo>
                        <a:pt x="330" y="595"/>
                      </a:lnTo>
                      <a:lnTo>
                        <a:pt x="330" y="593"/>
                      </a:lnTo>
                      <a:lnTo>
                        <a:pt x="330" y="591"/>
                      </a:lnTo>
                      <a:lnTo>
                        <a:pt x="331" y="590"/>
                      </a:lnTo>
                      <a:lnTo>
                        <a:pt x="331" y="591"/>
                      </a:lnTo>
                      <a:lnTo>
                        <a:pt x="333" y="591"/>
                      </a:lnTo>
                      <a:lnTo>
                        <a:pt x="335" y="593"/>
                      </a:lnTo>
                      <a:lnTo>
                        <a:pt x="333" y="595"/>
                      </a:lnTo>
                      <a:lnTo>
                        <a:pt x="335" y="598"/>
                      </a:lnTo>
                      <a:lnTo>
                        <a:pt x="335" y="600"/>
                      </a:lnTo>
                      <a:lnTo>
                        <a:pt x="333" y="600"/>
                      </a:lnTo>
                      <a:lnTo>
                        <a:pt x="331" y="600"/>
                      </a:lnTo>
                      <a:lnTo>
                        <a:pt x="331" y="601"/>
                      </a:lnTo>
                      <a:lnTo>
                        <a:pt x="333" y="601"/>
                      </a:lnTo>
                      <a:lnTo>
                        <a:pt x="333" y="603"/>
                      </a:lnTo>
                      <a:lnTo>
                        <a:pt x="335" y="603"/>
                      </a:lnTo>
                      <a:lnTo>
                        <a:pt x="333" y="603"/>
                      </a:lnTo>
                      <a:lnTo>
                        <a:pt x="335" y="605"/>
                      </a:lnTo>
                      <a:lnTo>
                        <a:pt x="338" y="603"/>
                      </a:lnTo>
                      <a:lnTo>
                        <a:pt x="338" y="605"/>
                      </a:lnTo>
                      <a:lnTo>
                        <a:pt x="337" y="605"/>
                      </a:lnTo>
                      <a:lnTo>
                        <a:pt x="337" y="606"/>
                      </a:lnTo>
                      <a:lnTo>
                        <a:pt x="338" y="606"/>
                      </a:lnTo>
                      <a:lnTo>
                        <a:pt x="340" y="606"/>
                      </a:lnTo>
                      <a:lnTo>
                        <a:pt x="342" y="606"/>
                      </a:lnTo>
                      <a:lnTo>
                        <a:pt x="342" y="608"/>
                      </a:lnTo>
                      <a:lnTo>
                        <a:pt x="342" y="609"/>
                      </a:lnTo>
                      <a:lnTo>
                        <a:pt x="343" y="611"/>
                      </a:lnTo>
                      <a:lnTo>
                        <a:pt x="345" y="609"/>
                      </a:lnTo>
                      <a:lnTo>
                        <a:pt x="345" y="608"/>
                      </a:lnTo>
                      <a:lnTo>
                        <a:pt x="347" y="608"/>
                      </a:lnTo>
                      <a:lnTo>
                        <a:pt x="347" y="606"/>
                      </a:lnTo>
                      <a:lnTo>
                        <a:pt x="345" y="606"/>
                      </a:lnTo>
                      <a:lnTo>
                        <a:pt x="347" y="605"/>
                      </a:lnTo>
                      <a:lnTo>
                        <a:pt x="347" y="603"/>
                      </a:lnTo>
                      <a:lnTo>
                        <a:pt x="348" y="603"/>
                      </a:lnTo>
                      <a:lnTo>
                        <a:pt x="350" y="605"/>
                      </a:lnTo>
                      <a:lnTo>
                        <a:pt x="350" y="603"/>
                      </a:lnTo>
                      <a:lnTo>
                        <a:pt x="352" y="603"/>
                      </a:lnTo>
                      <a:lnTo>
                        <a:pt x="352" y="601"/>
                      </a:lnTo>
                      <a:lnTo>
                        <a:pt x="352" y="603"/>
                      </a:lnTo>
                      <a:lnTo>
                        <a:pt x="352" y="605"/>
                      </a:lnTo>
                      <a:lnTo>
                        <a:pt x="353" y="603"/>
                      </a:lnTo>
                      <a:lnTo>
                        <a:pt x="355" y="605"/>
                      </a:lnTo>
                      <a:lnTo>
                        <a:pt x="353" y="605"/>
                      </a:lnTo>
                      <a:lnTo>
                        <a:pt x="353" y="606"/>
                      </a:lnTo>
                      <a:lnTo>
                        <a:pt x="355" y="608"/>
                      </a:lnTo>
                      <a:lnTo>
                        <a:pt x="357" y="608"/>
                      </a:lnTo>
                      <a:lnTo>
                        <a:pt x="357" y="609"/>
                      </a:lnTo>
                      <a:lnTo>
                        <a:pt x="358" y="609"/>
                      </a:lnTo>
                      <a:lnTo>
                        <a:pt x="360" y="609"/>
                      </a:lnTo>
                      <a:lnTo>
                        <a:pt x="360" y="608"/>
                      </a:lnTo>
                      <a:lnTo>
                        <a:pt x="362" y="608"/>
                      </a:lnTo>
                      <a:lnTo>
                        <a:pt x="364" y="606"/>
                      </a:lnTo>
                      <a:lnTo>
                        <a:pt x="365" y="605"/>
                      </a:lnTo>
                      <a:lnTo>
                        <a:pt x="365" y="603"/>
                      </a:lnTo>
                      <a:lnTo>
                        <a:pt x="365" y="601"/>
                      </a:lnTo>
                      <a:lnTo>
                        <a:pt x="367" y="598"/>
                      </a:lnTo>
                      <a:lnTo>
                        <a:pt x="367" y="596"/>
                      </a:lnTo>
                      <a:lnTo>
                        <a:pt x="369" y="596"/>
                      </a:lnTo>
                      <a:lnTo>
                        <a:pt x="372" y="577"/>
                      </a:lnTo>
                      <a:lnTo>
                        <a:pt x="377" y="549"/>
                      </a:lnTo>
                      <a:lnTo>
                        <a:pt x="389" y="485"/>
                      </a:lnTo>
                      <a:lnTo>
                        <a:pt x="399" y="434"/>
                      </a:lnTo>
                      <a:lnTo>
                        <a:pt x="406" y="393"/>
                      </a:lnTo>
                      <a:lnTo>
                        <a:pt x="414" y="350"/>
                      </a:lnTo>
                      <a:lnTo>
                        <a:pt x="414" y="348"/>
                      </a:lnTo>
                      <a:lnTo>
                        <a:pt x="413" y="347"/>
                      </a:lnTo>
                      <a:lnTo>
                        <a:pt x="413" y="345"/>
                      </a:lnTo>
                      <a:lnTo>
                        <a:pt x="414" y="345"/>
                      </a:lnTo>
                      <a:lnTo>
                        <a:pt x="414" y="343"/>
                      </a:lnTo>
                      <a:lnTo>
                        <a:pt x="416" y="342"/>
                      </a:lnTo>
                      <a:lnTo>
                        <a:pt x="416" y="339"/>
                      </a:lnTo>
                      <a:lnTo>
                        <a:pt x="416" y="337"/>
                      </a:lnTo>
                      <a:lnTo>
                        <a:pt x="416" y="335"/>
                      </a:lnTo>
                      <a:lnTo>
                        <a:pt x="418" y="335"/>
                      </a:lnTo>
                      <a:lnTo>
                        <a:pt x="419" y="334"/>
                      </a:lnTo>
                      <a:lnTo>
                        <a:pt x="418" y="330"/>
                      </a:lnTo>
                      <a:lnTo>
                        <a:pt x="418" y="327"/>
                      </a:lnTo>
                      <a:lnTo>
                        <a:pt x="418" y="325"/>
                      </a:lnTo>
                      <a:lnTo>
                        <a:pt x="416" y="324"/>
                      </a:lnTo>
                      <a:lnTo>
                        <a:pt x="416" y="322"/>
                      </a:lnTo>
                      <a:lnTo>
                        <a:pt x="416" y="320"/>
                      </a:lnTo>
                      <a:lnTo>
                        <a:pt x="418" y="319"/>
                      </a:lnTo>
                      <a:lnTo>
                        <a:pt x="418" y="317"/>
                      </a:lnTo>
                      <a:lnTo>
                        <a:pt x="418" y="316"/>
                      </a:lnTo>
                      <a:lnTo>
                        <a:pt x="418" y="314"/>
                      </a:lnTo>
                      <a:lnTo>
                        <a:pt x="419" y="314"/>
                      </a:lnTo>
                      <a:lnTo>
                        <a:pt x="419" y="312"/>
                      </a:lnTo>
                      <a:lnTo>
                        <a:pt x="419" y="311"/>
                      </a:lnTo>
                      <a:lnTo>
                        <a:pt x="416" y="307"/>
                      </a:lnTo>
                      <a:lnTo>
                        <a:pt x="416" y="306"/>
                      </a:lnTo>
                      <a:lnTo>
                        <a:pt x="416" y="304"/>
                      </a:lnTo>
                      <a:lnTo>
                        <a:pt x="414" y="304"/>
                      </a:lnTo>
                      <a:lnTo>
                        <a:pt x="414" y="302"/>
                      </a:lnTo>
                      <a:lnTo>
                        <a:pt x="416" y="302"/>
                      </a:lnTo>
                      <a:lnTo>
                        <a:pt x="416" y="301"/>
                      </a:lnTo>
                      <a:lnTo>
                        <a:pt x="414" y="299"/>
                      </a:lnTo>
                      <a:lnTo>
                        <a:pt x="414" y="301"/>
                      </a:lnTo>
                      <a:lnTo>
                        <a:pt x="413" y="299"/>
                      </a:lnTo>
                      <a:lnTo>
                        <a:pt x="413" y="297"/>
                      </a:lnTo>
                      <a:lnTo>
                        <a:pt x="413" y="296"/>
                      </a:lnTo>
                      <a:lnTo>
                        <a:pt x="411" y="296"/>
                      </a:lnTo>
                      <a:lnTo>
                        <a:pt x="409" y="296"/>
                      </a:lnTo>
                      <a:lnTo>
                        <a:pt x="409" y="294"/>
                      </a:lnTo>
                      <a:lnTo>
                        <a:pt x="407" y="294"/>
                      </a:lnTo>
                      <a:lnTo>
                        <a:pt x="406" y="293"/>
                      </a:lnTo>
                      <a:lnTo>
                        <a:pt x="407" y="289"/>
                      </a:lnTo>
                      <a:lnTo>
                        <a:pt x="406" y="289"/>
                      </a:lnTo>
                      <a:lnTo>
                        <a:pt x="406" y="288"/>
                      </a:lnTo>
                      <a:lnTo>
                        <a:pt x="404" y="288"/>
                      </a:lnTo>
                      <a:lnTo>
                        <a:pt x="404" y="286"/>
                      </a:lnTo>
                      <a:lnTo>
                        <a:pt x="402" y="286"/>
                      </a:lnTo>
                      <a:lnTo>
                        <a:pt x="402" y="284"/>
                      </a:lnTo>
                      <a:lnTo>
                        <a:pt x="404" y="284"/>
                      </a:lnTo>
                      <a:lnTo>
                        <a:pt x="402" y="283"/>
                      </a:lnTo>
                      <a:lnTo>
                        <a:pt x="401" y="283"/>
                      </a:lnTo>
                      <a:lnTo>
                        <a:pt x="401" y="281"/>
                      </a:lnTo>
                      <a:lnTo>
                        <a:pt x="399" y="279"/>
                      </a:lnTo>
                      <a:lnTo>
                        <a:pt x="399" y="278"/>
                      </a:lnTo>
                      <a:lnTo>
                        <a:pt x="397" y="278"/>
                      </a:lnTo>
                      <a:lnTo>
                        <a:pt x="397" y="276"/>
                      </a:lnTo>
                      <a:lnTo>
                        <a:pt x="399" y="274"/>
                      </a:lnTo>
                      <a:lnTo>
                        <a:pt x="399" y="273"/>
                      </a:lnTo>
                      <a:lnTo>
                        <a:pt x="401" y="271"/>
                      </a:lnTo>
                      <a:lnTo>
                        <a:pt x="401" y="270"/>
                      </a:lnTo>
                      <a:lnTo>
                        <a:pt x="402" y="268"/>
                      </a:lnTo>
                      <a:lnTo>
                        <a:pt x="402" y="266"/>
                      </a:lnTo>
                      <a:lnTo>
                        <a:pt x="402" y="265"/>
                      </a:lnTo>
                      <a:lnTo>
                        <a:pt x="401" y="265"/>
                      </a:lnTo>
                      <a:lnTo>
                        <a:pt x="399" y="263"/>
                      </a:lnTo>
                      <a:lnTo>
                        <a:pt x="401" y="261"/>
                      </a:lnTo>
                      <a:lnTo>
                        <a:pt x="401" y="260"/>
                      </a:lnTo>
                      <a:lnTo>
                        <a:pt x="399" y="260"/>
                      </a:lnTo>
                      <a:lnTo>
                        <a:pt x="399" y="258"/>
                      </a:lnTo>
                      <a:lnTo>
                        <a:pt x="399" y="256"/>
                      </a:lnTo>
                      <a:lnTo>
                        <a:pt x="399" y="255"/>
                      </a:lnTo>
                      <a:lnTo>
                        <a:pt x="397" y="255"/>
                      </a:lnTo>
                      <a:lnTo>
                        <a:pt x="396" y="255"/>
                      </a:lnTo>
                      <a:lnTo>
                        <a:pt x="396" y="253"/>
                      </a:lnTo>
                      <a:lnTo>
                        <a:pt x="394" y="253"/>
                      </a:lnTo>
                      <a:lnTo>
                        <a:pt x="394" y="251"/>
                      </a:lnTo>
                      <a:lnTo>
                        <a:pt x="392" y="251"/>
                      </a:lnTo>
                      <a:lnTo>
                        <a:pt x="391" y="250"/>
                      </a:lnTo>
                      <a:lnTo>
                        <a:pt x="389" y="250"/>
                      </a:lnTo>
                      <a:lnTo>
                        <a:pt x="387" y="250"/>
                      </a:lnTo>
                      <a:lnTo>
                        <a:pt x="387" y="248"/>
                      </a:lnTo>
                      <a:lnTo>
                        <a:pt x="385" y="248"/>
                      </a:lnTo>
                      <a:lnTo>
                        <a:pt x="385" y="247"/>
                      </a:lnTo>
                      <a:lnTo>
                        <a:pt x="384" y="247"/>
                      </a:lnTo>
                      <a:lnTo>
                        <a:pt x="384" y="245"/>
                      </a:lnTo>
                      <a:lnTo>
                        <a:pt x="382" y="245"/>
                      </a:lnTo>
                      <a:lnTo>
                        <a:pt x="380" y="245"/>
                      </a:lnTo>
                      <a:lnTo>
                        <a:pt x="380" y="243"/>
                      </a:lnTo>
                      <a:lnTo>
                        <a:pt x="379" y="243"/>
                      </a:lnTo>
                      <a:lnTo>
                        <a:pt x="377" y="242"/>
                      </a:lnTo>
                      <a:lnTo>
                        <a:pt x="377" y="240"/>
                      </a:lnTo>
                      <a:lnTo>
                        <a:pt x="375" y="240"/>
                      </a:lnTo>
                      <a:lnTo>
                        <a:pt x="374" y="240"/>
                      </a:lnTo>
                      <a:lnTo>
                        <a:pt x="372" y="240"/>
                      </a:lnTo>
                      <a:lnTo>
                        <a:pt x="370" y="240"/>
                      </a:lnTo>
                      <a:lnTo>
                        <a:pt x="370" y="238"/>
                      </a:lnTo>
                      <a:lnTo>
                        <a:pt x="369" y="238"/>
                      </a:lnTo>
                      <a:lnTo>
                        <a:pt x="369" y="237"/>
                      </a:lnTo>
                      <a:lnTo>
                        <a:pt x="367" y="237"/>
                      </a:lnTo>
                      <a:lnTo>
                        <a:pt x="367" y="235"/>
                      </a:lnTo>
                      <a:lnTo>
                        <a:pt x="365" y="235"/>
                      </a:lnTo>
                      <a:lnTo>
                        <a:pt x="364" y="233"/>
                      </a:lnTo>
                      <a:lnTo>
                        <a:pt x="364" y="232"/>
                      </a:lnTo>
                      <a:lnTo>
                        <a:pt x="362" y="232"/>
                      </a:lnTo>
                      <a:lnTo>
                        <a:pt x="362" y="230"/>
                      </a:lnTo>
                      <a:lnTo>
                        <a:pt x="362" y="228"/>
                      </a:lnTo>
                      <a:lnTo>
                        <a:pt x="360" y="228"/>
                      </a:lnTo>
                      <a:lnTo>
                        <a:pt x="358" y="227"/>
                      </a:lnTo>
                      <a:lnTo>
                        <a:pt x="357" y="227"/>
                      </a:lnTo>
                      <a:lnTo>
                        <a:pt x="357" y="225"/>
                      </a:lnTo>
                      <a:lnTo>
                        <a:pt x="357" y="222"/>
                      </a:lnTo>
                      <a:lnTo>
                        <a:pt x="358" y="219"/>
                      </a:lnTo>
                      <a:lnTo>
                        <a:pt x="357" y="217"/>
                      </a:lnTo>
                      <a:lnTo>
                        <a:pt x="357" y="210"/>
                      </a:lnTo>
                      <a:lnTo>
                        <a:pt x="357" y="202"/>
                      </a:lnTo>
                      <a:lnTo>
                        <a:pt x="358" y="156"/>
                      </a:lnTo>
                      <a:lnTo>
                        <a:pt x="360" y="158"/>
                      </a:lnTo>
                      <a:lnTo>
                        <a:pt x="362" y="158"/>
                      </a:lnTo>
                      <a:lnTo>
                        <a:pt x="362" y="156"/>
                      </a:lnTo>
                      <a:lnTo>
                        <a:pt x="364" y="155"/>
                      </a:lnTo>
                      <a:lnTo>
                        <a:pt x="365" y="155"/>
                      </a:lnTo>
                      <a:lnTo>
                        <a:pt x="365" y="156"/>
                      </a:lnTo>
                      <a:lnTo>
                        <a:pt x="367" y="156"/>
                      </a:lnTo>
                      <a:lnTo>
                        <a:pt x="369" y="156"/>
                      </a:lnTo>
                      <a:lnTo>
                        <a:pt x="370" y="155"/>
                      </a:lnTo>
                      <a:lnTo>
                        <a:pt x="372" y="155"/>
                      </a:lnTo>
                      <a:lnTo>
                        <a:pt x="374" y="155"/>
                      </a:lnTo>
                      <a:lnTo>
                        <a:pt x="375" y="155"/>
                      </a:lnTo>
                      <a:lnTo>
                        <a:pt x="377" y="155"/>
                      </a:lnTo>
                      <a:lnTo>
                        <a:pt x="377" y="153"/>
                      </a:lnTo>
                      <a:lnTo>
                        <a:pt x="379" y="155"/>
                      </a:lnTo>
                      <a:lnTo>
                        <a:pt x="380" y="155"/>
                      </a:lnTo>
                      <a:lnTo>
                        <a:pt x="382" y="155"/>
                      </a:lnTo>
                      <a:lnTo>
                        <a:pt x="382" y="153"/>
                      </a:lnTo>
                      <a:lnTo>
                        <a:pt x="384" y="153"/>
                      </a:lnTo>
                      <a:lnTo>
                        <a:pt x="385" y="151"/>
                      </a:lnTo>
                      <a:lnTo>
                        <a:pt x="387" y="151"/>
                      </a:lnTo>
                      <a:lnTo>
                        <a:pt x="389" y="150"/>
                      </a:lnTo>
                      <a:lnTo>
                        <a:pt x="389" y="148"/>
                      </a:lnTo>
                      <a:lnTo>
                        <a:pt x="391" y="148"/>
                      </a:lnTo>
                      <a:lnTo>
                        <a:pt x="391" y="146"/>
                      </a:lnTo>
                      <a:lnTo>
                        <a:pt x="392" y="146"/>
                      </a:lnTo>
                      <a:lnTo>
                        <a:pt x="394" y="146"/>
                      </a:lnTo>
                      <a:lnTo>
                        <a:pt x="396" y="146"/>
                      </a:lnTo>
                      <a:lnTo>
                        <a:pt x="396" y="150"/>
                      </a:lnTo>
                      <a:lnTo>
                        <a:pt x="397" y="150"/>
                      </a:lnTo>
                      <a:lnTo>
                        <a:pt x="399" y="150"/>
                      </a:lnTo>
                      <a:lnTo>
                        <a:pt x="401" y="150"/>
                      </a:lnTo>
                      <a:lnTo>
                        <a:pt x="401" y="148"/>
                      </a:lnTo>
                      <a:lnTo>
                        <a:pt x="402" y="146"/>
                      </a:lnTo>
                      <a:lnTo>
                        <a:pt x="402" y="145"/>
                      </a:lnTo>
                      <a:lnTo>
                        <a:pt x="406" y="145"/>
                      </a:lnTo>
                      <a:lnTo>
                        <a:pt x="406" y="143"/>
                      </a:lnTo>
                      <a:lnTo>
                        <a:pt x="407" y="141"/>
                      </a:lnTo>
                      <a:lnTo>
                        <a:pt x="407" y="143"/>
                      </a:lnTo>
                      <a:lnTo>
                        <a:pt x="409" y="141"/>
                      </a:lnTo>
                      <a:lnTo>
                        <a:pt x="411" y="140"/>
                      </a:lnTo>
                      <a:lnTo>
                        <a:pt x="413" y="140"/>
                      </a:lnTo>
                      <a:lnTo>
                        <a:pt x="413" y="141"/>
                      </a:lnTo>
                      <a:lnTo>
                        <a:pt x="414" y="141"/>
                      </a:lnTo>
                      <a:lnTo>
                        <a:pt x="416" y="143"/>
                      </a:lnTo>
                      <a:lnTo>
                        <a:pt x="416" y="145"/>
                      </a:lnTo>
                      <a:lnTo>
                        <a:pt x="418" y="145"/>
                      </a:lnTo>
                      <a:lnTo>
                        <a:pt x="418" y="146"/>
                      </a:lnTo>
                      <a:lnTo>
                        <a:pt x="419" y="148"/>
                      </a:lnTo>
                      <a:lnTo>
                        <a:pt x="421" y="150"/>
                      </a:lnTo>
                      <a:lnTo>
                        <a:pt x="423" y="151"/>
                      </a:lnTo>
                      <a:lnTo>
                        <a:pt x="424" y="150"/>
                      </a:lnTo>
                      <a:lnTo>
                        <a:pt x="426" y="150"/>
                      </a:lnTo>
                      <a:lnTo>
                        <a:pt x="428" y="150"/>
                      </a:lnTo>
                      <a:lnTo>
                        <a:pt x="428" y="148"/>
                      </a:lnTo>
                      <a:lnTo>
                        <a:pt x="429" y="148"/>
                      </a:lnTo>
                      <a:lnTo>
                        <a:pt x="429" y="150"/>
                      </a:lnTo>
                      <a:lnTo>
                        <a:pt x="429" y="151"/>
                      </a:lnTo>
                      <a:lnTo>
                        <a:pt x="428" y="153"/>
                      </a:lnTo>
                      <a:lnTo>
                        <a:pt x="429" y="153"/>
                      </a:lnTo>
                      <a:lnTo>
                        <a:pt x="431" y="153"/>
                      </a:lnTo>
                      <a:lnTo>
                        <a:pt x="431" y="151"/>
                      </a:lnTo>
                      <a:lnTo>
                        <a:pt x="433" y="153"/>
                      </a:lnTo>
                      <a:lnTo>
                        <a:pt x="433" y="151"/>
                      </a:lnTo>
                      <a:lnTo>
                        <a:pt x="434" y="153"/>
                      </a:lnTo>
                      <a:lnTo>
                        <a:pt x="436" y="151"/>
                      </a:lnTo>
                      <a:lnTo>
                        <a:pt x="438" y="153"/>
                      </a:lnTo>
                      <a:lnTo>
                        <a:pt x="438" y="151"/>
                      </a:lnTo>
                      <a:lnTo>
                        <a:pt x="438" y="150"/>
                      </a:lnTo>
                      <a:lnTo>
                        <a:pt x="438" y="148"/>
                      </a:lnTo>
                      <a:lnTo>
                        <a:pt x="440" y="148"/>
                      </a:lnTo>
                      <a:lnTo>
                        <a:pt x="441" y="148"/>
                      </a:lnTo>
                      <a:lnTo>
                        <a:pt x="443" y="148"/>
                      </a:lnTo>
                      <a:lnTo>
                        <a:pt x="445" y="148"/>
                      </a:lnTo>
                      <a:lnTo>
                        <a:pt x="445" y="150"/>
                      </a:lnTo>
                      <a:lnTo>
                        <a:pt x="446" y="150"/>
                      </a:lnTo>
                      <a:lnTo>
                        <a:pt x="446" y="148"/>
                      </a:lnTo>
                      <a:lnTo>
                        <a:pt x="445" y="146"/>
                      </a:lnTo>
                      <a:lnTo>
                        <a:pt x="443" y="143"/>
                      </a:lnTo>
                      <a:lnTo>
                        <a:pt x="441" y="143"/>
                      </a:lnTo>
                      <a:lnTo>
                        <a:pt x="441" y="141"/>
                      </a:lnTo>
                      <a:lnTo>
                        <a:pt x="440" y="141"/>
                      </a:lnTo>
                      <a:lnTo>
                        <a:pt x="440" y="140"/>
                      </a:lnTo>
                      <a:lnTo>
                        <a:pt x="440" y="138"/>
                      </a:lnTo>
                      <a:lnTo>
                        <a:pt x="441" y="138"/>
                      </a:lnTo>
                      <a:lnTo>
                        <a:pt x="443" y="138"/>
                      </a:lnTo>
                      <a:lnTo>
                        <a:pt x="443" y="137"/>
                      </a:lnTo>
                      <a:lnTo>
                        <a:pt x="443" y="135"/>
                      </a:lnTo>
                      <a:lnTo>
                        <a:pt x="443" y="133"/>
                      </a:lnTo>
                      <a:lnTo>
                        <a:pt x="441" y="133"/>
                      </a:lnTo>
                      <a:lnTo>
                        <a:pt x="441" y="132"/>
                      </a:lnTo>
                      <a:lnTo>
                        <a:pt x="441" y="130"/>
                      </a:lnTo>
                      <a:lnTo>
                        <a:pt x="443" y="130"/>
                      </a:lnTo>
                      <a:lnTo>
                        <a:pt x="443" y="128"/>
                      </a:lnTo>
                      <a:lnTo>
                        <a:pt x="443" y="127"/>
                      </a:lnTo>
                      <a:lnTo>
                        <a:pt x="441" y="127"/>
                      </a:lnTo>
                      <a:lnTo>
                        <a:pt x="441" y="125"/>
                      </a:lnTo>
                      <a:lnTo>
                        <a:pt x="440" y="125"/>
                      </a:lnTo>
                      <a:lnTo>
                        <a:pt x="440" y="123"/>
                      </a:lnTo>
                      <a:lnTo>
                        <a:pt x="438" y="123"/>
                      </a:lnTo>
                      <a:lnTo>
                        <a:pt x="438" y="122"/>
                      </a:lnTo>
                      <a:lnTo>
                        <a:pt x="440" y="122"/>
                      </a:lnTo>
                      <a:lnTo>
                        <a:pt x="441" y="120"/>
                      </a:lnTo>
                      <a:lnTo>
                        <a:pt x="440" y="120"/>
                      </a:lnTo>
                      <a:lnTo>
                        <a:pt x="440" y="118"/>
                      </a:lnTo>
                      <a:lnTo>
                        <a:pt x="438" y="118"/>
                      </a:lnTo>
                      <a:lnTo>
                        <a:pt x="436" y="118"/>
                      </a:lnTo>
                      <a:lnTo>
                        <a:pt x="436" y="117"/>
                      </a:lnTo>
                      <a:lnTo>
                        <a:pt x="438" y="115"/>
                      </a:lnTo>
                      <a:lnTo>
                        <a:pt x="436" y="114"/>
                      </a:lnTo>
                      <a:lnTo>
                        <a:pt x="434" y="114"/>
                      </a:lnTo>
                      <a:lnTo>
                        <a:pt x="434" y="112"/>
                      </a:lnTo>
                      <a:lnTo>
                        <a:pt x="433" y="112"/>
                      </a:lnTo>
                      <a:lnTo>
                        <a:pt x="433" y="110"/>
                      </a:lnTo>
                      <a:lnTo>
                        <a:pt x="431" y="110"/>
                      </a:lnTo>
                      <a:lnTo>
                        <a:pt x="429" y="110"/>
                      </a:lnTo>
                      <a:lnTo>
                        <a:pt x="428" y="109"/>
                      </a:lnTo>
                      <a:lnTo>
                        <a:pt x="426" y="107"/>
                      </a:lnTo>
                      <a:lnTo>
                        <a:pt x="424" y="107"/>
                      </a:lnTo>
                      <a:lnTo>
                        <a:pt x="423" y="107"/>
                      </a:lnTo>
                      <a:lnTo>
                        <a:pt x="421" y="107"/>
                      </a:lnTo>
                      <a:lnTo>
                        <a:pt x="419" y="109"/>
                      </a:lnTo>
                      <a:lnTo>
                        <a:pt x="418" y="110"/>
                      </a:lnTo>
                      <a:lnTo>
                        <a:pt x="416" y="110"/>
                      </a:lnTo>
                      <a:lnTo>
                        <a:pt x="414" y="109"/>
                      </a:lnTo>
                      <a:lnTo>
                        <a:pt x="416" y="109"/>
                      </a:lnTo>
                      <a:lnTo>
                        <a:pt x="414" y="109"/>
                      </a:lnTo>
                      <a:lnTo>
                        <a:pt x="413" y="109"/>
                      </a:lnTo>
                      <a:lnTo>
                        <a:pt x="411" y="109"/>
                      </a:lnTo>
                      <a:lnTo>
                        <a:pt x="409" y="107"/>
                      </a:lnTo>
                      <a:lnTo>
                        <a:pt x="407" y="109"/>
                      </a:lnTo>
                      <a:lnTo>
                        <a:pt x="406" y="109"/>
                      </a:lnTo>
                      <a:lnTo>
                        <a:pt x="404" y="109"/>
                      </a:lnTo>
                      <a:lnTo>
                        <a:pt x="402" y="109"/>
                      </a:lnTo>
                      <a:lnTo>
                        <a:pt x="401" y="107"/>
                      </a:lnTo>
                      <a:lnTo>
                        <a:pt x="399" y="105"/>
                      </a:lnTo>
                      <a:lnTo>
                        <a:pt x="397" y="107"/>
                      </a:lnTo>
                      <a:lnTo>
                        <a:pt x="396" y="107"/>
                      </a:lnTo>
                      <a:lnTo>
                        <a:pt x="394" y="107"/>
                      </a:lnTo>
                      <a:lnTo>
                        <a:pt x="392" y="107"/>
                      </a:lnTo>
                      <a:lnTo>
                        <a:pt x="392" y="109"/>
                      </a:lnTo>
                      <a:lnTo>
                        <a:pt x="391" y="109"/>
                      </a:lnTo>
                      <a:lnTo>
                        <a:pt x="389" y="109"/>
                      </a:lnTo>
                      <a:lnTo>
                        <a:pt x="389" y="107"/>
                      </a:lnTo>
                      <a:lnTo>
                        <a:pt x="389" y="105"/>
                      </a:lnTo>
                      <a:lnTo>
                        <a:pt x="389" y="104"/>
                      </a:lnTo>
                      <a:lnTo>
                        <a:pt x="389" y="105"/>
                      </a:lnTo>
                      <a:lnTo>
                        <a:pt x="387" y="105"/>
                      </a:lnTo>
                      <a:lnTo>
                        <a:pt x="385" y="105"/>
                      </a:lnTo>
                      <a:lnTo>
                        <a:pt x="384" y="105"/>
                      </a:lnTo>
                      <a:lnTo>
                        <a:pt x="382" y="107"/>
                      </a:lnTo>
                      <a:lnTo>
                        <a:pt x="380" y="107"/>
                      </a:lnTo>
                      <a:lnTo>
                        <a:pt x="380" y="109"/>
                      </a:lnTo>
                      <a:lnTo>
                        <a:pt x="379" y="110"/>
                      </a:lnTo>
                      <a:lnTo>
                        <a:pt x="377" y="109"/>
                      </a:lnTo>
                      <a:lnTo>
                        <a:pt x="377" y="69"/>
                      </a:lnTo>
                      <a:lnTo>
                        <a:pt x="377" y="49"/>
                      </a:lnTo>
                      <a:lnTo>
                        <a:pt x="379" y="49"/>
                      </a:lnTo>
                      <a:lnTo>
                        <a:pt x="377" y="51"/>
                      </a:lnTo>
                      <a:lnTo>
                        <a:pt x="379" y="51"/>
                      </a:lnTo>
                      <a:lnTo>
                        <a:pt x="380" y="51"/>
                      </a:lnTo>
                      <a:lnTo>
                        <a:pt x="382" y="51"/>
                      </a:lnTo>
                      <a:lnTo>
                        <a:pt x="382" y="49"/>
                      </a:lnTo>
                      <a:lnTo>
                        <a:pt x="384" y="49"/>
                      </a:lnTo>
                      <a:lnTo>
                        <a:pt x="385" y="48"/>
                      </a:lnTo>
                      <a:lnTo>
                        <a:pt x="387" y="46"/>
                      </a:lnTo>
                      <a:lnTo>
                        <a:pt x="389" y="48"/>
                      </a:lnTo>
                      <a:lnTo>
                        <a:pt x="389" y="46"/>
                      </a:lnTo>
                      <a:lnTo>
                        <a:pt x="391" y="48"/>
                      </a:lnTo>
                      <a:lnTo>
                        <a:pt x="392" y="46"/>
                      </a:lnTo>
                      <a:lnTo>
                        <a:pt x="392" y="48"/>
                      </a:lnTo>
                      <a:lnTo>
                        <a:pt x="394" y="48"/>
                      </a:lnTo>
                      <a:lnTo>
                        <a:pt x="396" y="48"/>
                      </a:lnTo>
                      <a:lnTo>
                        <a:pt x="397" y="48"/>
                      </a:lnTo>
                      <a:lnTo>
                        <a:pt x="397" y="46"/>
                      </a:lnTo>
                      <a:lnTo>
                        <a:pt x="399" y="45"/>
                      </a:lnTo>
                      <a:lnTo>
                        <a:pt x="401" y="45"/>
                      </a:lnTo>
                      <a:lnTo>
                        <a:pt x="402" y="45"/>
                      </a:lnTo>
                      <a:lnTo>
                        <a:pt x="404" y="43"/>
                      </a:lnTo>
                      <a:lnTo>
                        <a:pt x="407" y="45"/>
                      </a:lnTo>
                      <a:lnTo>
                        <a:pt x="409" y="45"/>
                      </a:lnTo>
                      <a:lnTo>
                        <a:pt x="411" y="45"/>
                      </a:lnTo>
                      <a:lnTo>
                        <a:pt x="411" y="46"/>
                      </a:lnTo>
                      <a:lnTo>
                        <a:pt x="411" y="45"/>
                      </a:lnTo>
                      <a:lnTo>
                        <a:pt x="413" y="46"/>
                      </a:lnTo>
                      <a:lnTo>
                        <a:pt x="414" y="45"/>
                      </a:lnTo>
                      <a:lnTo>
                        <a:pt x="414" y="46"/>
                      </a:lnTo>
                      <a:lnTo>
                        <a:pt x="416" y="46"/>
                      </a:lnTo>
                      <a:lnTo>
                        <a:pt x="418" y="46"/>
                      </a:lnTo>
                      <a:lnTo>
                        <a:pt x="419" y="48"/>
                      </a:lnTo>
                      <a:lnTo>
                        <a:pt x="419" y="49"/>
                      </a:lnTo>
                      <a:lnTo>
                        <a:pt x="419" y="48"/>
                      </a:lnTo>
                      <a:lnTo>
                        <a:pt x="440" y="48"/>
                      </a:lnTo>
                      <a:lnTo>
                        <a:pt x="456" y="48"/>
                      </a:lnTo>
                      <a:lnTo>
                        <a:pt x="536" y="48"/>
                      </a:lnTo>
                      <a:lnTo>
                        <a:pt x="536" y="46"/>
                      </a:lnTo>
                      <a:lnTo>
                        <a:pt x="534" y="46"/>
                      </a:lnTo>
                      <a:lnTo>
                        <a:pt x="536" y="45"/>
                      </a:lnTo>
                      <a:lnTo>
                        <a:pt x="534" y="45"/>
                      </a:lnTo>
                      <a:lnTo>
                        <a:pt x="534" y="43"/>
                      </a:lnTo>
                      <a:lnTo>
                        <a:pt x="532" y="43"/>
                      </a:lnTo>
                      <a:lnTo>
                        <a:pt x="531" y="45"/>
                      </a:lnTo>
                      <a:lnTo>
                        <a:pt x="529" y="45"/>
                      </a:lnTo>
                      <a:lnTo>
                        <a:pt x="527" y="43"/>
                      </a:lnTo>
                      <a:lnTo>
                        <a:pt x="529" y="41"/>
                      </a:lnTo>
                      <a:lnTo>
                        <a:pt x="529" y="40"/>
                      </a:lnTo>
                      <a:lnTo>
                        <a:pt x="526" y="40"/>
                      </a:lnTo>
                      <a:lnTo>
                        <a:pt x="526" y="38"/>
                      </a:lnTo>
                      <a:lnTo>
                        <a:pt x="526" y="36"/>
                      </a:lnTo>
                      <a:lnTo>
                        <a:pt x="527" y="35"/>
                      </a:lnTo>
                      <a:lnTo>
                        <a:pt x="529" y="30"/>
                      </a:lnTo>
                      <a:lnTo>
                        <a:pt x="531" y="28"/>
                      </a:lnTo>
                      <a:lnTo>
                        <a:pt x="532" y="26"/>
                      </a:lnTo>
                      <a:lnTo>
                        <a:pt x="534" y="26"/>
                      </a:lnTo>
                      <a:lnTo>
                        <a:pt x="534" y="25"/>
                      </a:lnTo>
                      <a:lnTo>
                        <a:pt x="536" y="25"/>
                      </a:lnTo>
                      <a:lnTo>
                        <a:pt x="538" y="25"/>
                      </a:lnTo>
                      <a:lnTo>
                        <a:pt x="539" y="25"/>
                      </a:lnTo>
                      <a:lnTo>
                        <a:pt x="539" y="26"/>
                      </a:lnTo>
                      <a:lnTo>
                        <a:pt x="541" y="28"/>
                      </a:lnTo>
                      <a:lnTo>
                        <a:pt x="541" y="30"/>
                      </a:lnTo>
                      <a:lnTo>
                        <a:pt x="543" y="31"/>
                      </a:lnTo>
                      <a:lnTo>
                        <a:pt x="543" y="33"/>
                      </a:lnTo>
                      <a:lnTo>
                        <a:pt x="544" y="33"/>
                      </a:lnTo>
                      <a:lnTo>
                        <a:pt x="546" y="33"/>
                      </a:lnTo>
                      <a:lnTo>
                        <a:pt x="548" y="33"/>
                      </a:lnTo>
                      <a:lnTo>
                        <a:pt x="549" y="35"/>
                      </a:lnTo>
                      <a:lnTo>
                        <a:pt x="551" y="36"/>
                      </a:lnTo>
                      <a:lnTo>
                        <a:pt x="554" y="40"/>
                      </a:lnTo>
                      <a:lnTo>
                        <a:pt x="558" y="40"/>
                      </a:lnTo>
                      <a:lnTo>
                        <a:pt x="558" y="38"/>
                      </a:lnTo>
                      <a:lnTo>
                        <a:pt x="559" y="38"/>
                      </a:lnTo>
                      <a:lnTo>
                        <a:pt x="559" y="36"/>
                      </a:lnTo>
                      <a:lnTo>
                        <a:pt x="559" y="35"/>
                      </a:lnTo>
                      <a:lnTo>
                        <a:pt x="559" y="33"/>
                      </a:lnTo>
                      <a:lnTo>
                        <a:pt x="561" y="33"/>
                      </a:lnTo>
                      <a:lnTo>
                        <a:pt x="563" y="33"/>
                      </a:lnTo>
                      <a:lnTo>
                        <a:pt x="565" y="31"/>
                      </a:lnTo>
                      <a:lnTo>
                        <a:pt x="566" y="30"/>
                      </a:lnTo>
                      <a:lnTo>
                        <a:pt x="566" y="28"/>
                      </a:lnTo>
                      <a:lnTo>
                        <a:pt x="568" y="28"/>
                      </a:lnTo>
                      <a:lnTo>
                        <a:pt x="568" y="26"/>
                      </a:lnTo>
                      <a:lnTo>
                        <a:pt x="570" y="25"/>
                      </a:lnTo>
                      <a:lnTo>
                        <a:pt x="571" y="23"/>
                      </a:lnTo>
                      <a:lnTo>
                        <a:pt x="573" y="20"/>
                      </a:lnTo>
                      <a:lnTo>
                        <a:pt x="575" y="20"/>
                      </a:lnTo>
                      <a:lnTo>
                        <a:pt x="578" y="20"/>
                      </a:lnTo>
                      <a:lnTo>
                        <a:pt x="580" y="22"/>
                      </a:lnTo>
                      <a:lnTo>
                        <a:pt x="583" y="22"/>
                      </a:lnTo>
                      <a:lnTo>
                        <a:pt x="585" y="22"/>
                      </a:lnTo>
                      <a:lnTo>
                        <a:pt x="588" y="22"/>
                      </a:lnTo>
                      <a:lnTo>
                        <a:pt x="588" y="20"/>
                      </a:lnTo>
                      <a:lnTo>
                        <a:pt x="590" y="18"/>
                      </a:lnTo>
                      <a:lnTo>
                        <a:pt x="590" y="15"/>
                      </a:lnTo>
                      <a:lnTo>
                        <a:pt x="592" y="15"/>
                      </a:lnTo>
                      <a:lnTo>
                        <a:pt x="593" y="13"/>
                      </a:lnTo>
                      <a:lnTo>
                        <a:pt x="593" y="12"/>
                      </a:lnTo>
                      <a:lnTo>
                        <a:pt x="593" y="10"/>
                      </a:lnTo>
                      <a:lnTo>
                        <a:pt x="595" y="8"/>
                      </a:lnTo>
                      <a:lnTo>
                        <a:pt x="597" y="8"/>
                      </a:lnTo>
                      <a:lnTo>
                        <a:pt x="598" y="7"/>
                      </a:lnTo>
                      <a:lnTo>
                        <a:pt x="600" y="7"/>
                      </a:lnTo>
                      <a:lnTo>
                        <a:pt x="602" y="5"/>
                      </a:lnTo>
                      <a:lnTo>
                        <a:pt x="603" y="5"/>
                      </a:lnTo>
                      <a:lnTo>
                        <a:pt x="605" y="3"/>
                      </a:lnTo>
                      <a:lnTo>
                        <a:pt x="605" y="2"/>
                      </a:lnTo>
                      <a:lnTo>
                        <a:pt x="607" y="0"/>
                      </a:lnTo>
                      <a:lnTo>
                        <a:pt x="610" y="2"/>
                      </a:lnTo>
                      <a:lnTo>
                        <a:pt x="612" y="2"/>
                      </a:lnTo>
                      <a:lnTo>
                        <a:pt x="614" y="5"/>
                      </a:lnTo>
                      <a:lnTo>
                        <a:pt x="614" y="7"/>
                      </a:lnTo>
                      <a:lnTo>
                        <a:pt x="614" y="10"/>
                      </a:lnTo>
                      <a:lnTo>
                        <a:pt x="614" y="13"/>
                      </a:lnTo>
                      <a:lnTo>
                        <a:pt x="614" y="15"/>
                      </a:lnTo>
                      <a:lnTo>
                        <a:pt x="615" y="17"/>
                      </a:lnTo>
                      <a:lnTo>
                        <a:pt x="615" y="18"/>
                      </a:lnTo>
                      <a:lnTo>
                        <a:pt x="615" y="22"/>
                      </a:lnTo>
                      <a:lnTo>
                        <a:pt x="617" y="23"/>
                      </a:lnTo>
                      <a:lnTo>
                        <a:pt x="617" y="26"/>
                      </a:lnTo>
                      <a:lnTo>
                        <a:pt x="619" y="30"/>
                      </a:lnTo>
                      <a:lnTo>
                        <a:pt x="619" y="33"/>
                      </a:lnTo>
                      <a:lnTo>
                        <a:pt x="620" y="35"/>
                      </a:lnTo>
                      <a:lnTo>
                        <a:pt x="622" y="36"/>
                      </a:lnTo>
                      <a:lnTo>
                        <a:pt x="624" y="36"/>
                      </a:lnTo>
                      <a:lnTo>
                        <a:pt x="625" y="36"/>
                      </a:lnTo>
                      <a:lnTo>
                        <a:pt x="627" y="36"/>
                      </a:lnTo>
                      <a:lnTo>
                        <a:pt x="630" y="36"/>
                      </a:lnTo>
                      <a:lnTo>
                        <a:pt x="632" y="38"/>
                      </a:lnTo>
                      <a:lnTo>
                        <a:pt x="634" y="40"/>
                      </a:lnTo>
                      <a:lnTo>
                        <a:pt x="634" y="43"/>
                      </a:lnTo>
                      <a:lnTo>
                        <a:pt x="635" y="45"/>
                      </a:lnTo>
                      <a:lnTo>
                        <a:pt x="637" y="48"/>
                      </a:lnTo>
                      <a:lnTo>
                        <a:pt x="637" y="51"/>
                      </a:lnTo>
                      <a:lnTo>
                        <a:pt x="637" y="53"/>
                      </a:lnTo>
                      <a:lnTo>
                        <a:pt x="639" y="54"/>
                      </a:lnTo>
                      <a:lnTo>
                        <a:pt x="639" y="58"/>
                      </a:lnTo>
                      <a:lnTo>
                        <a:pt x="639" y="59"/>
                      </a:lnTo>
                      <a:lnTo>
                        <a:pt x="639" y="61"/>
                      </a:lnTo>
                      <a:lnTo>
                        <a:pt x="639" y="66"/>
                      </a:lnTo>
                      <a:lnTo>
                        <a:pt x="639" y="69"/>
                      </a:lnTo>
                      <a:lnTo>
                        <a:pt x="639" y="72"/>
                      </a:lnTo>
                      <a:lnTo>
                        <a:pt x="639" y="76"/>
                      </a:lnTo>
                      <a:lnTo>
                        <a:pt x="639" y="79"/>
                      </a:lnTo>
                      <a:lnTo>
                        <a:pt x="639" y="82"/>
                      </a:lnTo>
                      <a:lnTo>
                        <a:pt x="637" y="86"/>
                      </a:lnTo>
                      <a:lnTo>
                        <a:pt x="637" y="89"/>
                      </a:lnTo>
                      <a:lnTo>
                        <a:pt x="639" y="92"/>
                      </a:lnTo>
                      <a:lnTo>
                        <a:pt x="637" y="94"/>
                      </a:lnTo>
                      <a:lnTo>
                        <a:pt x="639" y="97"/>
                      </a:lnTo>
                      <a:lnTo>
                        <a:pt x="639" y="99"/>
                      </a:lnTo>
                      <a:lnTo>
                        <a:pt x="637" y="100"/>
                      </a:lnTo>
                      <a:lnTo>
                        <a:pt x="659" y="94"/>
                      </a:lnTo>
                      <a:lnTo>
                        <a:pt x="684" y="115"/>
                      </a:lnTo>
                      <a:lnTo>
                        <a:pt x="711" y="138"/>
                      </a:lnTo>
                      <a:lnTo>
                        <a:pt x="722" y="137"/>
                      </a:lnTo>
                      <a:lnTo>
                        <a:pt x="723" y="137"/>
                      </a:lnTo>
                      <a:lnTo>
                        <a:pt x="725" y="138"/>
                      </a:lnTo>
                      <a:lnTo>
                        <a:pt x="725" y="140"/>
                      </a:lnTo>
                      <a:lnTo>
                        <a:pt x="727" y="140"/>
                      </a:lnTo>
                      <a:lnTo>
                        <a:pt x="728" y="140"/>
                      </a:lnTo>
                      <a:lnTo>
                        <a:pt x="730" y="138"/>
                      </a:lnTo>
                      <a:lnTo>
                        <a:pt x="732" y="138"/>
                      </a:lnTo>
                      <a:lnTo>
                        <a:pt x="733" y="138"/>
                      </a:lnTo>
                      <a:lnTo>
                        <a:pt x="733" y="137"/>
                      </a:lnTo>
                      <a:lnTo>
                        <a:pt x="733" y="135"/>
                      </a:lnTo>
                      <a:lnTo>
                        <a:pt x="735" y="133"/>
                      </a:lnTo>
                      <a:lnTo>
                        <a:pt x="737" y="133"/>
                      </a:lnTo>
                      <a:lnTo>
                        <a:pt x="740" y="135"/>
                      </a:lnTo>
                      <a:lnTo>
                        <a:pt x="740" y="133"/>
                      </a:lnTo>
                      <a:lnTo>
                        <a:pt x="742" y="133"/>
                      </a:lnTo>
                      <a:lnTo>
                        <a:pt x="744" y="133"/>
                      </a:lnTo>
                      <a:lnTo>
                        <a:pt x="745" y="133"/>
                      </a:lnTo>
                      <a:lnTo>
                        <a:pt x="744" y="133"/>
                      </a:lnTo>
                      <a:lnTo>
                        <a:pt x="745" y="132"/>
                      </a:lnTo>
                      <a:lnTo>
                        <a:pt x="747" y="130"/>
                      </a:lnTo>
                      <a:lnTo>
                        <a:pt x="747" y="128"/>
                      </a:lnTo>
                      <a:lnTo>
                        <a:pt x="747" y="127"/>
                      </a:lnTo>
                      <a:lnTo>
                        <a:pt x="749" y="125"/>
                      </a:lnTo>
                      <a:lnTo>
                        <a:pt x="749" y="127"/>
                      </a:lnTo>
                      <a:lnTo>
                        <a:pt x="750" y="127"/>
                      </a:lnTo>
                      <a:lnTo>
                        <a:pt x="750" y="125"/>
                      </a:lnTo>
                      <a:lnTo>
                        <a:pt x="752" y="125"/>
                      </a:lnTo>
                      <a:lnTo>
                        <a:pt x="752" y="123"/>
                      </a:lnTo>
                      <a:lnTo>
                        <a:pt x="754" y="123"/>
                      </a:lnTo>
                      <a:lnTo>
                        <a:pt x="752" y="122"/>
                      </a:lnTo>
                      <a:lnTo>
                        <a:pt x="754" y="122"/>
                      </a:lnTo>
                      <a:lnTo>
                        <a:pt x="755" y="122"/>
                      </a:lnTo>
                      <a:lnTo>
                        <a:pt x="757" y="122"/>
                      </a:lnTo>
                      <a:lnTo>
                        <a:pt x="757" y="120"/>
                      </a:lnTo>
                      <a:lnTo>
                        <a:pt x="759" y="120"/>
                      </a:lnTo>
                      <a:lnTo>
                        <a:pt x="760" y="120"/>
                      </a:lnTo>
                      <a:lnTo>
                        <a:pt x="762" y="118"/>
                      </a:lnTo>
                      <a:lnTo>
                        <a:pt x="762" y="120"/>
                      </a:lnTo>
                      <a:lnTo>
                        <a:pt x="764" y="118"/>
                      </a:lnTo>
                      <a:lnTo>
                        <a:pt x="764" y="117"/>
                      </a:lnTo>
                      <a:lnTo>
                        <a:pt x="766" y="117"/>
                      </a:lnTo>
                      <a:lnTo>
                        <a:pt x="766" y="115"/>
                      </a:lnTo>
                      <a:lnTo>
                        <a:pt x="767" y="115"/>
                      </a:lnTo>
                      <a:lnTo>
                        <a:pt x="769" y="117"/>
                      </a:lnTo>
                      <a:lnTo>
                        <a:pt x="769" y="115"/>
                      </a:lnTo>
                      <a:lnTo>
                        <a:pt x="771" y="115"/>
                      </a:lnTo>
                      <a:lnTo>
                        <a:pt x="771" y="117"/>
                      </a:lnTo>
                      <a:lnTo>
                        <a:pt x="772" y="117"/>
                      </a:lnTo>
                      <a:lnTo>
                        <a:pt x="772" y="115"/>
                      </a:lnTo>
                      <a:lnTo>
                        <a:pt x="774" y="115"/>
                      </a:lnTo>
                      <a:lnTo>
                        <a:pt x="776" y="115"/>
                      </a:lnTo>
                      <a:lnTo>
                        <a:pt x="777" y="117"/>
                      </a:lnTo>
                      <a:lnTo>
                        <a:pt x="776" y="115"/>
                      </a:lnTo>
                      <a:lnTo>
                        <a:pt x="777" y="115"/>
                      </a:lnTo>
                      <a:lnTo>
                        <a:pt x="779" y="115"/>
                      </a:lnTo>
                      <a:lnTo>
                        <a:pt x="781" y="115"/>
                      </a:lnTo>
                      <a:lnTo>
                        <a:pt x="782" y="117"/>
                      </a:lnTo>
                      <a:lnTo>
                        <a:pt x="782" y="118"/>
                      </a:lnTo>
                      <a:lnTo>
                        <a:pt x="784" y="118"/>
                      </a:lnTo>
                      <a:lnTo>
                        <a:pt x="784" y="120"/>
                      </a:lnTo>
                      <a:lnTo>
                        <a:pt x="786" y="120"/>
                      </a:lnTo>
                      <a:lnTo>
                        <a:pt x="786" y="122"/>
                      </a:lnTo>
                      <a:lnTo>
                        <a:pt x="787" y="123"/>
                      </a:lnTo>
                      <a:lnTo>
                        <a:pt x="787" y="125"/>
                      </a:lnTo>
                      <a:lnTo>
                        <a:pt x="787" y="127"/>
                      </a:lnTo>
                      <a:lnTo>
                        <a:pt x="789" y="127"/>
                      </a:lnTo>
                      <a:lnTo>
                        <a:pt x="787" y="128"/>
                      </a:lnTo>
                      <a:lnTo>
                        <a:pt x="787" y="130"/>
                      </a:lnTo>
                      <a:lnTo>
                        <a:pt x="789" y="130"/>
                      </a:lnTo>
                      <a:lnTo>
                        <a:pt x="787" y="130"/>
                      </a:lnTo>
                      <a:lnTo>
                        <a:pt x="787" y="132"/>
                      </a:lnTo>
                      <a:lnTo>
                        <a:pt x="786" y="130"/>
                      </a:lnTo>
                      <a:lnTo>
                        <a:pt x="786" y="132"/>
                      </a:lnTo>
                      <a:lnTo>
                        <a:pt x="786" y="133"/>
                      </a:lnTo>
                      <a:lnTo>
                        <a:pt x="784" y="133"/>
                      </a:lnTo>
                      <a:lnTo>
                        <a:pt x="784" y="135"/>
                      </a:lnTo>
                      <a:lnTo>
                        <a:pt x="784" y="137"/>
                      </a:lnTo>
                      <a:lnTo>
                        <a:pt x="782" y="137"/>
                      </a:lnTo>
                      <a:lnTo>
                        <a:pt x="781" y="138"/>
                      </a:lnTo>
                      <a:lnTo>
                        <a:pt x="781" y="140"/>
                      </a:lnTo>
                      <a:lnTo>
                        <a:pt x="779" y="141"/>
                      </a:lnTo>
                      <a:lnTo>
                        <a:pt x="781" y="141"/>
                      </a:lnTo>
                      <a:lnTo>
                        <a:pt x="781" y="143"/>
                      </a:lnTo>
                      <a:lnTo>
                        <a:pt x="782" y="145"/>
                      </a:lnTo>
                      <a:lnTo>
                        <a:pt x="782" y="146"/>
                      </a:lnTo>
                      <a:lnTo>
                        <a:pt x="784" y="148"/>
                      </a:lnTo>
                      <a:lnTo>
                        <a:pt x="786" y="148"/>
                      </a:lnTo>
                      <a:lnTo>
                        <a:pt x="786" y="146"/>
                      </a:lnTo>
                      <a:lnTo>
                        <a:pt x="787" y="146"/>
                      </a:lnTo>
                      <a:lnTo>
                        <a:pt x="789" y="146"/>
                      </a:lnTo>
                      <a:lnTo>
                        <a:pt x="789" y="145"/>
                      </a:lnTo>
                      <a:lnTo>
                        <a:pt x="791" y="145"/>
                      </a:lnTo>
                      <a:lnTo>
                        <a:pt x="793" y="145"/>
                      </a:lnTo>
                      <a:lnTo>
                        <a:pt x="794" y="145"/>
                      </a:lnTo>
                      <a:lnTo>
                        <a:pt x="794" y="143"/>
                      </a:lnTo>
                      <a:lnTo>
                        <a:pt x="796" y="143"/>
                      </a:lnTo>
                      <a:lnTo>
                        <a:pt x="796" y="140"/>
                      </a:lnTo>
                      <a:lnTo>
                        <a:pt x="798" y="140"/>
                      </a:lnTo>
                      <a:lnTo>
                        <a:pt x="796" y="140"/>
                      </a:lnTo>
                      <a:lnTo>
                        <a:pt x="796" y="138"/>
                      </a:lnTo>
                      <a:lnTo>
                        <a:pt x="798" y="138"/>
                      </a:lnTo>
                      <a:lnTo>
                        <a:pt x="798" y="137"/>
                      </a:lnTo>
                      <a:lnTo>
                        <a:pt x="798" y="135"/>
                      </a:lnTo>
                      <a:lnTo>
                        <a:pt x="798" y="133"/>
                      </a:lnTo>
                      <a:lnTo>
                        <a:pt x="796" y="133"/>
                      </a:lnTo>
                      <a:lnTo>
                        <a:pt x="798" y="133"/>
                      </a:lnTo>
                      <a:lnTo>
                        <a:pt x="798" y="132"/>
                      </a:lnTo>
                      <a:lnTo>
                        <a:pt x="799" y="130"/>
                      </a:lnTo>
                      <a:lnTo>
                        <a:pt x="801" y="128"/>
                      </a:lnTo>
                      <a:lnTo>
                        <a:pt x="803" y="128"/>
                      </a:lnTo>
                      <a:lnTo>
                        <a:pt x="803" y="127"/>
                      </a:lnTo>
                      <a:lnTo>
                        <a:pt x="803" y="125"/>
                      </a:lnTo>
                      <a:lnTo>
                        <a:pt x="804" y="125"/>
                      </a:lnTo>
                      <a:lnTo>
                        <a:pt x="804" y="123"/>
                      </a:lnTo>
                      <a:lnTo>
                        <a:pt x="804" y="122"/>
                      </a:lnTo>
                      <a:lnTo>
                        <a:pt x="806" y="122"/>
                      </a:lnTo>
                      <a:lnTo>
                        <a:pt x="808" y="122"/>
                      </a:lnTo>
                      <a:lnTo>
                        <a:pt x="809" y="122"/>
                      </a:lnTo>
                      <a:lnTo>
                        <a:pt x="811" y="122"/>
                      </a:lnTo>
                      <a:lnTo>
                        <a:pt x="811" y="123"/>
                      </a:lnTo>
                      <a:lnTo>
                        <a:pt x="813" y="123"/>
                      </a:lnTo>
                      <a:lnTo>
                        <a:pt x="814" y="123"/>
                      </a:lnTo>
                      <a:lnTo>
                        <a:pt x="814" y="122"/>
                      </a:lnTo>
                      <a:lnTo>
                        <a:pt x="816" y="122"/>
                      </a:lnTo>
                      <a:lnTo>
                        <a:pt x="816" y="123"/>
                      </a:lnTo>
                      <a:lnTo>
                        <a:pt x="816" y="125"/>
                      </a:lnTo>
                      <a:lnTo>
                        <a:pt x="818" y="123"/>
                      </a:lnTo>
                      <a:lnTo>
                        <a:pt x="820" y="122"/>
                      </a:lnTo>
                      <a:lnTo>
                        <a:pt x="820" y="120"/>
                      </a:lnTo>
                      <a:lnTo>
                        <a:pt x="820" y="118"/>
                      </a:lnTo>
                      <a:lnTo>
                        <a:pt x="821" y="118"/>
                      </a:lnTo>
                      <a:lnTo>
                        <a:pt x="821" y="117"/>
                      </a:lnTo>
                      <a:lnTo>
                        <a:pt x="821" y="115"/>
                      </a:lnTo>
                      <a:lnTo>
                        <a:pt x="820" y="115"/>
                      </a:lnTo>
                      <a:lnTo>
                        <a:pt x="820" y="114"/>
                      </a:lnTo>
                      <a:lnTo>
                        <a:pt x="821" y="114"/>
                      </a:lnTo>
                      <a:lnTo>
                        <a:pt x="821" y="112"/>
                      </a:lnTo>
                      <a:lnTo>
                        <a:pt x="821" y="110"/>
                      </a:lnTo>
                      <a:lnTo>
                        <a:pt x="821" y="109"/>
                      </a:lnTo>
                      <a:lnTo>
                        <a:pt x="821" y="107"/>
                      </a:lnTo>
                      <a:lnTo>
                        <a:pt x="821" y="105"/>
                      </a:lnTo>
                      <a:lnTo>
                        <a:pt x="821" y="104"/>
                      </a:lnTo>
                      <a:lnTo>
                        <a:pt x="823" y="104"/>
                      </a:lnTo>
                      <a:lnTo>
                        <a:pt x="825" y="104"/>
                      </a:lnTo>
                      <a:lnTo>
                        <a:pt x="825" y="102"/>
                      </a:lnTo>
                      <a:lnTo>
                        <a:pt x="826" y="102"/>
                      </a:lnTo>
                      <a:lnTo>
                        <a:pt x="828" y="102"/>
                      </a:lnTo>
                      <a:lnTo>
                        <a:pt x="830" y="102"/>
                      </a:lnTo>
                      <a:lnTo>
                        <a:pt x="830" y="104"/>
                      </a:lnTo>
                      <a:lnTo>
                        <a:pt x="830" y="105"/>
                      </a:lnTo>
                      <a:lnTo>
                        <a:pt x="831" y="105"/>
                      </a:lnTo>
                      <a:lnTo>
                        <a:pt x="833" y="105"/>
                      </a:lnTo>
                      <a:lnTo>
                        <a:pt x="835" y="104"/>
                      </a:lnTo>
                      <a:lnTo>
                        <a:pt x="836" y="102"/>
                      </a:lnTo>
                      <a:lnTo>
                        <a:pt x="838" y="100"/>
                      </a:lnTo>
                      <a:lnTo>
                        <a:pt x="840" y="99"/>
                      </a:lnTo>
                      <a:lnTo>
                        <a:pt x="840" y="97"/>
                      </a:lnTo>
                      <a:lnTo>
                        <a:pt x="838" y="95"/>
                      </a:lnTo>
                      <a:lnTo>
                        <a:pt x="840" y="95"/>
                      </a:lnTo>
                      <a:lnTo>
                        <a:pt x="840" y="94"/>
                      </a:lnTo>
                      <a:lnTo>
                        <a:pt x="842" y="95"/>
                      </a:lnTo>
                      <a:lnTo>
                        <a:pt x="842" y="97"/>
                      </a:lnTo>
                      <a:lnTo>
                        <a:pt x="843" y="95"/>
                      </a:lnTo>
                      <a:lnTo>
                        <a:pt x="845" y="94"/>
                      </a:lnTo>
                      <a:lnTo>
                        <a:pt x="845" y="92"/>
                      </a:lnTo>
                      <a:lnTo>
                        <a:pt x="847" y="92"/>
                      </a:lnTo>
                      <a:lnTo>
                        <a:pt x="847" y="94"/>
                      </a:lnTo>
                      <a:lnTo>
                        <a:pt x="847" y="95"/>
                      </a:lnTo>
                      <a:lnTo>
                        <a:pt x="848" y="94"/>
                      </a:lnTo>
                      <a:lnTo>
                        <a:pt x="850" y="92"/>
                      </a:lnTo>
                      <a:lnTo>
                        <a:pt x="848" y="91"/>
                      </a:lnTo>
                      <a:lnTo>
                        <a:pt x="850" y="91"/>
                      </a:lnTo>
                      <a:lnTo>
                        <a:pt x="852" y="89"/>
                      </a:lnTo>
                      <a:lnTo>
                        <a:pt x="853" y="89"/>
                      </a:lnTo>
                      <a:lnTo>
                        <a:pt x="853" y="87"/>
                      </a:lnTo>
                      <a:lnTo>
                        <a:pt x="855" y="87"/>
                      </a:lnTo>
                      <a:lnTo>
                        <a:pt x="855" y="89"/>
                      </a:lnTo>
                      <a:lnTo>
                        <a:pt x="855" y="91"/>
                      </a:lnTo>
                      <a:lnTo>
                        <a:pt x="857" y="92"/>
                      </a:lnTo>
                      <a:lnTo>
                        <a:pt x="858" y="94"/>
                      </a:lnTo>
                      <a:lnTo>
                        <a:pt x="858" y="95"/>
                      </a:lnTo>
                      <a:lnTo>
                        <a:pt x="860" y="95"/>
                      </a:lnTo>
                      <a:lnTo>
                        <a:pt x="860" y="94"/>
                      </a:lnTo>
                      <a:lnTo>
                        <a:pt x="862" y="94"/>
                      </a:lnTo>
                      <a:lnTo>
                        <a:pt x="863" y="92"/>
                      </a:lnTo>
                      <a:lnTo>
                        <a:pt x="863" y="91"/>
                      </a:lnTo>
                      <a:lnTo>
                        <a:pt x="863" y="89"/>
                      </a:lnTo>
                      <a:lnTo>
                        <a:pt x="865" y="89"/>
                      </a:lnTo>
                      <a:lnTo>
                        <a:pt x="867" y="89"/>
                      </a:lnTo>
                      <a:lnTo>
                        <a:pt x="869" y="89"/>
                      </a:lnTo>
                      <a:lnTo>
                        <a:pt x="870" y="87"/>
                      </a:lnTo>
                      <a:lnTo>
                        <a:pt x="870" y="86"/>
                      </a:lnTo>
                      <a:lnTo>
                        <a:pt x="872" y="86"/>
                      </a:lnTo>
                      <a:lnTo>
                        <a:pt x="874" y="84"/>
                      </a:lnTo>
                      <a:lnTo>
                        <a:pt x="875" y="84"/>
                      </a:lnTo>
                      <a:lnTo>
                        <a:pt x="875" y="82"/>
                      </a:lnTo>
                      <a:lnTo>
                        <a:pt x="875" y="81"/>
                      </a:lnTo>
                      <a:lnTo>
                        <a:pt x="877" y="81"/>
                      </a:lnTo>
                      <a:lnTo>
                        <a:pt x="877" y="79"/>
                      </a:lnTo>
                      <a:lnTo>
                        <a:pt x="877" y="77"/>
                      </a:lnTo>
                      <a:lnTo>
                        <a:pt x="879" y="77"/>
                      </a:lnTo>
                      <a:lnTo>
                        <a:pt x="880" y="77"/>
                      </a:lnTo>
                      <a:lnTo>
                        <a:pt x="880" y="76"/>
                      </a:lnTo>
                      <a:lnTo>
                        <a:pt x="880" y="74"/>
                      </a:lnTo>
                      <a:lnTo>
                        <a:pt x="880" y="76"/>
                      </a:lnTo>
                      <a:lnTo>
                        <a:pt x="882" y="76"/>
                      </a:lnTo>
                      <a:lnTo>
                        <a:pt x="884" y="76"/>
                      </a:lnTo>
                      <a:lnTo>
                        <a:pt x="884" y="74"/>
                      </a:lnTo>
                      <a:lnTo>
                        <a:pt x="885" y="72"/>
                      </a:lnTo>
                      <a:lnTo>
                        <a:pt x="887" y="71"/>
                      </a:lnTo>
                      <a:lnTo>
                        <a:pt x="889" y="72"/>
                      </a:lnTo>
                      <a:lnTo>
                        <a:pt x="890" y="72"/>
                      </a:lnTo>
                      <a:lnTo>
                        <a:pt x="890" y="71"/>
                      </a:lnTo>
                      <a:lnTo>
                        <a:pt x="892" y="69"/>
                      </a:lnTo>
                      <a:lnTo>
                        <a:pt x="892" y="68"/>
                      </a:lnTo>
                      <a:lnTo>
                        <a:pt x="894" y="68"/>
                      </a:lnTo>
                      <a:lnTo>
                        <a:pt x="896" y="68"/>
                      </a:lnTo>
                      <a:lnTo>
                        <a:pt x="897" y="68"/>
                      </a:lnTo>
                      <a:lnTo>
                        <a:pt x="897" y="69"/>
                      </a:lnTo>
                      <a:lnTo>
                        <a:pt x="897" y="71"/>
                      </a:lnTo>
                      <a:lnTo>
                        <a:pt x="896" y="72"/>
                      </a:lnTo>
                      <a:lnTo>
                        <a:pt x="896" y="74"/>
                      </a:lnTo>
                      <a:lnTo>
                        <a:pt x="894" y="74"/>
                      </a:lnTo>
                      <a:lnTo>
                        <a:pt x="894" y="76"/>
                      </a:lnTo>
                      <a:lnTo>
                        <a:pt x="892" y="77"/>
                      </a:lnTo>
                      <a:lnTo>
                        <a:pt x="894" y="77"/>
                      </a:lnTo>
                      <a:lnTo>
                        <a:pt x="892" y="79"/>
                      </a:lnTo>
                      <a:lnTo>
                        <a:pt x="894" y="81"/>
                      </a:lnTo>
                      <a:lnTo>
                        <a:pt x="896" y="81"/>
                      </a:lnTo>
                      <a:lnTo>
                        <a:pt x="897" y="79"/>
                      </a:lnTo>
                      <a:lnTo>
                        <a:pt x="897" y="81"/>
                      </a:lnTo>
                      <a:lnTo>
                        <a:pt x="897" y="82"/>
                      </a:lnTo>
                      <a:lnTo>
                        <a:pt x="899" y="82"/>
                      </a:lnTo>
                      <a:lnTo>
                        <a:pt x="899" y="81"/>
                      </a:lnTo>
                      <a:lnTo>
                        <a:pt x="899" y="79"/>
                      </a:lnTo>
                      <a:lnTo>
                        <a:pt x="901" y="77"/>
                      </a:lnTo>
                      <a:lnTo>
                        <a:pt x="899" y="77"/>
                      </a:lnTo>
                      <a:lnTo>
                        <a:pt x="899" y="76"/>
                      </a:lnTo>
                      <a:lnTo>
                        <a:pt x="901" y="76"/>
                      </a:lnTo>
                      <a:lnTo>
                        <a:pt x="901" y="74"/>
                      </a:lnTo>
                      <a:lnTo>
                        <a:pt x="902" y="74"/>
                      </a:lnTo>
                      <a:lnTo>
                        <a:pt x="902" y="72"/>
                      </a:lnTo>
                      <a:lnTo>
                        <a:pt x="904" y="72"/>
                      </a:lnTo>
                      <a:lnTo>
                        <a:pt x="904" y="71"/>
                      </a:lnTo>
                      <a:lnTo>
                        <a:pt x="906" y="71"/>
                      </a:lnTo>
                      <a:lnTo>
                        <a:pt x="906" y="69"/>
                      </a:lnTo>
                      <a:lnTo>
                        <a:pt x="907" y="69"/>
                      </a:lnTo>
                      <a:lnTo>
                        <a:pt x="909" y="69"/>
                      </a:lnTo>
                      <a:lnTo>
                        <a:pt x="911" y="69"/>
                      </a:lnTo>
                      <a:lnTo>
                        <a:pt x="911" y="68"/>
                      </a:lnTo>
                      <a:lnTo>
                        <a:pt x="912" y="68"/>
                      </a:lnTo>
                      <a:lnTo>
                        <a:pt x="912" y="66"/>
                      </a:lnTo>
                      <a:lnTo>
                        <a:pt x="912" y="64"/>
                      </a:lnTo>
                      <a:lnTo>
                        <a:pt x="914" y="64"/>
                      </a:lnTo>
                      <a:lnTo>
                        <a:pt x="914" y="63"/>
                      </a:lnTo>
                      <a:lnTo>
                        <a:pt x="916" y="63"/>
                      </a:lnTo>
                      <a:lnTo>
                        <a:pt x="918" y="63"/>
                      </a:lnTo>
                      <a:lnTo>
                        <a:pt x="919" y="63"/>
                      </a:lnTo>
                      <a:lnTo>
                        <a:pt x="921" y="61"/>
                      </a:lnTo>
                      <a:lnTo>
                        <a:pt x="921" y="59"/>
                      </a:lnTo>
                      <a:lnTo>
                        <a:pt x="923" y="56"/>
                      </a:lnTo>
                      <a:lnTo>
                        <a:pt x="924" y="56"/>
                      </a:lnTo>
                      <a:lnTo>
                        <a:pt x="924" y="53"/>
                      </a:lnTo>
                      <a:lnTo>
                        <a:pt x="924" y="51"/>
                      </a:lnTo>
                      <a:lnTo>
                        <a:pt x="924" y="49"/>
                      </a:lnTo>
                      <a:lnTo>
                        <a:pt x="924" y="48"/>
                      </a:lnTo>
                      <a:lnTo>
                        <a:pt x="924" y="46"/>
                      </a:lnTo>
                      <a:lnTo>
                        <a:pt x="923" y="46"/>
                      </a:lnTo>
                      <a:lnTo>
                        <a:pt x="924" y="45"/>
                      </a:lnTo>
                      <a:lnTo>
                        <a:pt x="924" y="43"/>
                      </a:lnTo>
                      <a:lnTo>
                        <a:pt x="924" y="41"/>
                      </a:lnTo>
                      <a:lnTo>
                        <a:pt x="926" y="41"/>
                      </a:lnTo>
                      <a:lnTo>
                        <a:pt x="924" y="40"/>
                      </a:lnTo>
                      <a:lnTo>
                        <a:pt x="926" y="40"/>
                      </a:lnTo>
                      <a:lnTo>
                        <a:pt x="926" y="38"/>
                      </a:lnTo>
                      <a:lnTo>
                        <a:pt x="924" y="38"/>
                      </a:lnTo>
                      <a:lnTo>
                        <a:pt x="924" y="36"/>
                      </a:lnTo>
                      <a:lnTo>
                        <a:pt x="924" y="35"/>
                      </a:lnTo>
                      <a:lnTo>
                        <a:pt x="924" y="33"/>
                      </a:lnTo>
                      <a:lnTo>
                        <a:pt x="924" y="31"/>
                      </a:lnTo>
                      <a:lnTo>
                        <a:pt x="924" y="30"/>
                      </a:lnTo>
                      <a:lnTo>
                        <a:pt x="926" y="30"/>
                      </a:lnTo>
                      <a:lnTo>
                        <a:pt x="926" y="28"/>
                      </a:lnTo>
                      <a:lnTo>
                        <a:pt x="928" y="28"/>
                      </a:lnTo>
                      <a:lnTo>
                        <a:pt x="929" y="28"/>
                      </a:lnTo>
                      <a:lnTo>
                        <a:pt x="929" y="26"/>
                      </a:lnTo>
                      <a:lnTo>
                        <a:pt x="931" y="26"/>
                      </a:lnTo>
                      <a:lnTo>
                        <a:pt x="931" y="25"/>
                      </a:lnTo>
                      <a:lnTo>
                        <a:pt x="933" y="25"/>
                      </a:lnTo>
                      <a:lnTo>
                        <a:pt x="934" y="25"/>
                      </a:lnTo>
                      <a:lnTo>
                        <a:pt x="936" y="25"/>
                      </a:lnTo>
                      <a:lnTo>
                        <a:pt x="938" y="25"/>
                      </a:lnTo>
                      <a:lnTo>
                        <a:pt x="939" y="25"/>
                      </a:lnTo>
                      <a:lnTo>
                        <a:pt x="941" y="25"/>
                      </a:lnTo>
                      <a:lnTo>
                        <a:pt x="943" y="25"/>
                      </a:lnTo>
                      <a:lnTo>
                        <a:pt x="945" y="25"/>
                      </a:lnTo>
                      <a:lnTo>
                        <a:pt x="945" y="26"/>
                      </a:lnTo>
                      <a:lnTo>
                        <a:pt x="946" y="26"/>
                      </a:lnTo>
                      <a:lnTo>
                        <a:pt x="948" y="25"/>
                      </a:lnTo>
                      <a:lnTo>
                        <a:pt x="950" y="25"/>
                      </a:lnTo>
                      <a:lnTo>
                        <a:pt x="951" y="25"/>
                      </a:lnTo>
                      <a:lnTo>
                        <a:pt x="953" y="23"/>
                      </a:lnTo>
                      <a:lnTo>
                        <a:pt x="955" y="23"/>
                      </a:lnTo>
                      <a:lnTo>
                        <a:pt x="955" y="22"/>
                      </a:lnTo>
                      <a:lnTo>
                        <a:pt x="956" y="22"/>
                      </a:lnTo>
                      <a:lnTo>
                        <a:pt x="958" y="20"/>
                      </a:lnTo>
                      <a:lnTo>
                        <a:pt x="960" y="20"/>
                      </a:lnTo>
                      <a:lnTo>
                        <a:pt x="960" y="22"/>
                      </a:lnTo>
                      <a:lnTo>
                        <a:pt x="961" y="22"/>
                      </a:lnTo>
                      <a:lnTo>
                        <a:pt x="963" y="22"/>
                      </a:lnTo>
                      <a:lnTo>
                        <a:pt x="963" y="20"/>
                      </a:lnTo>
                      <a:lnTo>
                        <a:pt x="963" y="18"/>
                      </a:lnTo>
                      <a:lnTo>
                        <a:pt x="963" y="17"/>
                      </a:lnTo>
                      <a:lnTo>
                        <a:pt x="965" y="18"/>
                      </a:lnTo>
                      <a:lnTo>
                        <a:pt x="965" y="17"/>
                      </a:lnTo>
                      <a:lnTo>
                        <a:pt x="966" y="15"/>
                      </a:lnTo>
                      <a:lnTo>
                        <a:pt x="966" y="13"/>
                      </a:lnTo>
                      <a:lnTo>
                        <a:pt x="968" y="13"/>
                      </a:lnTo>
                      <a:lnTo>
                        <a:pt x="970" y="12"/>
                      </a:lnTo>
                      <a:lnTo>
                        <a:pt x="970" y="13"/>
                      </a:lnTo>
                      <a:lnTo>
                        <a:pt x="972" y="12"/>
                      </a:lnTo>
                      <a:lnTo>
                        <a:pt x="973" y="12"/>
                      </a:lnTo>
                      <a:lnTo>
                        <a:pt x="975" y="12"/>
                      </a:lnTo>
                      <a:lnTo>
                        <a:pt x="977" y="12"/>
                      </a:lnTo>
                      <a:lnTo>
                        <a:pt x="977" y="13"/>
                      </a:lnTo>
                      <a:lnTo>
                        <a:pt x="978" y="13"/>
                      </a:lnTo>
                      <a:lnTo>
                        <a:pt x="980" y="12"/>
                      </a:lnTo>
                      <a:lnTo>
                        <a:pt x="980" y="10"/>
                      </a:lnTo>
                      <a:lnTo>
                        <a:pt x="982" y="10"/>
                      </a:lnTo>
                      <a:lnTo>
                        <a:pt x="982" y="12"/>
                      </a:lnTo>
                      <a:lnTo>
                        <a:pt x="983" y="12"/>
                      </a:lnTo>
                      <a:lnTo>
                        <a:pt x="985" y="12"/>
                      </a:lnTo>
                      <a:lnTo>
                        <a:pt x="987" y="10"/>
                      </a:lnTo>
                      <a:lnTo>
                        <a:pt x="988" y="10"/>
                      </a:lnTo>
                      <a:lnTo>
                        <a:pt x="988" y="8"/>
                      </a:lnTo>
                      <a:lnTo>
                        <a:pt x="988" y="7"/>
                      </a:lnTo>
                      <a:lnTo>
                        <a:pt x="988" y="5"/>
                      </a:lnTo>
                      <a:lnTo>
                        <a:pt x="990" y="3"/>
                      </a:lnTo>
                      <a:lnTo>
                        <a:pt x="990" y="2"/>
                      </a:lnTo>
                      <a:lnTo>
                        <a:pt x="990" y="3"/>
                      </a:lnTo>
                      <a:lnTo>
                        <a:pt x="992" y="5"/>
                      </a:lnTo>
                      <a:lnTo>
                        <a:pt x="994" y="5"/>
                      </a:lnTo>
                      <a:lnTo>
                        <a:pt x="994" y="7"/>
                      </a:lnTo>
                      <a:lnTo>
                        <a:pt x="995" y="7"/>
                      </a:lnTo>
                      <a:lnTo>
                        <a:pt x="997" y="8"/>
                      </a:lnTo>
                      <a:lnTo>
                        <a:pt x="999" y="8"/>
                      </a:lnTo>
                      <a:lnTo>
                        <a:pt x="1000" y="10"/>
                      </a:lnTo>
                      <a:lnTo>
                        <a:pt x="1002" y="10"/>
                      </a:lnTo>
                      <a:lnTo>
                        <a:pt x="1005" y="8"/>
                      </a:lnTo>
                      <a:lnTo>
                        <a:pt x="1007" y="8"/>
                      </a:lnTo>
                      <a:lnTo>
                        <a:pt x="1009" y="7"/>
                      </a:lnTo>
                      <a:lnTo>
                        <a:pt x="1010" y="7"/>
                      </a:lnTo>
                      <a:lnTo>
                        <a:pt x="1012" y="8"/>
                      </a:lnTo>
                      <a:lnTo>
                        <a:pt x="1014" y="8"/>
                      </a:lnTo>
                      <a:lnTo>
                        <a:pt x="1015" y="8"/>
                      </a:lnTo>
                      <a:lnTo>
                        <a:pt x="1015" y="10"/>
                      </a:lnTo>
                      <a:lnTo>
                        <a:pt x="1014" y="12"/>
                      </a:lnTo>
                      <a:lnTo>
                        <a:pt x="1015" y="12"/>
                      </a:lnTo>
                      <a:lnTo>
                        <a:pt x="1015" y="13"/>
                      </a:lnTo>
                      <a:lnTo>
                        <a:pt x="1015" y="15"/>
                      </a:lnTo>
                      <a:lnTo>
                        <a:pt x="1017" y="17"/>
                      </a:lnTo>
                      <a:lnTo>
                        <a:pt x="1017" y="18"/>
                      </a:lnTo>
                      <a:lnTo>
                        <a:pt x="1019" y="18"/>
                      </a:lnTo>
                      <a:lnTo>
                        <a:pt x="1021" y="20"/>
                      </a:lnTo>
                      <a:lnTo>
                        <a:pt x="1022" y="22"/>
                      </a:lnTo>
                      <a:lnTo>
                        <a:pt x="1024" y="22"/>
                      </a:lnTo>
                      <a:lnTo>
                        <a:pt x="1026" y="23"/>
                      </a:lnTo>
                      <a:lnTo>
                        <a:pt x="1027" y="23"/>
                      </a:lnTo>
                      <a:lnTo>
                        <a:pt x="1027" y="22"/>
                      </a:lnTo>
                      <a:lnTo>
                        <a:pt x="1029" y="23"/>
                      </a:lnTo>
                      <a:lnTo>
                        <a:pt x="1029" y="22"/>
                      </a:lnTo>
                      <a:lnTo>
                        <a:pt x="1031" y="22"/>
                      </a:lnTo>
                      <a:lnTo>
                        <a:pt x="1032" y="22"/>
                      </a:lnTo>
                      <a:lnTo>
                        <a:pt x="1034" y="22"/>
                      </a:lnTo>
                      <a:lnTo>
                        <a:pt x="1036" y="22"/>
                      </a:lnTo>
                      <a:lnTo>
                        <a:pt x="1039" y="22"/>
                      </a:lnTo>
                      <a:lnTo>
                        <a:pt x="1041" y="23"/>
                      </a:lnTo>
                      <a:lnTo>
                        <a:pt x="1042" y="23"/>
                      </a:lnTo>
                      <a:lnTo>
                        <a:pt x="1044" y="23"/>
                      </a:lnTo>
                      <a:lnTo>
                        <a:pt x="1044" y="25"/>
                      </a:lnTo>
                      <a:lnTo>
                        <a:pt x="1046" y="25"/>
                      </a:lnTo>
                      <a:lnTo>
                        <a:pt x="1048" y="25"/>
                      </a:lnTo>
                      <a:lnTo>
                        <a:pt x="1051" y="26"/>
                      </a:lnTo>
                      <a:lnTo>
                        <a:pt x="1053" y="28"/>
                      </a:lnTo>
                      <a:lnTo>
                        <a:pt x="1054" y="28"/>
                      </a:lnTo>
                      <a:lnTo>
                        <a:pt x="1054" y="30"/>
                      </a:lnTo>
                      <a:lnTo>
                        <a:pt x="1056" y="31"/>
                      </a:lnTo>
                      <a:lnTo>
                        <a:pt x="1056" y="33"/>
                      </a:lnTo>
                      <a:lnTo>
                        <a:pt x="1054" y="35"/>
                      </a:lnTo>
                      <a:lnTo>
                        <a:pt x="1054" y="36"/>
                      </a:lnTo>
                      <a:lnTo>
                        <a:pt x="1054" y="38"/>
                      </a:lnTo>
                      <a:lnTo>
                        <a:pt x="1053" y="40"/>
                      </a:lnTo>
                      <a:lnTo>
                        <a:pt x="1053" y="41"/>
                      </a:lnTo>
                      <a:lnTo>
                        <a:pt x="1053" y="43"/>
                      </a:lnTo>
                      <a:lnTo>
                        <a:pt x="1053" y="45"/>
                      </a:lnTo>
                      <a:lnTo>
                        <a:pt x="1053" y="46"/>
                      </a:lnTo>
                      <a:lnTo>
                        <a:pt x="1053" y="48"/>
                      </a:lnTo>
                      <a:lnTo>
                        <a:pt x="1053" y="49"/>
                      </a:lnTo>
                      <a:lnTo>
                        <a:pt x="1053" y="51"/>
                      </a:lnTo>
                      <a:lnTo>
                        <a:pt x="1051" y="53"/>
                      </a:lnTo>
                      <a:lnTo>
                        <a:pt x="1049" y="54"/>
                      </a:lnTo>
                      <a:lnTo>
                        <a:pt x="1048" y="56"/>
                      </a:lnTo>
                      <a:lnTo>
                        <a:pt x="1046" y="58"/>
                      </a:lnTo>
                      <a:lnTo>
                        <a:pt x="1046" y="59"/>
                      </a:lnTo>
                      <a:lnTo>
                        <a:pt x="1044" y="61"/>
                      </a:lnTo>
                      <a:lnTo>
                        <a:pt x="1046" y="61"/>
                      </a:lnTo>
                      <a:lnTo>
                        <a:pt x="1046" y="63"/>
                      </a:lnTo>
                      <a:lnTo>
                        <a:pt x="1051" y="66"/>
                      </a:lnTo>
                      <a:lnTo>
                        <a:pt x="1051" y="68"/>
                      </a:lnTo>
                      <a:lnTo>
                        <a:pt x="1051" y="69"/>
                      </a:lnTo>
                      <a:lnTo>
                        <a:pt x="1053" y="71"/>
                      </a:lnTo>
                      <a:lnTo>
                        <a:pt x="1054" y="72"/>
                      </a:lnTo>
                      <a:lnTo>
                        <a:pt x="1056" y="74"/>
                      </a:lnTo>
                      <a:lnTo>
                        <a:pt x="1058" y="74"/>
                      </a:lnTo>
                      <a:lnTo>
                        <a:pt x="1059" y="74"/>
                      </a:lnTo>
                      <a:lnTo>
                        <a:pt x="1059" y="76"/>
                      </a:lnTo>
                      <a:lnTo>
                        <a:pt x="1061" y="77"/>
                      </a:lnTo>
                      <a:lnTo>
                        <a:pt x="1061" y="79"/>
                      </a:lnTo>
                      <a:lnTo>
                        <a:pt x="1061" y="81"/>
                      </a:lnTo>
                      <a:lnTo>
                        <a:pt x="1061" y="82"/>
                      </a:lnTo>
                      <a:lnTo>
                        <a:pt x="1063" y="84"/>
                      </a:lnTo>
                      <a:lnTo>
                        <a:pt x="1063" y="86"/>
                      </a:lnTo>
                      <a:lnTo>
                        <a:pt x="1063" y="87"/>
                      </a:lnTo>
                      <a:lnTo>
                        <a:pt x="1063" y="89"/>
                      </a:lnTo>
                      <a:lnTo>
                        <a:pt x="1064" y="89"/>
                      </a:lnTo>
                      <a:lnTo>
                        <a:pt x="1064" y="91"/>
                      </a:lnTo>
                      <a:lnTo>
                        <a:pt x="1066" y="95"/>
                      </a:lnTo>
                      <a:lnTo>
                        <a:pt x="1068" y="99"/>
                      </a:lnTo>
                      <a:lnTo>
                        <a:pt x="1068" y="100"/>
                      </a:lnTo>
                      <a:lnTo>
                        <a:pt x="1068" y="102"/>
                      </a:lnTo>
                      <a:lnTo>
                        <a:pt x="1068" y="105"/>
                      </a:lnTo>
                      <a:lnTo>
                        <a:pt x="1070" y="107"/>
                      </a:lnTo>
                      <a:lnTo>
                        <a:pt x="1071" y="109"/>
                      </a:lnTo>
                      <a:lnTo>
                        <a:pt x="1075" y="109"/>
                      </a:lnTo>
                      <a:lnTo>
                        <a:pt x="1075" y="107"/>
                      </a:lnTo>
                      <a:lnTo>
                        <a:pt x="1076" y="109"/>
                      </a:lnTo>
                      <a:lnTo>
                        <a:pt x="1076" y="110"/>
                      </a:lnTo>
                      <a:lnTo>
                        <a:pt x="1075" y="110"/>
                      </a:lnTo>
                      <a:lnTo>
                        <a:pt x="1075" y="112"/>
                      </a:lnTo>
                      <a:lnTo>
                        <a:pt x="1075" y="114"/>
                      </a:lnTo>
                      <a:lnTo>
                        <a:pt x="1076" y="115"/>
                      </a:lnTo>
                      <a:lnTo>
                        <a:pt x="1076" y="117"/>
                      </a:lnTo>
                      <a:lnTo>
                        <a:pt x="1078" y="117"/>
                      </a:lnTo>
                      <a:lnTo>
                        <a:pt x="1078" y="118"/>
                      </a:lnTo>
                      <a:lnTo>
                        <a:pt x="1078" y="120"/>
                      </a:lnTo>
                      <a:lnTo>
                        <a:pt x="1078" y="122"/>
                      </a:lnTo>
                      <a:lnTo>
                        <a:pt x="1076" y="123"/>
                      </a:lnTo>
                      <a:lnTo>
                        <a:pt x="1075" y="125"/>
                      </a:lnTo>
                      <a:lnTo>
                        <a:pt x="1075" y="127"/>
                      </a:lnTo>
                      <a:lnTo>
                        <a:pt x="1075" y="128"/>
                      </a:lnTo>
                      <a:lnTo>
                        <a:pt x="1075" y="130"/>
                      </a:lnTo>
                      <a:lnTo>
                        <a:pt x="1076" y="132"/>
                      </a:lnTo>
                      <a:lnTo>
                        <a:pt x="1076" y="135"/>
                      </a:lnTo>
                      <a:lnTo>
                        <a:pt x="1076" y="137"/>
                      </a:lnTo>
                      <a:lnTo>
                        <a:pt x="1075" y="138"/>
                      </a:lnTo>
                      <a:lnTo>
                        <a:pt x="1073" y="140"/>
                      </a:lnTo>
                      <a:lnTo>
                        <a:pt x="1071" y="140"/>
                      </a:lnTo>
                      <a:lnTo>
                        <a:pt x="1071" y="141"/>
                      </a:lnTo>
                      <a:lnTo>
                        <a:pt x="1070" y="143"/>
                      </a:lnTo>
                      <a:lnTo>
                        <a:pt x="1070" y="145"/>
                      </a:lnTo>
                      <a:lnTo>
                        <a:pt x="1070" y="146"/>
                      </a:lnTo>
                      <a:lnTo>
                        <a:pt x="1070" y="148"/>
                      </a:lnTo>
                      <a:lnTo>
                        <a:pt x="1070" y="150"/>
                      </a:lnTo>
                      <a:lnTo>
                        <a:pt x="1071" y="151"/>
                      </a:lnTo>
                      <a:lnTo>
                        <a:pt x="1071" y="153"/>
                      </a:lnTo>
                      <a:lnTo>
                        <a:pt x="1071" y="155"/>
                      </a:lnTo>
                      <a:lnTo>
                        <a:pt x="1071" y="156"/>
                      </a:lnTo>
                      <a:lnTo>
                        <a:pt x="1070" y="158"/>
                      </a:lnTo>
                      <a:lnTo>
                        <a:pt x="1070" y="159"/>
                      </a:lnTo>
                      <a:lnTo>
                        <a:pt x="1070" y="161"/>
                      </a:lnTo>
                      <a:lnTo>
                        <a:pt x="1071" y="163"/>
                      </a:lnTo>
                      <a:lnTo>
                        <a:pt x="1071" y="166"/>
                      </a:lnTo>
                      <a:lnTo>
                        <a:pt x="1071" y="168"/>
                      </a:lnTo>
                      <a:lnTo>
                        <a:pt x="1073" y="168"/>
                      </a:lnTo>
                      <a:lnTo>
                        <a:pt x="1073" y="166"/>
                      </a:lnTo>
                      <a:lnTo>
                        <a:pt x="1075" y="166"/>
                      </a:lnTo>
                      <a:lnTo>
                        <a:pt x="1076" y="169"/>
                      </a:lnTo>
                      <a:lnTo>
                        <a:pt x="1076" y="171"/>
                      </a:lnTo>
                      <a:lnTo>
                        <a:pt x="1078" y="173"/>
                      </a:lnTo>
                      <a:lnTo>
                        <a:pt x="1078" y="174"/>
                      </a:lnTo>
                      <a:lnTo>
                        <a:pt x="1076" y="174"/>
                      </a:lnTo>
                      <a:lnTo>
                        <a:pt x="1076" y="176"/>
                      </a:lnTo>
                      <a:lnTo>
                        <a:pt x="1076" y="178"/>
                      </a:lnTo>
                      <a:lnTo>
                        <a:pt x="1076" y="179"/>
                      </a:lnTo>
                      <a:lnTo>
                        <a:pt x="1076" y="182"/>
                      </a:lnTo>
                      <a:lnTo>
                        <a:pt x="1076" y="184"/>
                      </a:lnTo>
                      <a:lnTo>
                        <a:pt x="1078" y="186"/>
                      </a:lnTo>
                      <a:lnTo>
                        <a:pt x="1078" y="187"/>
                      </a:lnTo>
                      <a:lnTo>
                        <a:pt x="1078" y="189"/>
                      </a:lnTo>
                      <a:lnTo>
                        <a:pt x="1078" y="191"/>
                      </a:lnTo>
                      <a:lnTo>
                        <a:pt x="1080" y="191"/>
                      </a:lnTo>
                      <a:lnTo>
                        <a:pt x="1080" y="192"/>
                      </a:lnTo>
                      <a:lnTo>
                        <a:pt x="1080" y="194"/>
                      </a:lnTo>
                      <a:lnTo>
                        <a:pt x="1080" y="196"/>
                      </a:lnTo>
                      <a:lnTo>
                        <a:pt x="1080" y="197"/>
                      </a:lnTo>
                      <a:lnTo>
                        <a:pt x="1080" y="199"/>
                      </a:lnTo>
                      <a:lnTo>
                        <a:pt x="1081" y="201"/>
                      </a:lnTo>
                      <a:lnTo>
                        <a:pt x="1083" y="202"/>
                      </a:lnTo>
                      <a:lnTo>
                        <a:pt x="1085" y="202"/>
                      </a:lnTo>
                      <a:lnTo>
                        <a:pt x="1086" y="204"/>
                      </a:lnTo>
                      <a:lnTo>
                        <a:pt x="1086" y="205"/>
                      </a:lnTo>
                      <a:lnTo>
                        <a:pt x="1088" y="205"/>
                      </a:lnTo>
                      <a:lnTo>
                        <a:pt x="1088" y="207"/>
                      </a:lnTo>
                      <a:lnTo>
                        <a:pt x="1088" y="209"/>
                      </a:lnTo>
                      <a:lnTo>
                        <a:pt x="1090" y="209"/>
                      </a:lnTo>
                      <a:lnTo>
                        <a:pt x="1090" y="210"/>
                      </a:lnTo>
                      <a:lnTo>
                        <a:pt x="1090" y="212"/>
                      </a:lnTo>
                      <a:lnTo>
                        <a:pt x="1090" y="214"/>
                      </a:lnTo>
                      <a:lnTo>
                        <a:pt x="1088" y="214"/>
                      </a:lnTo>
                      <a:lnTo>
                        <a:pt x="1090" y="214"/>
                      </a:lnTo>
                      <a:lnTo>
                        <a:pt x="1090" y="215"/>
                      </a:lnTo>
                      <a:lnTo>
                        <a:pt x="1090" y="217"/>
                      </a:lnTo>
                      <a:lnTo>
                        <a:pt x="1091" y="219"/>
                      </a:lnTo>
                      <a:lnTo>
                        <a:pt x="1093" y="220"/>
                      </a:lnTo>
                      <a:lnTo>
                        <a:pt x="1093" y="222"/>
                      </a:lnTo>
                      <a:lnTo>
                        <a:pt x="1095" y="222"/>
                      </a:lnTo>
                      <a:lnTo>
                        <a:pt x="1095" y="224"/>
                      </a:lnTo>
                      <a:lnTo>
                        <a:pt x="1097" y="224"/>
                      </a:lnTo>
                      <a:lnTo>
                        <a:pt x="1098" y="225"/>
                      </a:lnTo>
                      <a:lnTo>
                        <a:pt x="1097" y="225"/>
                      </a:lnTo>
                      <a:lnTo>
                        <a:pt x="1097" y="227"/>
                      </a:lnTo>
                      <a:lnTo>
                        <a:pt x="1097" y="228"/>
                      </a:lnTo>
                      <a:lnTo>
                        <a:pt x="1097" y="230"/>
                      </a:lnTo>
                      <a:lnTo>
                        <a:pt x="1097" y="232"/>
                      </a:lnTo>
                      <a:lnTo>
                        <a:pt x="1098" y="232"/>
                      </a:lnTo>
                      <a:lnTo>
                        <a:pt x="1097" y="233"/>
                      </a:lnTo>
                      <a:lnTo>
                        <a:pt x="1097" y="235"/>
                      </a:lnTo>
                      <a:lnTo>
                        <a:pt x="1098" y="237"/>
                      </a:lnTo>
                      <a:lnTo>
                        <a:pt x="1100" y="237"/>
                      </a:lnTo>
                      <a:lnTo>
                        <a:pt x="1102" y="238"/>
                      </a:lnTo>
                      <a:lnTo>
                        <a:pt x="1103" y="238"/>
                      </a:lnTo>
                      <a:lnTo>
                        <a:pt x="1102" y="240"/>
                      </a:lnTo>
                      <a:lnTo>
                        <a:pt x="1102" y="242"/>
                      </a:lnTo>
                      <a:lnTo>
                        <a:pt x="1100" y="243"/>
                      </a:lnTo>
                      <a:lnTo>
                        <a:pt x="1102" y="243"/>
                      </a:lnTo>
                      <a:lnTo>
                        <a:pt x="1102" y="245"/>
                      </a:lnTo>
                      <a:lnTo>
                        <a:pt x="1100" y="245"/>
                      </a:lnTo>
                      <a:lnTo>
                        <a:pt x="1100" y="247"/>
                      </a:lnTo>
                      <a:lnTo>
                        <a:pt x="1098" y="247"/>
                      </a:lnTo>
                      <a:lnTo>
                        <a:pt x="1098" y="248"/>
                      </a:lnTo>
                      <a:lnTo>
                        <a:pt x="1097" y="248"/>
                      </a:lnTo>
                      <a:lnTo>
                        <a:pt x="1097" y="250"/>
                      </a:lnTo>
                      <a:lnTo>
                        <a:pt x="1095" y="250"/>
                      </a:lnTo>
                      <a:lnTo>
                        <a:pt x="1093" y="251"/>
                      </a:lnTo>
                      <a:lnTo>
                        <a:pt x="1095" y="251"/>
                      </a:lnTo>
                      <a:lnTo>
                        <a:pt x="1093" y="251"/>
                      </a:lnTo>
                      <a:lnTo>
                        <a:pt x="1093" y="253"/>
                      </a:lnTo>
                      <a:lnTo>
                        <a:pt x="1093" y="255"/>
                      </a:lnTo>
                      <a:lnTo>
                        <a:pt x="1091" y="255"/>
                      </a:lnTo>
                      <a:lnTo>
                        <a:pt x="1091" y="258"/>
                      </a:lnTo>
                      <a:lnTo>
                        <a:pt x="1090" y="260"/>
                      </a:lnTo>
                      <a:lnTo>
                        <a:pt x="1091" y="260"/>
                      </a:lnTo>
                      <a:lnTo>
                        <a:pt x="1091" y="261"/>
                      </a:lnTo>
                      <a:lnTo>
                        <a:pt x="1091" y="263"/>
                      </a:lnTo>
                      <a:lnTo>
                        <a:pt x="1093" y="263"/>
                      </a:lnTo>
                      <a:lnTo>
                        <a:pt x="1093" y="265"/>
                      </a:lnTo>
                      <a:lnTo>
                        <a:pt x="1091" y="265"/>
                      </a:lnTo>
                      <a:lnTo>
                        <a:pt x="1093" y="265"/>
                      </a:lnTo>
                      <a:lnTo>
                        <a:pt x="1093" y="266"/>
                      </a:lnTo>
                      <a:lnTo>
                        <a:pt x="1093" y="268"/>
                      </a:lnTo>
                      <a:lnTo>
                        <a:pt x="1091" y="268"/>
                      </a:lnTo>
                      <a:lnTo>
                        <a:pt x="1091" y="270"/>
                      </a:lnTo>
                      <a:lnTo>
                        <a:pt x="1090" y="270"/>
                      </a:lnTo>
                      <a:lnTo>
                        <a:pt x="1090" y="268"/>
                      </a:lnTo>
                      <a:lnTo>
                        <a:pt x="1088" y="270"/>
                      </a:lnTo>
                      <a:lnTo>
                        <a:pt x="1086" y="271"/>
                      </a:lnTo>
                      <a:lnTo>
                        <a:pt x="1086" y="270"/>
                      </a:lnTo>
                      <a:lnTo>
                        <a:pt x="1085" y="271"/>
                      </a:lnTo>
                      <a:lnTo>
                        <a:pt x="1085" y="273"/>
                      </a:lnTo>
                      <a:lnTo>
                        <a:pt x="1086" y="273"/>
                      </a:lnTo>
                      <a:lnTo>
                        <a:pt x="1085" y="273"/>
                      </a:lnTo>
                      <a:lnTo>
                        <a:pt x="1083" y="273"/>
                      </a:lnTo>
                      <a:lnTo>
                        <a:pt x="1083" y="274"/>
                      </a:lnTo>
                      <a:lnTo>
                        <a:pt x="1081" y="274"/>
                      </a:lnTo>
                      <a:lnTo>
                        <a:pt x="1081" y="273"/>
                      </a:lnTo>
                      <a:lnTo>
                        <a:pt x="1080" y="273"/>
                      </a:lnTo>
                      <a:lnTo>
                        <a:pt x="1080" y="271"/>
                      </a:lnTo>
                      <a:lnTo>
                        <a:pt x="1076" y="271"/>
                      </a:lnTo>
                      <a:lnTo>
                        <a:pt x="1075" y="271"/>
                      </a:lnTo>
                      <a:lnTo>
                        <a:pt x="1073" y="271"/>
                      </a:lnTo>
                      <a:lnTo>
                        <a:pt x="1073" y="273"/>
                      </a:lnTo>
                      <a:lnTo>
                        <a:pt x="1073" y="274"/>
                      </a:lnTo>
                      <a:lnTo>
                        <a:pt x="1073" y="276"/>
                      </a:lnTo>
                      <a:lnTo>
                        <a:pt x="1073" y="278"/>
                      </a:lnTo>
                      <a:lnTo>
                        <a:pt x="1071" y="278"/>
                      </a:lnTo>
                      <a:lnTo>
                        <a:pt x="1073" y="279"/>
                      </a:lnTo>
                      <a:lnTo>
                        <a:pt x="1073" y="281"/>
                      </a:lnTo>
                      <a:lnTo>
                        <a:pt x="1075" y="281"/>
                      </a:lnTo>
                      <a:lnTo>
                        <a:pt x="1076" y="281"/>
                      </a:lnTo>
                      <a:lnTo>
                        <a:pt x="1076" y="283"/>
                      </a:lnTo>
                      <a:lnTo>
                        <a:pt x="1078" y="283"/>
                      </a:lnTo>
                      <a:lnTo>
                        <a:pt x="1080" y="283"/>
                      </a:lnTo>
                      <a:lnTo>
                        <a:pt x="1081" y="283"/>
                      </a:lnTo>
                      <a:lnTo>
                        <a:pt x="1083" y="284"/>
                      </a:lnTo>
                      <a:lnTo>
                        <a:pt x="1085" y="284"/>
                      </a:lnTo>
                      <a:lnTo>
                        <a:pt x="1085" y="286"/>
                      </a:lnTo>
                      <a:lnTo>
                        <a:pt x="1085" y="288"/>
                      </a:lnTo>
                      <a:lnTo>
                        <a:pt x="1086" y="288"/>
                      </a:lnTo>
                      <a:lnTo>
                        <a:pt x="1086" y="289"/>
                      </a:lnTo>
                      <a:lnTo>
                        <a:pt x="1088" y="291"/>
                      </a:lnTo>
                      <a:lnTo>
                        <a:pt x="1088" y="293"/>
                      </a:lnTo>
                      <a:lnTo>
                        <a:pt x="1090" y="293"/>
                      </a:lnTo>
                      <a:lnTo>
                        <a:pt x="1091" y="294"/>
                      </a:lnTo>
                      <a:lnTo>
                        <a:pt x="1093" y="296"/>
                      </a:lnTo>
                      <a:lnTo>
                        <a:pt x="1095" y="296"/>
                      </a:lnTo>
                      <a:lnTo>
                        <a:pt x="1095" y="297"/>
                      </a:lnTo>
                      <a:lnTo>
                        <a:pt x="1097" y="297"/>
                      </a:lnTo>
                      <a:lnTo>
                        <a:pt x="1098" y="297"/>
                      </a:lnTo>
                      <a:lnTo>
                        <a:pt x="1100" y="299"/>
                      </a:lnTo>
                      <a:lnTo>
                        <a:pt x="1102" y="299"/>
                      </a:lnTo>
                      <a:lnTo>
                        <a:pt x="1102" y="301"/>
                      </a:lnTo>
                      <a:lnTo>
                        <a:pt x="1103" y="301"/>
                      </a:lnTo>
                      <a:lnTo>
                        <a:pt x="1105" y="301"/>
                      </a:lnTo>
                      <a:lnTo>
                        <a:pt x="1105" y="302"/>
                      </a:lnTo>
                      <a:lnTo>
                        <a:pt x="1107" y="302"/>
                      </a:lnTo>
                      <a:lnTo>
                        <a:pt x="1107" y="304"/>
                      </a:lnTo>
                      <a:lnTo>
                        <a:pt x="1108" y="304"/>
                      </a:lnTo>
                      <a:lnTo>
                        <a:pt x="1110" y="306"/>
                      </a:lnTo>
                      <a:lnTo>
                        <a:pt x="1108" y="307"/>
                      </a:lnTo>
                      <a:lnTo>
                        <a:pt x="1110" y="307"/>
                      </a:lnTo>
                      <a:lnTo>
                        <a:pt x="1110" y="309"/>
                      </a:lnTo>
                      <a:lnTo>
                        <a:pt x="1112" y="309"/>
                      </a:lnTo>
                      <a:lnTo>
                        <a:pt x="1113" y="309"/>
                      </a:lnTo>
                      <a:lnTo>
                        <a:pt x="1115" y="309"/>
                      </a:lnTo>
                      <a:lnTo>
                        <a:pt x="1115" y="311"/>
                      </a:lnTo>
                      <a:lnTo>
                        <a:pt x="1117" y="311"/>
                      </a:lnTo>
                      <a:lnTo>
                        <a:pt x="1118" y="314"/>
                      </a:lnTo>
                      <a:lnTo>
                        <a:pt x="1122" y="319"/>
                      </a:lnTo>
                      <a:lnTo>
                        <a:pt x="1122" y="320"/>
                      </a:lnTo>
                      <a:lnTo>
                        <a:pt x="1124" y="322"/>
                      </a:lnTo>
                      <a:lnTo>
                        <a:pt x="1125" y="325"/>
                      </a:lnTo>
                      <a:lnTo>
                        <a:pt x="1125" y="327"/>
                      </a:lnTo>
                      <a:lnTo>
                        <a:pt x="1125" y="329"/>
                      </a:lnTo>
                      <a:lnTo>
                        <a:pt x="1127" y="330"/>
                      </a:lnTo>
                      <a:lnTo>
                        <a:pt x="1129" y="332"/>
                      </a:lnTo>
                      <a:lnTo>
                        <a:pt x="1129" y="334"/>
                      </a:lnTo>
                      <a:lnTo>
                        <a:pt x="1129" y="335"/>
                      </a:lnTo>
                      <a:lnTo>
                        <a:pt x="1130" y="335"/>
                      </a:lnTo>
                      <a:lnTo>
                        <a:pt x="1130" y="337"/>
                      </a:lnTo>
                      <a:lnTo>
                        <a:pt x="1132" y="337"/>
                      </a:lnTo>
                      <a:lnTo>
                        <a:pt x="1135" y="337"/>
                      </a:lnTo>
                      <a:lnTo>
                        <a:pt x="1137" y="337"/>
                      </a:lnTo>
                      <a:lnTo>
                        <a:pt x="1139" y="335"/>
                      </a:lnTo>
                      <a:lnTo>
                        <a:pt x="1140" y="335"/>
                      </a:lnTo>
                      <a:lnTo>
                        <a:pt x="1142" y="335"/>
                      </a:lnTo>
                      <a:lnTo>
                        <a:pt x="1146" y="337"/>
                      </a:lnTo>
                      <a:lnTo>
                        <a:pt x="1147" y="339"/>
                      </a:lnTo>
                      <a:lnTo>
                        <a:pt x="1149" y="339"/>
                      </a:lnTo>
                      <a:lnTo>
                        <a:pt x="1151" y="339"/>
                      </a:lnTo>
                      <a:lnTo>
                        <a:pt x="1152" y="340"/>
                      </a:lnTo>
                      <a:lnTo>
                        <a:pt x="1154" y="340"/>
                      </a:lnTo>
                      <a:lnTo>
                        <a:pt x="1156" y="340"/>
                      </a:lnTo>
                      <a:lnTo>
                        <a:pt x="1157" y="342"/>
                      </a:lnTo>
                      <a:lnTo>
                        <a:pt x="1159" y="343"/>
                      </a:lnTo>
                      <a:lnTo>
                        <a:pt x="1161" y="345"/>
                      </a:lnTo>
                      <a:lnTo>
                        <a:pt x="1162" y="345"/>
                      </a:lnTo>
                      <a:lnTo>
                        <a:pt x="1162" y="347"/>
                      </a:lnTo>
                      <a:lnTo>
                        <a:pt x="1164" y="348"/>
                      </a:lnTo>
                      <a:lnTo>
                        <a:pt x="1166" y="352"/>
                      </a:lnTo>
                      <a:lnTo>
                        <a:pt x="1167" y="352"/>
                      </a:lnTo>
                      <a:lnTo>
                        <a:pt x="1169" y="353"/>
                      </a:lnTo>
                      <a:lnTo>
                        <a:pt x="1171" y="353"/>
                      </a:lnTo>
                      <a:lnTo>
                        <a:pt x="1171" y="352"/>
                      </a:lnTo>
                      <a:lnTo>
                        <a:pt x="1171" y="350"/>
                      </a:lnTo>
                      <a:lnTo>
                        <a:pt x="1171" y="348"/>
                      </a:lnTo>
                      <a:lnTo>
                        <a:pt x="1169" y="348"/>
                      </a:lnTo>
                      <a:lnTo>
                        <a:pt x="1169" y="347"/>
                      </a:lnTo>
                      <a:lnTo>
                        <a:pt x="1167" y="347"/>
                      </a:lnTo>
                      <a:lnTo>
                        <a:pt x="1166" y="347"/>
                      </a:lnTo>
                      <a:lnTo>
                        <a:pt x="1166" y="345"/>
                      </a:lnTo>
                      <a:lnTo>
                        <a:pt x="1164" y="343"/>
                      </a:lnTo>
                      <a:lnTo>
                        <a:pt x="1164" y="342"/>
                      </a:lnTo>
                      <a:lnTo>
                        <a:pt x="1164" y="340"/>
                      </a:lnTo>
                      <a:lnTo>
                        <a:pt x="1162" y="340"/>
                      </a:lnTo>
                      <a:lnTo>
                        <a:pt x="1161" y="340"/>
                      </a:lnTo>
                      <a:lnTo>
                        <a:pt x="1161" y="339"/>
                      </a:lnTo>
                      <a:lnTo>
                        <a:pt x="1159" y="337"/>
                      </a:lnTo>
                      <a:lnTo>
                        <a:pt x="1157" y="339"/>
                      </a:lnTo>
                      <a:lnTo>
                        <a:pt x="1157" y="337"/>
                      </a:lnTo>
                      <a:lnTo>
                        <a:pt x="1156" y="337"/>
                      </a:lnTo>
                      <a:lnTo>
                        <a:pt x="1157" y="335"/>
                      </a:lnTo>
                      <a:lnTo>
                        <a:pt x="1159" y="334"/>
                      </a:lnTo>
                      <a:lnTo>
                        <a:pt x="1161" y="334"/>
                      </a:lnTo>
                      <a:lnTo>
                        <a:pt x="1159" y="332"/>
                      </a:lnTo>
                      <a:lnTo>
                        <a:pt x="1159" y="330"/>
                      </a:lnTo>
                      <a:lnTo>
                        <a:pt x="1157" y="329"/>
                      </a:lnTo>
                      <a:lnTo>
                        <a:pt x="1156" y="329"/>
                      </a:lnTo>
                      <a:lnTo>
                        <a:pt x="1156" y="327"/>
                      </a:lnTo>
                      <a:lnTo>
                        <a:pt x="1157" y="325"/>
                      </a:lnTo>
                      <a:lnTo>
                        <a:pt x="1157" y="324"/>
                      </a:lnTo>
                      <a:lnTo>
                        <a:pt x="1157" y="322"/>
                      </a:lnTo>
                      <a:lnTo>
                        <a:pt x="1159" y="320"/>
                      </a:lnTo>
                      <a:lnTo>
                        <a:pt x="1159" y="319"/>
                      </a:lnTo>
                      <a:lnTo>
                        <a:pt x="1161" y="317"/>
                      </a:lnTo>
                      <a:lnTo>
                        <a:pt x="1161" y="316"/>
                      </a:lnTo>
                      <a:lnTo>
                        <a:pt x="1161" y="314"/>
                      </a:lnTo>
                      <a:lnTo>
                        <a:pt x="1161" y="312"/>
                      </a:lnTo>
                      <a:lnTo>
                        <a:pt x="1161" y="311"/>
                      </a:lnTo>
                      <a:lnTo>
                        <a:pt x="1161" y="309"/>
                      </a:lnTo>
                      <a:lnTo>
                        <a:pt x="1161" y="307"/>
                      </a:lnTo>
                      <a:lnTo>
                        <a:pt x="1162" y="307"/>
                      </a:lnTo>
                      <a:lnTo>
                        <a:pt x="1164" y="307"/>
                      </a:lnTo>
                      <a:lnTo>
                        <a:pt x="1164" y="306"/>
                      </a:lnTo>
                      <a:lnTo>
                        <a:pt x="1164" y="304"/>
                      </a:lnTo>
                      <a:lnTo>
                        <a:pt x="1162" y="302"/>
                      </a:lnTo>
                      <a:lnTo>
                        <a:pt x="1162" y="301"/>
                      </a:lnTo>
                      <a:lnTo>
                        <a:pt x="1162" y="299"/>
                      </a:lnTo>
                      <a:lnTo>
                        <a:pt x="1161" y="299"/>
                      </a:lnTo>
                      <a:lnTo>
                        <a:pt x="1159" y="299"/>
                      </a:lnTo>
                      <a:lnTo>
                        <a:pt x="1159" y="297"/>
                      </a:lnTo>
                      <a:lnTo>
                        <a:pt x="1161" y="296"/>
                      </a:lnTo>
                      <a:lnTo>
                        <a:pt x="1159" y="296"/>
                      </a:lnTo>
                      <a:lnTo>
                        <a:pt x="1159" y="294"/>
                      </a:lnTo>
                      <a:lnTo>
                        <a:pt x="1161" y="294"/>
                      </a:lnTo>
                      <a:lnTo>
                        <a:pt x="1161" y="293"/>
                      </a:lnTo>
                      <a:lnTo>
                        <a:pt x="1161" y="291"/>
                      </a:lnTo>
                      <a:lnTo>
                        <a:pt x="1162" y="291"/>
                      </a:lnTo>
                      <a:lnTo>
                        <a:pt x="1162" y="289"/>
                      </a:lnTo>
                      <a:lnTo>
                        <a:pt x="1162" y="288"/>
                      </a:lnTo>
                      <a:lnTo>
                        <a:pt x="1164" y="286"/>
                      </a:lnTo>
                      <a:lnTo>
                        <a:pt x="1162" y="286"/>
                      </a:lnTo>
                      <a:lnTo>
                        <a:pt x="1162" y="284"/>
                      </a:lnTo>
                      <a:lnTo>
                        <a:pt x="1162" y="283"/>
                      </a:lnTo>
                      <a:lnTo>
                        <a:pt x="1164" y="279"/>
                      </a:lnTo>
                      <a:lnTo>
                        <a:pt x="1164" y="278"/>
                      </a:lnTo>
                      <a:lnTo>
                        <a:pt x="1166" y="276"/>
                      </a:lnTo>
                      <a:lnTo>
                        <a:pt x="1167" y="276"/>
                      </a:lnTo>
                      <a:lnTo>
                        <a:pt x="1169" y="274"/>
                      </a:lnTo>
                      <a:lnTo>
                        <a:pt x="1171" y="273"/>
                      </a:lnTo>
                      <a:lnTo>
                        <a:pt x="1171" y="271"/>
                      </a:lnTo>
                      <a:lnTo>
                        <a:pt x="1171" y="270"/>
                      </a:lnTo>
                      <a:lnTo>
                        <a:pt x="1173" y="268"/>
                      </a:lnTo>
                      <a:lnTo>
                        <a:pt x="1174" y="268"/>
                      </a:lnTo>
                      <a:lnTo>
                        <a:pt x="1174" y="266"/>
                      </a:lnTo>
                      <a:lnTo>
                        <a:pt x="1176" y="266"/>
                      </a:lnTo>
                      <a:lnTo>
                        <a:pt x="1178" y="265"/>
                      </a:lnTo>
                      <a:lnTo>
                        <a:pt x="1181" y="265"/>
                      </a:lnTo>
                      <a:lnTo>
                        <a:pt x="1181" y="263"/>
                      </a:lnTo>
                      <a:lnTo>
                        <a:pt x="1183" y="263"/>
                      </a:lnTo>
                      <a:lnTo>
                        <a:pt x="1184" y="263"/>
                      </a:lnTo>
                      <a:lnTo>
                        <a:pt x="1186" y="263"/>
                      </a:lnTo>
                      <a:lnTo>
                        <a:pt x="1186" y="261"/>
                      </a:lnTo>
                      <a:lnTo>
                        <a:pt x="1188" y="261"/>
                      </a:lnTo>
                      <a:lnTo>
                        <a:pt x="1189" y="261"/>
                      </a:lnTo>
                      <a:lnTo>
                        <a:pt x="1191" y="261"/>
                      </a:lnTo>
                      <a:lnTo>
                        <a:pt x="1193" y="260"/>
                      </a:lnTo>
                      <a:lnTo>
                        <a:pt x="1194" y="260"/>
                      </a:lnTo>
                      <a:lnTo>
                        <a:pt x="1194" y="258"/>
                      </a:lnTo>
                      <a:lnTo>
                        <a:pt x="1194" y="256"/>
                      </a:lnTo>
                      <a:lnTo>
                        <a:pt x="1194" y="255"/>
                      </a:lnTo>
                      <a:lnTo>
                        <a:pt x="1196" y="255"/>
                      </a:lnTo>
                      <a:lnTo>
                        <a:pt x="1198" y="255"/>
                      </a:lnTo>
                      <a:lnTo>
                        <a:pt x="1200" y="255"/>
                      </a:lnTo>
                      <a:lnTo>
                        <a:pt x="1201" y="255"/>
                      </a:lnTo>
                      <a:lnTo>
                        <a:pt x="1203" y="253"/>
                      </a:lnTo>
                      <a:lnTo>
                        <a:pt x="1205" y="255"/>
                      </a:lnTo>
                      <a:lnTo>
                        <a:pt x="1206" y="255"/>
                      </a:lnTo>
                      <a:lnTo>
                        <a:pt x="1208" y="255"/>
                      </a:lnTo>
                      <a:lnTo>
                        <a:pt x="1210" y="255"/>
                      </a:lnTo>
                      <a:lnTo>
                        <a:pt x="1210" y="256"/>
                      </a:lnTo>
                      <a:lnTo>
                        <a:pt x="1210" y="258"/>
                      </a:lnTo>
                      <a:lnTo>
                        <a:pt x="1211" y="258"/>
                      </a:lnTo>
                      <a:lnTo>
                        <a:pt x="1213" y="258"/>
                      </a:lnTo>
                      <a:lnTo>
                        <a:pt x="1215" y="260"/>
                      </a:lnTo>
                      <a:lnTo>
                        <a:pt x="1218" y="260"/>
                      </a:lnTo>
                      <a:lnTo>
                        <a:pt x="1220" y="260"/>
                      </a:lnTo>
                      <a:lnTo>
                        <a:pt x="1222" y="260"/>
                      </a:lnTo>
                      <a:lnTo>
                        <a:pt x="1223" y="260"/>
                      </a:lnTo>
                      <a:lnTo>
                        <a:pt x="1223" y="261"/>
                      </a:lnTo>
                      <a:lnTo>
                        <a:pt x="1223" y="263"/>
                      </a:lnTo>
                      <a:lnTo>
                        <a:pt x="1223" y="265"/>
                      </a:lnTo>
                      <a:lnTo>
                        <a:pt x="1223" y="266"/>
                      </a:lnTo>
                      <a:lnTo>
                        <a:pt x="1225" y="266"/>
                      </a:lnTo>
                      <a:lnTo>
                        <a:pt x="1225" y="268"/>
                      </a:lnTo>
                      <a:lnTo>
                        <a:pt x="1227" y="268"/>
                      </a:lnTo>
                      <a:lnTo>
                        <a:pt x="1228" y="268"/>
                      </a:lnTo>
                      <a:lnTo>
                        <a:pt x="1230" y="268"/>
                      </a:lnTo>
                      <a:lnTo>
                        <a:pt x="1230" y="270"/>
                      </a:lnTo>
                      <a:lnTo>
                        <a:pt x="1230" y="271"/>
                      </a:lnTo>
                      <a:lnTo>
                        <a:pt x="1232" y="271"/>
                      </a:lnTo>
                      <a:lnTo>
                        <a:pt x="1233" y="271"/>
                      </a:lnTo>
                      <a:lnTo>
                        <a:pt x="1235" y="273"/>
                      </a:lnTo>
                      <a:lnTo>
                        <a:pt x="1235" y="274"/>
                      </a:lnTo>
                      <a:lnTo>
                        <a:pt x="1233" y="276"/>
                      </a:lnTo>
                      <a:lnTo>
                        <a:pt x="1235" y="276"/>
                      </a:lnTo>
                      <a:lnTo>
                        <a:pt x="1237" y="278"/>
                      </a:lnTo>
                      <a:lnTo>
                        <a:pt x="1238" y="278"/>
                      </a:lnTo>
                      <a:lnTo>
                        <a:pt x="1237" y="279"/>
                      </a:lnTo>
                      <a:lnTo>
                        <a:pt x="1237" y="281"/>
                      </a:lnTo>
                      <a:lnTo>
                        <a:pt x="1238" y="281"/>
                      </a:lnTo>
                      <a:lnTo>
                        <a:pt x="1238" y="283"/>
                      </a:lnTo>
                      <a:lnTo>
                        <a:pt x="1238" y="284"/>
                      </a:lnTo>
                      <a:lnTo>
                        <a:pt x="1238" y="286"/>
                      </a:lnTo>
                      <a:lnTo>
                        <a:pt x="1238" y="288"/>
                      </a:lnTo>
                      <a:lnTo>
                        <a:pt x="1240" y="288"/>
                      </a:lnTo>
                      <a:lnTo>
                        <a:pt x="1242" y="288"/>
                      </a:lnTo>
                      <a:lnTo>
                        <a:pt x="1243" y="288"/>
                      </a:lnTo>
                      <a:lnTo>
                        <a:pt x="1245" y="289"/>
                      </a:lnTo>
                      <a:lnTo>
                        <a:pt x="1247" y="289"/>
                      </a:lnTo>
                      <a:lnTo>
                        <a:pt x="1247" y="291"/>
                      </a:lnTo>
                      <a:lnTo>
                        <a:pt x="1247" y="289"/>
                      </a:lnTo>
                      <a:lnTo>
                        <a:pt x="1249" y="289"/>
                      </a:lnTo>
                      <a:lnTo>
                        <a:pt x="1250" y="289"/>
                      </a:lnTo>
                      <a:lnTo>
                        <a:pt x="1250" y="288"/>
                      </a:lnTo>
                      <a:lnTo>
                        <a:pt x="1252" y="288"/>
                      </a:lnTo>
                      <a:lnTo>
                        <a:pt x="1254" y="289"/>
                      </a:lnTo>
                      <a:lnTo>
                        <a:pt x="1254" y="288"/>
                      </a:lnTo>
                      <a:lnTo>
                        <a:pt x="1254" y="286"/>
                      </a:lnTo>
                      <a:lnTo>
                        <a:pt x="1255" y="288"/>
                      </a:lnTo>
                      <a:lnTo>
                        <a:pt x="1257" y="288"/>
                      </a:lnTo>
                      <a:lnTo>
                        <a:pt x="1259" y="288"/>
                      </a:lnTo>
                      <a:lnTo>
                        <a:pt x="1259" y="289"/>
                      </a:lnTo>
                      <a:lnTo>
                        <a:pt x="1260" y="289"/>
                      </a:lnTo>
                      <a:lnTo>
                        <a:pt x="1260" y="288"/>
                      </a:lnTo>
                      <a:lnTo>
                        <a:pt x="1262" y="288"/>
                      </a:lnTo>
                      <a:lnTo>
                        <a:pt x="1262" y="286"/>
                      </a:lnTo>
                      <a:lnTo>
                        <a:pt x="1260" y="284"/>
                      </a:lnTo>
                      <a:lnTo>
                        <a:pt x="1262" y="284"/>
                      </a:lnTo>
                      <a:lnTo>
                        <a:pt x="1264" y="283"/>
                      </a:lnTo>
                      <a:lnTo>
                        <a:pt x="1264" y="281"/>
                      </a:lnTo>
                      <a:lnTo>
                        <a:pt x="1262" y="281"/>
                      </a:lnTo>
                      <a:lnTo>
                        <a:pt x="1264" y="279"/>
                      </a:lnTo>
                      <a:lnTo>
                        <a:pt x="1265" y="279"/>
                      </a:lnTo>
                      <a:lnTo>
                        <a:pt x="1267" y="279"/>
                      </a:lnTo>
                      <a:lnTo>
                        <a:pt x="1269" y="279"/>
                      </a:lnTo>
                      <a:lnTo>
                        <a:pt x="1271" y="279"/>
                      </a:lnTo>
                      <a:lnTo>
                        <a:pt x="1271" y="278"/>
                      </a:lnTo>
                      <a:lnTo>
                        <a:pt x="1272" y="278"/>
                      </a:lnTo>
                      <a:lnTo>
                        <a:pt x="1274" y="278"/>
                      </a:lnTo>
                      <a:lnTo>
                        <a:pt x="1274" y="276"/>
                      </a:lnTo>
                      <a:lnTo>
                        <a:pt x="1277" y="276"/>
                      </a:lnTo>
                      <a:lnTo>
                        <a:pt x="1281" y="274"/>
                      </a:lnTo>
                      <a:lnTo>
                        <a:pt x="1281" y="273"/>
                      </a:lnTo>
                      <a:lnTo>
                        <a:pt x="1281" y="271"/>
                      </a:lnTo>
                      <a:lnTo>
                        <a:pt x="1281" y="270"/>
                      </a:lnTo>
                      <a:lnTo>
                        <a:pt x="1281" y="268"/>
                      </a:lnTo>
                      <a:lnTo>
                        <a:pt x="1279" y="266"/>
                      </a:lnTo>
                      <a:lnTo>
                        <a:pt x="1277" y="266"/>
                      </a:lnTo>
                      <a:lnTo>
                        <a:pt x="1277" y="265"/>
                      </a:lnTo>
                      <a:lnTo>
                        <a:pt x="1276" y="265"/>
                      </a:lnTo>
                      <a:lnTo>
                        <a:pt x="1276" y="263"/>
                      </a:lnTo>
                      <a:lnTo>
                        <a:pt x="1274" y="263"/>
                      </a:lnTo>
                      <a:lnTo>
                        <a:pt x="1274" y="261"/>
                      </a:lnTo>
                      <a:lnTo>
                        <a:pt x="1274" y="260"/>
                      </a:lnTo>
                      <a:lnTo>
                        <a:pt x="1272" y="260"/>
                      </a:lnTo>
                      <a:lnTo>
                        <a:pt x="1272" y="258"/>
                      </a:lnTo>
                      <a:lnTo>
                        <a:pt x="1272" y="256"/>
                      </a:lnTo>
                      <a:lnTo>
                        <a:pt x="1272" y="255"/>
                      </a:lnTo>
                      <a:lnTo>
                        <a:pt x="1272" y="253"/>
                      </a:lnTo>
                      <a:lnTo>
                        <a:pt x="1274" y="253"/>
                      </a:lnTo>
                      <a:lnTo>
                        <a:pt x="1274" y="251"/>
                      </a:lnTo>
                      <a:lnTo>
                        <a:pt x="1276" y="250"/>
                      </a:lnTo>
                      <a:lnTo>
                        <a:pt x="1277" y="250"/>
                      </a:lnTo>
                      <a:lnTo>
                        <a:pt x="1277" y="248"/>
                      </a:lnTo>
                      <a:lnTo>
                        <a:pt x="1277" y="247"/>
                      </a:lnTo>
                      <a:lnTo>
                        <a:pt x="1277" y="245"/>
                      </a:lnTo>
                      <a:lnTo>
                        <a:pt x="1279" y="243"/>
                      </a:lnTo>
                      <a:lnTo>
                        <a:pt x="1279" y="242"/>
                      </a:lnTo>
                      <a:lnTo>
                        <a:pt x="1281" y="242"/>
                      </a:lnTo>
                      <a:lnTo>
                        <a:pt x="1281" y="240"/>
                      </a:lnTo>
                      <a:lnTo>
                        <a:pt x="1279" y="238"/>
                      </a:lnTo>
                      <a:lnTo>
                        <a:pt x="1281" y="238"/>
                      </a:lnTo>
                      <a:lnTo>
                        <a:pt x="1281" y="237"/>
                      </a:lnTo>
                      <a:lnTo>
                        <a:pt x="1282" y="235"/>
                      </a:lnTo>
                      <a:lnTo>
                        <a:pt x="1282" y="233"/>
                      </a:lnTo>
                      <a:lnTo>
                        <a:pt x="1281" y="233"/>
                      </a:lnTo>
                      <a:lnTo>
                        <a:pt x="1281" y="232"/>
                      </a:lnTo>
                      <a:lnTo>
                        <a:pt x="1282" y="232"/>
                      </a:lnTo>
                      <a:lnTo>
                        <a:pt x="1282" y="228"/>
                      </a:lnTo>
                      <a:lnTo>
                        <a:pt x="1282" y="227"/>
                      </a:lnTo>
                      <a:lnTo>
                        <a:pt x="1284" y="227"/>
                      </a:lnTo>
                      <a:lnTo>
                        <a:pt x="1284" y="225"/>
                      </a:lnTo>
                      <a:lnTo>
                        <a:pt x="1286" y="225"/>
                      </a:lnTo>
                      <a:lnTo>
                        <a:pt x="1284" y="225"/>
                      </a:lnTo>
                      <a:lnTo>
                        <a:pt x="1286" y="224"/>
                      </a:lnTo>
                      <a:lnTo>
                        <a:pt x="1287" y="222"/>
                      </a:lnTo>
                      <a:lnTo>
                        <a:pt x="1289" y="222"/>
                      </a:lnTo>
                      <a:lnTo>
                        <a:pt x="1289" y="220"/>
                      </a:lnTo>
                      <a:lnTo>
                        <a:pt x="1289" y="219"/>
                      </a:lnTo>
                      <a:lnTo>
                        <a:pt x="1287" y="219"/>
                      </a:lnTo>
                      <a:lnTo>
                        <a:pt x="1289" y="217"/>
                      </a:lnTo>
                      <a:lnTo>
                        <a:pt x="1289" y="215"/>
                      </a:lnTo>
                      <a:lnTo>
                        <a:pt x="1291" y="214"/>
                      </a:lnTo>
                      <a:lnTo>
                        <a:pt x="1291" y="212"/>
                      </a:lnTo>
                      <a:lnTo>
                        <a:pt x="1291" y="210"/>
                      </a:lnTo>
                      <a:lnTo>
                        <a:pt x="1292" y="210"/>
                      </a:lnTo>
                      <a:lnTo>
                        <a:pt x="1292" y="209"/>
                      </a:lnTo>
                      <a:lnTo>
                        <a:pt x="1294" y="209"/>
                      </a:lnTo>
                      <a:lnTo>
                        <a:pt x="1294" y="207"/>
                      </a:lnTo>
                      <a:lnTo>
                        <a:pt x="1296" y="205"/>
                      </a:lnTo>
                      <a:lnTo>
                        <a:pt x="1298" y="205"/>
                      </a:lnTo>
                      <a:lnTo>
                        <a:pt x="1296" y="204"/>
                      </a:lnTo>
                      <a:lnTo>
                        <a:pt x="1298" y="202"/>
                      </a:lnTo>
                      <a:lnTo>
                        <a:pt x="1298" y="201"/>
                      </a:lnTo>
                      <a:lnTo>
                        <a:pt x="1298" y="199"/>
                      </a:lnTo>
                      <a:lnTo>
                        <a:pt x="1299" y="197"/>
                      </a:lnTo>
                      <a:lnTo>
                        <a:pt x="1299" y="196"/>
                      </a:lnTo>
                      <a:lnTo>
                        <a:pt x="1301" y="196"/>
                      </a:lnTo>
                      <a:lnTo>
                        <a:pt x="1303" y="194"/>
                      </a:lnTo>
                      <a:lnTo>
                        <a:pt x="1304" y="192"/>
                      </a:lnTo>
                      <a:lnTo>
                        <a:pt x="1304" y="191"/>
                      </a:lnTo>
                      <a:lnTo>
                        <a:pt x="1306" y="187"/>
                      </a:lnTo>
                      <a:lnTo>
                        <a:pt x="1306" y="186"/>
                      </a:lnTo>
                      <a:lnTo>
                        <a:pt x="1306" y="184"/>
                      </a:lnTo>
                      <a:lnTo>
                        <a:pt x="1387" y="184"/>
                      </a:lnTo>
                      <a:lnTo>
                        <a:pt x="1414" y="184"/>
                      </a:lnTo>
                      <a:lnTo>
                        <a:pt x="1414" y="209"/>
                      </a:lnTo>
                      <a:lnTo>
                        <a:pt x="1414" y="210"/>
                      </a:lnTo>
                      <a:lnTo>
                        <a:pt x="1416" y="210"/>
                      </a:lnTo>
                      <a:lnTo>
                        <a:pt x="1416" y="212"/>
                      </a:lnTo>
                      <a:lnTo>
                        <a:pt x="1416" y="214"/>
                      </a:lnTo>
                      <a:lnTo>
                        <a:pt x="1417" y="214"/>
                      </a:lnTo>
                      <a:lnTo>
                        <a:pt x="1417" y="215"/>
                      </a:lnTo>
                      <a:lnTo>
                        <a:pt x="1417" y="217"/>
                      </a:lnTo>
                      <a:lnTo>
                        <a:pt x="1417" y="220"/>
                      </a:lnTo>
                      <a:lnTo>
                        <a:pt x="1417" y="222"/>
                      </a:lnTo>
                      <a:lnTo>
                        <a:pt x="1417" y="224"/>
                      </a:lnTo>
                      <a:lnTo>
                        <a:pt x="1417" y="225"/>
                      </a:lnTo>
                      <a:lnTo>
                        <a:pt x="1416" y="225"/>
                      </a:lnTo>
                      <a:lnTo>
                        <a:pt x="1416" y="227"/>
                      </a:lnTo>
                      <a:lnTo>
                        <a:pt x="1416" y="228"/>
                      </a:lnTo>
                      <a:lnTo>
                        <a:pt x="1417" y="232"/>
                      </a:lnTo>
                      <a:lnTo>
                        <a:pt x="1417" y="233"/>
                      </a:lnTo>
                      <a:lnTo>
                        <a:pt x="1417" y="235"/>
                      </a:lnTo>
                      <a:lnTo>
                        <a:pt x="1417" y="237"/>
                      </a:lnTo>
                      <a:lnTo>
                        <a:pt x="1416" y="237"/>
                      </a:lnTo>
                      <a:lnTo>
                        <a:pt x="1417" y="237"/>
                      </a:lnTo>
                      <a:lnTo>
                        <a:pt x="1417" y="238"/>
                      </a:lnTo>
                      <a:lnTo>
                        <a:pt x="1417" y="240"/>
                      </a:lnTo>
                      <a:lnTo>
                        <a:pt x="1419" y="242"/>
                      </a:lnTo>
                      <a:lnTo>
                        <a:pt x="1421" y="243"/>
                      </a:lnTo>
                      <a:lnTo>
                        <a:pt x="1423" y="243"/>
                      </a:lnTo>
                      <a:lnTo>
                        <a:pt x="1424" y="243"/>
                      </a:lnTo>
                      <a:lnTo>
                        <a:pt x="1426" y="243"/>
                      </a:lnTo>
                      <a:lnTo>
                        <a:pt x="1426" y="245"/>
                      </a:lnTo>
                      <a:lnTo>
                        <a:pt x="1428" y="245"/>
                      </a:lnTo>
                      <a:lnTo>
                        <a:pt x="1429" y="247"/>
                      </a:lnTo>
                      <a:lnTo>
                        <a:pt x="1429" y="248"/>
                      </a:lnTo>
                      <a:lnTo>
                        <a:pt x="1431" y="248"/>
                      </a:lnTo>
                      <a:lnTo>
                        <a:pt x="1431" y="250"/>
                      </a:lnTo>
                      <a:lnTo>
                        <a:pt x="1431" y="251"/>
                      </a:lnTo>
                      <a:lnTo>
                        <a:pt x="1429" y="251"/>
                      </a:lnTo>
                      <a:lnTo>
                        <a:pt x="1431" y="253"/>
                      </a:lnTo>
                      <a:lnTo>
                        <a:pt x="1431" y="255"/>
                      </a:lnTo>
                      <a:lnTo>
                        <a:pt x="1433" y="256"/>
                      </a:lnTo>
                      <a:lnTo>
                        <a:pt x="1433" y="258"/>
                      </a:lnTo>
                      <a:lnTo>
                        <a:pt x="1431" y="260"/>
                      </a:lnTo>
                      <a:lnTo>
                        <a:pt x="1431" y="261"/>
                      </a:lnTo>
                      <a:lnTo>
                        <a:pt x="1431" y="263"/>
                      </a:lnTo>
                      <a:lnTo>
                        <a:pt x="1431" y="265"/>
                      </a:lnTo>
                      <a:lnTo>
                        <a:pt x="1429" y="265"/>
                      </a:lnTo>
                      <a:lnTo>
                        <a:pt x="1431" y="266"/>
                      </a:lnTo>
                      <a:lnTo>
                        <a:pt x="1431" y="268"/>
                      </a:lnTo>
                      <a:lnTo>
                        <a:pt x="1433" y="268"/>
                      </a:lnTo>
                      <a:lnTo>
                        <a:pt x="1433" y="270"/>
                      </a:lnTo>
                      <a:lnTo>
                        <a:pt x="1433" y="271"/>
                      </a:lnTo>
                      <a:lnTo>
                        <a:pt x="1434" y="271"/>
                      </a:lnTo>
                      <a:lnTo>
                        <a:pt x="1436" y="273"/>
                      </a:lnTo>
                      <a:lnTo>
                        <a:pt x="1436" y="274"/>
                      </a:lnTo>
                      <a:lnTo>
                        <a:pt x="1438" y="274"/>
                      </a:lnTo>
                      <a:lnTo>
                        <a:pt x="1439" y="274"/>
                      </a:lnTo>
                      <a:lnTo>
                        <a:pt x="1441" y="276"/>
                      </a:lnTo>
                      <a:lnTo>
                        <a:pt x="1441" y="278"/>
                      </a:lnTo>
                      <a:lnTo>
                        <a:pt x="1443" y="278"/>
                      </a:lnTo>
                      <a:lnTo>
                        <a:pt x="1443" y="279"/>
                      </a:lnTo>
                      <a:lnTo>
                        <a:pt x="1444" y="279"/>
                      </a:lnTo>
                      <a:lnTo>
                        <a:pt x="1444" y="281"/>
                      </a:lnTo>
                      <a:lnTo>
                        <a:pt x="1446" y="281"/>
                      </a:lnTo>
                      <a:lnTo>
                        <a:pt x="1446" y="283"/>
                      </a:lnTo>
                      <a:lnTo>
                        <a:pt x="1448" y="283"/>
                      </a:lnTo>
                      <a:lnTo>
                        <a:pt x="1450" y="284"/>
                      </a:lnTo>
                      <a:lnTo>
                        <a:pt x="1451" y="284"/>
                      </a:lnTo>
                      <a:lnTo>
                        <a:pt x="1451" y="286"/>
                      </a:lnTo>
                      <a:lnTo>
                        <a:pt x="1451" y="284"/>
                      </a:lnTo>
                      <a:lnTo>
                        <a:pt x="1453" y="284"/>
                      </a:lnTo>
                      <a:lnTo>
                        <a:pt x="1453" y="286"/>
                      </a:lnTo>
                      <a:lnTo>
                        <a:pt x="1453" y="288"/>
                      </a:lnTo>
                      <a:lnTo>
                        <a:pt x="1455" y="288"/>
                      </a:lnTo>
                      <a:lnTo>
                        <a:pt x="1455" y="289"/>
                      </a:lnTo>
                      <a:lnTo>
                        <a:pt x="1455" y="288"/>
                      </a:lnTo>
                      <a:lnTo>
                        <a:pt x="1456" y="288"/>
                      </a:lnTo>
                      <a:lnTo>
                        <a:pt x="1458" y="289"/>
                      </a:lnTo>
                      <a:lnTo>
                        <a:pt x="1458" y="291"/>
                      </a:lnTo>
                      <a:lnTo>
                        <a:pt x="1456" y="291"/>
                      </a:lnTo>
                      <a:lnTo>
                        <a:pt x="1456" y="293"/>
                      </a:lnTo>
                      <a:lnTo>
                        <a:pt x="1456" y="294"/>
                      </a:lnTo>
                      <a:lnTo>
                        <a:pt x="1458" y="294"/>
                      </a:lnTo>
                      <a:lnTo>
                        <a:pt x="1460" y="296"/>
                      </a:lnTo>
                      <a:lnTo>
                        <a:pt x="1460" y="297"/>
                      </a:lnTo>
                      <a:lnTo>
                        <a:pt x="1461" y="299"/>
                      </a:lnTo>
                      <a:lnTo>
                        <a:pt x="1460" y="299"/>
                      </a:lnTo>
                      <a:lnTo>
                        <a:pt x="1460" y="301"/>
                      </a:lnTo>
                      <a:lnTo>
                        <a:pt x="1460" y="302"/>
                      </a:lnTo>
                      <a:lnTo>
                        <a:pt x="1460" y="304"/>
                      </a:lnTo>
                      <a:lnTo>
                        <a:pt x="1461" y="304"/>
                      </a:lnTo>
                      <a:lnTo>
                        <a:pt x="1463" y="304"/>
                      </a:lnTo>
                      <a:lnTo>
                        <a:pt x="1463" y="306"/>
                      </a:lnTo>
                      <a:lnTo>
                        <a:pt x="1465" y="306"/>
                      </a:lnTo>
                      <a:lnTo>
                        <a:pt x="1465" y="307"/>
                      </a:lnTo>
                      <a:lnTo>
                        <a:pt x="1465" y="309"/>
                      </a:lnTo>
                      <a:lnTo>
                        <a:pt x="1466" y="309"/>
                      </a:lnTo>
                      <a:lnTo>
                        <a:pt x="1465" y="311"/>
                      </a:lnTo>
                      <a:lnTo>
                        <a:pt x="1466" y="311"/>
                      </a:lnTo>
                      <a:lnTo>
                        <a:pt x="1468" y="312"/>
                      </a:lnTo>
                      <a:lnTo>
                        <a:pt x="1470" y="312"/>
                      </a:lnTo>
                      <a:lnTo>
                        <a:pt x="1470" y="314"/>
                      </a:lnTo>
                      <a:lnTo>
                        <a:pt x="1471" y="314"/>
                      </a:lnTo>
                      <a:lnTo>
                        <a:pt x="1473" y="312"/>
                      </a:lnTo>
                      <a:lnTo>
                        <a:pt x="1475" y="312"/>
                      </a:lnTo>
                      <a:lnTo>
                        <a:pt x="1477" y="314"/>
                      </a:lnTo>
                      <a:lnTo>
                        <a:pt x="1477" y="316"/>
                      </a:lnTo>
                      <a:lnTo>
                        <a:pt x="1480" y="316"/>
                      </a:lnTo>
                      <a:lnTo>
                        <a:pt x="1480" y="317"/>
                      </a:lnTo>
                      <a:lnTo>
                        <a:pt x="1482" y="319"/>
                      </a:lnTo>
                      <a:lnTo>
                        <a:pt x="1485" y="322"/>
                      </a:lnTo>
                      <a:lnTo>
                        <a:pt x="1485" y="320"/>
                      </a:lnTo>
                      <a:lnTo>
                        <a:pt x="1487" y="317"/>
                      </a:lnTo>
                      <a:lnTo>
                        <a:pt x="1488" y="317"/>
                      </a:lnTo>
                      <a:lnTo>
                        <a:pt x="1488" y="316"/>
                      </a:lnTo>
                      <a:lnTo>
                        <a:pt x="1490" y="316"/>
                      </a:lnTo>
                      <a:lnTo>
                        <a:pt x="1492" y="314"/>
                      </a:lnTo>
                      <a:lnTo>
                        <a:pt x="1492" y="312"/>
                      </a:lnTo>
                      <a:lnTo>
                        <a:pt x="1495" y="309"/>
                      </a:lnTo>
                      <a:lnTo>
                        <a:pt x="1497" y="309"/>
                      </a:lnTo>
                      <a:lnTo>
                        <a:pt x="1499" y="311"/>
                      </a:lnTo>
                      <a:lnTo>
                        <a:pt x="1499" y="312"/>
                      </a:lnTo>
                      <a:lnTo>
                        <a:pt x="1499" y="314"/>
                      </a:lnTo>
                      <a:lnTo>
                        <a:pt x="1500" y="314"/>
                      </a:lnTo>
                      <a:lnTo>
                        <a:pt x="1502" y="314"/>
                      </a:lnTo>
                      <a:lnTo>
                        <a:pt x="1502" y="316"/>
                      </a:lnTo>
                      <a:lnTo>
                        <a:pt x="1502" y="319"/>
                      </a:lnTo>
                      <a:lnTo>
                        <a:pt x="1504" y="319"/>
                      </a:lnTo>
                      <a:lnTo>
                        <a:pt x="1504" y="320"/>
                      </a:lnTo>
                      <a:lnTo>
                        <a:pt x="1502" y="322"/>
                      </a:lnTo>
                      <a:lnTo>
                        <a:pt x="1502" y="324"/>
                      </a:lnTo>
                      <a:lnTo>
                        <a:pt x="1500" y="327"/>
                      </a:lnTo>
                      <a:lnTo>
                        <a:pt x="1500" y="329"/>
                      </a:lnTo>
                      <a:lnTo>
                        <a:pt x="1500" y="330"/>
                      </a:lnTo>
                      <a:lnTo>
                        <a:pt x="1500" y="332"/>
                      </a:lnTo>
                      <a:lnTo>
                        <a:pt x="1502" y="334"/>
                      </a:lnTo>
                      <a:lnTo>
                        <a:pt x="1502" y="335"/>
                      </a:lnTo>
                      <a:lnTo>
                        <a:pt x="1504" y="335"/>
                      </a:lnTo>
                      <a:lnTo>
                        <a:pt x="1504" y="337"/>
                      </a:lnTo>
                      <a:lnTo>
                        <a:pt x="1505" y="337"/>
                      </a:lnTo>
                      <a:lnTo>
                        <a:pt x="1507" y="337"/>
                      </a:lnTo>
                      <a:lnTo>
                        <a:pt x="1509" y="339"/>
                      </a:lnTo>
                      <a:lnTo>
                        <a:pt x="1507" y="339"/>
                      </a:lnTo>
                      <a:lnTo>
                        <a:pt x="1509" y="340"/>
                      </a:lnTo>
                      <a:lnTo>
                        <a:pt x="1510" y="340"/>
                      </a:lnTo>
                      <a:lnTo>
                        <a:pt x="1510" y="339"/>
                      </a:lnTo>
                      <a:lnTo>
                        <a:pt x="1512" y="340"/>
                      </a:lnTo>
                      <a:lnTo>
                        <a:pt x="1514" y="340"/>
                      </a:lnTo>
                      <a:lnTo>
                        <a:pt x="1515" y="340"/>
                      </a:lnTo>
                      <a:lnTo>
                        <a:pt x="1517" y="340"/>
                      </a:lnTo>
                      <a:lnTo>
                        <a:pt x="1517" y="342"/>
                      </a:lnTo>
                      <a:lnTo>
                        <a:pt x="1517" y="343"/>
                      </a:lnTo>
                      <a:lnTo>
                        <a:pt x="1519" y="343"/>
                      </a:lnTo>
                      <a:lnTo>
                        <a:pt x="1519" y="345"/>
                      </a:lnTo>
                      <a:lnTo>
                        <a:pt x="1520" y="345"/>
                      </a:lnTo>
                      <a:lnTo>
                        <a:pt x="1520" y="347"/>
                      </a:lnTo>
                      <a:lnTo>
                        <a:pt x="1522" y="347"/>
                      </a:lnTo>
                      <a:lnTo>
                        <a:pt x="1524" y="347"/>
                      </a:lnTo>
                      <a:lnTo>
                        <a:pt x="1526" y="347"/>
                      </a:lnTo>
                      <a:lnTo>
                        <a:pt x="1527" y="347"/>
                      </a:lnTo>
                      <a:lnTo>
                        <a:pt x="1527" y="348"/>
                      </a:lnTo>
                      <a:lnTo>
                        <a:pt x="1527" y="350"/>
                      </a:lnTo>
                      <a:lnTo>
                        <a:pt x="1527" y="352"/>
                      </a:lnTo>
                      <a:lnTo>
                        <a:pt x="1527" y="353"/>
                      </a:lnTo>
                      <a:lnTo>
                        <a:pt x="1529" y="353"/>
                      </a:lnTo>
                      <a:lnTo>
                        <a:pt x="1531" y="355"/>
                      </a:lnTo>
                      <a:lnTo>
                        <a:pt x="1532" y="355"/>
                      </a:lnTo>
                      <a:lnTo>
                        <a:pt x="1532" y="353"/>
                      </a:lnTo>
                      <a:lnTo>
                        <a:pt x="1532" y="355"/>
                      </a:lnTo>
                      <a:lnTo>
                        <a:pt x="1534" y="355"/>
                      </a:lnTo>
                      <a:lnTo>
                        <a:pt x="1534" y="353"/>
                      </a:lnTo>
                      <a:lnTo>
                        <a:pt x="1536" y="355"/>
                      </a:lnTo>
                      <a:lnTo>
                        <a:pt x="1536" y="353"/>
                      </a:lnTo>
                      <a:lnTo>
                        <a:pt x="1537" y="353"/>
                      </a:lnTo>
                      <a:lnTo>
                        <a:pt x="1539" y="353"/>
                      </a:lnTo>
                      <a:lnTo>
                        <a:pt x="1537" y="355"/>
                      </a:lnTo>
                      <a:lnTo>
                        <a:pt x="1539" y="355"/>
                      </a:lnTo>
                      <a:lnTo>
                        <a:pt x="1541" y="357"/>
                      </a:lnTo>
                      <a:lnTo>
                        <a:pt x="1542" y="357"/>
                      </a:lnTo>
                      <a:lnTo>
                        <a:pt x="1544" y="358"/>
                      </a:lnTo>
                      <a:lnTo>
                        <a:pt x="1544" y="360"/>
                      </a:lnTo>
                      <a:lnTo>
                        <a:pt x="1546" y="360"/>
                      </a:lnTo>
                      <a:lnTo>
                        <a:pt x="1547" y="360"/>
                      </a:lnTo>
                      <a:lnTo>
                        <a:pt x="1547" y="361"/>
                      </a:lnTo>
                      <a:lnTo>
                        <a:pt x="1549" y="360"/>
                      </a:lnTo>
                      <a:lnTo>
                        <a:pt x="1549" y="361"/>
                      </a:lnTo>
                      <a:lnTo>
                        <a:pt x="1549" y="363"/>
                      </a:lnTo>
                      <a:lnTo>
                        <a:pt x="1551" y="363"/>
                      </a:lnTo>
                      <a:lnTo>
                        <a:pt x="1551" y="361"/>
                      </a:lnTo>
                      <a:lnTo>
                        <a:pt x="1553" y="361"/>
                      </a:lnTo>
                      <a:lnTo>
                        <a:pt x="1553" y="363"/>
                      </a:lnTo>
                      <a:lnTo>
                        <a:pt x="1554" y="365"/>
                      </a:lnTo>
                      <a:lnTo>
                        <a:pt x="1554" y="363"/>
                      </a:lnTo>
                      <a:lnTo>
                        <a:pt x="1556" y="361"/>
                      </a:lnTo>
                      <a:lnTo>
                        <a:pt x="1556" y="363"/>
                      </a:lnTo>
                      <a:lnTo>
                        <a:pt x="1556" y="365"/>
                      </a:lnTo>
                      <a:lnTo>
                        <a:pt x="1558" y="365"/>
                      </a:lnTo>
                      <a:lnTo>
                        <a:pt x="1556" y="366"/>
                      </a:lnTo>
                      <a:lnTo>
                        <a:pt x="1558" y="366"/>
                      </a:lnTo>
                      <a:lnTo>
                        <a:pt x="1559" y="366"/>
                      </a:lnTo>
                      <a:lnTo>
                        <a:pt x="1561" y="368"/>
                      </a:lnTo>
                      <a:lnTo>
                        <a:pt x="1561" y="366"/>
                      </a:lnTo>
                      <a:lnTo>
                        <a:pt x="1563" y="366"/>
                      </a:lnTo>
                      <a:lnTo>
                        <a:pt x="1564" y="366"/>
                      </a:lnTo>
                      <a:lnTo>
                        <a:pt x="1566" y="368"/>
                      </a:lnTo>
                      <a:lnTo>
                        <a:pt x="1566" y="366"/>
                      </a:lnTo>
                      <a:lnTo>
                        <a:pt x="1568" y="365"/>
                      </a:lnTo>
                      <a:lnTo>
                        <a:pt x="1568" y="366"/>
                      </a:lnTo>
                      <a:lnTo>
                        <a:pt x="1569" y="366"/>
                      </a:lnTo>
                      <a:lnTo>
                        <a:pt x="1569" y="365"/>
                      </a:lnTo>
                      <a:lnTo>
                        <a:pt x="1571" y="365"/>
                      </a:lnTo>
                      <a:lnTo>
                        <a:pt x="1571" y="366"/>
                      </a:lnTo>
                      <a:lnTo>
                        <a:pt x="1573" y="366"/>
                      </a:lnTo>
                      <a:lnTo>
                        <a:pt x="1575" y="366"/>
                      </a:lnTo>
                      <a:lnTo>
                        <a:pt x="1576" y="366"/>
                      </a:lnTo>
                      <a:lnTo>
                        <a:pt x="1576" y="368"/>
                      </a:lnTo>
                      <a:lnTo>
                        <a:pt x="1576" y="366"/>
                      </a:lnTo>
                      <a:lnTo>
                        <a:pt x="1578" y="368"/>
                      </a:lnTo>
                      <a:lnTo>
                        <a:pt x="1578" y="366"/>
                      </a:lnTo>
                      <a:lnTo>
                        <a:pt x="1580" y="366"/>
                      </a:lnTo>
                      <a:lnTo>
                        <a:pt x="1580" y="368"/>
                      </a:lnTo>
                      <a:lnTo>
                        <a:pt x="1578" y="370"/>
                      </a:lnTo>
                      <a:lnTo>
                        <a:pt x="1580" y="370"/>
                      </a:lnTo>
                      <a:lnTo>
                        <a:pt x="1580" y="371"/>
                      </a:lnTo>
                      <a:lnTo>
                        <a:pt x="1580" y="370"/>
                      </a:lnTo>
                      <a:lnTo>
                        <a:pt x="1583" y="371"/>
                      </a:lnTo>
                      <a:lnTo>
                        <a:pt x="1583" y="373"/>
                      </a:lnTo>
                      <a:lnTo>
                        <a:pt x="1585" y="371"/>
                      </a:lnTo>
                      <a:lnTo>
                        <a:pt x="1586" y="373"/>
                      </a:lnTo>
                      <a:lnTo>
                        <a:pt x="1586" y="375"/>
                      </a:lnTo>
                      <a:lnTo>
                        <a:pt x="1588" y="375"/>
                      </a:lnTo>
                      <a:lnTo>
                        <a:pt x="1588" y="376"/>
                      </a:lnTo>
                      <a:lnTo>
                        <a:pt x="1588" y="380"/>
                      </a:lnTo>
                      <a:lnTo>
                        <a:pt x="1590" y="380"/>
                      </a:lnTo>
                      <a:lnTo>
                        <a:pt x="1590" y="381"/>
                      </a:lnTo>
                      <a:lnTo>
                        <a:pt x="1590" y="383"/>
                      </a:lnTo>
                      <a:lnTo>
                        <a:pt x="1591" y="383"/>
                      </a:lnTo>
                      <a:lnTo>
                        <a:pt x="1591" y="384"/>
                      </a:lnTo>
                      <a:lnTo>
                        <a:pt x="1593" y="384"/>
                      </a:lnTo>
                      <a:lnTo>
                        <a:pt x="1595" y="384"/>
                      </a:lnTo>
                      <a:lnTo>
                        <a:pt x="1596" y="384"/>
                      </a:lnTo>
                      <a:lnTo>
                        <a:pt x="1596" y="386"/>
                      </a:lnTo>
                      <a:lnTo>
                        <a:pt x="1598" y="386"/>
                      </a:lnTo>
                      <a:lnTo>
                        <a:pt x="1598" y="388"/>
                      </a:lnTo>
                      <a:lnTo>
                        <a:pt x="1598" y="389"/>
                      </a:lnTo>
                      <a:lnTo>
                        <a:pt x="1600" y="389"/>
                      </a:lnTo>
                      <a:lnTo>
                        <a:pt x="1602" y="389"/>
                      </a:lnTo>
                      <a:lnTo>
                        <a:pt x="1603" y="389"/>
                      </a:lnTo>
                      <a:lnTo>
                        <a:pt x="1605" y="389"/>
                      </a:lnTo>
                      <a:lnTo>
                        <a:pt x="1605" y="391"/>
                      </a:lnTo>
                      <a:lnTo>
                        <a:pt x="1607" y="391"/>
                      </a:lnTo>
                      <a:lnTo>
                        <a:pt x="1607" y="393"/>
                      </a:lnTo>
                      <a:lnTo>
                        <a:pt x="1608" y="394"/>
                      </a:lnTo>
                      <a:lnTo>
                        <a:pt x="1610" y="394"/>
                      </a:lnTo>
                      <a:lnTo>
                        <a:pt x="1612" y="394"/>
                      </a:lnTo>
                      <a:lnTo>
                        <a:pt x="1613" y="394"/>
                      </a:lnTo>
                      <a:lnTo>
                        <a:pt x="1615" y="393"/>
                      </a:lnTo>
                      <a:lnTo>
                        <a:pt x="1617" y="393"/>
                      </a:lnTo>
                      <a:lnTo>
                        <a:pt x="1618" y="393"/>
                      </a:lnTo>
                      <a:lnTo>
                        <a:pt x="1618" y="394"/>
                      </a:lnTo>
                      <a:lnTo>
                        <a:pt x="1620" y="396"/>
                      </a:lnTo>
                      <a:lnTo>
                        <a:pt x="1620" y="398"/>
                      </a:lnTo>
                      <a:lnTo>
                        <a:pt x="1620" y="399"/>
                      </a:lnTo>
                      <a:lnTo>
                        <a:pt x="1620" y="401"/>
                      </a:lnTo>
                      <a:lnTo>
                        <a:pt x="1618" y="403"/>
                      </a:lnTo>
                      <a:lnTo>
                        <a:pt x="1617" y="406"/>
                      </a:lnTo>
                      <a:lnTo>
                        <a:pt x="1617" y="407"/>
                      </a:lnTo>
                      <a:lnTo>
                        <a:pt x="1617" y="409"/>
                      </a:lnTo>
                      <a:lnTo>
                        <a:pt x="1618" y="409"/>
                      </a:lnTo>
                      <a:lnTo>
                        <a:pt x="1620" y="409"/>
                      </a:lnTo>
                      <a:lnTo>
                        <a:pt x="1622" y="409"/>
                      </a:lnTo>
                      <a:lnTo>
                        <a:pt x="1623" y="411"/>
                      </a:lnTo>
                      <a:lnTo>
                        <a:pt x="1623" y="412"/>
                      </a:lnTo>
                      <a:lnTo>
                        <a:pt x="1625" y="412"/>
                      </a:lnTo>
                      <a:lnTo>
                        <a:pt x="1627" y="412"/>
                      </a:lnTo>
                      <a:lnTo>
                        <a:pt x="1629" y="411"/>
                      </a:lnTo>
                      <a:lnTo>
                        <a:pt x="1630" y="411"/>
                      </a:lnTo>
                      <a:lnTo>
                        <a:pt x="1632" y="412"/>
                      </a:lnTo>
                      <a:lnTo>
                        <a:pt x="1632" y="411"/>
                      </a:lnTo>
                      <a:lnTo>
                        <a:pt x="1632" y="409"/>
                      </a:lnTo>
                      <a:lnTo>
                        <a:pt x="1634" y="409"/>
                      </a:lnTo>
                      <a:lnTo>
                        <a:pt x="1635" y="409"/>
                      </a:lnTo>
                      <a:lnTo>
                        <a:pt x="1637" y="407"/>
                      </a:lnTo>
                      <a:lnTo>
                        <a:pt x="1639" y="406"/>
                      </a:lnTo>
                      <a:lnTo>
                        <a:pt x="1640" y="406"/>
                      </a:lnTo>
                      <a:lnTo>
                        <a:pt x="1642" y="407"/>
                      </a:lnTo>
                      <a:lnTo>
                        <a:pt x="1644" y="407"/>
                      </a:lnTo>
                      <a:lnTo>
                        <a:pt x="1645" y="407"/>
                      </a:lnTo>
                      <a:lnTo>
                        <a:pt x="1645" y="406"/>
                      </a:lnTo>
                      <a:lnTo>
                        <a:pt x="1647" y="406"/>
                      </a:lnTo>
                      <a:lnTo>
                        <a:pt x="1647" y="407"/>
                      </a:lnTo>
                      <a:lnTo>
                        <a:pt x="1649" y="407"/>
                      </a:lnTo>
                      <a:lnTo>
                        <a:pt x="1651" y="409"/>
                      </a:lnTo>
                      <a:lnTo>
                        <a:pt x="1652" y="407"/>
                      </a:lnTo>
                      <a:lnTo>
                        <a:pt x="1652" y="406"/>
                      </a:lnTo>
                      <a:lnTo>
                        <a:pt x="1654" y="406"/>
                      </a:lnTo>
                      <a:lnTo>
                        <a:pt x="1656" y="406"/>
                      </a:lnTo>
                      <a:lnTo>
                        <a:pt x="1657" y="406"/>
                      </a:lnTo>
                      <a:lnTo>
                        <a:pt x="1659" y="406"/>
                      </a:lnTo>
                      <a:lnTo>
                        <a:pt x="1659" y="404"/>
                      </a:lnTo>
                      <a:lnTo>
                        <a:pt x="1661" y="404"/>
                      </a:lnTo>
                      <a:lnTo>
                        <a:pt x="1661" y="403"/>
                      </a:lnTo>
                      <a:lnTo>
                        <a:pt x="1661" y="401"/>
                      </a:lnTo>
                      <a:lnTo>
                        <a:pt x="1662" y="401"/>
                      </a:lnTo>
                      <a:lnTo>
                        <a:pt x="1666" y="401"/>
                      </a:lnTo>
                      <a:lnTo>
                        <a:pt x="1666" y="399"/>
                      </a:lnTo>
                      <a:lnTo>
                        <a:pt x="1667" y="398"/>
                      </a:lnTo>
                      <a:lnTo>
                        <a:pt x="1669" y="398"/>
                      </a:lnTo>
                      <a:lnTo>
                        <a:pt x="1671" y="398"/>
                      </a:lnTo>
                      <a:lnTo>
                        <a:pt x="1671" y="396"/>
                      </a:lnTo>
                      <a:lnTo>
                        <a:pt x="1672" y="396"/>
                      </a:lnTo>
                      <a:lnTo>
                        <a:pt x="1674" y="396"/>
                      </a:lnTo>
                      <a:lnTo>
                        <a:pt x="1676" y="396"/>
                      </a:lnTo>
                      <a:lnTo>
                        <a:pt x="1679" y="394"/>
                      </a:lnTo>
                      <a:lnTo>
                        <a:pt x="1679" y="396"/>
                      </a:lnTo>
                      <a:lnTo>
                        <a:pt x="1679" y="398"/>
                      </a:lnTo>
                      <a:lnTo>
                        <a:pt x="1678" y="399"/>
                      </a:lnTo>
                      <a:lnTo>
                        <a:pt x="1676" y="401"/>
                      </a:lnTo>
                      <a:lnTo>
                        <a:pt x="1672" y="406"/>
                      </a:lnTo>
                      <a:lnTo>
                        <a:pt x="1672" y="407"/>
                      </a:lnTo>
                      <a:lnTo>
                        <a:pt x="1669" y="409"/>
                      </a:lnTo>
                      <a:lnTo>
                        <a:pt x="1669" y="411"/>
                      </a:lnTo>
                      <a:lnTo>
                        <a:pt x="1667" y="411"/>
                      </a:lnTo>
                      <a:lnTo>
                        <a:pt x="1664" y="412"/>
                      </a:lnTo>
                      <a:lnTo>
                        <a:pt x="1661" y="414"/>
                      </a:lnTo>
                      <a:lnTo>
                        <a:pt x="1657" y="416"/>
                      </a:lnTo>
                      <a:lnTo>
                        <a:pt x="1656" y="416"/>
                      </a:lnTo>
                      <a:lnTo>
                        <a:pt x="1654" y="417"/>
                      </a:lnTo>
                      <a:lnTo>
                        <a:pt x="1652" y="417"/>
                      </a:lnTo>
                      <a:lnTo>
                        <a:pt x="1651" y="422"/>
                      </a:lnTo>
                      <a:lnTo>
                        <a:pt x="1651" y="424"/>
                      </a:lnTo>
                      <a:lnTo>
                        <a:pt x="1649" y="426"/>
                      </a:lnTo>
                      <a:lnTo>
                        <a:pt x="1649" y="427"/>
                      </a:lnTo>
                      <a:lnTo>
                        <a:pt x="1645" y="432"/>
                      </a:lnTo>
                      <a:lnTo>
                        <a:pt x="1647" y="434"/>
                      </a:lnTo>
                      <a:lnTo>
                        <a:pt x="1649" y="434"/>
                      </a:lnTo>
                      <a:lnTo>
                        <a:pt x="1651" y="434"/>
                      </a:lnTo>
                      <a:lnTo>
                        <a:pt x="1649" y="439"/>
                      </a:lnTo>
                      <a:lnTo>
                        <a:pt x="1642" y="453"/>
                      </a:lnTo>
                      <a:lnTo>
                        <a:pt x="1632" y="475"/>
                      </a:lnTo>
                      <a:lnTo>
                        <a:pt x="1627" y="485"/>
                      </a:lnTo>
                      <a:lnTo>
                        <a:pt x="1617" y="508"/>
                      </a:lnTo>
                      <a:lnTo>
                        <a:pt x="1612" y="516"/>
                      </a:lnTo>
                      <a:lnTo>
                        <a:pt x="1605" y="531"/>
                      </a:lnTo>
                      <a:lnTo>
                        <a:pt x="1603" y="537"/>
                      </a:lnTo>
                      <a:lnTo>
                        <a:pt x="1598" y="545"/>
                      </a:lnTo>
                      <a:lnTo>
                        <a:pt x="1595" y="555"/>
                      </a:lnTo>
                      <a:lnTo>
                        <a:pt x="1539" y="669"/>
                      </a:lnTo>
                      <a:lnTo>
                        <a:pt x="1512" y="724"/>
                      </a:lnTo>
                      <a:lnTo>
                        <a:pt x="1495" y="761"/>
                      </a:lnTo>
                      <a:lnTo>
                        <a:pt x="1475" y="805"/>
                      </a:lnTo>
                      <a:lnTo>
                        <a:pt x="1473" y="805"/>
                      </a:lnTo>
                      <a:lnTo>
                        <a:pt x="1471" y="807"/>
                      </a:lnTo>
                      <a:lnTo>
                        <a:pt x="1470" y="807"/>
                      </a:lnTo>
                      <a:lnTo>
                        <a:pt x="1468" y="807"/>
                      </a:lnTo>
                      <a:lnTo>
                        <a:pt x="1468" y="808"/>
                      </a:lnTo>
                      <a:lnTo>
                        <a:pt x="1468" y="810"/>
                      </a:lnTo>
                      <a:lnTo>
                        <a:pt x="1468" y="811"/>
                      </a:lnTo>
                      <a:lnTo>
                        <a:pt x="1466" y="813"/>
                      </a:lnTo>
                      <a:lnTo>
                        <a:pt x="1465" y="815"/>
                      </a:lnTo>
                      <a:lnTo>
                        <a:pt x="1463" y="815"/>
                      </a:lnTo>
                      <a:lnTo>
                        <a:pt x="1463" y="816"/>
                      </a:lnTo>
                      <a:lnTo>
                        <a:pt x="1460" y="816"/>
                      </a:lnTo>
                      <a:lnTo>
                        <a:pt x="1460" y="818"/>
                      </a:lnTo>
                      <a:lnTo>
                        <a:pt x="1458" y="821"/>
                      </a:lnTo>
                      <a:lnTo>
                        <a:pt x="1456" y="823"/>
                      </a:lnTo>
                      <a:lnTo>
                        <a:pt x="1455" y="823"/>
                      </a:lnTo>
                      <a:lnTo>
                        <a:pt x="1455" y="825"/>
                      </a:lnTo>
                      <a:lnTo>
                        <a:pt x="1455" y="826"/>
                      </a:lnTo>
                      <a:lnTo>
                        <a:pt x="1455" y="830"/>
                      </a:lnTo>
                      <a:lnTo>
                        <a:pt x="1455" y="831"/>
                      </a:lnTo>
                      <a:lnTo>
                        <a:pt x="1455" y="833"/>
                      </a:lnTo>
                      <a:lnTo>
                        <a:pt x="1455" y="836"/>
                      </a:lnTo>
                      <a:lnTo>
                        <a:pt x="1456" y="838"/>
                      </a:lnTo>
                      <a:lnTo>
                        <a:pt x="1458" y="843"/>
                      </a:lnTo>
                      <a:lnTo>
                        <a:pt x="1458" y="844"/>
                      </a:lnTo>
                      <a:lnTo>
                        <a:pt x="1460" y="846"/>
                      </a:lnTo>
                      <a:lnTo>
                        <a:pt x="1461" y="848"/>
                      </a:lnTo>
                      <a:lnTo>
                        <a:pt x="1463" y="849"/>
                      </a:lnTo>
                      <a:lnTo>
                        <a:pt x="1463" y="851"/>
                      </a:lnTo>
                      <a:lnTo>
                        <a:pt x="1466" y="851"/>
                      </a:lnTo>
                      <a:lnTo>
                        <a:pt x="1468" y="853"/>
                      </a:lnTo>
                      <a:lnTo>
                        <a:pt x="1468" y="854"/>
                      </a:lnTo>
                      <a:lnTo>
                        <a:pt x="1470" y="856"/>
                      </a:lnTo>
                      <a:lnTo>
                        <a:pt x="1471" y="857"/>
                      </a:lnTo>
                      <a:lnTo>
                        <a:pt x="1471" y="859"/>
                      </a:lnTo>
                      <a:lnTo>
                        <a:pt x="1473" y="861"/>
                      </a:lnTo>
                      <a:lnTo>
                        <a:pt x="1475" y="861"/>
                      </a:lnTo>
                      <a:lnTo>
                        <a:pt x="1477" y="862"/>
                      </a:lnTo>
                      <a:lnTo>
                        <a:pt x="1478" y="864"/>
                      </a:lnTo>
                      <a:lnTo>
                        <a:pt x="1478" y="866"/>
                      </a:lnTo>
                      <a:lnTo>
                        <a:pt x="1480" y="866"/>
                      </a:lnTo>
                      <a:lnTo>
                        <a:pt x="1480" y="867"/>
                      </a:lnTo>
                      <a:lnTo>
                        <a:pt x="1483" y="871"/>
                      </a:lnTo>
                      <a:lnTo>
                        <a:pt x="1483" y="876"/>
                      </a:lnTo>
                      <a:lnTo>
                        <a:pt x="1483" y="877"/>
                      </a:lnTo>
                      <a:lnTo>
                        <a:pt x="1483" y="879"/>
                      </a:lnTo>
                      <a:lnTo>
                        <a:pt x="1483" y="882"/>
                      </a:lnTo>
                      <a:lnTo>
                        <a:pt x="1485" y="884"/>
                      </a:lnTo>
                      <a:lnTo>
                        <a:pt x="1485" y="885"/>
                      </a:lnTo>
                      <a:lnTo>
                        <a:pt x="1487" y="887"/>
                      </a:lnTo>
                      <a:lnTo>
                        <a:pt x="1485" y="887"/>
                      </a:lnTo>
                      <a:lnTo>
                        <a:pt x="1485" y="889"/>
                      </a:lnTo>
                      <a:lnTo>
                        <a:pt x="1483" y="890"/>
                      </a:lnTo>
                      <a:lnTo>
                        <a:pt x="1480" y="894"/>
                      </a:lnTo>
                      <a:lnTo>
                        <a:pt x="1480" y="895"/>
                      </a:lnTo>
                      <a:lnTo>
                        <a:pt x="1480" y="897"/>
                      </a:lnTo>
                      <a:lnTo>
                        <a:pt x="1480" y="899"/>
                      </a:lnTo>
                      <a:lnTo>
                        <a:pt x="1478" y="902"/>
                      </a:lnTo>
                      <a:lnTo>
                        <a:pt x="1478" y="903"/>
                      </a:lnTo>
                      <a:lnTo>
                        <a:pt x="1478" y="905"/>
                      </a:lnTo>
                      <a:lnTo>
                        <a:pt x="1480" y="908"/>
                      </a:lnTo>
                      <a:lnTo>
                        <a:pt x="1480" y="910"/>
                      </a:lnTo>
                      <a:lnTo>
                        <a:pt x="1480" y="912"/>
                      </a:lnTo>
                      <a:lnTo>
                        <a:pt x="1477" y="913"/>
                      </a:lnTo>
                      <a:lnTo>
                        <a:pt x="1477" y="917"/>
                      </a:lnTo>
                      <a:lnTo>
                        <a:pt x="1473" y="918"/>
                      </a:lnTo>
                      <a:lnTo>
                        <a:pt x="1473" y="920"/>
                      </a:lnTo>
                      <a:lnTo>
                        <a:pt x="1473" y="922"/>
                      </a:lnTo>
                      <a:lnTo>
                        <a:pt x="1473" y="923"/>
                      </a:lnTo>
                      <a:lnTo>
                        <a:pt x="1471" y="923"/>
                      </a:lnTo>
                      <a:lnTo>
                        <a:pt x="1471" y="925"/>
                      </a:lnTo>
                      <a:lnTo>
                        <a:pt x="1470" y="926"/>
                      </a:lnTo>
                      <a:lnTo>
                        <a:pt x="1468" y="928"/>
                      </a:lnTo>
                      <a:lnTo>
                        <a:pt x="1465" y="928"/>
                      </a:lnTo>
                      <a:lnTo>
                        <a:pt x="1465" y="930"/>
                      </a:lnTo>
                      <a:lnTo>
                        <a:pt x="1463" y="930"/>
                      </a:lnTo>
                      <a:lnTo>
                        <a:pt x="1463" y="931"/>
                      </a:lnTo>
                      <a:lnTo>
                        <a:pt x="1465" y="933"/>
                      </a:lnTo>
                      <a:lnTo>
                        <a:pt x="1465" y="935"/>
                      </a:lnTo>
                      <a:lnTo>
                        <a:pt x="1465" y="936"/>
                      </a:lnTo>
                      <a:lnTo>
                        <a:pt x="1465" y="938"/>
                      </a:lnTo>
                      <a:lnTo>
                        <a:pt x="1466" y="941"/>
                      </a:lnTo>
                      <a:lnTo>
                        <a:pt x="1468" y="943"/>
                      </a:lnTo>
                      <a:lnTo>
                        <a:pt x="1468" y="945"/>
                      </a:lnTo>
                      <a:lnTo>
                        <a:pt x="1468" y="946"/>
                      </a:lnTo>
                      <a:lnTo>
                        <a:pt x="1470" y="948"/>
                      </a:lnTo>
                      <a:lnTo>
                        <a:pt x="1471" y="953"/>
                      </a:lnTo>
                      <a:lnTo>
                        <a:pt x="1473" y="954"/>
                      </a:lnTo>
                      <a:lnTo>
                        <a:pt x="1471" y="956"/>
                      </a:lnTo>
                      <a:lnTo>
                        <a:pt x="1473" y="958"/>
                      </a:lnTo>
                      <a:lnTo>
                        <a:pt x="1471" y="958"/>
                      </a:lnTo>
                      <a:lnTo>
                        <a:pt x="1471" y="959"/>
                      </a:lnTo>
                      <a:lnTo>
                        <a:pt x="1470" y="959"/>
                      </a:lnTo>
                      <a:lnTo>
                        <a:pt x="1470" y="961"/>
                      </a:lnTo>
                      <a:lnTo>
                        <a:pt x="1470" y="963"/>
                      </a:lnTo>
                      <a:lnTo>
                        <a:pt x="1470" y="964"/>
                      </a:lnTo>
                      <a:lnTo>
                        <a:pt x="1470" y="966"/>
                      </a:lnTo>
                      <a:lnTo>
                        <a:pt x="1470" y="967"/>
                      </a:lnTo>
                      <a:lnTo>
                        <a:pt x="1470" y="969"/>
                      </a:lnTo>
                      <a:lnTo>
                        <a:pt x="1470" y="971"/>
                      </a:lnTo>
                      <a:lnTo>
                        <a:pt x="1468" y="971"/>
                      </a:lnTo>
                      <a:lnTo>
                        <a:pt x="1468" y="972"/>
                      </a:lnTo>
                      <a:lnTo>
                        <a:pt x="1470" y="974"/>
                      </a:lnTo>
                      <a:lnTo>
                        <a:pt x="1470" y="976"/>
                      </a:lnTo>
                      <a:lnTo>
                        <a:pt x="1468" y="976"/>
                      </a:lnTo>
                      <a:lnTo>
                        <a:pt x="1468" y="977"/>
                      </a:lnTo>
                      <a:lnTo>
                        <a:pt x="1466" y="977"/>
                      </a:lnTo>
                      <a:lnTo>
                        <a:pt x="1466" y="979"/>
                      </a:lnTo>
                      <a:lnTo>
                        <a:pt x="1466" y="981"/>
                      </a:lnTo>
                      <a:lnTo>
                        <a:pt x="1466" y="982"/>
                      </a:lnTo>
                      <a:lnTo>
                        <a:pt x="1465" y="984"/>
                      </a:lnTo>
                      <a:lnTo>
                        <a:pt x="1465" y="986"/>
                      </a:lnTo>
                      <a:lnTo>
                        <a:pt x="1463" y="986"/>
                      </a:lnTo>
                      <a:lnTo>
                        <a:pt x="1461" y="987"/>
                      </a:lnTo>
                      <a:lnTo>
                        <a:pt x="1461" y="989"/>
                      </a:lnTo>
                      <a:lnTo>
                        <a:pt x="1460" y="990"/>
                      </a:lnTo>
                      <a:lnTo>
                        <a:pt x="1460" y="992"/>
                      </a:lnTo>
                      <a:lnTo>
                        <a:pt x="1460" y="994"/>
                      </a:lnTo>
                      <a:lnTo>
                        <a:pt x="1461" y="994"/>
                      </a:lnTo>
                      <a:lnTo>
                        <a:pt x="1461" y="995"/>
                      </a:lnTo>
                      <a:lnTo>
                        <a:pt x="1461" y="997"/>
                      </a:lnTo>
                      <a:lnTo>
                        <a:pt x="1461" y="999"/>
                      </a:lnTo>
                      <a:lnTo>
                        <a:pt x="1463" y="1000"/>
                      </a:lnTo>
                      <a:lnTo>
                        <a:pt x="1463" y="1002"/>
                      </a:lnTo>
                      <a:lnTo>
                        <a:pt x="1461" y="1002"/>
                      </a:lnTo>
                      <a:lnTo>
                        <a:pt x="1461" y="1004"/>
                      </a:lnTo>
                      <a:lnTo>
                        <a:pt x="1460" y="1005"/>
                      </a:lnTo>
                      <a:lnTo>
                        <a:pt x="1460" y="1009"/>
                      </a:lnTo>
                      <a:lnTo>
                        <a:pt x="1458" y="1009"/>
                      </a:lnTo>
                      <a:lnTo>
                        <a:pt x="1458" y="1010"/>
                      </a:lnTo>
                      <a:lnTo>
                        <a:pt x="1458" y="1012"/>
                      </a:lnTo>
                      <a:lnTo>
                        <a:pt x="1460" y="1012"/>
                      </a:lnTo>
                      <a:lnTo>
                        <a:pt x="1461" y="1012"/>
                      </a:lnTo>
                      <a:lnTo>
                        <a:pt x="1463" y="1010"/>
                      </a:lnTo>
                      <a:lnTo>
                        <a:pt x="1465" y="1010"/>
                      </a:lnTo>
                      <a:lnTo>
                        <a:pt x="1466" y="1010"/>
                      </a:lnTo>
                      <a:lnTo>
                        <a:pt x="1468" y="1010"/>
                      </a:lnTo>
                      <a:lnTo>
                        <a:pt x="1468" y="1012"/>
                      </a:lnTo>
                      <a:lnTo>
                        <a:pt x="1466" y="1013"/>
                      </a:lnTo>
                      <a:lnTo>
                        <a:pt x="1465" y="1013"/>
                      </a:lnTo>
                      <a:lnTo>
                        <a:pt x="1465" y="1015"/>
                      </a:lnTo>
                      <a:lnTo>
                        <a:pt x="1463" y="1017"/>
                      </a:lnTo>
                      <a:lnTo>
                        <a:pt x="1461" y="1017"/>
                      </a:lnTo>
                      <a:lnTo>
                        <a:pt x="1460" y="1018"/>
                      </a:lnTo>
                      <a:lnTo>
                        <a:pt x="1458" y="1020"/>
                      </a:lnTo>
                      <a:lnTo>
                        <a:pt x="1453" y="1020"/>
                      </a:lnTo>
                      <a:lnTo>
                        <a:pt x="1392" y="1020"/>
                      </a:lnTo>
                      <a:lnTo>
                        <a:pt x="1357" y="1020"/>
                      </a:lnTo>
                      <a:lnTo>
                        <a:pt x="1309" y="1020"/>
                      </a:lnTo>
                      <a:lnTo>
                        <a:pt x="1271" y="1018"/>
                      </a:lnTo>
                      <a:lnTo>
                        <a:pt x="1167" y="1020"/>
                      </a:lnTo>
                      <a:lnTo>
                        <a:pt x="1159" y="1020"/>
                      </a:lnTo>
                      <a:lnTo>
                        <a:pt x="1159" y="1018"/>
                      </a:lnTo>
                      <a:lnTo>
                        <a:pt x="1157" y="1018"/>
                      </a:lnTo>
                      <a:lnTo>
                        <a:pt x="1157" y="1017"/>
                      </a:lnTo>
                      <a:lnTo>
                        <a:pt x="1156" y="1015"/>
                      </a:lnTo>
                      <a:lnTo>
                        <a:pt x="1156" y="1013"/>
                      </a:lnTo>
                      <a:lnTo>
                        <a:pt x="1156" y="1012"/>
                      </a:lnTo>
                      <a:lnTo>
                        <a:pt x="1154" y="1012"/>
                      </a:lnTo>
                      <a:lnTo>
                        <a:pt x="1152" y="1010"/>
                      </a:lnTo>
                      <a:lnTo>
                        <a:pt x="1151" y="1010"/>
                      </a:lnTo>
                      <a:lnTo>
                        <a:pt x="1149" y="1012"/>
                      </a:lnTo>
                      <a:lnTo>
                        <a:pt x="1149" y="1010"/>
                      </a:lnTo>
                      <a:lnTo>
                        <a:pt x="1147" y="1010"/>
                      </a:lnTo>
                      <a:lnTo>
                        <a:pt x="1147" y="1009"/>
                      </a:lnTo>
                      <a:lnTo>
                        <a:pt x="1146" y="1010"/>
                      </a:lnTo>
                      <a:lnTo>
                        <a:pt x="1144" y="1010"/>
                      </a:lnTo>
                      <a:lnTo>
                        <a:pt x="1146" y="1012"/>
                      </a:lnTo>
                      <a:lnTo>
                        <a:pt x="1144" y="1012"/>
                      </a:lnTo>
                      <a:lnTo>
                        <a:pt x="1144" y="1013"/>
                      </a:lnTo>
                      <a:lnTo>
                        <a:pt x="1142" y="1013"/>
                      </a:lnTo>
                      <a:lnTo>
                        <a:pt x="1142" y="1015"/>
                      </a:lnTo>
                      <a:lnTo>
                        <a:pt x="1140" y="1015"/>
                      </a:lnTo>
                      <a:lnTo>
                        <a:pt x="1139" y="1015"/>
                      </a:lnTo>
                      <a:lnTo>
                        <a:pt x="1137" y="1013"/>
                      </a:lnTo>
                      <a:lnTo>
                        <a:pt x="1135" y="1013"/>
                      </a:lnTo>
                      <a:lnTo>
                        <a:pt x="1135" y="1015"/>
                      </a:lnTo>
                      <a:lnTo>
                        <a:pt x="1135" y="1017"/>
                      </a:lnTo>
                      <a:lnTo>
                        <a:pt x="1135" y="1018"/>
                      </a:lnTo>
                      <a:lnTo>
                        <a:pt x="1134" y="1018"/>
                      </a:lnTo>
                      <a:lnTo>
                        <a:pt x="1134" y="1020"/>
                      </a:lnTo>
                      <a:lnTo>
                        <a:pt x="1134" y="1022"/>
                      </a:lnTo>
                      <a:lnTo>
                        <a:pt x="1134" y="1025"/>
                      </a:lnTo>
                      <a:lnTo>
                        <a:pt x="1132" y="1025"/>
                      </a:lnTo>
                      <a:lnTo>
                        <a:pt x="1130" y="1025"/>
                      </a:lnTo>
                      <a:lnTo>
                        <a:pt x="1129" y="1027"/>
                      </a:lnTo>
                      <a:lnTo>
                        <a:pt x="1127" y="1027"/>
                      </a:lnTo>
                      <a:lnTo>
                        <a:pt x="1125" y="1027"/>
                      </a:lnTo>
                      <a:lnTo>
                        <a:pt x="1124" y="1027"/>
                      </a:lnTo>
                      <a:lnTo>
                        <a:pt x="1122" y="1027"/>
                      </a:lnTo>
                      <a:lnTo>
                        <a:pt x="1122" y="1025"/>
                      </a:lnTo>
                      <a:lnTo>
                        <a:pt x="1120" y="1023"/>
                      </a:lnTo>
                      <a:lnTo>
                        <a:pt x="1120" y="1022"/>
                      </a:lnTo>
                      <a:lnTo>
                        <a:pt x="1118" y="1022"/>
                      </a:lnTo>
                      <a:lnTo>
                        <a:pt x="1118" y="1020"/>
                      </a:lnTo>
                      <a:lnTo>
                        <a:pt x="1117" y="1020"/>
                      </a:lnTo>
                      <a:lnTo>
                        <a:pt x="1117" y="1018"/>
                      </a:lnTo>
                      <a:lnTo>
                        <a:pt x="1115" y="1018"/>
                      </a:lnTo>
                      <a:lnTo>
                        <a:pt x="1113" y="1020"/>
                      </a:lnTo>
                      <a:lnTo>
                        <a:pt x="1112" y="1020"/>
                      </a:lnTo>
                      <a:lnTo>
                        <a:pt x="1110" y="1020"/>
                      </a:lnTo>
                      <a:lnTo>
                        <a:pt x="1108" y="1020"/>
                      </a:lnTo>
                      <a:lnTo>
                        <a:pt x="1108" y="1018"/>
                      </a:lnTo>
                      <a:lnTo>
                        <a:pt x="1105" y="1013"/>
                      </a:lnTo>
                      <a:lnTo>
                        <a:pt x="1107" y="1012"/>
                      </a:lnTo>
                      <a:lnTo>
                        <a:pt x="1105" y="1012"/>
                      </a:lnTo>
                      <a:lnTo>
                        <a:pt x="1105" y="1010"/>
                      </a:lnTo>
                      <a:lnTo>
                        <a:pt x="1103" y="1010"/>
                      </a:lnTo>
                      <a:lnTo>
                        <a:pt x="1105" y="1009"/>
                      </a:lnTo>
                      <a:lnTo>
                        <a:pt x="1103" y="1007"/>
                      </a:lnTo>
                      <a:lnTo>
                        <a:pt x="1102" y="1005"/>
                      </a:lnTo>
                      <a:lnTo>
                        <a:pt x="1102" y="1004"/>
                      </a:lnTo>
                      <a:lnTo>
                        <a:pt x="1103" y="1004"/>
                      </a:lnTo>
                      <a:lnTo>
                        <a:pt x="1103" y="1000"/>
                      </a:lnTo>
                      <a:lnTo>
                        <a:pt x="1102" y="1000"/>
                      </a:lnTo>
                      <a:lnTo>
                        <a:pt x="1100" y="1000"/>
                      </a:lnTo>
                      <a:lnTo>
                        <a:pt x="1098" y="1000"/>
                      </a:lnTo>
                      <a:lnTo>
                        <a:pt x="1097" y="999"/>
                      </a:lnTo>
                      <a:lnTo>
                        <a:pt x="1095" y="999"/>
                      </a:lnTo>
                      <a:lnTo>
                        <a:pt x="1093" y="1000"/>
                      </a:lnTo>
                      <a:lnTo>
                        <a:pt x="1093" y="1002"/>
                      </a:lnTo>
                      <a:lnTo>
                        <a:pt x="1093" y="1004"/>
                      </a:lnTo>
                      <a:lnTo>
                        <a:pt x="1093" y="1005"/>
                      </a:lnTo>
                      <a:lnTo>
                        <a:pt x="1091" y="1004"/>
                      </a:lnTo>
                      <a:lnTo>
                        <a:pt x="1090" y="1002"/>
                      </a:lnTo>
                      <a:lnTo>
                        <a:pt x="1088" y="1002"/>
                      </a:lnTo>
                      <a:lnTo>
                        <a:pt x="1088" y="1000"/>
                      </a:lnTo>
                      <a:lnTo>
                        <a:pt x="1088" y="999"/>
                      </a:lnTo>
                      <a:lnTo>
                        <a:pt x="1090" y="999"/>
                      </a:lnTo>
                      <a:lnTo>
                        <a:pt x="1090" y="997"/>
                      </a:lnTo>
                      <a:lnTo>
                        <a:pt x="1088" y="995"/>
                      </a:lnTo>
                      <a:lnTo>
                        <a:pt x="1088" y="994"/>
                      </a:lnTo>
                      <a:lnTo>
                        <a:pt x="1088" y="992"/>
                      </a:lnTo>
                      <a:lnTo>
                        <a:pt x="1086" y="992"/>
                      </a:lnTo>
                      <a:lnTo>
                        <a:pt x="1086" y="990"/>
                      </a:lnTo>
                      <a:lnTo>
                        <a:pt x="1085" y="987"/>
                      </a:lnTo>
                      <a:lnTo>
                        <a:pt x="1085" y="986"/>
                      </a:lnTo>
                      <a:lnTo>
                        <a:pt x="1086" y="984"/>
                      </a:lnTo>
                      <a:lnTo>
                        <a:pt x="1086" y="982"/>
                      </a:lnTo>
                      <a:lnTo>
                        <a:pt x="1085" y="981"/>
                      </a:lnTo>
                      <a:lnTo>
                        <a:pt x="1083" y="981"/>
                      </a:lnTo>
                      <a:lnTo>
                        <a:pt x="1081" y="981"/>
                      </a:lnTo>
                      <a:lnTo>
                        <a:pt x="1080" y="981"/>
                      </a:lnTo>
                      <a:lnTo>
                        <a:pt x="1078" y="979"/>
                      </a:lnTo>
                      <a:lnTo>
                        <a:pt x="1078" y="977"/>
                      </a:lnTo>
                      <a:lnTo>
                        <a:pt x="1076" y="977"/>
                      </a:lnTo>
                      <a:lnTo>
                        <a:pt x="1075" y="977"/>
                      </a:lnTo>
                      <a:lnTo>
                        <a:pt x="1075" y="979"/>
                      </a:lnTo>
                      <a:lnTo>
                        <a:pt x="1073" y="979"/>
                      </a:lnTo>
                      <a:lnTo>
                        <a:pt x="1073" y="981"/>
                      </a:lnTo>
                      <a:lnTo>
                        <a:pt x="1071" y="981"/>
                      </a:lnTo>
                      <a:lnTo>
                        <a:pt x="1070" y="981"/>
                      </a:lnTo>
                      <a:lnTo>
                        <a:pt x="1070" y="979"/>
                      </a:lnTo>
                      <a:lnTo>
                        <a:pt x="1068" y="979"/>
                      </a:lnTo>
                      <a:lnTo>
                        <a:pt x="1068" y="977"/>
                      </a:lnTo>
                      <a:lnTo>
                        <a:pt x="1068" y="976"/>
                      </a:lnTo>
                      <a:lnTo>
                        <a:pt x="1068" y="974"/>
                      </a:lnTo>
                      <a:lnTo>
                        <a:pt x="1068" y="972"/>
                      </a:lnTo>
                      <a:lnTo>
                        <a:pt x="1066" y="972"/>
                      </a:lnTo>
                      <a:lnTo>
                        <a:pt x="1066" y="971"/>
                      </a:lnTo>
                      <a:lnTo>
                        <a:pt x="1064" y="971"/>
                      </a:lnTo>
                      <a:lnTo>
                        <a:pt x="1063" y="971"/>
                      </a:lnTo>
                      <a:lnTo>
                        <a:pt x="1063" y="969"/>
                      </a:lnTo>
                      <a:lnTo>
                        <a:pt x="1061" y="969"/>
                      </a:lnTo>
                      <a:lnTo>
                        <a:pt x="1059" y="967"/>
                      </a:lnTo>
                      <a:lnTo>
                        <a:pt x="1058" y="967"/>
                      </a:lnTo>
                      <a:lnTo>
                        <a:pt x="1059" y="966"/>
                      </a:lnTo>
                      <a:lnTo>
                        <a:pt x="1058" y="964"/>
                      </a:lnTo>
                      <a:lnTo>
                        <a:pt x="1056" y="964"/>
                      </a:lnTo>
                      <a:lnTo>
                        <a:pt x="1056" y="963"/>
                      </a:lnTo>
                      <a:lnTo>
                        <a:pt x="1056" y="961"/>
                      </a:lnTo>
                      <a:lnTo>
                        <a:pt x="1056" y="959"/>
                      </a:lnTo>
                      <a:lnTo>
                        <a:pt x="1056" y="958"/>
                      </a:lnTo>
                      <a:lnTo>
                        <a:pt x="1056" y="956"/>
                      </a:lnTo>
                      <a:lnTo>
                        <a:pt x="1054" y="954"/>
                      </a:lnTo>
                      <a:lnTo>
                        <a:pt x="1053" y="953"/>
                      </a:lnTo>
                      <a:lnTo>
                        <a:pt x="1051" y="953"/>
                      </a:lnTo>
                      <a:lnTo>
                        <a:pt x="1051" y="951"/>
                      </a:lnTo>
                      <a:lnTo>
                        <a:pt x="1051" y="949"/>
                      </a:lnTo>
                      <a:lnTo>
                        <a:pt x="1049" y="949"/>
                      </a:lnTo>
                      <a:lnTo>
                        <a:pt x="1048" y="949"/>
                      </a:lnTo>
                      <a:lnTo>
                        <a:pt x="1048" y="948"/>
                      </a:lnTo>
                      <a:lnTo>
                        <a:pt x="1046" y="948"/>
                      </a:lnTo>
                      <a:lnTo>
                        <a:pt x="1044" y="948"/>
                      </a:lnTo>
                      <a:lnTo>
                        <a:pt x="1042" y="948"/>
                      </a:lnTo>
                      <a:lnTo>
                        <a:pt x="1042" y="946"/>
                      </a:lnTo>
                      <a:lnTo>
                        <a:pt x="1041" y="945"/>
                      </a:lnTo>
                      <a:lnTo>
                        <a:pt x="1039" y="945"/>
                      </a:lnTo>
                      <a:lnTo>
                        <a:pt x="1037" y="943"/>
                      </a:lnTo>
                      <a:lnTo>
                        <a:pt x="1015" y="943"/>
                      </a:lnTo>
                      <a:lnTo>
                        <a:pt x="978" y="943"/>
                      </a:lnTo>
                      <a:lnTo>
                        <a:pt x="966" y="943"/>
                      </a:lnTo>
                      <a:lnTo>
                        <a:pt x="966" y="945"/>
                      </a:lnTo>
                      <a:lnTo>
                        <a:pt x="966" y="946"/>
                      </a:lnTo>
                      <a:lnTo>
                        <a:pt x="966" y="948"/>
                      </a:lnTo>
                      <a:lnTo>
                        <a:pt x="966" y="949"/>
                      </a:lnTo>
                      <a:lnTo>
                        <a:pt x="965" y="949"/>
                      </a:lnTo>
                      <a:lnTo>
                        <a:pt x="965" y="951"/>
                      </a:lnTo>
                      <a:lnTo>
                        <a:pt x="963" y="951"/>
                      </a:lnTo>
                      <a:lnTo>
                        <a:pt x="961" y="953"/>
                      </a:lnTo>
                      <a:lnTo>
                        <a:pt x="961" y="954"/>
                      </a:lnTo>
                      <a:lnTo>
                        <a:pt x="963" y="954"/>
                      </a:lnTo>
                      <a:lnTo>
                        <a:pt x="961" y="958"/>
                      </a:lnTo>
                      <a:lnTo>
                        <a:pt x="960" y="959"/>
                      </a:lnTo>
                      <a:lnTo>
                        <a:pt x="960" y="961"/>
                      </a:lnTo>
                      <a:lnTo>
                        <a:pt x="956" y="963"/>
                      </a:lnTo>
                      <a:lnTo>
                        <a:pt x="955" y="963"/>
                      </a:lnTo>
                      <a:lnTo>
                        <a:pt x="955" y="964"/>
                      </a:lnTo>
                      <a:lnTo>
                        <a:pt x="955" y="966"/>
                      </a:lnTo>
                      <a:lnTo>
                        <a:pt x="956" y="967"/>
                      </a:lnTo>
                      <a:lnTo>
                        <a:pt x="956" y="969"/>
                      </a:lnTo>
                      <a:lnTo>
                        <a:pt x="955" y="971"/>
                      </a:lnTo>
                      <a:lnTo>
                        <a:pt x="953" y="972"/>
                      </a:lnTo>
                      <a:lnTo>
                        <a:pt x="953" y="974"/>
                      </a:lnTo>
                      <a:lnTo>
                        <a:pt x="953" y="976"/>
                      </a:lnTo>
                      <a:lnTo>
                        <a:pt x="951" y="976"/>
                      </a:lnTo>
                      <a:lnTo>
                        <a:pt x="950" y="976"/>
                      </a:lnTo>
                      <a:lnTo>
                        <a:pt x="948" y="974"/>
                      </a:lnTo>
                      <a:lnTo>
                        <a:pt x="945" y="972"/>
                      </a:lnTo>
                      <a:lnTo>
                        <a:pt x="943" y="972"/>
                      </a:lnTo>
                      <a:lnTo>
                        <a:pt x="941" y="972"/>
                      </a:lnTo>
                      <a:lnTo>
                        <a:pt x="941" y="974"/>
                      </a:lnTo>
                      <a:lnTo>
                        <a:pt x="939" y="974"/>
                      </a:lnTo>
                      <a:lnTo>
                        <a:pt x="939" y="976"/>
                      </a:lnTo>
                      <a:lnTo>
                        <a:pt x="938" y="976"/>
                      </a:lnTo>
                      <a:lnTo>
                        <a:pt x="936" y="976"/>
                      </a:lnTo>
                      <a:lnTo>
                        <a:pt x="936" y="977"/>
                      </a:lnTo>
                      <a:lnTo>
                        <a:pt x="936" y="979"/>
                      </a:lnTo>
                      <a:lnTo>
                        <a:pt x="936" y="981"/>
                      </a:lnTo>
                      <a:lnTo>
                        <a:pt x="934" y="982"/>
                      </a:lnTo>
                      <a:lnTo>
                        <a:pt x="933" y="984"/>
                      </a:lnTo>
                      <a:lnTo>
                        <a:pt x="934" y="984"/>
                      </a:lnTo>
                      <a:lnTo>
                        <a:pt x="934" y="986"/>
                      </a:lnTo>
                      <a:lnTo>
                        <a:pt x="936" y="986"/>
                      </a:lnTo>
                      <a:lnTo>
                        <a:pt x="936" y="987"/>
                      </a:lnTo>
                      <a:lnTo>
                        <a:pt x="934" y="989"/>
                      </a:lnTo>
                      <a:lnTo>
                        <a:pt x="933" y="990"/>
                      </a:lnTo>
                      <a:lnTo>
                        <a:pt x="933" y="992"/>
                      </a:lnTo>
                      <a:lnTo>
                        <a:pt x="934" y="992"/>
                      </a:lnTo>
                      <a:lnTo>
                        <a:pt x="936" y="994"/>
                      </a:lnTo>
                      <a:lnTo>
                        <a:pt x="936" y="995"/>
                      </a:lnTo>
                      <a:lnTo>
                        <a:pt x="936" y="997"/>
                      </a:lnTo>
                      <a:lnTo>
                        <a:pt x="938" y="997"/>
                      </a:lnTo>
                      <a:lnTo>
                        <a:pt x="938" y="999"/>
                      </a:lnTo>
                      <a:lnTo>
                        <a:pt x="938" y="1000"/>
                      </a:lnTo>
                      <a:lnTo>
                        <a:pt x="936" y="1000"/>
                      </a:lnTo>
                      <a:lnTo>
                        <a:pt x="936" y="1002"/>
                      </a:lnTo>
                      <a:lnTo>
                        <a:pt x="934" y="1002"/>
                      </a:lnTo>
                      <a:lnTo>
                        <a:pt x="934" y="1000"/>
                      </a:lnTo>
                      <a:lnTo>
                        <a:pt x="933" y="999"/>
                      </a:lnTo>
                      <a:lnTo>
                        <a:pt x="933" y="1000"/>
                      </a:lnTo>
                      <a:lnTo>
                        <a:pt x="931" y="1002"/>
                      </a:lnTo>
                      <a:lnTo>
                        <a:pt x="931" y="1004"/>
                      </a:lnTo>
                      <a:lnTo>
                        <a:pt x="929" y="1004"/>
                      </a:lnTo>
                      <a:lnTo>
                        <a:pt x="931" y="1005"/>
                      </a:lnTo>
                      <a:lnTo>
                        <a:pt x="929" y="1005"/>
                      </a:lnTo>
                      <a:lnTo>
                        <a:pt x="929" y="1007"/>
                      </a:lnTo>
                      <a:lnTo>
                        <a:pt x="929" y="1009"/>
                      </a:lnTo>
                      <a:lnTo>
                        <a:pt x="928" y="1009"/>
                      </a:lnTo>
                      <a:lnTo>
                        <a:pt x="928" y="1010"/>
                      </a:lnTo>
                      <a:lnTo>
                        <a:pt x="928" y="1012"/>
                      </a:lnTo>
                      <a:lnTo>
                        <a:pt x="926" y="1012"/>
                      </a:lnTo>
                      <a:lnTo>
                        <a:pt x="924" y="1012"/>
                      </a:lnTo>
                      <a:lnTo>
                        <a:pt x="923" y="1012"/>
                      </a:lnTo>
                      <a:lnTo>
                        <a:pt x="921" y="1013"/>
                      </a:lnTo>
                      <a:lnTo>
                        <a:pt x="921" y="1012"/>
                      </a:lnTo>
                      <a:lnTo>
                        <a:pt x="919" y="1012"/>
                      </a:lnTo>
                      <a:lnTo>
                        <a:pt x="918" y="1012"/>
                      </a:lnTo>
                      <a:lnTo>
                        <a:pt x="918" y="1013"/>
                      </a:lnTo>
                      <a:lnTo>
                        <a:pt x="918" y="1015"/>
                      </a:lnTo>
                      <a:lnTo>
                        <a:pt x="918" y="1017"/>
                      </a:lnTo>
                      <a:lnTo>
                        <a:pt x="918" y="1018"/>
                      </a:lnTo>
                      <a:lnTo>
                        <a:pt x="919" y="1020"/>
                      </a:lnTo>
                      <a:lnTo>
                        <a:pt x="918" y="1020"/>
                      </a:lnTo>
                      <a:lnTo>
                        <a:pt x="918" y="1022"/>
                      </a:lnTo>
                      <a:lnTo>
                        <a:pt x="916" y="1023"/>
                      </a:lnTo>
                      <a:lnTo>
                        <a:pt x="916" y="1025"/>
                      </a:lnTo>
                      <a:lnTo>
                        <a:pt x="916" y="1027"/>
                      </a:lnTo>
                      <a:lnTo>
                        <a:pt x="916" y="1028"/>
                      </a:lnTo>
                      <a:lnTo>
                        <a:pt x="918" y="1032"/>
                      </a:lnTo>
                      <a:lnTo>
                        <a:pt x="918" y="1033"/>
                      </a:lnTo>
                      <a:lnTo>
                        <a:pt x="916" y="1035"/>
                      </a:lnTo>
                      <a:lnTo>
                        <a:pt x="914" y="1033"/>
                      </a:lnTo>
                      <a:lnTo>
                        <a:pt x="914" y="1035"/>
                      </a:lnTo>
                      <a:lnTo>
                        <a:pt x="911" y="1036"/>
                      </a:lnTo>
                      <a:lnTo>
                        <a:pt x="909" y="1036"/>
                      </a:lnTo>
                      <a:lnTo>
                        <a:pt x="907" y="1036"/>
                      </a:lnTo>
                      <a:lnTo>
                        <a:pt x="906" y="1036"/>
                      </a:lnTo>
                      <a:lnTo>
                        <a:pt x="904" y="1036"/>
                      </a:lnTo>
                      <a:lnTo>
                        <a:pt x="902" y="1038"/>
                      </a:lnTo>
                      <a:lnTo>
                        <a:pt x="901" y="1038"/>
                      </a:lnTo>
                      <a:lnTo>
                        <a:pt x="901" y="1036"/>
                      </a:lnTo>
                      <a:lnTo>
                        <a:pt x="899" y="1036"/>
                      </a:lnTo>
                      <a:lnTo>
                        <a:pt x="901" y="1033"/>
                      </a:lnTo>
                      <a:lnTo>
                        <a:pt x="901" y="1032"/>
                      </a:lnTo>
                      <a:lnTo>
                        <a:pt x="899" y="1032"/>
                      </a:lnTo>
                      <a:lnTo>
                        <a:pt x="896" y="1033"/>
                      </a:lnTo>
                      <a:lnTo>
                        <a:pt x="894" y="1033"/>
                      </a:lnTo>
                      <a:lnTo>
                        <a:pt x="892" y="1035"/>
                      </a:lnTo>
                      <a:lnTo>
                        <a:pt x="889" y="1035"/>
                      </a:lnTo>
                      <a:lnTo>
                        <a:pt x="889" y="1036"/>
                      </a:lnTo>
                      <a:lnTo>
                        <a:pt x="887" y="1036"/>
                      </a:lnTo>
                      <a:lnTo>
                        <a:pt x="885" y="1035"/>
                      </a:lnTo>
                      <a:lnTo>
                        <a:pt x="884" y="1036"/>
                      </a:lnTo>
                      <a:lnTo>
                        <a:pt x="882" y="1036"/>
                      </a:lnTo>
                      <a:lnTo>
                        <a:pt x="880" y="1035"/>
                      </a:lnTo>
                      <a:lnTo>
                        <a:pt x="879" y="1036"/>
                      </a:lnTo>
                      <a:lnTo>
                        <a:pt x="877" y="1036"/>
                      </a:lnTo>
                      <a:lnTo>
                        <a:pt x="875" y="1036"/>
                      </a:lnTo>
                      <a:lnTo>
                        <a:pt x="875" y="1038"/>
                      </a:lnTo>
                      <a:lnTo>
                        <a:pt x="874" y="1038"/>
                      </a:lnTo>
                      <a:lnTo>
                        <a:pt x="874" y="1040"/>
                      </a:lnTo>
                      <a:lnTo>
                        <a:pt x="872" y="1040"/>
                      </a:lnTo>
                      <a:lnTo>
                        <a:pt x="870" y="1038"/>
                      </a:lnTo>
                      <a:lnTo>
                        <a:pt x="869" y="1038"/>
                      </a:lnTo>
                      <a:lnTo>
                        <a:pt x="867" y="1040"/>
                      </a:lnTo>
                      <a:lnTo>
                        <a:pt x="867" y="1038"/>
                      </a:lnTo>
                      <a:lnTo>
                        <a:pt x="865" y="1036"/>
                      </a:lnTo>
                      <a:lnTo>
                        <a:pt x="863" y="1036"/>
                      </a:lnTo>
                      <a:lnTo>
                        <a:pt x="862" y="1038"/>
                      </a:lnTo>
                      <a:lnTo>
                        <a:pt x="862" y="1040"/>
                      </a:lnTo>
                      <a:lnTo>
                        <a:pt x="860" y="1040"/>
                      </a:lnTo>
                      <a:lnTo>
                        <a:pt x="858" y="1040"/>
                      </a:lnTo>
                      <a:lnTo>
                        <a:pt x="857" y="1038"/>
                      </a:lnTo>
                      <a:lnTo>
                        <a:pt x="857" y="1036"/>
                      </a:lnTo>
                      <a:lnTo>
                        <a:pt x="855" y="1036"/>
                      </a:lnTo>
                      <a:lnTo>
                        <a:pt x="853" y="1036"/>
                      </a:lnTo>
                      <a:lnTo>
                        <a:pt x="852" y="1036"/>
                      </a:lnTo>
                      <a:lnTo>
                        <a:pt x="850" y="1038"/>
                      </a:lnTo>
                      <a:lnTo>
                        <a:pt x="848" y="1038"/>
                      </a:lnTo>
                      <a:lnTo>
                        <a:pt x="848" y="1040"/>
                      </a:lnTo>
                      <a:lnTo>
                        <a:pt x="847" y="1040"/>
                      </a:lnTo>
                      <a:lnTo>
                        <a:pt x="847" y="1041"/>
                      </a:lnTo>
                      <a:lnTo>
                        <a:pt x="845" y="1041"/>
                      </a:lnTo>
                      <a:lnTo>
                        <a:pt x="843" y="1041"/>
                      </a:lnTo>
                      <a:lnTo>
                        <a:pt x="843" y="1043"/>
                      </a:lnTo>
                      <a:lnTo>
                        <a:pt x="843" y="1045"/>
                      </a:lnTo>
                      <a:lnTo>
                        <a:pt x="843" y="1046"/>
                      </a:lnTo>
                      <a:lnTo>
                        <a:pt x="843" y="1048"/>
                      </a:lnTo>
                      <a:lnTo>
                        <a:pt x="842" y="1050"/>
                      </a:lnTo>
                      <a:lnTo>
                        <a:pt x="842" y="1051"/>
                      </a:lnTo>
                      <a:lnTo>
                        <a:pt x="842" y="1053"/>
                      </a:lnTo>
                      <a:lnTo>
                        <a:pt x="843" y="1053"/>
                      </a:lnTo>
                      <a:lnTo>
                        <a:pt x="843" y="1055"/>
                      </a:lnTo>
                      <a:lnTo>
                        <a:pt x="842" y="1055"/>
                      </a:lnTo>
                      <a:lnTo>
                        <a:pt x="843" y="1056"/>
                      </a:lnTo>
                      <a:lnTo>
                        <a:pt x="843" y="1058"/>
                      </a:lnTo>
                      <a:lnTo>
                        <a:pt x="843" y="1059"/>
                      </a:lnTo>
                      <a:lnTo>
                        <a:pt x="842" y="1059"/>
                      </a:lnTo>
                      <a:lnTo>
                        <a:pt x="842" y="1061"/>
                      </a:lnTo>
                      <a:lnTo>
                        <a:pt x="842" y="1063"/>
                      </a:lnTo>
                      <a:lnTo>
                        <a:pt x="840" y="1063"/>
                      </a:lnTo>
                      <a:lnTo>
                        <a:pt x="840" y="1064"/>
                      </a:lnTo>
                      <a:lnTo>
                        <a:pt x="838" y="1064"/>
                      </a:lnTo>
                      <a:lnTo>
                        <a:pt x="836" y="1064"/>
                      </a:lnTo>
                      <a:lnTo>
                        <a:pt x="836" y="1066"/>
                      </a:lnTo>
                      <a:lnTo>
                        <a:pt x="836" y="1068"/>
                      </a:lnTo>
                      <a:lnTo>
                        <a:pt x="835" y="1068"/>
                      </a:lnTo>
                      <a:lnTo>
                        <a:pt x="835" y="1069"/>
                      </a:lnTo>
                      <a:lnTo>
                        <a:pt x="833" y="1069"/>
                      </a:lnTo>
                      <a:lnTo>
                        <a:pt x="833" y="1071"/>
                      </a:lnTo>
                      <a:lnTo>
                        <a:pt x="831" y="1071"/>
                      </a:lnTo>
                      <a:lnTo>
                        <a:pt x="833" y="1073"/>
                      </a:lnTo>
                      <a:lnTo>
                        <a:pt x="831" y="1073"/>
                      </a:lnTo>
                      <a:lnTo>
                        <a:pt x="831" y="1074"/>
                      </a:lnTo>
                      <a:lnTo>
                        <a:pt x="830" y="1074"/>
                      </a:lnTo>
                      <a:lnTo>
                        <a:pt x="828" y="1074"/>
                      </a:lnTo>
                      <a:lnTo>
                        <a:pt x="828" y="1076"/>
                      </a:lnTo>
                      <a:lnTo>
                        <a:pt x="826" y="1076"/>
                      </a:lnTo>
                      <a:lnTo>
                        <a:pt x="828" y="1078"/>
                      </a:lnTo>
                      <a:lnTo>
                        <a:pt x="826" y="1078"/>
                      </a:lnTo>
                      <a:lnTo>
                        <a:pt x="825" y="1078"/>
                      </a:lnTo>
                      <a:lnTo>
                        <a:pt x="825" y="1079"/>
                      </a:lnTo>
                      <a:lnTo>
                        <a:pt x="823" y="1079"/>
                      </a:lnTo>
                      <a:lnTo>
                        <a:pt x="821" y="1079"/>
                      </a:lnTo>
                      <a:lnTo>
                        <a:pt x="821" y="1078"/>
                      </a:lnTo>
                      <a:lnTo>
                        <a:pt x="820" y="1078"/>
                      </a:lnTo>
                      <a:lnTo>
                        <a:pt x="818" y="1078"/>
                      </a:lnTo>
                      <a:lnTo>
                        <a:pt x="818" y="1076"/>
                      </a:lnTo>
                      <a:lnTo>
                        <a:pt x="820" y="1074"/>
                      </a:lnTo>
                      <a:lnTo>
                        <a:pt x="820" y="1073"/>
                      </a:lnTo>
                      <a:lnTo>
                        <a:pt x="818" y="1073"/>
                      </a:lnTo>
                      <a:lnTo>
                        <a:pt x="818" y="1071"/>
                      </a:lnTo>
                      <a:lnTo>
                        <a:pt x="818" y="1069"/>
                      </a:lnTo>
                      <a:lnTo>
                        <a:pt x="816" y="1068"/>
                      </a:lnTo>
                      <a:lnTo>
                        <a:pt x="816" y="1066"/>
                      </a:lnTo>
                      <a:lnTo>
                        <a:pt x="816" y="1064"/>
                      </a:lnTo>
                      <a:lnTo>
                        <a:pt x="816" y="1063"/>
                      </a:lnTo>
                      <a:lnTo>
                        <a:pt x="814" y="1063"/>
                      </a:lnTo>
                      <a:lnTo>
                        <a:pt x="813" y="1061"/>
                      </a:lnTo>
                      <a:lnTo>
                        <a:pt x="811" y="1061"/>
                      </a:lnTo>
                      <a:lnTo>
                        <a:pt x="809" y="1063"/>
                      </a:lnTo>
                      <a:lnTo>
                        <a:pt x="808" y="1063"/>
                      </a:lnTo>
                      <a:lnTo>
                        <a:pt x="808" y="1064"/>
                      </a:lnTo>
                      <a:lnTo>
                        <a:pt x="806" y="1064"/>
                      </a:lnTo>
                      <a:lnTo>
                        <a:pt x="806" y="1066"/>
                      </a:lnTo>
                      <a:lnTo>
                        <a:pt x="804" y="1066"/>
                      </a:lnTo>
                      <a:lnTo>
                        <a:pt x="803" y="1066"/>
                      </a:lnTo>
                      <a:lnTo>
                        <a:pt x="803" y="1068"/>
                      </a:lnTo>
                      <a:lnTo>
                        <a:pt x="799" y="1068"/>
                      </a:lnTo>
                      <a:lnTo>
                        <a:pt x="799" y="1069"/>
                      </a:lnTo>
                      <a:lnTo>
                        <a:pt x="798" y="1069"/>
                      </a:lnTo>
                      <a:lnTo>
                        <a:pt x="798" y="1068"/>
                      </a:lnTo>
                      <a:lnTo>
                        <a:pt x="796" y="1068"/>
                      </a:lnTo>
                      <a:lnTo>
                        <a:pt x="794" y="1066"/>
                      </a:lnTo>
                      <a:lnTo>
                        <a:pt x="794" y="1068"/>
                      </a:lnTo>
                      <a:lnTo>
                        <a:pt x="793" y="1068"/>
                      </a:lnTo>
                      <a:lnTo>
                        <a:pt x="794" y="1068"/>
                      </a:lnTo>
                      <a:lnTo>
                        <a:pt x="794" y="1069"/>
                      </a:lnTo>
                      <a:lnTo>
                        <a:pt x="794" y="1073"/>
                      </a:lnTo>
                      <a:lnTo>
                        <a:pt x="793" y="1074"/>
                      </a:lnTo>
                      <a:lnTo>
                        <a:pt x="793" y="1076"/>
                      </a:lnTo>
                      <a:lnTo>
                        <a:pt x="794" y="1076"/>
                      </a:lnTo>
                      <a:lnTo>
                        <a:pt x="794" y="1078"/>
                      </a:lnTo>
                      <a:lnTo>
                        <a:pt x="794" y="1079"/>
                      </a:lnTo>
                      <a:lnTo>
                        <a:pt x="794" y="1081"/>
                      </a:lnTo>
                      <a:lnTo>
                        <a:pt x="793" y="1081"/>
                      </a:lnTo>
                      <a:lnTo>
                        <a:pt x="791" y="1081"/>
                      </a:lnTo>
                      <a:lnTo>
                        <a:pt x="789" y="1081"/>
                      </a:lnTo>
                      <a:lnTo>
                        <a:pt x="787" y="1081"/>
                      </a:lnTo>
                      <a:lnTo>
                        <a:pt x="787" y="1079"/>
                      </a:lnTo>
                      <a:lnTo>
                        <a:pt x="786" y="1079"/>
                      </a:lnTo>
                      <a:lnTo>
                        <a:pt x="786" y="1078"/>
                      </a:lnTo>
                      <a:lnTo>
                        <a:pt x="784" y="1078"/>
                      </a:lnTo>
                      <a:lnTo>
                        <a:pt x="782" y="1078"/>
                      </a:lnTo>
                      <a:lnTo>
                        <a:pt x="782" y="1076"/>
                      </a:lnTo>
                      <a:lnTo>
                        <a:pt x="781" y="1076"/>
                      </a:lnTo>
                      <a:lnTo>
                        <a:pt x="779" y="1076"/>
                      </a:lnTo>
                      <a:lnTo>
                        <a:pt x="777" y="1078"/>
                      </a:lnTo>
                      <a:lnTo>
                        <a:pt x="776" y="1078"/>
                      </a:lnTo>
                      <a:lnTo>
                        <a:pt x="774" y="1079"/>
                      </a:lnTo>
                      <a:lnTo>
                        <a:pt x="772" y="1079"/>
                      </a:lnTo>
                      <a:lnTo>
                        <a:pt x="771" y="1081"/>
                      </a:lnTo>
                      <a:lnTo>
                        <a:pt x="771" y="1084"/>
                      </a:lnTo>
                      <a:lnTo>
                        <a:pt x="769" y="1086"/>
                      </a:lnTo>
                      <a:lnTo>
                        <a:pt x="769" y="1087"/>
                      </a:lnTo>
                      <a:lnTo>
                        <a:pt x="767" y="1089"/>
                      </a:lnTo>
                      <a:lnTo>
                        <a:pt x="766" y="1089"/>
                      </a:lnTo>
                      <a:lnTo>
                        <a:pt x="764" y="1089"/>
                      </a:lnTo>
                      <a:lnTo>
                        <a:pt x="764" y="1091"/>
                      </a:lnTo>
                      <a:lnTo>
                        <a:pt x="762" y="1091"/>
                      </a:lnTo>
                      <a:lnTo>
                        <a:pt x="762" y="1092"/>
                      </a:lnTo>
                      <a:lnTo>
                        <a:pt x="760" y="1092"/>
                      </a:lnTo>
                      <a:lnTo>
                        <a:pt x="759" y="1091"/>
                      </a:lnTo>
                      <a:lnTo>
                        <a:pt x="759" y="1089"/>
                      </a:lnTo>
                      <a:lnTo>
                        <a:pt x="757" y="1087"/>
                      </a:lnTo>
                      <a:lnTo>
                        <a:pt x="755" y="1087"/>
                      </a:lnTo>
                      <a:lnTo>
                        <a:pt x="755" y="1086"/>
                      </a:lnTo>
                      <a:lnTo>
                        <a:pt x="755" y="1084"/>
                      </a:lnTo>
                      <a:lnTo>
                        <a:pt x="754" y="1086"/>
                      </a:lnTo>
                      <a:lnTo>
                        <a:pt x="754" y="1084"/>
                      </a:lnTo>
                      <a:lnTo>
                        <a:pt x="754" y="1082"/>
                      </a:lnTo>
                      <a:lnTo>
                        <a:pt x="752" y="1082"/>
                      </a:lnTo>
                      <a:lnTo>
                        <a:pt x="750" y="1082"/>
                      </a:lnTo>
                      <a:lnTo>
                        <a:pt x="749" y="1082"/>
                      </a:lnTo>
                      <a:lnTo>
                        <a:pt x="749" y="1081"/>
                      </a:lnTo>
                      <a:lnTo>
                        <a:pt x="749" y="1079"/>
                      </a:lnTo>
                      <a:lnTo>
                        <a:pt x="747" y="1079"/>
                      </a:lnTo>
                      <a:lnTo>
                        <a:pt x="745" y="1078"/>
                      </a:lnTo>
                      <a:lnTo>
                        <a:pt x="744" y="1076"/>
                      </a:lnTo>
                      <a:lnTo>
                        <a:pt x="742" y="1076"/>
                      </a:lnTo>
                      <a:lnTo>
                        <a:pt x="740" y="1076"/>
                      </a:lnTo>
                      <a:lnTo>
                        <a:pt x="738" y="1074"/>
                      </a:lnTo>
                      <a:lnTo>
                        <a:pt x="737" y="1074"/>
                      </a:lnTo>
                      <a:lnTo>
                        <a:pt x="737" y="1076"/>
                      </a:lnTo>
                      <a:lnTo>
                        <a:pt x="735" y="1076"/>
                      </a:lnTo>
                      <a:lnTo>
                        <a:pt x="732" y="1076"/>
                      </a:lnTo>
                      <a:lnTo>
                        <a:pt x="730" y="1076"/>
                      </a:lnTo>
                      <a:lnTo>
                        <a:pt x="727" y="1076"/>
                      </a:lnTo>
                      <a:lnTo>
                        <a:pt x="727" y="1078"/>
                      </a:lnTo>
                      <a:lnTo>
                        <a:pt x="725" y="1078"/>
                      </a:lnTo>
                      <a:lnTo>
                        <a:pt x="723" y="1078"/>
                      </a:lnTo>
                      <a:lnTo>
                        <a:pt x="722" y="1078"/>
                      </a:lnTo>
                      <a:lnTo>
                        <a:pt x="720" y="1078"/>
                      </a:lnTo>
                      <a:lnTo>
                        <a:pt x="718" y="1078"/>
                      </a:lnTo>
                      <a:lnTo>
                        <a:pt x="717" y="1076"/>
                      </a:lnTo>
                      <a:lnTo>
                        <a:pt x="715" y="1076"/>
                      </a:lnTo>
                      <a:lnTo>
                        <a:pt x="713" y="1076"/>
                      </a:lnTo>
                      <a:lnTo>
                        <a:pt x="713" y="1078"/>
                      </a:lnTo>
                      <a:lnTo>
                        <a:pt x="715" y="1078"/>
                      </a:lnTo>
                      <a:lnTo>
                        <a:pt x="713" y="1078"/>
                      </a:lnTo>
                      <a:lnTo>
                        <a:pt x="711" y="1078"/>
                      </a:lnTo>
                      <a:lnTo>
                        <a:pt x="711" y="1076"/>
                      </a:lnTo>
                      <a:lnTo>
                        <a:pt x="710" y="1078"/>
                      </a:lnTo>
                      <a:lnTo>
                        <a:pt x="708" y="1078"/>
                      </a:lnTo>
                      <a:lnTo>
                        <a:pt x="708" y="1076"/>
                      </a:lnTo>
                      <a:lnTo>
                        <a:pt x="706" y="1076"/>
                      </a:lnTo>
                      <a:lnTo>
                        <a:pt x="706" y="1078"/>
                      </a:lnTo>
                      <a:lnTo>
                        <a:pt x="705" y="1078"/>
                      </a:lnTo>
                      <a:lnTo>
                        <a:pt x="705" y="1076"/>
                      </a:lnTo>
                      <a:lnTo>
                        <a:pt x="703" y="1076"/>
                      </a:lnTo>
                      <a:lnTo>
                        <a:pt x="701" y="1076"/>
                      </a:lnTo>
                      <a:lnTo>
                        <a:pt x="701" y="1078"/>
                      </a:lnTo>
                      <a:lnTo>
                        <a:pt x="703" y="1078"/>
                      </a:lnTo>
                      <a:lnTo>
                        <a:pt x="705" y="1079"/>
                      </a:lnTo>
                      <a:lnTo>
                        <a:pt x="705" y="1081"/>
                      </a:lnTo>
                      <a:lnTo>
                        <a:pt x="703" y="1082"/>
                      </a:lnTo>
                      <a:lnTo>
                        <a:pt x="703" y="1084"/>
                      </a:lnTo>
                      <a:lnTo>
                        <a:pt x="701" y="1086"/>
                      </a:lnTo>
                      <a:lnTo>
                        <a:pt x="700" y="1087"/>
                      </a:lnTo>
                      <a:lnTo>
                        <a:pt x="700" y="1089"/>
                      </a:lnTo>
                      <a:lnTo>
                        <a:pt x="698" y="1091"/>
                      </a:lnTo>
                      <a:lnTo>
                        <a:pt x="696" y="1092"/>
                      </a:lnTo>
                      <a:lnTo>
                        <a:pt x="695" y="1092"/>
                      </a:lnTo>
                      <a:lnTo>
                        <a:pt x="695" y="1094"/>
                      </a:lnTo>
                      <a:lnTo>
                        <a:pt x="695" y="1096"/>
                      </a:lnTo>
                      <a:lnTo>
                        <a:pt x="693" y="1096"/>
                      </a:lnTo>
                      <a:lnTo>
                        <a:pt x="691" y="1097"/>
                      </a:lnTo>
                      <a:lnTo>
                        <a:pt x="690" y="1097"/>
                      </a:lnTo>
                      <a:lnTo>
                        <a:pt x="690" y="1099"/>
                      </a:lnTo>
                      <a:lnTo>
                        <a:pt x="688" y="1099"/>
                      </a:lnTo>
                      <a:lnTo>
                        <a:pt x="686" y="1099"/>
                      </a:lnTo>
                      <a:lnTo>
                        <a:pt x="686" y="1101"/>
                      </a:lnTo>
                      <a:lnTo>
                        <a:pt x="684" y="1101"/>
                      </a:lnTo>
                      <a:lnTo>
                        <a:pt x="684" y="1099"/>
                      </a:lnTo>
                      <a:lnTo>
                        <a:pt x="683" y="1099"/>
                      </a:lnTo>
                      <a:lnTo>
                        <a:pt x="683" y="1101"/>
                      </a:lnTo>
                      <a:lnTo>
                        <a:pt x="681" y="1101"/>
                      </a:lnTo>
                      <a:lnTo>
                        <a:pt x="679" y="1102"/>
                      </a:lnTo>
                      <a:lnTo>
                        <a:pt x="678" y="1102"/>
                      </a:lnTo>
                      <a:lnTo>
                        <a:pt x="678" y="1104"/>
                      </a:lnTo>
                      <a:lnTo>
                        <a:pt x="676" y="1104"/>
                      </a:lnTo>
                      <a:lnTo>
                        <a:pt x="676" y="1105"/>
                      </a:lnTo>
                      <a:lnTo>
                        <a:pt x="674" y="1107"/>
                      </a:lnTo>
                      <a:lnTo>
                        <a:pt x="673" y="1107"/>
                      </a:lnTo>
                      <a:lnTo>
                        <a:pt x="671" y="1107"/>
                      </a:lnTo>
                      <a:lnTo>
                        <a:pt x="669" y="1109"/>
                      </a:lnTo>
                      <a:lnTo>
                        <a:pt x="668" y="1107"/>
                      </a:lnTo>
                      <a:lnTo>
                        <a:pt x="668" y="1109"/>
                      </a:lnTo>
                      <a:lnTo>
                        <a:pt x="668" y="1110"/>
                      </a:lnTo>
                      <a:lnTo>
                        <a:pt x="666" y="1112"/>
                      </a:lnTo>
                      <a:lnTo>
                        <a:pt x="664" y="1114"/>
                      </a:lnTo>
                      <a:lnTo>
                        <a:pt x="635" y="1101"/>
                      </a:lnTo>
                      <a:lnTo>
                        <a:pt x="634" y="1101"/>
                      </a:lnTo>
                      <a:lnTo>
                        <a:pt x="615" y="1092"/>
                      </a:lnTo>
                      <a:lnTo>
                        <a:pt x="558" y="1069"/>
                      </a:lnTo>
                      <a:lnTo>
                        <a:pt x="534" y="1059"/>
                      </a:lnTo>
                      <a:lnTo>
                        <a:pt x="482" y="1038"/>
                      </a:lnTo>
                      <a:lnTo>
                        <a:pt x="456" y="1027"/>
                      </a:lnTo>
                      <a:lnTo>
                        <a:pt x="416" y="1005"/>
                      </a:lnTo>
                      <a:lnTo>
                        <a:pt x="404" y="999"/>
                      </a:lnTo>
                      <a:lnTo>
                        <a:pt x="384" y="989"/>
                      </a:lnTo>
                      <a:lnTo>
                        <a:pt x="326" y="959"/>
                      </a:lnTo>
                      <a:lnTo>
                        <a:pt x="315" y="956"/>
                      </a:lnTo>
                      <a:lnTo>
                        <a:pt x="308" y="954"/>
                      </a:lnTo>
                      <a:lnTo>
                        <a:pt x="264" y="946"/>
                      </a:lnTo>
                      <a:lnTo>
                        <a:pt x="244" y="941"/>
                      </a:lnTo>
                      <a:lnTo>
                        <a:pt x="220" y="936"/>
                      </a:lnTo>
                      <a:lnTo>
                        <a:pt x="218" y="935"/>
                      </a:lnTo>
                      <a:lnTo>
                        <a:pt x="173" y="925"/>
                      </a:lnTo>
                      <a:lnTo>
                        <a:pt x="156" y="922"/>
                      </a:lnTo>
                      <a:lnTo>
                        <a:pt x="110" y="912"/>
                      </a:lnTo>
                      <a:lnTo>
                        <a:pt x="90" y="902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29" name="Freeform 17"/>
                <p:cNvSpPr>
                  <a:spLocks noChangeAspect="1" noEditPoints="1"/>
                </p:cNvSpPr>
                <p:nvPr/>
              </p:nvSpPr>
              <p:spPr bwMode="auto">
                <a:xfrm>
                  <a:off x="3504718" y="873378"/>
                  <a:ext cx="1902641" cy="1917907"/>
                </a:xfrm>
                <a:custGeom>
                  <a:avLst/>
                  <a:gdLst>
                    <a:gd name="T0" fmla="*/ 2147483647 w 1218"/>
                    <a:gd name="T1" fmla="*/ 2147483647 h 1146"/>
                    <a:gd name="T2" fmla="*/ 2147483647 w 1218"/>
                    <a:gd name="T3" fmla="*/ 2147483647 h 1146"/>
                    <a:gd name="T4" fmla="*/ 2147483647 w 1218"/>
                    <a:gd name="T5" fmla="*/ 2147483647 h 1146"/>
                    <a:gd name="T6" fmla="*/ 2147483647 w 1218"/>
                    <a:gd name="T7" fmla="*/ 2147483647 h 1146"/>
                    <a:gd name="T8" fmla="*/ 2147483647 w 1218"/>
                    <a:gd name="T9" fmla="*/ 2147483647 h 1146"/>
                    <a:gd name="T10" fmla="*/ 2147483647 w 1218"/>
                    <a:gd name="T11" fmla="*/ 2147483647 h 1146"/>
                    <a:gd name="T12" fmla="*/ 2147483647 w 1218"/>
                    <a:gd name="T13" fmla="*/ 2147483647 h 1146"/>
                    <a:gd name="T14" fmla="*/ 2147483647 w 1218"/>
                    <a:gd name="T15" fmla="*/ 2147483647 h 1146"/>
                    <a:gd name="T16" fmla="*/ 2147483647 w 1218"/>
                    <a:gd name="T17" fmla="*/ 2147483647 h 1146"/>
                    <a:gd name="T18" fmla="*/ 2147483647 w 1218"/>
                    <a:gd name="T19" fmla="*/ 2147483647 h 1146"/>
                    <a:gd name="T20" fmla="*/ 2147483647 w 1218"/>
                    <a:gd name="T21" fmla="*/ 2147483647 h 1146"/>
                    <a:gd name="T22" fmla="*/ 2147483647 w 1218"/>
                    <a:gd name="T23" fmla="*/ 2147483647 h 1146"/>
                    <a:gd name="T24" fmla="*/ 2147483647 w 1218"/>
                    <a:gd name="T25" fmla="*/ 2147483647 h 1146"/>
                    <a:gd name="T26" fmla="*/ 2147483647 w 1218"/>
                    <a:gd name="T27" fmla="*/ 2147483647 h 1146"/>
                    <a:gd name="T28" fmla="*/ 2147483647 w 1218"/>
                    <a:gd name="T29" fmla="*/ 2147483647 h 1146"/>
                    <a:gd name="T30" fmla="*/ 2147483647 w 1218"/>
                    <a:gd name="T31" fmla="*/ 2147483647 h 1146"/>
                    <a:gd name="T32" fmla="*/ 2147483647 w 1218"/>
                    <a:gd name="T33" fmla="*/ 2147483647 h 1146"/>
                    <a:gd name="T34" fmla="*/ 2147483647 w 1218"/>
                    <a:gd name="T35" fmla="*/ 2147483647 h 1146"/>
                    <a:gd name="T36" fmla="*/ 2147483647 w 1218"/>
                    <a:gd name="T37" fmla="*/ 2147483647 h 1146"/>
                    <a:gd name="T38" fmla="*/ 2147483647 w 1218"/>
                    <a:gd name="T39" fmla="*/ 2147483647 h 1146"/>
                    <a:gd name="T40" fmla="*/ 2147483647 w 1218"/>
                    <a:gd name="T41" fmla="*/ 2147483647 h 1146"/>
                    <a:gd name="T42" fmla="*/ 2147483647 w 1218"/>
                    <a:gd name="T43" fmla="*/ 2147483647 h 1146"/>
                    <a:gd name="T44" fmla="*/ 2147483647 w 1218"/>
                    <a:gd name="T45" fmla="*/ 2147483647 h 1146"/>
                    <a:gd name="T46" fmla="*/ 2147483647 w 1218"/>
                    <a:gd name="T47" fmla="*/ 2147483647 h 1146"/>
                    <a:gd name="T48" fmla="*/ 2147483647 w 1218"/>
                    <a:gd name="T49" fmla="*/ 2147483647 h 1146"/>
                    <a:gd name="T50" fmla="*/ 2147483647 w 1218"/>
                    <a:gd name="T51" fmla="*/ 2147483647 h 1146"/>
                    <a:gd name="T52" fmla="*/ 2147483647 w 1218"/>
                    <a:gd name="T53" fmla="*/ 2147483647 h 1146"/>
                    <a:gd name="T54" fmla="*/ 2147483647 w 1218"/>
                    <a:gd name="T55" fmla="*/ 2147483647 h 1146"/>
                    <a:gd name="T56" fmla="*/ 2147483647 w 1218"/>
                    <a:gd name="T57" fmla="*/ 2147483647 h 1146"/>
                    <a:gd name="T58" fmla="*/ 2147483647 w 1218"/>
                    <a:gd name="T59" fmla="*/ 2147483647 h 1146"/>
                    <a:gd name="T60" fmla="*/ 2147483647 w 1218"/>
                    <a:gd name="T61" fmla="*/ 2147483647 h 1146"/>
                    <a:gd name="T62" fmla="*/ 2147483647 w 1218"/>
                    <a:gd name="T63" fmla="*/ 2147483647 h 1146"/>
                    <a:gd name="T64" fmla="*/ 2147483647 w 1218"/>
                    <a:gd name="T65" fmla="*/ 2147483647 h 1146"/>
                    <a:gd name="T66" fmla="*/ 2147483647 w 1218"/>
                    <a:gd name="T67" fmla="*/ 2147483647 h 1146"/>
                    <a:gd name="T68" fmla="*/ 2147483647 w 1218"/>
                    <a:gd name="T69" fmla="*/ 2147483647 h 1146"/>
                    <a:gd name="T70" fmla="*/ 2147483647 w 1218"/>
                    <a:gd name="T71" fmla="*/ 2147483647 h 1146"/>
                    <a:gd name="T72" fmla="*/ 2147483647 w 1218"/>
                    <a:gd name="T73" fmla="*/ 2147483647 h 1146"/>
                    <a:gd name="T74" fmla="*/ 2147483647 w 1218"/>
                    <a:gd name="T75" fmla="*/ 2147483647 h 1146"/>
                    <a:gd name="T76" fmla="*/ 2147483647 w 1218"/>
                    <a:gd name="T77" fmla="*/ 2147483647 h 1146"/>
                    <a:gd name="T78" fmla="*/ 2147483647 w 1218"/>
                    <a:gd name="T79" fmla="*/ 2147483647 h 1146"/>
                    <a:gd name="T80" fmla="*/ 2147483647 w 1218"/>
                    <a:gd name="T81" fmla="*/ 2147483647 h 1146"/>
                    <a:gd name="T82" fmla="*/ 2147483647 w 1218"/>
                    <a:gd name="T83" fmla="*/ 2147483647 h 1146"/>
                    <a:gd name="T84" fmla="*/ 2147483647 w 1218"/>
                    <a:gd name="T85" fmla="*/ 2147483647 h 1146"/>
                    <a:gd name="T86" fmla="*/ 2147483647 w 1218"/>
                    <a:gd name="T87" fmla="*/ 2147483647 h 1146"/>
                    <a:gd name="T88" fmla="*/ 2147483647 w 1218"/>
                    <a:gd name="T89" fmla="*/ 2147483647 h 1146"/>
                    <a:gd name="T90" fmla="*/ 2147483647 w 1218"/>
                    <a:gd name="T91" fmla="*/ 2147483647 h 1146"/>
                    <a:gd name="T92" fmla="*/ 2147483647 w 1218"/>
                    <a:gd name="T93" fmla="*/ 2147483647 h 1146"/>
                    <a:gd name="T94" fmla="*/ 2147483647 w 1218"/>
                    <a:gd name="T95" fmla="*/ 2147483647 h 1146"/>
                    <a:gd name="T96" fmla="*/ 2147483647 w 1218"/>
                    <a:gd name="T97" fmla="*/ 2147483647 h 1146"/>
                    <a:gd name="T98" fmla="*/ 2147483647 w 1218"/>
                    <a:gd name="T99" fmla="*/ 2147483647 h 1146"/>
                    <a:gd name="T100" fmla="*/ 2147483647 w 1218"/>
                    <a:gd name="T101" fmla="*/ 2147483647 h 1146"/>
                    <a:gd name="T102" fmla="*/ 2147483647 w 1218"/>
                    <a:gd name="T103" fmla="*/ 2147483647 h 1146"/>
                    <a:gd name="T104" fmla="*/ 2147483647 w 1218"/>
                    <a:gd name="T105" fmla="*/ 2147483647 h 1146"/>
                    <a:gd name="T106" fmla="*/ 2147483647 w 1218"/>
                    <a:gd name="T107" fmla="*/ 2147483647 h 1146"/>
                    <a:gd name="T108" fmla="*/ 2147483647 w 1218"/>
                    <a:gd name="T109" fmla="*/ 2147483647 h 1146"/>
                    <a:gd name="T110" fmla="*/ 2147483647 w 1218"/>
                    <a:gd name="T111" fmla="*/ 2147483647 h 1146"/>
                    <a:gd name="T112" fmla="*/ 2147483647 w 1218"/>
                    <a:gd name="T113" fmla="*/ 2147483647 h 1146"/>
                    <a:gd name="T114" fmla="*/ 2147483647 w 1218"/>
                    <a:gd name="T115" fmla="*/ 2147483647 h 1146"/>
                    <a:gd name="T116" fmla="*/ 2147483647 w 1218"/>
                    <a:gd name="T117" fmla="*/ 2147483647 h 1146"/>
                    <a:gd name="T118" fmla="*/ 2147483647 w 1218"/>
                    <a:gd name="T119" fmla="*/ 2147483647 h 1146"/>
                    <a:gd name="T120" fmla="*/ 2147483647 w 1218"/>
                    <a:gd name="T121" fmla="*/ 2147483647 h 1146"/>
                    <a:gd name="T122" fmla="*/ 2147483647 w 1218"/>
                    <a:gd name="T123" fmla="*/ 2147483647 h 11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218"/>
                    <a:gd name="T187" fmla="*/ 0 h 1146"/>
                    <a:gd name="T188" fmla="*/ 1218 w 1218"/>
                    <a:gd name="T189" fmla="*/ 1146 h 11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218" h="1146">
                      <a:moveTo>
                        <a:pt x="0" y="240"/>
                      </a:moveTo>
                      <a:lnTo>
                        <a:pt x="0" y="215"/>
                      </a:lnTo>
                      <a:lnTo>
                        <a:pt x="0" y="126"/>
                      </a:lnTo>
                      <a:lnTo>
                        <a:pt x="2" y="125"/>
                      </a:lnTo>
                      <a:lnTo>
                        <a:pt x="2" y="126"/>
                      </a:lnTo>
                      <a:lnTo>
                        <a:pt x="3" y="126"/>
                      </a:lnTo>
                      <a:lnTo>
                        <a:pt x="3" y="128"/>
                      </a:lnTo>
                      <a:lnTo>
                        <a:pt x="5" y="130"/>
                      </a:lnTo>
                      <a:lnTo>
                        <a:pt x="7" y="130"/>
                      </a:lnTo>
                      <a:lnTo>
                        <a:pt x="7" y="131"/>
                      </a:lnTo>
                      <a:lnTo>
                        <a:pt x="9" y="131"/>
                      </a:lnTo>
                      <a:lnTo>
                        <a:pt x="9" y="130"/>
                      </a:lnTo>
                      <a:lnTo>
                        <a:pt x="10" y="131"/>
                      </a:lnTo>
                      <a:lnTo>
                        <a:pt x="10" y="130"/>
                      </a:lnTo>
                      <a:lnTo>
                        <a:pt x="12" y="130"/>
                      </a:lnTo>
                      <a:lnTo>
                        <a:pt x="14" y="128"/>
                      </a:lnTo>
                      <a:lnTo>
                        <a:pt x="15" y="128"/>
                      </a:lnTo>
                      <a:lnTo>
                        <a:pt x="17" y="128"/>
                      </a:lnTo>
                      <a:lnTo>
                        <a:pt x="17" y="126"/>
                      </a:lnTo>
                      <a:lnTo>
                        <a:pt x="17" y="125"/>
                      </a:lnTo>
                      <a:lnTo>
                        <a:pt x="19" y="125"/>
                      </a:lnTo>
                      <a:lnTo>
                        <a:pt x="17" y="125"/>
                      </a:lnTo>
                      <a:lnTo>
                        <a:pt x="17" y="123"/>
                      </a:lnTo>
                      <a:lnTo>
                        <a:pt x="17" y="122"/>
                      </a:lnTo>
                      <a:lnTo>
                        <a:pt x="19" y="122"/>
                      </a:lnTo>
                      <a:lnTo>
                        <a:pt x="19" y="120"/>
                      </a:lnTo>
                      <a:lnTo>
                        <a:pt x="20" y="120"/>
                      </a:lnTo>
                      <a:lnTo>
                        <a:pt x="22" y="120"/>
                      </a:lnTo>
                      <a:lnTo>
                        <a:pt x="22" y="122"/>
                      </a:lnTo>
                      <a:lnTo>
                        <a:pt x="24" y="122"/>
                      </a:lnTo>
                      <a:lnTo>
                        <a:pt x="24" y="120"/>
                      </a:lnTo>
                      <a:lnTo>
                        <a:pt x="25" y="120"/>
                      </a:lnTo>
                      <a:lnTo>
                        <a:pt x="27" y="120"/>
                      </a:lnTo>
                      <a:lnTo>
                        <a:pt x="27" y="122"/>
                      </a:lnTo>
                      <a:lnTo>
                        <a:pt x="29" y="122"/>
                      </a:lnTo>
                      <a:lnTo>
                        <a:pt x="30" y="122"/>
                      </a:lnTo>
                      <a:lnTo>
                        <a:pt x="30" y="123"/>
                      </a:lnTo>
                      <a:lnTo>
                        <a:pt x="30" y="122"/>
                      </a:lnTo>
                      <a:lnTo>
                        <a:pt x="30" y="120"/>
                      </a:lnTo>
                      <a:lnTo>
                        <a:pt x="32" y="120"/>
                      </a:lnTo>
                      <a:lnTo>
                        <a:pt x="34" y="120"/>
                      </a:lnTo>
                      <a:lnTo>
                        <a:pt x="34" y="122"/>
                      </a:lnTo>
                      <a:lnTo>
                        <a:pt x="36" y="122"/>
                      </a:lnTo>
                      <a:lnTo>
                        <a:pt x="36" y="123"/>
                      </a:lnTo>
                      <a:lnTo>
                        <a:pt x="37" y="123"/>
                      </a:lnTo>
                      <a:lnTo>
                        <a:pt x="36" y="122"/>
                      </a:lnTo>
                      <a:lnTo>
                        <a:pt x="37" y="122"/>
                      </a:lnTo>
                      <a:lnTo>
                        <a:pt x="39" y="122"/>
                      </a:lnTo>
                      <a:lnTo>
                        <a:pt x="39" y="120"/>
                      </a:lnTo>
                      <a:lnTo>
                        <a:pt x="41" y="120"/>
                      </a:lnTo>
                      <a:lnTo>
                        <a:pt x="41" y="118"/>
                      </a:lnTo>
                      <a:lnTo>
                        <a:pt x="41" y="117"/>
                      </a:lnTo>
                      <a:lnTo>
                        <a:pt x="41" y="115"/>
                      </a:lnTo>
                      <a:lnTo>
                        <a:pt x="41" y="113"/>
                      </a:lnTo>
                      <a:lnTo>
                        <a:pt x="42" y="113"/>
                      </a:lnTo>
                      <a:lnTo>
                        <a:pt x="42" y="112"/>
                      </a:lnTo>
                      <a:lnTo>
                        <a:pt x="41" y="112"/>
                      </a:lnTo>
                      <a:lnTo>
                        <a:pt x="41" y="113"/>
                      </a:lnTo>
                      <a:lnTo>
                        <a:pt x="41" y="112"/>
                      </a:lnTo>
                      <a:lnTo>
                        <a:pt x="39" y="112"/>
                      </a:lnTo>
                      <a:lnTo>
                        <a:pt x="41" y="112"/>
                      </a:lnTo>
                      <a:lnTo>
                        <a:pt x="41" y="110"/>
                      </a:lnTo>
                      <a:lnTo>
                        <a:pt x="39" y="110"/>
                      </a:lnTo>
                      <a:lnTo>
                        <a:pt x="37" y="110"/>
                      </a:lnTo>
                      <a:lnTo>
                        <a:pt x="37" y="108"/>
                      </a:lnTo>
                      <a:lnTo>
                        <a:pt x="39" y="108"/>
                      </a:lnTo>
                      <a:lnTo>
                        <a:pt x="37" y="108"/>
                      </a:lnTo>
                      <a:lnTo>
                        <a:pt x="39" y="107"/>
                      </a:lnTo>
                      <a:lnTo>
                        <a:pt x="37" y="107"/>
                      </a:lnTo>
                      <a:lnTo>
                        <a:pt x="37" y="105"/>
                      </a:lnTo>
                      <a:lnTo>
                        <a:pt x="37" y="103"/>
                      </a:lnTo>
                      <a:lnTo>
                        <a:pt x="39" y="103"/>
                      </a:lnTo>
                      <a:lnTo>
                        <a:pt x="39" y="105"/>
                      </a:lnTo>
                      <a:lnTo>
                        <a:pt x="41" y="103"/>
                      </a:lnTo>
                      <a:lnTo>
                        <a:pt x="42" y="103"/>
                      </a:lnTo>
                      <a:lnTo>
                        <a:pt x="42" y="105"/>
                      </a:lnTo>
                      <a:lnTo>
                        <a:pt x="44" y="105"/>
                      </a:lnTo>
                      <a:lnTo>
                        <a:pt x="44" y="103"/>
                      </a:lnTo>
                      <a:lnTo>
                        <a:pt x="46" y="103"/>
                      </a:lnTo>
                      <a:lnTo>
                        <a:pt x="47" y="103"/>
                      </a:lnTo>
                      <a:lnTo>
                        <a:pt x="49" y="103"/>
                      </a:lnTo>
                      <a:lnTo>
                        <a:pt x="51" y="102"/>
                      </a:lnTo>
                      <a:lnTo>
                        <a:pt x="49" y="102"/>
                      </a:lnTo>
                      <a:lnTo>
                        <a:pt x="49" y="100"/>
                      </a:lnTo>
                      <a:lnTo>
                        <a:pt x="49" y="99"/>
                      </a:lnTo>
                      <a:lnTo>
                        <a:pt x="47" y="99"/>
                      </a:lnTo>
                      <a:lnTo>
                        <a:pt x="49" y="99"/>
                      </a:lnTo>
                      <a:lnTo>
                        <a:pt x="49" y="97"/>
                      </a:lnTo>
                      <a:lnTo>
                        <a:pt x="51" y="97"/>
                      </a:lnTo>
                      <a:lnTo>
                        <a:pt x="51" y="95"/>
                      </a:lnTo>
                      <a:lnTo>
                        <a:pt x="52" y="95"/>
                      </a:lnTo>
                      <a:lnTo>
                        <a:pt x="52" y="94"/>
                      </a:lnTo>
                      <a:lnTo>
                        <a:pt x="54" y="94"/>
                      </a:lnTo>
                      <a:lnTo>
                        <a:pt x="54" y="92"/>
                      </a:lnTo>
                      <a:lnTo>
                        <a:pt x="56" y="92"/>
                      </a:lnTo>
                      <a:lnTo>
                        <a:pt x="56" y="94"/>
                      </a:lnTo>
                      <a:lnTo>
                        <a:pt x="57" y="95"/>
                      </a:lnTo>
                      <a:lnTo>
                        <a:pt x="57" y="94"/>
                      </a:lnTo>
                      <a:lnTo>
                        <a:pt x="59" y="94"/>
                      </a:lnTo>
                      <a:lnTo>
                        <a:pt x="59" y="95"/>
                      </a:lnTo>
                      <a:lnTo>
                        <a:pt x="61" y="94"/>
                      </a:lnTo>
                      <a:lnTo>
                        <a:pt x="61" y="95"/>
                      </a:lnTo>
                      <a:lnTo>
                        <a:pt x="63" y="95"/>
                      </a:lnTo>
                      <a:lnTo>
                        <a:pt x="63" y="97"/>
                      </a:lnTo>
                      <a:lnTo>
                        <a:pt x="64" y="97"/>
                      </a:lnTo>
                      <a:lnTo>
                        <a:pt x="64" y="95"/>
                      </a:lnTo>
                      <a:lnTo>
                        <a:pt x="66" y="95"/>
                      </a:lnTo>
                      <a:lnTo>
                        <a:pt x="68" y="95"/>
                      </a:lnTo>
                      <a:lnTo>
                        <a:pt x="68" y="94"/>
                      </a:lnTo>
                      <a:lnTo>
                        <a:pt x="68" y="95"/>
                      </a:lnTo>
                      <a:lnTo>
                        <a:pt x="69" y="95"/>
                      </a:lnTo>
                      <a:lnTo>
                        <a:pt x="71" y="95"/>
                      </a:lnTo>
                      <a:lnTo>
                        <a:pt x="71" y="97"/>
                      </a:lnTo>
                      <a:lnTo>
                        <a:pt x="71" y="99"/>
                      </a:lnTo>
                      <a:lnTo>
                        <a:pt x="71" y="100"/>
                      </a:lnTo>
                      <a:lnTo>
                        <a:pt x="73" y="100"/>
                      </a:lnTo>
                      <a:lnTo>
                        <a:pt x="74" y="100"/>
                      </a:lnTo>
                      <a:lnTo>
                        <a:pt x="76" y="100"/>
                      </a:lnTo>
                      <a:lnTo>
                        <a:pt x="78" y="99"/>
                      </a:lnTo>
                      <a:lnTo>
                        <a:pt x="78" y="100"/>
                      </a:lnTo>
                      <a:lnTo>
                        <a:pt x="79" y="100"/>
                      </a:lnTo>
                      <a:lnTo>
                        <a:pt x="79" y="99"/>
                      </a:lnTo>
                      <a:lnTo>
                        <a:pt x="81" y="99"/>
                      </a:lnTo>
                      <a:lnTo>
                        <a:pt x="83" y="100"/>
                      </a:lnTo>
                      <a:lnTo>
                        <a:pt x="85" y="100"/>
                      </a:lnTo>
                      <a:lnTo>
                        <a:pt x="85" y="99"/>
                      </a:lnTo>
                      <a:lnTo>
                        <a:pt x="86" y="99"/>
                      </a:lnTo>
                      <a:lnTo>
                        <a:pt x="86" y="97"/>
                      </a:lnTo>
                      <a:lnTo>
                        <a:pt x="86" y="95"/>
                      </a:lnTo>
                      <a:lnTo>
                        <a:pt x="88" y="95"/>
                      </a:lnTo>
                      <a:lnTo>
                        <a:pt x="88" y="94"/>
                      </a:lnTo>
                      <a:lnTo>
                        <a:pt x="88" y="92"/>
                      </a:lnTo>
                      <a:lnTo>
                        <a:pt x="88" y="90"/>
                      </a:lnTo>
                      <a:lnTo>
                        <a:pt x="86" y="90"/>
                      </a:lnTo>
                      <a:lnTo>
                        <a:pt x="88" y="90"/>
                      </a:lnTo>
                      <a:lnTo>
                        <a:pt x="88" y="89"/>
                      </a:lnTo>
                      <a:lnTo>
                        <a:pt x="86" y="89"/>
                      </a:lnTo>
                      <a:lnTo>
                        <a:pt x="86" y="87"/>
                      </a:lnTo>
                      <a:lnTo>
                        <a:pt x="86" y="85"/>
                      </a:lnTo>
                      <a:lnTo>
                        <a:pt x="88" y="85"/>
                      </a:lnTo>
                      <a:lnTo>
                        <a:pt x="88" y="87"/>
                      </a:lnTo>
                      <a:lnTo>
                        <a:pt x="90" y="87"/>
                      </a:lnTo>
                      <a:lnTo>
                        <a:pt x="90" y="85"/>
                      </a:lnTo>
                      <a:lnTo>
                        <a:pt x="90" y="87"/>
                      </a:lnTo>
                      <a:lnTo>
                        <a:pt x="91" y="87"/>
                      </a:lnTo>
                      <a:lnTo>
                        <a:pt x="93" y="87"/>
                      </a:lnTo>
                      <a:lnTo>
                        <a:pt x="95" y="87"/>
                      </a:lnTo>
                      <a:lnTo>
                        <a:pt x="95" y="85"/>
                      </a:lnTo>
                      <a:lnTo>
                        <a:pt x="96" y="85"/>
                      </a:lnTo>
                      <a:lnTo>
                        <a:pt x="98" y="85"/>
                      </a:lnTo>
                      <a:lnTo>
                        <a:pt x="96" y="84"/>
                      </a:lnTo>
                      <a:lnTo>
                        <a:pt x="98" y="84"/>
                      </a:lnTo>
                      <a:lnTo>
                        <a:pt x="98" y="85"/>
                      </a:lnTo>
                      <a:lnTo>
                        <a:pt x="100" y="85"/>
                      </a:lnTo>
                      <a:lnTo>
                        <a:pt x="100" y="84"/>
                      </a:lnTo>
                      <a:lnTo>
                        <a:pt x="101" y="84"/>
                      </a:lnTo>
                      <a:lnTo>
                        <a:pt x="103" y="84"/>
                      </a:lnTo>
                      <a:lnTo>
                        <a:pt x="105" y="84"/>
                      </a:lnTo>
                      <a:lnTo>
                        <a:pt x="105" y="82"/>
                      </a:lnTo>
                      <a:lnTo>
                        <a:pt x="105" y="80"/>
                      </a:lnTo>
                      <a:lnTo>
                        <a:pt x="106" y="80"/>
                      </a:lnTo>
                      <a:lnTo>
                        <a:pt x="106" y="79"/>
                      </a:lnTo>
                      <a:lnTo>
                        <a:pt x="108" y="80"/>
                      </a:lnTo>
                      <a:lnTo>
                        <a:pt x="110" y="80"/>
                      </a:lnTo>
                      <a:lnTo>
                        <a:pt x="112" y="80"/>
                      </a:lnTo>
                      <a:lnTo>
                        <a:pt x="113" y="80"/>
                      </a:lnTo>
                      <a:lnTo>
                        <a:pt x="112" y="80"/>
                      </a:lnTo>
                      <a:lnTo>
                        <a:pt x="113" y="80"/>
                      </a:lnTo>
                      <a:lnTo>
                        <a:pt x="113" y="79"/>
                      </a:lnTo>
                      <a:lnTo>
                        <a:pt x="115" y="80"/>
                      </a:lnTo>
                      <a:lnTo>
                        <a:pt x="115" y="82"/>
                      </a:lnTo>
                      <a:lnTo>
                        <a:pt x="117" y="82"/>
                      </a:lnTo>
                      <a:lnTo>
                        <a:pt x="117" y="80"/>
                      </a:lnTo>
                      <a:lnTo>
                        <a:pt x="117" y="82"/>
                      </a:lnTo>
                      <a:lnTo>
                        <a:pt x="118" y="82"/>
                      </a:lnTo>
                      <a:lnTo>
                        <a:pt x="118" y="84"/>
                      </a:lnTo>
                      <a:lnTo>
                        <a:pt x="120" y="84"/>
                      </a:lnTo>
                      <a:lnTo>
                        <a:pt x="120" y="82"/>
                      </a:lnTo>
                      <a:lnTo>
                        <a:pt x="122" y="82"/>
                      </a:lnTo>
                      <a:lnTo>
                        <a:pt x="123" y="82"/>
                      </a:lnTo>
                      <a:lnTo>
                        <a:pt x="125" y="82"/>
                      </a:lnTo>
                      <a:lnTo>
                        <a:pt x="125" y="84"/>
                      </a:lnTo>
                      <a:lnTo>
                        <a:pt x="127" y="84"/>
                      </a:lnTo>
                      <a:lnTo>
                        <a:pt x="127" y="82"/>
                      </a:lnTo>
                      <a:lnTo>
                        <a:pt x="127" y="84"/>
                      </a:lnTo>
                      <a:lnTo>
                        <a:pt x="128" y="84"/>
                      </a:lnTo>
                      <a:lnTo>
                        <a:pt x="128" y="82"/>
                      </a:lnTo>
                      <a:lnTo>
                        <a:pt x="130" y="82"/>
                      </a:lnTo>
                      <a:lnTo>
                        <a:pt x="130" y="80"/>
                      </a:lnTo>
                      <a:lnTo>
                        <a:pt x="128" y="80"/>
                      </a:lnTo>
                      <a:lnTo>
                        <a:pt x="130" y="80"/>
                      </a:lnTo>
                      <a:lnTo>
                        <a:pt x="132" y="80"/>
                      </a:lnTo>
                      <a:lnTo>
                        <a:pt x="132" y="79"/>
                      </a:lnTo>
                      <a:lnTo>
                        <a:pt x="132" y="77"/>
                      </a:lnTo>
                      <a:lnTo>
                        <a:pt x="133" y="77"/>
                      </a:lnTo>
                      <a:lnTo>
                        <a:pt x="133" y="76"/>
                      </a:lnTo>
                      <a:lnTo>
                        <a:pt x="133" y="74"/>
                      </a:lnTo>
                      <a:lnTo>
                        <a:pt x="135" y="72"/>
                      </a:lnTo>
                      <a:lnTo>
                        <a:pt x="135" y="74"/>
                      </a:lnTo>
                      <a:lnTo>
                        <a:pt x="137" y="72"/>
                      </a:lnTo>
                      <a:lnTo>
                        <a:pt x="139" y="72"/>
                      </a:lnTo>
                      <a:lnTo>
                        <a:pt x="139" y="71"/>
                      </a:lnTo>
                      <a:lnTo>
                        <a:pt x="139" y="69"/>
                      </a:lnTo>
                      <a:lnTo>
                        <a:pt x="139" y="67"/>
                      </a:lnTo>
                      <a:lnTo>
                        <a:pt x="140" y="67"/>
                      </a:lnTo>
                      <a:lnTo>
                        <a:pt x="140" y="66"/>
                      </a:lnTo>
                      <a:lnTo>
                        <a:pt x="139" y="66"/>
                      </a:lnTo>
                      <a:lnTo>
                        <a:pt x="140" y="64"/>
                      </a:lnTo>
                      <a:lnTo>
                        <a:pt x="139" y="64"/>
                      </a:lnTo>
                      <a:lnTo>
                        <a:pt x="140" y="62"/>
                      </a:lnTo>
                      <a:lnTo>
                        <a:pt x="142" y="62"/>
                      </a:lnTo>
                      <a:lnTo>
                        <a:pt x="144" y="62"/>
                      </a:lnTo>
                      <a:lnTo>
                        <a:pt x="144" y="61"/>
                      </a:lnTo>
                      <a:lnTo>
                        <a:pt x="145" y="62"/>
                      </a:lnTo>
                      <a:lnTo>
                        <a:pt x="145" y="61"/>
                      </a:lnTo>
                      <a:lnTo>
                        <a:pt x="147" y="61"/>
                      </a:lnTo>
                      <a:lnTo>
                        <a:pt x="147" y="59"/>
                      </a:lnTo>
                      <a:lnTo>
                        <a:pt x="145" y="59"/>
                      </a:lnTo>
                      <a:lnTo>
                        <a:pt x="147" y="59"/>
                      </a:lnTo>
                      <a:lnTo>
                        <a:pt x="147" y="57"/>
                      </a:lnTo>
                      <a:lnTo>
                        <a:pt x="147" y="56"/>
                      </a:lnTo>
                      <a:lnTo>
                        <a:pt x="149" y="57"/>
                      </a:lnTo>
                      <a:lnTo>
                        <a:pt x="149" y="56"/>
                      </a:lnTo>
                      <a:lnTo>
                        <a:pt x="150" y="56"/>
                      </a:lnTo>
                      <a:lnTo>
                        <a:pt x="150" y="57"/>
                      </a:lnTo>
                      <a:lnTo>
                        <a:pt x="150" y="56"/>
                      </a:lnTo>
                      <a:lnTo>
                        <a:pt x="152" y="54"/>
                      </a:lnTo>
                      <a:lnTo>
                        <a:pt x="154" y="56"/>
                      </a:lnTo>
                      <a:lnTo>
                        <a:pt x="155" y="56"/>
                      </a:lnTo>
                      <a:lnTo>
                        <a:pt x="154" y="57"/>
                      </a:lnTo>
                      <a:lnTo>
                        <a:pt x="155" y="57"/>
                      </a:lnTo>
                      <a:lnTo>
                        <a:pt x="155" y="59"/>
                      </a:lnTo>
                      <a:lnTo>
                        <a:pt x="157" y="59"/>
                      </a:lnTo>
                      <a:lnTo>
                        <a:pt x="157" y="61"/>
                      </a:lnTo>
                      <a:lnTo>
                        <a:pt x="159" y="61"/>
                      </a:lnTo>
                      <a:lnTo>
                        <a:pt x="159" y="59"/>
                      </a:lnTo>
                      <a:lnTo>
                        <a:pt x="161" y="57"/>
                      </a:lnTo>
                      <a:lnTo>
                        <a:pt x="162" y="56"/>
                      </a:lnTo>
                      <a:lnTo>
                        <a:pt x="164" y="56"/>
                      </a:lnTo>
                      <a:lnTo>
                        <a:pt x="166" y="56"/>
                      </a:lnTo>
                      <a:lnTo>
                        <a:pt x="167" y="56"/>
                      </a:lnTo>
                      <a:lnTo>
                        <a:pt x="167" y="54"/>
                      </a:lnTo>
                      <a:lnTo>
                        <a:pt x="169" y="54"/>
                      </a:lnTo>
                      <a:lnTo>
                        <a:pt x="169" y="53"/>
                      </a:lnTo>
                      <a:lnTo>
                        <a:pt x="171" y="53"/>
                      </a:lnTo>
                      <a:lnTo>
                        <a:pt x="172" y="53"/>
                      </a:lnTo>
                      <a:lnTo>
                        <a:pt x="172" y="54"/>
                      </a:lnTo>
                      <a:lnTo>
                        <a:pt x="174" y="54"/>
                      </a:lnTo>
                      <a:lnTo>
                        <a:pt x="174" y="56"/>
                      </a:lnTo>
                      <a:lnTo>
                        <a:pt x="174" y="57"/>
                      </a:lnTo>
                      <a:lnTo>
                        <a:pt x="174" y="59"/>
                      </a:lnTo>
                      <a:lnTo>
                        <a:pt x="176" y="59"/>
                      </a:lnTo>
                      <a:lnTo>
                        <a:pt x="177" y="59"/>
                      </a:lnTo>
                      <a:lnTo>
                        <a:pt x="177" y="61"/>
                      </a:lnTo>
                      <a:lnTo>
                        <a:pt x="179" y="62"/>
                      </a:lnTo>
                      <a:lnTo>
                        <a:pt x="181" y="62"/>
                      </a:lnTo>
                      <a:lnTo>
                        <a:pt x="182" y="64"/>
                      </a:lnTo>
                      <a:lnTo>
                        <a:pt x="182" y="62"/>
                      </a:lnTo>
                      <a:lnTo>
                        <a:pt x="182" y="64"/>
                      </a:lnTo>
                      <a:lnTo>
                        <a:pt x="182" y="62"/>
                      </a:lnTo>
                      <a:lnTo>
                        <a:pt x="184" y="62"/>
                      </a:lnTo>
                      <a:lnTo>
                        <a:pt x="184" y="61"/>
                      </a:lnTo>
                      <a:lnTo>
                        <a:pt x="184" y="62"/>
                      </a:lnTo>
                      <a:lnTo>
                        <a:pt x="186" y="62"/>
                      </a:lnTo>
                      <a:lnTo>
                        <a:pt x="188" y="61"/>
                      </a:lnTo>
                      <a:lnTo>
                        <a:pt x="189" y="62"/>
                      </a:lnTo>
                      <a:lnTo>
                        <a:pt x="191" y="64"/>
                      </a:lnTo>
                      <a:lnTo>
                        <a:pt x="193" y="64"/>
                      </a:lnTo>
                      <a:lnTo>
                        <a:pt x="194" y="64"/>
                      </a:lnTo>
                      <a:lnTo>
                        <a:pt x="196" y="66"/>
                      </a:lnTo>
                      <a:lnTo>
                        <a:pt x="196" y="64"/>
                      </a:lnTo>
                      <a:lnTo>
                        <a:pt x="196" y="66"/>
                      </a:lnTo>
                      <a:lnTo>
                        <a:pt x="198" y="66"/>
                      </a:lnTo>
                      <a:lnTo>
                        <a:pt x="199" y="66"/>
                      </a:lnTo>
                      <a:lnTo>
                        <a:pt x="199" y="67"/>
                      </a:lnTo>
                      <a:lnTo>
                        <a:pt x="201" y="69"/>
                      </a:lnTo>
                      <a:lnTo>
                        <a:pt x="201" y="67"/>
                      </a:lnTo>
                      <a:lnTo>
                        <a:pt x="203" y="66"/>
                      </a:lnTo>
                      <a:lnTo>
                        <a:pt x="203" y="64"/>
                      </a:lnTo>
                      <a:lnTo>
                        <a:pt x="204" y="64"/>
                      </a:lnTo>
                      <a:lnTo>
                        <a:pt x="204" y="62"/>
                      </a:lnTo>
                      <a:lnTo>
                        <a:pt x="206" y="62"/>
                      </a:lnTo>
                      <a:lnTo>
                        <a:pt x="206" y="61"/>
                      </a:lnTo>
                      <a:lnTo>
                        <a:pt x="208" y="61"/>
                      </a:lnTo>
                      <a:lnTo>
                        <a:pt x="208" y="62"/>
                      </a:lnTo>
                      <a:lnTo>
                        <a:pt x="209" y="62"/>
                      </a:lnTo>
                      <a:lnTo>
                        <a:pt x="211" y="62"/>
                      </a:lnTo>
                      <a:lnTo>
                        <a:pt x="213" y="62"/>
                      </a:lnTo>
                      <a:lnTo>
                        <a:pt x="215" y="61"/>
                      </a:lnTo>
                      <a:lnTo>
                        <a:pt x="216" y="59"/>
                      </a:lnTo>
                      <a:lnTo>
                        <a:pt x="218" y="61"/>
                      </a:lnTo>
                      <a:lnTo>
                        <a:pt x="220" y="61"/>
                      </a:lnTo>
                      <a:lnTo>
                        <a:pt x="218" y="61"/>
                      </a:lnTo>
                      <a:lnTo>
                        <a:pt x="220" y="62"/>
                      </a:lnTo>
                      <a:lnTo>
                        <a:pt x="220" y="64"/>
                      </a:lnTo>
                      <a:lnTo>
                        <a:pt x="221" y="62"/>
                      </a:lnTo>
                      <a:lnTo>
                        <a:pt x="223" y="62"/>
                      </a:lnTo>
                      <a:lnTo>
                        <a:pt x="225" y="62"/>
                      </a:lnTo>
                      <a:lnTo>
                        <a:pt x="225" y="61"/>
                      </a:lnTo>
                      <a:lnTo>
                        <a:pt x="226" y="61"/>
                      </a:lnTo>
                      <a:lnTo>
                        <a:pt x="228" y="61"/>
                      </a:lnTo>
                      <a:lnTo>
                        <a:pt x="230" y="59"/>
                      </a:lnTo>
                      <a:lnTo>
                        <a:pt x="231" y="59"/>
                      </a:lnTo>
                      <a:lnTo>
                        <a:pt x="233" y="59"/>
                      </a:lnTo>
                      <a:lnTo>
                        <a:pt x="235" y="59"/>
                      </a:lnTo>
                      <a:lnTo>
                        <a:pt x="235" y="61"/>
                      </a:lnTo>
                      <a:lnTo>
                        <a:pt x="237" y="61"/>
                      </a:lnTo>
                      <a:lnTo>
                        <a:pt x="238" y="61"/>
                      </a:lnTo>
                      <a:lnTo>
                        <a:pt x="238" y="62"/>
                      </a:lnTo>
                      <a:lnTo>
                        <a:pt x="238" y="61"/>
                      </a:lnTo>
                      <a:lnTo>
                        <a:pt x="240" y="61"/>
                      </a:lnTo>
                      <a:lnTo>
                        <a:pt x="242" y="61"/>
                      </a:lnTo>
                      <a:lnTo>
                        <a:pt x="243" y="61"/>
                      </a:lnTo>
                      <a:lnTo>
                        <a:pt x="245" y="61"/>
                      </a:lnTo>
                      <a:lnTo>
                        <a:pt x="245" y="62"/>
                      </a:lnTo>
                      <a:lnTo>
                        <a:pt x="247" y="62"/>
                      </a:lnTo>
                      <a:lnTo>
                        <a:pt x="248" y="62"/>
                      </a:lnTo>
                      <a:lnTo>
                        <a:pt x="248" y="64"/>
                      </a:lnTo>
                      <a:lnTo>
                        <a:pt x="250" y="64"/>
                      </a:lnTo>
                      <a:lnTo>
                        <a:pt x="250" y="66"/>
                      </a:lnTo>
                      <a:lnTo>
                        <a:pt x="252" y="66"/>
                      </a:lnTo>
                      <a:lnTo>
                        <a:pt x="253" y="64"/>
                      </a:lnTo>
                      <a:lnTo>
                        <a:pt x="255" y="64"/>
                      </a:lnTo>
                      <a:lnTo>
                        <a:pt x="257" y="64"/>
                      </a:lnTo>
                      <a:lnTo>
                        <a:pt x="258" y="64"/>
                      </a:lnTo>
                      <a:lnTo>
                        <a:pt x="258" y="66"/>
                      </a:lnTo>
                      <a:lnTo>
                        <a:pt x="260" y="66"/>
                      </a:lnTo>
                      <a:lnTo>
                        <a:pt x="260" y="64"/>
                      </a:lnTo>
                      <a:lnTo>
                        <a:pt x="260" y="66"/>
                      </a:lnTo>
                      <a:lnTo>
                        <a:pt x="262" y="66"/>
                      </a:lnTo>
                      <a:lnTo>
                        <a:pt x="264" y="67"/>
                      </a:lnTo>
                      <a:lnTo>
                        <a:pt x="264" y="69"/>
                      </a:lnTo>
                      <a:lnTo>
                        <a:pt x="265" y="67"/>
                      </a:lnTo>
                      <a:lnTo>
                        <a:pt x="265" y="69"/>
                      </a:lnTo>
                      <a:lnTo>
                        <a:pt x="267" y="67"/>
                      </a:lnTo>
                      <a:lnTo>
                        <a:pt x="267" y="69"/>
                      </a:lnTo>
                      <a:lnTo>
                        <a:pt x="269" y="69"/>
                      </a:lnTo>
                      <a:lnTo>
                        <a:pt x="270" y="69"/>
                      </a:lnTo>
                      <a:lnTo>
                        <a:pt x="272" y="69"/>
                      </a:lnTo>
                      <a:lnTo>
                        <a:pt x="274" y="69"/>
                      </a:lnTo>
                      <a:lnTo>
                        <a:pt x="275" y="69"/>
                      </a:lnTo>
                      <a:lnTo>
                        <a:pt x="275" y="71"/>
                      </a:lnTo>
                      <a:lnTo>
                        <a:pt x="277" y="69"/>
                      </a:lnTo>
                      <a:lnTo>
                        <a:pt x="279" y="69"/>
                      </a:lnTo>
                      <a:lnTo>
                        <a:pt x="280" y="69"/>
                      </a:lnTo>
                      <a:lnTo>
                        <a:pt x="280" y="67"/>
                      </a:lnTo>
                      <a:lnTo>
                        <a:pt x="282" y="67"/>
                      </a:lnTo>
                      <a:lnTo>
                        <a:pt x="282" y="66"/>
                      </a:lnTo>
                      <a:lnTo>
                        <a:pt x="284" y="66"/>
                      </a:lnTo>
                      <a:lnTo>
                        <a:pt x="284" y="64"/>
                      </a:lnTo>
                      <a:lnTo>
                        <a:pt x="285" y="64"/>
                      </a:lnTo>
                      <a:lnTo>
                        <a:pt x="284" y="62"/>
                      </a:lnTo>
                      <a:lnTo>
                        <a:pt x="282" y="62"/>
                      </a:lnTo>
                      <a:lnTo>
                        <a:pt x="282" y="61"/>
                      </a:lnTo>
                      <a:lnTo>
                        <a:pt x="282" y="59"/>
                      </a:lnTo>
                      <a:lnTo>
                        <a:pt x="282" y="57"/>
                      </a:lnTo>
                      <a:lnTo>
                        <a:pt x="282" y="56"/>
                      </a:lnTo>
                      <a:lnTo>
                        <a:pt x="282" y="54"/>
                      </a:lnTo>
                      <a:lnTo>
                        <a:pt x="282" y="56"/>
                      </a:lnTo>
                      <a:lnTo>
                        <a:pt x="284" y="56"/>
                      </a:lnTo>
                      <a:lnTo>
                        <a:pt x="284" y="54"/>
                      </a:lnTo>
                      <a:lnTo>
                        <a:pt x="284" y="53"/>
                      </a:lnTo>
                      <a:lnTo>
                        <a:pt x="284" y="51"/>
                      </a:lnTo>
                      <a:lnTo>
                        <a:pt x="282" y="49"/>
                      </a:lnTo>
                      <a:lnTo>
                        <a:pt x="282" y="48"/>
                      </a:lnTo>
                      <a:lnTo>
                        <a:pt x="280" y="48"/>
                      </a:lnTo>
                      <a:lnTo>
                        <a:pt x="280" y="46"/>
                      </a:lnTo>
                      <a:lnTo>
                        <a:pt x="279" y="46"/>
                      </a:lnTo>
                      <a:lnTo>
                        <a:pt x="277" y="44"/>
                      </a:lnTo>
                      <a:lnTo>
                        <a:pt x="279" y="44"/>
                      </a:lnTo>
                      <a:lnTo>
                        <a:pt x="277" y="44"/>
                      </a:lnTo>
                      <a:lnTo>
                        <a:pt x="277" y="43"/>
                      </a:lnTo>
                      <a:lnTo>
                        <a:pt x="275" y="43"/>
                      </a:lnTo>
                      <a:lnTo>
                        <a:pt x="275" y="41"/>
                      </a:lnTo>
                      <a:lnTo>
                        <a:pt x="277" y="41"/>
                      </a:lnTo>
                      <a:lnTo>
                        <a:pt x="275" y="41"/>
                      </a:lnTo>
                      <a:lnTo>
                        <a:pt x="275" y="39"/>
                      </a:lnTo>
                      <a:lnTo>
                        <a:pt x="274" y="39"/>
                      </a:lnTo>
                      <a:lnTo>
                        <a:pt x="272" y="39"/>
                      </a:lnTo>
                      <a:lnTo>
                        <a:pt x="272" y="38"/>
                      </a:lnTo>
                      <a:lnTo>
                        <a:pt x="270" y="38"/>
                      </a:lnTo>
                      <a:lnTo>
                        <a:pt x="270" y="36"/>
                      </a:lnTo>
                      <a:lnTo>
                        <a:pt x="272" y="36"/>
                      </a:lnTo>
                      <a:lnTo>
                        <a:pt x="272" y="34"/>
                      </a:lnTo>
                      <a:lnTo>
                        <a:pt x="272" y="33"/>
                      </a:lnTo>
                      <a:lnTo>
                        <a:pt x="270" y="33"/>
                      </a:lnTo>
                      <a:lnTo>
                        <a:pt x="269" y="33"/>
                      </a:lnTo>
                      <a:lnTo>
                        <a:pt x="267" y="33"/>
                      </a:lnTo>
                      <a:lnTo>
                        <a:pt x="267" y="31"/>
                      </a:lnTo>
                      <a:lnTo>
                        <a:pt x="267" y="33"/>
                      </a:lnTo>
                      <a:lnTo>
                        <a:pt x="265" y="31"/>
                      </a:lnTo>
                      <a:lnTo>
                        <a:pt x="264" y="31"/>
                      </a:lnTo>
                      <a:lnTo>
                        <a:pt x="264" y="30"/>
                      </a:lnTo>
                      <a:lnTo>
                        <a:pt x="262" y="30"/>
                      </a:lnTo>
                      <a:lnTo>
                        <a:pt x="264" y="30"/>
                      </a:lnTo>
                      <a:lnTo>
                        <a:pt x="264" y="28"/>
                      </a:lnTo>
                      <a:lnTo>
                        <a:pt x="265" y="26"/>
                      </a:lnTo>
                      <a:lnTo>
                        <a:pt x="265" y="25"/>
                      </a:lnTo>
                      <a:lnTo>
                        <a:pt x="267" y="25"/>
                      </a:lnTo>
                      <a:lnTo>
                        <a:pt x="267" y="23"/>
                      </a:lnTo>
                      <a:lnTo>
                        <a:pt x="267" y="21"/>
                      </a:lnTo>
                      <a:lnTo>
                        <a:pt x="267" y="20"/>
                      </a:lnTo>
                      <a:lnTo>
                        <a:pt x="267" y="21"/>
                      </a:lnTo>
                      <a:lnTo>
                        <a:pt x="269" y="21"/>
                      </a:lnTo>
                      <a:lnTo>
                        <a:pt x="269" y="20"/>
                      </a:lnTo>
                      <a:lnTo>
                        <a:pt x="269" y="21"/>
                      </a:lnTo>
                      <a:lnTo>
                        <a:pt x="270" y="21"/>
                      </a:lnTo>
                      <a:lnTo>
                        <a:pt x="270" y="23"/>
                      </a:lnTo>
                      <a:lnTo>
                        <a:pt x="270" y="25"/>
                      </a:lnTo>
                      <a:lnTo>
                        <a:pt x="272" y="23"/>
                      </a:lnTo>
                      <a:lnTo>
                        <a:pt x="272" y="25"/>
                      </a:lnTo>
                      <a:lnTo>
                        <a:pt x="272" y="23"/>
                      </a:lnTo>
                      <a:lnTo>
                        <a:pt x="274" y="23"/>
                      </a:lnTo>
                      <a:lnTo>
                        <a:pt x="272" y="23"/>
                      </a:lnTo>
                      <a:lnTo>
                        <a:pt x="272" y="21"/>
                      </a:lnTo>
                      <a:lnTo>
                        <a:pt x="272" y="20"/>
                      </a:lnTo>
                      <a:lnTo>
                        <a:pt x="274" y="20"/>
                      </a:lnTo>
                      <a:lnTo>
                        <a:pt x="274" y="18"/>
                      </a:lnTo>
                      <a:lnTo>
                        <a:pt x="275" y="18"/>
                      </a:lnTo>
                      <a:lnTo>
                        <a:pt x="275" y="16"/>
                      </a:lnTo>
                      <a:lnTo>
                        <a:pt x="277" y="16"/>
                      </a:lnTo>
                      <a:lnTo>
                        <a:pt x="275" y="16"/>
                      </a:lnTo>
                      <a:lnTo>
                        <a:pt x="277" y="15"/>
                      </a:lnTo>
                      <a:lnTo>
                        <a:pt x="275" y="15"/>
                      </a:lnTo>
                      <a:lnTo>
                        <a:pt x="275" y="13"/>
                      </a:lnTo>
                      <a:lnTo>
                        <a:pt x="274" y="13"/>
                      </a:lnTo>
                      <a:lnTo>
                        <a:pt x="275" y="11"/>
                      </a:lnTo>
                      <a:lnTo>
                        <a:pt x="277" y="11"/>
                      </a:lnTo>
                      <a:lnTo>
                        <a:pt x="277" y="10"/>
                      </a:lnTo>
                      <a:lnTo>
                        <a:pt x="277" y="8"/>
                      </a:lnTo>
                      <a:lnTo>
                        <a:pt x="275" y="8"/>
                      </a:lnTo>
                      <a:lnTo>
                        <a:pt x="275" y="7"/>
                      </a:lnTo>
                      <a:lnTo>
                        <a:pt x="277" y="7"/>
                      </a:lnTo>
                      <a:lnTo>
                        <a:pt x="279" y="7"/>
                      </a:lnTo>
                      <a:lnTo>
                        <a:pt x="279" y="5"/>
                      </a:lnTo>
                      <a:lnTo>
                        <a:pt x="280" y="5"/>
                      </a:lnTo>
                      <a:lnTo>
                        <a:pt x="282" y="5"/>
                      </a:lnTo>
                      <a:lnTo>
                        <a:pt x="282" y="7"/>
                      </a:lnTo>
                      <a:lnTo>
                        <a:pt x="284" y="7"/>
                      </a:lnTo>
                      <a:lnTo>
                        <a:pt x="285" y="7"/>
                      </a:lnTo>
                      <a:lnTo>
                        <a:pt x="285" y="8"/>
                      </a:lnTo>
                      <a:lnTo>
                        <a:pt x="287" y="10"/>
                      </a:lnTo>
                      <a:lnTo>
                        <a:pt x="289" y="10"/>
                      </a:lnTo>
                      <a:lnTo>
                        <a:pt x="289" y="11"/>
                      </a:lnTo>
                      <a:lnTo>
                        <a:pt x="291" y="11"/>
                      </a:lnTo>
                      <a:lnTo>
                        <a:pt x="292" y="11"/>
                      </a:lnTo>
                      <a:lnTo>
                        <a:pt x="294" y="13"/>
                      </a:lnTo>
                      <a:lnTo>
                        <a:pt x="294" y="11"/>
                      </a:lnTo>
                      <a:lnTo>
                        <a:pt x="294" y="13"/>
                      </a:lnTo>
                      <a:lnTo>
                        <a:pt x="296" y="11"/>
                      </a:lnTo>
                      <a:lnTo>
                        <a:pt x="296" y="13"/>
                      </a:lnTo>
                      <a:lnTo>
                        <a:pt x="296" y="11"/>
                      </a:lnTo>
                      <a:lnTo>
                        <a:pt x="297" y="13"/>
                      </a:lnTo>
                      <a:lnTo>
                        <a:pt x="297" y="15"/>
                      </a:lnTo>
                      <a:lnTo>
                        <a:pt x="299" y="15"/>
                      </a:lnTo>
                      <a:lnTo>
                        <a:pt x="299" y="16"/>
                      </a:lnTo>
                      <a:lnTo>
                        <a:pt x="301" y="16"/>
                      </a:lnTo>
                      <a:lnTo>
                        <a:pt x="302" y="18"/>
                      </a:lnTo>
                      <a:lnTo>
                        <a:pt x="304" y="16"/>
                      </a:lnTo>
                      <a:lnTo>
                        <a:pt x="306" y="16"/>
                      </a:lnTo>
                      <a:lnTo>
                        <a:pt x="307" y="16"/>
                      </a:lnTo>
                      <a:lnTo>
                        <a:pt x="309" y="16"/>
                      </a:lnTo>
                      <a:lnTo>
                        <a:pt x="311" y="16"/>
                      </a:lnTo>
                      <a:lnTo>
                        <a:pt x="313" y="15"/>
                      </a:lnTo>
                      <a:lnTo>
                        <a:pt x="314" y="15"/>
                      </a:lnTo>
                      <a:lnTo>
                        <a:pt x="316" y="15"/>
                      </a:lnTo>
                      <a:lnTo>
                        <a:pt x="318" y="15"/>
                      </a:lnTo>
                      <a:lnTo>
                        <a:pt x="319" y="15"/>
                      </a:lnTo>
                      <a:lnTo>
                        <a:pt x="321" y="15"/>
                      </a:lnTo>
                      <a:lnTo>
                        <a:pt x="323" y="15"/>
                      </a:lnTo>
                      <a:lnTo>
                        <a:pt x="323" y="13"/>
                      </a:lnTo>
                      <a:lnTo>
                        <a:pt x="324" y="15"/>
                      </a:lnTo>
                      <a:lnTo>
                        <a:pt x="329" y="15"/>
                      </a:lnTo>
                      <a:lnTo>
                        <a:pt x="333" y="16"/>
                      </a:lnTo>
                      <a:lnTo>
                        <a:pt x="338" y="13"/>
                      </a:lnTo>
                      <a:lnTo>
                        <a:pt x="336" y="11"/>
                      </a:lnTo>
                      <a:lnTo>
                        <a:pt x="340" y="7"/>
                      </a:lnTo>
                      <a:lnTo>
                        <a:pt x="345" y="7"/>
                      </a:lnTo>
                      <a:lnTo>
                        <a:pt x="348" y="8"/>
                      </a:lnTo>
                      <a:lnTo>
                        <a:pt x="350" y="7"/>
                      </a:lnTo>
                      <a:lnTo>
                        <a:pt x="353" y="3"/>
                      </a:lnTo>
                      <a:lnTo>
                        <a:pt x="358" y="2"/>
                      </a:lnTo>
                      <a:lnTo>
                        <a:pt x="360" y="7"/>
                      </a:lnTo>
                      <a:lnTo>
                        <a:pt x="365" y="3"/>
                      </a:lnTo>
                      <a:lnTo>
                        <a:pt x="370" y="0"/>
                      </a:lnTo>
                      <a:lnTo>
                        <a:pt x="375" y="0"/>
                      </a:lnTo>
                      <a:lnTo>
                        <a:pt x="377" y="7"/>
                      </a:lnTo>
                      <a:lnTo>
                        <a:pt x="378" y="10"/>
                      </a:lnTo>
                      <a:lnTo>
                        <a:pt x="382" y="15"/>
                      </a:lnTo>
                      <a:lnTo>
                        <a:pt x="382" y="16"/>
                      </a:lnTo>
                      <a:lnTo>
                        <a:pt x="383" y="16"/>
                      </a:lnTo>
                      <a:lnTo>
                        <a:pt x="383" y="18"/>
                      </a:lnTo>
                      <a:lnTo>
                        <a:pt x="385" y="20"/>
                      </a:lnTo>
                      <a:lnTo>
                        <a:pt x="387" y="23"/>
                      </a:lnTo>
                      <a:lnTo>
                        <a:pt x="389" y="23"/>
                      </a:lnTo>
                      <a:lnTo>
                        <a:pt x="389" y="25"/>
                      </a:lnTo>
                      <a:lnTo>
                        <a:pt x="390" y="25"/>
                      </a:lnTo>
                      <a:lnTo>
                        <a:pt x="390" y="26"/>
                      </a:lnTo>
                      <a:lnTo>
                        <a:pt x="389" y="26"/>
                      </a:lnTo>
                      <a:lnTo>
                        <a:pt x="389" y="28"/>
                      </a:lnTo>
                      <a:lnTo>
                        <a:pt x="389" y="30"/>
                      </a:lnTo>
                      <a:lnTo>
                        <a:pt x="389" y="31"/>
                      </a:lnTo>
                      <a:lnTo>
                        <a:pt x="390" y="33"/>
                      </a:lnTo>
                      <a:lnTo>
                        <a:pt x="390" y="34"/>
                      </a:lnTo>
                      <a:lnTo>
                        <a:pt x="392" y="34"/>
                      </a:lnTo>
                      <a:lnTo>
                        <a:pt x="392" y="36"/>
                      </a:lnTo>
                      <a:lnTo>
                        <a:pt x="392" y="38"/>
                      </a:lnTo>
                      <a:lnTo>
                        <a:pt x="390" y="38"/>
                      </a:lnTo>
                      <a:lnTo>
                        <a:pt x="390" y="39"/>
                      </a:lnTo>
                      <a:lnTo>
                        <a:pt x="390" y="41"/>
                      </a:lnTo>
                      <a:lnTo>
                        <a:pt x="389" y="41"/>
                      </a:lnTo>
                      <a:lnTo>
                        <a:pt x="389" y="43"/>
                      </a:lnTo>
                      <a:lnTo>
                        <a:pt x="389" y="44"/>
                      </a:lnTo>
                      <a:lnTo>
                        <a:pt x="389" y="46"/>
                      </a:lnTo>
                      <a:lnTo>
                        <a:pt x="389" y="48"/>
                      </a:lnTo>
                      <a:lnTo>
                        <a:pt x="389" y="49"/>
                      </a:lnTo>
                      <a:lnTo>
                        <a:pt x="389" y="51"/>
                      </a:lnTo>
                      <a:lnTo>
                        <a:pt x="389" y="53"/>
                      </a:lnTo>
                      <a:lnTo>
                        <a:pt x="390" y="53"/>
                      </a:lnTo>
                      <a:lnTo>
                        <a:pt x="390" y="54"/>
                      </a:lnTo>
                      <a:lnTo>
                        <a:pt x="392" y="54"/>
                      </a:lnTo>
                      <a:lnTo>
                        <a:pt x="392" y="56"/>
                      </a:lnTo>
                      <a:lnTo>
                        <a:pt x="394" y="57"/>
                      </a:lnTo>
                      <a:lnTo>
                        <a:pt x="394" y="59"/>
                      </a:lnTo>
                      <a:lnTo>
                        <a:pt x="392" y="59"/>
                      </a:lnTo>
                      <a:lnTo>
                        <a:pt x="392" y="61"/>
                      </a:lnTo>
                      <a:lnTo>
                        <a:pt x="392" y="62"/>
                      </a:lnTo>
                      <a:lnTo>
                        <a:pt x="392" y="64"/>
                      </a:lnTo>
                      <a:lnTo>
                        <a:pt x="394" y="64"/>
                      </a:lnTo>
                      <a:lnTo>
                        <a:pt x="394" y="66"/>
                      </a:lnTo>
                      <a:lnTo>
                        <a:pt x="394" y="67"/>
                      </a:lnTo>
                      <a:lnTo>
                        <a:pt x="394" y="69"/>
                      </a:lnTo>
                      <a:lnTo>
                        <a:pt x="395" y="69"/>
                      </a:lnTo>
                      <a:lnTo>
                        <a:pt x="395" y="71"/>
                      </a:lnTo>
                      <a:lnTo>
                        <a:pt x="394" y="71"/>
                      </a:lnTo>
                      <a:lnTo>
                        <a:pt x="394" y="72"/>
                      </a:lnTo>
                      <a:lnTo>
                        <a:pt x="394" y="74"/>
                      </a:lnTo>
                      <a:lnTo>
                        <a:pt x="394" y="76"/>
                      </a:lnTo>
                      <a:lnTo>
                        <a:pt x="395" y="76"/>
                      </a:lnTo>
                      <a:lnTo>
                        <a:pt x="397" y="76"/>
                      </a:lnTo>
                      <a:lnTo>
                        <a:pt x="399" y="76"/>
                      </a:lnTo>
                      <a:lnTo>
                        <a:pt x="400" y="76"/>
                      </a:lnTo>
                      <a:lnTo>
                        <a:pt x="402" y="76"/>
                      </a:lnTo>
                      <a:lnTo>
                        <a:pt x="404" y="76"/>
                      </a:lnTo>
                      <a:lnTo>
                        <a:pt x="405" y="76"/>
                      </a:lnTo>
                      <a:lnTo>
                        <a:pt x="407" y="76"/>
                      </a:lnTo>
                      <a:lnTo>
                        <a:pt x="407" y="74"/>
                      </a:lnTo>
                      <a:lnTo>
                        <a:pt x="409" y="74"/>
                      </a:lnTo>
                      <a:lnTo>
                        <a:pt x="409" y="76"/>
                      </a:lnTo>
                      <a:lnTo>
                        <a:pt x="410" y="76"/>
                      </a:lnTo>
                      <a:lnTo>
                        <a:pt x="410" y="74"/>
                      </a:lnTo>
                      <a:lnTo>
                        <a:pt x="410" y="76"/>
                      </a:lnTo>
                      <a:lnTo>
                        <a:pt x="412" y="76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6" y="77"/>
                      </a:lnTo>
                      <a:lnTo>
                        <a:pt x="417" y="77"/>
                      </a:lnTo>
                      <a:lnTo>
                        <a:pt x="419" y="77"/>
                      </a:lnTo>
                      <a:lnTo>
                        <a:pt x="421" y="77"/>
                      </a:lnTo>
                      <a:lnTo>
                        <a:pt x="422" y="77"/>
                      </a:lnTo>
                      <a:lnTo>
                        <a:pt x="424" y="77"/>
                      </a:lnTo>
                      <a:lnTo>
                        <a:pt x="426" y="77"/>
                      </a:lnTo>
                      <a:lnTo>
                        <a:pt x="427" y="77"/>
                      </a:lnTo>
                      <a:lnTo>
                        <a:pt x="427" y="79"/>
                      </a:lnTo>
                      <a:lnTo>
                        <a:pt x="429" y="77"/>
                      </a:lnTo>
                      <a:lnTo>
                        <a:pt x="431" y="77"/>
                      </a:lnTo>
                      <a:lnTo>
                        <a:pt x="432" y="77"/>
                      </a:lnTo>
                      <a:lnTo>
                        <a:pt x="432" y="79"/>
                      </a:lnTo>
                      <a:lnTo>
                        <a:pt x="434" y="79"/>
                      </a:lnTo>
                      <a:lnTo>
                        <a:pt x="436" y="79"/>
                      </a:lnTo>
                      <a:lnTo>
                        <a:pt x="436" y="80"/>
                      </a:lnTo>
                      <a:lnTo>
                        <a:pt x="437" y="80"/>
                      </a:lnTo>
                      <a:lnTo>
                        <a:pt x="437" y="82"/>
                      </a:lnTo>
                      <a:lnTo>
                        <a:pt x="439" y="82"/>
                      </a:lnTo>
                      <a:lnTo>
                        <a:pt x="439" y="80"/>
                      </a:lnTo>
                      <a:lnTo>
                        <a:pt x="439" y="82"/>
                      </a:lnTo>
                      <a:lnTo>
                        <a:pt x="439" y="84"/>
                      </a:lnTo>
                      <a:lnTo>
                        <a:pt x="441" y="84"/>
                      </a:lnTo>
                      <a:lnTo>
                        <a:pt x="443" y="84"/>
                      </a:lnTo>
                      <a:lnTo>
                        <a:pt x="443" y="85"/>
                      </a:lnTo>
                      <a:lnTo>
                        <a:pt x="444" y="85"/>
                      </a:lnTo>
                      <a:lnTo>
                        <a:pt x="444" y="87"/>
                      </a:lnTo>
                      <a:lnTo>
                        <a:pt x="446" y="87"/>
                      </a:lnTo>
                      <a:lnTo>
                        <a:pt x="446" y="89"/>
                      </a:lnTo>
                      <a:lnTo>
                        <a:pt x="448" y="89"/>
                      </a:lnTo>
                      <a:lnTo>
                        <a:pt x="448" y="87"/>
                      </a:lnTo>
                      <a:lnTo>
                        <a:pt x="448" y="85"/>
                      </a:lnTo>
                      <a:lnTo>
                        <a:pt x="448" y="87"/>
                      </a:lnTo>
                      <a:lnTo>
                        <a:pt x="449" y="87"/>
                      </a:lnTo>
                      <a:lnTo>
                        <a:pt x="451" y="87"/>
                      </a:lnTo>
                      <a:lnTo>
                        <a:pt x="451" y="89"/>
                      </a:lnTo>
                      <a:lnTo>
                        <a:pt x="453" y="89"/>
                      </a:lnTo>
                      <a:lnTo>
                        <a:pt x="453" y="90"/>
                      </a:lnTo>
                      <a:lnTo>
                        <a:pt x="453" y="92"/>
                      </a:lnTo>
                      <a:lnTo>
                        <a:pt x="454" y="94"/>
                      </a:lnTo>
                      <a:lnTo>
                        <a:pt x="454" y="92"/>
                      </a:lnTo>
                      <a:lnTo>
                        <a:pt x="456" y="92"/>
                      </a:lnTo>
                      <a:lnTo>
                        <a:pt x="456" y="94"/>
                      </a:lnTo>
                      <a:lnTo>
                        <a:pt x="454" y="94"/>
                      </a:lnTo>
                      <a:lnTo>
                        <a:pt x="454" y="95"/>
                      </a:lnTo>
                      <a:lnTo>
                        <a:pt x="456" y="95"/>
                      </a:lnTo>
                      <a:lnTo>
                        <a:pt x="456" y="97"/>
                      </a:lnTo>
                      <a:lnTo>
                        <a:pt x="456" y="99"/>
                      </a:lnTo>
                      <a:lnTo>
                        <a:pt x="456" y="100"/>
                      </a:lnTo>
                      <a:lnTo>
                        <a:pt x="456" y="102"/>
                      </a:lnTo>
                      <a:lnTo>
                        <a:pt x="458" y="102"/>
                      </a:lnTo>
                      <a:lnTo>
                        <a:pt x="458" y="100"/>
                      </a:lnTo>
                      <a:lnTo>
                        <a:pt x="459" y="102"/>
                      </a:lnTo>
                      <a:lnTo>
                        <a:pt x="461" y="100"/>
                      </a:lnTo>
                      <a:lnTo>
                        <a:pt x="463" y="100"/>
                      </a:lnTo>
                      <a:lnTo>
                        <a:pt x="463" y="99"/>
                      </a:lnTo>
                      <a:lnTo>
                        <a:pt x="465" y="99"/>
                      </a:lnTo>
                      <a:lnTo>
                        <a:pt x="465" y="100"/>
                      </a:lnTo>
                      <a:lnTo>
                        <a:pt x="465" y="102"/>
                      </a:lnTo>
                      <a:lnTo>
                        <a:pt x="465" y="103"/>
                      </a:lnTo>
                      <a:lnTo>
                        <a:pt x="466" y="103"/>
                      </a:lnTo>
                      <a:lnTo>
                        <a:pt x="466" y="102"/>
                      </a:lnTo>
                      <a:lnTo>
                        <a:pt x="466" y="103"/>
                      </a:lnTo>
                      <a:lnTo>
                        <a:pt x="468" y="103"/>
                      </a:lnTo>
                      <a:lnTo>
                        <a:pt x="468" y="102"/>
                      </a:lnTo>
                      <a:lnTo>
                        <a:pt x="470" y="102"/>
                      </a:lnTo>
                      <a:lnTo>
                        <a:pt x="470" y="103"/>
                      </a:lnTo>
                      <a:lnTo>
                        <a:pt x="471" y="103"/>
                      </a:lnTo>
                      <a:lnTo>
                        <a:pt x="471" y="105"/>
                      </a:lnTo>
                      <a:lnTo>
                        <a:pt x="471" y="107"/>
                      </a:lnTo>
                      <a:lnTo>
                        <a:pt x="473" y="107"/>
                      </a:lnTo>
                      <a:lnTo>
                        <a:pt x="473" y="105"/>
                      </a:lnTo>
                      <a:lnTo>
                        <a:pt x="475" y="105"/>
                      </a:lnTo>
                      <a:lnTo>
                        <a:pt x="476" y="107"/>
                      </a:lnTo>
                      <a:lnTo>
                        <a:pt x="476" y="108"/>
                      </a:lnTo>
                      <a:lnTo>
                        <a:pt x="476" y="110"/>
                      </a:lnTo>
                      <a:lnTo>
                        <a:pt x="476" y="108"/>
                      </a:lnTo>
                      <a:lnTo>
                        <a:pt x="478" y="110"/>
                      </a:lnTo>
                      <a:lnTo>
                        <a:pt x="480" y="110"/>
                      </a:lnTo>
                      <a:lnTo>
                        <a:pt x="481" y="110"/>
                      </a:lnTo>
                      <a:lnTo>
                        <a:pt x="481" y="112"/>
                      </a:lnTo>
                      <a:lnTo>
                        <a:pt x="483" y="110"/>
                      </a:lnTo>
                      <a:lnTo>
                        <a:pt x="483" y="108"/>
                      </a:lnTo>
                      <a:lnTo>
                        <a:pt x="481" y="108"/>
                      </a:lnTo>
                      <a:lnTo>
                        <a:pt x="483" y="108"/>
                      </a:lnTo>
                      <a:lnTo>
                        <a:pt x="485" y="108"/>
                      </a:lnTo>
                      <a:lnTo>
                        <a:pt x="485" y="110"/>
                      </a:lnTo>
                      <a:lnTo>
                        <a:pt x="486" y="110"/>
                      </a:lnTo>
                      <a:lnTo>
                        <a:pt x="488" y="108"/>
                      </a:lnTo>
                      <a:lnTo>
                        <a:pt x="488" y="110"/>
                      </a:lnTo>
                      <a:lnTo>
                        <a:pt x="490" y="110"/>
                      </a:lnTo>
                      <a:lnTo>
                        <a:pt x="490" y="112"/>
                      </a:lnTo>
                      <a:lnTo>
                        <a:pt x="490" y="110"/>
                      </a:lnTo>
                      <a:lnTo>
                        <a:pt x="492" y="110"/>
                      </a:lnTo>
                      <a:lnTo>
                        <a:pt x="492" y="108"/>
                      </a:lnTo>
                      <a:lnTo>
                        <a:pt x="492" y="107"/>
                      </a:lnTo>
                      <a:lnTo>
                        <a:pt x="493" y="108"/>
                      </a:lnTo>
                      <a:lnTo>
                        <a:pt x="493" y="110"/>
                      </a:lnTo>
                      <a:lnTo>
                        <a:pt x="492" y="110"/>
                      </a:lnTo>
                      <a:lnTo>
                        <a:pt x="492" y="112"/>
                      </a:lnTo>
                      <a:lnTo>
                        <a:pt x="493" y="112"/>
                      </a:lnTo>
                      <a:lnTo>
                        <a:pt x="495" y="112"/>
                      </a:lnTo>
                      <a:lnTo>
                        <a:pt x="497" y="112"/>
                      </a:lnTo>
                      <a:lnTo>
                        <a:pt x="497" y="110"/>
                      </a:lnTo>
                      <a:lnTo>
                        <a:pt x="498" y="110"/>
                      </a:lnTo>
                      <a:lnTo>
                        <a:pt x="498" y="108"/>
                      </a:lnTo>
                      <a:lnTo>
                        <a:pt x="498" y="110"/>
                      </a:lnTo>
                      <a:lnTo>
                        <a:pt x="498" y="112"/>
                      </a:lnTo>
                      <a:lnTo>
                        <a:pt x="498" y="113"/>
                      </a:lnTo>
                      <a:lnTo>
                        <a:pt x="498" y="115"/>
                      </a:lnTo>
                      <a:lnTo>
                        <a:pt x="497" y="115"/>
                      </a:lnTo>
                      <a:lnTo>
                        <a:pt x="498" y="117"/>
                      </a:lnTo>
                      <a:lnTo>
                        <a:pt x="500" y="115"/>
                      </a:lnTo>
                      <a:lnTo>
                        <a:pt x="502" y="115"/>
                      </a:lnTo>
                      <a:lnTo>
                        <a:pt x="503" y="113"/>
                      </a:lnTo>
                      <a:lnTo>
                        <a:pt x="503" y="115"/>
                      </a:lnTo>
                      <a:lnTo>
                        <a:pt x="505" y="115"/>
                      </a:lnTo>
                      <a:lnTo>
                        <a:pt x="507" y="115"/>
                      </a:lnTo>
                      <a:lnTo>
                        <a:pt x="508" y="115"/>
                      </a:lnTo>
                      <a:lnTo>
                        <a:pt x="508" y="117"/>
                      </a:lnTo>
                      <a:lnTo>
                        <a:pt x="508" y="118"/>
                      </a:lnTo>
                      <a:lnTo>
                        <a:pt x="507" y="118"/>
                      </a:lnTo>
                      <a:lnTo>
                        <a:pt x="507" y="120"/>
                      </a:lnTo>
                      <a:lnTo>
                        <a:pt x="507" y="122"/>
                      </a:lnTo>
                      <a:lnTo>
                        <a:pt x="508" y="122"/>
                      </a:lnTo>
                      <a:lnTo>
                        <a:pt x="510" y="122"/>
                      </a:lnTo>
                      <a:lnTo>
                        <a:pt x="510" y="123"/>
                      </a:lnTo>
                      <a:lnTo>
                        <a:pt x="510" y="125"/>
                      </a:lnTo>
                      <a:lnTo>
                        <a:pt x="508" y="125"/>
                      </a:lnTo>
                      <a:lnTo>
                        <a:pt x="508" y="126"/>
                      </a:lnTo>
                      <a:lnTo>
                        <a:pt x="508" y="128"/>
                      </a:lnTo>
                      <a:lnTo>
                        <a:pt x="510" y="128"/>
                      </a:lnTo>
                      <a:lnTo>
                        <a:pt x="510" y="126"/>
                      </a:lnTo>
                      <a:lnTo>
                        <a:pt x="512" y="126"/>
                      </a:lnTo>
                      <a:lnTo>
                        <a:pt x="513" y="126"/>
                      </a:lnTo>
                      <a:lnTo>
                        <a:pt x="515" y="125"/>
                      </a:lnTo>
                      <a:lnTo>
                        <a:pt x="517" y="125"/>
                      </a:lnTo>
                      <a:lnTo>
                        <a:pt x="519" y="125"/>
                      </a:lnTo>
                      <a:lnTo>
                        <a:pt x="519" y="126"/>
                      </a:lnTo>
                      <a:lnTo>
                        <a:pt x="520" y="126"/>
                      </a:lnTo>
                      <a:lnTo>
                        <a:pt x="520" y="128"/>
                      </a:lnTo>
                      <a:lnTo>
                        <a:pt x="522" y="128"/>
                      </a:lnTo>
                      <a:lnTo>
                        <a:pt x="522" y="130"/>
                      </a:lnTo>
                      <a:lnTo>
                        <a:pt x="522" y="131"/>
                      </a:lnTo>
                      <a:lnTo>
                        <a:pt x="522" y="133"/>
                      </a:lnTo>
                      <a:lnTo>
                        <a:pt x="520" y="133"/>
                      </a:lnTo>
                      <a:lnTo>
                        <a:pt x="519" y="133"/>
                      </a:lnTo>
                      <a:lnTo>
                        <a:pt x="517" y="133"/>
                      </a:lnTo>
                      <a:lnTo>
                        <a:pt x="517" y="135"/>
                      </a:lnTo>
                      <a:lnTo>
                        <a:pt x="517" y="136"/>
                      </a:lnTo>
                      <a:lnTo>
                        <a:pt x="517" y="140"/>
                      </a:lnTo>
                      <a:lnTo>
                        <a:pt x="517" y="141"/>
                      </a:lnTo>
                      <a:lnTo>
                        <a:pt x="519" y="141"/>
                      </a:lnTo>
                      <a:lnTo>
                        <a:pt x="519" y="143"/>
                      </a:lnTo>
                      <a:lnTo>
                        <a:pt x="520" y="143"/>
                      </a:lnTo>
                      <a:lnTo>
                        <a:pt x="520" y="145"/>
                      </a:lnTo>
                      <a:lnTo>
                        <a:pt x="519" y="145"/>
                      </a:lnTo>
                      <a:lnTo>
                        <a:pt x="519" y="146"/>
                      </a:lnTo>
                      <a:lnTo>
                        <a:pt x="519" y="148"/>
                      </a:lnTo>
                      <a:lnTo>
                        <a:pt x="520" y="148"/>
                      </a:lnTo>
                      <a:lnTo>
                        <a:pt x="520" y="149"/>
                      </a:lnTo>
                      <a:lnTo>
                        <a:pt x="520" y="151"/>
                      </a:lnTo>
                      <a:lnTo>
                        <a:pt x="520" y="153"/>
                      </a:lnTo>
                      <a:lnTo>
                        <a:pt x="522" y="154"/>
                      </a:lnTo>
                      <a:lnTo>
                        <a:pt x="524" y="154"/>
                      </a:lnTo>
                      <a:lnTo>
                        <a:pt x="524" y="156"/>
                      </a:lnTo>
                      <a:lnTo>
                        <a:pt x="525" y="156"/>
                      </a:lnTo>
                      <a:lnTo>
                        <a:pt x="525" y="158"/>
                      </a:lnTo>
                      <a:lnTo>
                        <a:pt x="529" y="159"/>
                      </a:lnTo>
                      <a:lnTo>
                        <a:pt x="530" y="159"/>
                      </a:lnTo>
                      <a:lnTo>
                        <a:pt x="532" y="161"/>
                      </a:lnTo>
                      <a:lnTo>
                        <a:pt x="534" y="163"/>
                      </a:lnTo>
                      <a:lnTo>
                        <a:pt x="535" y="164"/>
                      </a:lnTo>
                      <a:lnTo>
                        <a:pt x="537" y="166"/>
                      </a:lnTo>
                      <a:lnTo>
                        <a:pt x="539" y="166"/>
                      </a:lnTo>
                      <a:lnTo>
                        <a:pt x="541" y="168"/>
                      </a:lnTo>
                      <a:lnTo>
                        <a:pt x="542" y="168"/>
                      </a:lnTo>
                      <a:lnTo>
                        <a:pt x="542" y="169"/>
                      </a:lnTo>
                      <a:lnTo>
                        <a:pt x="542" y="171"/>
                      </a:lnTo>
                      <a:lnTo>
                        <a:pt x="544" y="171"/>
                      </a:lnTo>
                      <a:lnTo>
                        <a:pt x="546" y="172"/>
                      </a:lnTo>
                      <a:lnTo>
                        <a:pt x="546" y="174"/>
                      </a:lnTo>
                      <a:lnTo>
                        <a:pt x="547" y="176"/>
                      </a:lnTo>
                      <a:lnTo>
                        <a:pt x="547" y="174"/>
                      </a:lnTo>
                      <a:lnTo>
                        <a:pt x="549" y="174"/>
                      </a:lnTo>
                      <a:lnTo>
                        <a:pt x="549" y="176"/>
                      </a:lnTo>
                      <a:lnTo>
                        <a:pt x="549" y="177"/>
                      </a:lnTo>
                      <a:lnTo>
                        <a:pt x="549" y="179"/>
                      </a:lnTo>
                      <a:lnTo>
                        <a:pt x="549" y="181"/>
                      </a:lnTo>
                      <a:lnTo>
                        <a:pt x="547" y="181"/>
                      </a:lnTo>
                      <a:lnTo>
                        <a:pt x="547" y="182"/>
                      </a:lnTo>
                      <a:lnTo>
                        <a:pt x="546" y="184"/>
                      </a:lnTo>
                      <a:lnTo>
                        <a:pt x="546" y="186"/>
                      </a:lnTo>
                      <a:lnTo>
                        <a:pt x="546" y="187"/>
                      </a:lnTo>
                      <a:lnTo>
                        <a:pt x="546" y="189"/>
                      </a:lnTo>
                      <a:lnTo>
                        <a:pt x="546" y="190"/>
                      </a:lnTo>
                      <a:lnTo>
                        <a:pt x="544" y="190"/>
                      </a:lnTo>
                      <a:lnTo>
                        <a:pt x="544" y="192"/>
                      </a:lnTo>
                      <a:lnTo>
                        <a:pt x="544" y="194"/>
                      </a:lnTo>
                      <a:lnTo>
                        <a:pt x="546" y="194"/>
                      </a:lnTo>
                      <a:lnTo>
                        <a:pt x="546" y="195"/>
                      </a:lnTo>
                      <a:lnTo>
                        <a:pt x="544" y="197"/>
                      </a:lnTo>
                      <a:lnTo>
                        <a:pt x="544" y="199"/>
                      </a:lnTo>
                      <a:lnTo>
                        <a:pt x="544" y="200"/>
                      </a:lnTo>
                      <a:lnTo>
                        <a:pt x="544" y="202"/>
                      </a:lnTo>
                      <a:lnTo>
                        <a:pt x="544" y="204"/>
                      </a:lnTo>
                      <a:lnTo>
                        <a:pt x="544" y="205"/>
                      </a:lnTo>
                      <a:lnTo>
                        <a:pt x="544" y="207"/>
                      </a:lnTo>
                      <a:lnTo>
                        <a:pt x="546" y="207"/>
                      </a:lnTo>
                      <a:lnTo>
                        <a:pt x="546" y="209"/>
                      </a:lnTo>
                      <a:lnTo>
                        <a:pt x="547" y="209"/>
                      </a:lnTo>
                      <a:lnTo>
                        <a:pt x="547" y="210"/>
                      </a:lnTo>
                      <a:lnTo>
                        <a:pt x="547" y="212"/>
                      </a:lnTo>
                      <a:lnTo>
                        <a:pt x="549" y="212"/>
                      </a:lnTo>
                      <a:lnTo>
                        <a:pt x="549" y="213"/>
                      </a:lnTo>
                      <a:lnTo>
                        <a:pt x="551" y="215"/>
                      </a:lnTo>
                      <a:lnTo>
                        <a:pt x="549" y="217"/>
                      </a:lnTo>
                      <a:lnTo>
                        <a:pt x="549" y="218"/>
                      </a:lnTo>
                      <a:lnTo>
                        <a:pt x="551" y="218"/>
                      </a:lnTo>
                      <a:lnTo>
                        <a:pt x="551" y="222"/>
                      </a:lnTo>
                      <a:lnTo>
                        <a:pt x="552" y="222"/>
                      </a:lnTo>
                      <a:lnTo>
                        <a:pt x="552" y="223"/>
                      </a:lnTo>
                      <a:lnTo>
                        <a:pt x="554" y="223"/>
                      </a:lnTo>
                      <a:lnTo>
                        <a:pt x="554" y="225"/>
                      </a:lnTo>
                      <a:lnTo>
                        <a:pt x="556" y="225"/>
                      </a:lnTo>
                      <a:lnTo>
                        <a:pt x="556" y="227"/>
                      </a:lnTo>
                      <a:lnTo>
                        <a:pt x="556" y="228"/>
                      </a:lnTo>
                      <a:lnTo>
                        <a:pt x="557" y="230"/>
                      </a:lnTo>
                      <a:lnTo>
                        <a:pt x="559" y="230"/>
                      </a:lnTo>
                      <a:lnTo>
                        <a:pt x="559" y="232"/>
                      </a:lnTo>
                      <a:lnTo>
                        <a:pt x="559" y="233"/>
                      </a:lnTo>
                      <a:lnTo>
                        <a:pt x="559" y="235"/>
                      </a:lnTo>
                      <a:lnTo>
                        <a:pt x="561" y="235"/>
                      </a:lnTo>
                      <a:lnTo>
                        <a:pt x="561" y="236"/>
                      </a:lnTo>
                      <a:lnTo>
                        <a:pt x="562" y="236"/>
                      </a:lnTo>
                      <a:lnTo>
                        <a:pt x="562" y="238"/>
                      </a:lnTo>
                      <a:lnTo>
                        <a:pt x="562" y="240"/>
                      </a:lnTo>
                      <a:lnTo>
                        <a:pt x="562" y="241"/>
                      </a:lnTo>
                      <a:lnTo>
                        <a:pt x="562" y="243"/>
                      </a:lnTo>
                      <a:lnTo>
                        <a:pt x="562" y="245"/>
                      </a:lnTo>
                      <a:lnTo>
                        <a:pt x="564" y="245"/>
                      </a:lnTo>
                      <a:lnTo>
                        <a:pt x="564" y="246"/>
                      </a:lnTo>
                      <a:lnTo>
                        <a:pt x="564" y="248"/>
                      </a:lnTo>
                      <a:lnTo>
                        <a:pt x="566" y="250"/>
                      </a:lnTo>
                      <a:lnTo>
                        <a:pt x="566" y="253"/>
                      </a:lnTo>
                      <a:lnTo>
                        <a:pt x="568" y="253"/>
                      </a:lnTo>
                      <a:lnTo>
                        <a:pt x="569" y="253"/>
                      </a:lnTo>
                      <a:lnTo>
                        <a:pt x="571" y="253"/>
                      </a:lnTo>
                      <a:lnTo>
                        <a:pt x="573" y="253"/>
                      </a:lnTo>
                      <a:lnTo>
                        <a:pt x="574" y="253"/>
                      </a:lnTo>
                      <a:lnTo>
                        <a:pt x="574" y="255"/>
                      </a:lnTo>
                      <a:lnTo>
                        <a:pt x="574" y="256"/>
                      </a:lnTo>
                      <a:lnTo>
                        <a:pt x="576" y="256"/>
                      </a:lnTo>
                      <a:lnTo>
                        <a:pt x="578" y="258"/>
                      </a:lnTo>
                      <a:lnTo>
                        <a:pt x="583" y="261"/>
                      </a:lnTo>
                      <a:lnTo>
                        <a:pt x="583" y="263"/>
                      </a:lnTo>
                      <a:lnTo>
                        <a:pt x="584" y="264"/>
                      </a:lnTo>
                      <a:lnTo>
                        <a:pt x="586" y="266"/>
                      </a:lnTo>
                      <a:lnTo>
                        <a:pt x="588" y="266"/>
                      </a:lnTo>
                      <a:lnTo>
                        <a:pt x="590" y="266"/>
                      </a:lnTo>
                      <a:lnTo>
                        <a:pt x="590" y="268"/>
                      </a:lnTo>
                      <a:lnTo>
                        <a:pt x="590" y="269"/>
                      </a:lnTo>
                      <a:lnTo>
                        <a:pt x="590" y="271"/>
                      </a:lnTo>
                      <a:lnTo>
                        <a:pt x="590" y="273"/>
                      </a:lnTo>
                      <a:lnTo>
                        <a:pt x="588" y="273"/>
                      </a:lnTo>
                      <a:lnTo>
                        <a:pt x="588" y="274"/>
                      </a:lnTo>
                      <a:lnTo>
                        <a:pt x="588" y="276"/>
                      </a:lnTo>
                      <a:lnTo>
                        <a:pt x="590" y="278"/>
                      </a:lnTo>
                      <a:lnTo>
                        <a:pt x="590" y="279"/>
                      </a:lnTo>
                      <a:lnTo>
                        <a:pt x="588" y="281"/>
                      </a:lnTo>
                      <a:lnTo>
                        <a:pt x="588" y="282"/>
                      </a:lnTo>
                      <a:lnTo>
                        <a:pt x="590" y="282"/>
                      </a:lnTo>
                      <a:lnTo>
                        <a:pt x="590" y="284"/>
                      </a:lnTo>
                      <a:lnTo>
                        <a:pt x="588" y="284"/>
                      </a:lnTo>
                      <a:lnTo>
                        <a:pt x="590" y="287"/>
                      </a:lnTo>
                      <a:lnTo>
                        <a:pt x="591" y="287"/>
                      </a:lnTo>
                      <a:lnTo>
                        <a:pt x="591" y="289"/>
                      </a:lnTo>
                      <a:lnTo>
                        <a:pt x="591" y="291"/>
                      </a:lnTo>
                      <a:lnTo>
                        <a:pt x="595" y="292"/>
                      </a:lnTo>
                      <a:lnTo>
                        <a:pt x="595" y="294"/>
                      </a:lnTo>
                      <a:lnTo>
                        <a:pt x="596" y="294"/>
                      </a:lnTo>
                      <a:lnTo>
                        <a:pt x="598" y="292"/>
                      </a:lnTo>
                      <a:lnTo>
                        <a:pt x="600" y="292"/>
                      </a:lnTo>
                      <a:lnTo>
                        <a:pt x="603" y="292"/>
                      </a:lnTo>
                      <a:lnTo>
                        <a:pt x="605" y="292"/>
                      </a:lnTo>
                      <a:lnTo>
                        <a:pt x="605" y="294"/>
                      </a:lnTo>
                      <a:lnTo>
                        <a:pt x="605" y="296"/>
                      </a:lnTo>
                      <a:lnTo>
                        <a:pt x="606" y="296"/>
                      </a:lnTo>
                      <a:lnTo>
                        <a:pt x="606" y="297"/>
                      </a:lnTo>
                      <a:lnTo>
                        <a:pt x="606" y="299"/>
                      </a:lnTo>
                      <a:lnTo>
                        <a:pt x="606" y="301"/>
                      </a:lnTo>
                      <a:lnTo>
                        <a:pt x="606" y="302"/>
                      </a:lnTo>
                      <a:lnTo>
                        <a:pt x="608" y="304"/>
                      </a:lnTo>
                      <a:lnTo>
                        <a:pt x="608" y="305"/>
                      </a:lnTo>
                      <a:lnTo>
                        <a:pt x="608" y="307"/>
                      </a:lnTo>
                      <a:lnTo>
                        <a:pt x="606" y="307"/>
                      </a:lnTo>
                      <a:lnTo>
                        <a:pt x="606" y="310"/>
                      </a:lnTo>
                      <a:lnTo>
                        <a:pt x="605" y="310"/>
                      </a:lnTo>
                      <a:lnTo>
                        <a:pt x="605" y="312"/>
                      </a:lnTo>
                      <a:lnTo>
                        <a:pt x="605" y="314"/>
                      </a:lnTo>
                      <a:lnTo>
                        <a:pt x="606" y="314"/>
                      </a:lnTo>
                      <a:lnTo>
                        <a:pt x="605" y="315"/>
                      </a:lnTo>
                      <a:lnTo>
                        <a:pt x="605" y="317"/>
                      </a:lnTo>
                      <a:lnTo>
                        <a:pt x="603" y="317"/>
                      </a:lnTo>
                      <a:lnTo>
                        <a:pt x="603" y="319"/>
                      </a:lnTo>
                      <a:lnTo>
                        <a:pt x="605" y="319"/>
                      </a:lnTo>
                      <a:lnTo>
                        <a:pt x="606" y="319"/>
                      </a:lnTo>
                      <a:lnTo>
                        <a:pt x="608" y="317"/>
                      </a:lnTo>
                      <a:lnTo>
                        <a:pt x="610" y="317"/>
                      </a:lnTo>
                      <a:lnTo>
                        <a:pt x="611" y="317"/>
                      </a:lnTo>
                      <a:lnTo>
                        <a:pt x="611" y="315"/>
                      </a:lnTo>
                      <a:lnTo>
                        <a:pt x="613" y="315"/>
                      </a:lnTo>
                      <a:lnTo>
                        <a:pt x="613" y="317"/>
                      </a:lnTo>
                      <a:lnTo>
                        <a:pt x="615" y="317"/>
                      </a:lnTo>
                      <a:lnTo>
                        <a:pt x="615" y="319"/>
                      </a:lnTo>
                      <a:lnTo>
                        <a:pt x="617" y="320"/>
                      </a:lnTo>
                      <a:lnTo>
                        <a:pt x="617" y="324"/>
                      </a:lnTo>
                      <a:lnTo>
                        <a:pt x="615" y="324"/>
                      </a:lnTo>
                      <a:lnTo>
                        <a:pt x="613" y="324"/>
                      </a:lnTo>
                      <a:lnTo>
                        <a:pt x="613" y="325"/>
                      </a:lnTo>
                      <a:lnTo>
                        <a:pt x="613" y="327"/>
                      </a:lnTo>
                      <a:lnTo>
                        <a:pt x="615" y="327"/>
                      </a:lnTo>
                      <a:lnTo>
                        <a:pt x="615" y="328"/>
                      </a:lnTo>
                      <a:lnTo>
                        <a:pt x="615" y="332"/>
                      </a:lnTo>
                      <a:lnTo>
                        <a:pt x="615" y="333"/>
                      </a:lnTo>
                      <a:lnTo>
                        <a:pt x="615" y="335"/>
                      </a:lnTo>
                      <a:lnTo>
                        <a:pt x="613" y="335"/>
                      </a:lnTo>
                      <a:lnTo>
                        <a:pt x="615" y="337"/>
                      </a:lnTo>
                      <a:lnTo>
                        <a:pt x="617" y="335"/>
                      </a:lnTo>
                      <a:lnTo>
                        <a:pt x="618" y="335"/>
                      </a:lnTo>
                      <a:lnTo>
                        <a:pt x="618" y="337"/>
                      </a:lnTo>
                      <a:lnTo>
                        <a:pt x="620" y="337"/>
                      </a:lnTo>
                      <a:lnTo>
                        <a:pt x="622" y="338"/>
                      </a:lnTo>
                      <a:lnTo>
                        <a:pt x="623" y="342"/>
                      </a:lnTo>
                      <a:lnTo>
                        <a:pt x="625" y="342"/>
                      </a:lnTo>
                      <a:lnTo>
                        <a:pt x="627" y="342"/>
                      </a:lnTo>
                      <a:lnTo>
                        <a:pt x="628" y="343"/>
                      </a:lnTo>
                      <a:lnTo>
                        <a:pt x="630" y="343"/>
                      </a:lnTo>
                      <a:lnTo>
                        <a:pt x="632" y="343"/>
                      </a:lnTo>
                      <a:lnTo>
                        <a:pt x="633" y="343"/>
                      </a:lnTo>
                      <a:lnTo>
                        <a:pt x="635" y="343"/>
                      </a:lnTo>
                      <a:lnTo>
                        <a:pt x="637" y="343"/>
                      </a:lnTo>
                      <a:lnTo>
                        <a:pt x="638" y="343"/>
                      </a:lnTo>
                      <a:lnTo>
                        <a:pt x="640" y="345"/>
                      </a:lnTo>
                      <a:lnTo>
                        <a:pt x="642" y="345"/>
                      </a:lnTo>
                      <a:lnTo>
                        <a:pt x="644" y="345"/>
                      </a:lnTo>
                      <a:lnTo>
                        <a:pt x="644" y="347"/>
                      </a:lnTo>
                      <a:lnTo>
                        <a:pt x="645" y="348"/>
                      </a:lnTo>
                      <a:lnTo>
                        <a:pt x="644" y="350"/>
                      </a:lnTo>
                      <a:lnTo>
                        <a:pt x="644" y="351"/>
                      </a:lnTo>
                      <a:lnTo>
                        <a:pt x="645" y="351"/>
                      </a:lnTo>
                      <a:lnTo>
                        <a:pt x="647" y="353"/>
                      </a:lnTo>
                      <a:lnTo>
                        <a:pt x="649" y="353"/>
                      </a:lnTo>
                      <a:lnTo>
                        <a:pt x="650" y="353"/>
                      </a:lnTo>
                      <a:lnTo>
                        <a:pt x="650" y="351"/>
                      </a:lnTo>
                      <a:lnTo>
                        <a:pt x="649" y="350"/>
                      </a:lnTo>
                      <a:lnTo>
                        <a:pt x="649" y="348"/>
                      </a:lnTo>
                      <a:lnTo>
                        <a:pt x="650" y="347"/>
                      </a:lnTo>
                      <a:lnTo>
                        <a:pt x="652" y="347"/>
                      </a:lnTo>
                      <a:lnTo>
                        <a:pt x="654" y="347"/>
                      </a:lnTo>
                      <a:lnTo>
                        <a:pt x="655" y="347"/>
                      </a:lnTo>
                      <a:lnTo>
                        <a:pt x="655" y="345"/>
                      </a:lnTo>
                      <a:lnTo>
                        <a:pt x="655" y="343"/>
                      </a:lnTo>
                      <a:lnTo>
                        <a:pt x="655" y="342"/>
                      </a:lnTo>
                      <a:lnTo>
                        <a:pt x="657" y="342"/>
                      </a:lnTo>
                      <a:lnTo>
                        <a:pt x="657" y="343"/>
                      </a:lnTo>
                      <a:lnTo>
                        <a:pt x="659" y="343"/>
                      </a:lnTo>
                      <a:lnTo>
                        <a:pt x="657" y="345"/>
                      </a:lnTo>
                      <a:lnTo>
                        <a:pt x="657" y="347"/>
                      </a:lnTo>
                      <a:lnTo>
                        <a:pt x="659" y="347"/>
                      </a:lnTo>
                      <a:lnTo>
                        <a:pt x="660" y="347"/>
                      </a:lnTo>
                      <a:lnTo>
                        <a:pt x="660" y="345"/>
                      </a:lnTo>
                      <a:lnTo>
                        <a:pt x="660" y="343"/>
                      </a:lnTo>
                      <a:lnTo>
                        <a:pt x="662" y="343"/>
                      </a:lnTo>
                      <a:lnTo>
                        <a:pt x="662" y="345"/>
                      </a:lnTo>
                      <a:lnTo>
                        <a:pt x="664" y="345"/>
                      </a:lnTo>
                      <a:lnTo>
                        <a:pt x="664" y="347"/>
                      </a:lnTo>
                      <a:lnTo>
                        <a:pt x="666" y="347"/>
                      </a:lnTo>
                      <a:lnTo>
                        <a:pt x="671" y="347"/>
                      </a:lnTo>
                      <a:lnTo>
                        <a:pt x="672" y="345"/>
                      </a:lnTo>
                      <a:lnTo>
                        <a:pt x="674" y="345"/>
                      </a:lnTo>
                      <a:lnTo>
                        <a:pt x="676" y="345"/>
                      </a:lnTo>
                      <a:lnTo>
                        <a:pt x="676" y="343"/>
                      </a:lnTo>
                      <a:lnTo>
                        <a:pt x="677" y="342"/>
                      </a:lnTo>
                      <a:lnTo>
                        <a:pt x="681" y="338"/>
                      </a:lnTo>
                      <a:lnTo>
                        <a:pt x="682" y="337"/>
                      </a:lnTo>
                      <a:lnTo>
                        <a:pt x="684" y="335"/>
                      </a:lnTo>
                      <a:lnTo>
                        <a:pt x="684" y="332"/>
                      </a:lnTo>
                      <a:lnTo>
                        <a:pt x="684" y="328"/>
                      </a:lnTo>
                      <a:lnTo>
                        <a:pt x="684" y="324"/>
                      </a:lnTo>
                      <a:lnTo>
                        <a:pt x="684" y="322"/>
                      </a:lnTo>
                      <a:lnTo>
                        <a:pt x="684" y="320"/>
                      </a:lnTo>
                      <a:lnTo>
                        <a:pt x="684" y="319"/>
                      </a:lnTo>
                      <a:lnTo>
                        <a:pt x="684" y="317"/>
                      </a:lnTo>
                      <a:lnTo>
                        <a:pt x="684" y="315"/>
                      </a:lnTo>
                      <a:lnTo>
                        <a:pt x="684" y="314"/>
                      </a:lnTo>
                      <a:lnTo>
                        <a:pt x="684" y="312"/>
                      </a:lnTo>
                      <a:lnTo>
                        <a:pt x="686" y="312"/>
                      </a:lnTo>
                      <a:lnTo>
                        <a:pt x="686" y="310"/>
                      </a:lnTo>
                      <a:lnTo>
                        <a:pt x="686" y="309"/>
                      </a:lnTo>
                      <a:lnTo>
                        <a:pt x="687" y="309"/>
                      </a:lnTo>
                      <a:lnTo>
                        <a:pt x="689" y="304"/>
                      </a:lnTo>
                      <a:lnTo>
                        <a:pt x="691" y="302"/>
                      </a:lnTo>
                      <a:lnTo>
                        <a:pt x="691" y="301"/>
                      </a:lnTo>
                      <a:lnTo>
                        <a:pt x="693" y="299"/>
                      </a:lnTo>
                      <a:lnTo>
                        <a:pt x="696" y="297"/>
                      </a:lnTo>
                      <a:lnTo>
                        <a:pt x="699" y="292"/>
                      </a:lnTo>
                      <a:lnTo>
                        <a:pt x="701" y="291"/>
                      </a:lnTo>
                      <a:lnTo>
                        <a:pt x="703" y="291"/>
                      </a:lnTo>
                      <a:lnTo>
                        <a:pt x="703" y="289"/>
                      </a:lnTo>
                      <a:lnTo>
                        <a:pt x="704" y="289"/>
                      </a:lnTo>
                      <a:lnTo>
                        <a:pt x="706" y="287"/>
                      </a:lnTo>
                      <a:lnTo>
                        <a:pt x="706" y="286"/>
                      </a:lnTo>
                      <a:lnTo>
                        <a:pt x="708" y="282"/>
                      </a:lnTo>
                      <a:lnTo>
                        <a:pt x="709" y="282"/>
                      </a:lnTo>
                      <a:lnTo>
                        <a:pt x="709" y="279"/>
                      </a:lnTo>
                      <a:lnTo>
                        <a:pt x="709" y="278"/>
                      </a:lnTo>
                      <a:lnTo>
                        <a:pt x="711" y="278"/>
                      </a:lnTo>
                      <a:lnTo>
                        <a:pt x="711" y="276"/>
                      </a:lnTo>
                      <a:lnTo>
                        <a:pt x="714" y="274"/>
                      </a:lnTo>
                      <a:lnTo>
                        <a:pt x="714" y="273"/>
                      </a:lnTo>
                      <a:lnTo>
                        <a:pt x="716" y="268"/>
                      </a:lnTo>
                      <a:lnTo>
                        <a:pt x="716" y="266"/>
                      </a:lnTo>
                      <a:lnTo>
                        <a:pt x="718" y="266"/>
                      </a:lnTo>
                      <a:lnTo>
                        <a:pt x="718" y="264"/>
                      </a:lnTo>
                      <a:lnTo>
                        <a:pt x="720" y="263"/>
                      </a:lnTo>
                      <a:lnTo>
                        <a:pt x="721" y="263"/>
                      </a:lnTo>
                      <a:lnTo>
                        <a:pt x="721" y="261"/>
                      </a:lnTo>
                      <a:lnTo>
                        <a:pt x="721" y="259"/>
                      </a:lnTo>
                      <a:lnTo>
                        <a:pt x="725" y="256"/>
                      </a:lnTo>
                      <a:lnTo>
                        <a:pt x="726" y="253"/>
                      </a:lnTo>
                      <a:lnTo>
                        <a:pt x="728" y="251"/>
                      </a:lnTo>
                      <a:lnTo>
                        <a:pt x="730" y="250"/>
                      </a:lnTo>
                      <a:lnTo>
                        <a:pt x="731" y="250"/>
                      </a:lnTo>
                      <a:lnTo>
                        <a:pt x="733" y="248"/>
                      </a:lnTo>
                      <a:lnTo>
                        <a:pt x="735" y="248"/>
                      </a:lnTo>
                      <a:lnTo>
                        <a:pt x="736" y="248"/>
                      </a:lnTo>
                      <a:lnTo>
                        <a:pt x="738" y="248"/>
                      </a:lnTo>
                      <a:lnTo>
                        <a:pt x="740" y="248"/>
                      </a:lnTo>
                      <a:lnTo>
                        <a:pt x="740" y="246"/>
                      </a:lnTo>
                      <a:lnTo>
                        <a:pt x="740" y="248"/>
                      </a:lnTo>
                      <a:lnTo>
                        <a:pt x="742" y="246"/>
                      </a:lnTo>
                      <a:lnTo>
                        <a:pt x="743" y="246"/>
                      </a:lnTo>
                      <a:lnTo>
                        <a:pt x="743" y="245"/>
                      </a:lnTo>
                      <a:lnTo>
                        <a:pt x="745" y="243"/>
                      </a:lnTo>
                      <a:lnTo>
                        <a:pt x="748" y="240"/>
                      </a:lnTo>
                      <a:lnTo>
                        <a:pt x="750" y="240"/>
                      </a:lnTo>
                      <a:lnTo>
                        <a:pt x="750" y="238"/>
                      </a:lnTo>
                      <a:lnTo>
                        <a:pt x="752" y="236"/>
                      </a:lnTo>
                      <a:lnTo>
                        <a:pt x="752" y="235"/>
                      </a:lnTo>
                      <a:lnTo>
                        <a:pt x="753" y="233"/>
                      </a:lnTo>
                      <a:lnTo>
                        <a:pt x="755" y="233"/>
                      </a:lnTo>
                      <a:lnTo>
                        <a:pt x="757" y="232"/>
                      </a:lnTo>
                      <a:lnTo>
                        <a:pt x="769" y="228"/>
                      </a:lnTo>
                      <a:lnTo>
                        <a:pt x="772" y="228"/>
                      </a:lnTo>
                      <a:lnTo>
                        <a:pt x="774" y="227"/>
                      </a:lnTo>
                      <a:lnTo>
                        <a:pt x="775" y="225"/>
                      </a:lnTo>
                      <a:lnTo>
                        <a:pt x="777" y="223"/>
                      </a:lnTo>
                      <a:lnTo>
                        <a:pt x="780" y="223"/>
                      </a:lnTo>
                      <a:lnTo>
                        <a:pt x="780" y="222"/>
                      </a:lnTo>
                      <a:lnTo>
                        <a:pt x="782" y="220"/>
                      </a:lnTo>
                      <a:lnTo>
                        <a:pt x="784" y="218"/>
                      </a:lnTo>
                      <a:lnTo>
                        <a:pt x="785" y="218"/>
                      </a:lnTo>
                      <a:lnTo>
                        <a:pt x="785" y="217"/>
                      </a:lnTo>
                      <a:lnTo>
                        <a:pt x="787" y="217"/>
                      </a:lnTo>
                      <a:lnTo>
                        <a:pt x="787" y="215"/>
                      </a:lnTo>
                      <a:lnTo>
                        <a:pt x="789" y="213"/>
                      </a:lnTo>
                      <a:lnTo>
                        <a:pt x="792" y="210"/>
                      </a:lnTo>
                      <a:lnTo>
                        <a:pt x="792" y="209"/>
                      </a:lnTo>
                      <a:lnTo>
                        <a:pt x="794" y="207"/>
                      </a:lnTo>
                      <a:lnTo>
                        <a:pt x="794" y="205"/>
                      </a:lnTo>
                      <a:lnTo>
                        <a:pt x="796" y="202"/>
                      </a:lnTo>
                      <a:lnTo>
                        <a:pt x="796" y="200"/>
                      </a:lnTo>
                      <a:lnTo>
                        <a:pt x="797" y="199"/>
                      </a:lnTo>
                      <a:lnTo>
                        <a:pt x="797" y="197"/>
                      </a:lnTo>
                      <a:lnTo>
                        <a:pt x="799" y="194"/>
                      </a:lnTo>
                      <a:lnTo>
                        <a:pt x="799" y="192"/>
                      </a:lnTo>
                      <a:lnTo>
                        <a:pt x="801" y="190"/>
                      </a:lnTo>
                      <a:lnTo>
                        <a:pt x="801" y="187"/>
                      </a:lnTo>
                      <a:lnTo>
                        <a:pt x="802" y="186"/>
                      </a:lnTo>
                      <a:lnTo>
                        <a:pt x="802" y="184"/>
                      </a:lnTo>
                      <a:lnTo>
                        <a:pt x="804" y="182"/>
                      </a:lnTo>
                      <a:lnTo>
                        <a:pt x="806" y="182"/>
                      </a:lnTo>
                      <a:lnTo>
                        <a:pt x="807" y="181"/>
                      </a:lnTo>
                      <a:lnTo>
                        <a:pt x="811" y="177"/>
                      </a:lnTo>
                      <a:lnTo>
                        <a:pt x="812" y="177"/>
                      </a:lnTo>
                      <a:lnTo>
                        <a:pt x="814" y="177"/>
                      </a:lnTo>
                      <a:lnTo>
                        <a:pt x="819" y="176"/>
                      </a:lnTo>
                      <a:lnTo>
                        <a:pt x="826" y="174"/>
                      </a:lnTo>
                      <a:lnTo>
                        <a:pt x="829" y="174"/>
                      </a:lnTo>
                      <a:lnTo>
                        <a:pt x="831" y="174"/>
                      </a:lnTo>
                      <a:lnTo>
                        <a:pt x="833" y="174"/>
                      </a:lnTo>
                      <a:lnTo>
                        <a:pt x="834" y="174"/>
                      </a:lnTo>
                      <a:lnTo>
                        <a:pt x="836" y="174"/>
                      </a:lnTo>
                      <a:lnTo>
                        <a:pt x="836" y="179"/>
                      </a:lnTo>
                      <a:lnTo>
                        <a:pt x="838" y="181"/>
                      </a:lnTo>
                      <a:lnTo>
                        <a:pt x="838" y="182"/>
                      </a:lnTo>
                      <a:lnTo>
                        <a:pt x="839" y="182"/>
                      </a:lnTo>
                      <a:lnTo>
                        <a:pt x="839" y="186"/>
                      </a:lnTo>
                      <a:lnTo>
                        <a:pt x="841" y="186"/>
                      </a:lnTo>
                      <a:lnTo>
                        <a:pt x="841" y="189"/>
                      </a:lnTo>
                      <a:lnTo>
                        <a:pt x="841" y="190"/>
                      </a:lnTo>
                      <a:lnTo>
                        <a:pt x="841" y="192"/>
                      </a:lnTo>
                      <a:lnTo>
                        <a:pt x="839" y="194"/>
                      </a:lnTo>
                      <a:lnTo>
                        <a:pt x="839" y="205"/>
                      </a:lnTo>
                      <a:lnTo>
                        <a:pt x="839" y="207"/>
                      </a:lnTo>
                      <a:lnTo>
                        <a:pt x="838" y="209"/>
                      </a:lnTo>
                      <a:lnTo>
                        <a:pt x="839" y="209"/>
                      </a:lnTo>
                      <a:lnTo>
                        <a:pt x="841" y="209"/>
                      </a:lnTo>
                      <a:lnTo>
                        <a:pt x="843" y="209"/>
                      </a:lnTo>
                      <a:lnTo>
                        <a:pt x="845" y="209"/>
                      </a:lnTo>
                      <a:lnTo>
                        <a:pt x="846" y="209"/>
                      </a:lnTo>
                      <a:lnTo>
                        <a:pt x="846" y="210"/>
                      </a:lnTo>
                      <a:lnTo>
                        <a:pt x="848" y="210"/>
                      </a:lnTo>
                      <a:lnTo>
                        <a:pt x="848" y="209"/>
                      </a:lnTo>
                      <a:lnTo>
                        <a:pt x="850" y="209"/>
                      </a:lnTo>
                      <a:lnTo>
                        <a:pt x="850" y="210"/>
                      </a:lnTo>
                      <a:lnTo>
                        <a:pt x="851" y="209"/>
                      </a:lnTo>
                      <a:lnTo>
                        <a:pt x="851" y="210"/>
                      </a:lnTo>
                      <a:lnTo>
                        <a:pt x="853" y="210"/>
                      </a:lnTo>
                      <a:lnTo>
                        <a:pt x="855" y="210"/>
                      </a:lnTo>
                      <a:lnTo>
                        <a:pt x="856" y="209"/>
                      </a:lnTo>
                      <a:lnTo>
                        <a:pt x="858" y="209"/>
                      </a:lnTo>
                      <a:lnTo>
                        <a:pt x="860" y="209"/>
                      </a:lnTo>
                      <a:lnTo>
                        <a:pt x="860" y="207"/>
                      </a:lnTo>
                      <a:lnTo>
                        <a:pt x="860" y="209"/>
                      </a:lnTo>
                      <a:lnTo>
                        <a:pt x="861" y="209"/>
                      </a:lnTo>
                      <a:lnTo>
                        <a:pt x="863" y="209"/>
                      </a:lnTo>
                      <a:lnTo>
                        <a:pt x="865" y="209"/>
                      </a:lnTo>
                      <a:lnTo>
                        <a:pt x="866" y="207"/>
                      </a:lnTo>
                      <a:lnTo>
                        <a:pt x="868" y="209"/>
                      </a:lnTo>
                      <a:lnTo>
                        <a:pt x="870" y="209"/>
                      </a:lnTo>
                      <a:lnTo>
                        <a:pt x="868" y="209"/>
                      </a:lnTo>
                      <a:lnTo>
                        <a:pt x="868" y="207"/>
                      </a:lnTo>
                      <a:lnTo>
                        <a:pt x="870" y="207"/>
                      </a:lnTo>
                      <a:lnTo>
                        <a:pt x="872" y="207"/>
                      </a:lnTo>
                      <a:lnTo>
                        <a:pt x="872" y="205"/>
                      </a:lnTo>
                      <a:lnTo>
                        <a:pt x="873" y="205"/>
                      </a:lnTo>
                      <a:lnTo>
                        <a:pt x="875" y="205"/>
                      </a:lnTo>
                      <a:lnTo>
                        <a:pt x="877" y="207"/>
                      </a:lnTo>
                      <a:lnTo>
                        <a:pt x="878" y="207"/>
                      </a:lnTo>
                      <a:lnTo>
                        <a:pt x="878" y="209"/>
                      </a:lnTo>
                      <a:lnTo>
                        <a:pt x="880" y="209"/>
                      </a:lnTo>
                      <a:lnTo>
                        <a:pt x="880" y="210"/>
                      </a:lnTo>
                      <a:lnTo>
                        <a:pt x="882" y="210"/>
                      </a:lnTo>
                      <a:lnTo>
                        <a:pt x="882" y="212"/>
                      </a:lnTo>
                      <a:lnTo>
                        <a:pt x="882" y="213"/>
                      </a:lnTo>
                      <a:lnTo>
                        <a:pt x="882" y="215"/>
                      </a:lnTo>
                      <a:lnTo>
                        <a:pt x="883" y="215"/>
                      </a:lnTo>
                      <a:lnTo>
                        <a:pt x="883" y="217"/>
                      </a:lnTo>
                      <a:lnTo>
                        <a:pt x="885" y="220"/>
                      </a:lnTo>
                      <a:lnTo>
                        <a:pt x="887" y="222"/>
                      </a:lnTo>
                      <a:lnTo>
                        <a:pt x="888" y="223"/>
                      </a:lnTo>
                      <a:lnTo>
                        <a:pt x="890" y="227"/>
                      </a:lnTo>
                      <a:lnTo>
                        <a:pt x="892" y="228"/>
                      </a:lnTo>
                      <a:lnTo>
                        <a:pt x="894" y="230"/>
                      </a:lnTo>
                      <a:lnTo>
                        <a:pt x="894" y="232"/>
                      </a:lnTo>
                      <a:lnTo>
                        <a:pt x="895" y="232"/>
                      </a:lnTo>
                      <a:lnTo>
                        <a:pt x="895" y="233"/>
                      </a:lnTo>
                      <a:lnTo>
                        <a:pt x="897" y="233"/>
                      </a:lnTo>
                      <a:lnTo>
                        <a:pt x="899" y="233"/>
                      </a:lnTo>
                      <a:lnTo>
                        <a:pt x="900" y="235"/>
                      </a:lnTo>
                      <a:lnTo>
                        <a:pt x="902" y="235"/>
                      </a:lnTo>
                      <a:lnTo>
                        <a:pt x="902" y="236"/>
                      </a:lnTo>
                      <a:lnTo>
                        <a:pt x="902" y="238"/>
                      </a:lnTo>
                      <a:lnTo>
                        <a:pt x="904" y="238"/>
                      </a:lnTo>
                      <a:lnTo>
                        <a:pt x="904" y="240"/>
                      </a:lnTo>
                      <a:lnTo>
                        <a:pt x="937" y="255"/>
                      </a:lnTo>
                      <a:lnTo>
                        <a:pt x="939" y="255"/>
                      </a:lnTo>
                      <a:lnTo>
                        <a:pt x="939" y="256"/>
                      </a:lnTo>
                      <a:lnTo>
                        <a:pt x="941" y="256"/>
                      </a:lnTo>
                      <a:lnTo>
                        <a:pt x="941" y="258"/>
                      </a:lnTo>
                      <a:lnTo>
                        <a:pt x="942" y="258"/>
                      </a:lnTo>
                      <a:lnTo>
                        <a:pt x="944" y="258"/>
                      </a:lnTo>
                      <a:lnTo>
                        <a:pt x="946" y="259"/>
                      </a:lnTo>
                      <a:lnTo>
                        <a:pt x="948" y="259"/>
                      </a:lnTo>
                      <a:lnTo>
                        <a:pt x="948" y="261"/>
                      </a:lnTo>
                      <a:lnTo>
                        <a:pt x="948" y="259"/>
                      </a:lnTo>
                      <a:lnTo>
                        <a:pt x="949" y="259"/>
                      </a:lnTo>
                      <a:lnTo>
                        <a:pt x="951" y="259"/>
                      </a:lnTo>
                      <a:lnTo>
                        <a:pt x="953" y="259"/>
                      </a:lnTo>
                      <a:lnTo>
                        <a:pt x="954" y="259"/>
                      </a:lnTo>
                      <a:lnTo>
                        <a:pt x="956" y="259"/>
                      </a:lnTo>
                      <a:lnTo>
                        <a:pt x="958" y="259"/>
                      </a:lnTo>
                      <a:lnTo>
                        <a:pt x="959" y="259"/>
                      </a:lnTo>
                      <a:lnTo>
                        <a:pt x="961" y="261"/>
                      </a:lnTo>
                      <a:lnTo>
                        <a:pt x="963" y="263"/>
                      </a:lnTo>
                      <a:lnTo>
                        <a:pt x="964" y="263"/>
                      </a:lnTo>
                      <a:lnTo>
                        <a:pt x="966" y="263"/>
                      </a:lnTo>
                      <a:lnTo>
                        <a:pt x="968" y="263"/>
                      </a:lnTo>
                      <a:lnTo>
                        <a:pt x="970" y="263"/>
                      </a:lnTo>
                      <a:lnTo>
                        <a:pt x="971" y="261"/>
                      </a:lnTo>
                      <a:lnTo>
                        <a:pt x="973" y="261"/>
                      </a:lnTo>
                      <a:lnTo>
                        <a:pt x="975" y="261"/>
                      </a:lnTo>
                      <a:lnTo>
                        <a:pt x="976" y="261"/>
                      </a:lnTo>
                      <a:lnTo>
                        <a:pt x="976" y="259"/>
                      </a:lnTo>
                      <a:lnTo>
                        <a:pt x="978" y="261"/>
                      </a:lnTo>
                      <a:lnTo>
                        <a:pt x="980" y="261"/>
                      </a:lnTo>
                      <a:lnTo>
                        <a:pt x="981" y="261"/>
                      </a:lnTo>
                      <a:lnTo>
                        <a:pt x="983" y="261"/>
                      </a:lnTo>
                      <a:lnTo>
                        <a:pt x="985" y="261"/>
                      </a:lnTo>
                      <a:lnTo>
                        <a:pt x="986" y="261"/>
                      </a:lnTo>
                      <a:lnTo>
                        <a:pt x="988" y="261"/>
                      </a:lnTo>
                      <a:lnTo>
                        <a:pt x="990" y="261"/>
                      </a:lnTo>
                      <a:lnTo>
                        <a:pt x="991" y="261"/>
                      </a:lnTo>
                      <a:lnTo>
                        <a:pt x="993" y="263"/>
                      </a:lnTo>
                      <a:lnTo>
                        <a:pt x="995" y="263"/>
                      </a:lnTo>
                      <a:lnTo>
                        <a:pt x="997" y="264"/>
                      </a:lnTo>
                      <a:lnTo>
                        <a:pt x="997" y="266"/>
                      </a:lnTo>
                      <a:lnTo>
                        <a:pt x="998" y="266"/>
                      </a:lnTo>
                      <a:lnTo>
                        <a:pt x="997" y="269"/>
                      </a:lnTo>
                      <a:lnTo>
                        <a:pt x="997" y="271"/>
                      </a:lnTo>
                      <a:lnTo>
                        <a:pt x="997" y="273"/>
                      </a:lnTo>
                      <a:lnTo>
                        <a:pt x="997" y="274"/>
                      </a:lnTo>
                      <a:lnTo>
                        <a:pt x="995" y="274"/>
                      </a:lnTo>
                      <a:lnTo>
                        <a:pt x="993" y="276"/>
                      </a:lnTo>
                      <a:lnTo>
                        <a:pt x="991" y="278"/>
                      </a:lnTo>
                      <a:lnTo>
                        <a:pt x="991" y="279"/>
                      </a:lnTo>
                      <a:lnTo>
                        <a:pt x="991" y="281"/>
                      </a:lnTo>
                      <a:lnTo>
                        <a:pt x="990" y="282"/>
                      </a:lnTo>
                      <a:lnTo>
                        <a:pt x="990" y="286"/>
                      </a:lnTo>
                      <a:lnTo>
                        <a:pt x="1012" y="292"/>
                      </a:lnTo>
                      <a:lnTo>
                        <a:pt x="1034" y="301"/>
                      </a:lnTo>
                      <a:lnTo>
                        <a:pt x="1034" y="302"/>
                      </a:lnTo>
                      <a:lnTo>
                        <a:pt x="1034" y="304"/>
                      </a:lnTo>
                      <a:lnTo>
                        <a:pt x="1035" y="304"/>
                      </a:lnTo>
                      <a:lnTo>
                        <a:pt x="1035" y="302"/>
                      </a:lnTo>
                      <a:lnTo>
                        <a:pt x="1037" y="301"/>
                      </a:lnTo>
                      <a:lnTo>
                        <a:pt x="1037" y="299"/>
                      </a:lnTo>
                      <a:lnTo>
                        <a:pt x="1037" y="297"/>
                      </a:lnTo>
                      <a:lnTo>
                        <a:pt x="1039" y="297"/>
                      </a:lnTo>
                      <a:lnTo>
                        <a:pt x="1040" y="297"/>
                      </a:lnTo>
                      <a:lnTo>
                        <a:pt x="1040" y="296"/>
                      </a:lnTo>
                      <a:lnTo>
                        <a:pt x="1040" y="297"/>
                      </a:lnTo>
                      <a:lnTo>
                        <a:pt x="1042" y="297"/>
                      </a:lnTo>
                      <a:lnTo>
                        <a:pt x="1042" y="296"/>
                      </a:lnTo>
                      <a:lnTo>
                        <a:pt x="1042" y="294"/>
                      </a:lnTo>
                      <a:lnTo>
                        <a:pt x="1044" y="294"/>
                      </a:lnTo>
                      <a:lnTo>
                        <a:pt x="1042" y="294"/>
                      </a:lnTo>
                      <a:lnTo>
                        <a:pt x="1042" y="292"/>
                      </a:lnTo>
                      <a:lnTo>
                        <a:pt x="1044" y="292"/>
                      </a:lnTo>
                      <a:lnTo>
                        <a:pt x="1044" y="291"/>
                      </a:lnTo>
                      <a:lnTo>
                        <a:pt x="1042" y="292"/>
                      </a:lnTo>
                      <a:lnTo>
                        <a:pt x="1042" y="291"/>
                      </a:lnTo>
                      <a:lnTo>
                        <a:pt x="1044" y="291"/>
                      </a:lnTo>
                      <a:lnTo>
                        <a:pt x="1044" y="289"/>
                      </a:lnTo>
                      <a:lnTo>
                        <a:pt x="1046" y="291"/>
                      </a:lnTo>
                      <a:lnTo>
                        <a:pt x="1047" y="291"/>
                      </a:lnTo>
                      <a:lnTo>
                        <a:pt x="1047" y="292"/>
                      </a:lnTo>
                      <a:lnTo>
                        <a:pt x="1049" y="292"/>
                      </a:lnTo>
                      <a:lnTo>
                        <a:pt x="1049" y="294"/>
                      </a:lnTo>
                      <a:lnTo>
                        <a:pt x="1049" y="296"/>
                      </a:lnTo>
                      <a:lnTo>
                        <a:pt x="1049" y="297"/>
                      </a:lnTo>
                      <a:lnTo>
                        <a:pt x="1047" y="297"/>
                      </a:lnTo>
                      <a:lnTo>
                        <a:pt x="1047" y="299"/>
                      </a:lnTo>
                      <a:lnTo>
                        <a:pt x="1047" y="301"/>
                      </a:lnTo>
                      <a:lnTo>
                        <a:pt x="1046" y="302"/>
                      </a:lnTo>
                      <a:lnTo>
                        <a:pt x="1047" y="302"/>
                      </a:lnTo>
                      <a:lnTo>
                        <a:pt x="1047" y="301"/>
                      </a:lnTo>
                      <a:lnTo>
                        <a:pt x="1049" y="301"/>
                      </a:lnTo>
                      <a:lnTo>
                        <a:pt x="1049" y="302"/>
                      </a:lnTo>
                      <a:lnTo>
                        <a:pt x="1051" y="301"/>
                      </a:lnTo>
                      <a:lnTo>
                        <a:pt x="1051" y="299"/>
                      </a:lnTo>
                      <a:lnTo>
                        <a:pt x="1051" y="297"/>
                      </a:lnTo>
                      <a:lnTo>
                        <a:pt x="1051" y="299"/>
                      </a:lnTo>
                      <a:lnTo>
                        <a:pt x="1051" y="297"/>
                      </a:lnTo>
                      <a:lnTo>
                        <a:pt x="1051" y="296"/>
                      </a:lnTo>
                      <a:lnTo>
                        <a:pt x="1051" y="294"/>
                      </a:lnTo>
                      <a:lnTo>
                        <a:pt x="1052" y="294"/>
                      </a:lnTo>
                      <a:lnTo>
                        <a:pt x="1051" y="294"/>
                      </a:lnTo>
                      <a:lnTo>
                        <a:pt x="1052" y="292"/>
                      </a:lnTo>
                      <a:lnTo>
                        <a:pt x="1052" y="291"/>
                      </a:lnTo>
                      <a:lnTo>
                        <a:pt x="1051" y="291"/>
                      </a:lnTo>
                      <a:lnTo>
                        <a:pt x="1052" y="291"/>
                      </a:lnTo>
                      <a:lnTo>
                        <a:pt x="1052" y="289"/>
                      </a:lnTo>
                      <a:lnTo>
                        <a:pt x="1054" y="291"/>
                      </a:lnTo>
                      <a:lnTo>
                        <a:pt x="1054" y="292"/>
                      </a:lnTo>
                      <a:lnTo>
                        <a:pt x="1052" y="292"/>
                      </a:lnTo>
                      <a:lnTo>
                        <a:pt x="1052" y="294"/>
                      </a:lnTo>
                      <a:lnTo>
                        <a:pt x="1054" y="292"/>
                      </a:lnTo>
                      <a:lnTo>
                        <a:pt x="1056" y="292"/>
                      </a:lnTo>
                      <a:lnTo>
                        <a:pt x="1056" y="294"/>
                      </a:lnTo>
                      <a:lnTo>
                        <a:pt x="1056" y="296"/>
                      </a:lnTo>
                      <a:lnTo>
                        <a:pt x="1056" y="297"/>
                      </a:lnTo>
                      <a:lnTo>
                        <a:pt x="1057" y="297"/>
                      </a:lnTo>
                      <a:lnTo>
                        <a:pt x="1057" y="296"/>
                      </a:lnTo>
                      <a:lnTo>
                        <a:pt x="1057" y="294"/>
                      </a:lnTo>
                      <a:lnTo>
                        <a:pt x="1057" y="292"/>
                      </a:lnTo>
                      <a:lnTo>
                        <a:pt x="1056" y="291"/>
                      </a:lnTo>
                      <a:lnTo>
                        <a:pt x="1057" y="291"/>
                      </a:lnTo>
                      <a:lnTo>
                        <a:pt x="1059" y="291"/>
                      </a:lnTo>
                      <a:lnTo>
                        <a:pt x="1059" y="289"/>
                      </a:lnTo>
                      <a:lnTo>
                        <a:pt x="1061" y="289"/>
                      </a:lnTo>
                      <a:lnTo>
                        <a:pt x="1062" y="289"/>
                      </a:lnTo>
                      <a:lnTo>
                        <a:pt x="1062" y="291"/>
                      </a:lnTo>
                      <a:lnTo>
                        <a:pt x="1062" y="292"/>
                      </a:lnTo>
                      <a:lnTo>
                        <a:pt x="1062" y="294"/>
                      </a:lnTo>
                      <a:lnTo>
                        <a:pt x="1064" y="294"/>
                      </a:lnTo>
                      <a:lnTo>
                        <a:pt x="1066" y="292"/>
                      </a:lnTo>
                      <a:lnTo>
                        <a:pt x="1067" y="292"/>
                      </a:lnTo>
                      <a:lnTo>
                        <a:pt x="1067" y="294"/>
                      </a:lnTo>
                      <a:lnTo>
                        <a:pt x="1069" y="294"/>
                      </a:lnTo>
                      <a:lnTo>
                        <a:pt x="1069" y="296"/>
                      </a:lnTo>
                      <a:lnTo>
                        <a:pt x="1069" y="297"/>
                      </a:lnTo>
                      <a:lnTo>
                        <a:pt x="1069" y="299"/>
                      </a:lnTo>
                      <a:lnTo>
                        <a:pt x="1067" y="299"/>
                      </a:lnTo>
                      <a:lnTo>
                        <a:pt x="1069" y="301"/>
                      </a:lnTo>
                      <a:lnTo>
                        <a:pt x="1067" y="302"/>
                      </a:lnTo>
                      <a:lnTo>
                        <a:pt x="1069" y="302"/>
                      </a:lnTo>
                      <a:lnTo>
                        <a:pt x="1069" y="304"/>
                      </a:lnTo>
                      <a:lnTo>
                        <a:pt x="1071" y="304"/>
                      </a:lnTo>
                      <a:lnTo>
                        <a:pt x="1071" y="302"/>
                      </a:lnTo>
                      <a:lnTo>
                        <a:pt x="1073" y="301"/>
                      </a:lnTo>
                      <a:lnTo>
                        <a:pt x="1073" y="299"/>
                      </a:lnTo>
                      <a:lnTo>
                        <a:pt x="1074" y="299"/>
                      </a:lnTo>
                      <a:lnTo>
                        <a:pt x="1074" y="297"/>
                      </a:lnTo>
                      <a:lnTo>
                        <a:pt x="1074" y="296"/>
                      </a:lnTo>
                      <a:lnTo>
                        <a:pt x="1073" y="294"/>
                      </a:lnTo>
                      <a:lnTo>
                        <a:pt x="1074" y="294"/>
                      </a:lnTo>
                      <a:lnTo>
                        <a:pt x="1074" y="292"/>
                      </a:lnTo>
                      <a:lnTo>
                        <a:pt x="1076" y="294"/>
                      </a:lnTo>
                      <a:lnTo>
                        <a:pt x="1078" y="294"/>
                      </a:lnTo>
                      <a:lnTo>
                        <a:pt x="1078" y="296"/>
                      </a:lnTo>
                      <a:lnTo>
                        <a:pt x="1078" y="297"/>
                      </a:lnTo>
                      <a:lnTo>
                        <a:pt x="1078" y="299"/>
                      </a:lnTo>
                      <a:lnTo>
                        <a:pt x="1079" y="299"/>
                      </a:lnTo>
                      <a:lnTo>
                        <a:pt x="1079" y="301"/>
                      </a:lnTo>
                      <a:lnTo>
                        <a:pt x="1079" y="302"/>
                      </a:lnTo>
                      <a:lnTo>
                        <a:pt x="1081" y="302"/>
                      </a:lnTo>
                      <a:lnTo>
                        <a:pt x="1081" y="304"/>
                      </a:lnTo>
                      <a:lnTo>
                        <a:pt x="1081" y="305"/>
                      </a:lnTo>
                      <a:lnTo>
                        <a:pt x="1083" y="305"/>
                      </a:lnTo>
                      <a:lnTo>
                        <a:pt x="1083" y="307"/>
                      </a:lnTo>
                      <a:lnTo>
                        <a:pt x="1083" y="309"/>
                      </a:lnTo>
                      <a:lnTo>
                        <a:pt x="1083" y="310"/>
                      </a:lnTo>
                      <a:lnTo>
                        <a:pt x="1083" y="309"/>
                      </a:lnTo>
                      <a:lnTo>
                        <a:pt x="1084" y="310"/>
                      </a:lnTo>
                      <a:lnTo>
                        <a:pt x="1084" y="309"/>
                      </a:lnTo>
                      <a:lnTo>
                        <a:pt x="1084" y="307"/>
                      </a:lnTo>
                      <a:lnTo>
                        <a:pt x="1084" y="304"/>
                      </a:lnTo>
                      <a:lnTo>
                        <a:pt x="1084" y="302"/>
                      </a:lnTo>
                      <a:lnTo>
                        <a:pt x="1084" y="301"/>
                      </a:lnTo>
                      <a:lnTo>
                        <a:pt x="1083" y="301"/>
                      </a:lnTo>
                      <a:lnTo>
                        <a:pt x="1084" y="299"/>
                      </a:lnTo>
                      <a:lnTo>
                        <a:pt x="1084" y="297"/>
                      </a:lnTo>
                      <a:lnTo>
                        <a:pt x="1083" y="297"/>
                      </a:lnTo>
                      <a:lnTo>
                        <a:pt x="1083" y="296"/>
                      </a:lnTo>
                      <a:lnTo>
                        <a:pt x="1084" y="296"/>
                      </a:lnTo>
                      <a:lnTo>
                        <a:pt x="1084" y="294"/>
                      </a:lnTo>
                      <a:lnTo>
                        <a:pt x="1086" y="294"/>
                      </a:lnTo>
                      <a:lnTo>
                        <a:pt x="1088" y="294"/>
                      </a:lnTo>
                      <a:lnTo>
                        <a:pt x="1089" y="294"/>
                      </a:lnTo>
                      <a:lnTo>
                        <a:pt x="1089" y="296"/>
                      </a:lnTo>
                      <a:lnTo>
                        <a:pt x="1089" y="297"/>
                      </a:lnTo>
                      <a:lnTo>
                        <a:pt x="1088" y="299"/>
                      </a:lnTo>
                      <a:lnTo>
                        <a:pt x="1089" y="299"/>
                      </a:lnTo>
                      <a:lnTo>
                        <a:pt x="1091" y="299"/>
                      </a:lnTo>
                      <a:lnTo>
                        <a:pt x="1091" y="297"/>
                      </a:lnTo>
                      <a:lnTo>
                        <a:pt x="1093" y="297"/>
                      </a:lnTo>
                      <a:lnTo>
                        <a:pt x="1094" y="297"/>
                      </a:lnTo>
                      <a:lnTo>
                        <a:pt x="1093" y="296"/>
                      </a:lnTo>
                      <a:lnTo>
                        <a:pt x="1094" y="296"/>
                      </a:lnTo>
                      <a:lnTo>
                        <a:pt x="1096" y="296"/>
                      </a:lnTo>
                      <a:lnTo>
                        <a:pt x="1096" y="294"/>
                      </a:lnTo>
                      <a:lnTo>
                        <a:pt x="1098" y="294"/>
                      </a:lnTo>
                      <a:lnTo>
                        <a:pt x="1100" y="294"/>
                      </a:lnTo>
                      <a:lnTo>
                        <a:pt x="1101" y="294"/>
                      </a:lnTo>
                      <a:lnTo>
                        <a:pt x="1101" y="296"/>
                      </a:lnTo>
                      <a:lnTo>
                        <a:pt x="1101" y="297"/>
                      </a:lnTo>
                      <a:lnTo>
                        <a:pt x="1101" y="299"/>
                      </a:lnTo>
                      <a:lnTo>
                        <a:pt x="1103" y="299"/>
                      </a:lnTo>
                      <a:lnTo>
                        <a:pt x="1105" y="299"/>
                      </a:lnTo>
                      <a:lnTo>
                        <a:pt x="1103" y="297"/>
                      </a:lnTo>
                      <a:lnTo>
                        <a:pt x="1105" y="297"/>
                      </a:lnTo>
                      <a:lnTo>
                        <a:pt x="1106" y="297"/>
                      </a:lnTo>
                      <a:lnTo>
                        <a:pt x="1108" y="297"/>
                      </a:lnTo>
                      <a:lnTo>
                        <a:pt x="1108" y="299"/>
                      </a:lnTo>
                      <a:lnTo>
                        <a:pt x="1110" y="299"/>
                      </a:lnTo>
                      <a:lnTo>
                        <a:pt x="1110" y="301"/>
                      </a:lnTo>
                      <a:lnTo>
                        <a:pt x="1110" y="302"/>
                      </a:lnTo>
                      <a:lnTo>
                        <a:pt x="1108" y="302"/>
                      </a:lnTo>
                      <a:lnTo>
                        <a:pt x="1106" y="302"/>
                      </a:lnTo>
                      <a:lnTo>
                        <a:pt x="1105" y="304"/>
                      </a:lnTo>
                      <a:lnTo>
                        <a:pt x="1106" y="304"/>
                      </a:lnTo>
                      <a:lnTo>
                        <a:pt x="1108" y="304"/>
                      </a:lnTo>
                      <a:lnTo>
                        <a:pt x="1108" y="302"/>
                      </a:lnTo>
                      <a:lnTo>
                        <a:pt x="1110" y="302"/>
                      </a:lnTo>
                      <a:lnTo>
                        <a:pt x="1110" y="304"/>
                      </a:lnTo>
                      <a:lnTo>
                        <a:pt x="1110" y="302"/>
                      </a:lnTo>
                      <a:lnTo>
                        <a:pt x="1111" y="301"/>
                      </a:lnTo>
                      <a:lnTo>
                        <a:pt x="1113" y="301"/>
                      </a:lnTo>
                      <a:lnTo>
                        <a:pt x="1113" y="302"/>
                      </a:lnTo>
                      <a:lnTo>
                        <a:pt x="1113" y="304"/>
                      </a:lnTo>
                      <a:lnTo>
                        <a:pt x="1113" y="305"/>
                      </a:lnTo>
                      <a:lnTo>
                        <a:pt x="1113" y="307"/>
                      </a:lnTo>
                      <a:lnTo>
                        <a:pt x="1111" y="307"/>
                      </a:lnTo>
                      <a:lnTo>
                        <a:pt x="1111" y="309"/>
                      </a:lnTo>
                      <a:lnTo>
                        <a:pt x="1113" y="309"/>
                      </a:lnTo>
                      <a:lnTo>
                        <a:pt x="1113" y="310"/>
                      </a:lnTo>
                      <a:lnTo>
                        <a:pt x="1113" y="309"/>
                      </a:lnTo>
                      <a:lnTo>
                        <a:pt x="1113" y="310"/>
                      </a:lnTo>
                      <a:lnTo>
                        <a:pt x="1113" y="309"/>
                      </a:lnTo>
                      <a:lnTo>
                        <a:pt x="1113" y="307"/>
                      </a:lnTo>
                      <a:lnTo>
                        <a:pt x="1113" y="305"/>
                      </a:lnTo>
                      <a:lnTo>
                        <a:pt x="1115" y="305"/>
                      </a:lnTo>
                      <a:lnTo>
                        <a:pt x="1115" y="307"/>
                      </a:lnTo>
                      <a:lnTo>
                        <a:pt x="1115" y="305"/>
                      </a:lnTo>
                      <a:lnTo>
                        <a:pt x="1115" y="304"/>
                      </a:lnTo>
                      <a:lnTo>
                        <a:pt x="1116" y="304"/>
                      </a:lnTo>
                      <a:lnTo>
                        <a:pt x="1115" y="304"/>
                      </a:lnTo>
                      <a:lnTo>
                        <a:pt x="1115" y="302"/>
                      </a:lnTo>
                      <a:lnTo>
                        <a:pt x="1116" y="302"/>
                      </a:lnTo>
                      <a:lnTo>
                        <a:pt x="1118" y="302"/>
                      </a:lnTo>
                      <a:lnTo>
                        <a:pt x="1118" y="301"/>
                      </a:lnTo>
                      <a:lnTo>
                        <a:pt x="1120" y="301"/>
                      </a:lnTo>
                      <a:lnTo>
                        <a:pt x="1120" y="302"/>
                      </a:lnTo>
                      <a:lnTo>
                        <a:pt x="1122" y="302"/>
                      </a:lnTo>
                      <a:lnTo>
                        <a:pt x="1122" y="304"/>
                      </a:lnTo>
                      <a:lnTo>
                        <a:pt x="1120" y="304"/>
                      </a:lnTo>
                      <a:lnTo>
                        <a:pt x="1120" y="305"/>
                      </a:lnTo>
                      <a:lnTo>
                        <a:pt x="1122" y="305"/>
                      </a:lnTo>
                      <a:lnTo>
                        <a:pt x="1122" y="307"/>
                      </a:lnTo>
                      <a:lnTo>
                        <a:pt x="1120" y="309"/>
                      </a:lnTo>
                      <a:lnTo>
                        <a:pt x="1122" y="307"/>
                      </a:lnTo>
                      <a:lnTo>
                        <a:pt x="1122" y="309"/>
                      </a:lnTo>
                      <a:lnTo>
                        <a:pt x="1122" y="310"/>
                      </a:lnTo>
                      <a:lnTo>
                        <a:pt x="1123" y="310"/>
                      </a:lnTo>
                      <a:lnTo>
                        <a:pt x="1122" y="310"/>
                      </a:lnTo>
                      <a:lnTo>
                        <a:pt x="1123" y="310"/>
                      </a:lnTo>
                      <a:lnTo>
                        <a:pt x="1123" y="309"/>
                      </a:lnTo>
                      <a:lnTo>
                        <a:pt x="1123" y="307"/>
                      </a:lnTo>
                      <a:lnTo>
                        <a:pt x="1123" y="304"/>
                      </a:lnTo>
                      <a:lnTo>
                        <a:pt x="1123" y="305"/>
                      </a:lnTo>
                      <a:lnTo>
                        <a:pt x="1123" y="307"/>
                      </a:lnTo>
                      <a:lnTo>
                        <a:pt x="1123" y="309"/>
                      </a:lnTo>
                      <a:lnTo>
                        <a:pt x="1123" y="310"/>
                      </a:lnTo>
                      <a:lnTo>
                        <a:pt x="1123" y="312"/>
                      </a:lnTo>
                      <a:lnTo>
                        <a:pt x="1123" y="314"/>
                      </a:lnTo>
                      <a:lnTo>
                        <a:pt x="1123" y="312"/>
                      </a:lnTo>
                      <a:lnTo>
                        <a:pt x="1125" y="312"/>
                      </a:lnTo>
                      <a:lnTo>
                        <a:pt x="1125" y="314"/>
                      </a:lnTo>
                      <a:lnTo>
                        <a:pt x="1127" y="314"/>
                      </a:lnTo>
                      <a:lnTo>
                        <a:pt x="1125" y="312"/>
                      </a:lnTo>
                      <a:lnTo>
                        <a:pt x="1123" y="310"/>
                      </a:lnTo>
                      <a:lnTo>
                        <a:pt x="1125" y="310"/>
                      </a:lnTo>
                      <a:lnTo>
                        <a:pt x="1125" y="309"/>
                      </a:lnTo>
                      <a:lnTo>
                        <a:pt x="1125" y="307"/>
                      </a:lnTo>
                      <a:lnTo>
                        <a:pt x="1125" y="305"/>
                      </a:lnTo>
                      <a:lnTo>
                        <a:pt x="1125" y="307"/>
                      </a:lnTo>
                      <a:lnTo>
                        <a:pt x="1127" y="307"/>
                      </a:lnTo>
                      <a:lnTo>
                        <a:pt x="1127" y="305"/>
                      </a:lnTo>
                      <a:lnTo>
                        <a:pt x="1128" y="305"/>
                      </a:lnTo>
                      <a:lnTo>
                        <a:pt x="1130" y="305"/>
                      </a:lnTo>
                      <a:lnTo>
                        <a:pt x="1130" y="304"/>
                      </a:lnTo>
                      <a:lnTo>
                        <a:pt x="1132" y="304"/>
                      </a:lnTo>
                      <a:lnTo>
                        <a:pt x="1133" y="305"/>
                      </a:lnTo>
                      <a:lnTo>
                        <a:pt x="1133" y="307"/>
                      </a:lnTo>
                      <a:lnTo>
                        <a:pt x="1132" y="309"/>
                      </a:lnTo>
                      <a:lnTo>
                        <a:pt x="1132" y="310"/>
                      </a:lnTo>
                      <a:lnTo>
                        <a:pt x="1130" y="310"/>
                      </a:lnTo>
                      <a:lnTo>
                        <a:pt x="1132" y="312"/>
                      </a:lnTo>
                      <a:lnTo>
                        <a:pt x="1132" y="310"/>
                      </a:lnTo>
                      <a:lnTo>
                        <a:pt x="1132" y="312"/>
                      </a:lnTo>
                      <a:lnTo>
                        <a:pt x="1133" y="312"/>
                      </a:lnTo>
                      <a:lnTo>
                        <a:pt x="1132" y="312"/>
                      </a:lnTo>
                      <a:lnTo>
                        <a:pt x="1133" y="312"/>
                      </a:lnTo>
                      <a:lnTo>
                        <a:pt x="1133" y="314"/>
                      </a:lnTo>
                      <a:lnTo>
                        <a:pt x="1133" y="315"/>
                      </a:lnTo>
                      <a:lnTo>
                        <a:pt x="1135" y="317"/>
                      </a:lnTo>
                      <a:lnTo>
                        <a:pt x="1135" y="319"/>
                      </a:lnTo>
                      <a:lnTo>
                        <a:pt x="1133" y="319"/>
                      </a:lnTo>
                      <a:lnTo>
                        <a:pt x="1135" y="319"/>
                      </a:lnTo>
                      <a:lnTo>
                        <a:pt x="1135" y="320"/>
                      </a:lnTo>
                      <a:lnTo>
                        <a:pt x="1137" y="320"/>
                      </a:lnTo>
                      <a:lnTo>
                        <a:pt x="1137" y="319"/>
                      </a:lnTo>
                      <a:lnTo>
                        <a:pt x="1138" y="319"/>
                      </a:lnTo>
                      <a:lnTo>
                        <a:pt x="1137" y="319"/>
                      </a:lnTo>
                      <a:lnTo>
                        <a:pt x="1137" y="317"/>
                      </a:lnTo>
                      <a:lnTo>
                        <a:pt x="1137" y="315"/>
                      </a:lnTo>
                      <a:lnTo>
                        <a:pt x="1137" y="314"/>
                      </a:lnTo>
                      <a:lnTo>
                        <a:pt x="1138" y="314"/>
                      </a:lnTo>
                      <a:lnTo>
                        <a:pt x="1140" y="314"/>
                      </a:lnTo>
                      <a:lnTo>
                        <a:pt x="1140" y="312"/>
                      </a:lnTo>
                      <a:lnTo>
                        <a:pt x="1140" y="310"/>
                      </a:lnTo>
                      <a:lnTo>
                        <a:pt x="1140" y="309"/>
                      </a:lnTo>
                      <a:lnTo>
                        <a:pt x="1142" y="309"/>
                      </a:lnTo>
                      <a:lnTo>
                        <a:pt x="1142" y="310"/>
                      </a:lnTo>
                      <a:lnTo>
                        <a:pt x="1142" y="309"/>
                      </a:lnTo>
                      <a:lnTo>
                        <a:pt x="1143" y="309"/>
                      </a:lnTo>
                      <a:lnTo>
                        <a:pt x="1143" y="307"/>
                      </a:lnTo>
                      <a:lnTo>
                        <a:pt x="1142" y="307"/>
                      </a:lnTo>
                      <a:lnTo>
                        <a:pt x="1143" y="307"/>
                      </a:lnTo>
                      <a:lnTo>
                        <a:pt x="1145" y="309"/>
                      </a:lnTo>
                      <a:lnTo>
                        <a:pt x="1143" y="309"/>
                      </a:lnTo>
                      <a:lnTo>
                        <a:pt x="1143" y="310"/>
                      </a:lnTo>
                      <a:lnTo>
                        <a:pt x="1145" y="310"/>
                      </a:lnTo>
                      <a:lnTo>
                        <a:pt x="1145" y="312"/>
                      </a:lnTo>
                      <a:lnTo>
                        <a:pt x="1143" y="312"/>
                      </a:lnTo>
                      <a:lnTo>
                        <a:pt x="1142" y="312"/>
                      </a:lnTo>
                      <a:lnTo>
                        <a:pt x="1143" y="312"/>
                      </a:lnTo>
                      <a:lnTo>
                        <a:pt x="1145" y="314"/>
                      </a:lnTo>
                      <a:lnTo>
                        <a:pt x="1143" y="314"/>
                      </a:lnTo>
                      <a:lnTo>
                        <a:pt x="1143" y="315"/>
                      </a:lnTo>
                      <a:lnTo>
                        <a:pt x="1142" y="315"/>
                      </a:lnTo>
                      <a:lnTo>
                        <a:pt x="1143" y="315"/>
                      </a:lnTo>
                      <a:lnTo>
                        <a:pt x="1145" y="315"/>
                      </a:lnTo>
                      <a:lnTo>
                        <a:pt x="1143" y="315"/>
                      </a:lnTo>
                      <a:lnTo>
                        <a:pt x="1143" y="317"/>
                      </a:lnTo>
                      <a:lnTo>
                        <a:pt x="1142" y="317"/>
                      </a:lnTo>
                      <a:lnTo>
                        <a:pt x="1143" y="319"/>
                      </a:lnTo>
                      <a:lnTo>
                        <a:pt x="1143" y="317"/>
                      </a:lnTo>
                      <a:lnTo>
                        <a:pt x="1145" y="317"/>
                      </a:lnTo>
                      <a:lnTo>
                        <a:pt x="1145" y="315"/>
                      </a:lnTo>
                      <a:lnTo>
                        <a:pt x="1147" y="315"/>
                      </a:lnTo>
                      <a:lnTo>
                        <a:pt x="1147" y="317"/>
                      </a:lnTo>
                      <a:lnTo>
                        <a:pt x="1147" y="319"/>
                      </a:lnTo>
                      <a:lnTo>
                        <a:pt x="1145" y="320"/>
                      </a:lnTo>
                      <a:lnTo>
                        <a:pt x="1145" y="322"/>
                      </a:lnTo>
                      <a:lnTo>
                        <a:pt x="1145" y="320"/>
                      </a:lnTo>
                      <a:lnTo>
                        <a:pt x="1147" y="320"/>
                      </a:lnTo>
                      <a:lnTo>
                        <a:pt x="1147" y="319"/>
                      </a:lnTo>
                      <a:lnTo>
                        <a:pt x="1149" y="319"/>
                      </a:lnTo>
                      <a:lnTo>
                        <a:pt x="1149" y="320"/>
                      </a:lnTo>
                      <a:lnTo>
                        <a:pt x="1149" y="322"/>
                      </a:lnTo>
                      <a:lnTo>
                        <a:pt x="1149" y="320"/>
                      </a:lnTo>
                      <a:lnTo>
                        <a:pt x="1149" y="319"/>
                      </a:lnTo>
                      <a:lnTo>
                        <a:pt x="1149" y="317"/>
                      </a:lnTo>
                      <a:lnTo>
                        <a:pt x="1149" y="315"/>
                      </a:lnTo>
                      <a:lnTo>
                        <a:pt x="1150" y="315"/>
                      </a:lnTo>
                      <a:lnTo>
                        <a:pt x="1150" y="317"/>
                      </a:lnTo>
                      <a:lnTo>
                        <a:pt x="1152" y="317"/>
                      </a:lnTo>
                      <a:lnTo>
                        <a:pt x="1150" y="317"/>
                      </a:lnTo>
                      <a:lnTo>
                        <a:pt x="1150" y="315"/>
                      </a:lnTo>
                      <a:lnTo>
                        <a:pt x="1150" y="314"/>
                      </a:lnTo>
                      <a:lnTo>
                        <a:pt x="1152" y="315"/>
                      </a:lnTo>
                      <a:lnTo>
                        <a:pt x="1154" y="317"/>
                      </a:lnTo>
                      <a:lnTo>
                        <a:pt x="1154" y="319"/>
                      </a:lnTo>
                      <a:lnTo>
                        <a:pt x="1154" y="320"/>
                      </a:lnTo>
                      <a:lnTo>
                        <a:pt x="1154" y="322"/>
                      </a:lnTo>
                      <a:lnTo>
                        <a:pt x="1154" y="324"/>
                      </a:lnTo>
                      <a:lnTo>
                        <a:pt x="1152" y="324"/>
                      </a:lnTo>
                      <a:lnTo>
                        <a:pt x="1154" y="324"/>
                      </a:lnTo>
                      <a:lnTo>
                        <a:pt x="1155" y="322"/>
                      </a:lnTo>
                      <a:lnTo>
                        <a:pt x="1155" y="320"/>
                      </a:lnTo>
                      <a:lnTo>
                        <a:pt x="1154" y="319"/>
                      </a:lnTo>
                      <a:lnTo>
                        <a:pt x="1155" y="315"/>
                      </a:lnTo>
                      <a:lnTo>
                        <a:pt x="1157" y="315"/>
                      </a:lnTo>
                      <a:lnTo>
                        <a:pt x="1159" y="317"/>
                      </a:lnTo>
                      <a:lnTo>
                        <a:pt x="1159" y="319"/>
                      </a:lnTo>
                      <a:lnTo>
                        <a:pt x="1160" y="319"/>
                      </a:lnTo>
                      <a:lnTo>
                        <a:pt x="1160" y="317"/>
                      </a:lnTo>
                      <a:lnTo>
                        <a:pt x="1160" y="319"/>
                      </a:lnTo>
                      <a:lnTo>
                        <a:pt x="1160" y="317"/>
                      </a:lnTo>
                      <a:lnTo>
                        <a:pt x="1159" y="317"/>
                      </a:lnTo>
                      <a:lnTo>
                        <a:pt x="1159" y="314"/>
                      </a:lnTo>
                      <a:lnTo>
                        <a:pt x="1160" y="314"/>
                      </a:lnTo>
                      <a:lnTo>
                        <a:pt x="1160" y="312"/>
                      </a:lnTo>
                      <a:lnTo>
                        <a:pt x="1162" y="310"/>
                      </a:lnTo>
                      <a:lnTo>
                        <a:pt x="1162" y="312"/>
                      </a:lnTo>
                      <a:lnTo>
                        <a:pt x="1164" y="312"/>
                      </a:lnTo>
                      <a:lnTo>
                        <a:pt x="1162" y="312"/>
                      </a:lnTo>
                      <a:lnTo>
                        <a:pt x="1162" y="314"/>
                      </a:lnTo>
                      <a:lnTo>
                        <a:pt x="1164" y="314"/>
                      </a:lnTo>
                      <a:lnTo>
                        <a:pt x="1165" y="315"/>
                      </a:lnTo>
                      <a:lnTo>
                        <a:pt x="1165" y="317"/>
                      </a:lnTo>
                      <a:lnTo>
                        <a:pt x="1164" y="317"/>
                      </a:lnTo>
                      <a:lnTo>
                        <a:pt x="1164" y="319"/>
                      </a:lnTo>
                      <a:lnTo>
                        <a:pt x="1164" y="320"/>
                      </a:lnTo>
                      <a:lnTo>
                        <a:pt x="1164" y="319"/>
                      </a:lnTo>
                      <a:lnTo>
                        <a:pt x="1162" y="319"/>
                      </a:lnTo>
                      <a:lnTo>
                        <a:pt x="1162" y="320"/>
                      </a:lnTo>
                      <a:lnTo>
                        <a:pt x="1164" y="320"/>
                      </a:lnTo>
                      <a:lnTo>
                        <a:pt x="1164" y="322"/>
                      </a:lnTo>
                      <a:lnTo>
                        <a:pt x="1162" y="322"/>
                      </a:lnTo>
                      <a:lnTo>
                        <a:pt x="1164" y="324"/>
                      </a:lnTo>
                      <a:lnTo>
                        <a:pt x="1164" y="325"/>
                      </a:lnTo>
                      <a:lnTo>
                        <a:pt x="1162" y="325"/>
                      </a:lnTo>
                      <a:lnTo>
                        <a:pt x="1162" y="327"/>
                      </a:lnTo>
                      <a:lnTo>
                        <a:pt x="1160" y="325"/>
                      </a:lnTo>
                      <a:lnTo>
                        <a:pt x="1160" y="327"/>
                      </a:lnTo>
                      <a:lnTo>
                        <a:pt x="1159" y="327"/>
                      </a:lnTo>
                      <a:lnTo>
                        <a:pt x="1159" y="328"/>
                      </a:lnTo>
                      <a:lnTo>
                        <a:pt x="1160" y="328"/>
                      </a:lnTo>
                      <a:lnTo>
                        <a:pt x="1162" y="328"/>
                      </a:lnTo>
                      <a:lnTo>
                        <a:pt x="1162" y="327"/>
                      </a:lnTo>
                      <a:lnTo>
                        <a:pt x="1162" y="328"/>
                      </a:lnTo>
                      <a:lnTo>
                        <a:pt x="1164" y="328"/>
                      </a:lnTo>
                      <a:lnTo>
                        <a:pt x="1164" y="327"/>
                      </a:lnTo>
                      <a:lnTo>
                        <a:pt x="1165" y="327"/>
                      </a:lnTo>
                      <a:lnTo>
                        <a:pt x="1167" y="327"/>
                      </a:lnTo>
                      <a:lnTo>
                        <a:pt x="1167" y="328"/>
                      </a:lnTo>
                      <a:lnTo>
                        <a:pt x="1169" y="328"/>
                      </a:lnTo>
                      <a:lnTo>
                        <a:pt x="1169" y="327"/>
                      </a:lnTo>
                      <a:lnTo>
                        <a:pt x="1170" y="327"/>
                      </a:lnTo>
                      <a:lnTo>
                        <a:pt x="1170" y="325"/>
                      </a:lnTo>
                      <a:lnTo>
                        <a:pt x="1170" y="324"/>
                      </a:lnTo>
                      <a:lnTo>
                        <a:pt x="1170" y="322"/>
                      </a:lnTo>
                      <a:lnTo>
                        <a:pt x="1172" y="324"/>
                      </a:lnTo>
                      <a:lnTo>
                        <a:pt x="1172" y="325"/>
                      </a:lnTo>
                      <a:lnTo>
                        <a:pt x="1172" y="327"/>
                      </a:lnTo>
                      <a:lnTo>
                        <a:pt x="1172" y="328"/>
                      </a:lnTo>
                      <a:lnTo>
                        <a:pt x="1174" y="327"/>
                      </a:lnTo>
                      <a:lnTo>
                        <a:pt x="1172" y="327"/>
                      </a:lnTo>
                      <a:lnTo>
                        <a:pt x="1174" y="327"/>
                      </a:lnTo>
                      <a:lnTo>
                        <a:pt x="1174" y="325"/>
                      </a:lnTo>
                      <a:lnTo>
                        <a:pt x="1174" y="324"/>
                      </a:lnTo>
                      <a:lnTo>
                        <a:pt x="1174" y="322"/>
                      </a:lnTo>
                      <a:lnTo>
                        <a:pt x="1176" y="322"/>
                      </a:lnTo>
                      <a:lnTo>
                        <a:pt x="1176" y="320"/>
                      </a:lnTo>
                      <a:lnTo>
                        <a:pt x="1177" y="320"/>
                      </a:lnTo>
                      <a:lnTo>
                        <a:pt x="1179" y="320"/>
                      </a:lnTo>
                      <a:lnTo>
                        <a:pt x="1179" y="322"/>
                      </a:lnTo>
                      <a:lnTo>
                        <a:pt x="1179" y="320"/>
                      </a:lnTo>
                      <a:lnTo>
                        <a:pt x="1181" y="320"/>
                      </a:lnTo>
                      <a:lnTo>
                        <a:pt x="1181" y="319"/>
                      </a:lnTo>
                      <a:lnTo>
                        <a:pt x="1182" y="319"/>
                      </a:lnTo>
                      <a:lnTo>
                        <a:pt x="1181" y="319"/>
                      </a:lnTo>
                      <a:lnTo>
                        <a:pt x="1182" y="319"/>
                      </a:lnTo>
                      <a:lnTo>
                        <a:pt x="1184" y="319"/>
                      </a:lnTo>
                      <a:lnTo>
                        <a:pt x="1184" y="320"/>
                      </a:lnTo>
                      <a:lnTo>
                        <a:pt x="1184" y="322"/>
                      </a:lnTo>
                      <a:lnTo>
                        <a:pt x="1182" y="322"/>
                      </a:lnTo>
                      <a:lnTo>
                        <a:pt x="1181" y="322"/>
                      </a:lnTo>
                      <a:lnTo>
                        <a:pt x="1179" y="324"/>
                      </a:lnTo>
                      <a:lnTo>
                        <a:pt x="1177" y="324"/>
                      </a:lnTo>
                      <a:lnTo>
                        <a:pt x="1177" y="325"/>
                      </a:lnTo>
                      <a:lnTo>
                        <a:pt x="1179" y="325"/>
                      </a:lnTo>
                      <a:lnTo>
                        <a:pt x="1179" y="327"/>
                      </a:lnTo>
                      <a:lnTo>
                        <a:pt x="1177" y="327"/>
                      </a:lnTo>
                      <a:lnTo>
                        <a:pt x="1179" y="327"/>
                      </a:lnTo>
                      <a:lnTo>
                        <a:pt x="1177" y="327"/>
                      </a:lnTo>
                      <a:lnTo>
                        <a:pt x="1177" y="328"/>
                      </a:lnTo>
                      <a:lnTo>
                        <a:pt x="1177" y="327"/>
                      </a:lnTo>
                      <a:lnTo>
                        <a:pt x="1177" y="328"/>
                      </a:lnTo>
                      <a:lnTo>
                        <a:pt x="1176" y="328"/>
                      </a:lnTo>
                      <a:lnTo>
                        <a:pt x="1177" y="328"/>
                      </a:lnTo>
                      <a:lnTo>
                        <a:pt x="1179" y="328"/>
                      </a:lnTo>
                      <a:lnTo>
                        <a:pt x="1179" y="330"/>
                      </a:lnTo>
                      <a:lnTo>
                        <a:pt x="1179" y="332"/>
                      </a:lnTo>
                      <a:lnTo>
                        <a:pt x="1177" y="332"/>
                      </a:lnTo>
                      <a:lnTo>
                        <a:pt x="1179" y="332"/>
                      </a:lnTo>
                      <a:lnTo>
                        <a:pt x="1177" y="333"/>
                      </a:lnTo>
                      <a:lnTo>
                        <a:pt x="1179" y="333"/>
                      </a:lnTo>
                      <a:lnTo>
                        <a:pt x="1179" y="335"/>
                      </a:lnTo>
                      <a:lnTo>
                        <a:pt x="1177" y="335"/>
                      </a:lnTo>
                      <a:lnTo>
                        <a:pt x="1179" y="335"/>
                      </a:lnTo>
                      <a:lnTo>
                        <a:pt x="1179" y="337"/>
                      </a:lnTo>
                      <a:lnTo>
                        <a:pt x="1179" y="335"/>
                      </a:lnTo>
                      <a:lnTo>
                        <a:pt x="1179" y="333"/>
                      </a:lnTo>
                      <a:lnTo>
                        <a:pt x="1181" y="333"/>
                      </a:lnTo>
                      <a:lnTo>
                        <a:pt x="1179" y="333"/>
                      </a:lnTo>
                      <a:lnTo>
                        <a:pt x="1181" y="333"/>
                      </a:lnTo>
                      <a:lnTo>
                        <a:pt x="1182" y="333"/>
                      </a:lnTo>
                      <a:lnTo>
                        <a:pt x="1182" y="332"/>
                      </a:lnTo>
                      <a:lnTo>
                        <a:pt x="1184" y="333"/>
                      </a:lnTo>
                      <a:lnTo>
                        <a:pt x="1184" y="335"/>
                      </a:lnTo>
                      <a:lnTo>
                        <a:pt x="1182" y="337"/>
                      </a:lnTo>
                      <a:lnTo>
                        <a:pt x="1184" y="337"/>
                      </a:lnTo>
                      <a:lnTo>
                        <a:pt x="1182" y="337"/>
                      </a:lnTo>
                      <a:lnTo>
                        <a:pt x="1184" y="337"/>
                      </a:lnTo>
                      <a:lnTo>
                        <a:pt x="1184" y="335"/>
                      </a:lnTo>
                      <a:lnTo>
                        <a:pt x="1186" y="335"/>
                      </a:lnTo>
                      <a:lnTo>
                        <a:pt x="1184" y="335"/>
                      </a:lnTo>
                      <a:lnTo>
                        <a:pt x="1186" y="333"/>
                      </a:lnTo>
                      <a:lnTo>
                        <a:pt x="1184" y="333"/>
                      </a:lnTo>
                      <a:lnTo>
                        <a:pt x="1184" y="332"/>
                      </a:lnTo>
                      <a:lnTo>
                        <a:pt x="1184" y="330"/>
                      </a:lnTo>
                      <a:lnTo>
                        <a:pt x="1186" y="330"/>
                      </a:lnTo>
                      <a:lnTo>
                        <a:pt x="1186" y="333"/>
                      </a:lnTo>
                      <a:lnTo>
                        <a:pt x="1187" y="333"/>
                      </a:lnTo>
                      <a:lnTo>
                        <a:pt x="1187" y="335"/>
                      </a:lnTo>
                      <a:lnTo>
                        <a:pt x="1187" y="337"/>
                      </a:lnTo>
                      <a:lnTo>
                        <a:pt x="1187" y="335"/>
                      </a:lnTo>
                      <a:lnTo>
                        <a:pt x="1187" y="333"/>
                      </a:lnTo>
                      <a:lnTo>
                        <a:pt x="1189" y="333"/>
                      </a:lnTo>
                      <a:lnTo>
                        <a:pt x="1189" y="332"/>
                      </a:lnTo>
                      <a:lnTo>
                        <a:pt x="1189" y="330"/>
                      </a:lnTo>
                      <a:lnTo>
                        <a:pt x="1191" y="330"/>
                      </a:lnTo>
                      <a:lnTo>
                        <a:pt x="1191" y="332"/>
                      </a:lnTo>
                      <a:lnTo>
                        <a:pt x="1191" y="333"/>
                      </a:lnTo>
                      <a:lnTo>
                        <a:pt x="1192" y="335"/>
                      </a:lnTo>
                      <a:lnTo>
                        <a:pt x="1191" y="335"/>
                      </a:lnTo>
                      <a:lnTo>
                        <a:pt x="1191" y="337"/>
                      </a:lnTo>
                      <a:lnTo>
                        <a:pt x="1191" y="338"/>
                      </a:lnTo>
                      <a:lnTo>
                        <a:pt x="1192" y="338"/>
                      </a:lnTo>
                      <a:lnTo>
                        <a:pt x="1194" y="338"/>
                      </a:lnTo>
                      <a:lnTo>
                        <a:pt x="1192" y="337"/>
                      </a:lnTo>
                      <a:lnTo>
                        <a:pt x="1192" y="338"/>
                      </a:lnTo>
                      <a:lnTo>
                        <a:pt x="1192" y="337"/>
                      </a:lnTo>
                      <a:lnTo>
                        <a:pt x="1192" y="335"/>
                      </a:lnTo>
                      <a:lnTo>
                        <a:pt x="1192" y="333"/>
                      </a:lnTo>
                      <a:lnTo>
                        <a:pt x="1194" y="332"/>
                      </a:lnTo>
                      <a:lnTo>
                        <a:pt x="1194" y="333"/>
                      </a:lnTo>
                      <a:lnTo>
                        <a:pt x="1196" y="333"/>
                      </a:lnTo>
                      <a:lnTo>
                        <a:pt x="1196" y="335"/>
                      </a:lnTo>
                      <a:lnTo>
                        <a:pt x="1194" y="337"/>
                      </a:lnTo>
                      <a:lnTo>
                        <a:pt x="1196" y="337"/>
                      </a:lnTo>
                      <a:lnTo>
                        <a:pt x="1196" y="335"/>
                      </a:lnTo>
                      <a:lnTo>
                        <a:pt x="1196" y="333"/>
                      </a:lnTo>
                      <a:lnTo>
                        <a:pt x="1194" y="332"/>
                      </a:lnTo>
                      <a:lnTo>
                        <a:pt x="1196" y="330"/>
                      </a:lnTo>
                      <a:lnTo>
                        <a:pt x="1196" y="332"/>
                      </a:lnTo>
                      <a:lnTo>
                        <a:pt x="1196" y="330"/>
                      </a:lnTo>
                      <a:lnTo>
                        <a:pt x="1198" y="330"/>
                      </a:lnTo>
                      <a:lnTo>
                        <a:pt x="1196" y="330"/>
                      </a:lnTo>
                      <a:lnTo>
                        <a:pt x="1196" y="328"/>
                      </a:lnTo>
                      <a:lnTo>
                        <a:pt x="1198" y="328"/>
                      </a:lnTo>
                      <a:lnTo>
                        <a:pt x="1198" y="327"/>
                      </a:lnTo>
                      <a:lnTo>
                        <a:pt x="1198" y="325"/>
                      </a:lnTo>
                      <a:lnTo>
                        <a:pt x="1199" y="327"/>
                      </a:lnTo>
                      <a:lnTo>
                        <a:pt x="1199" y="325"/>
                      </a:lnTo>
                      <a:lnTo>
                        <a:pt x="1199" y="327"/>
                      </a:lnTo>
                      <a:lnTo>
                        <a:pt x="1199" y="325"/>
                      </a:lnTo>
                      <a:lnTo>
                        <a:pt x="1201" y="325"/>
                      </a:lnTo>
                      <a:lnTo>
                        <a:pt x="1199" y="325"/>
                      </a:lnTo>
                      <a:lnTo>
                        <a:pt x="1198" y="325"/>
                      </a:lnTo>
                      <a:lnTo>
                        <a:pt x="1199" y="324"/>
                      </a:lnTo>
                      <a:lnTo>
                        <a:pt x="1201" y="324"/>
                      </a:lnTo>
                      <a:lnTo>
                        <a:pt x="1201" y="322"/>
                      </a:lnTo>
                      <a:lnTo>
                        <a:pt x="1203" y="322"/>
                      </a:lnTo>
                      <a:lnTo>
                        <a:pt x="1203" y="320"/>
                      </a:lnTo>
                      <a:lnTo>
                        <a:pt x="1204" y="320"/>
                      </a:lnTo>
                      <a:lnTo>
                        <a:pt x="1206" y="322"/>
                      </a:lnTo>
                      <a:lnTo>
                        <a:pt x="1206" y="324"/>
                      </a:lnTo>
                      <a:lnTo>
                        <a:pt x="1206" y="325"/>
                      </a:lnTo>
                      <a:lnTo>
                        <a:pt x="1204" y="325"/>
                      </a:lnTo>
                      <a:lnTo>
                        <a:pt x="1203" y="327"/>
                      </a:lnTo>
                      <a:lnTo>
                        <a:pt x="1204" y="327"/>
                      </a:lnTo>
                      <a:lnTo>
                        <a:pt x="1204" y="328"/>
                      </a:lnTo>
                      <a:lnTo>
                        <a:pt x="1203" y="328"/>
                      </a:lnTo>
                      <a:lnTo>
                        <a:pt x="1201" y="328"/>
                      </a:lnTo>
                      <a:lnTo>
                        <a:pt x="1203" y="328"/>
                      </a:lnTo>
                      <a:lnTo>
                        <a:pt x="1203" y="330"/>
                      </a:lnTo>
                      <a:lnTo>
                        <a:pt x="1201" y="330"/>
                      </a:lnTo>
                      <a:lnTo>
                        <a:pt x="1199" y="330"/>
                      </a:lnTo>
                      <a:lnTo>
                        <a:pt x="1199" y="332"/>
                      </a:lnTo>
                      <a:lnTo>
                        <a:pt x="1201" y="330"/>
                      </a:lnTo>
                      <a:lnTo>
                        <a:pt x="1203" y="330"/>
                      </a:lnTo>
                      <a:lnTo>
                        <a:pt x="1203" y="332"/>
                      </a:lnTo>
                      <a:lnTo>
                        <a:pt x="1203" y="333"/>
                      </a:lnTo>
                      <a:lnTo>
                        <a:pt x="1204" y="333"/>
                      </a:lnTo>
                      <a:lnTo>
                        <a:pt x="1204" y="335"/>
                      </a:lnTo>
                      <a:lnTo>
                        <a:pt x="1204" y="337"/>
                      </a:lnTo>
                      <a:lnTo>
                        <a:pt x="1203" y="337"/>
                      </a:lnTo>
                      <a:lnTo>
                        <a:pt x="1203" y="338"/>
                      </a:lnTo>
                      <a:lnTo>
                        <a:pt x="1201" y="338"/>
                      </a:lnTo>
                      <a:lnTo>
                        <a:pt x="1199" y="342"/>
                      </a:lnTo>
                      <a:lnTo>
                        <a:pt x="1199" y="343"/>
                      </a:lnTo>
                      <a:lnTo>
                        <a:pt x="1198" y="345"/>
                      </a:lnTo>
                      <a:lnTo>
                        <a:pt x="1198" y="347"/>
                      </a:lnTo>
                      <a:lnTo>
                        <a:pt x="1199" y="345"/>
                      </a:lnTo>
                      <a:lnTo>
                        <a:pt x="1199" y="343"/>
                      </a:lnTo>
                      <a:lnTo>
                        <a:pt x="1201" y="343"/>
                      </a:lnTo>
                      <a:lnTo>
                        <a:pt x="1201" y="342"/>
                      </a:lnTo>
                      <a:lnTo>
                        <a:pt x="1201" y="340"/>
                      </a:lnTo>
                      <a:lnTo>
                        <a:pt x="1203" y="340"/>
                      </a:lnTo>
                      <a:lnTo>
                        <a:pt x="1204" y="338"/>
                      </a:lnTo>
                      <a:lnTo>
                        <a:pt x="1204" y="337"/>
                      </a:lnTo>
                      <a:lnTo>
                        <a:pt x="1206" y="337"/>
                      </a:lnTo>
                      <a:lnTo>
                        <a:pt x="1206" y="335"/>
                      </a:lnTo>
                      <a:lnTo>
                        <a:pt x="1206" y="333"/>
                      </a:lnTo>
                      <a:lnTo>
                        <a:pt x="1206" y="332"/>
                      </a:lnTo>
                      <a:lnTo>
                        <a:pt x="1208" y="330"/>
                      </a:lnTo>
                      <a:lnTo>
                        <a:pt x="1209" y="332"/>
                      </a:lnTo>
                      <a:lnTo>
                        <a:pt x="1208" y="332"/>
                      </a:lnTo>
                      <a:lnTo>
                        <a:pt x="1208" y="333"/>
                      </a:lnTo>
                      <a:lnTo>
                        <a:pt x="1209" y="333"/>
                      </a:lnTo>
                      <a:lnTo>
                        <a:pt x="1208" y="335"/>
                      </a:lnTo>
                      <a:lnTo>
                        <a:pt x="1209" y="335"/>
                      </a:lnTo>
                      <a:lnTo>
                        <a:pt x="1208" y="337"/>
                      </a:lnTo>
                      <a:lnTo>
                        <a:pt x="1208" y="338"/>
                      </a:lnTo>
                      <a:lnTo>
                        <a:pt x="1206" y="340"/>
                      </a:lnTo>
                      <a:lnTo>
                        <a:pt x="1206" y="342"/>
                      </a:lnTo>
                      <a:lnTo>
                        <a:pt x="1204" y="343"/>
                      </a:lnTo>
                      <a:lnTo>
                        <a:pt x="1206" y="343"/>
                      </a:lnTo>
                      <a:lnTo>
                        <a:pt x="1208" y="345"/>
                      </a:lnTo>
                      <a:lnTo>
                        <a:pt x="1206" y="343"/>
                      </a:lnTo>
                      <a:lnTo>
                        <a:pt x="1206" y="342"/>
                      </a:lnTo>
                      <a:lnTo>
                        <a:pt x="1208" y="342"/>
                      </a:lnTo>
                      <a:lnTo>
                        <a:pt x="1208" y="340"/>
                      </a:lnTo>
                      <a:lnTo>
                        <a:pt x="1208" y="338"/>
                      </a:lnTo>
                      <a:lnTo>
                        <a:pt x="1209" y="340"/>
                      </a:lnTo>
                      <a:lnTo>
                        <a:pt x="1209" y="343"/>
                      </a:lnTo>
                      <a:lnTo>
                        <a:pt x="1209" y="342"/>
                      </a:lnTo>
                      <a:lnTo>
                        <a:pt x="1211" y="343"/>
                      </a:lnTo>
                      <a:lnTo>
                        <a:pt x="1209" y="342"/>
                      </a:lnTo>
                      <a:lnTo>
                        <a:pt x="1209" y="340"/>
                      </a:lnTo>
                      <a:lnTo>
                        <a:pt x="1209" y="338"/>
                      </a:lnTo>
                      <a:lnTo>
                        <a:pt x="1209" y="337"/>
                      </a:lnTo>
                      <a:lnTo>
                        <a:pt x="1211" y="337"/>
                      </a:lnTo>
                      <a:lnTo>
                        <a:pt x="1214" y="335"/>
                      </a:lnTo>
                      <a:lnTo>
                        <a:pt x="1214" y="333"/>
                      </a:lnTo>
                      <a:lnTo>
                        <a:pt x="1216" y="333"/>
                      </a:lnTo>
                      <a:lnTo>
                        <a:pt x="1216" y="335"/>
                      </a:lnTo>
                      <a:lnTo>
                        <a:pt x="1214" y="335"/>
                      </a:lnTo>
                      <a:lnTo>
                        <a:pt x="1214" y="337"/>
                      </a:lnTo>
                      <a:lnTo>
                        <a:pt x="1214" y="338"/>
                      </a:lnTo>
                      <a:lnTo>
                        <a:pt x="1214" y="340"/>
                      </a:lnTo>
                      <a:lnTo>
                        <a:pt x="1216" y="340"/>
                      </a:lnTo>
                      <a:lnTo>
                        <a:pt x="1216" y="342"/>
                      </a:lnTo>
                      <a:lnTo>
                        <a:pt x="1214" y="345"/>
                      </a:lnTo>
                      <a:lnTo>
                        <a:pt x="1214" y="347"/>
                      </a:lnTo>
                      <a:lnTo>
                        <a:pt x="1214" y="348"/>
                      </a:lnTo>
                      <a:lnTo>
                        <a:pt x="1213" y="348"/>
                      </a:lnTo>
                      <a:lnTo>
                        <a:pt x="1213" y="350"/>
                      </a:lnTo>
                      <a:lnTo>
                        <a:pt x="1211" y="350"/>
                      </a:lnTo>
                      <a:lnTo>
                        <a:pt x="1209" y="351"/>
                      </a:lnTo>
                      <a:lnTo>
                        <a:pt x="1209" y="353"/>
                      </a:lnTo>
                      <a:lnTo>
                        <a:pt x="1211" y="353"/>
                      </a:lnTo>
                      <a:lnTo>
                        <a:pt x="1209" y="355"/>
                      </a:lnTo>
                      <a:lnTo>
                        <a:pt x="1209" y="356"/>
                      </a:lnTo>
                      <a:lnTo>
                        <a:pt x="1209" y="358"/>
                      </a:lnTo>
                      <a:lnTo>
                        <a:pt x="1211" y="358"/>
                      </a:lnTo>
                      <a:lnTo>
                        <a:pt x="1211" y="360"/>
                      </a:lnTo>
                      <a:lnTo>
                        <a:pt x="1211" y="361"/>
                      </a:lnTo>
                      <a:lnTo>
                        <a:pt x="1213" y="361"/>
                      </a:lnTo>
                      <a:lnTo>
                        <a:pt x="1214" y="361"/>
                      </a:lnTo>
                      <a:lnTo>
                        <a:pt x="1213" y="363"/>
                      </a:lnTo>
                      <a:lnTo>
                        <a:pt x="1213" y="365"/>
                      </a:lnTo>
                      <a:lnTo>
                        <a:pt x="1211" y="365"/>
                      </a:lnTo>
                      <a:lnTo>
                        <a:pt x="1211" y="366"/>
                      </a:lnTo>
                      <a:lnTo>
                        <a:pt x="1211" y="368"/>
                      </a:lnTo>
                      <a:lnTo>
                        <a:pt x="1209" y="370"/>
                      </a:lnTo>
                      <a:lnTo>
                        <a:pt x="1211" y="371"/>
                      </a:lnTo>
                      <a:lnTo>
                        <a:pt x="1209" y="371"/>
                      </a:lnTo>
                      <a:lnTo>
                        <a:pt x="1209" y="373"/>
                      </a:lnTo>
                      <a:lnTo>
                        <a:pt x="1208" y="374"/>
                      </a:lnTo>
                      <a:lnTo>
                        <a:pt x="1208" y="376"/>
                      </a:lnTo>
                      <a:lnTo>
                        <a:pt x="1209" y="376"/>
                      </a:lnTo>
                      <a:lnTo>
                        <a:pt x="1209" y="378"/>
                      </a:lnTo>
                      <a:lnTo>
                        <a:pt x="1211" y="379"/>
                      </a:lnTo>
                      <a:lnTo>
                        <a:pt x="1211" y="381"/>
                      </a:lnTo>
                      <a:lnTo>
                        <a:pt x="1211" y="383"/>
                      </a:lnTo>
                      <a:lnTo>
                        <a:pt x="1211" y="384"/>
                      </a:lnTo>
                      <a:lnTo>
                        <a:pt x="1209" y="384"/>
                      </a:lnTo>
                      <a:lnTo>
                        <a:pt x="1209" y="386"/>
                      </a:lnTo>
                      <a:lnTo>
                        <a:pt x="1209" y="388"/>
                      </a:lnTo>
                      <a:lnTo>
                        <a:pt x="1208" y="388"/>
                      </a:lnTo>
                      <a:lnTo>
                        <a:pt x="1208" y="389"/>
                      </a:lnTo>
                      <a:lnTo>
                        <a:pt x="1209" y="391"/>
                      </a:lnTo>
                      <a:lnTo>
                        <a:pt x="1209" y="392"/>
                      </a:lnTo>
                      <a:lnTo>
                        <a:pt x="1208" y="394"/>
                      </a:lnTo>
                      <a:lnTo>
                        <a:pt x="1208" y="396"/>
                      </a:lnTo>
                      <a:lnTo>
                        <a:pt x="1206" y="396"/>
                      </a:lnTo>
                      <a:lnTo>
                        <a:pt x="1204" y="396"/>
                      </a:lnTo>
                      <a:lnTo>
                        <a:pt x="1204" y="397"/>
                      </a:lnTo>
                      <a:lnTo>
                        <a:pt x="1203" y="397"/>
                      </a:lnTo>
                      <a:lnTo>
                        <a:pt x="1201" y="397"/>
                      </a:lnTo>
                      <a:lnTo>
                        <a:pt x="1199" y="397"/>
                      </a:lnTo>
                      <a:lnTo>
                        <a:pt x="1196" y="397"/>
                      </a:lnTo>
                      <a:lnTo>
                        <a:pt x="1194" y="397"/>
                      </a:lnTo>
                      <a:lnTo>
                        <a:pt x="1194" y="399"/>
                      </a:lnTo>
                      <a:lnTo>
                        <a:pt x="1192" y="401"/>
                      </a:lnTo>
                      <a:lnTo>
                        <a:pt x="1192" y="402"/>
                      </a:lnTo>
                      <a:lnTo>
                        <a:pt x="1194" y="404"/>
                      </a:lnTo>
                      <a:lnTo>
                        <a:pt x="1194" y="406"/>
                      </a:lnTo>
                      <a:lnTo>
                        <a:pt x="1196" y="404"/>
                      </a:lnTo>
                      <a:lnTo>
                        <a:pt x="1198" y="404"/>
                      </a:lnTo>
                      <a:lnTo>
                        <a:pt x="1199" y="404"/>
                      </a:lnTo>
                      <a:lnTo>
                        <a:pt x="1201" y="404"/>
                      </a:lnTo>
                      <a:lnTo>
                        <a:pt x="1203" y="406"/>
                      </a:lnTo>
                      <a:lnTo>
                        <a:pt x="1204" y="407"/>
                      </a:lnTo>
                      <a:lnTo>
                        <a:pt x="1204" y="409"/>
                      </a:lnTo>
                      <a:lnTo>
                        <a:pt x="1203" y="409"/>
                      </a:lnTo>
                      <a:lnTo>
                        <a:pt x="1201" y="412"/>
                      </a:lnTo>
                      <a:lnTo>
                        <a:pt x="1203" y="412"/>
                      </a:lnTo>
                      <a:lnTo>
                        <a:pt x="1203" y="414"/>
                      </a:lnTo>
                      <a:lnTo>
                        <a:pt x="1203" y="415"/>
                      </a:lnTo>
                      <a:lnTo>
                        <a:pt x="1203" y="419"/>
                      </a:lnTo>
                      <a:lnTo>
                        <a:pt x="1201" y="419"/>
                      </a:lnTo>
                      <a:lnTo>
                        <a:pt x="1201" y="420"/>
                      </a:lnTo>
                      <a:lnTo>
                        <a:pt x="1199" y="424"/>
                      </a:lnTo>
                      <a:lnTo>
                        <a:pt x="1199" y="425"/>
                      </a:lnTo>
                      <a:lnTo>
                        <a:pt x="1199" y="427"/>
                      </a:lnTo>
                      <a:lnTo>
                        <a:pt x="1199" y="429"/>
                      </a:lnTo>
                      <a:lnTo>
                        <a:pt x="1198" y="429"/>
                      </a:lnTo>
                      <a:lnTo>
                        <a:pt x="1198" y="430"/>
                      </a:lnTo>
                      <a:lnTo>
                        <a:pt x="1198" y="432"/>
                      </a:lnTo>
                      <a:lnTo>
                        <a:pt x="1198" y="434"/>
                      </a:lnTo>
                      <a:lnTo>
                        <a:pt x="1198" y="435"/>
                      </a:lnTo>
                      <a:lnTo>
                        <a:pt x="1196" y="435"/>
                      </a:lnTo>
                      <a:lnTo>
                        <a:pt x="1196" y="437"/>
                      </a:lnTo>
                      <a:lnTo>
                        <a:pt x="1198" y="437"/>
                      </a:lnTo>
                      <a:lnTo>
                        <a:pt x="1196" y="438"/>
                      </a:lnTo>
                      <a:lnTo>
                        <a:pt x="1194" y="438"/>
                      </a:lnTo>
                      <a:lnTo>
                        <a:pt x="1194" y="440"/>
                      </a:lnTo>
                      <a:lnTo>
                        <a:pt x="1192" y="440"/>
                      </a:lnTo>
                      <a:lnTo>
                        <a:pt x="1191" y="443"/>
                      </a:lnTo>
                      <a:lnTo>
                        <a:pt x="1191" y="445"/>
                      </a:lnTo>
                      <a:lnTo>
                        <a:pt x="1189" y="445"/>
                      </a:lnTo>
                      <a:lnTo>
                        <a:pt x="1187" y="447"/>
                      </a:lnTo>
                      <a:lnTo>
                        <a:pt x="1186" y="447"/>
                      </a:lnTo>
                      <a:lnTo>
                        <a:pt x="1186" y="445"/>
                      </a:lnTo>
                      <a:lnTo>
                        <a:pt x="1184" y="445"/>
                      </a:lnTo>
                      <a:lnTo>
                        <a:pt x="1182" y="445"/>
                      </a:lnTo>
                      <a:lnTo>
                        <a:pt x="1182" y="447"/>
                      </a:lnTo>
                      <a:lnTo>
                        <a:pt x="1184" y="447"/>
                      </a:lnTo>
                      <a:lnTo>
                        <a:pt x="1184" y="448"/>
                      </a:lnTo>
                      <a:lnTo>
                        <a:pt x="1184" y="450"/>
                      </a:lnTo>
                      <a:lnTo>
                        <a:pt x="1182" y="450"/>
                      </a:lnTo>
                      <a:lnTo>
                        <a:pt x="1182" y="452"/>
                      </a:lnTo>
                      <a:lnTo>
                        <a:pt x="1182" y="453"/>
                      </a:lnTo>
                      <a:lnTo>
                        <a:pt x="1182" y="455"/>
                      </a:lnTo>
                      <a:lnTo>
                        <a:pt x="1181" y="455"/>
                      </a:lnTo>
                      <a:lnTo>
                        <a:pt x="1179" y="457"/>
                      </a:lnTo>
                      <a:lnTo>
                        <a:pt x="1179" y="458"/>
                      </a:lnTo>
                      <a:lnTo>
                        <a:pt x="1181" y="458"/>
                      </a:lnTo>
                      <a:lnTo>
                        <a:pt x="1182" y="458"/>
                      </a:lnTo>
                      <a:lnTo>
                        <a:pt x="1182" y="457"/>
                      </a:lnTo>
                      <a:lnTo>
                        <a:pt x="1184" y="457"/>
                      </a:lnTo>
                      <a:lnTo>
                        <a:pt x="1184" y="458"/>
                      </a:lnTo>
                      <a:lnTo>
                        <a:pt x="1182" y="460"/>
                      </a:lnTo>
                      <a:lnTo>
                        <a:pt x="1182" y="461"/>
                      </a:lnTo>
                      <a:lnTo>
                        <a:pt x="1182" y="463"/>
                      </a:lnTo>
                      <a:lnTo>
                        <a:pt x="1182" y="465"/>
                      </a:lnTo>
                      <a:lnTo>
                        <a:pt x="1182" y="466"/>
                      </a:lnTo>
                      <a:lnTo>
                        <a:pt x="1182" y="468"/>
                      </a:lnTo>
                      <a:lnTo>
                        <a:pt x="1182" y="470"/>
                      </a:lnTo>
                      <a:lnTo>
                        <a:pt x="1182" y="471"/>
                      </a:lnTo>
                      <a:lnTo>
                        <a:pt x="1184" y="471"/>
                      </a:lnTo>
                      <a:lnTo>
                        <a:pt x="1184" y="473"/>
                      </a:lnTo>
                      <a:lnTo>
                        <a:pt x="1182" y="473"/>
                      </a:lnTo>
                      <a:lnTo>
                        <a:pt x="1181" y="473"/>
                      </a:lnTo>
                      <a:lnTo>
                        <a:pt x="1179" y="473"/>
                      </a:lnTo>
                      <a:lnTo>
                        <a:pt x="1177" y="473"/>
                      </a:lnTo>
                      <a:lnTo>
                        <a:pt x="1176" y="473"/>
                      </a:lnTo>
                      <a:lnTo>
                        <a:pt x="1176" y="475"/>
                      </a:lnTo>
                      <a:lnTo>
                        <a:pt x="1177" y="475"/>
                      </a:lnTo>
                      <a:lnTo>
                        <a:pt x="1177" y="476"/>
                      </a:lnTo>
                      <a:lnTo>
                        <a:pt x="1176" y="476"/>
                      </a:lnTo>
                      <a:lnTo>
                        <a:pt x="1176" y="478"/>
                      </a:lnTo>
                      <a:lnTo>
                        <a:pt x="1176" y="480"/>
                      </a:lnTo>
                      <a:lnTo>
                        <a:pt x="1174" y="481"/>
                      </a:lnTo>
                      <a:lnTo>
                        <a:pt x="1172" y="481"/>
                      </a:lnTo>
                      <a:lnTo>
                        <a:pt x="1170" y="481"/>
                      </a:lnTo>
                      <a:lnTo>
                        <a:pt x="1169" y="481"/>
                      </a:lnTo>
                      <a:lnTo>
                        <a:pt x="1169" y="483"/>
                      </a:lnTo>
                      <a:lnTo>
                        <a:pt x="1167" y="483"/>
                      </a:lnTo>
                      <a:lnTo>
                        <a:pt x="1167" y="484"/>
                      </a:lnTo>
                      <a:lnTo>
                        <a:pt x="1167" y="483"/>
                      </a:lnTo>
                      <a:lnTo>
                        <a:pt x="1165" y="483"/>
                      </a:lnTo>
                      <a:lnTo>
                        <a:pt x="1164" y="483"/>
                      </a:lnTo>
                      <a:lnTo>
                        <a:pt x="1165" y="483"/>
                      </a:lnTo>
                      <a:lnTo>
                        <a:pt x="1165" y="484"/>
                      </a:lnTo>
                      <a:lnTo>
                        <a:pt x="1164" y="484"/>
                      </a:lnTo>
                      <a:lnTo>
                        <a:pt x="1164" y="486"/>
                      </a:lnTo>
                      <a:lnTo>
                        <a:pt x="1162" y="486"/>
                      </a:lnTo>
                      <a:lnTo>
                        <a:pt x="1162" y="488"/>
                      </a:lnTo>
                      <a:lnTo>
                        <a:pt x="1160" y="488"/>
                      </a:lnTo>
                      <a:lnTo>
                        <a:pt x="1160" y="489"/>
                      </a:lnTo>
                      <a:lnTo>
                        <a:pt x="1160" y="491"/>
                      </a:lnTo>
                      <a:lnTo>
                        <a:pt x="1162" y="491"/>
                      </a:lnTo>
                      <a:lnTo>
                        <a:pt x="1160" y="491"/>
                      </a:lnTo>
                      <a:lnTo>
                        <a:pt x="1162" y="493"/>
                      </a:lnTo>
                      <a:lnTo>
                        <a:pt x="1164" y="493"/>
                      </a:lnTo>
                      <a:lnTo>
                        <a:pt x="1164" y="494"/>
                      </a:lnTo>
                      <a:lnTo>
                        <a:pt x="1164" y="496"/>
                      </a:lnTo>
                      <a:lnTo>
                        <a:pt x="1164" y="498"/>
                      </a:lnTo>
                      <a:lnTo>
                        <a:pt x="1165" y="498"/>
                      </a:lnTo>
                      <a:lnTo>
                        <a:pt x="1165" y="496"/>
                      </a:lnTo>
                      <a:lnTo>
                        <a:pt x="1167" y="496"/>
                      </a:lnTo>
                      <a:lnTo>
                        <a:pt x="1167" y="498"/>
                      </a:lnTo>
                      <a:lnTo>
                        <a:pt x="1167" y="499"/>
                      </a:lnTo>
                      <a:lnTo>
                        <a:pt x="1167" y="501"/>
                      </a:lnTo>
                      <a:lnTo>
                        <a:pt x="1167" y="499"/>
                      </a:lnTo>
                      <a:lnTo>
                        <a:pt x="1169" y="499"/>
                      </a:lnTo>
                      <a:lnTo>
                        <a:pt x="1169" y="501"/>
                      </a:lnTo>
                      <a:lnTo>
                        <a:pt x="1167" y="501"/>
                      </a:lnTo>
                      <a:lnTo>
                        <a:pt x="1165" y="501"/>
                      </a:lnTo>
                      <a:lnTo>
                        <a:pt x="1165" y="499"/>
                      </a:lnTo>
                      <a:lnTo>
                        <a:pt x="1165" y="501"/>
                      </a:lnTo>
                      <a:lnTo>
                        <a:pt x="1165" y="503"/>
                      </a:lnTo>
                      <a:lnTo>
                        <a:pt x="1164" y="503"/>
                      </a:lnTo>
                      <a:lnTo>
                        <a:pt x="1162" y="503"/>
                      </a:lnTo>
                      <a:lnTo>
                        <a:pt x="1164" y="503"/>
                      </a:lnTo>
                      <a:lnTo>
                        <a:pt x="1162" y="503"/>
                      </a:lnTo>
                      <a:lnTo>
                        <a:pt x="1162" y="504"/>
                      </a:lnTo>
                      <a:lnTo>
                        <a:pt x="1164" y="503"/>
                      </a:lnTo>
                      <a:lnTo>
                        <a:pt x="1164" y="504"/>
                      </a:lnTo>
                      <a:lnTo>
                        <a:pt x="1162" y="504"/>
                      </a:lnTo>
                      <a:lnTo>
                        <a:pt x="1160" y="504"/>
                      </a:lnTo>
                      <a:lnTo>
                        <a:pt x="1159" y="504"/>
                      </a:lnTo>
                      <a:lnTo>
                        <a:pt x="1159" y="506"/>
                      </a:lnTo>
                      <a:lnTo>
                        <a:pt x="1160" y="506"/>
                      </a:lnTo>
                      <a:lnTo>
                        <a:pt x="1160" y="507"/>
                      </a:lnTo>
                      <a:lnTo>
                        <a:pt x="1162" y="509"/>
                      </a:lnTo>
                      <a:lnTo>
                        <a:pt x="1160" y="509"/>
                      </a:lnTo>
                      <a:lnTo>
                        <a:pt x="1160" y="511"/>
                      </a:lnTo>
                      <a:lnTo>
                        <a:pt x="1162" y="511"/>
                      </a:lnTo>
                      <a:lnTo>
                        <a:pt x="1162" y="512"/>
                      </a:lnTo>
                      <a:lnTo>
                        <a:pt x="1160" y="512"/>
                      </a:lnTo>
                      <a:lnTo>
                        <a:pt x="1160" y="514"/>
                      </a:lnTo>
                      <a:lnTo>
                        <a:pt x="1162" y="514"/>
                      </a:lnTo>
                      <a:lnTo>
                        <a:pt x="1162" y="516"/>
                      </a:lnTo>
                      <a:lnTo>
                        <a:pt x="1160" y="516"/>
                      </a:lnTo>
                      <a:lnTo>
                        <a:pt x="1160" y="517"/>
                      </a:lnTo>
                      <a:lnTo>
                        <a:pt x="1160" y="519"/>
                      </a:lnTo>
                      <a:lnTo>
                        <a:pt x="1159" y="519"/>
                      </a:lnTo>
                      <a:lnTo>
                        <a:pt x="1159" y="521"/>
                      </a:lnTo>
                      <a:lnTo>
                        <a:pt x="1159" y="522"/>
                      </a:lnTo>
                      <a:lnTo>
                        <a:pt x="1159" y="524"/>
                      </a:lnTo>
                      <a:lnTo>
                        <a:pt x="1157" y="524"/>
                      </a:lnTo>
                      <a:lnTo>
                        <a:pt x="1157" y="526"/>
                      </a:lnTo>
                      <a:lnTo>
                        <a:pt x="1157" y="527"/>
                      </a:lnTo>
                      <a:lnTo>
                        <a:pt x="1155" y="527"/>
                      </a:lnTo>
                      <a:lnTo>
                        <a:pt x="1155" y="526"/>
                      </a:lnTo>
                      <a:lnTo>
                        <a:pt x="1154" y="527"/>
                      </a:lnTo>
                      <a:lnTo>
                        <a:pt x="1152" y="527"/>
                      </a:lnTo>
                      <a:lnTo>
                        <a:pt x="1154" y="527"/>
                      </a:lnTo>
                      <a:lnTo>
                        <a:pt x="1154" y="529"/>
                      </a:lnTo>
                      <a:lnTo>
                        <a:pt x="1155" y="529"/>
                      </a:lnTo>
                      <a:lnTo>
                        <a:pt x="1155" y="530"/>
                      </a:lnTo>
                      <a:lnTo>
                        <a:pt x="1154" y="530"/>
                      </a:lnTo>
                      <a:lnTo>
                        <a:pt x="1152" y="530"/>
                      </a:lnTo>
                      <a:lnTo>
                        <a:pt x="1152" y="532"/>
                      </a:lnTo>
                      <a:lnTo>
                        <a:pt x="1150" y="532"/>
                      </a:lnTo>
                      <a:lnTo>
                        <a:pt x="1152" y="532"/>
                      </a:lnTo>
                      <a:lnTo>
                        <a:pt x="1152" y="534"/>
                      </a:lnTo>
                      <a:lnTo>
                        <a:pt x="1150" y="534"/>
                      </a:lnTo>
                      <a:lnTo>
                        <a:pt x="1152" y="535"/>
                      </a:lnTo>
                      <a:lnTo>
                        <a:pt x="1150" y="535"/>
                      </a:lnTo>
                      <a:lnTo>
                        <a:pt x="1150" y="537"/>
                      </a:lnTo>
                      <a:lnTo>
                        <a:pt x="1149" y="537"/>
                      </a:lnTo>
                      <a:lnTo>
                        <a:pt x="1149" y="539"/>
                      </a:lnTo>
                      <a:lnTo>
                        <a:pt x="1149" y="537"/>
                      </a:lnTo>
                      <a:lnTo>
                        <a:pt x="1147" y="537"/>
                      </a:lnTo>
                      <a:lnTo>
                        <a:pt x="1147" y="539"/>
                      </a:lnTo>
                      <a:lnTo>
                        <a:pt x="1147" y="540"/>
                      </a:lnTo>
                      <a:lnTo>
                        <a:pt x="1145" y="540"/>
                      </a:lnTo>
                      <a:lnTo>
                        <a:pt x="1147" y="540"/>
                      </a:lnTo>
                      <a:lnTo>
                        <a:pt x="1147" y="542"/>
                      </a:lnTo>
                      <a:lnTo>
                        <a:pt x="1145" y="542"/>
                      </a:lnTo>
                      <a:lnTo>
                        <a:pt x="1145" y="544"/>
                      </a:lnTo>
                      <a:lnTo>
                        <a:pt x="1147" y="544"/>
                      </a:lnTo>
                      <a:lnTo>
                        <a:pt x="1145" y="544"/>
                      </a:lnTo>
                      <a:lnTo>
                        <a:pt x="1143" y="544"/>
                      </a:lnTo>
                      <a:lnTo>
                        <a:pt x="1143" y="545"/>
                      </a:lnTo>
                      <a:lnTo>
                        <a:pt x="1142" y="545"/>
                      </a:lnTo>
                      <a:lnTo>
                        <a:pt x="1142" y="547"/>
                      </a:lnTo>
                      <a:lnTo>
                        <a:pt x="1143" y="547"/>
                      </a:lnTo>
                      <a:lnTo>
                        <a:pt x="1142" y="547"/>
                      </a:lnTo>
                      <a:lnTo>
                        <a:pt x="1142" y="545"/>
                      </a:lnTo>
                      <a:lnTo>
                        <a:pt x="1140" y="545"/>
                      </a:lnTo>
                      <a:lnTo>
                        <a:pt x="1140" y="547"/>
                      </a:lnTo>
                      <a:lnTo>
                        <a:pt x="1142" y="547"/>
                      </a:lnTo>
                      <a:lnTo>
                        <a:pt x="1140" y="547"/>
                      </a:lnTo>
                      <a:lnTo>
                        <a:pt x="1138" y="547"/>
                      </a:lnTo>
                      <a:lnTo>
                        <a:pt x="1138" y="549"/>
                      </a:lnTo>
                      <a:lnTo>
                        <a:pt x="1137" y="550"/>
                      </a:lnTo>
                      <a:lnTo>
                        <a:pt x="1137" y="549"/>
                      </a:lnTo>
                      <a:lnTo>
                        <a:pt x="1137" y="550"/>
                      </a:lnTo>
                      <a:lnTo>
                        <a:pt x="1135" y="550"/>
                      </a:lnTo>
                      <a:lnTo>
                        <a:pt x="1133" y="550"/>
                      </a:lnTo>
                      <a:lnTo>
                        <a:pt x="1135" y="550"/>
                      </a:lnTo>
                      <a:lnTo>
                        <a:pt x="1135" y="552"/>
                      </a:lnTo>
                      <a:lnTo>
                        <a:pt x="1133" y="552"/>
                      </a:lnTo>
                      <a:lnTo>
                        <a:pt x="1133" y="553"/>
                      </a:lnTo>
                      <a:lnTo>
                        <a:pt x="1135" y="553"/>
                      </a:lnTo>
                      <a:lnTo>
                        <a:pt x="1133" y="555"/>
                      </a:lnTo>
                      <a:lnTo>
                        <a:pt x="1133" y="553"/>
                      </a:lnTo>
                      <a:lnTo>
                        <a:pt x="1133" y="555"/>
                      </a:lnTo>
                      <a:lnTo>
                        <a:pt x="1133" y="557"/>
                      </a:lnTo>
                      <a:lnTo>
                        <a:pt x="1135" y="557"/>
                      </a:lnTo>
                      <a:lnTo>
                        <a:pt x="1133" y="557"/>
                      </a:lnTo>
                      <a:lnTo>
                        <a:pt x="1133" y="558"/>
                      </a:lnTo>
                      <a:lnTo>
                        <a:pt x="1133" y="560"/>
                      </a:lnTo>
                      <a:lnTo>
                        <a:pt x="1132" y="560"/>
                      </a:lnTo>
                      <a:lnTo>
                        <a:pt x="1132" y="562"/>
                      </a:lnTo>
                      <a:lnTo>
                        <a:pt x="1130" y="562"/>
                      </a:lnTo>
                      <a:lnTo>
                        <a:pt x="1132" y="562"/>
                      </a:lnTo>
                      <a:lnTo>
                        <a:pt x="1132" y="563"/>
                      </a:lnTo>
                      <a:lnTo>
                        <a:pt x="1130" y="563"/>
                      </a:lnTo>
                      <a:lnTo>
                        <a:pt x="1132" y="563"/>
                      </a:lnTo>
                      <a:lnTo>
                        <a:pt x="1130" y="565"/>
                      </a:lnTo>
                      <a:lnTo>
                        <a:pt x="1128" y="565"/>
                      </a:lnTo>
                      <a:lnTo>
                        <a:pt x="1128" y="567"/>
                      </a:lnTo>
                      <a:lnTo>
                        <a:pt x="1127" y="567"/>
                      </a:lnTo>
                      <a:lnTo>
                        <a:pt x="1127" y="568"/>
                      </a:lnTo>
                      <a:lnTo>
                        <a:pt x="1127" y="567"/>
                      </a:lnTo>
                      <a:lnTo>
                        <a:pt x="1125" y="568"/>
                      </a:lnTo>
                      <a:lnTo>
                        <a:pt x="1127" y="568"/>
                      </a:lnTo>
                      <a:lnTo>
                        <a:pt x="1127" y="570"/>
                      </a:lnTo>
                      <a:lnTo>
                        <a:pt x="1125" y="570"/>
                      </a:lnTo>
                      <a:lnTo>
                        <a:pt x="1127" y="570"/>
                      </a:lnTo>
                      <a:lnTo>
                        <a:pt x="1127" y="572"/>
                      </a:lnTo>
                      <a:lnTo>
                        <a:pt x="1125" y="572"/>
                      </a:lnTo>
                      <a:lnTo>
                        <a:pt x="1125" y="573"/>
                      </a:lnTo>
                      <a:lnTo>
                        <a:pt x="1123" y="573"/>
                      </a:lnTo>
                      <a:lnTo>
                        <a:pt x="1125" y="575"/>
                      </a:lnTo>
                      <a:lnTo>
                        <a:pt x="1125" y="573"/>
                      </a:lnTo>
                      <a:lnTo>
                        <a:pt x="1125" y="575"/>
                      </a:lnTo>
                      <a:lnTo>
                        <a:pt x="1123" y="575"/>
                      </a:lnTo>
                      <a:lnTo>
                        <a:pt x="1123" y="576"/>
                      </a:lnTo>
                      <a:lnTo>
                        <a:pt x="1125" y="576"/>
                      </a:lnTo>
                      <a:lnTo>
                        <a:pt x="1123" y="576"/>
                      </a:lnTo>
                      <a:lnTo>
                        <a:pt x="1125" y="578"/>
                      </a:lnTo>
                      <a:lnTo>
                        <a:pt x="1125" y="576"/>
                      </a:lnTo>
                      <a:lnTo>
                        <a:pt x="1125" y="578"/>
                      </a:lnTo>
                      <a:lnTo>
                        <a:pt x="1123" y="578"/>
                      </a:lnTo>
                      <a:lnTo>
                        <a:pt x="1123" y="580"/>
                      </a:lnTo>
                      <a:lnTo>
                        <a:pt x="1125" y="580"/>
                      </a:lnTo>
                      <a:lnTo>
                        <a:pt x="1125" y="581"/>
                      </a:lnTo>
                      <a:lnTo>
                        <a:pt x="1123" y="581"/>
                      </a:lnTo>
                      <a:lnTo>
                        <a:pt x="1123" y="583"/>
                      </a:lnTo>
                      <a:lnTo>
                        <a:pt x="1123" y="585"/>
                      </a:lnTo>
                      <a:lnTo>
                        <a:pt x="1123" y="586"/>
                      </a:lnTo>
                      <a:lnTo>
                        <a:pt x="1123" y="588"/>
                      </a:lnTo>
                      <a:lnTo>
                        <a:pt x="1123" y="590"/>
                      </a:lnTo>
                      <a:lnTo>
                        <a:pt x="1122" y="590"/>
                      </a:lnTo>
                      <a:lnTo>
                        <a:pt x="1122" y="591"/>
                      </a:lnTo>
                      <a:lnTo>
                        <a:pt x="1120" y="591"/>
                      </a:lnTo>
                      <a:lnTo>
                        <a:pt x="1122" y="593"/>
                      </a:lnTo>
                      <a:lnTo>
                        <a:pt x="1120" y="594"/>
                      </a:lnTo>
                      <a:lnTo>
                        <a:pt x="1118" y="596"/>
                      </a:lnTo>
                      <a:lnTo>
                        <a:pt x="1116" y="596"/>
                      </a:lnTo>
                      <a:lnTo>
                        <a:pt x="1116" y="598"/>
                      </a:lnTo>
                      <a:lnTo>
                        <a:pt x="1115" y="599"/>
                      </a:lnTo>
                      <a:lnTo>
                        <a:pt x="1115" y="598"/>
                      </a:lnTo>
                      <a:lnTo>
                        <a:pt x="1113" y="599"/>
                      </a:lnTo>
                      <a:lnTo>
                        <a:pt x="1113" y="601"/>
                      </a:lnTo>
                      <a:lnTo>
                        <a:pt x="1113" y="603"/>
                      </a:lnTo>
                      <a:lnTo>
                        <a:pt x="1111" y="603"/>
                      </a:lnTo>
                      <a:lnTo>
                        <a:pt x="1111" y="604"/>
                      </a:lnTo>
                      <a:lnTo>
                        <a:pt x="1110" y="606"/>
                      </a:lnTo>
                      <a:lnTo>
                        <a:pt x="1110" y="604"/>
                      </a:lnTo>
                      <a:lnTo>
                        <a:pt x="1110" y="606"/>
                      </a:lnTo>
                      <a:lnTo>
                        <a:pt x="1108" y="606"/>
                      </a:lnTo>
                      <a:lnTo>
                        <a:pt x="1108" y="608"/>
                      </a:lnTo>
                      <a:lnTo>
                        <a:pt x="1106" y="608"/>
                      </a:lnTo>
                      <a:lnTo>
                        <a:pt x="1106" y="609"/>
                      </a:lnTo>
                      <a:lnTo>
                        <a:pt x="1105" y="609"/>
                      </a:lnTo>
                      <a:lnTo>
                        <a:pt x="1103" y="611"/>
                      </a:lnTo>
                      <a:lnTo>
                        <a:pt x="1101" y="611"/>
                      </a:lnTo>
                      <a:lnTo>
                        <a:pt x="1101" y="613"/>
                      </a:lnTo>
                      <a:lnTo>
                        <a:pt x="1101" y="611"/>
                      </a:lnTo>
                      <a:lnTo>
                        <a:pt x="1101" y="613"/>
                      </a:lnTo>
                      <a:lnTo>
                        <a:pt x="1100" y="613"/>
                      </a:lnTo>
                      <a:lnTo>
                        <a:pt x="1098" y="613"/>
                      </a:lnTo>
                      <a:lnTo>
                        <a:pt x="1098" y="614"/>
                      </a:lnTo>
                      <a:lnTo>
                        <a:pt x="1096" y="616"/>
                      </a:lnTo>
                      <a:lnTo>
                        <a:pt x="1098" y="616"/>
                      </a:lnTo>
                      <a:lnTo>
                        <a:pt x="1096" y="617"/>
                      </a:lnTo>
                      <a:lnTo>
                        <a:pt x="1096" y="619"/>
                      </a:lnTo>
                      <a:lnTo>
                        <a:pt x="1096" y="621"/>
                      </a:lnTo>
                      <a:lnTo>
                        <a:pt x="1096" y="622"/>
                      </a:lnTo>
                      <a:lnTo>
                        <a:pt x="1096" y="624"/>
                      </a:lnTo>
                      <a:lnTo>
                        <a:pt x="1094" y="624"/>
                      </a:lnTo>
                      <a:lnTo>
                        <a:pt x="1094" y="626"/>
                      </a:lnTo>
                      <a:lnTo>
                        <a:pt x="1094" y="627"/>
                      </a:lnTo>
                      <a:lnTo>
                        <a:pt x="1093" y="627"/>
                      </a:lnTo>
                      <a:lnTo>
                        <a:pt x="1093" y="629"/>
                      </a:lnTo>
                      <a:lnTo>
                        <a:pt x="1093" y="631"/>
                      </a:lnTo>
                      <a:lnTo>
                        <a:pt x="1091" y="631"/>
                      </a:lnTo>
                      <a:lnTo>
                        <a:pt x="1091" y="632"/>
                      </a:lnTo>
                      <a:lnTo>
                        <a:pt x="1089" y="632"/>
                      </a:lnTo>
                      <a:lnTo>
                        <a:pt x="1089" y="634"/>
                      </a:lnTo>
                      <a:lnTo>
                        <a:pt x="1088" y="634"/>
                      </a:lnTo>
                      <a:lnTo>
                        <a:pt x="1086" y="634"/>
                      </a:lnTo>
                      <a:lnTo>
                        <a:pt x="1086" y="636"/>
                      </a:lnTo>
                      <a:lnTo>
                        <a:pt x="1084" y="636"/>
                      </a:lnTo>
                      <a:lnTo>
                        <a:pt x="1084" y="637"/>
                      </a:lnTo>
                      <a:lnTo>
                        <a:pt x="1083" y="637"/>
                      </a:lnTo>
                      <a:lnTo>
                        <a:pt x="1083" y="639"/>
                      </a:lnTo>
                      <a:lnTo>
                        <a:pt x="1084" y="639"/>
                      </a:lnTo>
                      <a:lnTo>
                        <a:pt x="1083" y="640"/>
                      </a:lnTo>
                      <a:lnTo>
                        <a:pt x="1084" y="640"/>
                      </a:lnTo>
                      <a:lnTo>
                        <a:pt x="1083" y="640"/>
                      </a:lnTo>
                      <a:lnTo>
                        <a:pt x="1083" y="642"/>
                      </a:lnTo>
                      <a:lnTo>
                        <a:pt x="1081" y="644"/>
                      </a:lnTo>
                      <a:lnTo>
                        <a:pt x="1081" y="645"/>
                      </a:lnTo>
                      <a:lnTo>
                        <a:pt x="1079" y="647"/>
                      </a:lnTo>
                      <a:lnTo>
                        <a:pt x="1078" y="649"/>
                      </a:lnTo>
                      <a:lnTo>
                        <a:pt x="1076" y="650"/>
                      </a:lnTo>
                      <a:lnTo>
                        <a:pt x="1076" y="652"/>
                      </a:lnTo>
                      <a:lnTo>
                        <a:pt x="1074" y="652"/>
                      </a:lnTo>
                      <a:lnTo>
                        <a:pt x="1074" y="654"/>
                      </a:lnTo>
                      <a:lnTo>
                        <a:pt x="1074" y="655"/>
                      </a:lnTo>
                      <a:lnTo>
                        <a:pt x="1073" y="657"/>
                      </a:lnTo>
                      <a:lnTo>
                        <a:pt x="1071" y="659"/>
                      </a:lnTo>
                      <a:lnTo>
                        <a:pt x="1071" y="660"/>
                      </a:lnTo>
                      <a:lnTo>
                        <a:pt x="1069" y="660"/>
                      </a:lnTo>
                      <a:lnTo>
                        <a:pt x="1067" y="662"/>
                      </a:lnTo>
                      <a:lnTo>
                        <a:pt x="1066" y="662"/>
                      </a:lnTo>
                      <a:lnTo>
                        <a:pt x="1066" y="663"/>
                      </a:lnTo>
                      <a:lnTo>
                        <a:pt x="1064" y="663"/>
                      </a:lnTo>
                      <a:lnTo>
                        <a:pt x="1062" y="663"/>
                      </a:lnTo>
                      <a:lnTo>
                        <a:pt x="1061" y="663"/>
                      </a:lnTo>
                      <a:lnTo>
                        <a:pt x="1059" y="663"/>
                      </a:lnTo>
                      <a:lnTo>
                        <a:pt x="1057" y="663"/>
                      </a:lnTo>
                      <a:lnTo>
                        <a:pt x="1057" y="662"/>
                      </a:lnTo>
                      <a:lnTo>
                        <a:pt x="1056" y="662"/>
                      </a:lnTo>
                      <a:lnTo>
                        <a:pt x="1054" y="662"/>
                      </a:lnTo>
                      <a:lnTo>
                        <a:pt x="1052" y="663"/>
                      </a:lnTo>
                      <a:lnTo>
                        <a:pt x="1051" y="665"/>
                      </a:lnTo>
                      <a:lnTo>
                        <a:pt x="1034" y="678"/>
                      </a:lnTo>
                      <a:lnTo>
                        <a:pt x="1032" y="680"/>
                      </a:lnTo>
                      <a:lnTo>
                        <a:pt x="1015" y="691"/>
                      </a:lnTo>
                      <a:lnTo>
                        <a:pt x="1003" y="701"/>
                      </a:lnTo>
                      <a:lnTo>
                        <a:pt x="998" y="705"/>
                      </a:lnTo>
                      <a:lnTo>
                        <a:pt x="997" y="706"/>
                      </a:lnTo>
                      <a:lnTo>
                        <a:pt x="995" y="708"/>
                      </a:lnTo>
                      <a:lnTo>
                        <a:pt x="993" y="706"/>
                      </a:lnTo>
                      <a:lnTo>
                        <a:pt x="993" y="708"/>
                      </a:lnTo>
                      <a:lnTo>
                        <a:pt x="993" y="709"/>
                      </a:lnTo>
                      <a:lnTo>
                        <a:pt x="991" y="709"/>
                      </a:lnTo>
                      <a:lnTo>
                        <a:pt x="991" y="711"/>
                      </a:lnTo>
                      <a:lnTo>
                        <a:pt x="990" y="711"/>
                      </a:lnTo>
                      <a:lnTo>
                        <a:pt x="986" y="713"/>
                      </a:lnTo>
                      <a:lnTo>
                        <a:pt x="963" y="732"/>
                      </a:lnTo>
                      <a:lnTo>
                        <a:pt x="963" y="734"/>
                      </a:lnTo>
                      <a:lnTo>
                        <a:pt x="964" y="734"/>
                      </a:lnTo>
                      <a:lnTo>
                        <a:pt x="966" y="734"/>
                      </a:lnTo>
                      <a:lnTo>
                        <a:pt x="968" y="734"/>
                      </a:lnTo>
                      <a:lnTo>
                        <a:pt x="968" y="736"/>
                      </a:lnTo>
                      <a:lnTo>
                        <a:pt x="970" y="736"/>
                      </a:lnTo>
                      <a:lnTo>
                        <a:pt x="973" y="736"/>
                      </a:lnTo>
                      <a:lnTo>
                        <a:pt x="975" y="737"/>
                      </a:lnTo>
                      <a:lnTo>
                        <a:pt x="976" y="739"/>
                      </a:lnTo>
                      <a:lnTo>
                        <a:pt x="978" y="739"/>
                      </a:lnTo>
                      <a:lnTo>
                        <a:pt x="980" y="739"/>
                      </a:lnTo>
                      <a:lnTo>
                        <a:pt x="986" y="737"/>
                      </a:lnTo>
                      <a:lnTo>
                        <a:pt x="990" y="737"/>
                      </a:lnTo>
                      <a:lnTo>
                        <a:pt x="991" y="736"/>
                      </a:lnTo>
                      <a:lnTo>
                        <a:pt x="991" y="737"/>
                      </a:lnTo>
                      <a:lnTo>
                        <a:pt x="993" y="737"/>
                      </a:lnTo>
                      <a:lnTo>
                        <a:pt x="997" y="737"/>
                      </a:lnTo>
                      <a:lnTo>
                        <a:pt x="997" y="739"/>
                      </a:lnTo>
                      <a:lnTo>
                        <a:pt x="998" y="739"/>
                      </a:lnTo>
                      <a:lnTo>
                        <a:pt x="1000" y="739"/>
                      </a:lnTo>
                      <a:lnTo>
                        <a:pt x="1002" y="741"/>
                      </a:lnTo>
                      <a:lnTo>
                        <a:pt x="1002" y="742"/>
                      </a:lnTo>
                      <a:lnTo>
                        <a:pt x="1002" y="744"/>
                      </a:lnTo>
                      <a:lnTo>
                        <a:pt x="1003" y="744"/>
                      </a:lnTo>
                      <a:lnTo>
                        <a:pt x="1003" y="746"/>
                      </a:lnTo>
                      <a:lnTo>
                        <a:pt x="1005" y="749"/>
                      </a:lnTo>
                      <a:lnTo>
                        <a:pt x="1007" y="751"/>
                      </a:lnTo>
                      <a:lnTo>
                        <a:pt x="1008" y="751"/>
                      </a:lnTo>
                      <a:lnTo>
                        <a:pt x="1012" y="751"/>
                      </a:lnTo>
                      <a:lnTo>
                        <a:pt x="1013" y="752"/>
                      </a:lnTo>
                      <a:lnTo>
                        <a:pt x="1015" y="752"/>
                      </a:lnTo>
                      <a:lnTo>
                        <a:pt x="1017" y="754"/>
                      </a:lnTo>
                      <a:lnTo>
                        <a:pt x="1018" y="755"/>
                      </a:lnTo>
                      <a:lnTo>
                        <a:pt x="1020" y="757"/>
                      </a:lnTo>
                      <a:lnTo>
                        <a:pt x="1020" y="759"/>
                      </a:lnTo>
                      <a:lnTo>
                        <a:pt x="1020" y="760"/>
                      </a:lnTo>
                      <a:lnTo>
                        <a:pt x="1018" y="762"/>
                      </a:lnTo>
                      <a:lnTo>
                        <a:pt x="1018" y="764"/>
                      </a:lnTo>
                      <a:lnTo>
                        <a:pt x="1018" y="765"/>
                      </a:lnTo>
                      <a:lnTo>
                        <a:pt x="1017" y="765"/>
                      </a:lnTo>
                      <a:lnTo>
                        <a:pt x="1015" y="767"/>
                      </a:lnTo>
                      <a:lnTo>
                        <a:pt x="1013" y="767"/>
                      </a:lnTo>
                      <a:lnTo>
                        <a:pt x="1012" y="767"/>
                      </a:lnTo>
                      <a:lnTo>
                        <a:pt x="1010" y="767"/>
                      </a:lnTo>
                      <a:lnTo>
                        <a:pt x="1008" y="767"/>
                      </a:lnTo>
                      <a:lnTo>
                        <a:pt x="1007" y="767"/>
                      </a:lnTo>
                      <a:lnTo>
                        <a:pt x="1007" y="769"/>
                      </a:lnTo>
                      <a:lnTo>
                        <a:pt x="1005" y="770"/>
                      </a:lnTo>
                      <a:lnTo>
                        <a:pt x="1005" y="772"/>
                      </a:lnTo>
                      <a:lnTo>
                        <a:pt x="1005" y="774"/>
                      </a:lnTo>
                      <a:lnTo>
                        <a:pt x="1005" y="775"/>
                      </a:lnTo>
                      <a:lnTo>
                        <a:pt x="1007" y="777"/>
                      </a:lnTo>
                      <a:lnTo>
                        <a:pt x="1007" y="778"/>
                      </a:lnTo>
                      <a:lnTo>
                        <a:pt x="1007" y="780"/>
                      </a:lnTo>
                      <a:lnTo>
                        <a:pt x="1008" y="780"/>
                      </a:lnTo>
                      <a:lnTo>
                        <a:pt x="1010" y="782"/>
                      </a:lnTo>
                      <a:lnTo>
                        <a:pt x="1012" y="783"/>
                      </a:lnTo>
                      <a:lnTo>
                        <a:pt x="1012" y="785"/>
                      </a:lnTo>
                      <a:lnTo>
                        <a:pt x="1012" y="787"/>
                      </a:lnTo>
                      <a:lnTo>
                        <a:pt x="1012" y="788"/>
                      </a:lnTo>
                      <a:lnTo>
                        <a:pt x="1010" y="788"/>
                      </a:lnTo>
                      <a:lnTo>
                        <a:pt x="1008" y="788"/>
                      </a:lnTo>
                      <a:lnTo>
                        <a:pt x="1007" y="790"/>
                      </a:lnTo>
                      <a:lnTo>
                        <a:pt x="1005" y="790"/>
                      </a:lnTo>
                      <a:lnTo>
                        <a:pt x="1003" y="792"/>
                      </a:lnTo>
                      <a:lnTo>
                        <a:pt x="1002" y="793"/>
                      </a:lnTo>
                      <a:lnTo>
                        <a:pt x="1002" y="795"/>
                      </a:lnTo>
                      <a:lnTo>
                        <a:pt x="1002" y="796"/>
                      </a:lnTo>
                      <a:lnTo>
                        <a:pt x="1003" y="796"/>
                      </a:lnTo>
                      <a:lnTo>
                        <a:pt x="1005" y="796"/>
                      </a:lnTo>
                      <a:lnTo>
                        <a:pt x="1007" y="798"/>
                      </a:lnTo>
                      <a:lnTo>
                        <a:pt x="1007" y="800"/>
                      </a:lnTo>
                      <a:lnTo>
                        <a:pt x="1007" y="801"/>
                      </a:lnTo>
                      <a:lnTo>
                        <a:pt x="1005" y="803"/>
                      </a:lnTo>
                      <a:lnTo>
                        <a:pt x="1003" y="805"/>
                      </a:lnTo>
                      <a:lnTo>
                        <a:pt x="1002" y="805"/>
                      </a:lnTo>
                      <a:lnTo>
                        <a:pt x="1000" y="806"/>
                      </a:lnTo>
                      <a:lnTo>
                        <a:pt x="998" y="806"/>
                      </a:lnTo>
                      <a:lnTo>
                        <a:pt x="997" y="806"/>
                      </a:lnTo>
                      <a:lnTo>
                        <a:pt x="995" y="806"/>
                      </a:lnTo>
                      <a:lnTo>
                        <a:pt x="995" y="808"/>
                      </a:lnTo>
                      <a:lnTo>
                        <a:pt x="993" y="808"/>
                      </a:lnTo>
                      <a:lnTo>
                        <a:pt x="993" y="810"/>
                      </a:lnTo>
                      <a:lnTo>
                        <a:pt x="993" y="811"/>
                      </a:lnTo>
                      <a:lnTo>
                        <a:pt x="993" y="815"/>
                      </a:lnTo>
                      <a:lnTo>
                        <a:pt x="995" y="816"/>
                      </a:lnTo>
                      <a:lnTo>
                        <a:pt x="995" y="818"/>
                      </a:lnTo>
                      <a:lnTo>
                        <a:pt x="995" y="819"/>
                      </a:lnTo>
                      <a:lnTo>
                        <a:pt x="995" y="821"/>
                      </a:lnTo>
                      <a:lnTo>
                        <a:pt x="997" y="821"/>
                      </a:lnTo>
                      <a:lnTo>
                        <a:pt x="998" y="823"/>
                      </a:lnTo>
                      <a:lnTo>
                        <a:pt x="998" y="824"/>
                      </a:lnTo>
                      <a:lnTo>
                        <a:pt x="998" y="826"/>
                      </a:lnTo>
                      <a:lnTo>
                        <a:pt x="998" y="828"/>
                      </a:lnTo>
                      <a:lnTo>
                        <a:pt x="997" y="828"/>
                      </a:lnTo>
                      <a:lnTo>
                        <a:pt x="997" y="826"/>
                      </a:lnTo>
                      <a:lnTo>
                        <a:pt x="993" y="824"/>
                      </a:lnTo>
                      <a:lnTo>
                        <a:pt x="991" y="824"/>
                      </a:lnTo>
                      <a:lnTo>
                        <a:pt x="990" y="824"/>
                      </a:lnTo>
                      <a:lnTo>
                        <a:pt x="986" y="824"/>
                      </a:lnTo>
                      <a:lnTo>
                        <a:pt x="985" y="824"/>
                      </a:lnTo>
                      <a:lnTo>
                        <a:pt x="985" y="826"/>
                      </a:lnTo>
                      <a:lnTo>
                        <a:pt x="983" y="828"/>
                      </a:lnTo>
                      <a:lnTo>
                        <a:pt x="983" y="829"/>
                      </a:lnTo>
                      <a:lnTo>
                        <a:pt x="981" y="829"/>
                      </a:lnTo>
                      <a:lnTo>
                        <a:pt x="980" y="831"/>
                      </a:lnTo>
                      <a:lnTo>
                        <a:pt x="978" y="833"/>
                      </a:lnTo>
                      <a:lnTo>
                        <a:pt x="976" y="833"/>
                      </a:lnTo>
                      <a:lnTo>
                        <a:pt x="976" y="834"/>
                      </a:lnTo>
                      <a:lnTo>
                        <a:pt x="975" y="834"/>
                      </a:lnTo>
                      <a:lnTo>
                        <a:pt x="975" y="836"/>
                      </a:lnTo>
                      <a:lnTo>
                        <a:pt x="975" y="838"/>
                      </a:lnTo>
                      <a:lnTo>
                        <a:pt x="973" y="838"/>
                      </a:lnTo>
                      <a:lnTo>
                        <a:pt x="973" y="839"/>
                      </a:lnTo>
                      <a:lnTo>
                        <a:pt x="973" y="841"/>
                      </a:lnTo>
                      <a:lnTo>
                        <a:pt x="971" y="842"/>
                      </a:lnTo>
                      <a:lnTo>
                        <a:pt x="971" y="844"/>
                      </a:lnTo>
                      <a:lnTo>
                        <a:pt x="971" y="846"/>
                      </a:lnTo>
                      <a:lnTo>
                        <a:pt x="971" y="847"/>
                      </a:lnTo>
                      <a:lnTo>
                        <a:pt x="971" y="849"/>
                      </a:lnTo>
                      <a:lnTo>
                        <a:pt x="971" y="851"/>
                      </a:lnTo>
                      <a:lnTo>
                        <a:pt x="971" y="852"/>
                      </a:lnTo>
                      <a:lnTo>
                        <a:pt x="971" y="854"/>
                      </a:lnTo>
                      <a:lnTo>
                        <a:pt x="970" y="854"/>
                      </a:lnTo>
                      <a:lnTo>
                        <a:pt x="970" y="856"/>
                      </a:lnTo>
                      <a:lnTo>
                        <a:pt x="968" y="856"/>
                      </a:lnTo>
                      <a:lnTo>
                        <a:pt x="964" y="856"/>
                      </a:lnTo>
                      <a:lnTo>
                        <a:pt x="963" y="857"/>
                      </a:lnTo>
                      <a:lnTo>
                        <a:pt x="963" y="859"/>
                      </a:lnTo>
                      <a:lnTo>
                        <a:pt x="961" y="859"/>
                      </a:lnTo>
                      <a:lnTo>
                        <a:pt x="961" y="861"/>
                      </a:lnTo>
                      <a:lnTo>
                        <a:pt x="959" y="861"/>
                      </a:lnTo>
                      <a:lnTo>
                        <a:pt x="956" y="862"/>
                      </a:lnTo>
                      <a:lnTo>
                        <a:pt x="954" y="862"/>
                      </a:lnTo>
                      <a:lnTo>
                        <a:pt x="954" y="861"/>
                      </a:lnTo>
                      <a:lnTo>
                        <a:pt x="953" y="861"/>
                      </a:lnTo>
                      <a:lnTo>
                        <a:pt x="949" y="862"/>
                      </a:lnTo>
                      <a:lnTo>
                        <a:pt x="948" y="862"/>
                      </a:lnTo>
                      <a:lnTo>
                        <a:pt x="946" y="862"/>
                      </a:lnTo>
                      <a:lnTo>
                        <a:pt x="944" y="862"/>
                      </a:lnTo>
                      <a:lnTo>
                        <a:pt x="944" y="864"/>
                      </a:lnTo>
                      <a:lnTo>
                        <a:pt x="942" y="864"/>
                      </a:lnTo>
                      <a:lnTo>
                        <a:pt x="941" y="864"/>
                      </a:lnTo>
                      <a:lnTo>
                        <a:pt x="939" y="864"/>
                      </a:lnTo>
                      <a:lnTo>
                        <a:pt x="937" y="864"/>
                      </a:lnTo>
                      <a:lnTo>
                        <a:pt x="937" y="865"/>
                      </a:lnTo>
                      <a:lnTo>
                        <a:pt x="936" y="865"/>
                      </a:lnTo>
                      <a:lnTo>
                        <a:pt x="934" y="867"/>
                      </a:lnTo>
                      <a:lnTo>
                        <a:pt x="932" y="869"/>
                      </a:lnTo>
                      <a:lnTo>
                        <a:pt x="931" y="870"/>
                      </a:lnTo>
                      <a:lnTo>
                        <a:pt x="929" y="872"/>
                      </a:lnTo>
                      <a:lnTo>
                        <a:pt x="927" y="872"/>
                      </a:lnTo>
                      <a:lnTo>
                        <a:pt x="926" y="874"/>
                      </a:lnTo>
                      <a:lnTo>
                        <a:pt x="924" y="874"/>
                      </a:lnTo>
                      <a:lnTo>
                        <a:pt x="922" y="875"/>
                      </a:lnTo>
                      <a:lnTo>
                        <a:pt x="921" y="877"/>
                      </a:lnTo>
                      <a:lnTo>
                        <a:pt x="919" y="877"/>
                      </a:lnTo>
                      <a:lnTo>
                        <a:pt x="919" y="879"/>
                      </a:lnTo>
                      <a:lnTo>
                        <a:pt x="919" y="880"/>
                      </a:lnTo>
                      <a:lnTo>
                        <a:pt x="919" y="882"/>
                      </a:lnTo>
                      <a:lnTo>
                        <a:pt x="919" y="884"/>
                      </a:lnTo>
                      <a:lnTo>
                        <a:pt x="921" y="885"/>
                      </a:lnTo>
                      <a:lnTo>
                        <a:pt x="921" y="887"/>
                      </a:lnTo>
                      <a:lnTo>
                        <a:pt x="921" y="888"/>
                      </a:lnTo>
                      <a:lnTo>
                        <a:pt x="921" y="890"/>
                      </a:lnTo>
                      <a:lnTo>
                        <a:pt x="921" y="892"/>
                      </a:lnTo>
                      <a:lnTo>
                        <a:pt x="921" y="893"/>
                      </a:lnTo>
                      <a:lnTo>
                        <a:pt x="921" y="897"/>
                      </a:lnTo>
                      <a:lnTo>
                        <a:pt x="921" y="902"/>
                      </a:lnTo>
                      <a:lnTo>
                        <a:pt x="922" y="905"/>
                      </a:lnTo>
                      <a:lnTo>
                        <a:pt x="922" y="907"/>
                      </a:lnTo>
                      <a:lnTo>
                        <a:pt x="921" y="907"/>
                      </a:lnTo>
                      <a:lnTo>
                        <a:pt x="919" y="910"/>
                      </a:lnTo>
                      <a:lnTo>
                        <a:pt x="919" y="911"/>
                      </a:lnTo>
                      <a:lnTo>
                        <a:pt x="917" y="915"/>
                      </a:lnTo>
                      <a:lnTo>
                        <a:pt x="915" y="915"/>
                      </a:lnTo>
                      <a:lnTo>
                        <a:pt x="915" y="916"/>
                      </a:lnTo>
                      <a:lnTo>
                        <a:pt x="914" y="918"/>
                      </a:lnTo>
                      <a:lnTo>
                        <a:pt x="914" y="920"/>
                      </a:lnTo>
                      <a:lnTo>
                        <a:pt x="912" y="920"/>
                      </a:lnTo>
                      <a:lnTo>
                        <a:pt x="910" y="921"/>
                      </a:lnTo>
                      <a:lnTo>
                        <a:pt x="910" y="923"/>
                      </a:lnTo>
                      <a:lnTo>
                        <a:pt x="909" y="923"/>
                      </a:lnTo>
                      <a:lnTo>
                        <a:pt x="909" y="925"/>
                      </a:lnTo>
                      <a:lnTo>
                        <a:pt x="907" y="925"/>
                      </a:lnTo>
                      <a:lnTo>
                        <a:pt x="904" y="930"/>
                      </a:lnTo>
                      <a:lnTo>
                        <a:pt x="904" y="931"/>
                      </a:lnTo>
                      <a:lnTo>
                        <a:pt x="902" y="934"/>
                      </a:lnTo>
                      <a:lnTo>
                        <a:pt x="902" y="936"/>
                      </a:lnTo>
                      <a:lnTo>
                        <a:pt x="904" y="936"/>
                      </a:lnTo>
                      <a:lnTo>
                        <a:pt x="904" y="939"/>
                      </a:lnTo>
                      <a:lnTo>
                        <a:pt x="905" y="941"/>
                      </a:lnTo>
                      <a:lnTo>
                        <a:pt x="905" y="943"/>
                      </a:lnTo>
                      <a:lnTo>
                        <a:pt x="907" y="944"/>
                      </a:lnTo>
                      <a:lnTo>
                        <a:pt x="907" y="946"/>
                      </a:lnTo>
                      <a:lnTo>
                        <a:pt x="909" y="948"/>
                      </a:lnTo>
                      <a:lnTo>
                        <a:pt x="910" y="949"/>
                      </a:lnTo>
                      <a:lnTo>
                        <a:pt x="912" y="949"/>
                      </a:lnTo>
                      <a:lnTo>
                        <a:pt x="914" y="951"/>
                      </a:lnTo>
                      <a:lnTo>
                        <a:pt x="915" y="953"/>
                      </a:lnTo>
                      <a:lnTo>
                        <a:pt x="917" y="953"/>
                      </a:lnTo>
                      <a:lnTo>
                        <a:pt x="917" y="954"/>
                      </a:lnTo>
                      <a:lnTo>
                        <a:pt x="919" y="954"/>
                      </a:lnTo>
                      <a:lnTo>
                        <a:pt x="921" y="956"/>
                      </a:lnTo>
                      <a:lnTo>
                        <a:pt x="922" y="957"/>
                      </a:lnTo>
                      <a:lnTo>
                        <a:pt x="924" y="957"/>
                      </a:lnTo>
                      <a:lnTo>
                        <a:pt x="926" y="959"/>
                      </a:lnTo>
                      <a:lnTo>
                        <a:pt x="924" y="961"/>
                      </a:lnTo>
                      <a:lnTo>
                        <a:pt x="924" y="962"/>
                      </a:lnTo>
                      <a:lnTo>
                        <a:pt x="924" y="964"/>
                      </a:lnTo>
                      <a:lnTo>
                        <a:pt x="924" y="966"/>
                      </a:lnTo>
                      <a:lnTo>
                        <a:pt x="924" y="967"/>
                      </a:lnTo>
                      <a:lnTo>
                        <a:pt x="924" y="969"/>
                      </a:lnTo>
                      <a:lnTo>
                        <a:pt x="924" y="972"/>
                      </a:lnTo>
                      <a:lnTo>
                        <a:pt x="922" y="972"/>
                      </a:lnTo>
                      <a:lnTo>
                        <a:pt x="922" y="974"/>
                      </a:lnTo>
                      <a:lnTo>
                        <a:pt x="922" y="976"/>
                      </a:lnTo>
                      <a:lnTo>
                        <a:pt x="922" y="977"/>
                      </a:lnTo>
                      <a:lnTo>
                        <a:pt x="922" y="979"/>
                      </a:lnTo>
                      <a:lnTo>
                        <a:pt x="922" y="980"/>
                      </a:lnTo>
                      <a:lnTo>
                        <a:pt x="922" y="982"/>
                      </a:lnTo>
                      <a:lnTo>
                        <a:pt x="922" y="984"/>
                      </a:lnTo>
                      <a:lnTo>
                        <a:pt x="921" y="984"/>
                      </a:lnTo>
                      <a:lnTo>
                        <a:pt x="921" y="985"/>
                      </a:lnTo>
                      <a:lnTo>
                        <a:pt x="921" y="987"/>
                      </a:lnTo>
                      <a:lnTo>
                        <a:pt x="919" y="989"/>
                      </a:lnTo>
                      <a:lnTo>
                        <a:pt x="921" y="990"/>
                      </a:lnTo>
                      <a:lnTo>
                        <a:pt x="919" y="994"/>
                      </a:lnTo>
                      <a:lnTo>
                        <a:pt x="919" y="995"/>
                      </a:lnTo>
                      <a:lnTo>
                        <a:pt x="917" y="995"/>
                      </a:lnTo>
                      <a:lnTo>
                        <a:pt x="917" y="997"/>
                      </a:lnTo>
                      <a:lnTo>
                        <a:pt x="917" y="998"/>
                      </a:lnTo>
                      <a:lnTo>
                        <a:pt x="915" y="1000"/>
                      </a:lnTo>
                      <a:lnTo>
                        <a:pt x="915" y="1002"/>
                      </a:lnTo>
                      <a:lnTo>
                        <a:pt x="915" y="1003"/>
                      </a:lnTo>
                      <a:lnTo>
                        <a:pt x="914" y="1005"/>
                      </a:lnTo>
                      <a:lnTo>
                        <a:pt x="914" y="1007"/>
                      </a:lnTo>
                      <a:lnTo>
                        <a:pt x="912" y="1010"/>
                      </a:lnTo>
                      <a:lnTo>
                        <a:pt x="912" y="1012"/>
                      </a:lnTo>
                      <a:lnTo>
                        <a:pt x="910" y="1013"/>
                      </a:lnTo>
                      <a:lnTo>
                        <a:pt x="909" y="1013"/>
                      </a:lnTo>
                      <a:lnTo>
                        <a:pt x="907" y="1015"/>
                      </a:lnTo>
                      <a:lnTo>
                        <a:pt x="905" y="1015"/>
                      </a:lnTo>
                      <a:lnTo>
                        <a:pt x="904" y="1018"/>
                      </a:lnTo>
                      <a:lnTo>
                        <a:pt x="902" y="1021"/>
                      </a:lnTo>
                      <a:lnTo>
                        <a:pt x="902" y="1023"/>
                      </a:lnTo>
                      <a:lnTo>
                        <a:pt x="902" y="1025"/>
                      </a:lnTo>
                      <a:lnTo>
                        <a:pt x="902" y="1026"/>
                      </a:lnTo>
                      <a:lnTo>
                        <a:pt x="902" y="1028"/>
                      </a:lnTo>
                      <a:lnTo>
                        <a:pt x="900" y="1028"/>
                      </a:lnTo>
                      <a:lnTo>
                        <a:pt x="900" y="1030"/>
                      </a:lnTo>
                      <a:lnTo>
                        <a:pt x="899" y="1031"/>
                      </a:lnTo>
                      <a:lnTo>
                        <a:pt x="895" y="1033"/>
                      </a:lnTo>
                      <a:lnTo>
                        <a:pt x="895" y="1035"/>
                      </a:lnTo>
                      <a:lnTo>
                        <a:pt x="895" y="1036"/>
                      </a:lnTo>
                      <a:lnTo>
                        <a:pt x="894" y="1036"/>
                      </a:lnTo>
                      <a:lnTo>
                        <a:pt x="894" y="1038"/>
                      </a:lnTo>
                      <a:lnTo>
                        <a:pt x="894" y="1040"/>
                      </a:lnTo>
                      <a:lnTo>
                        <a:pt x="892" y="1041"/>
                      </a:lnTo>
                      <a:lnTo>
                        <a:pt x="890" y="1043"/>
                      </a:lnTo>
                      <a:lnTo>
                        <a:pt x="888" y="1046"/>
                      </a:lnTo>
                      <a:lnTo>
                        <a:pt x="887" y="1046"/>
                      </a:lnTo>
                      <a:lnTo>
                        <a:pt x="887" y="1048"/>
                      </a:lnTo>
                      <a:lnTo>
                        <a:pt x="885" y="1049"/>
                      </a:lnTo>
                      <a:lnTo>
                        <a:pt x="885" y="1051"/>
                      </a:lnTo>
                      <a:lnTo>
                        <a:pt x="883" y="1053"/>
                      </a:lnTo>
                      <a:lnTo>
                        <a:pt x="883" y="1054"/>
                      </a:lnTo>
                      <a:lnTo>
                        <a:pt x="882" y="1054"/>
                      </a:lnTo>
                      <a:lnTo>
                        <a:pt x="880" y="1054"/>
                      </a:lnTo>
                      <a:lnTo>
                        <a:pt x="878" y="1054"/>
                      </a:lnTo>
                      <a:lnTo>
                        <a:pt x="875" y="1056"/>
                      </a:lnTo>
                      <a:lnTo>
                        <a:pt x="873" y="1058"/>
                      </a:lnTo>
                      <a:lnTo>
                        <a:pt x="872" y="1058"/>
                      </a:lnTo>
                      <a:lnTo>
                        <a:pt x="870" y="1059"/>
                      </a:lnTo>
                      <a:lnTo>
                        <a:pt x="868" y="1061"/>
                      </a:lnTo>
                      <a:lnTo>
                        <a:pt x="866" y="1063"/>
                      </a:lnTo>
                      <a:lnTo>
                        <a:pt x="866" y="1064"/>
                      </a:lnTo>
                      <a:lnTo>
                        <a:pt x="865" y="1066"/>
                      </a:lnTo>
                      <a:lnTo>
                        <a:pt x="863" y="1067"/>
                      </a:lnTo>
                      <a:lnTo>
                        <a:pt x="861" y="1069"/>
                      </a:lnTo>
                      <a:lnTo>
                        <a:pt x="860" y="1071"/>
                      </a:lnTo>
                      <a:lnTo>
                        <a:pt x="858" y="1072"/>
                      </a:lnTo>
                      <a:lnTo>
                        <a:pt x="858" y="1074"/>
                      </a:lnTo>
                      <a:lnTo>
                        <a:pt x="858" y="1076"/>
                      </a:lnTo>
                      <a:lnTo>
                        <a:pt x="858" y="1077"/>
                      </a:lnTo>
                      <a:lnTo>
                        <a:pt x="856" y="1077"/>
                      </a:lnTo>
                      <a:lnTo>
                        <a:pt x="856" y="1079"/>
                      </a:lnTo>
                      <a:lnTo>
                        <a:pt x="855" y="1081"/>
                      </a:lnTo>
                      <a:lnTo>
                        <a:pt x="855" y="1082"/>
                      </a:lnTo>
                      <a:lnTo>
                        <a:pt x="853" y="1082"/>
                      </a:lnTo>
                      <a:lnTo>
                        <a:pt x="853" y="1084"/>
                      </a:lnTo>
                      <a:lnTo>
                        <a:pt x="853" y="1086"/>
                      </a:lnTo>
                      <a:lnTo>
                        <a:pt x="851" y="1086"/>
                      </a:lnTo>
                      <a:lnTo>
                        <a:pt x="850" y="1087"/>
                      </a:lnTo>
                      <a:lnTo>
                        <a:pt x="848" y="1089"/>
                      </a:lnTo>
                      <a:lnTo>
                        <a:pt x="848" y="1090"/>
                      </a:lnTo>
                      <a:lnTo>
                        <a:pt x="846" y="1090"/>
                      </a:lnTo>
                      <a:lnTo>
                        <a:pt x="845" y="1090"/>
                      </a:lnTo>
                      <a:lnTo>
                        <a:pt x="845" y="1092"/>
                      </a:lnTo>
                      <a:lnTo>
                        <a:pt x="845" y="1094"/>
                      </a:lnTo>
                      <a:lnTo>
                        <a:pt x="843" y="1094"/>
                      </a:lnTo>
                      <a:lnTo>
                        <a:pt x="843" y="1095"/>
                      </a:lnTo>
                      <a:lnTo>
                        <a:pt x="841" y="1095"/>
                      </a:lnTo>
                      <a:lnTo>
                        <a:pt x="839" y="1097"/>
                      </a:lnTo>
                      <a:lnTo>
                        <a:pt x="839" y="1100"/>
                      </a:lnTo>
                      <a:lnTo>
                        <a:pt x="839" y="1102"/>
                      </a:lnTo>
                      <a:lnTo>
                        <a:pt x="839" y="1104"/>
                      </a:lnTo>
                      <a:lnTo>
                        <a:pt x="838" y="1105"/>
                      </a:lnTo>
                      <a:lnTo>
                        <a:pt x="838" y="1107"/>
                      </a:lnTo>
                      <a:lnTo>
                        <a:pt x="836" y="1107"/>
                      </a:lnTo>
                      <a:lnTo>
                        <a:pt x="836" y="1109"/>
                      </a:lnTo>
                      <a:lnTo>
                        <a:pt x="836" y="1110"/>
                      </a:lnTo>
                      <a:lnTo>
                        <a:pt x="834" y="1110"/>
                      </a:lnTo>
                      <a:lnTo>
                        <a:pt x="834" y="1113"/>
                      </a:lnTo>
                      <a:lnTo>
                        <a:pt x="834" y="1115"/>
                      </a:lnTo>
                      <a:lnTo>
                        <a:pt x="836" y="1117"/>
                      </a:lnTo>
                      <a:lnTo>
                        <a:pt x="836" y="1118"/>
                      </a:lnTo>
                      <a:lnTo>
                        <a:pt x="836" y="1120"/>
                      </a:lnTo>
                      <a:lnTo>
                        <a:pt x="834" y="1120"/>
                      </a:lnTo>
                      <a:lnTo>
                        <a:pt x="834" y="1122"/>
                      </a:lnTo>
                      <a:lnTo>
                        <a:pt x="834" y="1123"/>
                      </a:lnTo>
                      <a:lnTo>
                        <a:pt x="833" y="1125"/>
                      </a:lnTo>
                      <a:lnTo>
                        <a:pt x="833" y="1127"/>
                      </a:lnTo>
                      <a:lnTo>
                        <a:pt x="831" y="1127"/>
                      </a:lnTo>
                      <a:lnTo>
                        <a:pt x="831" y="1128"/>
                      </a:lnTo>
                      <a:lnTo>
                        <a:pt x="831" y="1130"/>
                      </a:lnTo>
                      <a:lnTo>
                        <a:pt x="829" y="1132"/>
                      </a:lnTo>
                      <a:lnTo>
                        <a:pt x="829" y="1133"/>
                      </a:lnTo>
                      <a:lnTo>
                        <a:pt x="829" y="1135"/>
                      </a:lnTo>
                      <a:lnTo>
                        <a:pt x="828" y="1136"/>
                      </a:lnTo>
                      <a:lnTo>
                        <a:pt x="826" y="1138"/>
                      </a:lnTo>
                      <a:lnTo>
                        <a:pt x="826" y="1140"/>
                      </a:lnTo>
                      <a:lnTo>
                        <a:pt x="824" y="1141"/>
                      </a:lnTo>
                      <a:lnTo>
                        <a:pt x="824" y="1143"/>
                      </a:lnTo>
                      <a:lnTo>
                        <a:pt x="824" y="1145"/>
                      </a:lnTo>
                      <a:lnTo>
                        <a:pt x="824" y="1146"/>
                      </a:lnTo>
                      <a:lnTo>
                        <a:pt x="823" y="1146"/>
                      </a:lnTo>
                      <a:lnTo>
                        <a:pt x="797" y="1145"/>
                      </a:lnTo>
                      <a:lnTo>
                        <a:pt x="763" y="1143"/>
                      </a:lnTo>
                      <a:lnTo>
                        <a:pt x="721" y="1140"/>
                      </a:lnTo>
                      <a:lnTo>
                        <a:pt x="655" y="1136"/>
                      </a:lnTo>
                      <a:lnTo>
                        <a:pt x="630" y="1135"/>
                      </a:lnTo>
                      <a:lnTo>
                        <a:pt x="596" y="1132"/>
                      </a:lnTo>
                      <a:lnTo>
                        <a:pt x="547" y="1128"/>
                      </a:lnTo>
                      <a:lnTo>
                        <a:pt x="503" y="1125"/>
                      </a:lnTo>
                      <a:lnTo>
                        <a:pt x="454" y="1122"/>
                      </a:lnTo>
                      <a:lnTo>
                        <a:pt x="407" y="1118"/>
                      </a:lnTo>
                      <a:lnTo>
                        <a:pt x="368" y="1115"/>
                      </a:lnTo>
                      <a:lnTo>
                        <a:pt x="260" y="1107"/>
                      </a:lnTo>
                      <a:lnTo>
                        <a:pt x="211" y="1102"/>
                      </a:lnTo>
                      <a:lnTo>
                        <a:pt x="211" y="1104"/>
                      </a:lnTo>
                      <a:lnTo>
                        <a:pt x="209" y="1104"/>
                      </a:lnTo>
                      <a:lnTo>
                        <a:pt x="208" y="1104"/>
                      </a:lnTo>
                      <a:lnTo>
                        <a:pt x="206" y="1105"/>
                      </a:lnTo>
                      <a:lnTo>
                        <a:pt x="204" y="1105"/>
                      </a:lnTo>
                      <a:lnTo>
                        <a:pt x="204" y="1107"/>
                      </a:lnTo>
                      <a:lnTo>
                        <a:pt x="203" y="1107"/>
                      </a:lnTo>
                      <a:lnTo>
                        <a:pt x="203" y="1105"/>
                      </a:lnTo>
                      <a:lnTo>
                        <a:pt x="203" y="1104"/>
                      </a:lnTo>
                      <a:lnTo>
                        <a:pt x="201" y="1104"/>
                      </a:lnTo>
                      <a:lnTo>
                        <a:pt x="201" y="1102"/>
                      </a:lnTo>
                      <a:lnTo>
                        <a:pt x="201" y="1100"/>
                      </a:lnTo>
                      <a:lnTo>
                        <a:pt x="201" y="1099"/>
                      </a:lnTo>
                      <a:lnTo>
                        <a:pt x="201" y="1095"/>
                      </a:lnTo>
                      <a:lnTo>
                        <a:pt x="199" y="1095"/>
                      </a:lnTo>
                      <a:lnTo>
                        <a:pt x="199" y="1094"/>
                      </a:lnTo>
                      <a:lnTo>
                        <a:pt x="198" y="1092"/>
                      </a:lnTo>
                      <a:lnTo>
                        <a:pt x="196" y="1090"/>
                      </a:lnTo>
                      <a:lnTo>
                        <a:pt x="194" y="1090"/>
                      </a:lnTo>
                      <a:lnTo>
                        <a:pt x="193" y="1090"/>
                      </a:lnTo>
                      <a:lnTo>
                        <a:pt x="191" y="1090"/>
                      </a:lnTo>
                      <a:lnTo>
                        <a:pt x="189" y="1090"/>
                      </a:lnTo>
                      <a:lnTo>
                        <a:pt x="188" y="1090"/>
                      </a:lnTo>
                      <a:lnTo>
                        <a:pt x="186" y="1090"/>
                      </a:lnTo>
                      <a:lnTo>
                        <a:pt x="186" y="1089"/>
                      </a:lnTo>
                      <a:lnTo>
                        <a:pt x="184" y="1089"/>
                      </a:lnTo>
                      <a:lnTo>
                        <a:pt x="182" y="1090"/>
                      </a:lnTo>
                      <a:lnTo>
                        <a:pt x="181" y="1090"/>
                      </a:lnTo>
                      <a:lnTo>
                        <a:pt x="179" y="1089"/>
                      </a:lnTo>
                      <a:lnTo>
                        <a:pt x="177" y="1089"/>
                      </a:lnTo>
                      <a:lnTo>
                        <a:pt x="177" y="1087"/>
                      </a:lnTo>
                      <a:lnTo>
                        <a:pt x="176" y="1087"/>
                      </a:lnTo>
                      <a:lnTo>
                        <a:pt x="176" y="1086"/>
                      </a:lnTo>
                      <a:lnTo>
                        <a:pt x="174" y="1086"/>
                      </a:lnTo>
                      <a:lnTo>
                        <a:pt x="176" y="1084"/>
                      </a:lnTo>
                      <a:lnTo>
                        <a:pt x="176" y="1082"/>
                      </a:lnTo>
                      <a:lnTo>
                        <a:pt x="174" y="1082"/>
                      </a:lnTo>
                      <a:lnTo>
                        <a:pt x="176" y="1081"/>
                      </a:lnTo>
                      <a:lnTo>
                        <a:pt x="176" y="1079"/>
                      </a:lnTo>
                      <a:lnTo>
                        <a:pt x="177" y="1079"/>
                      </a:lnTo>
                      <a:lnTo>
                        <a:pt x="177" y="1077"/>
                      </a:lnTo>
                      <a:lnTo>
                        <a:pt x="176" y="1077"/>
                      </a:lnTo>
                      <a:lnTo>
                        <a:pt x="174" y="1076"/>
                      </a:lnTo>
                      <a:lnTo>
                        <a:pt x="174" y="1074"/>
                      </a:lnTo>
                      <a:lnTo>
                        <a:pt x="172" y="1072"/>
                      </a:lnTo>
                      <a:lnTo>
                        <a:pt x="172" y="1071"/>
                      </a:lnTo>
                      <a:lnTo>
                        <a:pt x="171" y="1071"/>
                      </a:lnTo>
                      <a:lnTo>
                        <a:pt x="171" y="1069"/>
                      </a:lnTo>
                      <a:lnTo>
                        <a:pt x="167" y="1069"/>
                      </a:lnTo>
                      <a:lnTo>
                        <a:pt x="167" y="1067"/>
                      </a:lnTo>
                      <a:lnTo>
                        <a:pt x="166" y="1066"/>
                      </a:lnTo>
                      <a:lnTo>
                        <a:pt x="164" y="1063"/>
                      </a:lnTo>
                      <a:lnTo>
                        <a:pt x="162" y="1063"/>
                      </a:lnTo>
                      <a:lnTo>
                        <a:pt x="161" y="1061"/>
                      </a:lnTo>
                      <a:lnTo>
                        <a:pt x="159" y="1061"/>
                      </a:lnTo>
                      <a:lnTo>
                        <a:pt x="157" y="1061"/>
                      </a:lnTo>
                      <a:lnTo>
                        <a:pt x="155" y="1061"/>
                      </a:lnTo>
                      <a:lnTo>
                        <a:pt x="154" y="1061"/>
                      </a:lnTo>
                      <a:lnTo>
                        <a:pt x="152" y="1061"/>
                      </a:lnTo>
                      <a:lnTo>
                        <a:pt x="150" y="1059"/>
                      </a:lnTo>
                      <a:lnTo>
                        <a:pt x="150" y="1058"/>
                      </a:lnTo>
                      <a:lnTo>
                        <a:pt x="147" y="1058"/>
                      </a:lnTo>
                      <a:lnTo>
                        <a:pt x="145" y="1058"/>
                      </a:lnTo>
                      <a:lnTo>
                        <a:pt x="144" y="1058"/>
                      </a:lnTo>
                      <a:lnTo>
                        <a:pt x="142" y="1056"/>
                      </a:lnTo>
                      <a:lnTo>
                        <a:pt x="140" y="1056"/>
                      </a:lnTo>
                      <a:lnTo>
                        <a:pt x="140" y="1054"/>
                      </a:lnTo>
                      <a:lnTo>
                        <a:pt x="142" y="1053"/>
                      </a:lnTo>
                      <a:lnTo>
                        <a:pt x="142" y="1051"/>
                      </a:lnTo>
                      <a:lnTo>
                        <a:pt x="140" y="1049"/>
                      </a:lnTo>
                      <a:lnTo>
                        <a:pt x="139" y="1049"/>
                      </a:lnTo>
                      <a:lnTo>
                        <a:pt x="137" y="1049"/>
                      </a:lnTo>
                      <a:lnTo>
                        <a:pt x="135" y="1049"/>
                      </a:lnTo>
                      <a:lnTo>
                        <a:pt x="135" y="1048"/>
                      </a:lnTo>
                      <a:lnTo>
                        <a:pt x="132" y="1046"/>
                      </a:lnTo>
                      <a:lnTo>
                        <a:pt x="130" y="1046"/>
                      </a:lnTo>
                      <a:lnTo>
                        <a:pt x="128" y="1046"/>
                      </a:lnTo>
                      <a:lnTo>
                        <a:pt x="127" y="1046"/>
                      </a:lnTo>
                      <a:lnTo>
                        <a:pt x="125" y="1046"/>
                      </a:lnTo>
                      <a:lnTo>
                        <a:pt x="123" y="1046"/>
                      </a:lnTo>
                      <a:lnTo>
                        <a:pt x="123" y="1044"/>
                      </a:lnTo>
                      <a:lnTo>
                        <a:pt x="123" y="1043"/>
                      </a:lnTo>
                      <a:lnTo>
                        <a:pt x="123" y="1041"/>
                      </a:lnTo>
                      <a:lnTo>
                        <a:pt x="123" y="1040"/>
                      </a:lnTo>
                      <a:lnTo>
                        <a:pt x="123" y="1038"/>
                      </a:lnTo>
                      <a:lnTo>
                        <a:pt x="122" y="1036"/>
                      </a:lnTo>
                      <a:lnTo>
                        <a:pt x="122" y="1035"/>
                      </a:lnTo>
                      <a:lnTo>
                        <a:pt x="122" y="1033"/>
                      </a:lnTo>
                      <a:lnTo>
                        <a:pt x="122" y="1031"/>
                      </a:lnTo>
                      <a:lnTo>
                        <a:pt x="120" y="1031"/>
                      </a:lnTo>
                      <a:lnTo>
                        <a:pt x="120" y="1030"/>
                      </a:lnTo>
                      <a:lnTo>
                        <a:pt x="118" y="1030"/>
                      </a:lnTo>
                      <a:lnTo>
                        <a:pt x="118" y="1028"/>
                      </a:lnTo>
                      <a:lnTo>
                        <a:pt x="120" y="1026"/>
                      </a:lnTo>
                      <a:lnTo>
                        <a:pt x="120" y="1025"/>
                      </a:lnTo>
                      <a:lnTo>
                        <a:pt x="118" y="1023"/>
                      </a:lnTo>
                      <a:lnTo>
                        <a:pt x="118" y="1021"/>
                      </a:lnTo>
                      <a:lnTo>
                        <a:pt x="118" y="1020"/>
                      </a:lnTo>
                      <a:lnTo>
                        <a:pt x="118" y="1018"/>
                      </a:lnTo>
                      <a:lnTo>
                        <a:pt x="117" y="1018"/>
                      </a:lnTo>
                      <a:lnTo>
                        <a:pt x="117" y="1017"/>
                      </a:lnTo>
                      <a:lnTo>
                        <a:pt x="115" y="1017"/>
                      </a:lnTo>
                      <a:lnTo>
                        <a:pt x="115" y="1015"/>
                      </a:lnTo>
                      <a:lnTo>
                        <a:pt x="117" y="1013"/>
                      </a:lnTo>
                      <a:lnTo>
                        <a:pt x="117" y="1012"/>
                      </a:lnTo>
                      <a:lnTo>
                        <a:pt x="117" y="1010"/>
                      </a:lnTo>
                      <a:lnTo>
                        <a:pt x="117" y="1008"/>
                      </a:lnTo>
                      <a:lnTo>
                        <a:pt x="117" y="1007"/>
                      </a:lnTo>
                      <a:lnTo>
                        <a:pt x="117" y="1005"/>
                      </a:lnTo>
                      <a:lnTo>
                        <a:pt x="117" y="1003"/>
                      </a:lnTo>
                      <a:lnTo>
                        <a:pt x="118" y="1003"/>
                      </a:lnTo>
                      <a:lnTo>
                        <a:pt x="118" y="1002"/>
                      </a:lnTo>
                      <a:lnTo>
                        <a:pt x="120" y="998"/>
                      </a:lnTo>
                      <a:lnTo>
                        <a:pt x="120" y="997"/>
                      </a:lnTo>
                      <a:lnTo>
                        <a:pt x="120" y="995"/>
                      </a:lnTo>
                      <a:lnTo>
                        <a:pt x="118" y="995"/>
                      </a:lnTo>
                      <a:lnTo>
                        <a:pt x="118" y="994"/>
                      </a:lnTo>
                      <a:lnTo>
                        <a:pt x="117" y="994"/>
                      </a:lnTo>
                      <a:lnTo>
                        <a:pt x="117" y="992"/>
                      </a:lnTo>
                      <a:lnTo>
                        <a:pt x="115" y="992"/>
                      </a:lnTo>
                      <a:lnTo>
                        <a:pt x="113" y="992"/>
                      </a:lnTo>
                      <a:lnTo>
                        <a:pt x="112" y="990"/>
                      </a:lnTo>
                      <a:lnTo>
                        <a:pt x="112" y="989"/>
                      </a:lnTo>
                      <a:lnTo>
                        <a:pt x="112" y="987"/>
                      </a:lnTo>
                      <a:lnTo>
                        <a:pt x="112" y="985"/>
                      </a:lnTo>
                      <a:lnTo>
                        <a:pt x="110" y="984"/>
                      </a:lnTo>
                      <a:lnTo>
                        <a:pt x="106" y="982"/>
                      </a:lnTo>
                      <a:lnTo>
                        <a:pt x="105" y="979"/>
                      </a:lnTo>
                      <a:lnTo>
                        <a:pt x="105" y="977"/>
                      </a:lnTo>
                      <a:lnTo>
                        <a:pt x="103" y="976"/>
                      </a:lnTo>
                      <a:lnTo>
                        <a:pt x="101" y="974"/>
                      </a:lnTo>
                      <a:lnTo>
                        <a:pt x="101" y="972"/>
                      </a:lnTo>
                      <a:lnTo>
                        <a:pt x="101" y="971"/>
                      </a:lnTo>
                      <a:lnTo>
                        <a:pt x="101" y="969"/>
                      </a:lnTo>
                      <a:lnTo>
                        <a:pt x="101" y="967"/>
                      </a:lnTo>
                      <a:lnTo>
                        <a:pt x="101" y="966"/>
                      </a:lnTo>
                      <a:lnTo>
                        <a:pt x="101" y="964"/>
                      </a:lnTo>
                      <a:lnTo>
                        <a:pt x="100" y="961"/>
                      </a:lnTo>
                      <a:lnTo>
                        <a:pt x="98" y="959"/>
                      </a:lnTo>
                      <a:lnTo>
                        <a:pt x="98" y="957"/>
                      </a:lnTo>
                      <a:lnTo>
                        <a:pt x="96" y="956"/>
                      </a:lnTo>
                      <a:lnTo>
                        <a:pt x="96" y="953"/>
                      </a:lnTo>
                      <a:lnTo>
                        <a:pt x="96" y="951"/>
                      </a:lnTo>
                      <a:lnTo>
                        <a:pt x="96" y="949"/>
                      </a:lnTo>
                      <a:lnTo>
                        <a:pt x="95" y="946"/>
                      </a:lnTo>
                      <a:lnTo>
                        <a:pt x="93" y="944"/>
                      </a:lnTo>
                      <a:lnTo>
                        <a:pt x="91" y="944"/>
                      </a:lnTo>
                      <a:lnTo>
                        <a:pt x="91" y="941"/>
                      </a:lnTo>
                      <a:lnTo>
                        <a:pt x="91" y="939"/>
                      </a:lnTo>
                      <a:lnTo>
                        <a:pt x="90" y="938"/>
                      </a:lnTo>
                      <a:lnTo>
                        <a:pt x="90" y="936"/>
                      </a:lnTo>
                      <a:lnTo>
                        <a:pt x="88" y="934"/>
                      </a:lnTo>
                      <a:lnTo>
                        <a:pt x="88" y="933"/>
                      </a:lnTo>
                      <a:lnTo>
                        <a:pt x="86" y="931"/>
                      </a:lnTo>
                      <a:lnTo>
                        <a:pt x="86" y="930"/>
                      </a:lnTo>
                      <a:lnTo>
                        <a:pt x="85" y="928"/>
                      </a:lnTo>
                      <a:lnTo>
                        <a:pt x="83" y="926"/>
                      </a:lnTo>
                      <a:lnTo>
                        <a:pt x="81" y="926"/>
                      </a:lnTo>
                      <a:lnTo>
                        <a:pt x="81" y="923"/>
                      </a:lnTo>
                      <a:lnTo>
                        <a:pt x="79" y="921"/>
                      </a:lnTo>
                      <a:lnTo>
                        <a:pt x="79" y="920"/>
                      </a:lnTo>
                      <a:lnTo>
                        <a:pt x="78" y="920"/>
                      </a:lnTo>
                      <a:lnTo>
                        <a:pt x="74" y="916"/>
                      </a:lnTo>
                      <a:lnTo>
                        <a:pt x="73" y="916"/>
                      </a:lnTo>
                      <a:lnTo>
                        <a:pt x="73" y="918"/>
                      </a:lnTo>
                      <a:lnTo>
                        <a:pt x="71" y="916"/>
                      </a:lnTo>
                      <a:lnTo>
                        <a:pt x="71" y="915"/>
                      </a:lnTo>
                      <a:lnTo>
                        <a:pt x="69" y="913"/>
                      </a:lnTo>
                      <a:lnTo>
                        <a:pt x="69" y="910"/>
                      </a:lnTo>
                      <a:lnTo>
                        <a:pt x="69" y="908"/>
                      </a:lnTo>
                      <a:lnTo>
                        <a:pt x="69" y="907"/>
                      </a:lnTo>
                      <a:lnTo>
                        <a:pt x="69" y="902"/>
                      </a:lnTo>
                      <a:lnTo>
                        <a:pt x="66" y="898"/>
                      </a:lnTo>
                      <a:lnTo>
                        <a:pt x="66" y="897"/>
                      </a:lnTo>
                      <a:lnTo>
                        <a:pt x="64" y="897"/>
                      </a:lnTo>
                      <a:lnTo>
                        <a:pt x="64" y="895"/>
                      </a:lnTo>
                      <a:lnTo>
                        <a:pt x="63" y="893"/>
                      </a:lnTo>
                      <a:lnTo>
                        <a:pt x="61" y="892"/>
                      </a:lnTo>
                      <a:lnTo>
                        <a:pt x="59" y="892"/>
                      </a:lnTo>
                      <a:lnTo>
                        <a:pt x="57" y="890"/>
                      </a:lnTo>
                      <a:lnTo>
                        <a:pt x="57" y="888"/>
                      </a:lnTo>
                      <a:lnTo>
                        <a:pt x="56" y="887"/>
                      </a:lnTo>
                      <a:lnTo>
                        <a:pt x="54" y="885"/>
                      </a:lnTo>
                      <a:lnTo>
                        <a:pt x="54" y="884"/>
                      </a:lnTo>
                      <a:lnTo>
                        <a:pt x="52" y="882"/>
                      </a:lnTo>
                      <a:lnTo>
                        <a:pt x="49" y="882"/>
                      </a:lnTo>
                      <a:lnTo>
                        <a:pt x="49" y="880"/>
                      </a:lnTo>
                      <a:lnTo>
                        <a:pt x="47" y="879"/>
                      </a:lnTo>
                      <a:lnTo>
                        <a:pt x="46" y="877"/>
                      </a:lnTo>
                      <a:lnTo>
                        <a:pt x="44" y="875"/>
                      </a:lnTo>
                      <a:lnTo>
                        <a:pt x="44" y="874"/>
                      </a:lnTo>
                      <a:lnTo>
                        <a:pt x="42" y="869"/>
                      </a:lnTo>
                      <a:lnTo>
                        <a:pt x="41" y="867"/>
                      </a:lnTo>
                      <a:lnTo>
                        <a:pt x="41" y="864"/>
                      </a:lnTo>
                      <a:lnTo>
                        <a:pt x="41" y="862"/>
                      </a:lnTo>
                      <a:lnTo>
                        <a:pt x="41" y="861"/>
                      </a:lnTo>
                      <a:lnTo>
                        <a:pt x="41" y="857"/>
                      </a:lnTo>
                      <a:lnTo>
                        <a:pt x="41" y="856"/>
                      </a:lnTo>
                      <a:lnTo>
                        <a:pt x="41" y="854"/>
                      </a:lnTo>
                      <a:lnTo>
                        <a:pt x="42" y="854"/>
                      </a:lnTo>
                      <a:lnTo>
                        <a:pt x="44" y="852"/>
                      </a:lnTo>
                      <a:lnTo>
                        <a:pt x="46" y="849"/>
                      </a:lnTo>
                      <a:lnTo>
                        <a:pt x="46" y="847"/>
                      </a:lnTo>
                      <a:lnTo>
                        <a:pt x="49" y="847"/>
                      </a:lnTo>
                      <a:lnTo>
                        <a:pt x="49" y="846"/>
                      </a:lnTo>
                      <a:lnTo>
                        <a:pt x="51" y="846"/>
                      </a:lnTo>
                      <a:lnTo>
                        <a:pt x="52" y="844"/>
                      </a:lnTo>
                      <a:lnTo>
                        <a:pt x="54" y="842"/>
                      </a:lnTo>
                      <a:lnTo>
                        <a:pt x="54" y="841"/>
                      </a:lnTo>
                      <a:lnTo>
                        <a:pt x="54" y="839"/>
                      </a:lnTo>
                      <a:lnTo>
                        <a:pt x="54" y="838"/>
                      </a:lnTo>
                      <a:lnTo>
                        <a:pt x="56" y="838"/>
                      </a:lnTo>
                      <a:lnTo>
                        <a:pt x="57" y="838"/>
                      </a:lnTo>
                      <a:lnTo>
                        <a:pt x="59" y="836"/>
                      </a:lnTo>
                      <a:lnTo>
                        <a:pt x="61" y="836"/>
                      </a:lnTo>
                      <a:lnTo>
                        <a:pt x="81" y="792"/>
                      </a:lnTo>
                      <a:lnTo>
                        <a:pt x="98" y="755"/>
                      </a:lnTo>
                      <a:lnTo>
                        <a:pt x="125" y="700"/>
                      </a:lnTo>
                      <a:lnTo>
                        <a:pt x="181" y="586"/>
                      </a:lnTo>
                      <a:lnTo>
                        <a:pt x="184" y="576"/>
                      </a:lnTo>
                      <a:lnTo>
                        <a:pt x="189" y="568"/>
                      </a:lnTo>
                      <a:lnTo>
                        <a:pt x="191" y="562"/>
                      </a:lnTo>
                      <a:lnTo>
                        <a:pt x="198" y="547"/>
                      </a:lnTo>
                      <a:lnTo>
                        <a:pt x="203" y="539"/>
                      </a:lnTo>
                      <a:lnTo>
                        <a:pt x="213" y="516"/>
                      </a:lnTo>
                      <a:lnTo>
                        <a:pt x="218" y="506"/>
                      </a:lnTo>
                      <a:lnTo>
                        <a:pt x="228" y="484"/>
                      </a:lnTo>
                      <a:lnTo>
                        <a:pt x="235" y="470"/>
                      </a:lnTo>
                      <a:lnTo>
                        <a:pt x="237" y="465"/>
                      </a:lnTo>
                      <a:lnTo>
                        <a:pt x="235" y="465"/>
                      </a:lnTo>
                      <a:lnTo>
                        <a:pt x="233" y="465"/>
                      </a:lnTo>
                      <a:lnTo>
                        <a:pt x="231" y="463"/>
                      </a:lnTo>
                      <a:lnTo>
                        <a:pt x="235" y="458"/>
                      </a:lnTo>
                      <a:lnTo>
                        <a:pt x="235" y="457"/>
                      </a:lnTo>
                      <a:lnTo>
                        <a:pt x="237" y="455"/>
                      </a:lnTo>
                      <a:lnTo>
                        <a:pt x="237" y="453"/>
                      </a:lnTo>
                      <a:lnTo>
                        <a:pt x="238" y="448"/>
                      </a:lnTo>
                      <a:lnTo>
                        <a:pt x="240" y="448"/>
                      </a:lnTo>
                      <a:lnTo>
                        <a:pt x="242" y="447"/>
                      </a:lnTo>
                      <a:lnTo>
                        <a:pt x="243" y="447"/>
                      </a:lnTo>
                      <a:lnTo>
                        <a:pt x="247" y="445"/>
                      </a:lnTo>
                      <a:lnTo>
                        <a:pt x="250" y="443"/>
                      </a:lnTo>
                      <a:lnTo>
                        <a:pt x="253" y="442"/>
                      </a:lnTo>
                      <a:lnTo>
                        <a:pt x="255" y="442"/>
                      </a:lnTo>
                      <a:lnTo>
                        <a:pt x="255" y="440"/>
                      </a:lnTo>
                      <a:lnTo>
                        <a:pt x="258" y="438"/>
                      </a:lnTo>
                      <a:lnTo>
                        <a:pt x="258" y="437"/>
                      </a:lnTo>
                      <a:lnTo>
                        <a:pt x="262" y="432"/>
                      </a:lnTo>
                      <a:lnTo>
                        <a:pt x="264" y="430"/>
                      </a:lnTo>
                      <a:lnTo>
                        <a:pt x="265" y="429"/>
                      </a:lnTo>
                      <a:lnTo>
                        <a:pt x="265" y="427"/>
                      </a:lnTo>
                      <a:lnTo>
                        <a:pt x="265" y="425"/>
                      </a:lnTo>
                      <a:lnTo>
                        <a:pt x="262" y="427"/>
                      </a:lnTo>
                      <a:lnTo>
                        <a:pt x="260" y="427"/>
                      </a:lnTo>
                      <a:lnTo>
                        <a:pt x="258" y="427"/>
                      </a:lnTo>
                      <a:lnTo>
                        <a:pt x="257" y="427"/>
                      </a:lnTo>
                      <a:lnTo>
                        <a:pt x="257" y="429"/>
                      </a:lnTo>
                      <a:lnTo>
                        <a:pt x="255" y="429"/>
                      </a:lnTo>
                      <a:lnTo>
                        <a:pt x="253" y="429"/>
                      </a:lnTo>
                      <a:lnTo>
                        <a:pt x="252" y="430"/>
                      </a:lnTo>
                      <a:lnTo>
                        <a:pt x="252" y="432"/>
                      </a:lnTo>
                      <a:lnTo>
                        <a:pt x="248" y="432"/>
                      </a:lnTo>
                      <a:lnTo>
                        <a:pt x="247" y="432"/>
                      </a:lnTo>
                      <a:lnTo>
                        <a:pt x="247" y="434"/>
                      </a:lnTo>
                      <a:lnTo>
                        <a:pt x="247" y="435"/>
                      </a:lnTo>
                      <a:lnTo>
                        <a:pt x="245" y="435"/>
                      </a:lnTo>
                      <a:lnTo>
                        <a:pt x="245" y="437"/>
                      </a:lnTo>
                      <a:lnTo>
                        <a:pt x="243" y="437"/>
                      </a:lnTo>
                      <a:lnTo>
                        <a:pt x="242" y="437"/>
                      </a:lnTo>
                      <a:lnTo>
                        <a:pt x="240" y="437"/>
                      </a:lnTo>
                      <a:lnTo>
                        <a:pt x="238" y="437"/>
                      </a:lnTo>
                      <a:lnTo>
                        <a:pt x="238" y="438"/>
                      </a:lnTo>
                      <a:lnTo>
                        <a:pt x="237" y="440"/>
                      </a:lnTo>
                      <a:lnTo>
                        <a:pt x="235" y="438"/>
                      </a:lnTo>
                      <a:lnTo>
                        <a:pt x="233" y="438"/>
                      </a:lnTo>
                      <a:lnTo>
                        <a:pt x="233" y="437"/>
                      </a:lnTo>
                      <a:lnTo>
                        <a:pt x="231" y="437"/>
                      </a:lnTo>
                      <a:lnTo>
                        <a:pt x="231" y="438"/>
                      </a:lnTo>
                      <a:lnTo>
                        <a:pt x="230" y="438"/>
                      </a:lnTo>
                      <a:lnTo>
                        <a:pt x="228" y="438"/>
                      </a:lnTo>
                      <a:lnTo>
                        <a:pt x="226" y="437"/>
                      </a:lnTo>
                      <a:lnTo>
                        <a:pt x="225" y="437"/>
                      </a:lnTo>
                      <a:lnTo>
                        <a:pt x="223" y="438"/>
                      </a:lnTo>
                      <a:lnTo>
                        <a:pt x="221" y="440"/>
                      </a:lnTo>
                      <a:lnTo>
                        <a:pt x="220" y="440"/>
                      </a:lnTo>
                      <a:lnTo>
                        <a:pt x="218" y="440"/>
                      </a:lnTo>
                      <a:lnTo>
                        <a:pt x="218" y="442"/>
                      </a:lnTo>
                      <a:lnTo>
                        <a:pt x="218" y="443"/>
                      </a:lnTo>
                      <a:lnTo>
                        <a:pt x="216" y="442"/>
                      </a:lnTo>
                      <a:lnTo>
                        <a:pt x="215" y="442"/>
                      </a:lnTo>
                      <a:lnTo>
                        <a:pt x="213" y="443"/>
                      </a:lnTo>
                      <a:lnTo>
                        <a:pt x="211" y="443"/>
                      </a:lnTo>
                      <a:lnTo>
                        <a:pt x="209" y="443"/>
                      </a:lnTo>
                      <a:lnTo>
                        <a:pt x="209" y="442"/>
                      </a:lnTo>
                      <a:lnTo>
                        <a:pt x="208" y="440"/>
                      </a:lnTo>
                      <a:lnTo>
                        <a:pt x="206" y="440"/>
                      </a:lnTo>
                      <a:lnTo>
                        <a:pt x="204" y="440"/>
                      </a:lnTo>
                      <a:lnTo>
                        <a:pt x="203" y="440"/>
                      </a:lnTo>
                      <a:lnTo>
                        <a:pt x="203" y="438"/>
                      </a:lnTo>
                      <a:lnTo>
                        <a:pt x="203" y="437"/>
                      </a:lnTo>
                      <a:lnTo>
                        <a:pt x="204" y="434"/>
                      </a:lnTo>
                      <a:lnTo>
                        <a:pt x="206" y="432"/>
                      </a:lnTo>
                      <a:lnTo>
                        <a:pt x="206" y="430"/>
                      </a:lnTo>
                      <a:lnTo>
                        <a:pt x="206" y="429"/>
                      </a:lnTo>
                      <a:lnTo>
                        <a:pt x="206" y="427"/>
                      </a:lnTo>
                      <a:lnTo>
                        <a:pt x="204" y="425"/>
                      </a:lnTo>
                      <a:lnTo>
                        <a:pt x="204" y="424"/>
                      </a:lnTo>
                      <a:lnTo>
                        <a:pt x="203" y="424"/>
                      </a:lnTo>
                      <a:lnTo>
                        <a:pt x="201" y="424"/>
                      </a:lnTo>
                      <a:lnTo>
                        <a:pt x="199" y="425"/>
                      </a:lnTo>
                      <a:lnTo>
                        <a:pt x="198" y="425"/>
                      </a:lnTo>
                      <a:lnTo>
                        <a:pt x="196" y="425"/>
                      </a:lnTo>
                      <a:lnTo>
                        <a:pt x="194" y="425"/>
                      </a:lnTo>
                      <a:lnTo>
                        <a:pt x="193" y="424"/>
                      </a:lnTo>
                      <a:lnTo>
                        <a:pt x="193" y="422"/>
                      </a:lnTo>
                      <a:lnTo>
                        <a:pt x="191" y="422"/>
                      </a:lnTo>
                      <a:lnTo>
                        <a:pt x="191" y="420"/>
                      </a:lnTo>
                      <a:lnTo>
                        <a:pt x="189" y="420"/>
                      </a:lnTo>
                      <a:lnTo>
                        <a:pt x="188" y="420"/>
                      </a:lnTo>
                      <a:lnTo>
                        <a:pt x="186" y="420"/>
                      </a:lnTo>
                      <a:lnTo>
                        <a:pt x="184" y="420"/>
                      </a:lnTo>
                      <a:lnTo>
                        <a:pt x="184" y="419"/>
                      </a:lnTo>
                      <a:lnTo>
                        <a:pt x="184" y="417"/>
                      </a:lnTo>
                      <a:lnTo>
                        <a:pt x="182" y="417"/>
                      </a:lnTo>
                      <a:lnTo>
                        <a:pt x="182" y="415"/>
                      </a:lnTo>
                      <a:lnTo>
                        <a:pt x="181" y="415"/>
                      </a:lnTo>
                      <a:lnTo>
                        <a:pt x="179" y="415"/>
                      </a:lnTo>
                      <a:lnTo>
                        <a:pt x="177" y="415"/>
                      </a:lnTo>
                      <a:lnTo>
                        <a:pt x="177" y="414"/>
                      </a:lnTo>
                      <a:lnTo>
                        <a:pt x="176" y="414"/>
                      </a:lnTo>
                      <a:lnTo>
                        <a:pt x="176" y="412"/>
                      </a:lnTo>
                      <a:lnTo>
                        <a:pt x="176" y="411"/>
                      </a:lnTo>
                      <a:lnTo>
                        <a:pt x="174" y="411"/>
                      </a:lnTo>
                      <a:lnTo>
                        <a:pt x="174" y="407"/>
                      </a:lnTo>
                      <a:lnTo>
                        <a:pt x="174" y="406"/>
                      </a:lnTo>
                      <a:lnTo>
                        <a:pt x="172" y="406"/>
                      </a:lnTo>
                      <a:lnTo>
                        <a:pt x="172" y="404"/>
                      </a:lnTo>
                      <a:lnTo>
                        <a:pt x="171" y="402"/>
                      </a:lnTo>
                      <a:lnTo>
                        <a:pt x="169" y="404"/>
                      </a:lnTo>
                      <a:lnTo>
                        <a:pt x="169" y="402"/>
                      </a:lnTo>
                      <a:lnTo>
                        <a:pt x="166" y="401"/>
                      </a:lnTo>
                      <a:lnTo>
                        <a:pt x="166" y="402"/>
                      </a:lnTo>
                      <a:lnTo>
                        <a:pt x="166" y="401"/>
                      </a:lnTo>
                      <a:lnTo>
                        <a:pt x="164" y="401"/>
                      </a:lnTo>
                      <a:lnTo>
                        <a:pt x="166" y="399"/>
                      </a:lnTo>
                      <a:lnTo>
                        <a:pt x="166" y="397"/>
                      </a:lnTo>
                      <a:lnTo>
                        <a:pt x="164" y="397"/>
                      </a:lnTo>
                      <a:lnTo>
                        <a:pt x="164" y="399"/>
                      </a:lnTo>
                      <a:lnTo>
                        <a:pt x="162" y="397"/>
                      </a:lnTo>
                      <a:lnTo>
                        <a:pt x="162" y="399"/>
                      </a:lnTo>
                      <a:lnTo>
                        <a:pt x="162" y="397"/>
                      </a:lnTo>
                      <a:lnTo>
                        <a:pt x="161" y="397"/>
                      </a:lnTo>
                      <a:lnTo>
                        <a:pt x="159" y="397"/>
                      </a:lnTo>
                      <a:lnTo>
                        <a:pt x="157" y="397"/>
                      </a:lnTo>
                      <a:lnTo>
                        <a:pt x="157" y="396"/>
                      </a:lnTo>
                      <a:lnTo>
                        <a:pt x="155" y="396"/>
                      </a:lnTo>
                      <a:lnTo>
                        <a:pt x="155" y="397"/>
                      </a:lnTo>
                      <a:lnTo>
                        <a:pt x="154" y="397"/>
                      </a:lnTo>
                      <a:lnTo>
                        <a:pt x="154" y="396"/>
                      </a:lnTo>
                      <a:lnTo>
                        <a:pt x="152" y="397"/>
                      </a:lnTo>
                      <a:lnTo>
                        <a:pt x="152" y="399"/>
                      </a:lnTo>
                      <a:lnTo>
                        <a:pt x="150" y="397"/>
                      </a:lnTo>
                      <a:lnTo>
                        <a:pt x="149" y="397"/>
                      </a:lnTo>
                      <a:lnTo>
                        <a:pt x="147" y="397"/>
                      </a:lnTo>
                      <a:lnTo>
                        <a:pt x="147" y="399"/>
                      </a:lnTo>
                      <a:lnTo>
                        <a:pt x="145" y="397"/>
                      </a:lnTo>
                      <a:lnTo>
                        <a:pt x="144" y="397"/>
                      </a:lnTo>
                      <a:lnTo>
                        <a:pt x="142" y="397"/>
                      </a:lnTo>
                      <a:lnTo>
                        <a:pt x="144" y="396"/>
                      </a:lnTo>
                      <a:lnTo>
                        <a:pt x="142" y="396"/>
                      </a:lnTo>
                      <a:lnTo>
                        <a:pt x="142" y="394"/>
                      </a:lnTo>
                      <a:lnTo>
                        <a:pt x="142" y="392"/>
                      </a:lnTo>
                      <a:lnTo>
                        <a:pt x="140" y="394"/>
                      </a:lnTo>
                      <a:lnTo>
                        <a:pt x="140" y="396"/>
                      </a:lnTo>
                      <a:lnTo>
                        <a:pt x="139" y="394"/>
                      </a:lnTo>
                      <a:lnTo>
                        <a:pt x="139" y="392"/>
                      </a:lnTo>
                      <a:lnTo>
                        <a:pt x="137" y="392"/>
                      </a:lnTo>
                      <a:lnTo>
                        <a:pt x="137" y="394"/>
                      </a:lnTo>
                      <a:lnTo>
                        <a:pt x="135" y="394"/>
                      </a:lnTo>
                      <a:lnTo>
                        <a:pt x="135" y="392"/>
                      </a:lnTo>
                      <a:lnTo>
                        <a:pt x="135" y="391"/>
                      </a:lnTo>
                      <a:lnTo>
                        <a:pt x="133" y="392"/>
                      </a:lnTo>
                      <a:lnTo>
                        <a:pt x="133" y="391"/>
                      </a:lnTo>
                      <a:lnTo>
                        <a:pt x="132" y="391"/>
                      </a:lnTo>
                      <a:lnTo>
                        <a:pt x="130" y="391"/>
                      </a:lnTo>
                      <a:lnTo>
                        <a:pt x="130" y="389"/>
                      </a:lnTo>
                      <a:lnTo>
                        <a:pt x="128" y="388"/>
                      </a:lnTo>
                      <a:lnTo>
                        <a:pt x="127" y="388"/>
                      </a:lnTo>
                      <a:lnTo>
                        <a:pt x="125" y="386"/>
                      </a:lnTo>
                      <a:lnTo>
                        <a:pt x="123" y="386"/>
                      </a:lnTo>
                      <a:lnTo>
                        <a:pt x="125" y="384"/>
                      </a:lnTo>
                      <a:lnTo>
                        <a:pt x="123" y="384"/>
                      </a:lnTo>
                      <a:lnTo>
                        <a:pt x="122" y="384"/>
                      </a:lnTo>
                      <a:lnTo>
                        <a:pt x="122" y="386"/>
                      </a:lnTo>
                      <a:lnTo>
                        <a:pt x="120" y="384"/>
                      </a:lnTo>
                      <a:lnTo>
                        <a:pt x="120" y="386"/>
                      </a:lnTo>
                      <a:lnTo>
                        <a:pt x="118" y="386"/>
                      </a:lnTo>
                      <a:lnTo>
                        <a:pt x="118" y="384"/>
                      </a:lnTo>
                      <a:lnTo>
                        <a:pt x="118" y="386"/>
                      </a:lnTo>
                      <a:lnTo>
                        <a:pt x="117" y="386"/>
                      </a:lnTo>
                      <a:lnTo>
                        <a:pt x="115" y="384"/>
                      </a:lnTo>
                      <a:lnTo>
                        <a:pt x="113" y="384"/>
                      </a:lnTo>
                      <a:lnTo>
                        <a:pt x="113" y="383"/>
                      </a:lnTo>
                      <a:lnTo>
                        <a:pt x="113" y="381"/>
                      </a:lnTo>
                      <a:lnTo>
                        <a:pt x="113" y="379"/>
                      </a:lnTo>
                      <a:lnTo>
                        <a:pt x="113" y="378"/>
                      </a:lnTo>
                      <a:lnTo>
                        <a:pt x="112" y="378"/>
                      </a:lnTo>
                      <a:lnTo>
                        <a:pt x="110" y="378"/>
                      </a:lnTo>
                      <a:lnTo>
                        <a:pt x="108" y="378"/>
                      </a:lnTo>
                      <a:lnTo>
                        <a:pt x="106" y="378"/>
                      </a:lnTo>
                      <a:lnTo>
                        <a:pt x="106" y="376"/>
                      </a:lnTo>
                      <a:lnTo>
                        <a:pt x="105" y="376"/>
                      </a:lnTo>
                      <a:lnTo>
                        <a:pt x="105" y="374"/>
                      </a:lnTo>
                      <a:lnTo>
                        <a:pt x="103" y="374"/>
                      </a:lnTo>
                      <a:lnTo>
                        <a:pt x="103" y="373"/>
                      </a:lnTo>
                      <a:lnTo>
                        <a:pt x="103" y="371"/>
                      </a:lnTo>
                      <a:lnTo>
                        <a:pt x="101" y="371"/>
                      </a:lnTo>
                      <a:lnTo>
                        <a:pt x="100" y="371"/>
                      </a:lnTo>
                      <a:lnTo>
                        <a:pt x="98" y="371"/>
                      </a:lnTo>
                      <a:lnTo>
                        <a:pt x="96" y="370"/>
                      </a:lnTo>
                      <a:lnTo>
                        <a:pt x="96" y="371"/>
                      </a:lnTo>
                      <a:lnTo>
                        <a:pt x="95" y="371"/>
                      </a:lnTo>
                      <a:lnTo>
                        <a:pt x="93" y="370"/>
                      </a:lnTo>
                      <a:lnTo>
                        <a:pt x="95" y="370"/>
                      </a:lnTo>
                      <a:lnTo>
                        <a:pt x="93" y="368"/>
                      </a:lnTo>
                      <a:lnTo>
                        <a:pt x="91" y="368"/>
                      </a:lnTo>
                      <a:lnTo>
                        <a:pt x="90" y="368"/>
                      </a:lnTo>
                      <a:lnTo>
                        <a:pt x="90" y="366"/>
                      </a:lnTo>
                      <a:lnTo>
                        <a:pt x="88" y="366"/>
                      </a:lnTo>
                      <a:lnTo>
                        <a:pt x="88" y="365"/>
                      </a:lnTo>
                      <a:lnTo>
                        <a:pt x="86" y="363"/>
                      </a:lnTo>
                      <a:lnTo>
                        <a:pt x="86" y="361"/>
                      </a:lnTo>
                      <a:lnTo>
                        <a:pt x="86" y="360"/>
                      </a:lnTo>
                      <a:lnTo>
                        <a:pt x="86" y="358"/>
                      </a:lnTo>
                      <a:lnTo>
                        <a:pt x="88" y="355"/>
                      </a:lnTo>
                      <a:lnTo>
                        <a:pt x="88" y="353"/>
                      </a:lnTo>
                      <a:lnTo>
                        <a:pt x="90" y="351"/>
                      </a:lnTo>
                      <a:lnTo>
                        <a:pt x="90" y="350"/>
                      </a:lnTo>
                      <a:lnTo>
                        <a:pt x="88" y="350"/>
                      </a:lnTo>
                      <a:lnTo>
                        <a:pt x="88" y="347"/>
                      </a:lnTo>
                      <a:lnTo>
                        <a:pt x="88" y="345"/>
                      </a:lnTo>
                      <a:lnTo>
                        <a:pt x="86" y="345"/>
                      </a:lnTo>
                      <a:lnTo>
                        <a:pt x="85" y="345"/>
                      </a:lnTo>
                      <a:lnTo>
                        <a:pt x="85" y="343"/>
                      </a:lnTo>
                      <a:lnTo>
                        <a:pt x="85" y="342"/>
                      </a:lnTo>
                      <a:lnTo>
                        <a:pt x="83" y="340"/>
                      </a:lnTo>
                      <a:lnTo>
                        <a:pt x="81" y="340"/>
                      </a:lnTo>
                      <a:lnTo>
                        <a:pt x="78" y="343"/>
                      </a:lnTo>
                      <a:lnTo>
                        <a:pt x="78" y="345"/>
                      </a:lnTo>
                      <a:lnTo>
                        <a:pt x="76" y="347"/>
                      </a:lnTo>
                      <a:lnTo>
                        <a:pt x="74" y="347"/>
                      </a:lnTo>
                      <a:lnTo>
                        <a:pt x="74" y="348"/>
                      </a:lnTo>
                      <a:lnTo>
                        <a:pt x="73" y="348"/>
                      </a:lnTo>
                      <a:lnTo>
                        <a:pt x="71" y="351"/>
                      </a:lnTo>
                      <a:lnTo>
                        <a:pt x="71" y="353"/>
                      </a:lnTo>
                      <a:lnTo>
                        <a:pt x="68" y="350"/>
                      </a:lnTo>
                      <a:lnTo>
                        <a:pt x="66" y="348"/>
                      </a:lnTo>
                      <a:lnTo>
                        <a:pt x="66" y="347"/>
                      </a:lnTo>
                      <a:lnTo>
                        <a:pt x="63" y="347"/>
                      </a:lnTo>
                      <a:lnTo>
                        <a:pt x="63" y="345"/>
                      </a:lnTo>
                      <a:lnTo>
                        <a:pt x="61" y="343"/>
                      </a:lnTo>
                      <a:lnTo>
                        <a:pt x="59" y="343"/>
                      </a:lnTo>
                      <a:lnTo>
                        <a:pt x="57" y="345"/>
                      </a:lnTo>
                      <a:lnTo>
                        <a:pt x="56" y="345"/>
                      </a:lnTo>
                      <a:lnTo>
                        <a:pt x="56" y="343"/>
                      </a:lnTo>
                      <a:lnTo>
                        <a:pt x="54" y="343"/>
                      </a:lnTo>
                      <a:lnTo>
                        <a:pt x="52" y="342"/>
                      </a:lnTo>
                      <a:lnTo>
                        <a:pt x="51" y="342"/>
                      </a:lnTo>
                      <a:lnTo>
                        <a:pt x="52" y="340"/>
                      </a:lnTo>
                      <a:lnTo>
                        <a:pt x="51" y="340"/>
                      </a:lnTo>
                      <a:lnTo>
                        <a:pt x="51" y="338"/>
                      </a:lnTo>
                      <a:lnTo>
                        <a:pt x="51" y="337"/>
                      </a:lnTo>
                      <a:lnTo>
                        <a:pt x="49" y="337"/>
                      </a:lnTo>
                      <a:lnTo>
                        <a:pt x="49" y="335"/>
                      </a:lnTo>
                      <a:lnTo>
                        <a:pt x="47" y="335"/>
                      </a:lnTo>
                      <a:lnTo>
                        <a:pt x="46" y="335"/>
                      </a:lnTo>
                      <a:lnTo>
                        <a:pt x="46" y="333"/>
                      </a:lnTo>
                      <a:lnTo>
                        <a:pt x="46" y="332"/>
                      </a:lnTo>
                      <a:lnTo>
                        <a:pt x="46" y="330"/>
                      </a:lnTo>
                      <a:lnTo>
                        <a:pt x="47" y="330"/>
                      </a:lnTo>
                      <a:lnTo>
                        <a:pt x="46" y="328"/>
                      </a:lnTo>
                      <a:lnTo>
                        <a:pt x="46" y="327"/>
                      </a:lnTo>
                      <a:lnTo>
                        <a:pt x="44" y="325"/>
                      </a:lnTo>
                      <a:lnTo>
                        <a:pt x="42" y="325"/>
                      </a:lnTo>
                      <a:lnTo>
                        <a:pt x="42" y="324"/>
                      </a:lnTo>
                      <a:lnTo>
                        <a:pt x="42" y="322"/>
                      </a:lnTo>
                      <a:lnTo>
                        <a:pt x="44" y="322"/>
                      </a:lnTo>
                      <a:lnTo>
                        <a:pt x="44" y="320"/>
                      </a:lnTo>
                      <a:lnTo>
                        <a:pt x="42" y="319"/>
                      </a:lnTo>
                      <a:lnTo>
                        <a:pt x="41" y="319"/>
                      </a:lnTo>
                      <a:lnTo>
                        <a:pt x="41" y="320"/>
                      </a:lnTo>
                      <a:lnTo>
                        <a:pt x="41" y="319"/>
                      </a:lnTo>
                      <a:lnTo>
                        <a:pt x="39" y="319"/>
                      </a:lnTo>
                      <a:lnTo>
                        <a:pt x="39" y="317"/>
                      </a:lnTo>
                      <a:lnTo>
                        <a:pt x="39" y="315"/>
                      </a:lnTo>
                      <a:lnTo>
                        <a:pt x="37" y="315"/>
                      </a:lnTo>
                      <a:lnTo>
                        <a:pt x="37" y="317"/>
                      </a:lnTo>
                      <a:lnTo>
                        <a:pt x="37" y="315"/>
                      </a:lnTo>
                      <a:lnTo>
                        <a:pt x="36" y="315"/>
                      </a:lnTo>
                      <a:lnTo>
                        <a:pt x="34" y="314"/>
                      </a:lnTo>
                      <a:lnTo>
                        <a:pt x="32" y="314"/>
                      </a:lnTo>
                      <a:lnTo>
                        <a:pt x="32" y="312"/>
                      </a:lnTo>
                      <a:lnTo>
                        <a:pt x="30" y="312"/>
                      </a:lnTo>
                      <a:lnTo>
                        <a:pt x="30" y="310"/>
                      </a:lnTo>
                      <a:lnTo>
                        <a:pt x="29" y="310"/>
                      </a:lnTo>
                      <a:lnTo>
                        <a:pt x="29" y="309"/>
                      </a:lnTo>
                      <a:lnTo>
                        <a:pt x="27" y="309"/>
                      </a:lnTo>
                      <a:lnTo>
                        <a:pt x="27" y="307"/>
                      </a:lnTo>
                      <a:lnTo>
                        <a:pt x="25" y="305"/>
                      </a:lnTo>
                      <a:lnTo>
                        <a:pt x="24" y="305"/>
                      </a:lnTo>
                      <a:lnTo>
                        <a:pt x="22" y="305"/>
                      </a:lnTo>
                      <a:lnTo>
                        <a:pt x="22" y="304"/>
                      </a:lnTo>
                      <a:lnTo>
                        <a:pt x="20" y="302"/>
                      </a:lnTo>
                      <a:lnTo>
                        <a:pt x="19" y="302"/>
                      </a:lnTo>
                      <a:lnTo>
                        <a:pt x="19" y="301"/>
                      </a:lnTo>
                      <a:lnTo>
                        <a:pt x="19" y="299"/>
                      </a:lnTo>
                      <a:lnTo>
                        <a:pt x="17" y="299"/>
                      </a:lnTo>
                      <a:lnTo>
                        <a:pt x="17" y="297"/>
                      </a:lnTo>
                      <a:lnTo>
                        <a:pt x="15" y="296"/>
                      </a:lnTo>
                      <a:lnTo>
                        <a:pt x="17" y="296"/>
                      </a:lnTo>
                      <a:lnTo>
                        <a:pt x="17" y="294"/>
                      </a:lnTo>
                      <a:lnTo>
                        <a:pt x="17" y="292"/>
                      </a:lnTo>
                      <a:lnTo>
                        <a:pt x="17" y="291"/>
                      </a:lnTo>
                      <a:lnTo>
                        <a:pt x="19" y="289"/>
                      </a:lnTo>
                      <a:lnTo>
                        <a:pt x="19" y="287"/>
                      </a:lnTo>
                      <a:lnTo>
                        <a:pt x="17" y="286"/>
                      </a:lnTo>
                      <a:lnTo>
                        <a:pt x="17" y="284"/>
                      </a:lnTo>
                      <a:lnTo>
                        <a:pt x="15" y="282"/>
                      </a:lnTo>
                      <a:lnTo>
                        <a:pt x="17" y="282"/>
                      </a:lnTo>
                      <a:lnTo>
                        <a:pt x="17" y="281"/>
                      </a:lnTo>
                      <a:lnTo>
                        <a:pt x="17" y="279"/>
                      </a:lnTo>
                      <a:lnTo>
                        <a:pt x="15" y="279"/>
                      </a:lnTo>
                      <a:lnTo>
                        <a:pt x="15" y="278"/>
                      </a:lnTo>
                      <a:lnTo>
                        <a:pt x="14" y="276"/>
                      </a:lnTo>
                      <a:lnTo>
                        <a:pt x="12" y="276"/>
                      </a:lnTo>
                      <a:lnTo>
                        <a:pt x="12" y="274"/>
                      </a:lnTo>
                      <a:lnTo>
                        <a:pt x="10" y="274"/>
                      </a:lnTo>
                      <a:lnTo>
                        <a:pt x="9" y="274"/>
                      </a:lnTo>
                      <a:lnTo>
                        <a:pt x="7" y="274"/>
                      </a:lnTo>
                      <a:lnTo>
                        <a:pt x="5" y="273"/>
                      </a:lnTo>
                      <a:lnTo>
                        <a:pt x="3" y="271"/>
                      </a:lnTo>
                      <a:lnTo>
                        <a:pt x="3" y="269"/>
                      </a:lnTo>
                      <a:lnTo>
                        <a:pt x="3" y="268"/>
                      </a:lnTo>
                      <a:lnTo>
                        <a:pt x="2" y="268"/>
                      </a:lnTo>
                      <a:lnTo>
                        <a:pt x="3" y="268"/>
                      </a:lnTo>
                      <a:lnTo>
                        <a:pt x="3" y="266"/>
                      </a:lnTo>
                      <a:lnTo>
                        <a:pt x="3" y="264"/>
                      </a:lnTo>
                      <a:lnTo>
                        <a:pt x="3" y="263"/>
                      </a:lnTo>
                      <a:lnTo>
                        <a:pt x="2" y="259"/>
                      </a:lnTo>
                      <a:lnTo>
                        <a:pt x="2" y="258"/>
                      </a:lnTo>
                      <a:lnTo>
                        <a:pt x="2" y="256"/>
                      </a:lnTo>
                      <a:lnTo>
                        <a:pt x="3" y="256"/>
                      </a:lnTo>
                      <a:lnTo>
                        <a:pt x="3" y="255"/>
                      </a:lnTo>
                      <a:lnTo>
                        <a:pt x="3" y="253"/>
                      </a:lnTo>
                      <a:lnTo>
                        <a:pt x="3" y="251"/>
                      </a:lnTo>
                      <a:lnTo>
                        <a:pt x="3" y="248"/>
                      </a:lnTo>
                      <a:lnTo>
                        <a:pt x="3" y="246"/>
                      </a:lnTo>
                      <a:lnTo>
                        <a:pt x="3" y="245"/>
                      </a:lnTo>
                      <a:lnTo>
                        <a:pt x="2" y="245"/>
                      </a:lnTo>
                      <a:lnTo>
                        <a:pt x="2" y="243"/>
                      </a:lnTo>
                      <a:lnTo>
                        <a:pt x="2" y="241"/>
                      </a:lnTo>
                      <a:lnTo>
                        <a:pt x="0" y="241"/>
                      </a:lnTo>
                      <a:lnTo>
                        <a:pt x="0" y="240"/>
                      </a:lnTo>
                      <a:close/>
                      <a:moveTo>
                        <a:pt x="1110" y="299"/>
                      </a:moveTo>
                      <a:lnTo>
                        <a:pt x="1110" y="297"/>
                      </a:lnTo>
                      <a:lnTo>
                        <a:pt x="1110" y="299"/>
                      </a:lnTo>
                      <a:close/>
                      <a:moveTo>
                        <a:pt x="1115" y="299"/>
                      </a:moveTo>
                      <a:lnTo>
                        <a:pt x="1115" y="301"/>
                      </a:lnTo>
                      <a:lnTo>
                        <a:pt x="1113" y="299"/>
                      </a:lnTo>
                      <a:lnTo>
                        <a:pt x="1115" y="299"/>
                      </a:lnTo>
                      <a:close/>
                      <a:moveTo>
                        <a:pt x="1116" y="301"/>
                      </a:moveTo>
                      <a:lnTo>
                        <a:pt x="1118" y="301"/>
                      </a:lnTo>
                      <a:lnTo>
                        <a:pt x="1116" y="301"/>
                      </a:lnTo>
                      <a:close/>
                      <a:moveTo>
                        <a:pt x="1123" y="301"/>
                      </a:moveTo>
                      <a:lnTo>
                        <a:pt x="1122" y="301"/>
                      </a:lnTo>
                      <a:lnTo>
                        <a:pt x="1123" y="301"/>
                      </a:lnTo>
                      <a:close/>
                      <a:moveTo>
                        <a:pt x="1123" y="302"/>
                      </a:moveTo>
                      <a:lnTo>
                        <a:pt x="1125" y="302"/>
                      </a:lnTo>
                      <a:lnTo>
                        <a:pt x="1123" y="302"/>
                      </a:lnTo>
                      <a:close/>
                      <a:moveTo>
                        <a:pt x="1194" y="332"/>
                      </a:moveTo>
                      <a:lnTo>
                        <a:pt x="1192" y="330"/>
                      </a:lnTo>
                      <a:lnTo>
                        <a:pt x="1192" y="328"/>
                      </a:lnTo>
                      <a:lnTo>
                        <a:pt x="1192" y="327"/>
                      </a:lnTo>
                      <a:lnTo>
                        <a:pt x="1192" y="325"/>
                      </a:lnTo>
                      <a:lnTo>
                        <a:pt x="1194" y="325"/>
                      </a:lnTo>
                      <a:lnTo>
                        <a:pt x="1194" y="327"/>
                      </a:lnTo>
                      <a:lnTo>
                        <a:pt x="1192" y="327"/>
                      </a:lnTo>
                      <a:lnTo>
                        <a:pt x="1192" y="328"/>
                      </a:lnTo>
                      <a:lnTo>
                        <a:pt x="1194" y="328"/>
                      </a:lnTo>
                      <a:lnTo>
                        <a:pt x="1194" y="330"/>
                      </a:lnTo>
                      <a:lnTo>
                        <a:pt x="1194" y="332"/>
                      </a:lnTo>
                      <a:close/>
                      <a:moveTo>
                        <a:pt x="1218" y="342"/>
                      </a:moveTo>
                      <a:lnTo>
                        <a:pt x="1216" y="340"/>
                      </a:lnTo>
                      <a:lnTo>
                        <a:pt x="1216" y="338"/>
                      </a:lnTo>
                      <a:lnTo>
                        <a:pt x="1214" y="338"/>
                      </a:lnTo>
                      <a:lnTo>
                        <a:pt x="1214" y="337"/>
                      </a:lnTo>
                      <a:lnTo>
                        <a:pt x="1216" y="337"/>
                      </a:lnTo>
                      <a:lnTo>
                        <a:pt x="1216" y="338"/>
                      </a:lnTo>
                      <a:lnTo>
                        <a:pt x="1218" y="340"/>
                      </a:lnTo>
                      <a:lnTo>
                        <a:pt x="1218" y="342"/>
                      </a:lnTo>
                      <a:close/>
                      <a:moveTo>
                        <a:pt x="1182" y="330"/>
                      </a:moveTo>
                      <a:lnTo>
                        <a:pt x="1182" y="328"/>
                      </a:lnTo>
                      <a:lnTo>
                        <a:pt x="1182" y="327"/>
                      </a:lnTo>
                      <a:lnTo>
                        <a:pt x="1184" y="327"/>
                      </a:lnTo>
                      <a:lnTo>
                        <a:pt x="1184" y="325"/>
                      </a:lnTo>
                      <a:lnTo>
                        <a:pt x="1186" y="325"/>
                      </a:lnTo>
                      <a:lnTo>
                        <a:pt x="1186" y="327"/>
                      </a:lnTo>
                      <a:lnTo>
                        <a:pt x="1184" y="328"/>
                      </a:lnTo>
                      <a:lnTo>
                        <a:pt x="1182" y="330"/>
                      </a:lnTo>
                      <a:close/>
                      <a:moveTo>
                        <a:pt x="1179" y="328"/>
                      </a:moveTo>
                      <a:lnTo>
                        <a:pt x="1179" y="327"/>
                      </a:lnTo>
                      <a:lnTo>
                        <a:pt x="1179" y="328"/>
                      </a:lnTo>
                      <a:close/>
                      <a:moveTo>
                        <a:pt x="1187" y="332"/>
                      </a:moveTo>
                      <a:lnTo>
                        <a:pt x="1187" y="330"/>
                      </a:lnTo>
                      <a:lnTo>
                        <a:pt x="1189" y="330"/>
                      </a:lnTo>
                      <a:lnTo>
                        <a:pt x="1187" y="330"/>
                      </a:lnTo>
                      <a:lnTo>
                        <a:pt x="1187" y="332"/>
                      </a:lnTo>
                      <a:close/>
                      <a:moveTo>
                        <a:pt x="1181" y="332"/>
                      </a:moveTo>
                      <a:lnTo>
                        <a:pt x="1182" y="332"/>
                      </a:lnTo>
                      <a:lnTo>
                        <a:pt x="1181" y="332"/>
                      </a:lnTo>
                      <a:close/>
                      <a:moveTo>
                        <a:pt x="1127" y="302"/>
                      </a:moveTo>
                      <a:lnTo>
                        <a:pt x="1127" y="304"/>
                      </a:lnTo>
                      <a:lnTo>
                        <a:pt x="1128" y="304"/>
                      </a:lnTo>
                      <a:lnTo>
                        <a:pt x="1127" y="304"/>
                      </a:lnTo>
                      <a:lnTo>
                        <a:pt x="1125" y="304"/>
                      </a:lnTo>
                      <a:lnTo>
                        <a:pt x="1125" y="302"/>
                      </a:lnTo>
                      <a:lnTo>
                        <a:pt x="1127" y="302"/>
                      </a:lnTo>
                      <a:close/>
                      <a:moveTo>
                        <a:pt x="1049" y="301"/>
                      </a:moveTo>
                      <a:lnTo>
                        <a:pt x="1049" y="299"/>
                      </a:lnTo>
                      <a:lnTo>
                        <a:pt x="1051" y="301"/>
                      </a:lnTo>
                      <a:lnTo>
                        <a:pt x="1049" y="301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0" name="Freeform 18"/>
                <p:cNvSpPr>
                  <a:spLocks noChangeAspect="1"/>
                </p:cNvSpPr>
                <p:nvPr/>
              </p:nvSpPr>
              <p:spPr bwMode="auto">
                <a:xfrm>
                  <a:off x="6564325" y="2744831"/>
                  <a:ext cx="274194" cy="315226"/>
                </a:xfrm>
                <a:custGeom>
                  <a:avLst/>
                  <a:gdLst>
                    <a:gd name="T0" fmla="*/ 2147483647 w 176"/>
                    <a:gd name="T1" fmla="*/ 2147483647 h 189"/>
                    <a:gd name="T2" fmla="*/ 2147483647 w 176"/>
                    <a:gd name="T3" fmla="*/ 2147483647 h 189"/>
                    <a:gd name="T4" fmla="*/ 2147483647 w 176"/>
                    <a:gd name="T5" fmla="*/ 2147483647 h 189"/>
                    <a:gd name="T6" fmla="*/ 2147483647 w 176"/>
                    <a:gd name="T7" fmla="*/ 2147483647 h 189"/>
                    <a:gd name="T8" fmla="*/ 2147483647 w 176"/>
                    <a:gd name="T9" fmla="*/ 2147483647 h 189"/>
                    <a:gd name="T10" fmla="*/ 2147483647 w 176"/>
                    <a:gd name="T11" fmla="*/ 2147483647 h 189"/>
                    <a:gd name="T12" fmla="*/ 2147483647 w 176"/>
                    <a:gd name="T13" fmla="*/ 2147483647 h 189"/>
                    <a:gd name="T14" fmla="*/ 2147483647 w 176"/>
                    <a:gd name="T15" fmla="*/ 2147483647 h 189"/>
                    <a:gd name="T16" fmla="*/ 2147483647 w 176"/>
                    <a:gd name="T17" fmla="*/ 2147483647 h 189"/>
                    <a:gd name="T18" fmla="*/ 2147483647 w 176"/>
                    <a:gd name="T19" fmla="*/ 2147483647 h 189"/>
                    <a:gd name="T20" fmla="*/ 2147483647 w 176"/>
                    <a:gd name="T21" fmla="*/ 2147483647 h 189"/>
                    <a:gd name="T22" fmla="*/ 2147483647 w 176"/>
                    <a:gd name="T23" fmla="*/ 2147483647 h 189"/>
                    <a:gd name="T24" fmla="*/ 2147483647 w 176"/>
                    <a:gd name="T25" fmla="*/ 2147483647 h 189"/>
                    <a:gd name="T26" fmla="*/ 2147483647 w 176"/>
                    <a:gd name="T27" fmla="*/ 2147483647 h 189"/>
                    <a:gd name="T28" fmla="*/ 2147483647 w 176"/>
                    <a:gd name="T29" fmla="*/ 2147483647 h 189"/>
                    <a:gd name="T30" fmla="*/ 2147483647 w 176"/>
                    <a:gd name="T31" fmla="*/ 2147483647 h 189"/>
                    <a:gd name="T32" fmla="*/ 2147483647 w 176"/>
                    <a:gd name="T33" fmla="*/ 2147483647 h 189"/>
                    <a:gd name="T34" fmla="*/ 2147483647 w 176"/>
                    <a:gd name="T35" fmla="*/ 2147483647 h 189"/>
                    <a:gd name="T36" fmla="*/ 2147483647 w 176"/>
                    <a:gd name="T37" fmla="*/ 2147483647 h 189"/>
                    <a:gd name="T38" fmla="*/ 2147483647 w 176"/>
                    <a:gd name="T39" fmla="*/ 2147483647 h 189"/>
                    <a:gd name="T40" fmla="*/ 2147483647 w 176"/>
                    <a:gd name="T41" fmla="*/ 2147483647 h 189"/>
                    <a:gd name="T42" fmla="*/ 2147483647 w 176"/>
                    <a:gd name="T43" fmla="*/ 2147483647 h 189"/>
                    <a:gd name="T44" fmla="*/ 2147483647 w 176"/>
                    <a:gd name="T45" fmla="*/ 2147483647 h 189"/>
                    <a:gd name="T46" fmla="*/ 2147483647 w 176"/>
                    <a:gd name="T47" fmla="*/ 2147483647 h 189"/>
                    <a:gd name="T48" fmla="*/ 2147483647 w 176"/>
                    <a:gd name="T49" fmla="*/ 2147483647 h 189"/>
                    <a:gd name="T50" fmla="*/ 2147483647 w 176"/>
                    <a:gd name="T51" fmla="*/ 2147483647 h 189"/>
                    <a:gd name="T52" fmla="*/ 2147483647 w 176"/>
                    <a:gd name="T53" fmla="*/ 2147483647 h 189"/>
                    <a:gd name="T54" fmla="*/ 0 w 176"/>
                    <a:gd name="T55" fmla="*/ 2147483647 h 189"/>
                    <a:gd name="T56" fmla="*/ 2147483647 w 176"/>
                    <a:gd name="T57" fmla="*/ 2147483647 h 189"/>
                    <a:gd name="T58" fmla="*/ 2147483647 w 176"/>
                    <a:gd name="T59" fmla="*/ 2147483647 h 189"/>
                    <a:gd name="T60" fmla="*/ 2147483647 w 176"/>
                    <a:gd name="T61" fmla="*/ 2147483647 h 189"/>
                    <a:gd name="T62" fmla="*/ 2147483647 w 176"/>
                    <a:gd name="T63" fmla="*/ 2147483647 h 189"/>
                    <a:gd name="T64" fmla="*/ 2147483647 w 176"/>
                    <a:gd name="T65" fmla="*/ 2147483647 h 189"/>
                    <a:gd name="T66" fmla="*/ 2147483647 w 176"/>
                    <a:gd name="T67" fmla="*/ 2147483647 h 189"/>
                    <a:gd name="T68" fmla="*/ 2147483647 w 176"/>
                    <a:gd name="T69" fmla="*/ 2147483647 h 189"/>
                    <a:gd name="T70" fmla="*/ 2147483647 w 176"/>
                    <a:gd name="T71" fmla="*/ 2147483647 h 189"/>
                    <a:gd name="T72" fmla="*/ 2147483647 w 176"/>
                    <a:gd name="T73" fmla="*/ 2147483647 h 189"/>
                    <a:gd name="T74" fmla="*/ 2147483647 w 176"/>
                    <a:gd name="T75" fmla="*/ 2147483647 h 189"/>
                    <a:gd name="T76" fmla="*/ 2147483647 w 176"/>
                    <a:gd name="T77" fmla="*/ 2147483647 h 189"/>
                    <a:gd name="T78" fmla="*/ 2147483647 w 176"/>
                    <a:gd name="T79" fmla="*/ 2147483647 h 189"/>
                    <a:gd name="T80" fmla="*/ 2147483647 w 176"/>
                    <a:gd name="T81" fmla="*/ 2147483647 h 189"/>
                    <a:gd name="T82" fmla="*/ 2147483647 w 176"/>
                    <a:gd name="T83" fmla="*/ 2147483647 h 189"/>
                    <a:gd name="T84" fmla="*/ 2147483647 w 176"/>
                    <a:gd name="T85" fmla="*/ 2147483647 h 189"/>
                    <a:gd name="T86" fmla="*/ 2147483647 w 176"/>
                    <a:gd name="T87" fmla="*/ 2147483647 h 189"/>
                    <a:gd name="T88" fmla="*/ 2147483647 w 176"/>
                    <a:gd name="T89" fmla="*/ 2147483647 h 189"/>
                    <a:gd name="T90" fmla="*/ 2147483647 w 176"/>
                    <a:gd name="T91" fmla="*/ 2147483647 h 189"/>
                    <a:gd name="T92" fmla="*/ 2147483647 w 176"/>
                    <a:gd name="T93" fmla="*/ 2147483647 h 189"/>
                    <a:gd name="T94" fmla="*/ 2147483647 w 176"/>
                    <a:gd name="T95" fmla="*/ 2147483647 h 189"/>
                    <a:gd name="T96" fmla="*/ 2147483647 w 176"/>
                    <a:gd name="T97" fmla="*/ 2147483647 h 189"/>
                    <a:gd name="T98" fmla="*/ 2147483647 w 176"/>
                    <a:gd name="T99" fmla="*/ 2147483647 h 189"/>
                    <a:gd name="T100" fmla="*/ 2147483647 w 176"/>
                    <a:gd name="T101" fmla="*/ 2147483647 h 189"/>
                    <a:gd name="T102" fmla="*/ 2147483647 w 176"/>
                    <a:gd name="T103" fmla="*/ 2147483647 h 189"/>
                    <a:gd name="T104" fmla="*/ 2147483647 w 176"/>
                    <a:gd name="T105" fmla="*/ 2147483647 h 189"/>
                    <a:gd name="T106" fmla="*/ 2147483647 w 176"/>
                    <a:gd name="T107" fmla="*/ 2147483647 h 189"/>
                    <a:gd name="T108" fmla="*/ 2147483647 w 176"/>
                    <a:gd name="T109" fmla="*/ 2147483647 h 189"/>
                    <a:gd name="T110" fmla="*/ 2147483647 w 176"/>
                    <a:gd name="T111" fmla="*/ 2147483647 h 189"/>
                    <a:gd name="T112" fmla="*/ 2147483647 w 176"/>
                    <a:gd name="T113" fmla="*/ 2147483647 h 189"/>
                    <a:gd name="T114" fmla="*/ 2147483647 w 176"/>
                    <a:gd name="T115" fmla="*/ 2147483647 h 189"/>
                    <a:gd name="T116" fmla="*/ 2147483647 w 176"/>
                    <a:gd name="T117" fmla="*/ 2147483647 h 189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76"/>
                    <a:gd name="T178" fmla="*/ 0 h 189"/>
                    <a:gd name="T179" fmla="*/ 176 w 176"/>
                    <a:gd name="T180" fmla="*/ 189 h 189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76" h="189">
                      <a:moveTo>
                        <a:pt x="166" y="84"/>
                      </a:moveTo>
                      <a:lnTo>
                        <a:pt x="167" y="82"/>
                      </a:lnTo>
                      <a:lnTo>
                        <a:pt x="169" y="82"/>
                      </a:lnTo>
                      <a:lnTo>
                        <a:pt x="173" y="84"/>
                      </a:lnTo>
                      <a:lnTo>
                        <a:pt x="174" y="88"/>
                      </a:lnTo>
                      <a:lnTo>
                        <a:pt x="174" y="90"/>
                      </a:lnTo>
                      <a:lnTo>
                        <a:pt x="176" y="90"/>
                      </a:lnTo>
                      <a:lnTo>
                        <a:pt x="174" y="92"/>
                      </a:lnTo>
                      <a:lnTo>
                        <a:pt x="173" y="92"/>
                      </a:lnTo>
                      <a:lnTo>
                        <a:pt x="171" y="92"/>
                      </a:lnTo>
                      <a:lnTo>
                        <a:pt x="169" y="93"/>
                      </a:lnTo>
                      <a:lnTo>
                        <a:pt x="167" y="93"/>
                      </a:lnTo>
                      <a:lnTo>
                        <a:pt x="166" y="93"/>
                      </a:lnTo>
                      <a:lnTo>
                        <a:pt x="164" y="95"/>
                      </a:lnTo>
                      <a:lnTo>
                        <a:pt x="162" y="95"/>
                      </a:lnTo>
                      <a:lnTo>
                        <a:pt x="161" y="95"/>
                      </a:lnTo>
                      <a:lnTo>
                        <a:pt x="157" y="97"/>
                      </a:lnTo>
                      <a:lnTo>
                        <a:pt x="156" y="97"/>
                      </a:lnTo>
                      <a:lnTo>
                        <a:pt x="154" y="98"/>
                      </a:lnTo>
                      <a:lnTo>
                        <a:pt x="152" y="98"/>
                      </a:lnTo>
                      <a:lnTo>
                        <a:pt x="152" y="100"/>
                      </a:lnTo>
                      <a:lnTo>
                        <a:pt x="151" y="100"/>
                      </a:lnTo>
                      <a:lnTo>
                        <a:pt x="149" y="102"/>
                      </a:lnTo>
                      <a:lnTo>
                        <a:pt x="149" y="103"/>
                      </a:lnTo>
                      <a:lnTo>
                        <a:pt x="145" y="103"/>
                      </a:lnTo>
                      <a:lnTo>
                        <a:pt x="144" y="105"/>
                      </a:lnTo>
                      <a:lnTo>
                        <a:pt x="142" y="105"/>
                      </a:lnTo>
                      <a:lnTo>
                        <a:pt x="139" y="106"/>
                      </a:lnTo>
                      <a:lnTo>
                        <a:pt x="139" y="108"/>
                      </a:lnTo>
                      <a:lnTo>
                        <a:pt x="135" y="110"/>
                      </a:lnTo>
                      <a:lnTo>
                        <a:pt x="132" y="113"/>
                      </a:lnTo>
                      <a:lnTo>
                        <a:pt x="130" y="115"/>
                      </a:lnTo>
                      <a:lnTo>
                        <a:pt x="129" y="116"/>
                      </a:lnTo>
                      <a:lnTo>
                        <a:pt x="127" y="118"/>
                      </a:lnTo>
                      <a:lnTo>
                        <a:pt x="125" y="118"/>
                      </a:lnTo>
                      <a:lnTo>
                        <a:pt x="125" y="120"/>
                      </a:lnTo>
                      <a:lnTo>
                        <a:pt x="124" y="121"/>
                      </a:lnTo>
                      <a:lnTo>
                        <a:pt x="122" y="123"/>
                      </a:lnTo>
                      <a:lnTo>
                        <a:pt x="120" y="125"/>
                      </a:lnTo>
                      <a:lnTo>
                        <a:pt x="117" y="128"/>
                      </a:lnTo>
                      <a:lnTo>
                        <a:pt x="115" y="131"/>
                      </a:lnTo>
                      <a:lnTo>
                        <a:pt x="115" y="133"/>
                      </a:lnTo>
                      <a:lnTo>
                        <a:pt x="113" y="133"/>
                      </a:lnTo>
                      <a:lnTo>
                        <a:pt x="115" y="133"/>
                      </a:lnTo>
                      <a:lnTo>
                        <a:pt x="112" y="136"/>
                      </a:lnTo>
                      <a:lnTo>
                        <a:pt x="112" y="138"/>
                      </a:lnTo>
                      <a:lnTo>
                        <a:pt x="110" y="139"/>
                      </a:lnTo>
                      <a:lnTo>
                        <a:pt x="108" y="141"/>
                      </a:lnTo>
                      <a:lnTo>
                        <a:pt x="107" y="144"/>
                      </a:lnTo>
                      <a:lnTo>
                        <a:pt x="105" y="146"/>
                      </a:lnTo>
                      <a:lnTo>
                        <a:pt x="105" y="148"/>
                      </a:lnTo>
                      <a:lnTo>
                        <a:pt x="103" y="148"/>
                      </a:lnTo>
                      <a:lnTo>
                        <a:pt x="103" y="149"/>
                      </a:lnTo>
                      <a:lnTo>
                        <a:pt x="102" y="151"/>
                      </a:lnTo>
                      <a:lnTo>
                        <a:pt x="103" y="151"/>
                      </a:lnTo>
                      <a:lnTo>
                        <a:pt x="103" y="152"/>
                      </a:lnTo>
                      <a:lnTo>
                        <a:pt x="102" y="154"/>
                      </a:lnTo>
                      <a:lnTo>
                        <a:pt x="98" y="157"/>
                      </a:lnTo>
                      <a:lnTo>
                        <a:pt x="93" y="162"/>
                      </a:lnTo>
                      <a:lnTo>
                        <a:pt x="93" y="164"/>
                      </a:lnTo>
                      <a:lnTo>
                        <a:pt x="91" y="166"/>
                      </a:lnTo>
                      <a:lnTo>
                        <a:pt x="90" y="169"/>
                      </a:lnTo>
                      <a:lnTo>
                        <a:pt x="90" y="171"/>
                      </a:lnTo>
                      <a:lnTo>
                        <a:pt x="88" y="172"/>
                      </a:lnTo>
                      <a:lnTo>
                        <a:pt x="88" y="174"/>
                      </a:lnTo>
                      <a:lnTo>
                        <a:pt x="88" y="175"/>
                      </a:lnTo>
                      <a:lnTo>
                        <a:pt x="86" y="175"/>
                      </a:lnTo>
                      <a:lnTo>
                        <a:pt x="86" y="177"/>
                      </a:lnTo>
                      <a:lnTo>
                        <a:pt x="85" y="177"/>
                      </a:lnTo>
                      <a:lnTo>
                        <a:pt x="83" y="177"/>
                      </a:lnTo>
                      <a:lnTo>
                        <a:pt x="83" y="179"/>
                      </a:lnTo>
                      <a:lnTo>
                        <a:pt x="81" y="180"/>
                      </a:lnTo>
                      <a:lnTo>
                        <a:pt x="80" y="180"/>
                      </a:lnTo>
                      <a:lnTo>
                        <a:pt x="76" y="184"/>
                      </a:lnTo>
                      <a:lnTo>
                        <a:pt x="75" y="184"/>
                      </a:lnTo>
                      <a:lnTo>
                        <a:pt x="73" y="185"/>
                      </a:lnTo>
                      <a:lnTo>
                        <a:pt x="73" y="184"/>
                      </a:lnTo>
                      <a:lnTo>
                        <a:pt x="71" y="185"/>
                      </a:lnTo>
                      <a:lnTo>
                        <a:pt x="69" y="185"/>
                      </a:lnTo>
                      <a:lnTo>
                        <a:pt x="69" y="187"/>
                      </a:lnTo>
                      <a:lnTo>
                        <a:pt x="68" y="187"/>
                      </a:lnTo>
                      <a:lnTo>
                        <a:pt x="66" y="187"/>
                      </a:lnTo>
                      <a:lnTo>
                        <a:pt x="64" y="187"/>
                      </a:lnTo>
                      <a:lnTo>
                        <a:pt x="64" y="185"/>
                      </a:lnTo>
                      <a:lnTo>
                        <a:pt x="63" y="187"/>
                      </a:lnTo>
                      <a:lnTo>
                        <a:pt x="64" y="187"/>
                      </a:lnTo>
                      <a:lnTo>
                        <a:pt x="63" y="187"/>
                      </a:lnTo>
                      <a:lnTo>
                        <a:pt x="63" y="185"/>
                      </a:lnTo>
                      <a:lnTo>
                        <a:pt x="61" y="185"/>
                      </a:lnTo>
                      <a:lnTo>
                        <a:pt x="59" y="185"/>
                      </a:lnTo>
                      <a:lnTo>
                        <a:pt x="58" y="185"/>
                      </a:lnTo>
                      <a:lnTo>
                        <a:pt x="58" y="184"/>
                      </a:lnTo>
                      <a:lnTo>
                        <a:pt x="58" y="185"/>
                      </a:lnTo>
                      <a:lnTo>
                        <a:pt x="56" y="184"/>
                      </a:lnTo>
                      <a:lnTo>
                        <a:pt x="56" y="185"/>
                      </a:lnTo>
                      <a:lnTo>
                        <a:pt x="54" y="185"/>
                      </a:lnTo>
                      <a:lnTo>
                        <a:pt x="56" y="185"/>
                      </a:lnTo>
                      <a:lnTo>
                        <a:pt x="56" y="187"/>
                      </a:lnTo>
                      <a:lnTo>
                        <a:pt x="54" y="187"/>
                      </a:lnTo>
                      <a:lnTo>
                        <a:pt x="54" y="189"/>
                      </a:lnTo>
                      <a:lnTo>
                        <a:pt x="53" y="189"/>
                      </a:lnTo>
                      <a:lnTo>
                        <a:pt x="51" y="189"/>
                      </a:lnTo>
                      <a:lnTo>
                        <a:pt x="51" y="187"/>
                      </a:lnTo>
                      <a:lnTo>
                        <a:pt x="53" y="187"/>
                      </a:lnTo>
                      <a:lnTo>
                        <a:pt x="51" y="185"/>
                      </a:lnTo>
                      <a:lnTo>
                        <a:pt x="51" y="187"/>
                      </a:lnTo>
                      <a:lnTo>
                        <a:pt x="49" y="187"/>
                      </a:lnTo>
                      <a:lnTo>
                        <a:pt x="49" y="185"/>
                      </a:lnTo>
                      <a:lnTo>
                        <a:pt x="48" y="185"/>
                      </a:lnTo>
                      <a:lnTo>
                        <a:pt x="46" y="185"/>
                      </a:lnTo>
                      <a:lnTo>
                        <a:pt x="44" y="185"/>
                      </a:lnTo>
                      <a:lnTo>
                        <a:pt x="42" y="185"/>
                      </a:lnTo>
                      <a:lnTo>
                        <a:pt x="42" y="184"/>
                      </a:lnTo>
                      <a:lnTo>
                        <a:pt x="41" y="184"/>
                      </a:lnTo>
                      <a:lnTo>
                        <a:pt x="41" y="182"/>
                      </a:lnTo>
                      <a:lnTo>
                        <a:pt x="39" y="182"/>
                      </a:lnTo>
                      <a:lnTo>
                        <a:pt x="39" y="180"/>
                      </a:lnTo>
                      <a:lnTo>
                        <a:pt x="37" y="180"/>
                      </a:lnTo>
                      <a:lnTo>
                        <a:pt x="37" y="179"/>
                      </a:lnTo>
                      <a:lnTo>
                        <a:pt x="37" y="180"/>
                      </a:lnTo>
                      <a:lnTo>
                        <a:pt x="37" y="179"/>
                      </a:lnTo>
                      <a:lnTo>
                        <a:pt x="37" y="180"/>
                      </a:lnTo>
                      <a:lnTo>
                        <a:pt x="36" y="179"/>
                      </a:lnTo>
                      <a:lnTo>
                        <a:pt x="37" y="179"/>
                      </a:lnTo>
                      <a:lnTo>
                        <a:pt x="37" y="177"/>
                      </a:lnTo>
                      <a:lnTo>
                        <a:pt x="36" y="177"/>
                      </a:lnTo>
                      <a:lnTo>
                        <a:pt x="34" y="175"/>
                      </a:lnTo>
                      <a:lnTo>
                        <a:pt x="36" y="175"/>
                      </a:lnTo>
                      <a:lnTo>
                        <a:pt x="34" y="175"/>
                      </a:lnTo>
                      <a:lnTo>
                        <a:pt x="34" y="177"/>
                      </a:lnTo>
                      <a:lnTo>
                        <a:pt x="32" y="177"/>
                      </a:lnTo>
                      <a:lnTo>
                        <a:pt x="32" y="175"/>
                      </a:lnTo>
                      <a:lnTo>
                        <a:pt x="32" y="174"/>
                      </a:lnTo>
                      <a:lnTo>
                        <a:pt x="31" y="174"/>
                      </a:lnTo>
                      <a:lnTo>
                        <a:pt x="29" y="174"/>
                      </a:lnTo>
                      <a:lnTo>
                        <a:pt x="29" y="175"/>
                      </a:lnTo>
                      <a:lnTo>
                        <a:pt x="29" y="174"/>
                      </a:lnTo>
                      <a:lnTo>
                        <a:pt x="27" y="174"/>
                      </a:lnTo>
                      <a:lnTo>
                        <a:pt x="27" y="172"/>
                      </a:lnTo>
                      <a:lnTo>
                        <a:pt x="27" y="174"/>
                      </a:lnTo>
                      <a:lnTo>
                        <a:pt x="26" y="174"/>
                      </a:lnTo>
                      <a:lnTo>
                        <a:pt x="26" y="172"/>
                      </a:lnTo>
                      <a:lnTo>
                        <a:pt x="27" y="172"/>
                      </a:lnTo>
                      <a:lnTo>
                        <a:pt x="26" y="172"/>
                      </a:lnTo>
                      <a:lnTo>
                        <a:pt x="24" y="172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2" y="171"/>
                      </a:lnTo>
                      <a:lnTo>
                        <a:pt x="21" y="171"/>
                      </a:lnTo>
                      <a:lnTo>
                        <a:pt x="21" y="169"/>
                      </a:lnTo>
                      <a:lnTo>
                        <a:pt x="19" y="169"/>
                      </a:lnTo>
                      <a:lnTo>
                        <a:pt x="19" y="167"/>
                      </a:lnTo>
                      <a:lnTo>
                        <a:pt x="19" y="166"/>
                      </a:lnTo>
                      <a:lnTo>
                        <a:pt x="19" y="164"/>
                      </a:lnTo>
                      <a:lnTo>
                        <a:pt x="21" y="164"/>
                      </a:lnTo>
                      <a:lnTo>
                        <a:pt x="21" y="162"/>
                      </a:lnTo>
                      <a:lnTo>
                        <a:pt x="22" y="162"/>
                      </a:lnTo>
                      <a:lnTo>
                        <a:pt x="22" y="161"/>
                      </a:lnTo>
                      <a:lnTo>
                        <a:pt x="24" y="162"/>
                      </a:lnTo>
                      <a:lnTo>
                        <a:pt x="24" y="161"/>
                      </a:lnTo>
                      <a:lnTo>
                        <a:pt x="24" y="159"/>
                      </a:lnTo>
                      <a:lnTo>
                        <a:pt x="24" y="157"/>
                      </a:lnTo>
                      <a:lnTo>
                        <a:pt x="26" y="157"/>
                      </a:lnTo>
                      <a:lnTo>
                        <a:pt x="26" y="156"/>
                      </a:lnTo>
                      <a:lnTo>
                        <a:pt x="26" y="154"/>
                      </a:lnTo>
                      <a:lnTo>
                        <a:pt x="24" y="154"/>
                      </a:lnTo>
                      <a:lnTo>
                        <a:pt x="22" y="154"/>
                      </a:lnTo>
                      <a:lnTo>
                        <a:pt x="21" y="154"/>
                      </a:lnTo>
                      <a:lnTo>
                        <a:pt x="21" y="152"/>
                      </a:lnTo>
                      <a:lnTo>
                        <a:pt x="19" y="152"/>
                      </a:lnTo>
                      <a:lnTo>
                        <a:pt x="17" y="152"/>
                      </a:lnTo>
                      <a:lnTo>
                        <a:pt x="15" y="151"/>
                      </a:lnTo>
                      <a:lnTo>
                        <a:pt x="15" y="149"/>
                      </a:lnTo>
                      <a:lnTo>
                        <a:pt x="15" y="148"/>
                      </a:lnTo>
                      <a:lnTo>
                        <a:pt x="15" y="144"/>
                      </a:lnTo>
                      <a:lnTo>
                        <a:pt x="14" y="144"/>
                      </a:lnTo>
                      <a:lnTo>
                        <a:pt x="14" y="143"/>
                      </a:lnTo>
                      <a:lnTo>
                        <a:pt x="14" y="141"/>
                      </a:lnTo>
                      <a:lnTo>
                        <a:pt x="12" y="139"/>
                      </a:lnTo>
                      <a:lnTo>
                        <a:pt x="14" y="138"/>
                      </a:lnTo>
                      <a:lnTo>
                        <a:pt x="12" y="138"/>
                      </a:lnTo>
                      <a:lnTo>
                        <a:pt x="10" y="138"/>
                      </a:lnTo>
                      <a:lnTo>
                        <a:pt x="9" y="138"/>
                      </a:lnTo>
                      <a:lnTo>
                        <a:pt x="9" y="136"/>
                      </a:lnTo>
                      <a:lnTo>
                        <a:pt x="9" y="134"/>
                      </a:lnTo>
                      <a:lnTo>
                        <a:pt x="7" y="134"/>
                      </a:lnTo>
                      <a:lnTo>
                        <a:pt x="7" y="133"/>
                      </a:lnTo>
                      <a:lnTo>
                        <a:pt x="5" y="133"/>
                      </a:lnTo>
                      <a:lnTo>
                        <a:pt x="5" y="131"/>
                      </a:lnTo>
                      <a:lnTo>
                        <a:pt x="5" y="129"/>
                      </a:lnTo>
                      <a:lnTo>
                        <a:pt x="4" y="129"/>
                      </a:lnTo>
                      <a:lnTo>
                        <a:pt x="4" y="128"/>
                      </a:lnTo>
                      <a:lnTo>
                        <a:pt x="2" y="128"/>
                      </a:lnTo>
                      <a:lnTo>
                        <a:pt x="2" y="126"/>
                      </a:lnTo>
                      <a:lnTo>
                        <a:pt x="0" y="125"/>
                      </a:lnTo>
                      <a:lnTo>
                        <a:pt x="0" y="123"/>
                      </a:lnTo>
                      <a:lnTo>
                        <a:pt x="0" y="121"/>
                      </a:lnTo>
                      <a:lnTo>
                        <a:pt x="0" y="120"/>
                      </a:lnTo>
                      <a:lnTo>
                        <a:pt x="0" y="118"/>
                      </a:lnTo>
                      <a:lnTo>
                        <a:pt x="0" y="116"/>
                      </a:lnTo>
                      <a:lnTo>
                        <a:pt x="0" y="115"/>
                      </a:lnTo>
                      <a:lnTo>
                        <a:pt x="2" y="113"/>
                      </a:lnTo>
                      <a:lnTo>
                        <a:pt x="2" y="111"/>
                      </a:lnTo>
                      <a:lnTo>
                        <a:pt x="2" y="110"/>
                      </a:lnTo>
                      <a:lnTo>
                        <a:pt x="4" y="110"/>
                      </a:lnTo>
                      <a:lnTo>
                        <a:pt x="4" y="108"/>
                      </a:lnTo>
                      <a:lnTo>
                        <a:pt x="5" y="108"/>
                      </a:lnTo>
                      <a:lnTo>
                        <a:pt x="7" y="108"/>
                      </a:lnTo>
                      <a:lnTo>
                        <a:pt x="9" y="110"/>
                      </a:lnTo>
                      <a:lnTo>
                        <a:pt x="9" y="108"/>
                      </a:lnTo>
                      <a:lnTo>
                        <a:pt x="10" y="108"/>
                      </a:lnTo>
                      <a:lnTo>
                        <a:pt x="10" y="110"/>
                      </a:lnTo>
                      <a:lnTo>
                        <a:pt x="14" y="110"/>
                      </a:lnTo>
                      <a:lnTo>
                        <a:pt x="15" y="110"/>
                      </a:lnTo>
                      <a:lnTo>
                        <a:pt x="17" y="111"/>
                      </a:lnTo>
                      <a:lnTo>
                        <a:pt x="21" y="113"/>
                      </a:lnTo>
                      <a:lnTo>
                        <a:pt x="22" y="115"/>
                      </a:lnTo>
                      <a:lnTo>
                        <a:pt x="24" y="115"/>
                      </a:lnTo>
                      <a:lnTo>
                        <a:pt x="26" y="113"/>
                      </a:lnTo>
                      <a:lnTo>
                        <a:pt x="41" y="108"/>
                      </a:lnTo>
                      <a:lnTo>
                        <a:pt x="41" y="98"/>
                      </a:lnTo>
                      <a:lnTo>
                        <a:pt x="39" y="98"/>
                      </a:lnTo>
                      <a:lnTo>
                        <a:pt x="39" y="97"/>
                      </a:lnTo>
                      <a:lnTo>
                        <a:pt x="39" y="98"/>
                      </a:lnTo>
                      <a:lnTo>
                        <a:pt x="39" y="97"/>
                      </a:lnTo>
                      <a:lnTo>
                        <a:pt x="39" y="95"/>
                      </a:lnTo>
                      <a:lnTo>
                        <a:pt x="37" y="95"/>
                      </a:lnTo>
                      <a:lnTo>
                        <a:pt x="39" y="95"/>
                      </a:lnTo>
                      <a:lnTo>
                        <a:pt x="39" y="93"/>
                      </a:lnTo>
                      <a:lnTo>
                        <a:pt x="41" y="93"/>
                      </a:lnTo>
                      <a:lnTo>
                        <a:pt x="41" y="92"/>
                      </a:lnTo>
                      <a:lnTo>
                        <a:pt x="41" y="90"/>
                      </a:lnTo>
                      <a:lnTo>
                        <a:pt x="41" y="88"/>
                      </a:lnTo>
                      <a:lnTo>
                        <a:pt x="39" y="88"/>
                      </a:lnTo>
                      <a:lnTo>
                        <a:pt x="39" y="87"/>
                      </a:lnTo>
                      <a:lnTo>
                        <a:pt x="37" y="85"/>
                      </a:lnTo>
                      <a:lnTo>
                        <a:pt x="37" y="84"/>
                      </a:lnTo>
                      <a:lnTo>
                        <a:pt x="36" y="84"/>
                      </a:lnTo>
                      <a:lnTo>
                        <a:pt x="37" y="84"/>
                      </a:lnTo>
                      <a:lnTo>
                        <a:pt x="37" y="82"/>
                      </a:lnTo>
                      <a:lnTo>
                        <a:pt x="39" y="82"/>
                      </a:lnTo>
                      <a:lnTo>
                        <a:pt x="39" y="80"/>
                      </a:lnTo>
                      <a:lnTo>
                        <a:pt x="37" y="80"/>
                      </a:lnTo>
                      <a:lnTo>
                        <a:pt x="39" y="80"/>
                      </a:lnTo>
                      <a:lnTo>
                        <a:pt x="39" y="79"/>
                      </a:lnTo>
                      <a:lnTo>
                        <a:pt x="41" y="79"/>
                      </a:lnTo>
                      <a:lnTo>
                        <a:pt x="42" y="77"/>
                      </a:lnTo>
                      <a:lnTo>
                        <a:pt x="44" y="75"/>
                      </a:lnTo>
                      <a:lnTo>
                        <a:pt x="46" y="75"/>
                      </a:lnTo>
                      <a:lnTo>
                        <a:pt x="48" y="75"/>
                      </a:lnTo>
                      <a:lnTo>
                        <a:pt x="46" y="62"/>
                      </a:lnTo>
                      <a:lnTo>
                        <a:pt x="44" y="57"/>
                      </a:lnTo>
                      <a:lnTo>
                        <a:pt x="44" y="56"/>
                      </a:lnTo>
                      <a:lnTo>
                        <a:pt x="42" y="54"/>
                      </a:lnTo>
                      <a:lnTo>
                        <a:pt x="41" y="51"/>
                      </a:lnTo>
                      <a:lnTo>
                        <a:pt x="41" y="49"/>
                      </a:lnTo>
                      <a:lnTo>
                        <a:pt x="39" y="49"/>
                      </a:lnTo>
                      <a:lnTo>
                        <a:pt x="39" y="47"/>
                      </a:lnTo>
                      <a:lnTo>
                        <a:pt x="41" y="47"/>
                      </a:lnTo>
                      <a:lnTo>
                        <a:pt x="41" y="46"/>
                      </a:lnTo>
                      <a:lnTo>
                        <a:pt x="39" y="46"/>
                      </a:lnTo>
                      <a:lnTo>
                        <a:pt x="39" y="44"/>
                      </a:lnTo>
                      <a:lnTo>
                        <a:pt x="37" y="44"/>
                      </a:lnTo>
                      <a:lnTo>
                        <a:pt x="37" y="42"/>
                      </a:lnTo>
                      <a:lnTo>
                        <a:pt x="36" y="42"/>
                      </a:lnTo>
                      <a:lnTo>
                        <a:pt x="34" y="42"/>
                      </a:lnTo>
                      <a:lnTo>
                        <a:pt x="32" y="42"/>
                      </a:lnTo>
                      <a:lnTo>
                        <a:pt x="31" y="42"/>
                      </a:lnTo>
                      <a:lnTo>
                        <a:pt x="31" y="41"/>
                      </a:lnTo>
                      <a:lnTo>
                        <a:pt x="29" y="41"/>
                      </a:lnTo>
                      <a:lnTo>
                        <a:pt x="27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4" y="38"/>
                      </a:lnTo>
                      <a:lnTo>
                        <a:pt x="24" y="36"/>
                      </a:lnTo>
                      <a:lnTo>
                        <a:pt x="24" y="34"/>
                      </a:lnTo>
                      <a:lnTo>
                        <a:pt x="24" y="33"/>
                      </a:lnTo>
                      <a:lnTo>
                        <a:pt x="26" y="33"/>
                      </a:lnTo>
                      <a:lnTo>
                        <a:pt x="26" y="31"/>
                      </a:lnTo>
                      <a:lnTo>
                        <a:pt x="26" y="29"/>
                      </a:lnTo>
                      <a:lnTo>
                        <a:pt x="26" y="28"/>
                      </a:lnTo>
                      <a:lnTo>
                        <a:pt x="24" y="26"/>
                      </a:lnTo>
                      <a:lnTo>
                        <a:pt x="22" y="24"/>
                      </a:lnTo>
                      <a:lnTo>
                        <a:pt x="21" y="23"/>
                      </a:lnTo>
                      <a:lnTo>
                        <a:pt x="21" y="24"/>
                      </a:lnTo>
                      <a:lnTo>
                        <a:pt x="21" y="23"/>
                      </a:lnTo>
                      <a:lnTo>
                        <a:pt x="21" y="21"/>
                      </a:lnTo>
                      <a:lnTo>
                        <a:pt x="19" y="21"/>
                      </a:lnTo>
                      <a:lnTo>
                        <a:pt x="19" y="19"/>
                      </a:lnTo>
                      <a:lnTo>
                        <a:pt x="19" y="18"/>
                      </a:lnTo>
                      <a:lnTo>
                        <a:pt x="19" y="16"/>
                      </a:lnTo>
                      <a:lnTo>
                        <a:pt x="19" y="15"/>
                      </a:lnTo>
                      <a:lnTo>
                        <a:pt x="21" y="15"/>
                      </a:lnTo>
                      <a:lnTo>
                        <a:pt x="21" y="13"/>
                      </a:lnTo>
                      <a:lnTo>
                        <a:pt x="22" y="13"/>
                      </a:lnTo>
                      <a:lnTo>
                        <a:pt x="22" y="11"/>
                      </a:lnTo>
                      <a:lnTo>
                        <a:pt x="24" y="11"/>
                      </a:lnTo>
                      <a:lnTo>
                        <a:pt x="24" y="13"/>
                      </a:lnTo>
                      <a:lnTo>
                        <a:pt x="24" y="11"/>
                      </a:lnTo>
                      <a:lnTo>
                        <a:pt x="22" y="11"/>
                      </a:lnTo>
                      <a:lnTo>
                        <a:pt x="22" y="10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19" y="8"/>
                      </a:lnTo>
                      <a:lnTo>
                        <a:pt x="19" y="6"/>
                      </a:lnTo>
                      <a:lnTo>
                        <a:pt x="19" y="5"/>
                      </a:lnTo>
                      <a:lnTo>
                        <a:pt x="21" y="5"/>
                      </a:lnTo>
                      <a:lnTo>
                        <a:pt x="21" y="3"/>
                      </a:lnTo>
                      <a:lnTo>
                        <a:pt x="22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22" y="1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1"/>
                      </a:lnTo>
                      <a:lnTo>
                        <a:pt x="27" y="1"/>
                      </a:lnTo>
                      <a:lnTo>
                        <a:pt x="29" y="1"/>
                      </a:lnTo>
                      <a:lnTo>
                        <a:pt x="31" y="3"/>
                      </a:lnTo>
                      <a:lnTo>
                        <a:pt x="32" y="3"/>
                      </a:lnTo>
                      <a:lnTo>
                        <a:pt x="32" y="1"/>
                      </a:lnTo>
                      <a:lnTo>
                        <a:pt x="34" y="1"/>
                      </a:lnTo>
                      <a:lnTo>
                        <a:pt x="34" y="3"/>
                      </a:lnTo>
                      <a:lnTo>
                        <a:pt x="36" y="3"/>
                      </a:lnTo>
                      <a:lnTo>
                        <a:pt x="36" y="5"/>
                      </a:lnTo>
                      <a:lnTo>
                        <a:pt x="37" y="5"/>
                      </a:lnTo>
                      <a:lnTo>
                        <a:pt x="39" y="6"/>
                      </a:lnTo>
                      <a:lnTo>
                        <a:pt x="41" y="6"/>
                      </a:lnTo>
                      <a:lnTo>
                        <a:pt x="41" y="8"/>
                      </a:lnTo>
                      <a:lnTo>
                        <a:pt x="42" y="10"/>
                      </a:lnTo>
                      <a:lnTo>
                        <a:pt x="42" y="11"/>
                      </a:lnTo>
                      <a:lnTo>
                        <a:pt x="44" y="11"/>
                      </a:lnTo>
                      <a:lnTo>
                        <a:pt x="46" y="10"/>
                      </a:lnTo>
                      <a:lnTo>
                        <a:pt x="48" y="10"/>
                      </a:lnTo>
                      <a:lnTo>
                        <a:pt x="49" y="10"/>
                      </a:lnTo>
                      <a:lnTo>
                        <a:pt x="51" y="10"/>
                      </a:lnTo>
                      <a:lnTo>
                        <a:pt x="51" y="11"/>
                      </a:lnTo>
                      <a:lnTo>
                        <a:pt x="53" y="11"/>
                      </a:lnTo>
                      <a:lnTo>
                        <a:pt x="54" y="13"/>
                      </a:lnTo>
                      <a:lnTo>
                        <a:pt x="56" y="15"/>
                      </a:lnTo>
                      <a:lnTo>
                        <a:pt x="58" y="16"/>
                      </a:lnTo>
                      <a:lnTo>
                        <a:pt x="59" y="18"/>
                      </a:lnTo>
                      <a:lnTo>
                        <a:pt x="61" y="18"/>
                      </a:lnTo>
                      <a:lnTo>
                        <a:pt x="63" y="19"/>
                      </a:lnTo>
                      <a:lnTo>
                        <a:pt x="64" y="19"/>
                      </a:lnTo>
                      <a:lnTo>
                        <a:pt x="68" y="21"/>
                      </a:lnTo>
                      <a:lnTo>
                        <a:pt x="69" y="21"/>
                      </a:lnTo>
                      <a:lnTo>
                        <a:pt x="71" y="21"/>
                      </a:lnTo>
                      <a:lnTo>
                        <a:pt x="73" y="21"/>
                      </a:lnTo>
                      <a:lnTo>
                        <a:pt x="75" y="21"/>
                      </a:lnTo>
                      <a:lnTo>
                        <a:pt x="78" y="23"/>
                      </a:lnTo>
                      <a:lnTo>
                        <a:pt x="80" y="23"/>
                      </a:lnTo>
                      <a:lnTo>
                        <a:pt x="83" y="24"/>
                      </a:lnTo>
                      <a:lnTo>
                        <a:pt x="85" y="24"/>
                      </a:lnTo>
                      <a:lnTo>
                        <a:pt x="86" y="28"/>
                      </a:lnTo>
                      <a:lnTo>
                        <a:pt x="88" y="28"/>
                      </a:lnTo>
                      <a:lnTo>
                        <a:pt x="90" y="28"/>
                      </a:lnTo>
                      <a:lnTo>
                        <a:pt x="91" y="29"/>
                      </a:lnTo>
                      <a:lnTo>
                        <a:pt x="93" y="31"/>
                      </a:lnTo>
                      <a:lnTo>
                        <a:pt x="95" y="33"/>
                      </a:lnTo>
                      <a:lnTo>
                        <a:pt x="95" y="34"/>
                      </a:lnTo>
                      <a:lnTo>
                        <a:pt x="97" y="34"/>
                      </a:lnTo>
                      <a:lnTo>
                        <a:pt x="100" y="34"/>
                      </a:lnTo>
                      <a:lnTo>
                        <a:pt x="103" y="34"/>
                      </a:lnTo>
                      <a:lnTo>
                        <a:pt x="105" y="36"/>
                      </a:lnTo>
                      <a:lnTo>
                        <a:pt x="107" y="38"/>
                      </a:lnTo>
                      <a:lnTo>
                        <a:pt x="108" y="39"/>
                      </a:lnTo>
                      <a:lnTo>
                        <a:pt x="110" y="41"/>
                      </a:lnTo>
                      <a:lnTo>
                        <a:pt x="113" y="42"/>
                      </a:lnTo>
                      <a:lnTo>
                        <a:pt x="115" y="42"/>
                      </a:lnTo>
                      <a:lnTo>
                        <a:pt x="117" y="42"/>
                      </a:lnTo>
                      <a:lnTo>
                        <a:pt x="118" y="42"/>
                      </a:lnTo>
                      <a:lnTo>
                        <a:pt x="120" y="42"/>
                      </a:lnTo>
                      <a:lnTo>
                        <a:pt x="122" y="44"/>
                      </a:lnTo>
                      <a:lnTo>
                        <a:pt x="122" y="46"/>
                      </a:lnTo>
                      <a:lnTo>
                        <a:pt x="122" y="47"/>
                      </a:lnTo>
                      <a:lnTo>
                        <a:pt x="122" y="49"/>
                      </a:lnTo>
                      <a:lnTo>
                        <a:pt x="122" y="51"/>
                      </a:lnTo>
                      <a:lnTo>
                        <a:pt x="124" y="52"/>
                      </a:lnTo>
                      <a:lnTo>
                        <a:pt x="125" y="54"/>
                      </a:lnTo>
                      <a:lnTo>
                        <a:pt x="125" y="56"/>
                      </a:lnTo>
                      <a:lnTo>
                        <a:pt x="127" y="57"/>
                      </a:lnTo>
                      <a:lnTo>
                        <a:pt x="129" y="57"/>
                      </a:lnTo>
                      <a:lnTo>
                        <a:pt x="130" y="57"/>
                      </a:lnTo>
                      <a:lnTo>
                        <a:pt x="130" y="59"/>
                      </a:lnTo>
                      <a:lnTo>
                        <a:pt x="132" y="59"/>
                      </a:lnTo>
                      <a:lnTo>
                        <a:pt x="132" y="61"/>
                      </a:lnTo>
                      <a:lnTo>
                        <a:pt x="132" y="62"/>
                      </a:lnTo>
                      <a:lnTo>
                        <a:pt x="134" y="62"/>
                      </a:lnTo>
                      <a:lnTo>
                        <a:pt x="134" y="64"/>
                      </a:lnTo>
                      <a:lnTo>
                        <a:pt x="135" y="64"/>
                      </a:lnTo>
                      <a:lnTo>
                        <a:pt x="137" y="64"/>
                      </a:lnTo>
                      <a:lnTo>
                        <a:pt x="139" y="64"/>
                      </a:lnTo>
                      <a:lnTo>
                        <a:pt x="140" y="65"/>
                      </a:lnTo>
                      <a:lnTo>
                        <a:pt x="142" y="65"/>
                      </a:lnTo>
                      <a:lnTo>
                        <a:pt x="142" y="67"/>
                      </a:lnTo>
                      <a:lnTo>
                        <a:pt x="144" y="69"/>
                      </a:lnTo>
                      <a:lnTo>
                        <a:pt x="145" y="69"/>
                      </a:lnTo>
                      <a:lnTo>
                        <a:pt x="147" y="69"/>
                      </a:lnTo>
                      <a:lnTo>
                        <a:pt x="149" y="69"/>
                      </a:lnTo>
                      <a:lnTo>
                        <a:pt x="151" y="69"/>
                      </a:lnTo>
                      <a:lnTo>
                        <a:pt x="151" y="67"/>
                      </a:lnTo>
                      <a:lnTo>
                        <a:pt x="152" y="67"/>
                      </a:lnTo>
                      <a:lnTo>
                        <a:pt x="154" y="69"/>
                      </a:lnTo>
                      <a:lnTo>
                        <a:pt x="156" y="70"/>
                      </a:lnTo>
                      <a:lnTo>
                        <a:pt x="157" y="70"/>
                      </a:lnTo>
                      <a:lnTo>
                        <a:pt x="157" y="72"/>
                      </a:lnTo>
                      <a:lnTo>
                        <a:pt x="159" y="74"/>
                      </a:lnTo>
                      <a:lnTo>
                        <a:pt x="159" y="75"/>
                      </a:lnTo>
                      <a:lnTo>
                        <a:pt x="159" y="77"/>
                      </a:lnTo>
                      <a:lnTo>
                        <a:pt x="159" y="79"/>
                      </a:lnTo>
                      <a:lnTo>
                        <a:pt x="159" y="80"/>
                      </a:lnTo>
                      <a:lnTo>
                        <a:pt x="159" y="82"/>
                      </a:lnTo>
                      <a:lnTo>
                        <a:pt x="161" y="84"/>
                      </a:lnTo>
                      <a:lnTo>
                        <a:pt x="162" y="84"/>
                      </a:lnTo>
                      <a:lnTo>
                        <a:pt x="164" y="84"/>
                      </a:lnTo>
                      <a:lnTo>
                        <a:pt x="166" y="84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1" name="Freeform 19"/>
                <p:cNvSpPr>
                  <a:spLocks noChangeAspect="1"/>
                </p:cNvSpPr>
                <p:nvPr/>
              </p:nvSpPr>
              <p:spPr bwMode="auto">
                <a:xfrm>
                  <a:off x="6564325" y="2632013"/>
                  <a:ext cx="454761" cy="262135"/>
                </a:xfrm>
                <a:custGeom>
                  <a:avLst/>
                  <a:gdLst>
                    <a:gd name="T0" fmla="*/ 2147483647 w 292"/>
                    <a:gd name="T1" fmla="*/ 2147483647 h 156"/>
                    <a:gd name="T2" fmla="*/ 2147483647 w 292"/>
                    <a:gd name="T3" fmla="*/ 2147483647 h 156"/>
                    <a:gd name="T4" fmla="*/ 2147483647 w 292"/>
                    <a:gd name="T5" fmla="*/ 2147483647 h 156"/>
                    <a:gd name="T6" fmla="*/ 2147483647 w 292"/>
                    <a:gd name="T7" fmla="*/ 2147483647 h 156"/>
                    <a:gd name="T8" fmla="*/ 2147483647 w 292"/>
                    <a:gd name="T9" fmla="*/ 2147483647 h 156"/>
                    <a:gd name="T10" fmla="*/ 2147483647 w 292"/>
                    <a:gd name="T11" fmla="*/ 2147483647 h 156"/>
                    <a:gd name="T12" fmla="*/ 2147483647 w 292"/>
                    <a:gd name="T13" fmla="*/ 2147483647 h 156"/>
                    <a:gd name="T14" fmla="*/ 2147483647 w 292"/>
                    <a:gd name="T15" fmla="*/ 2147483647 h 156"/>
                    <a:gd name="T16" fmla="*/ 2147483647 w 292"/>
                    <a:gd name="T17" fmla="*/ 2147483647 h 156"/>
                    <a:gd name="T18" fmla="*/ 2147483647 w 292"/>
                    <a:gd name="T19" fmla="*/ 2147483647 h 156"/>
                    <a:gd name="T20" fmla="*/ 2147483647 w 292"/>
                    <a:gd name="T21" fmla="*/ 2147483647 h 156"/>
                    <a:gd name="T22" fmla="*/ 2147483647 w 292"/>
                    <a:gd name="T23" fmla="*/ 2147483647 h 156"/>
                    <a:gd name="T24" fmla="*/ 2147483647 w 292"/>
                    <a:gd name="T25" fmla="*/ 2147483647 h 156"/>
                    <a:gd name="T26" fmla="*/ 2147483647 w 292"/>
                    <a:gd name="T27" fmla="*/ 2147483647 h 156"/>
                    <a:gd name="T28" fmla="*/ 2147483647 w 292"/>
                    <a:gd name="T29" fmla="*/ 2147483647 h 156"/>
                    <a:gd name="T30" fmla="*/ 2147483647 w 292"/>
                    <a:gd name="T31" fmla="*/ 2147483647 h 156"/>
                    <a:gd name="T32" fmla="*/ 2147483647 w 292"/>
                    <a:gd name="T33" fmla="*/ 2147483647 h 156"/>
                    <a:gd name="T34" fmla="*/ 2147483647 w 292"/>
                    <a:gd name="T35" fmla="*/ 2147483647 h 156"/>
                    <a:gd name="T36" fmla="*/ 2147483647 w 292"/>
                    <a:gd name="T37" fmla="*/ 2147483647 h 156"/>
                    <a:gd name="T38" fmla="*/ 2147483647 w 292"/>
                    <a:gd name="T39" fmla="*/ 2147483647 h 156"/>
                    <a:gd name="T40" fmla="*/ 2147483647 w 292"/>
                    <a:gd name="T41" fmla="*/ 2147483647 h 156"/>
                    <a:gd name="T42" fmla="*/ 2147483647 w 292"/>
                    <a:gd name="T43" fmla="*/ 2147483647 h 156"/>
                    <a:gd name="T44" fmla="*/ 2147483647 w 292"/>
                    <a:gd name="T45" fmla="*/ 2147483647 h 156"/>
                    <a:gd name="T46" fmla="*/ 2147483647 w 292"/>
                    <a:gd name="T47" fmla="*/ 2147483647 h 156"/>
                    <a:gd name="T48" fmla="*/ 2147483647 w 292"/>
                    <a:gd name="T49" fmla="*/ 2147483647 h 156"/>
                    <a:gd name="T50" fmla="*/ 2147483647 w 292"/>
                    <a:gd name="T51" fmla="*/ 2147483647 h 156"/>
                    <a:gd name="T52" fmla="*/ 2147483647 w 292"/>
                    <a:gd name="T53" fmla="*/ 2147483647 h 156"/>
                    <a:gd name="T54" fmla="*/ 2147483647 w 292"/>
                    <a:gd name="T55" fmla="*/ 2147483647 h 156"/>
                    <a:gd name="T56" fmla="*/ 2147483647 w 292"/>
                    <a:gd name="T57" fmla="*/ 2147483647 h 156"/>
                    <a:gd name="T58" fmla="*/ 2147483647 w 292"/>
                    <a:gd name="T59" fmla="*/ 2147483647 h 156"/>
                    <a:gd name="T60" fmla="*/ 2147483647 w 292"/>
                    <a:gd name="T61" fmla="*/ 0 h 156"/>
                    <a:gd name="T62" fmla="*/ 2147483647 w 292"/>
                    <a:gd name="T63" fmla="*/ 0 h 156"/>
                    <a:gd name="T64" fmla="*/ 2147483647 w 292"/>
                    <a:gd name="T65" fmla="*/ 2147483647 h 156"/>
                    <a:gd name="T66" fmla="*/ 2147483647 w 292"/>
                    <a:gd name="T67" fmla="*/ 2147483647 h 156"/>
                    <a:gd name="T68" fmla="*/ 2147483647 w 292"/>
                    <a:gd name="T69" fmla="*/ 2147483647 h 156"/>
                    <a:gd name="T70" fmla="*/ 2147483647 w 292"/>
                    <a:gd name="T71" fmla="*/ 2147483647 h 156"/>
                    <a:gd name="T72" fmla="*/ 2147483647 w 292"/>
                    <a:gd name="T73" fmla="*/ 2147483647 h 156"/>
                    <a:gd name="T74" fmla="*/ 2147483647 w 292"/>
                    <a:gd name="T75" fmla="*/ 2147483647 h 156"/>
                    <a:gd name="T76" fmla="*/ 2147483647 w 292"/>
                    <a:gd name="T77" fmla="*/ 2147483647 h 156"/>
                    <a:gd name="T78" fmla="*/ 2147483647 w 292"/>
                    <a:gd name="T79" fmla="*/ 2147483647 h 156"/>
                    <a:gd name="T80" fmla="*/ 2147483647 w 292"/>
                    <a:gd name="T81" fmla="*/ 2147483647 h 156"/>
                    <a:gd name="T82" fmla="*/ 2147483647 w 292"/>
                    <a:gd name="T83" fmla="*/ 2147483647 h 156"/>
                    <a:gd name="T84" fmla="*/ 2147483647 w 292"/>
                    <a:gd name="T85" fmla="*/ 2147483647 h 156"/>
                    <a:gd name="T86" fmla="*/ 2147483647 w 292"/>
                    <a:gd name="T87" fmla="*/ 2147483647 h 156"/>
                    <a:gd name="T88" fmla="*/ 2147483647 w 292"/>
                    <a:gd name="T89" fmla="*/ 2147483647 h 156"/>
                    <a:gd name="T90" fmla="*/ 2147483647 w 292"/>
                    <a:gd name="T91" fmla="*/ 2147483647 h 156"/>
                    <a:gd name="T92" fmla="*/ 2147483647 w 292"/>
                    <a:gd name="T93" fmla="*/ 2147483647 h 156"/>
                    <a:gd name="T94" fmla="*/ 2147483647 w 292"/>
                    <a:gd name="T95" fmla="*/ 2147483647 h 156"/>
                    <a:gd name="T96" fmla="*/ 2147483647 w 292"/>
                    <a:gd name="T97" fmla="*/ 2147483647 h 156"/>
                    <a:gd name="T98" fmla="*/ 2147483647 w 292"/>
                    <a:gd name="T99" fmla="*/ 2147483647 h 156"/>
                    <a:gd name="T100" fmla="*/ 2147483647 w 292"/>
                    <a:gd name="T101" fmla="*/ 2147483647 h 156"/>
                    <a:gd name="T102" fmla="*/ 2147483647 w 292"/>
                    <a:gd name="T103" fmla="*/ 2147483647 h 156"/>
                    <a:gd name="T104" fmla="*/ 2147483647 w 292"/>
                    <a:gd name="T105" fmla="*/ 2147483647 h 156"/>
                    <a:gd name="T106" fmla="*/ 2147483647 w 292"/>
                    <a:gd name="T107" fmla="*/ 2147483647 h 156"/>
                    <a:gd name="T108" fmla="*/ 2147483647 w 292"/>
                    <a:gd name="T109" fmla="*/ 2147483647 h 156"/>
                    <a:gd name="T110" fmla="*/ 2147483647 w 292"/>
                    <a:gd name="T111" fmla="*/ 2147483647 h 156"/>
                    <a:gd name="T112" fmla="*/ 2147483647 w 292"/>
                    <a:gd name="T113" fmla="*/ 2147483647 h 156"/>
                    <a:gd name="T114" fmla="*/ 2147483647 w 292"/>
                    <a:gd name="T115" fmla="*/ 2147483647 h 156"/>
                    <a:gd name="T116" fmla="*/ 2147483647 w 292"/>
                    <a:gd name="T117" fmla="*/ 2147483647 h 156"/>
                    <a:gd name="T118" fmla="*/ 2147483647 w 292"/>
                    <a:gd name="T119" fmla="*/ 2147483647 h 156"/>
                    <a:gd name="T120" fmla="*/ 2147483647 w 292"/>
                    <a:gd name="T121" fmla="*/ 2147483647 h 156"/>
                    <a:gd name="T122" fmla="*/ 2147483647 w 292"/>
                    <a:gd name="T123" fmla="*/ 2147483647 h 156"/>
                    <a:gd name="T124" fmla="*/ 2147483647 w 292"/>
                    <a:gd name="T125" fmla="*/ 2147483647 h 15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92"/>
                    <a:gd name="T190" fmla="*/ 0 h 156"/>
                    <a:gd name="T191" fmla="*/ 292 w 292"/>
                    <a:gd name="T192" fmla="*/ 156 h 15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92" h="156">
                      <a:moveTo>
                        <a:pt x="0" y="48"/>
                      </a:moveTo>
                      <a:lnTo>
                        <a:pt x="2" y="48"/>
                      </a:lnTo>
                      <a:lnTo>
                        <a:pt x="2" y="46"/>
                      </a:lnTo>
                      <a:lnTo>
                        <a:pt x="4" y="46"/>
                      </a:lnTo>
                      <a:lnTo>
                        <a:pt x="4" y="44"/>
                      </a:lnTo>
                      <a:lnTo>
                        <a:pt x="5" y="44"/>
                      </a:lnTo>
                      <a:lnTo>
                        <a:pt x="7" y="44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9" y="41"/>
                      </a:lnTo>
                      <a:lnTo>
                        <a:pt x="9" y="39"/>
                      </a:lnTo>
                      <a:lnTo>
                        <a:pt x="9" y="38"/>
                      </a:lnTo>
                      <a:lnTo>
                        <a:pt x="10" y="38"/>
                      </a:lnTo>
                      <a:lnTo>
                        <a:pt x="12" y="36"/>
                      </a:lnTo>
                      <a:lnTo>
                        <a:pt x="14" y="35"/>
                      </a:lnTo>
                      <a:lnTo>
                        <a:pt x="15" y="33"/>
                      </a:lnTo>
                      <a:lnTo>
                        <a:pt x="17" y="35"/>
                      </a:lnTo>
                      <a:lnTo>
                        <a:pt x="17" y="33"/>
                      </a:lnTo>
                      <a:lnTo>
                        <a:pt x="19" y="33"/>
                      </a:lnTo>
                      <a:lnTo>
                        <a:pt x="21" y="33"/>
                      </a:lnTo>
                      <a:lnTo>
                        <a:pt x="22" y="33"/>
                      </a:lnTo>
                      <a:lnTo>
                        <a:pt x="24" y="31"/>
                      </a:lnTo>
                      <a:lnTo>
                        <a:pt x="24" y="33"/>
                      </a:lnTo>
                      <a:lnTo>
                        <a:pt x="24" y="31"/>
                      </a:lnTo>
                      <a:lnTo>
                        <a:pt x="26" y="31"/>
                      </a:lnTo>
                      <a:lnTo>
                        <a:pt x="26" y="30"/>
                      </a:lnTo>
                      <a:lnTo>
                        <a:pt x="27" y="30"/>
                      </a:lnTo>
                      <a:lnTo>
                        <a:pt x="27" y="28"/>
                      </a:lnTo>
                      <a:lnTo>
                        <a:pt x="27" y="26"/>
                      </a:lnTo>
                      <a:lnTo>
                        <a:pt x="29" y="26"/>
                      </a:lnTo>
                      <a:lnTo>
                        <a:pt x="29" y="25"/>
                      </a:lnTo>
                      <a:lnTo>
                        <a:pt x="31" y="23"/>
                      </a:lnTo>
                      <a:lnTo>
                        <a:pt x="32" y="23"/>
                      </a:lnTo>
                      <a:lnTo>
                        <a:pt x="32" y="21"/>
                      </a:lnTo>
                      <a:lnTo>
                        <a:pt x="34" y="21"/>
                      </a:lnTo>
                      <a:lnTo>
                        <a:pt x="36" y="20"/>
                      </a:lnTo>
                      <a:lnTo>
                        <a:pt x="34" y="20"/>
                      </a:lnTo>
                      <a:lnTo>
                        <a:pt x="36" y="18"/>
                      </a:lnTo>
                      <a:lnTo>
                        <a:pt x="37" y="18"/>
                      </a:lnTo>
                      <a:lnTo>
                        <a:pt x="37" y="16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2"/>
                      </a:lnTo>
                      <a:lnTo>
                        <a:pt x="39" y="10"/>
                      </a:lnTo>
                      <a:lnTo>
                        <a:pt x="41" y="10"/>
                      </a:lnTo>
                      <a:lnTo>
                        <a:pt x="41" y="8"/>
                      </a:lnTo>
                      <a:lnTo>
                        <a:pt x="39" y="8"/>
                      </a:lnTo>
                      <a:lnTo>
                        <a:pt x="39" y="7"/>
                      </a:lnTo>
                      <a:lnTo>
                        <a:pt x="41" y="7"/>
                      </a:lnTo>
                      <a:lnTo>
                        <a:pt x="42" y="7"/>
                      </a:lnTo>
                      <a:lnTo>
                        <a:pt x="42" y="5"/>
                      </a:lnTo>
                      <a:lnTo>
                        <a:pt x="44" y="5"/>
                      </a:lnTo>
                      <a:lnTo>
                        <a:pt x="46" y="5"/>
                      </a:lnTo>
                      <a:lnTo>
                        <a:pt x="46" y="3"/>
                      </a:lnTo>
                      <a:lnTo>
                        <a:pt x="46" y="5"/>
                      </a:lnTo>
                      <a:lnTo>
                        <a:pt x="48" y="5"/>
                      </a:lnTo>
                      <a:lnTo>
                        <a:pt x="48" y="7"/>
                      </a:lnTo>
                      <a:lnTo>
                        <a:pt x="49" y="7"/>
                      </a:lnTo>
                      <a:lnTo>
                        <a:pt x="49" y="8"/>
                      </a:lnTo>
                      <a:lnTo>
                        <a:pt x="49" y="10"/>
                      </a:lnTo>
                      <a:lnTo>
                        <a:pt x="51" y="10"/>
                      </a:lnTo>
                      <a:lnTo>
                        <a:pt x="51" y="12"/>
                      </a:lnTo>
                      <a:lnTo>
                        <a:pt x="51" y="13"/>
                      </a:lnTo>
                      <a:lnTo>
                        <a:pt x="53" y="13"/>
                      </a:lnTo>
                      <a:lnTo>
                        <a:pt x="53" y="15"/>
                      </a:lnTo>
                      <a:lnTo>
                        <a:pt x="53" y="16"/>
                      </a:lnTo>
                      <a:lnTo>
                        <a:pt x="51" y="16"/>
                      </a:lnTo>
                      <a:lnTo>
                        <a:pt x="53" y="16"/>
                      </a:lnTo>
                      <a:lnTo>
                        <a:pt x="53" y="18"/>
                      </a:lnTo>
                      <a:lnTo>
                        <a:pt x="54" y="16"/>
                      </a:lnTo>
                      <a:lnTo>
                        <a:pt x="56" y="16"/>
                      </a:lnTo>
                      <a:lnTo>
                        <a:pt x="56" y="18"/>
                      </a:lnTo>
                      <a:lnTo>
                        <a:pt x="54" y="18"/>
                      </a:lnTo>
                      <a:lnTo>
                        <a:pt x="56" y="20"/>
                      </a:lnTo>
                      <a:lnTo>
                        <a:pt x="58" y="20"/>
                      </a:lnTo>
                      <a:lnTo>
                        <a:pt x="59" y="20"/>
                      </a:lnTo>
                      <a:lnTo>
                        <a:pt x="59" y="18"/>
                      </a:lnTo>
                      <a:lnTo>
                        <a:pt x="59" y="16"/>
                      </a:lnTo>
                      <a:lnTo>
                        <a:pt x="61" y="15"/>
                      </a:lnTo>
                      <a:lnTo>
                        <a:pt x="63" y="15"/>
                      </a:lnTo>
                      <a:lnTo>
                        <a:pt x="64" y="15"/>
                      </a:lnTo>
                      <a:lnTo>
                        <a:pt x="66" y="15"/>
                      </a:lnTo>
                      <a:lnTo>
                        <a:pt x="68" y="13"/>
                      </a:lnTo>
                      <a:lnTo>
                        <a:pt x="68" y="15"/>
                      </a:lnTo>
                      <a:lnTo>
                        <a:pt x="69" y="15"/>
                      </a:lnTo>
                      <a:lnTo>
                        <a:pt x="71" y="15"/>
                      </a:lnTo>
                      <a:lnTo>
                        <a:pt x="71" y="18"/>
                      </a:lnTo>
                      <a:lnTo>
                        <a:pt x="73" y="20"/>
                      </a:lnTo>
                      <a:lnTo>
                        <a:pt x="75" y="20"/>
                      </a:lnTo>
                      <a:lnTo>
                        <a:pt x="76" y="20"/>
                      </a:lnTo>
                      <a:lnTo>
                        <a:pt x="78" y="21"/>
                      </a:lnTo>
                      <a:lnTo>
                        <a:pt x="80" y="23"/>
                      </a:lnTo>
                      <a:lnTo>
                        <a:pt x="81" y="23"/>
                      </a:lnTo>
                      <a:lnTo>
                        <a:pt x="83" y="25"/>
                      </a:lnTo>
                      <a:lnTo>
                        <a:pt x="86" y="25"/>
                      </a:lnTo>
                      <a:lnTo>
                        <a:pt x="86" y="26"/>
                      </a:lnTo>
                      <a:lnTo>
                        <a:pt x="88" y="26"/>
                      </a:lnTo>
                      <a:lnTo>
                        <a:pt x="88" y="28"/>
                      </a:lnTo>
                      <a:lnTo>
                        <a:pt x="90" y="28"/>
                      </a:lnTo>
                      <a:lnTo>
                        <a:pt x="90" y="30"/>
                      </a:lnTo>
                      <a:lnTo>
                        <a:pt x="91" y="31"/>
                      </a:lnTo>
                      <a:lnTo>
                        <a:pt x="91" y="33"/>
                      </a:lnTo>
                      <a:lnTo>
                        <a:pt x="93" y="33"/>
                      </a:lnTo>
                      <a:lnTo>
                        <a:pt x="93" y="35"/>
                      </a:lnTo>
                      <a:lnTo>
                        <a:pt x="95" y="35"/>
                      </a:lnTo>
                      <a:lnTo>
                        <a:pt x="95" y="36"/>
                      </a:lnTo>
                      <a:lnTo>
                        <a:pt x="97" y="36"/>
                      </a:lnTo>
                      <a:lnTo>
                        <a:pt x="97" y="38"/>
                      </a:lnTo>
                      <a:lnTo>
                        <a:pt x="97" y="39"/>
                      </a:lnTo>
                      <a:lnTo>
                        <a:pt x="98" y="39"/>
                      </a:lnTo>
                      <a:lnTo>
                        <a:pt x="98" y="38"/>
                      </a:lnTo>
                      <a:lnTo>
                        <a:pt x="100" y="38"/>
                      </a:lnTo>
                      <a:lnTo>
                        <a:pt x="103" y="39"/>
                      </a:lnTo>
                      <a:lnTo>
                        <a:pt x="103" y="41"/>
                      </a:lnTo>
                      <a:lnTo>
                        <a:pt x="102" y="41"/>
                      </a:lnTo>
                      <a:lnTo>
                        <a:pt x="102" y="43"/>
                      </a:lnTo>
                      <a:lnTo>
                        <a:pt x="103" y="43"/>
                      </a:lnTo>
                      <a:lnTo>
                        <a:pt x="105" y="43"/>
                      </a:lnTo>
                      <a:lnTo>
                        <a:pt x="105" y="41"/>
                      </a:lnTo>
                      <a:lnTo>
                        <a:pt x="107" y="41"/>
                      </a:lnTo>
                      <a:lnTo>
                        <a:pt x="107" y="39"/>
                      </a:lnTo>
                      <a:lnTo>
                        <a:pt x="108" y="39"/>
                      </a:lnTo>
                      <a:lnTo>
                        <a:pt x="108" y="41"/>
                      </a:lnTo>
                      <a:lnTo>
                        <a:pt x="110" y="41"/>
                      </a:lnTo>
                      <a:lnTo>
                        <a:pt x="112" y="43"/>
                      </a:lnTo>
                      <a:lnTo>
                        <a:pt x="112" y="44"/>
                      </a:lnTo>
                      <a:lnTo>
                        <a:pt x="112" y="46"/>
                      </a:lnTo>
                      <a:lnTo>
                        <a:pt x="112" y="48"/>
                      </a:lnTo>
                      <a:lnTo>
                        <a:pt x="113" y="48"/>
                      </a:lnTo>
                      <a:lnTo>
                        <a:pt x="113" y="46"/>
                      </a:lnTo>
                      <a:lnTo>
                        <a:pt x="115" y="48"/>
                      </a:lnTo>
                      <a:lnTo>
                        <a:pt x="115" y="46"/>
                      </a:lnTo>
                      <a:lnTo>
                        <a:pt x="117" y="46"/>
                      </a:lnTo>
                      <a:lnTo>
                        <a:pt x="117" y="48"/>
                      </a:lnTo>
                      <a:lnTo>
                        <a:pt x="117" y="49"/>
                      </a:lnTo>
                      <a:lnTo>
                        <a:pt x="118" y="51"/>
                      </a:lnTo>
                      <a:lnTo>
                        <a:pt x="120" y="51"/>
                      </a:lnTo>
                      <a:lnTo>
                        <a:pt x="120" y="53"/>
                      </a:lnTo>
                      <a:lnTo>
                        <a:pt x="122" y="53"/>
                      </a:lnTo>
                      <a:lnTo>
                        <a:pt x="124" y="53"/>
                      </a:lnTo>
                      <a:lnTo>
                        <a:pt x="124" y="51"/>
                      </a:lnTo>
                      <a:lnTo>
                        <a:pt x="124" y="49"/>
                      </a:lnTo>
                      <a:lnTo>
                        <a:pt x="125" y="49"/>
                      </a:lnTo>
                      <a:lnTo>
                        <a:pt x="125" y="48"/>
                      </a:lnTo>
                      <a:lnTo>
                        <a:pt x="125" y="46"/>
                      </a:lnTo>
                      <a:lnTo>
                        <a:pt x="125" y="44"/>
                      </a:lnTo>
                      <a:lnTo>
                        <a:pt x="127" y="44"/>
                      </a:lnTo>
                      <a:lnTo>
                        <a:pt x="129" y="44"/>
                      </a:lnTo>
                      <a:lnTo>
                        <a:pt x="129" y="43"/>
                      </a:lnTo>
                      <a:lnTo>
                        <a:pt x="130" y="43"/>
                      </a:lnTo>
                      <a:lnTo>
                        <a:pt x="132" y="43"/>
                      </a:lnTo>
                      <a:lnTo>
                        <a:pt x="132" y="44"/>
                      </a:lnTo>
                      <a:lnTo>
                        <a:pt x="134" y="44"/>
                      </a:lnTo>
                      <a:lnTo>
                        <a:pt x="137" y="44"/>
                      </a:lnTo>
                      <a:lnTo>
                        <a:pt x="140" y="43"/>
                      </a:lnTo>
                      <a:lnTo>
                        <a:pt x="147" y="43"/>
                      </a:lnTo>
                      <a:lnTo>
                        <a:pt x="149" y="46"/>
                      </a:lnTo>
                      <a:lnTo>
                        <a:pt x="151" y="46"/>
                      </a:lnTo>
                      <a:lnTo>
                        <a:pt x="152" y="46"/>
                      </a:lnTo>
                      <a:lnTo>
                        <a:pt x="152" y="48"/>
                      </a:lnTo>
                      <a:lnTo>
                        <a:pt x="154" y="48"/>
                      </a:lnTo>
                      <a:lnTo>
                        <a:pt x="154" y="46"/>
                      </a:lnTo>
                      <a:lnTo>
                        <a:pt x="166" y="43"/>
                      </a:lnTo>
                      <a:lnTo>
                        <a:pt x="166" y="41"/>
                      </a:lnTo>
                      <a:lnTo>
                        <a:pt x="167" y="41"/>
                      </a:lnTo>
                      <a:lnTo>
                        <a:pt x="167" y="39"/>
                      </a:lnTo>
                      <a:lnTo>
                        <a:pt x="167" y="41"/>
                      </a:lnTo>
                      <a:lnTo>
                        <a:pt x="167" y="39"/>
                      </a:lnTo>
                      <a:lnTo>
                        <a:pt x="169" y="39"/>
                      </a:lnTo>
                      <a:lnTo>
                        <a:pt x="171" y="38"/>
                      </a:lnTo>
                      <a:lnTo>
                        <a:pt x="173" y="38"/>
                      </a:lnTo>
                      <a:lnTo>
                        <a:pt x="173" y="39"/>
                      </a:lnTo>
                      <a:lnTo>
                        <a:pt x="174" y="38"/>
                      </a:lnTo>
                      <a:lnTo>
                        <a:pt x="176" y="38"/>
                      </a:lnTo>
                      <a:lnTo>
                        <a:pt x="178" y="38"/>
                      </a:lnTo>
                      <a:lnTo>
                        <a:pt x="179" y="38"/>
                      </a:lnTo>
                      <a:lnTo>
                        <a:pt x="179" y="36"/>
                      </a:lnTo>
                      <a:lnTo>
                        <a:pt x="181" y="36"/>
                      </a:lnTo>
                      <a:lnTo>
                        <a:pt x="183" y="36"/>
                      </a:lnTo>
                      <a:lnTo>
                        <a:pt x="183" y="35"/>
                      </a:lnTo>
                      <a:lnTo>
                        <a:pt x="184" y="35"/>
                      </a:lnTo>
                      <a:lnTo>
                        <a:pt x="186" y="35"/>
                      </a:lnTo>
                      <a:lnTo>
                        <a:pt x="186" y="33"/>
                      </a:lnTo>
                      <a:lnTo>
                        <a:pt x="188" y="33"/>
                      </a:lnTo>
                      <a:lnTo>
                        <a:pt x="188" y="35"/>
                      </a:lnTo>
                      <a:lnTo>
                        <a:pt x="188" y="33"/>
                      </a:lnTo>
                      <a:lnTo>
                        <a:pt x="188" y="35"/>
                      </a:lnTo>
                      <a:lnTo>
                        <a:pt x="189" y="35"/>
                      </a:lnTo>
                      <a:lnTo>
                        <a:pt x="188" y="35"/>
                      </a:lnTo>
                      <a:lnTo>
                        <a:pt x="189" y="35"/>
                      </a:lnTo>
                      <a:lnTo>
                        <a:pt x="191" y="35"/>
                      </a:lnTo>
                      <a:lnTo>
                        <a:pt x="191" y="33"/>
                      </a:lnTo>
                      <a:lnTo>
                        <a:pt x="189" y="33"/>
                      </a:lnTo>
                      <a:lnTo>
                        <a:pt x="189" y="31"/>
                      </a:lnTo>
                      <a:lnTo>
                        <a:pt x="188" y="31"/>
                      </a:lnTo>
                      <a:lnTo>
                        <a:pt x="188" y="30"/>
                      </a:lnTo>
                      <a:lnTo>
                        <a:pt x="188" y="28"/>
                      </a:lnTo>
                      <a:lnTo>
                        <a:pt x="189" y="26"/>
                      </a:lnTo>
                      <a:lnTo>
                        <a:pt x="189" y="28"/>
                      </a:lnTo>
                      <a:lnTo>
                        <a:pt x="191" y="28"/>
                      </a:lnTo>
                      <a:lnTo>
                        <a:pt x="191" y="26"/>
                      </a:lnTo>
                      <a:lnTo>
                        <a:pt x="191" y="25"/>
                      </a:lnTo>
                      <a:lnTo>
                        <a:pt x="193" y="25"/>
                      </a:lnTo>
                      <a:lnTo>
                        <a:pt x="193" y="23"/>
                      </a:lnTo>
                      <a:lnTo>
                        <a:pt x="194" y="21"/>
                      </a:lnTo>
                      <a:lnTo>
                        <a:pt x="196" y="21"/>
                      </a:lnTo>
                      <a:lnTo>
                        <a:pt x="198" y="21"/>
                      </a:lnTo>
                      <a:lnTo>
                        <a:pt x="200" y="21"/>
                      </a:lnTo>
                      <a:lnTo>
                        <a:pt x="201" y="21"/>
                      </a:lnTo>
                      <a:lnTo>
                        <a:pt x="203" y="20"/>
                      </a:lnTo>
                      <a:lnTo>
                        <a:pt x="201" y="20"/>
                      </a:lnTo>
                      <a:lnTo>
                        <a:pt x="203" y="18"/>
                      </a:lnTo>
                      <a:lnTo>
                        <a:pt x="203" y="16"/>
                      </a:lnTo>
                      <a:lnTo>
                        <a:pt x="201" y="16"/>
                      </a:lnTo>
                      <a:lnTo>
                        <a:pt x="201" y="15"/>
                      </a:lnTo>
                      <a:lnTo>
                        <a:pt x="201" y="13"/>
                      </a:lnTo>
                      <a:lnTo>
                        <a:pt x="203" y="13"/>
                      </a:lnTo>
                      <a:lnTo>
                        <a:pt x="205" y="13"/>
                      </a:lnTo>
                      <a:lnTo>
                        <a:pt x="205" y="12"/>
                      </a:lnTo>
                      <a:lnTo>
                        <a:pt x="206" y="10"/>
                      </a:lnTo>
                      <a:lnTo>
                        <a:pt x="208" y="10"/>
                      </a:lnTo>
                      <a:lnTo>
                        <a:pt x="210" y="10"/>
                      </a:lnTo>
                      <a:lnTo>
                        <a:pt x="211" y="10"/>
                      </a:lnTo>
                      <a:lnTo>
                        <a:pt x="213" y="10"/>
                      </a:lnTo>
                      <a:lnTo>
                        <a:pt x="213" y="8"/>
                      </a:lnTo>
                      <a:lnTo>
                        <a:pt x="215" y="8"/>
                      </a:lnTo>
                      <a:lnTo>
                        <a:pt x="215" y="10"/>
                      </a:lnTo>
                      <a:lnTo>
                        <a:pt x="215" y="8"/>
                      </a:lnTo>
                      <a:lnTo>
                        <a:pt x="216" y="8"/>
                      </a:lnTo>
                      <a:lnTo>
                        <a:pt x="218" y="8"/>
                      </a:lnTo>
                      <a:lnTo>
                        <a:pt x="218" y="7"/>
                      </a:lnTo>
                      <a:lnTo>
                        <a:pt x="220" y="7"/>
                      </a:lnTo>
                      <a:lnTo>
                        <a:pt x="221" y="5"/>
                      </a:lnTo>
                      <a:lnTo>
                        <a:pt x="223" y="5"/>
                      </a:lnTo>
                      <a:lnTo>
                        <a:pt x="225" y="5"/>
                      </a:lnTo>
                      <a:lnTo>
                        <a:pt x="227" y="5"/>
                      </a:lnTo>
                      <a:lnTo>
                        <a:pt x="227" y="7"/>
                      </a:lnTo>
                      <a:lnTo>
                        <a:pt x="228" y="7"/>
                      </a:lnTo>
                      <a:lnTo>
                        <a:pt x="228" y="5"/>
                      </a:lnTo>
                      <a:lnTo>
                        <a:pt x="228" y="7"/>
                      </a:lnTo>
                      <a:lnTo>
                        <a:pt x="228" y="5"/>
                      </a:lnTo>
                      <a:lnTo>
                        <a:pt x="228" y="7"/>
                      </a:lnTo>
                      <a:lnTo>
                        <a:pt x="230" y="5"/>
                      </a:lnTo>
                      <a:lnTo>
                        <a:pt x="230" y="7"/>
                      </a:lnTo>
                      <a:lnTo>
                        <a:pt x="230" y="5"/>
                      </a:lnTo>
                      <a:lnTo>
                        <a:pt x="232" y="5"/>
                      </a:lnTo>
                      <a:lnTo>
                        <a:pt x="232" y="3"/>
                      </a:lnTo>
                      <a:lnTo>
                        <a:pt x="233" y="3"/>
                      </a:lnTo>
                      <a:lnTo>
                        <a:pt x="233" y="5"/>
                      </a:lnTo>
                      <a:lnTo>
                        <a:pt x="235" y="5"/>
                      </a:lnTo>
                      <a:lnTo>
                        <a:pt x="233" y="5"/>
                      </a:lnTo>
                      <a:lnTo>
                        <a:pt x="235" y="5"/>
                      </a:lnTo>
                      <a:lnTo>
                        <a:pt x="233" y="5"/>
                      </a:lnTo>
                      <a:lnTo>
                        <a:pt x="235" y="5"/>
                      </a:lnTo>
                      <a:lnTo>
                        <a:pt x="233" y="7"/>
                      </a:lnTo>
                      <a:lnTo>
                        <a:pt x="233" y="8"/>
                      </a:lnTo>
                      <a:lnTo>
                        <a:pt x="235" y="8"/>
                      </a:lnTo>
                      <a:lnTo>
                        <a:pt x="235" y="10"/>
                      </a:lnTo>
                      <a:lnTo>
                        <a:pt x="237" y="10"/>
                      </a:lnTo>
                      <a:lnTo>
                        <a:pt x="238" y="10"/>
                      </a:lnTo>
                      <a:lnTo>
                        <a:pt x="238" y="8"/>
                      </a:lnTo>
                      <a:lnTo>
                        <a:pt x="238" y="10"/>
                      </a:lnTo>
                      <a:lnTo>
                        <a:pt x="238" y="8"/>
                      </a:lnTo>
                      <a:lnTo>
                        <a:pt x="240" y="8"/>
                      </a:lnTo>
                      <a:lnTo>
                        <a:pt x="242" y="8"/>
                      </a:lnTo>
                      <a:lnTo>
                        <a:pt x="243" y="8"/>
                      </a:lnTo>
                      <a:lnTo>
                        <a:pt x="245" y="8"/>
                      </a:lnTo>
                      <a:lnTo>
                        <a:pt x="245" y="7"/>
                      </a:lnTo>
                      <a:lnTo>
                        <a:pt x="247" y="7"/>
                      </a:lnTo>
                      <a:lnTo>
                        <a:pt x="249" y="7"/>
                      </a:lnTo>
                      <a:lnTo>
                        <a:pt x="249" y="5"/>
                      </a:lnTo>
                      <a:lnTo>
                        <a:pt x="250" y="5"/>
                      </a:lnTo>
                      <a:lnTo>
                        <a:pt x="252" y="5"/>
                      </a:lnTo>
                      <a:lnTo>
                        <a:pt x="252" y="3"/>
                      </a:lnTo>
                      <a:lnTo>
                        <a:pt x="254" y="3"/>
                      </a:lnTo>
                      <a:lnTo>
                        <a:pt x="254" y="2"/>
                      </a:lnTo>
                      <a:lnTo>
                        <a:pt x="255" y="2"/>
                      </a:lnTo>
                      <a:lnTo>
                        <a:pt x="257" y="2"/>
                      </a:lnTo>
                      <a:lnTo>
                        <a:pt x="257" y="0"/>
                      </a:lnTo>
                      <a:lnTo>
                        <a:pt x="257" y="2"/>
                      </a:lnTo>
                      <a:lnTo>
                        <a:pt x="259" y="2"/>
                      </a:lnTo>
                      <a:lnTo>
                        <a:pt x="259" y="0"/>
                      </a:lnTo>
                      <a:lnTo>
                        <a:pt x="259" y="2"/>
                      </a:lnTo>
                      <a:lnTo>
                        <a:pt x="260" y="2"/>
                      </a:lnTo>
                      <a:lnTo>
                        <a:pt x="262" y="2"/>
                      </a:lnTo>
                      <a:lnTo>
                        <a:pt x="264" y="0"/>
                      </a:lnTo>
                      <a:lnTo>
                        <a:pt x="264" y="2"/>
                      </a:lnTo>
                      <a:lnTo>
                        <a:pt x="264" y="0"/>
                      </a:lnTo>
                      <a:lnTo>
                        <a:pt x="264" y="2"/>
                      </a:lnTo>
                      <a:lnTo>
                        <a:pt x="264" y="3"/>
                      </a:lnTo>
                      <a:lnTo>
                        <a:pt x="265" y="3"/>
                      </a:lnTo>
                      <a:lnTo>
                        <a:pt x="267" y="3"/>
                      </a:lnTo>
                      <a:lnTo>
                        <a:pt x="269" y="3"/>
                      </a:lnTo>
                      <a:lnTo>
                        <a:pt x="270" y="3"/>
                      </a:lnTo>
                      <a:lnTo>
                        <a:pt x="274" y="5"/>
                      </a:lnTo>
                      <a:lnTo>
                        <a:pt x="281" y="7"/>
                      </a:lnTo>
                      <a:lnTo>
                        <a:pt x="282" y="7"/>
                      </a:lnTo>
                      <a:lnTo>
                        <a:pt x="284" y="7"/>
                      </a:lnTo>
                      <a:lnTo>
                        <a:pt x="284" y="8"/>
                      </a:lnTo>
                      <a:lnTo>
                        <a:pt x="284" y="7"/>
                      </a:lnTo>
                      <a:lnTo>
                        <a:pt x="286" y="7"/>
                      </a:lnTo>
                      <a:lnTo>
                        <a:pt x="286" y="8"/>
                      </a:lnTo>
                      <a:lnTo>
                        <a:pt x="287" y="8"/>
                      </a:lnTo>
                      <a:lnTo>
                        <a:pt x="289" y="8"/>
                      </a:lnTo>
                      <a:lnTo>
                        <a:pt x="289" y="7"/>
                      </a:lnTo>
                      <a:lnTo>
                        <a:pt x="289" y="8"/>
                      </a:lnTo>
                      <a:lnTo>
                        <a:pt x="291" y="8"/>
                      </a:lnTo>
                      <a:lnTo>
                        <a:pt x="292" y="8"/>
                      </a:lnTo>
                      <a:lnTo>
                        <a:pt x="292" y="10"/>
                      </a:lnTo>
                      <a:lnTo>
                        <a:pt x="292" y="12"/>
                      </a:lnTo>
                      <a:lnTo>
                        <a:pt x="291" y="12"/>
                      </a:lnTo>
                      <a:lnTo>
                        <a:pt x="291" y="13"/>
                      </a:lnTo>
                      <a:lnTo>
                        <a:pt x="291" y="15"/>
                      </a:lnTo>
                      <a:lnTo>
                        <a:pt x="291" y="16"/>
                      </a:lnTo>
                      <a:lnTo>
                        <a:pt x="289" y="16"/>
                      </a:lnTo>
                      <a:lnTo>
                        <a:pt x="287" y="18"/>
                      </a:lnTo>
                      <a:lnTo>
                        <a:pt x="287" y="20"/>
                      </a:lnTo>
                      <a:lnTo>
                        <a:pt x="286" y="21"/>
                      </a:lnTo>
                      <a:lnTo>
                        <a:pt x="286" y="23"/>
                      </a:lnTo>
                      <a:lnTo>
                        <a:pt x="284" y="23"/>
                      </a:lnTo>
                      <a:lnTo>
                        <a:pt x="286" y="25"/>
                      </a:lnTo>
                      <a:lnTo>
                        <a:pt x="284" y="25"/>
                      </a:lnTo>
                      <a:lnTo>
                        <a:pt x="284" y="26"/>
                      </a:lnTo>
                      <a:lnTo>
                        <a:pt x="282" y="26"/>
                      </a:lnTo>
                      <a:lnTo>
                        <a:pt x="282" y="28"/>
                      </a:lnTo>
                      <a:lnTo>
                        <a:pt x="282" y="30"/>
                      </a:lnTo>
                      <a:lnTo>
                        <a:pt x="281" y="30"/>
                      </a:lnTo>
                      <a:lnTo>
                        <a:pt x="281" y="31"/>
                      </a:lnTo>
                      <a:lnTo>
                        <a:pt x="281" y="33"/>
                      </a:lnTo>
                      <a:lnTo>
                        <a:pt x="279" y="33"/>
                      </a:lnTo>
                      <a:lnTo>
                        <a:pt x="279" y="35"/>
                      </a:lnTo>
                      <a:lnTo>
                        <a:pt x="279" y="36"/>
                      </a:lnTo>
                      <a:lnTo>
                        <a:pt x="277" y="36"/>
                      </a:lnTo>
                      <a:lnTo>
                        <a:pt x="277" y="38"/>
                      </a:lnTo>
                      <a:lnTo>
                        <a:pt x="276" y="38"/>
                      </a:lnTo>
                      <a:lnTo>
                        <a:pt x="276" y="39"/>
                      </a:lnTo>
                      <a:lnTo>
                        <a:pt x="274" y="41"/>
                      </a:lnTo>
                      <a:lnTo>
                        <a:pt x="272" y="43"/>
                      </a:lnTo>
                      <a:lnTo>
                        <a:pt x="272" y="44"/>
                      </a:lnTo>
                      <a:lnTo>
                        <a:pt x="270" y="44"/>
                      </a:lnTo>
                      <a:lnTo>
                        <a:pt x="270" y="46"/>
                      </a:lnTo>
                      <a:lnTo>
                        <a:pt x="269" y="46"/>
                      </a:lnTo>
                      <a:lnTo>
                        <a:pt x="267" y="46"/>
                      </a:lnTo>
                      <a:lnTo>
                        <a:pt x="267" y="48"/>
                      </a:lnTo>
                      <a:lnTo>
                        <a:pt x="269" y="48"/>
                      </a:lnTo>
                      <a:lnTo>
                        <a:pt x="267" y="48"/>
                      </a:lnTo>
                      <a:lnTo>
                        <a:pt x="265" y="48"/>
                      </a:lnTo>
                      <a:lnTo>
                        <a:pt x="265" y="49"/>
                      </a:lnTo>
                      <a:lnTo>
                        <a:pt x="264" y="49"/>
                      </a:lnTo>
                      <a:lnTo>
                        <a:pt x="264" y="51"/>
                      </a:lnTo>
                      <a:lnTo>
                        <a:pt x="262" y="53"/>
                      </a:lnTo>
                      <a:lnTo>
                        <a:pt x="260" y="54"/>
                      </a:lnTo>
                      <a:lnTo>
                        <a:pt x="260" y="56"/>
                      </a:lnTo>
                      <a:lnTo>
                        <a:pt x="260" y="58"/>
                      </a:lnTo>
                      <a:lnTo>
                        <a:pt x="259" y="58"/>
                      </a:lnTo>
                      <a:lnTo>
                        <a:pt x="259" y="59"/>
                      </a:lnTo>
                      <a:lnTo>
                        <a:pt x="257" y="59"/>
                      </a:lnTo>
                      <a:lnTo>
                        <a:pt x="257" y="61"/>
                      </a:lnTo>
                      <a:lnTo>
                        <a:pt x="257" y="59"/>
                      </a:lnTo>
                      <a:lnTo>
                        <a:pt x="257" y="61"/>
                      </a:lnTo>
                      <a:lnTo>
                        <a:pt x="255" y="61"/>
                      </a:lnTo>
                      <a:lnTo>
                        <a:pt x="255" y="62"/>
                      </a:lnTo>
                      <a:lnTo>
                        <a:pt x="254" y="64"/>
                      </a:lnTo>
                      <a:lnTo>
                        <a:pt x="252" y="64"/>
                      </a:lnTo>
                      <a:lnTo>
                        <a:pt x="252" y="66"/>
                      </a:lnTo>
                      <a:lnTo>
                        <a:pt x="252" y="67"/>
                      </a:lnTo>
                      <a:lnTo>
                        <a:pt x="250" y="67"/>
                      </a:lnTo>
                      <a:lnTo>
                        <a:pt x="249" y="67"/>
                      </a:lnTo>
                      <a:lnTo>
                        <a:pt x="249" y="69"/>
                      </a:lnTo>
                      <a:lnTo>
                        <a:pt x="247" y="69"/>
                      </a:lnTo>
                      <a:lnTo>
                        <a:pt x="247" y="71"/>
                      </a:lnTo>
                      <a:lnTo>
                        <a:pt x="245" y="71"/>
                      </a:lnTo>
                      <a:lnTo>
                        <a:pt x="245" y="72"/>
                      </a:lnTo>
                      <a:lnTo>
                        <a:pt x="243" y="72"/>
                      </a:lnTo>
                      <a:lnTo>
                        <a:pt x="243" y="74"/>
                      </a:lnTo>
                      <a:lnTo>
                        <a:pt x="242" y="76"/>
                      </a:lnTo>
                      <a:lnTo>
                        <a:pt x="242" y="77"/>
                      </a:lnTo>
                      <a:lnTo>
                        <a:pt x="242" y="79"/>
                      </a:lnTo>
                      <a:lnTo>
                        <a:pt x="240" y="79"/>
                      </a:lnTo>
                      <a:lnTo>
                        <a:pt x="240" y="81"/>
                      </a:lnTo>
                      <a:lnTo>
                        <a:pt x="238" y="81"/>
                      </a:lnTo>
                      <a:lnTo>
                        <a:pt x="238" y="79"/>
                      </a:lnTo>
                      <a:lnTo>
                        <a:pt x="237" y="81"/>
                      </a:lnTo>
                      <a:lnTo>
                        <a:pt x="235" y="81"/>
                      </a:lnTo>
                      <a:lnTo>
                        <a:pt x="233" y="82"/>
                      </a:lnTo>
                      <a:lnTo>
                        <a:pt x="233" y="84"/>
                      </a:lnTo>
                      <a:lnTo>
                        <a:pt x="232" y="84"/>
                      </a:lnTo>
                      <a:lnTo>
                        <a:pt x="230" y="85"/>
                      </a:lnTo>
                      <a:lnTo>
                        <a:pt x="230" y="87"/>
                      </a:lnTo>
                      <a:lnTo>
                        <a:pt x="230" y="85"/>
                      </a:lnTo>
                      <a:lnTo>
                        <a:pt x="230" y="87"/>
                      </a:lnTo>
                      <a:lnTo>
                        <a:pt x="228" y="87"/>
                      </a:lnTo>
                      <a:lnTo>
                        <a:pt x="228" y="89"/>
                      </a:lnTo>
                      <a:lnTo>
                        <a:pt x="227" y="90"/>
                      </a:lnTo>
                      <a:lnTo>
                        <a:pt x="225" y="92"/>
                      </a:lnTo>
                      <a:lnTo>
                        <a:pt x="225" y="94"/>
                      </a:lnTo>
                      <a:lnTo>
                        <a:pt x="223" y="95"/>
                      </a:lnTo>
                      <a:lnTo>
                        <a:pt x="221" y="99"/>
                      </a:lnTo>
                      <a:lnTo>
                        <a:pt x="218" y="100"/>
                      </a:lnTo>
                      <a:lnTo>
                        <a:pt x="218" y="102"/>
                      </a:lnTo>
                      <a:lnTo>
                        <a:pt x="216" y="104"/>
                      </a:lnTo>
                      <a:lnTo>
                        <a:pt x="216" y="105"/>
                      </a:lnTo>
                      <a:lnTo>
                        <a:pt x="215" y="107"/>
                      </a:lnTo>
                      <a:lnTo>
                        <a:pt x="215" y="108"/>
                      </a:lnTo>
                      <a:lnTo>
                        <a:pt x="213" y="108"/>
                      </a:lnTo>
                      <a:lnTo>
                        <a:pt x="213" y="110"/>
                      </a:lnTo>
                      <a:lnTo>
                        <a:pt x="211" y="112"/>
                      </a:lnTo>
                      <a:lnTo>
                        <a:pt x="211" y="113"/>
                      </a:lnTo>
                      <a:lnTo>
                        <a:pt x="210" y="115"/>
                      </a:lnTo>
                      <a:lnTo>
                        <a:pt x="208" y="117"/>
                      </a:lnTo>
                      <a:lnTo>
                        <a:pt x="208" y="118"/>
                      </a:lnTo>
                      <a:lnTo>
                        <a:pt x="206" y="118"/>
                      </a:lnTo>
                      <a:lnTo>
                        <a:pt x="205" y="118"/>
                      </a:lnTo>
                      <a:lnTo>
                        <a:pt x="203" y="120"/>
                      </a:lnTo>
                      <a:lnTo>
                        <a:pt x="203" y="122"/>
                      </a:lnTo>
                      <a:lnTo>
                        <a:pt x="201" y="123"/>
                      </a:lnTo>
                      <a:lnTo>
                        <a:pt x="200" y="125"/>
                      </a:lnTo>
                      <a:lnTo>
                        <a:pt x="198" y="125"/>
                      </a:lnTo>
                      <a:lnTo>
                        <a:pt x="196" y="127"/>
                      </a:lnTo>
                      <a:lnTo>
                        <a:pt x="194" y="128"/>
                      </a:lnTo>
                      <a:lnTo>
                        <a:pt x="193" y="130"/>
                      </a:lnTo>
                      <a:lnTo>
                        <a:pt x="191" y="130"/>
                      </a:lnTo>
                      <a:lnTo>
                        <a:pt x="191" y="131"/>
                      </a:lnTo>
                      <a:lnTo>
                        <a:pt x="189" y="133"/>
                      </a:lnTo>
                      <a:lnTo>
                        <a:pt x="188" y="135"/>
                      </a:lnTo>
                      <a:lnTo>
                        <a:pt x="186" y="136"/>
                      </a:lnTo>
                      <a:lnTo>
                        <a:pt x="184" y="138"/>
                      </a:lnTo>
                      <a:lnTo>
                        <a:pt x="184" y="140"/>
                      </a:lnTo>
                      <a:lnTo>
                        <a:pt x="184" y="141"/>
                      </a:lnTo>
                      <a:lnTo>
                        <a:pt x="184" y="143"/>
                      </a:lnTo>
                      <a:lnTo>
                        <a:pt x="183" y="145"/>
                      </a:lnTo>
                      <a:lnTo>
                        <a:pt x="181" y="146"/>
                      </a:lnTo>
                      <a:lnTo>
                        <a:pt x="181" y="148"/>
                      </a:lnTo>
                      <a:lnTo>
                        <a:pt x="179" y="150"/>
                      </a:lnTo>
                      <a:lnTo>
                        <a:pt x="179" y="151"/>
                      </a:lnTo>
                      <a:lnTo>
                        <a:pt x="178" y="154"/>
                      </a:lnTo>
                      <a:lnTo>
                        <a:pt x="176" y="156"/>
                      </a:lnTo>
                      <a:lnTo>
                        <a:pt x="174" y="156"/>
                      </a:lnTo>
                      <a:lnTo>
                        <a:pt x="174" y="154"/>
                      </a:lnTo>
                      <a:lnTo>
                        <a:pt x="173" y="150"/>
                      </a:lnTo>
                      <a:lnTo>
                        <a:pt x="169" y="148"/>
                      </a:lnTo>
                      <a:lnTo>
                        <a:pt x="167" y="148"/>
                      </a:lnTo>
                      <a:lnTo>
                        <a:pt x="166" y="150"/>
                      </a:lnTo>
                      <a:lnTo>
                        <a:pt x="164" y="150"/>
                      </a:lnTo>
                      <a:lnTo>
                        <a:pt x="162" y="150"/>
                      </a:lnTo>
                      <a:lnTo>
                        <a:pt x="161" y="150"/>
                      </a:lnTo>
                      <a:lnTo>
                        <a:pt x="159" y="148"/>
                      </a:lnTo>
                      <a:lnTo>
                        <a:pt x="159" y="146"/>
                      </a:lnTo>
                      <a:lnTo>
                        <a:pt x="159" y="145"/>
                      </a:lnTo>
                      <a:lnTo>
                        <a:pt x="159" y="143"/>
                      </a:lnTo>
                      <a:lnTo>
                        <a:pt x="159" y="141"/>
                      </a:lnTo>
                      <a:lnTo>
                        <a:pt x="159" y="140"/>
                      </a:lnTo>
                      <a:lnTo>
                        <a:pt x="157" y="138"/>
                      </a:lnTo>
                      <a:lnTo>
                        <a:pt x="157" y="136"/>
                      </a:lnTo>
                      <a:lnTo>
                        <a:pt x="156" y="136"/>
                      </a:lnTo>
                      <a:lnTo>
                        <a:pt x="154" y="135"/>
                      </a:lnTo>
                      <a:lnTo>
                        <a:pt x="152" y="133"/>
                      </a:lnTo>
                      <a:lnTo>
                        <a:pt x="151" y="133"/>
                      </a:lnTo>
                      <a:lnTo>
                        <a:pt x="151" y="135"/>
                      </a:lnTo>
                      <a:lnTo>
                        <a:pt x="149" y="135"/>
                      </a:lnTo>
                      <a:lnTo>
                        <a:pt x="147" y="135"/>
                      </a:lnTo>
                      <a:lnTo>
                        <a:pt x="145" y="135"/>
                      </a:lnTo>
                      <a:lnTo>
                        <a:pt x="144" y="135"/>
                      </a:lnTo>
                      <a:lnTo>
                        <a:pt x="142" y="133"/>
                      </a:lnTo>
                      <a:lnTo>
                        <a:pt x="142" y="131"/>
                      </a:lnTo>
                      <a:lnTo>
                        <a:pt x="140" y="131"/>
                      </a:lnTo>
                      <a:lnTo>
                        <a:pt x="139" y="130"/>
                      </a:lnTo>
                      <a:lnTo>
                        <a:pt x="137" y="130"/>
                      </a:lnTo>
                      <a:lnTo>
                        <a:pt x="135" y="130"/>
                      </a:lnTo>
                      <a:lnTo>
                        <a:pt x="134" y="130"/>
                      </a:lnTo>
                      <a:lnTo>
                        <a:pt x="134" y="128"/>
                      </a:lnTo>
                      <a:lnTo>
                        <a:pt x="132" y="128"/>
                      </a:lnTo>
                      <a:lnTo>
                        <a:pt x="132" y="127"/>
                      </a:lnTo>
                      <a:lnTo>
                        <a:pt x="132" y="125"/>
                      </a:lnTo>
                      <a:lnTo>
                        <a:pt x="130" y="125"/>
                      </a:lnTo>
                      <a:lnTo>
                        <a:pt x="130" y="123"/>
                      </a:lnTo>
                      <a:lnTo>
                        <a:pt x="129" y="123"/>
                      </a:lnTo>
                      <a:lnTo>
                        <a:pt x="127" y="123"/>
                      </a:lnTo>
                      <a:lnTo>
                        <a:pt x="125" y="122"/>
                      </a:lnTo>
                      <a:lnTo>
                        <a:pt x="125" y="120"/>
                      </a:lnTo>
                      <a:lnTo>
                        <a:pt x="124" y="118"/>
                      </a:lnTo>
                      <a:lnTo>
                        <a:pt x="122" y="117"/>
                      </a:lnTo>
                      <a:lnTo>
                        <a:pt x="122" y="115"/>
                      </a:lnTo>
                      <a:lnTo>
                        <a:pt x="122" y="113"/>
                      </a:lnTo>
                      <a:lnTo>
                        <a:pt x="122" y="112"/>
                      </a:lnTo>
                      <a:lnTo>
                        <a:pt x="122" y="110"/>
                      </a:lnTo>
                      <a:lnTo>
                        <a:pt x="120" y="108"/>
                      </a:lnTo>
                      <a:lnTo>
                        <a:pt x="118" y="108"/>
                      </a:lnTo>
                      <a:lnTo>
                        <a:pt x="117" y="108"/>
                      </a:lnTo>
                      <a:lnTo>
                        <a:pt x="115" y="108"/>
                      </a:lnTo>
                      <a:lnTo>
                        <a:pt x="113" y="108"/>
                      </a:lnTo>
                      <a:lnTo>
                        <a:pt x="110" y="107"/>
                      </a:lnTo>
                      <a:lnTo>
                        <a:pt x="108" y="105"/>
                      </a:lnTo>
                      <a:lnTo>
                        <a:pt x="107" y="104"/>
                      </a:lnTo>
                      <a:lnTo>
                        <a:pt x="105" y="102"/>
                      </a:lnTo>
                      <a:lnTo>
                        <a:pt x="103" y="100"/>
                      </a:lnTo>
                      <a:lnTo>
                        <a:pt x="100" y="100"/>
                      </a:lnTo>
                      <a:lnTo>
                        <a:pt x="97" y="100"/>
                      </a:lnTo>
                      <a:lnTo>
                        <a:pt x="95" y="100"/>
                      </a:lnTo>
                      <a:lnTo>
                        <a:pt x="95" y="99"/>
                      </a:lnTo>
                      <a:lnTo>
                        <a:pt x="93" y="97"/>
                      </a:lnTo>
                      <a:lnTo>
                        <a:pt x="91" y="95"/>
                      </a:lnTo>
                      <a:lnTo>
                        <a:pt x="90" y="94"/>
                      </a:lnTo>
                      <a:lnTo>
                        <a:pt x="88" y="94"/>
                      </a:lnTo>
                      <a:lnTo>
                        <a:pt x="86" y="94"/>
                      </a:lnTo>
                      <a:lnTo>
                        <a:pt x="85" y="90"/>
                      </a:lnTo>
                      <a:lnTo>
                        <a:pt x="83" y="90"/>
                      </a:lnTo>
                      <a:lnTo>
                        <a:pt x="80" y="89"/>
                      </a:lnTo>
                      <a:lnTo>
                        <a:pt x="78" y="89"/>
                      </a:lnTo>
                      <a:lnTo>
                        <a:pt x="75" y="87"/>
                      </a:lnTo>
                      <a:lnTo>
                        <a:pt x="73" y="87"/>
                      </a:lnTo>
                      <a:lnTo>
                        <a:pt x="71" y="87"/>
                      </a:lnTo>
                      <a:lnTo>
                        <a:pt x="69" y="87"/>
                      </a:lnTo>
                      <a:lnTo>
                        <a:pt x="68" y="87"/>
                      </a:lnTo>
                      <a:lnTo>
                        <a:pt x="64" y="85"/>
                      </a:lnTo>
                      <a:lnTo>
                        <a:pt x="63" y="85"/>
                      </a:lnTo>
                      <a:lnTo>
                        <a:pt x="61" y="84"/>
                      </a:lnTo>
                      <a:lnTo>
                        <a:pt x="59" y="84"/>
                      </a:lnTo>
                      <a:lnTo>
                        <a:pt x="58" y="82"/>
                      </a:lnTo>
                      <a:lnTo>
                        <a:pt x="56" y="81"/>
                      </a:lnTo>
                      <a:lnTo>
                        <a:pt x="54" y="79"/>
                      </a:lnTo>
                      <a:lnTo>
                        <a:pt x="53" y="77"/>
                      </a:lnTo>
                      <a:lnTo>
                        <a:pt x="51" y="77"/>
                      </a:lnTo>
                      <a:lnTo>
                        <a:pt x="51" y="76"/>
                      </a:lnTo>
                      <a:lnTo>
                        <a:pt x="49" y="76"/>
                      </a:lnTo>
                      <a:lnTo>
                        <a:pt x="48" y="76"/>
                      </a:lnTo>
                      <a:lnTo>
                        <a:pt x="46" y="76"/>
                      </a:lnTo>
                      <a:lnTo>
                        <a:pt x="44" y="77"/>
                      </a:lnTo>
                      <a:lnTo>
                        <a:pt x="42" y="77"/>
                      </a:lnTo>
                      <a:lnTo>
                        <a:pt x="42" y="76"/>
                      </a:lnTo>
                      <a:lnTo>
                        <a:pt x="41" y="74"/>
                      </a:lnTo>
                      <a:lnTo>
                        <a:pt x="41" y="72"/>
                      </a:lnTo>
                      <a:lnTo>
                        <a:pt x="39" y="72"/>
                      </a:lnTo>
                      <a:lnTo>
                        <a:pt x="37" y="71"/>
                      </a:lnTo>
                      <a:lnTo>
                        <a:pt x="36" y="71"/>
                      </a:lnTo>
                      <a:lnTo>
                        <a:pt x="36" y="69"/>
                      </a:lnTo>
                      <a:lnTo>
                        <a:pt x="34" y="69"/>
                      </a:lnTo>
                      <a:lnTo>
                        <a:pt x="34" y="67"/>
                      </a:lnTo>
                      <a:lnTo>
                        <a:pt x="32" y="67"/>
                      </a:lnTo>
                      <a:lnTo>
                        <a:pt x="32" y="69"/>
                      </a:lnTo>
                      <a:lnTo>
                        <a:pt x="31" y="69"/>
                      </a:lnTo>
                      <a:lnTo>
                        <a:pt x="29" y="67"/>
                      </a:lnTo>
                      <a:lnTo>
                        <a:pt x="27" y="67"/>
                      </a:lnTo>
                      <a:lnTo>
                        <a:pt x="26" y="67"/>
                      </a:lnTo>
                      <a:lnTo>
                        <a:pt x="24" y="66"/>
                      </a:lnTo>
                      <a:lnTo>
                        <a:pt x="22" y="66"/>
                      </a:lnTo>
                      <a:lnTo>
                        <a:pt x="22" y="64"/>
                      </a:lnTo>
                      <a:lnTo>
                        <a:pt x="24" y="64"/>
                      </a:lnTo>
                      <a:lnTo>
                        <a:pt x="22" y="62"/>
                      </a:lnTo>
                      <a:lnTo>
                        <a:pt x="21" y="62"/>
                      </a:lnTo>
                      <a:lnTo>
                        <a:pt x="21" y="61"/>
                      </a:lnTo>
                      <a:lnTo>
                        <a:pt x="19" y="61"/>
                      </a:lnTo>
                      <a:lnTo>
                        <a:pt x="17" y="61"/>
                      </a:lnTo>
                      <a:lnTo>
                        <a:pt x="17" y="59"/>
                      </a:lnTo>
                      <a:lnTo>
                        <a:pt x="15" y="59"/>
                      </a:lnTo>
                      <a:lnTo>
                        <a:pt x="14" y="58"/>
                      </a:lnTo>
                      <a:lnTo>
                        <a:pt x="12" y="58"/>
                      </a:lnTo>
                      <a:lnTo>
                        <a:pt x="12" y="59"/>
                      </a:lnTo>
                      <a:lnTo>
                        <a:pt x="10" y="58"/>
                      </a:lnTo>
                      <a:lnTo>
                        <a:pt x="9" y="59"/>
                      </a:lnTo>
                      <a:lnTo>
                        <a:pt x="9" y="58"/>
                      </a:lnTo>
                      <a:lnTo>
                        <a:pt x="7" y="58"/>
                      </a:lnTo>
                      <a:lnTo>
                        <a:pt x="5" y="58"/>
                      </a:lnTo>
                      <a:lnTo>
                        <a:pt x="4" y="56"/>
                      </a:lnTo>
                      <a:lnTo>
                        <a:pt x="4" y="54"/>
                      </a:lnTo>
                      <a:lnTo>
                        <a:pt x="5" y="54"/>
                      </a:lnTo>
                      <a:lnTo>
                        <a:pt x="5" y="53"/>
                      </a:lnTo>
                      <a:lnTo>
                        <a:pt x="4" y="53"/>
                      </a:lnTo>
                      <a:lnTo>
                        <a:pt x="4" y="51"/>
                      </a:lnTo>
                      <a:lnTo>
                        <a:pt x="2" y="51"/>
                      </a:lnTo>
                      <a:lnTo>
                        <a:pt x="2" y="49"/>
                      </a:lnTo>
                      <a:lnTo>
                        <a:pt x="0" y="48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2" name="Freeform 20"/>
                <p:cNvSpPr>
                  <a:spLocks noChangeAspect="1" noEditPoints="1"/>
                </p:cNvSpPr>
                <p:nvPr/>
              </p:nvSpPr>
              <p:spPr bwMode="auto">
                <a:xfrm>
                  <a:off x="5009443" y="1434149"/>
                  <a:ext cx="1026556" cy="1423500"/>
                </a:xfrm>
                <a:custGeom>
                  <a:avLst/>
                  <a:gdLst>
                    <a:gd name="T0" fmla="*/ 2147483647 w 658"/>
                    <a:gd name="T1" fmla="*/ 2147483647 h 851"/>
                    <a:gd name="T2" fmla="*/ 2147483647 w 658"/>
                    <a:gd name="T3" fmla="*/ 2147483647 h 851"/>
                    <a:gd name="T4" fmla="*/ 2147483647 w 658"/>
                    <a:gd name="T5" fmla="*/ 2147483647 h 851"/>
                    <a:gd name="T6" fmla="*/ 2147483647 w 658"/>
                    <a:gd name="T7" fmla="*/ 2147483647 h 851"/>
                    <a:gd name="T8" fmla="*/ 2147483647 w 658"/>
                    <a:gd name="T9" fmla="*/ 2147483647 h 851"/>
                    <a:gd name="T10" fmla="*/ 2147483647 w 658"/>
                    <a:gd name="T11" fmla="*/ 2147483647 h 851"/>
                    <a:gd name="T12" fmla="*/ 2147483647 w 658"/>
                    <a:gd name="T13" fmla="*/ 2147483647 h 851"/>
                    <a:gd name="T14" fmla="*/ 2147483647 w 658"/>
                    <a:gd name="T15" fmla="*/ 2147483647 h 851"/>
                    <a:gd name="T16" fmla="*/ 2147483647 w 658"/>
                    <a:gd name="T17" fmla="*/ 2147483647 h 851"/>
                    <a:gd name="T18" fmla="*/ 2147483647 w 658"/>
                    <a:gd name="T19" fmla="*/ 2147483647 h 851"/>
                    <a:gd name="T20" fmla="*/ 2147483647 w 658"/>
                    <a:gd name="T21" fmla="*/ 2147483647 h 851"/>
                    <a:gd name="T22" fmla="*/ 2147483647 w 658"/>
                    <a:gd name="T23" fmla="*/ 2147483647 h 851"/>
                    <a:gd name="T24" fmla="*/ 2147483647 w 658"/>
                    <a:gd name="T25" fmla="*/ 2147483647 h 851"/>
                    <a:gd name="T26" fmla="*/ 2147483647 w 658"/>
                    <a:gd name="T27" fmla="*/ 2147483647 h 851"/>
                    <a:gd name="T28" fmla="*/ 2147483647 w 658"/>
                    <a:gd name="T29" fmla="*/ 2147483647 h 851"/>
                    <a:gd name="T30" fmla="*/ 2147483647 w 658"/>
                    <a:gd name="T31" fmla="*/ 2147483647 h 851"/>
                    <a:gd name="T32" fmla="*/ 2147483647 w 658"/>
                    <a:gd name="T33" fmla="*/ 2147483647 h 851"/>
                    <a:gd name="T34" fmla="*/ 2147483647 w 658"/>
                    <a:gd name="T35" fmla="*/ 2147483647 h 851"/>
                    <a:gd name="T36" fmla="*/ 2147483647 w 658"/>
                    <a:gd name="T37" fmla="*/ 2147483647 h 851"/>
                    <a:gd name="T38" fmla="*/ 2147483647 w 658"/>
                    <a:gd name="T39" fmla="*/ 2147483647 h 851"/>
                    <a:gd name="T40" fmla="*/ 2147483647 w 658"/>
                    <a:gd name="T41" fmla="*/ 2147483647 h 851"/>
                    <a:gd name="T42" fmla="*/ 2147483647 w 658"/>
                    <a:gd name="T43" fmla="*/ 2147483647 h 851"/>
                    <a:gd name="T44" fmla="*/ 2147483647 w 658"/>
                    <a:gd name="T45" fmla="*/ 2147483647 h 851"/>
                    <a:gd name="T46" fmla="*/ 2147483647 w 658"/>
                    <a:gd name="T47" fmla="*/ 2147483647 h 851"/>
                    <a:gd name="T48" fmla="*/ 2147483647 w 658"/>
                    <a:gd name="T49" fmla="*/ 2147483647 h 851"/>
                    <a:gd name="T50" fmla="*/ 2147483647 w 658"/>
                    <a:gd name="T51" fmla="*/ 2147483647 h 851"/>
                    <a:gd name="T52" fmla="*/ 2147483647 w 658"/>
                    <a:gd name="T53" fmla="*/ 2147483647 h 851"/>
                    <a:gd name="T54" fmla="*/ 2147483647 w 658"/>
                    <a:gd name="T55" fmla="*/ 2147483647 h 851"/>
                    <a:gd name="T56" fmla="*/ 2147483647 w 658"/>
                    <a:gd name="T57" fmla="*/ 2147483647 h 851"/>
                    <a:gd name="T58" fmla="*/ 2147483647 w 658"/>
                    <a:gd name="T59" fmla="*/ 2147483647 h 851"/>
                    <a:gd name="T60" fmla="*/ 2147483647 w 658"/>
                    <a:gd name="T61" fmla="*/ 2147483647 h 851"/>
                    <a:gd name="T62" fmla="*/ 2147483647 w 658"/>
                    <a:gd name="T63" fmla="*/ 2147483647 h 851"/>
                    <a:gd name="T64" fmla="*/ 2147483647 w 658"/>
                    <a:gd name="T65" fmla="*/ 2147483647 h 851"/>
                    <a:gd name="T66" fmla="*/ 2147483647 w 658"/>
                    <a:gd name="T67" fmla="*/ 2147483647 h 851"/>
                    <a:gd name="T68" fmla="*/ 2147483647 w 658"/>
                    <a:gd name="T69" fmla="*/ 2147483647 h 851"/>
                    <a:gd name="T70" fmla="*/ 2147483647 w 658"/>
                    <a:gd name="T71" fmla="*/ 2147483647 h 851"/>
                    <a:gd name="T72" fmla="*/ 2147483647 w 658"/>
                    <a:gd name="T73" fmla="*/ 2147483647 h 851"/>
                    <a:gd name="T74" fmla="*/ 2147483647 w 658"/>
                    <a:gd name="T75" fmla="*/ 2147483647 h 851"/>
                    <a:gd name="T76" fmla="*/ 2147483647 w 658"/>
                    <a:gd name="T77" fmla="*/ 2147483647 h 851"/>
                    <a:gd name="T78" fmla="*/ 2147483647 w 658"/>
                    <a:gd name="T79" fmla="*/ 2147483647 h 851"/>
                    <a:gd name="T80" fmla="*/ 2147483647 w 658"/>
                    <a:gd name="T81" fmla="*/ 2147483647 h 851"/>
                    <a:gd name="T82" fmla="*/ 2147483647 w 658"/>
                    <a:gd name="T83" fmla="*/ 2147483647 h 851"/>
                    <a:gd name="T84" fmla="*/ 2147483647 w 658"/>
                    <a:gd name="T85" fmla="*/ 2147483647 h 851"/>
                    <a:gd name="T86" fmla="*/ 2147483647 w 658"/>
                    <a:gd name="T87" fmla="*/ 2147483647 h 851"/>
                    <a:gd name="T88" fmla="*/ 2147483647 w 658"/>
                    <a:gd name="T89" fmla="*/ 2147483647 h 851"/>
                    <a:gd name="T90" fmla="*/ 2147483647 w 658"/>
                    <a:gd name="T91" fmla="*/ 2147483647 h 851"/>
                    <a:gd name="T92" fmla="*/ 2147483647 w 658"/>
                    <a:gd name="T93" fmla="*/ 2147483647 h 851"/>
                    <a:gd name="T94" fmla="*/ 2147483647 w 658"/>
                    <a:gd name="T95" fmla="*/ 2147483647 h 851"/>
                    <a:gd name="T96" fmla="*/ 2147483647 w 658"/>
                    <a:gd name="T97" fmla="*/ 2147483647 h 851"/>
                    <a:gd name="T98" fmla="*/ 2147483647 w 658"/>
                    <a:gd name="T99" fmla="*/ 2147483647 h 851"/>
                    <a:gd name="T100" fmla="*/ 2147483647 w 658"/>
                    <a:gd name="T101" fmla="*/ 2147483647 h 851"/>
                    <a:gd name="T102" fmla="*/ 2147483647 w 658"/>
                    <a:gd name="T103" fmla="*/ 2147483647 h 851"/>
                    <a:gd name="T104" fmla="*/ 2147483647 w 658"/>
                    <a:gd name="T105" fmla="*/ 2147483647 h 851"/>
                    <a:gd name="T106" fmla="*/ 2147483647 w 658"/>
                    <a:gd name="T107" fmla="*/ 2147483647 h 851"/>
                    <a:gd name="T108" fmla="*/ 2147483647 w 658"/>
                    <a:gd name="T109" fmla="*/ 2147483647 h 851"/>
                    <a:gd name="T110" fmla="*/ 2147483647 w 658"/>
                    <a:gd name="T111" fmla="*/ 2147483647 h 851"/>
                    <a:gd name="T112" fmla="*/ 2147483647 w 658"/>
                    <a:gd name="T113" fmla="*/ 2147483647 h 851"/>
                    <a:gd name="T114" fmla="*/ 2147483647 w 658"/>
                    <a:gd name="T115" fmla="*/ 2147483647 h 851"/>
                    <a:gd name="T116" fmla="*/ 2147483647 w 658"/>
                    <a:gd name="T117" fmla="*/ 2147483647 h 851"/>
                    <a:gd name="T118" fmla="*/ 2147483647 w 658"/>
                    <a:gd name="T119" fmla="*/ 2147483647 h 851"/>
                    <a:gd name="T120" fmla="*/ 2147483647 w 658"/>
                    <a:gd name="T121" fmla="*/ 2147483647 h 851"/>
                    <a:gd name="T122" fmla="*/ 2147483647 w 658"/>
                    <a:gd name="T123" fmla="*/ 2147483647 h 851"/>
                    <a:gd name="T124" fmla="*/ 2147483647 w 658"/>
                    <a:gd name="T125" fmla="*/ 2147483647 h 851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58"/>
                    <a:gd name="T190" fmla="*/ 0 h 851"/>
                    <a:gd name="T191" fmla="*/ 658 w 658"/>
                    <a:gd name="T192" fmla="*/ 851 h 851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58" h="851">
                      <a:moveTo>
                        <a:pt x="272" y="20"/>
                      </a:moveTo>
                      <a:lnTo>
                        <a:pt x="273" y="20"/>
                      </a:lnTo>
                      <a:lnTo>
                        <a:pt x="275" y="20"/>
                      </a:lnTo>
                      <a:lnTo>
                        <a:pt x="275" y="16"/>
                      </a:lnTo>
                      <a:lnTo>
                        <a:pt x="277" y="16"/>
                      </a:lnTo>
                      <a:lnTo>
                        <a:pt x="277" y="13"/>
                      </a:lnTo>
                      <a:lnTo>
                        <a:pt x="277" y="15"/>
                      </a:lnTo>
                      <a:lnTo>
                        <a:pt x="277" y="16"/>
                      </a:lnTo>
                      <a:lnTo>
                        <a:pt x="278" y="16"/>
                      </a:lnTo>
                      <a:lnTo>
                        <a:pt x="277" y="18"/>
                      </a:lnTo>
                      <a:lnTo>
                        <a:pt x="277" y="20"/>
                      </a:lnTo>
                      <a:lnTo>
                        <a:pt x="278" y="16"/>
                      </a:lnTo>
                      <a:lnTo>
                        <a:pt x="278" y="15"/>
                      </a:lnTo>
                      <a:lnTo>
                        <a:pt x="277" y="15"/>
                      </a:lnTo>
                      <a:lnTo>
                        <a:pt x="277" y="13"/>
                      </a:lnTo>
                      <a:lnTo>
                        <a:pt x="277" y="12"/>
                      </a:lnTo>
                      <a:lnTo>
                        <a:pt x="278" y="12"/>
                      </a:lnTo>
                      <a:lnTo>
                        <a:pt x="280" y="12"/>
                      </a:lnTo>
                      <a:lnTo>
                        <a:pt x="280" y="13"/>
                      </a:lnTo>
                      <a:lnTo>
                        <a:pt x="278" y="13"/>
                      </a:lnTo>
                      <a:lnTo>
                        <a:pt x="278" y="15"/>
                      </a:lnTo>
                      <a:lnTo>
                        <a:pt x="280" y="16"/>
                      </a:lnTo>
                      <a:lnTo>
                        <a:pt x="278" y="18"/>
                      </a:lnTo>
                      <a:lnTo>
                        <a:pt x="278" y="20"/>
                      </a:lnTo>
                      <a:lnTo>
                        <a:pt x="277" y="20"/>
                      </a:lnTo>
                      <a:lnTo>
                        <a:pt x="277" y="21"/>
                      </a:lnTo>
                      <a:lnTo>
                        <a:pt x="278" y="20"/>
                      </a:lnTo>
                      <a:lnTo>
                        <a:pt x="280" y="20"/>
                      </a:lnTo>
                      <a:lnTo>
                        <a:pt x="280" y="18"/>
                      </a:lnTo>
                      <a:lnTo>
                        <a:pt x="282" y="16"/>
                      </a:lnTo>
                      <a:lnTo>
                        <a:pt x="282" y="15"/>
                      </a:lnTo>
                      <a:lnTo>
                        <a:pt x="282" y="13"/>
                      </a:lnTo>
                      <a:lnTo>
                        <a:pt x="284" y="15"/>
                      </a:lnTo>
                      <a:lnTo>
                        <a:pt x="284" y="13"/>
                      </a:lnTo>
                      <a:lnTo>
                        <a:pt x="285" y="12"/>
                      </a:lnTo>
                      <a:lnTo>
                        <a:pt x="285" y="10"/>
                      </a:lnTo>
                      <a:lnTo>
                        <a:pt x="285" y="8"/>
                      </a:lnTo>
                      <a:lnTo>
                        <a:pt x="287" y="8"/>
                      </a:lnTo>
                      <a:lnTo>
                        <a:pt x="289" y="8"/>
                      </a:lnTo>
                      <a:lnTo>
                        <a:pt x="290" y="8"/>
                      </a:lnTo>
                      <a:lnTo>
                        <a:pt x="290" y="10"/>
                      </a:lnTo>
                      <a:lnTo>
                        <a:pt x="289" y="12"/>
                      </a:lnTo>
                      <a:lnTo>
                        <a:pt x="289" y="10"/>
                      </a:lnTo>
                      <a:lnTo>
                        <a:pt x="289" y="12"/>
                      </a:lnTo>
                      <a:lnTo>
                        <a:pt x="287" y="13"/>
                      </a:lnTo>
                      <a:lnTo>
                        <a:pt x="287" y="15"/>
                      </a:lnTo>
                      <a:lnTo>
                        <a:pt x="287" y="16"/>
                      </a:lnTo>
                      <a:lnTo>
                        <a:pt x="285" y="16"/>
                      </a:lnTo>
                      <a:lnTo>
                        <a:pt x="287" y="16"/>
                      </a:lnTo>
                      <a:lnTo>
                        <a:pt x="287" y="18"/>
                      </a:lnTo>
                      <a:lnTo>
                        <a:pt x="289" y="20"/>
                      </a:lnTo>
                      <a:lnTo>
                        <a:pt x="289" y="21"/>
                      </a:lnTo>
                      <a:lnTo>
                        <a:pt x="289" y="23"/>
                      </a:lnTo>
                      <a:lnTo>
                        <a:pt x="289" y="25"/>
                      </a:lnTo>
                      <a:lnTo>
                        <a:pt x="290" y="25"/>
                      </a:lnTo>
                      <a:lnTo>
                        <a:pt x="289" y="26"/>
                      </a:lnTo>
                      <a:lnTo>
                        <a:pt x="290" y="28"/>
                      </a:lnTo>
                      <a:lnTo>
                        <a:pt x="289" y="28"/>
                      </a:lnTo>
                      <a:lnTo>
                        <a:pt x="289" y="30"/>
                      </a:lnTo>
                      <a:lnTo>
                        <a:pt x="290" y="30"/>
                      </a:lnTo>
                      <a:lnTo>
                        <a:pt x="292" y="30"/>
                      </a:lnTo>
                      <a:lnTo>
                        <a:pt x="294" y="31"/>
                      </a:lnTo>
                      <a:lnTo>
                        <a:pt x="294" y="30"/>
                      </a:lnTo>
                      <a:lnTo>
                        <a:pt x="295" y="30"/>
                      </a:lnTo>
                      <a:lnTo>
                        <a:pt x="297" y="28"/>
                      </a:lnTo>
                      <a:lnTo>
                        <a:pt x="297" y="26"/>
                      </a:lnTo>
                      <a:lnTo>
                        <a:pt x="297" y="25"/>
                      </a:lnTo>
                      <a:lnTo>
                        <a:pt x="297" y="23"/>
                      </a:lnTo>
                      <a:lnTo>
                        <a:pt x="297" y="21"/>
                      </a:lnTo>
                      <a:lnTo>
                        <a:pt x="299" y="21"/>
                      </a:lnTo>
                      <a:lnTo>
                        <a:pt x="299" y="20"/>
                      </a:lnTo>
                      <a:lnTo>
                        <a:pt x="300" y="20"/>
                      </a:lnTo>
                      <a:lnTo>
                        <a:pt x="300" y="21"/>
                      </a:lnTo>
                      <a:lnTo>
                        <a:pt x="300" y="23"/>
                      </a:lnTo>
                      <a:lnTo>
                        <a:pt x="299" y="23"/>
                      </a:lnTo>
                      <a:lnTo>
                        <a:pt x="299" y="25"/>
                      </a:lnTo>
                      <a:lnTo>
                        <a:pt x="297" y="23"/>
                      </a:lnTo>
                      <a:lnTo>
                        <a:pt x="297" y="25"/>
                      </a:lnTo>
                      <a:lnTo>
                        <a:pt x="299" y="25"/>
                      </a:lnTo>
                      <a:lnTo>
                        <a:pt x="299" y="23"/>
                      </a:lnTo>
                      <a:lnTo>
                        <a:pt x="299" y="25"/>
                      </a:lnTo>
                      <a:lnTo>
                        <a:pt x="299" y="26"/>
                      </a:lnTo>
                      <a:lnTo>
                        <a:pt x="300" y="26"/>
                      </a:lnTo>
                      <a:lnTo>
                        <a:pt x="299" y="25"/>
                      </a:lnTo>
                      <a:lnTo>
                        <a:pt x="300" y="25"/>
                      </a:lnTo>
                      <a:lnTo>
                        <a:pt x="300" y="23"/>
                      </a:lnTo>
                      <a:lnTo>
                        <a:pt x="302" y="21"/>
                      </a:lnTo>
                      <a:lnTo>
                        <a:pt x="302" y="23"/>
                      </a:lnTo>
                      <a:lnTo>
                        <a:pt x="302" y="25"/>
                      </a:lnTo>
                      <a:lnTo>
                        <a:pt x="302" y="26"/>
                      </a:lnTo>
                      <a:lnTo>
                        <a:pt x="302" y="25"/>
                      </a:lnTo>
                      <a:lnTo>
                        <a:pt x="304" y="25"/>
                      </a:lnTo>
                      <a:lnTo>
                        <a:pt x="305" y="25"/>
                      </a:lnTo>
                      <a:lnTo>
                        <a:pt x="304" y="25"/>
                      </a:lnTo>
                      <a:lnTo>
                        <a:pt x="305" y="25"/>
                      </a:lnTo>
                      <a:lnTo>
                        <a:pt x="304" y="26"/>
                      </a:lnTo>
                      <a:lnTo>
                        <a:pt x="305" y="26"/>
                      </a:lnTo>
                      <a:lnTo>
                        <a:pt x="305" y="25"/>
                      </a:lnTo>
                      <a:lnTo>
                        <a:pt x="305" y="23"/>
                      </a:lnTo>
                      <a:lnTo>
                        <a:pt x="307" y="23"/>
                      </a:lnTo>
                      <a:lnTo>
                        <a:pt x="307" y="25"/>
                      </a:lnTo>
                      <a:lnTo>
                        <a:pt x="307" y="26"/>
                      </a:lnTo>
                      <a:lnTo>
                        <a:pt x="305" y="26"/>
                      </a:lnTo>
                      <a:lnTo>
                        <a:pt x="305" y="28"/>
                      </a:lnTo>
                      <a:lnTo>
                        <a:pt x="307" y="28"/>
                      </a:lnTo>
                      <a:lnTo>
                        <a:pt x="305" y="28"/>
                      </a:lnTo>
                      <a:lnTo>
                        <a:pt x="305" y="30"/>
                      </a:lnTo>
                      <a:lnTo>
                        <a:pt x="304" y="30"/>
                      </a:lnTo>
                      <a:lnTo>
                        <a:pt x="305" y="30"/>
                      </a:lnTo>
                      <a:lnTo>
                        <a:pt x="307" y="30"/>
                      </a:lnTo>
                      <a:lnTo>
                        <a:pt x="307" y="31"/>
                      </a:lnTo>
                      <a:lnTo>
                        <a:pt x="305" y="31"/>
                      </a:lnTo>
                      <a:lnTo>
                        <a:pt x="305" y="33"/>
                      </a:lnTo>
                      <a:lnTo>
                        <a:pt x="304" y="33"/>
                      </a:lnTo>
                      <a:lnTo>
                        <a:pt x="302" y="31"/>
                      </a:lnTo>
                      <a:lnTo>
                        <a:pt x="302" y="33"/>
                      </a:lnTo>
                      <a:lnTo>
                        <a:pt x="300" y="33"/>
                      </a:lnTo>
                      <a:lnTo>
                        <a:pt x="302" y="33"/>
                      </a:lnTo>
                      <a:lnTo>
                        <a:pt x="304" y="33"/>
                      </a:lnTo>
                      <a:lnTo>
                        <a:pt x="305" y="33"/>
                      </a:lnTo>
                      <a:lnTo>
                        <a:pt x="305" y="35"/>
                      </a:lnTo>
                      <a:lnTo>
                        <a:pt x="307" y="36"/>
                      </a:lnTo>
                      <a:lnTo>
                        <a:pt x="307" y="35"/>
                      </a:lnTo>
                      <a:lnTo>
                        <a:pt x="307" y="33"/>
                      </a:lnTo>
                      <a:lnTo>
                        <a:pt x="307" y="31"/>
                      </a:lnTo>
                      <a:lnTo>
                        <a:pt x="309" y="30"/>
                      </a:lnTo>
                      <a:lnTo>
                        <a:pt x="311" y="28"/>
                      </a:lnTo>
                      <a:lnTo>
                        <a:pt x="311" y="26"/>
                      </a:lnTo>
                      <a:lnTo>
                        <a:pt x="311" y="25"/>
                      </a:lnTo>
                      <a:lnTo>
                        <a:pt x="312" y="25"/>
                      </a:lnTo>
                      <a:lnTo>
                        <a:pt x="314" y="25"/>
                      </a:lnTo>
                      <a:lnTo>
                        <a:pt x="312" y="25"/>
                      </a:lnTo>
                      <a:lnTo>
                        <a:pt x="312" y="23"/>
                      </a:lnTo>
                      <a:lnTo>
                        <a:pt x="314" y="23"/>
                      </a:lnTo>
                      <a:lnTo>
                        <a:pt x="316" y="23"/>
                      </a:lnTo>
                      <a:lnTo>
                        <a:pt x="317" y="25"/>
                      </a:lnTo>
                      <a:lnTo>
                        <a:pt x="316" y="25"/>
                      </a:lnTo>
                      <a:lnTo>
                        <a:pt x="317" y="25"/>
                      </a:lnTo>
                      <a:lnTo>
                        <a:pt x="316" y="26"/>
                      </a:lnTo>
                      <a:lnTo>
                        <a:pt x="317" y="26"/>
                      </a:lnTo>
                      <a:lnTo>
                        <a:pt x="316" y="26"/>
                      </a:lnTo>
                      <a:lnTo>
                        <a:pt x="316" y="28"/>
                      </a:lnTo>
                      <a:lnTo>
                        <a:pt x="314" y="28"/>
                      </a:lnTo>
                      <a:lnTo>
                        <a:pt x="314" y="26"/>
                      </a:lnTo>
                      <a:lnTo>
                        <a:pt x="314" y="28"/>
                      </a:lnTo>
                      <a:lnTo>
                        <a:pt x="314" y="30"/>
                      </a:lnTo>
                      <a:lnTo>
                        <a:pt x="312" y="30"/>
                      </a:lnTo>
                      <a:lnTo>
                        <a:pt x="312" y="28"/>
                      </a:lnTo>
                      <a:lnTo>
                        <a:pt x="312" y="30"/>
                      </a:lnTo>
                      <a:lnTo>
                        <a:pt x="311" y="30"/>
                      </a:lnTo>
                      <a:lnTo>
                        <a:pt x="311" y="31"/>
                      </a:lnTo>
                      <a:lnTo>
                        <a:pt x="311" y="33"/>
                      </a:lnTo>
                      <a:lnTo>
                        <a:pt x="311" y="35"/>
                      </a:lnTo>
                      <a:lnTo>
                        <a:pt x="309" y="35"/>
                      </a:lnTo>
                      <a:lnTo>
                        <a:pt x="311" y="35"/>
                      </a:lnTo>
                      <a:lnTo>
                        <a:pt x="309" y="36"/>
                      </a:lnTo>
                      <a:lnTo>
                        <a:pt x="311" y="38"/>
                      </a:lnTo>
                      <a:lnTo>
                        <a:pt x="309" y="39"/>
                      </a:lnTo>
                      <a:lnTo>
                        <a:pt x="309" y="38"/>
                      </a:lnTo>
                      <a:lnTo>
                        <a:pt x="307" y="38"/>
                      </a:lnTo>
                      <a:lnTo>
                        <a:pt x="307" y="39"/>
                      </a:lnTo>
                      <a:lnTo>
                        <a:pt x="305" y="39"/>
                      </a:lnTo>
                      <a:lnTo>
                        <a:pt x="304" y="39"/>
                      </a:lnTo>
                      <a:lnTo>
                        <a:pt x="305" y="39"/>
                      </a:lnTo>
                      <a:lnTo>
                        <a:pt x="305" y="41"/>
                      </a:lnTo>
                      <a:lnTo>
                        <a:pt x="305" y="39"/>
                      </a:lnTo>
                      <a:lnTo>
                        <a:pt x="307" y="39"/>
                      </a:lnTo>
                      <a:lnTo>
                        <a:pt x="307" y="38"/>
                      </a:lnTo>
                      <a:lnTo>
                        <a:pt x="309" y="39"/>
                      </a:lnTo>
                      <a:lnTo>
                        <a:pt x="309" y="41"/>
                      </a:lnTo>
                      <a:lnTo>
                        <a:pt x="307" y="41"/>
                      </a:lnTo>
                      <a:lnTo>
                        <a:pt x="305" y="43"/>
                      </a:lnTo>
                      <a:lnTo>
                        <a:pt x="304" y="43"/>
                      </a:lnTo>
                      <a:lnTo>
                        <a:pt x="304" y="44"/>
                      </a:lnTo>
                      <a:lnTo>
                        <a:pt x="304" y="43"/>
                      </a:lnTo>
                      <a:lnTo>
                        <a:pt x="305" y="43"/>
                      </a:lnTo>
                      <a:lnTo>
                        <a:pt x="307" y="43"/>
                      </a:lnTo>
                      <a:lnTo>
                        <a:pt x="309" y="43"/>
                      </a:lnTo>
                      <a:lnTo>
                        <a:pt x="309" y="41"/>
                      </a:lnTo>
                      <a:lnTo>
                        <a:pt x="311" y="41"/>
                      </a:lnTo>
                      <a:lnTo>
                        <a:pt x="311" y="39"/>
                      </a:lnTo>
                      <a:lnTo>
                        <a:pt x="311" y="41"/>
                      </a:lnTo>
                      <a:lnTo>
                        <a:pt x="312" y="41"/>
                      </a:lnTo>
                      <a:lnTo>
                        <a:pt x="312" y="43"/>
                      </a:lnTo>
                      <a:lnTo>
                        <a:pt x="312" y="41"/>
                      </a:lnTo>
                      <a:lnTo>
                        <a:pt x="312" y="39"/>
                      </a:lnTo>
                      <a:lnTo>
                        <a:pt x="312" y="38"/>
                      </a:lnTo>
                      <a:lnTo>
                        <a:pt x="312" y="36"/>
                      </a:lnTo>
                      <a:lnTo>
                        <a:pt x="314" y="36"/>
                      </a:lnTo>
                      <a:lnTo>
                        <a:pt x="314" y="35"/>
                      </a:lnTo>
                      <a:lnTo>
                        <a:pt x="316" y="35"/>
                      </a:lnTo>
                      <a:lnTo>
                        <a:pt x="316" y="36"/>
                      </a:lnTo>
                      <a:lnTo>
                        <a:pt x="316" y="38"/>
                      </a:lnTo>
                      <a:lnTo>
                        <a:pt x="314" y="38"/>
                      </a:lnTo>
                      <a:lnTo>
                        <a:pt x="314" y="39"/>
                      </a:lnTo>
                      <a:lnTo>
                        <a:pt x="316" y="39"/>
                      </a:lnTo>
                      <a:lnTo>
                        <a:pt x="316" y="41"/>
                      </a:lnTo>
                      <a:lnTo>
                        <a:pt x="316" y="39"/>
                      </a:lnTo>
                      <a:lnTo>
                        <a:pt x="314" y="39"/>
                      </a:lnTo>
                      <a:lnTo>
                        <a:pt x="316" y="39"/>
                      </a:lnTo>
                      <a:lnTo>
                        <a:pt x="316" y="38"/>
                      </a:lnTo>
                      <a:lnTo>
                        <a:pt x="316" y="36"/>
                      </a:lnTo>
                      <a:lnTo>
                        <a:pt x="317" y="36"/>
                      </a:lnTo>
                      <a:lnTo>
                        <a:pt x="317" y="35"/>
                      </a:lnTo>
                      <a:lnTo>
                        <a:pt x="319" y="35"/>
                      </a:lnTo>
                      <a:lnTo>
                        <a:pt x="319" y="36"/>
                      </a:lnTo>
                      <a:lnTo>
                        <a:pt x="321" y="36"/>
                      </a:lnTo>
                      <a:lnTo>
                        <a:pt x="321" y="35"/>
                      </a:lnTo>
                      <a:lnTo>
                        <a:pt x="319" y="35"/>
                      </a:lnTo>
                      <a:lnTo>
                        <a:pt x="317" y="35"/>
                      </a:lnTo>
                      <a:lnTo>
                        <a:pt x="319" y="33"/>
                      </a:lnTo>
                      <a:lnTo>
                        <a:pt x="319" y="31"/>
                      </a:lnTo>
                      <a:lnTo>
                        <a:pt x="319" y="30"/>
                      </a:lnTo>
                      <a:lnTo>
                        <a:pt x="321" y="30"/>
                      </a:lnTo>
                      <a:lnTo>
                        <a:pt x="321" y="28"/>
                      </a:lnTo>
                      <a:lnTo>
                        <a:pt x="322" y="28"/>
                      </a:lnTo>
                      <a:lnTo>
                        <a:pt x="322" y="26"/>
                      </a:lnTo>
                      <a:lnTo>
                        <a:pt x="321" y="26"/>
                      </a:lnTo>
                      <a:lnTo>
                        <a:pt x="321" y="25"/>
                      </a:lnTo>
                      <a:lnTo>
                        <a:pt x="322" y="25"/>
                      </a:lnTo>
                      <a:lnTo>
                        <a:pt x="324" y="25"/>
                      </a:lnTo>
                      <a:lnTo>
                        <a:pt x="324" y="26"/>
                      </a:lnTo>
                      <a:lnTo>
                        <a:pt x="326" y="26"/>
                      </a:lnTo>
                      <a:lnTo>
                        <a:pt x="326" y="28"/>
                      </a:lnTo>
                      <a:lnTo>
                        <a:pt x="326" y="30"/>
                      </a:lnTo>
                      <a:lnTo>
                        <a:pt x="326" y="31"/>
                      </a:lnTo>
                      <a:lnTo>
                        <a:pt x="326" y="30"/>
                      </a:lnTo>
                      <a:lnTo>
                        <a:pt x="327" y="30"/>
                      </a:lnTo>
                      <a:lnTo>
                        <a:pt x="327" y="33"/>
                      </a:lnTo>
                      <a:lnTo>
                        <a:pt x="327" y="35"/>
                      </a:lnTo>
                      <a:lnTo>
                        <a:pt x="327" y="36"/>
                      </a:lnTo>
                      <a:lnTo>
                        <a:pt x="327" y="35"/>
                      </a:lnTo>
                      <a:lnTo>
                        <a:pt x="326" y="35"/>
                      </a:lnTo>
                      <a:lnTo>
                        <a:pt x="326" y="36"/>
                      </a:lnTo>
                      <a:lnTo>
                        <a:pt x="324" y="36"/>
                      </a:lnTo>
                      <a:lnTo>
                        <a:pt x="324" y="38"/>
                      </a:lnTo>
                      <a:lnTo>
                        <a:pt x="322" y="38"/>
                      </a:lnTo>
                      <a:lnTo>
                        <a:pt x="321" y="38"/>
                      </a:lnTo>
                      <a:lnTo>
                        <a:pt x="319" y="39"/>
                      </a:lnTo>
                      <a:lnTo>
                        <a:pt x="319" y="41"/>
                      </a:lnTo>
                      <a:lnTo>
                        <a:pt x="319" y="43"/>
                      </a:lnTo>
                      <a:lnTo>
                        <a:pt x="319" y="41"/>
                      </a:lnTo>
                      <a:lnTo>
                        <a:pt x="321" y="39"/>
                      </a:lnTo>
                      <a:lnTo>
                        <a:pt x="322" y="39"/>
                      </a:lnTo>
                      <a:lnTo>
                        <a:pt x="322" y="41"/>
                      </a:lnTo>
                      <a:lnTo>
                        <a:pt x="321" y="43"/>
                      </a:lnTo>
                      <a:lnTo>
                        <a:pt x="321" y="44"/>
                      </a:lnTo>
                      <a:lnTo>
                        <a:pt x="319" y="46"/>
                      </a:lnTo>
                      <a:lnTo>
                        <a:pt x="317" y="46"/>
                      </a:lnTo>
                      <a:lnTo>
                        <a:pt x="317" y="48"/>
                      </a:lnTo>
                      <a:lnTo>
                        <a:pt x="317" y="49"/>
                      </a:lnTo>
                      <a:lnTo>
                        <a:pt x="317" y="48"/>
                      </a:lnTo>
                      <a:lnTo>
                        <a:pt x="319" y="48"/>
                      </a:lnTo>
                      <a:lnTo>
                        <a:pt x="317" y="46"/>
                      </a:lnTo>
                      <a:lnTo>
                        <a:pt x="319" y="46"/>
                      </a:lnTo>
                      <a:lnTo>
                        <a:pt x="321" y="46"/>
                      </a:lnTo>
                      <a:lnTo>
                        <a:pt x="321" y="44"/>
                      </a:lnTo>
                      <a:lnTo>
                        <a:pt x="321" y="43"/>
                      </a:lnTo>
                      <a:lnTo>
                        <a:pt x="322" y="41"/>
                      </a:lnTo>
                      <a:lnTo>
                        <a:pt x="322" y="39"/>
                      </a:lnTo>
                      <a:lnTo>
                        <a:pt x="324" y="39"/>
                      </a:lnTo>
                      <a:lnTo>
                        <a:pt x="324" y="41"/>
                      </a:lnTo>
                      <a:lnTo>
                        <a:pt x="324" y="39"/>
                      </a:lnTo>
                      <a:lnTo>
                        <a:pt x="326" y="41"/>
                      </a:lnTo>
                      <a:lnTo>
                        <a:pt x="327" y="41"/>
                      </a:lnTo>
                      <a:lnTo>
                        <a:pt x="326" y="43"/>
                      </a:lnTo>
                      <a:lnTo>
                        <a:pt x="326" y="44"/>
                      </a:lnTo>
                      <a:lnTo>
                        <a:pt x="326" y="46"/>
                      </a:lnTo>
                      <a:lnTo>
                        <a:pt x="326" y="44"/>
                      </a:lnTo>
                      <a:lnTo>
                        <a:pt x="324" y="46"/>
                      </a:lnTo>
                      <a:lnTo>
                        <a:pt x="326" y="46"/>
                      </a:lnTo>
                      <a:lnTo>
                        <a:pt x="324" y="48"/>
                      </a:lnTo>
                      <a:lnTo>
                        <a:pt x="324" y="49"/>
                      </a:lnTo>
                      <a:lnTo>
                        <a:pt x="322" y="49"/>
                      </a:lnTo>
                      <a:lnTo>
                        <a:pt x="322" y="51"/>
                      </a:lnTo>
                      <a:lnTo>
                        <a:pt x="322" y="53"/>
                      </a:lnTo>
                      <a:lnTo>
                        <a:pt x="322" y="54"/>
                      </a:lnTo>
                      <a:lnTo>
                        <a:pt x="322" y="56"/>
                      </a:lnTo>
                      <a:lnTo>
                        <a:pt x="322" y="57"/>
                      </a:lnTo>
                      <a:lnTo>
                        <a:pt x="321" y="57"/>
                      </a:lnTo>
                      <a:lnTo>
                        <a:pt x="321" y="59"/>
                      </a:lnTo>
                      <a:lnTo>
                        <a:pt x="321" y="61"/>
                      </a:lnTo>
                      <a:lnTo>
                        <a:pt x="321" y="62"/>
                      </a:lnTo>
                      <a:lnTo>
                        <a:pt x="322" y="64"/>
                      </a:lnTo>
                      <a:lnTo>
                        <a:pt x="324" y="64"/>
                      </a:lnTo>
                      <a:lnTo>
                        <a:pt x="324" y="66"/>
                      </a:lnTo>
                      <a:lnTo>
                        <a:pt x="326" y="66"/>
                      </a:lnTo>
                      <a:lnTo>
                        <a:pt x="326" y="64"/>
                      </a:lnTo>
                      <a:lnTo>
                        <a:pt x="327" y="64"/>
                      </a:lnTo>
                      <a:lnTo>
                        <a:pt x="329" y="64"/>
                      </a:lnTo>
                      <a:lnTo>
                        <a:pt x="329" y="62"/>
                      </a:lnTo>
                      <a:lnTo>
                        <a:pt x="329" y="61"/>
                      </a:lnTo>
                      <a:lnTo>
                        <a:pt x="331" y="59"/>
                      </a:lnTo>
                      <a:lnTo>
                        <a:pt x="332" y="59"/>
                      </a:lnTo>
                      <a:lnTo>
                        <a:pt x="334" y="59"/>
                      </a:lnTo>
                      <a:lnTo>
                        <a:pt x="334" y="57"/>
                      </a:lnTo>
                      <a:lnTo>
                        <a:pt x="334" y="56"/>
                      </a:lnTo>
                      <a:lnTo>
                        <a:pt x="332" y="56"/>
                      </a:lnTo>
                      <a:lnTo>
                        <a:pt x="332" y="54"/>
                      </a:lnTo>
                      <a:lnTo>
                        <a:pt x="331" y="53"/>
                      </a:lnTo>
                      <a:lnTo>
                        <a:pt x="331" y="51"/>
                      </a:lnTo>
                      <a:lnTo>
                        <a:pt x="331" y="49"/>
                      </a:lnTo>
                      <a:lnTo>
                        <a:pt x="332" y="49"/>
                      </a:lnTo>
                      <a:lnTo>
                        <a:pt x="331" y="49"/>
                      </a:lnTo>
                      <a:lnTo>
                        <a:pt x="332" y="48"/>
                      </a:lnTo>
                      <a:lnTo>
                        <a:pt x="332" y="46"/>
                      </a:lnTo>
                      <a:lnTo>
                        <a:pt x="334" y="46"/>
                      </a:lnTo>
                      <a:lnTo>
                        <a:pt x="334" y="44"/>
                      </a:lnTo>
                      <a:lnTo>
                        <a:pt x="336" y="44"/>
                      </a:lnTo>
                      <a:lnTo>
                        <a:pt x="336" y="43"/>
                      </a:lnTo>
                      <a:lnTo>
                        <a:pt x="338" y="43"/>
                      </a:lnTo>
                      <a:lnTo>
                        <a:pt x="338" y="44"/>
                      </a:lnTo>
                      <a:lnTo>
                        <a:pt x="336" y="46"/>
                      </a:lnTo>
                      <a:lnTo>
                        <a:pt x="338" y="46"/>
                      </a:lnTo>
                      <a:lnTo>
                        <a:pt x="338" y="48"/>
                      </a:lnTo>
                      <a:lnTo>
                        <a:pt x="339" y="48"/>
                      </a:lnTo>
                      <a:lnTo>
                        <a:pt x="339" y="46"/>
                      </a:lnTo>
                      <a:lnTo>
                        <a:pt x="338" y="46"/>
                      </a:lnTo>
                      <a:lnTo>
                        <a:pt x="339" y="46"/>
                      </a:lnTo>
                      <a:lnTo>
                        <a:pt x="339" y="44"/>
                      </a:lnTo>
                      <a:lnTo>
                        <a:pt x="339" y="46"/>
                      </a:lnTo>
                      <a:lnTo>
                        <a:pt x="338" y="46"/>
                      </a:lnTo>
                      <a:lnTo>
                        <a:pt x="338" y="44"/>
                      </a:lnTo>
                      <a:lnTo>
                        <a:pt x="339" y="43"/>
                      </a:lnTo>
                      <a:lnTo>
                        <a:pt x="339" y="41"/>
                      </a:lnTo>
                      <a:lnTo>
                        <a:pt x="339" y="39"/>
                      </a:lnTo>
                      <a:lnTo>
                        <a:pt x="341" y="39"/>
                      </a:lnTo>
                      <a:lnTo>
                        <a:pt x="343" y="41"/>
                      </a:lnTo>
                      <a:lnTo>
                        <a:pt x="341" y="41"/>
                      </a:lnTo>
                      <a:lnTo>
                        <a:pt x="343" y="41"/>
                      </a:lnTo>
                      <a:lnTo>
                        <a:pt x="343" y="43"/>
                      </a:lnTo>
                      <a:lnTo>
                        <a:pt x="341" y="44"/>
                      </a:lnTo>
                      <a:lnTo>
                        <a:pt x="343" y="44"/>
                      </a:lnTo>
                      <a:lnTo>
                        <a:pt x="343" y="43"/>
                      </a:lnTo>
                      <a:lnTo>
                        <a:pt x="343" y="44"/>
                      </a:lnTo>
                      <a:lnTo>
                        <a:pt x="343" y="46"/>
                      </a:lnTo>
                      <a:lnTo>
                        <a:pt x="344" y="46"/>
                      </a:lnTo>
                      <a:lnTo>
                        <a:pt x="346" y="48"/>
                      </a:lnTo>
                      <a:lnTo>
                        <a:pt x="346" y="46"/>
                      </a:lnTo>
                      <a:lnTo>
                        <a:pt x="344" y="46"/>
                      </a:lnTo>
                      <a:lnTo>
                        <a:pt x="343" y="46"/>
                      </a:lnTo>
                      <a:lnTo>
                        <a:pt x="343" y="44"/>
                      </a:lnTo>
                      <a:lnTo>
                        <a:pt x="344" y="43"/>
                      </a:lnTo>
                      <a:lnTo>
                        <a:pt x="343" y="41"/>
                      </a:lnTo>
                      <a:lnTo>
                        <a:pt x="343" y="39"/>
                      </a:lnTo>
                      <a:lnTo>
                        <a:pt x="343" y="38"/>
                      </a:lnTo>
                      <a:lnTo>
                        <a:pt x="344" y="38"/>
                      </a:lnTo>
                      <a:lnTo>
                        <a:pt x="343" y="38"/>
                      </a:lnTo>
                      <a:lnTo>
                        <a:pt x="344" y="36"/>
                      </a:lnTo>
                      <a:lnTo>
                        <a:pt x="346" y="35"/>
                      </a:lnTo>
                      <a:lnTo>
                        <a:pt x="344" y="33"/>
                      </a:lnTo>
                      <a:lnTo>
                        <a:pt x="344" y="31"/>
                      </a:lnTo>
                      <a:lnTo>
                        <a:pt x="344" y="30"/>
                      </a:lnTo>
                      <a:lnTo>
                        <a:pt x="346" y="30"/>
                      </a:lnTo>
                      <a:lnTo>
                        <a:pt x="346" y="31"/>
                      </a:lnTo>
                      <a:lnTo>
                        <a:pt x="346" y="33"/>
                      </a:lnTo>
                      <a:lnTo>
                        <a:pt x="346" y="35"/>
                      </a:lnTo>
                      <a:lnTo>
                        <a:pt x="346" y="36"/>
                      </a:lnTo>
                      <a:lnTo>
                        <a:pt x="346" y="38"/>
                      </a:lnTo>
                      <a:lnTo>
                        <a:pt x="346" y="39"/>
                      </a:lnTo>
                      <a:lnTo>
                        <a:pt x="348" y="41"/>
                      </a:lnTo>
                      <a:lnTo>
                        <a:pt x="348" y="39"/>
                      </a:lnTo>
                      <a:lnTo>
                        <a:pt x="349" y="39"/>
                      </a:lnTo>
                      <a:lnTo>
                        <a:pt x="348" y="38"/>
                      </a:lnTo>
                      <a:lnTo>
                        <a:pt x="348" y="36"/>
                      </a:lnTo>
                      <a:lnTo>
                        <a:pt x="349" y="36"/>
                      </a:lnTo>
                      <a:lnTo>
                        <a:pt x="349" y="38"/>
                      </a:lnTo>
                      <a:lnTo>
                        <a:pt x="349" y="39"/>
                      </a:lnTo>
                      <a:lnTo>
                        <a:pt x="349" y="41"/>
                      </a:lnTo>
                      <a:lnTo>
                        <a:pt x="351" y="41"/>
                      </a:lnTo>
                      <a:lnTo>
                        <a:pt x="353" y="41"/>
                      </a:lnTo>
                      <a:lnTo>
                        <a:pt x="354" y="41"/>
                      </a:lnTo>
                      <a:lnTo>
                        <a:pt x="356" y="41"/>
                      </a:lnTo>
                      <a:lnTo>
                        <a:pt x="356" y="43"/>
                      </a:lnTo>
                      <a:lnTo>
                        <a:pt x="354" y="43"/>
                      </a:lnTo>
                      <a:lnTo>
                        <a:pt x="356" y="43"/>
                      </a:lnTo>
                      <a:lnTo>
                        <a:pt x="356" y="44"/>
                      </a:lnTo>
                      <a:lnTo>
                        <a:pt x="354" y="44"/>
                      </a:lnTo>
                      <a:lnTo>
                        <a:pt x="354" y="46"/>
                      </a:lnTo>
                      <a:lnTo>
                        <a:pt x="356" y="46"/>
                      </a:lnTo>
                      <a:lnTo>
                        <a:pt x="358" y="44"/>
                      </a:lnTo>
                      <a:lnTo>
                        <a:pt x="360" y="44"/>
                      </a:lnTo>
                      <a:lnTo>
                        <a:pt x="360" y="43"/>
                      </a:lnTo>
                      <a:lnTo>
                        <a:pt x="358" y="43"/>
                      </a:lnTo>
                      <a:lnTo>
                        <a:pt x="358" y="41"/>
                      </a:lnTo>
                      <a:lnTo>
                        <a:pt x="360" y="41"/>
                      </a:lnTo>
                      <a:lnTo>
                        <a:pt x="360" y="39"/>
                      </a:lnTo>
                      <a:lnTo>
                        <a:pt x="361" y="41"/>
                      </a:lnTo>
                      <a:lnTo>
                        <a:pt x="360" y="41"/>
                      </a:lnTo>
                      <a:lnTo>
                        <a:pt x="360" y="43"/>
                      </a:lnTo>
                      <a:lnTo>
                        <a:pt x="360" y="41"/>
                      </a:lnTo>
                      <a:lnTo>
                        <a:pt x="360" y="43"/>
                      </a:lnTo>
                      <a:lnTo>
                        <a:pt x="361" y="43"/>
                      </a:lnTo>
                      <a:lnTo>
                        <a:pt x="361" y="44"/>
                      </a:lnTo>
                      <a:lnTo>
                        <a:pt x="361" y="43"/>
                      </a:lnTo>
                      <a:lnTo>
                        <a:pt x="363" y="43"/>
                      </a:lnTo>
                      <a:lnTo>
                        <a:pt x="361" y="43"/>
                      </a:lnTo>
                      <a:lnTo>
                        <a:pt x="360" y="43"/>
                      </a:lnTo>
                      <a:lnTo>
                        <a:pt x="361" y="41"/>
                      </a:lnTo>
                      <a:lnTo>
                        <a:pt x="363" y="41"/>
                      </a:lnTo>
                      <a:lnTo>
                        <a:pt x="363" y="43"/>
                      </a:lnTo>
                      <a:lnTo>
                        <a:pt x="365" y="43"/>
                      </a:lnTo>
                      <a:lnTo>
                        <a:pt x="365" y="41"/>
                      </a:lnTo>
                      <a:lnTo>
                        <a:pt x="363" y="41"/>
                      </a:lnTo>
                      <a:lnTo>
                        <a:pt x="361" y="41"/>
                      </a:lnTo>
                      <a:lnTo>
                        <a:pt x="363" y="41"/>
                      </a:lnTo>
                      <a:lnTo>
                        <a:pt x="363" y="39"/>
                      </a:lnTo>
                      <a:lnTo>
                        <a:pt x="365" y="39"/>
                      </a:lnTo>
                      <a:lnTo>
                        <a:pt x="363" y="39"/>
                      </a:lnTo>
                      <a:lnTo>
                        <a:pt x="365" y="39"/>
                      </a:lnTo>
                      <a:lnTo>
                        <a:pt x="365" y="38"/>
                      </a:lnTo>
                      <a:lnTo>
                        <a:pt x="365" y="39"/>
                      </a:lnTo>
                      <a:lnTo>
                        <a:pt x="365" y="38"/>
                      </a:lnTo>
                      <a:lnTo>
                        <a:pt x="366" y="38"/>
                      </a:lnTo>
                      <a:lnTo>
                        <a:pt x="366" y="39"/>
                      </a:lnTo>
                      <a:lnTo>
                        <a:pt x="368" y="39"/>
                      </a:lnTo>
                      <a:lnTo>
                        <a:pt x="368" y="38"/>
                      </a:lnTo>
                      <a:lnTo>
                        <a:pt x="366" y="38"/>
                      </a:lnTo>
                      <a:lnTo>
                        <a:pt x="366" y="36"/>
                      </a:lnTo>
                      <a:lnTo>
                        <a:pt x="368" y="38"/>
                      </a:lnTo>
                      <a:lnTo>
                        <a:pt x="366" y="36"/>
                      </a:lnTo>
                      <a:lnTo>
                        <a:pt x="368" y="36"/>
                      </a:lnTo>
                      <a:lnTo>
                        <a:pt x="370" y="36"/>
                      </a:lnTo>
                      <a:lnTo>
                        <a:pt x="368" y="36"/>
                      </a:lnTo>
                      <a:lnTo>
                        <a:pt x="368" y="35"/>
                      </a:lnTo>
                      <a:lnTo>
                        <a:pt x="370" y="35"/>
                      </a:lnTo>
                      <a:lnTo>
                        <a:pt x="370" y="36"/>
                      </a:lnTo>
                      <a:lnTo>
                        <a:pt x="370" y="35"/>
                      </a:lnTo>
                      <a:lnTo>
                        <a:pt x="371" y="35"/>
                      </a:lnTo>
                      <a:lnTo>
                        <a:pt x="373" y="36"/>
                      </a:lnTo>
                      <a:lnTo>
                        <a:pt x="371" y="36"/>
                      </a:lnTo>
                      <a:lnTo>
                        <a:pt x="370" y="38"/>
                      </a:lnTo>
                      <a:lnTo>
                        <a:pt x="371" y="39"/>
                      </a:lnTo>
                      <a:lnTo>
                        <a:pt x="371" y="41"/>
                      </a:lnTo>
                      <a:lnTo>
                        <a:pt x="370" y="41"/>
                      </a:lnTo>
                      <a:lnTo>
                        <a:pt x="370" y="39"/>
                      </a:lnTo>
                      <a:lnTo>
                        <a:pt x="370" y="38"/>
                      </a:lnTo>
                      <a:lnTo>
                        <a:pt x="370" y="41"/>
                      </a:lnTo>
                      <a:lnTo>
                        <a:pt x="368" y="41"/>
                      </a:lnTo>
                      <a:lnTo>
                        <a:pt x="366" y="41"/>
                      </a:lnTo>
                      <a:lnTo>
                        <a:pt x="368" y="41"/>
                      </a:lnTo>
                      <a:lnTo>
                        <a:pt x="366" y="41"/>
                      </a:lnTo>
                      <a:lnTo>
                        <a:pt x="366" y="43"/>
                      </a:lnTo>
                      <a:lnTo>
                        <a:pt x="365" y="41"/>
                      </a:lnTo>
                      <a:lnTo>
                        <a:pt x="365" y="43"/>
                      </a:lnTo>
                      <a:lnTo>
                        <a:pt x="366" y="43"/>
                      </a:lnTo>
                      <a:lnTo>
                        <a:pt x="366" y="41"/>
                      </a:lnTo>
                      <a:lnTo>
                        <a:pt x="368" y="43"/>
                      </a:lnTo>
                      <a:lnTo>
                        <a:pt x="366" y="43"/>
                      </a:lnTo>
                      <a:lnTo>
                        <a:pt x="365" y="43"/>
                      </a:lnTo>
                      <a:lnTo>
                        <a:pt x="363" y="44"/>
                      </a:lnTo>
                      <a:lnTo>
                        <a:pt x="365" y="44"/>
                      </a:lnTo>
                      <a:lnTo>
                        <a:pt x="366" y="44"/>
                      </a:lnTo>
                      <a:lnTo>
                        <a:pt x="365" y="44"/>
                      </a:lnTo>
                      <a:lnTo>
                        <a:pt x="366" y="44"/>
                      </a:lnTo>
                      <a:lnTo>
                        <a:pt x="366" y="46"/>
                      </a:lnTo>
                      <a:lnTo>
                        <a:pt x="365" y="46"/>
                      </a:lnTo>
                      <a:lnTo>
                        <a:pt x="363" y="46"/>
                      </a:lnTo>
                      <a:lnTo>
                        <a:pt x="365" y="48"/>
                      </a:lnTo>
                      <a:lnTo>
                        <a:pt x="363" y="49"/>
                      </a:lnTo>
                      <a:lnTo>
                        <a:pt x="365" y="49"/>
                      </a:lnTo>
                      <a:lnTo>
                        <a:pt x="365" y="51"/>
                      </a:lnTo>
                      <a:lnTo>
                        <a:pt x="365" y="53"/>
                      </a:lnTo>
                      <a:lnTo>
                        <a:pt x="363" y="51"/>
                      </a:lnTo>
                      <a:lnTo>
                        <a:pt x="363" y="53"/>
                      </a:lnTo>
                      <a:lnTo>
                        <a:pt x="363" y="51"/>
                      </a:lnTo>
                      <a:lnTo>
                        <a:pt x="361" y="51"/>
                      </a:lnTo>
                      <a:lnTo>
                        <a:pt x="361" y="53"/>
                      </a:lnTo>
                      <a:lnTo>
                        <a:pt x="361" y="51"/>
                      </a:lnTo>
                      <a:lnTo>
                        <a:pt x="363" y="51"/>
                      </a:lnTo>
                      <a:lnTo>
                        <a:pt x="363" y="53"/>
                      </a:lnTo>
                      <a:lnTo>
                        <a:pt x="363" y="54"/>
                      </a:lnTo>
                      <a:lnTo>
                        <a:pt x="365" y="54"/>
                      </a:lnTo>
                      <a:lnTo>
                        <a:pt x="365" y="56"/>
                      </a:lnTo>
                      <a:lnTo>
                        <a:pt x="363" y="56"/>
                      </a:lnTo>
                      <a:lnTo>
                        <a:pt x="361" y="56"/>
                      </a:lnTo>
                      <a:lnTo>
                        <a:pt x="363" y="56"/>
                      </a:lnTo>
                      <a:lnTo>
                        <a:pt x="365" y="56"/>
                      </a:lnTo>
                      <a:lnTo>
                        <a:pt x="365" y="54"/>
                      </a:lnTo>
                      <a:lnTo>
                        <a:pt x="363" y="54"/>
                      </a:lnTo>
                      <a:lnTo>
                        <a:pt x="363" y="53"/>
                      </a:lnTo>
                      <a:lnTo>
                        <a:pt x="365" y="53"/>
                      </a:lnTo>
                      <a:lnTo>
                        <a:pt x="366" y="53"/>
                      </a:lnTo>
                      <a:lnTo>
                        <a:pt x="366" y="51"/>
                      </a:lnTo>
                      <a:lnTo>
                        <a:pt x="368" y="51"/>
                      </a:lnTo>
                      <a:lnTo>
                        <a:pt x="368" y="53"/>
                      </a:lnTo>
                      <a:lnTo>
                        <a:pt x="370" y="53"/>
                      </a:lnTo>
                      <a:lnTo>
                        <a:pt x="370" y="54"/>
                      </a:lnTo>
                      <a:lnTo>
                        <a:pt x="368" y="54"/>
                      </a:lnTo>
                      <a:lnTo>
                        <a:pt x="370" y="54"/>
                      </a:lnTo>
                      <a:lnTo>
                        <a:pt x="371" y="54"/>
                      </a:lnTo>
                      <a:lnTo>
                        <a:pt x="371" y="56"/>
                      </a:lnTo>
                      <a:lnTo>
                        <a:pt x="370" y="56"/>
                      </a:lnTo>
                      <a:lnTo>
                        <a:pt x="371" y="56"/>
                      </a:lnTo>
                      <a:lnTo>
                        <a:pt x="371" y="54"/>
                      </a:lnTo>
                      <a:lnTo>
                        <a:pt x="373" y="54"/>
                      </a:lnTo>
                      <a:lnTo>
                        <a:pt x="373" y="56"/>
                      </a:lnTo>
                      <a:lnTo>
                        <a:pt x="371" y="56"/>
                      </a:lnTo>
                      <a:lnTo>
                        <a:pt x="371" y="57"/>
                      </a:lnTo>
                      <a:lnTo>
                        <a:pt x="373" y="57"/>
                      </a:lnTo>
                      <a:lnTo>
                        <a:pt x="373" y="56"/>
                      </a:lnTo>
                      <a:lnTo>
                        <a:pt x="373" y="57"/>
                      </a:lnTo>
                      <a:lnTo>
                        <a:pt x="371" y="57"/>
                      </a:lnTo>
                      <a:lnTo>
                        <a:pt x="371" y="56"/>
                      </a:lnTo>
                      <a:lnTo>
                        <a:pt x="373" y="56"/>
                      </a:lnTo>
                      <a:lnTo>
                        <a:pt x="373" y="54"/>
                      </a:lnTo>
                      <a:lnTo>
                        <a:pt x="371" y="54"/>
                      </a:lnTo>
                      <a:lnTo>
                        <a:pt x="370" y="54"/>
                      </a:lnTo>
                      <a:lnTo>
                        <a:pt x="370" y="53"/>
                      </a:lnTo>
                      <a:lnTo>
                        <a:pt x="371" y="51"/>
                      </a:lnTo>
                      <a:lnTo>
                        <a:pt x="371" y="49"/>
                      </a:lnTo>
                      <a:lnTo>
                        <a:pt x="371" y="48"/>
                      </a:lnTo>
                      <a:lnTo>
                        <a:pt x="373" y="49"/>
                      </a:lnTo>
                      <a:lnTo>
                        <a:pt x="373" y="51"/>
                      </a:lnTo>
                      <a:lnTo>
                        <a:pt x="375" y="53"/>
                      </a:lnTo>
                      <a:lnTo>
                        <a:pt x="376" y="53"/>
                      </a:lnTo>
                      <a:lnTo>
                        <a:pt x="376" y="54"/>
                      </a:lnTo>
                      <a:lnTo>
                        <a:pt x="375" y="56"/>
                      </a:lnTo>
                      <a:lnTo>
                        <a:pt x="375" y="57"/>
                      </a:lnTo>
                      <a:lnTo>
                        <a:pt x="376" y="57"/>
                      </a:lnTo>
                      <a:lnTo>
                        <a:pt x="375" y="59"/>
                      </a:lnTo>
                      <a:lnTo>
                        <a:pt x="375" y="57"/>
                      </a:lnTo>
                      <a:lnTo>
                        <a:pt x="376" y="57"/>
                      </a:lnTo>
                      <a:lnTo>
                        <a:pt x="376" y="59"/>
                      </a:lnTo>
                      <a:lnTo>
                        <a:pt x="375" y="61"/>
                      </a:lnTo>
                      <a:lnTo>
                        <a:pt x="373" y="61"/>
                      </a:lnTo>
                      <a:lnTo>
                        <a:pt x="375" y="61"/>
                      </a:lnTo>
                      <a:lnTo>
                        <a:pt x="376" y="61"/>
                      </a:lnTo>
                      <a:lnTo>
                        <a:pt x="376" y="62"/>
                      </a:lnTo>
                      <a:lnTo>
                        <a:pt x="375" y="62"/>
                      </a:lnTo>
                      <a:lnTo>
                        <a:pt x="373" y="62"/>
                      </a:lnTo>
                      <a:lnTo>
                        <a:pt x="375" y="62"/>
                      </a:lnTo>
                      <a:lnTo>
                        <a:pt x="376" y="62"/>
                      </a:lnTo>
                      <a:lnTo>
                        <a:pt x="378" y="62"/>
                      </a:lnTo>
                      <a:lnTo>
                        <a:pt x="378" y="64"/>
                      </a:lnTo>
                      <a:lnTo>
                        <a:pt x="376" y="64"/>
                      </a:lnTo>
                      <a:lnTo>
                        <a:pt x="376" y="66"/>
                      </a:lnTo>
                      <a:lnTo>
                        <a:pt x="375" y="66"/>
                      </a:lnTo>
                      <a:lnTo>
                        <a:pt x="376" y="66"/>
                      </a:lnTo>
                      <a:lnTo>
                        <a:pt x="376" y="64"/>
                      </a:lnTo>
                      <a:lnTo>
                        <a:pt x="378" y="64"/>
                      </a:lnTo>
                      <a:lnTo>
                        <a:pt x="378" y="62"/>
                      </a:lnTo>
                      <a:lnTo>
                        <a:pt x="376" y="62"/>
                      </a:lnTo>
                      <a:lnTo>
                        <a:pt x="376" y="61"/>
                      </a:lnTo>
                      <a:lnTo>
                        <a:pt x="378" y="61"/>
                      </a:lnTo>
                      <a:lnTo>
                        <a:pt x="378" y="62"/>
                      </a:lnTo>
                      <a:lnTo>
                        <a:pt x="380" y="62"/>
                      </a:lnTo>
                      <a:lnTo>
                        <a:pt x="381" y="62"/>
                      </a:lnTo>
                      <a:lnTo>
                        <a:pt x="383" y="62"/>
                      </a:lnTo>
                      <a:lnTo>
                        <a:pt x="385" y="62"/>
                      </a:lnTo>
                      <a:lnTo>
                        <a:pt x="385" y="64"/>
                      </a:lnTo>
                      <a:lnTo>
                        <a:pt x="383" y="64"/>
                      </a:lnTo>
                      <a:lnTo>
                        <a:pt x="383" y="66"/>
                      </a:lnTo>
                      <a:lnTo>
                        <a:pt x="381" y="66"/>
                      </a:lnTo>
                      <a:lnTo>
                        <a:pt x="381" y="64"/>
                      </a:lnTo>
                      <a:lnTo>
                        <a:pt x="381" y="66"/>
                      </a:lnTo>
                      <a:lnTo>
                        <a:pt x="380" y="66"/>
                      </a:lnTo>
                      <a:lnTo>
                        <a:pt x="380" y="67"/>
                      </a:lnTo>
                      <a:lnTo>
                        <a:pt x="378" y="69"/>
                      </a:lnTo>
                      <a:lnTo>
                        <a:pt x="376" y="69"/>
                      </a:lnTo>
                      <a:lnTo>
                        <a:pt x="375" y="69"/>
                      </a:lnTo>
                      <a:lnTo>
                        <a:pt x="373" y="71"/>
                      </a:lnTo>
                      <a:lnTo>
                        <a:pt x="373" y="69"/>
                      </a:lnTo>
                      <a:lnTo>
                        <a:pt x="373" y="71"/>
                      </a:lnTo>
                      <a:lnTo>
                        <a:pt x="375" y="71"/>
                      </a:lnTo>
                      <a:lnTo>
                        <a:pt x="373" y="71"/>
                      </a:lnTo>
                      <a:lnTo>
                        <a:pt x="375" y="71"/>
                      </a:lnTo>
                      <a:lnTo>
                        <a:pt x="376" y="69"/>
                      </a:lnTo>
                      <a:lnTo>
                        <a:pt x="378" y="69"/>
                      </a:lnTo>
                      <a:lnTo>
                        <a:pt x="380" y="69"/>
                      </a:lnTo>
                      <a:lnTo>
                        <a:pt x="381" y="67"/>
                      </a:lnTo>
                      <a:lnTo>
                        <a:pt x="383" y="67"/>
                      </a:lnTo>
                      <a:lnTo>
                        <a:pt x="381" y="69"/>
                      </a:lnTo>
                      <a:lnTo>
                        <a:pt x="380" y="71"/>
                      </a:lnTo>
                      <a:lnTo>
                        <a:pt x="381" y="69"/>
                      </a:lnTo>
                      <a:lnTo>
                        <a:pt x="383" y="69"/>
                      </a:lnTo>
                      <a:lnTo>
                        <a:pt x="383" y="71"/>
                      </a:lnTo>
                      <a:lnTo>
                        <a:pt x="385" y="71"/>
                      </a:lnTo>
                      <a:lnTo>
                        <a:pt x="385" y="72"/>
                      </a:lnTo>
                      <a:lnTo>
                        <a:pt x="383" y="72"/>
                      </a:lnTo>
                      <a:lnTo>
                        <a:pt x="385" y="72"/>
                      </a:lnTo>
                      <a:lnTo>
                        <a:pt x="385" y="71"/>
                      </a:lnTo>
                      <a:lnTo>
                        <a:pt x="385" y="69"/>
                      </a:lnTo>
                      <a:lnTo>
                        <a:pt x="387" y="69"/>
                      </a:lnTo>
                      <a:lnTo>
                        <a:pt x="387" y="71"/>
                      </a:lnTo>
                      <a:lnTo>
                        <a:pt x="387" y="69"/>
                      </a:lnTo>
                      <a:lnTo>
                        <a:pt x="388" y="69"/>
                      </a:lnTo>
                      <a:lnTo>
                        <a:pt x="388" y="67"/>
                      </a:lnTo>
                      <a:lnTo>
                        <a:pt x="388" y="66"/>
                      </a:lnTo>
                      <a:lnTo>
                        <a:pt x="390" y="66"/>
                      </a:lnTo>
                      <a:lnTo>
                        <a:pt x="388" y="67"/>
                      </a:lnTo>
                      <a:lnTo>
                        <a:pt x="388" y="69"/>
                      </a:lnTo>
                      <a:lnTo>
                        <a:pt x="390" y="69"/>
                      </a:lnTo>
                      <a:lnTo>
                        <a:pt x="388" y="69"/>
                      </a:lnTo>
                      <a:lnTo>
                        <a:pt x="388" y="67"/>
                      </a:lnTo>
                      <a:lnTo>
                        <a:pt x="390" y="67"/>
                      </a:lnTo>
                      <a:lnTo>
                        <a:pt x="390" y="66"/>
                      </a:lnTo>
                      <a:lnTo>
                        <a:pt x="388" y="66"/>
                      </a:lnTo>
                      <a:lnTo>
                        <a:pt x="388" y="64"/>
                      </a:lnTo>
                      <a:lnTo>
                        <a:pt x="390" y="64"/>
                      </a:lnTo>
                      <a:lnTo>
                        <a:pt x="388" y="64"/>
                      </a:lnTo>
                      <a:lnTo>
                        <a:pt x="388" y="62"/>
                      </a:lnTo>
                      <a:lnTo>
                        <a:pt x="390" y="62"/>
                      </a:lnTo>
                      <a:lnTo>
                        <a:pt x="392" y="62"/>
                      </a:lnTo>
                      <a:lnTo>
                        <a:pt x="393" y="64"/>
                      </a:lnTo>
                      <a:lnTo>
                        <a:pt x="393" y="66"/>
                      </a:lnTo>
                      <a:lnTo>
                        <a:pt x="392" y="66"/>
                      </a:lnTo>
                      <a:lnTo>
                        <a:pt x="390" y="67"/>
                      </a:lnTo>
                      <a:lnTo>
                        <a:pt x="390" y="69"/>
                      </a:lnTo>
                      <a:lnTo>
                        <a:pt x="390" y="71"/>
                      </a:lnTo>
                      <a:lnTo>
                        <a:pt x="392" y="71"/>
                      </a:lnTo>
                      <a:lnTo>
                        <a:pt x="390" y="71"/>
                      </a:lnTo>
                      <a:lnTo>
                        <a:pt x="390" y="72"/>
                      </a:lnTo>
                      <a:lnTo>
                        <a:pt x="392" y="72"/>
                      </a:lnTo>
                      <a:lnTo>
                        <a:pt x="390" y="72"/>
                      </a:lnTo>
                      <a:lnTo>
                        <a:pt x="392" y="72"/>
                      </a:lnTo>
                      <a:lnTo>
                        <a:pt x="393" y="72"/>
                      </a:lnTo>
                      <a:lnTo>
                        <a:pt x="392" y="74"/>
                      </a:lnTo>
                      <a:lnTo>
                        <a:pt x="393" y="72"/>
                      </a:lnTo>
                      <a:lnTo>
                        <a:pt x="393" y="74"/>
                      </a:lnTo>
                      <a:lnTo>
                        <a:pt x="395" y="74"/>
                      </a:lnTo>
                      <a:lnTo>
                        <a:pt x="393" y="74"/>
                      </a:lnTo>
                      <a:lnTo>
                        <a:pt x="393" y="76"/>
                      </a:lnTo>
                      <a:lnTo>
                        <a:pt x="392" y="76"/>
                      </a:lnTo>
                      <a:lnTo>
                        <a:pt x="393" y="76"/>
                      </a:lnTo>
                      <a:lnTo>
                        <a:pt x="393" y="74"/>
                      </a:lnTo>
                      <a:lnTo>
                        <a:pt x="395" y="74"/>
                      </a:lnTo>
                      <a:lnTo>
                        <a:pt x="395" y="76"/>
                      </a:lnTo>
                      <a:lnTo>
                        <a:pt x="397" y="76"/>
                      </a:lnTo>
                      <a:lnTo>
                        <a:pt x="397" y="74"/>
                      </a:lnTo>
                      <a:lnTo>
                        <a:pt x="398" y="74"/>
                      </a:lnTo>
                      <a:lnTo>
                        <a:pt x="398" y="72"/>
                      </a:lnTo>
                      <a:lnTo>
                        <a:pt x="400" y="72"/>
                      </a:lnTo>
                      <a:lnTo>
                        <a:pt x="398" y="72"/>
                      </a:lnTo>
                      <a:lnTo>
                        <a:pt x="400" y="72"/>
                      </a:lnTo>
                      <a:lnTo>
                        <a:pt x="400" y="74"/>
                      </a:lnTo>
                      <a:lnTo>
                        <a:pt x="398" y="76"/>
                      </a:lnTo>
                      <a:lnTo>
                        <a:pt x="398" y="77"/>
                      </a:lnTo>
                      <a:lnTo>
                        <a:pt x="397" y="77"/>
                      </a:lnTo>
                      <a:lnTo>
                        <a:pt x="395" y="77"/>
                      </a:lnTo>
                      <a:lnTo>
                        <a:pt x="395" y="79"/>
                      </a:lnTo>
                      <a:lnTo>
                        <a:pt x="393" y="79"/>
                      </a:lnTo>
                      <a:lnTo>
                        <a:pt x="393" y="80"/>
                      </a:lnTo>
                      <a:lnTo>
                        <a:pt x="392" y="80"/>
                      </a:lnTo>
                      <a:lnTo>
                        <a:pt x="393" y="80"/>
                      </a:lnTo>
                      <a:lnTo>
                        <a:pt x="393" y="79"/>
                      </a:lnTo>
                      <a:lnTo>
                        <a:pt x="395" y="79"/>
                      </a:lnTo>
                      <a:lnTo>
                        <a:pt x="397" y="79"/>
                      </a:lnTo>
                      <a:lnTo>
                        <a:pt x="397" y="80"/>
                      </a:lnTo>
                      <a:lnTo>
                        <a:pt x="397" y="79"/>
                      </a:lnTo>
                      <a:lnTo>
                        <a:pt x="398" y="79"/>
                      </a:lnTo>
                      <a:lnTo>
                        <a:pt x="400" y="79"/>
                      </a:lnTo>
                      <a:lnTo>
                        <a:pt x="398" y="80"/>
                      </a:lnTo>
                      <a:lnTo>
                        <a:pt x="400" y="79"/>
                      </a:lnTo>
                      <a:lnTo>
                        <a:pt x="400" y="77"/>
                      </a:lnTo>
                      <a:lnTo>
                        <a:pt x="400" y="79"/>
                      </a:lnTo>
                      <a:lnTo>
                        <a:pt x="400" y="80"/>
                      </a:lnTo>
                      <a:lnTo>
                        <a:pt x="402" y="80"/>
                      </a:lnTo>
                      <a:lnTo>
                        <a:pt x="400" y="80"/>
                      </a:lnTo>
                      <a:lnTo>
                        <a:pt x="400" y="79"/>
                      </a:lnTo>
                      <a:lnTo>
                        <a:pt x="400" y="77"/>
                      </a:lnTo>
                      <a:lnTo>
                        <a:pt x="402" y="77"/>
                      </a:lnTo>
                      <a:lnTo>
                        <a:pt x="402" y="79"/>
                      </a:lnTo>
                      <a:lnTo>
                        <a:pt x="403" y="80"/>
                      </a:lnTo>
                      <a:lnTo>
                        <a:pt x="403" y="82"/>
                      </a:lnTo>
                      <a:lnTo>
                        <a:pt x="403" y="84"/>
                      </a:lnTo>
                      <a:lnTo>
                        <a:pt x="403" y="85"/>
                      </a:lnTo>
                      <a:lnTo>
                        <a:pt x="403" y="84"/>
                      </a:lnTo>
                      <a:lnTo>
                        <a:pt x="402" y="84"/>
                      </a:lnTo>
                      <a:lnTo>
                        <a:pt x="402" y="85"/>
                      </a:lnTo>
                      <a:lnTo>
                        <a:pt x="402" y="84"/>
                      </a:lnTo>
                      <a:lnTo>
                        <a:pt x="403" y="85"/>
                      </a:lnTo>
                      <a:lnTo>
                        <a:pt x="403" y="87"/>
                      </a:lnTo>
                      <a:lnTo>
                        <a:pt x="405" y="87"/>
                      </a:lnTo>
                      <a:lnTo>
                        <a:pt x="403" y="87"/>
                      </a:lnTo>
                      <a:lnTo>
                        <a:pt x="405" y="87"/>
                      </a:lnTo>
                      <a:lnTo>
                        <a:pt x="403" y="89"/>
                      </a:lnTo>
                      <a:lnTo>
                        <a:pt x="403" y="90"/>
                      </a:lnTo>
                      <a:lnTo>
                        <a:pt x="405" y="90"/>
                      </a:lnTo>
                      <a:lnTo>
                        <a:pt x="407" y="90"/>
                      </a:lnTo>
                      <a:lnTo>
                        <a:pt x="405" y="90"/>
                      </a:lnTo>
                      <a:lnTo>
                        <a:pt x="405" y="92"/>
                      </a:lnTo>
                      <a:lnTo>
                        <a:pt x="403" y="92"/>
                      </a:lnTo>
                      <a:lnTo>
                        <a:pt x="403" y="94"/>
                      </a:lnTo>
                      <a:lnTo>
                        <a:pt x="403" y="97"/>
                      </a:lnTo>
                      <a:lnTo>
                        <a:pt x="403" y="102"/>
                      </a:lnTo>
                      <a:lnTo>
                        <a:pt x="405" y="102"/>
                      </a:lnTo>
                      <a:lnTo>
                        <a:pt x="407" y="102"/>
                      </a:lnTo>
                      <a:lnTo>
                        <a:pt x="408" y="103"/>
                      </a:lnTo>
                      <a:lnTo>
                        <a:pt x="410" y="105"/>
                      </a:lnTo>
                      <a:lnTo>
                        <a:pt x="408" y="105"/>
                      </a:lnTo>
                      <a:lnTo>
                        <a:pt x="408" y="107"/>
                      </a:lnTo>
                      <a:lnTo>
                        <a:pt x="408" y="105"/>
                      </a:lnTo>
                      <a:lnTo>
                        <a:pt x="410" y="105"/>
                      </a:lnTo>
                      <a:lnTo>
                        <a:pt x="412" y="107"/>
                      </a:lnTo>
                      <a:lnTo>
                        <a:pt x="412" y="108"/>
                      </a:lnTo>
                      <a:lnTo>
                        <a:pt x="412" y="110"/>
                      </a:lnTo>
                      <a:lnTo>
                        <a:pt x="410" y="110"/>
                      </a:lnTo>
                      <a:lnTo>
                        <a:pt x="410" y="108"/>
                      </a:lnTo>
                      <a:lnTo>
                        <a:pt x="410" y="110"/>
                      </a:lnTo>
                      <a:lnTo>
                        <a:pt x="412" y="110"/>
                      </a:lnTo>
                      <a:lnTo>
                        <a:pt x="412" y="108"/>
                      </a:lnTo>
                      <a:lnTo>
                        <a:pt x="414" y="108"/>
                      </a:lnTo>
                      <a:lnTo>
                        <a:pt x="414" y="110"/>
                      </a:lnTo>
                      <a:lnTo>
                        <a:pt x="414" y="112"/>
                      </a:lnTo>
                      <a:lnTo>
                        <a:pt x="414" y="113"/>
                      </a:lnTo>
                      <a:lnTo>
                        <a:pt x="414" y="115"/>
                      </a:lnTo>
                      <a:lnTo>
                        <a:pt x="414" y="113"/>
                      </a:lnTo>
                      <a:lnTo>
                        <a:pt x="415" y="115"/>
                      </a:lnTo>
                      <a:lnTo>
                        <a:pt x="415" y="117"/>
                      </a:lnTo>
                      <a:lnTo>
                        <a:pt x="417" y="118"/>
                      </a:lnTo>
                      <a:lnTo>
                        <a:pt x="417" y="120"/>
                      </a:lnTo>
                      <a:lnTo>
                        <a:pt x="415" y="120"/>
                      </a:lnTo>
                      <a:lnTo>
                        <a:pt x="415" y="122"/>
                      </a:lnTo>
                      <a:lnTo>
                        <a:pt x="414" y="122"/>
                      </a:lnTo>
                      <a:lnTo>
                        <a:pt x="412" y="122"/>
                      </a:lnTo>
                      <a:lnTo>
                        <a:pt x="414" y="122"/>
                      </a:lnTo>
                      <a:lnTo>
                        <a:pt x="415" y="122"/>
                      </a:lnTo>
                      <a:lnTo>
                        <a:pt x="415" y="123"/>
                      </a:lnTo>
                      <a:lnTo>
                        <a:pt x="415" y="125"/>
                      </a:lnTo>
                      <a:lnTo>
                        <a:pt x="414" y="125"/>
                      </a:lnTo>
                      <a:lnTo>
                        <a:pt x="414" y="126"/>
                      </a:lnTo>
                      <a:lnTo>
                        <a:pt x="412" y="126"/>
                      </a:lnTo>
                      <a:lnTo>
                        <a:pt x="410" y="126"/>
                      </a:lnTo>
                      <a:lnTo>
                        <a:pt x="415" y="131"/>
                      </a:lnTo>
                      <a:lnTo>
                        <a:pt x="419" y="135"/>
                      </a:lnTo>
                      <a:lnTo>
                        <a:pt x="420" y="135"/>
                      </a:lnTo>
                      <a:lnTo>
                        <a:pt x="422" y="133"/>
                      </a:lnTo>
                      <a:lnTo>
                        <a:pt x="424" y="133"/>
                      </a:lnTo>
                      <a:lnTo>
                        <a:pt x="425" y="133"/>
                      </a:lnTo>
                      <a:lnTo>
                        <a:pt x="427" y="133"/>
                      </a:lnTo>
                      <a:lnTo>
                        <a:pt x="429" y="133"/>
                      </a:lnTo>
                      <a:lnTo>
                        <a:pt x="430" y="131"/>
                      </a:lnTo>
                      <a:lnTo>
                        <a:pt x="432" y="131"/>
                      </a:lnTo>
                      <a:lnTo>
                        <a:pt x="434" y="131"/>
                      </a:lnTo>
                      <a:lnTo>
                        <a:pt x="434" y="130"/>
                      </a:lnTo>
                      <a:lnTo>
                        <a:pt x="436" y="130"/>
                      </a:lnTo>
                      <a:lnTo>
                        <a:pt x="437" y="130"/>
                      </a:lnTo>
                      <a:lnTo>
                        <a:pt x="437" y="128"/>
                      </a:lnTo>
                      <a:lnTo>
                        <a:pt x="439" y="126"/>
                      </a:lnTo>
                      <a:lnTo>
                        <a:pt x="439" y="128"/>
                      </a:lnTo>
                      <a:lnTo>
                        <a:pt x="441" y="128"/>
                      </a:lnTo>
                      <a:lnTo>
                        <a:pt x="439" y="128"/>
                      </a:lnTo>
                      <a:lnTo>
                        <a:pt x="441" y="128"/>
                      </a:lnTo>
                      <a:lnTo>
                        <a:pt x="441" y="126"/>
                      </a:lnTo>
                      <a:lnTo>
                        <a:pt x="439" y="126"/>
                      </a:lnTo>
                      <a:lnTo>
                        <a:pt x="441" y="126"/>
                      </a:lnTo>
                      <a:lnTo>
                        <a:pt x="442" y="126"/>
                      </a:lnTo>
                      <a:lnTo>
                        <a:pt x="441" y="126"/>
                      </a:lnTo>
                      <a:lnTo>
                        <a:pt x="442" y="128"/>
                      </a:lnTo>
                      <a:lnTo>
                        <a:pt x="442" y="126"/>
                      </a:lnTo>
                      <a:lnTo>
                        <a:pt x="442" y="128"/>
                      </a:lnTo>
                      <a:lnTo>
                        <a:pt x="442" y="126"/>
                      </a:lnTo>
                      <a:lnTo>
                        <a:pt x="441" y="126"/>
                      </a:lnTo>
                      <a:lnTo>
                        <a:pt x="442" y="126"/>
                      </a:lnTo>
                      <a:lnTo>
                        <a:pt x="444" y="126"/>
                      </a:lnTo>
                      <a:lnTo>
                        <a:pt x="446" y="126"/>
                      </a:lnTo>
                      <a:lnTo>
                        <a:pt x="447" y="126"/>
                      </a:lnTo>
                      <a:lnTo>
                        <a:pt x="447" y="125"/>
                      </a:lnTo>
                      <a:lnTo>
                        <a:pt x="449" y="125"/>
                      </a:lnTo>
                      <a:lnTo>
                        <a:pt x="449" y="126"/>
                      </a:lnTo>
                      <a:lnTo>
                        <a:pt x="447" y="126"/>
                      </a:lnTo>
                      <a:lnTo>
                        <a:pt x="447" y="128"/>
                      </a:lnTo>
                      <a:lnTo>
                        <a:pt x="449" y="130"/>
                      </a:lnTo>
                      <a:lnTo>
                        <a:pt x="447" y="130"/>
                      </a:lnTo>
                      <a:lnTo>
                        <a:pt x="446" y="130"/>
                      </a:lnTo>
                      <a:lnTo>
                        <a:pt x="446" y="128"/>
                      </a:lnTo>
                      <a:lnTo>
                        <a:pt x="446" y="130"/>
                      </a:lnTo>
                      <a:lnTo>
                        <a:pt x="444" y="130"/>
                      </a:lnTo>
                      <a:lnTo>
                        <a:pt x="444" y="128"/>
                      </a:lnTo>
                      <a:lnTo>
                        <a:pt x="444" y="130"/>
                      </a:lnTo>
                      <a:lnTo>
                        <a:pt x="444" y="128"/>
                      </a:lnTo>
                      <a:lnTo>
                        <a:pt x="444" y="130"/>
                      </a:lnTo>
                      <a:lnTo>
                        <a:pt x="442" y="130"/>
                      </a:lnTo>
                      <a:lnTo>
                        <a:pt x="441" y="130"/>
                      </a:lnTo>
                      <a:lnTo>
                        <a:pt x="441" y="131"/>
                      </a:lnTo>
                      <a:lnTo>
                        <a:pt x="439" y="131"/>
                      </a:lnTo>
                      <a:lnTo>
                        <a:pt x="441" y="131"/>
                      </a:lnTo>
                      <a:lnTo>
                        <a:pt x="442" y="131"/>
                      </a:lnTo>
                      <a:lnTo>
                        <a:pt x="444" y="131"/>
                      </a:lnTo>
                      <a:lnTo>
                        <a:pt x="442" y="131"/>
                      </a:lnTo>
                      <a:lnTo>
                        <a:pt x="444" y="131"/>
                      </a:lnTo>
                      <a:lnTo>
                        <a:pt x="444" y="133"/>
                      </a:lnTo>
                      <a:lnTo>
                        <a:pt x="444" y="131"/>
                      </a:lnTo>
                      <a:lnTo>
                        <a:pt x="459" y="131"/>
                      </a:lnTo>
                      <a:lnTo>
                        <a:pt x="459" y="130"/>
                      </a:lnTo>
                      <a:lnTo>
                        <a:pt x="461" y="128"/>
                      </a:lnTo>
                      <a:lnTo>
                        <a:pt x="463" y="126"/>
                      </a:lnTo>
                      <a:lnTo>
                        <a:pt x="464" y="125"/>
                      </a:lnTo>
                      <a:lnTo>
                        <a:pt x="464" y="123"/>
                      </a:lnTo>
                      <a:lnTo>
                        <a:pt x="466" y="123"/>
                      </a:lnTo>
                      <a:lnTo>
                        <a:pt x="466" y="122"/>
                      </a:lnTo>
                      <a:lnTo>
                        <a:pt x="468" y="122"/>
                      </a:lnTo>
                      <a:lnTo>
                        <a:pt x="469" y="120"/>
                      </a:lnTo>
                      <a:lnTo>
                        <a:pt x="471" y="120"/>
                      </a:lnTo>
                      <a:lnTo>
                        <a:pt x="471" y="118"/>
                      </a:lnTo>
                      <a:lnTo>
                        <a:pt x="473" y="117"/>
                      </a:lnTo>
                      <a:lnTo>
                        <a:pt x="473" y="115"/>
                      </a:lnTo>
                      <a:lnTo>
                        <a:pt x="473" y="113"/>
                      </a:lnTo>
                      <a:lnTo>
                        <a:pt x="474" y="112"/>
                      </a:lnTo>
                      <a:lnTo>
                        <a:pt x="476" y="110"/>
                      </a:lnTo>
                      <a:lnTo>
                        <a:pt x="478" y="108"/>
                      </a:lnTo>
                      <a:lnTo>
                        <a:pt x="479" y="108"/>
                      </a:lnTo>
                      <a:lnTo>
                        <a:pt x="481" y="108"/>
                      </a:lnTo>
                      <a:lnTo>
                        <a:pt x="483" y="108"/>
                      </a:lnTo>
                      <a:lnTo>
                        <a:pt x="484" y="108"/>
                      </a:lnTo>
                      <a:lnTo>
                        <a:pt x="486" y="108"/>
                      </a:lnTo>
                      <a:lnTo>
                        <a:pt x="488" y="108"/>
                      </a:lnTo>
                      <a:lnTo>
                        <a:pt x="490" y="108"/>
                      </a:lnTo>
                      <a:lnTo>
                        <a:pt x="491" y="108"/>
                      </a:lnTo>
                      <a:lnTo>
                        <a:pt x="491" y="110"/>
                      </a:lnTo>
                      <a:lnTo>
                        <a:pt x="493" y="112"/>
                      </a:lnTo>
                      <a:lnTo>
                        <a:pt x="495" y="113"/>
                      </a:lnTo>
                      <a:lnTo>
                        <a:pt x="495" y="115"/>
                      </a:lnTo>
                      <a:lnTo>
                        <a:pt x="496" y="117"/>
                      </a:lnTo>
                      <a:lnTo>
                        <a:pt x="498" y="118"/>
                      </a:lnTo>
                      <a:lnTo>
                        <a:pt x="498" y="120"/>
                      </a:lnTo>
                      <a:lnTo>
                        <a:pt x="498" y="122"/>
                      </a:lnTo>
                      <a:lnTo>
                        <a:pt x="500" y="122"/>
                      </a:lnTo>
                      <a:lnTo>
                        <a:pt x="501" y="122"/>
                      </a:lnTo>
                      <a:lnTo>
                        <a:pt x="501" y="120"/>
                      </a:lnTo>
                      <a:lnTo>
                        <a:pt x="503" y="120"/>
                      </a:lnTo>
                      <a:lnTo>
                        <a:pt x="505" y="120"/>
                      </a:lnTo>
                      <a:lnTo>
                        <a:pt x="505" y="122"/>
                      </a:lnTo>
                      <a:lnTo>
                        <a:pt x="503" y="122"/>
                      </a:lnTo>
                      <a:lnTo>
                        <a:pt x="505" y="122"/>
                      </a:lnTo>
                      <a:lnTo>
                        <a:pt x="505" y="120"/>
                      </a:lnTo>
                      <a:lnTo>
                        <a:pt x="503" y="120"/>
                      </a:lnTo>
                      <a:lnTo>
                        <a:pt x="505" y="120"/>
                      </a:lnTo>
                      <a:lnTo>
                        <a:pt x="506" y="120"/>
                      </a:lnTo>
                      <a:lnTo>
                        <a:pt x="506" y="118"/>
                      </a:lnTo>
                      <a:lnTo>
                        <a:pt x="506" y="120"/>
                      </a:lnTo>
                      <a:lnTo>
                        <a:pt x="508" y="120"/>
                      </a:lnTo>
                      <a:lnTo>
                        <a:pt x="508" y="118"/>
                      </a:lnTo>
                      <a:lnTo>
                        <a:pt x="510" y="118"/>
                      </a:lnTo>
                      <a:lnTo>
                        <a:pt x="508" y="120"/>
                      </a:lnTo>
                      <a:lnTo>
                        <a:pt x="506" y="122"/>
                      </a:lnTo>
                      <a:lnTo>
                        <a:pt x="508" y="122"/>
                      </a:lnTo>
                      <a:lnTo>
                        <a:pt x="508" y="120"/>
                      </a:lnTo>
                      <a:lnTo>
                        <a:pt x="510" y="122"/>
                      </a:lnTo>
                      <a:lnTo>
                        <a:pt x="512" y="122"/>
                      </a:lnTo>
                      <a:lnTo>
                        <a:pt x="512" y="120"/>
                      </a:lnTo>
                      <a:lnTo>
                        <a:pt x="513" y="120"/>
                      </a:lnTo>
                      <a:lnTo>
                        <a:pt x="513" y="122"/>
                      </a:lnTo>
                      <a:lnTo>
                        <a:pt x="513" y="120"/>
                      </a:lnTo>
                      <a:lnTo>
                        <a:pt x="515" y="120"/>
                      </a:lnTo>
                      <a:lnTo>
                        <a:pt x="515" y="122"/>
                      </a:lnTo>
                      <a:lnTo>
                        <a:pt x="515" y="120"/>
                      </a:lnTo>
                      <a:lnTo>
                        <a:pt x="513" y="120"/>
                      </a:lnTo>
                      <a:lnTo>
                        <a:pt x="512" y="120"/>
                      </a:lnTo>
                      <a:lnTo>
                        <a:pt x="510" y="120"/>
                      </a:lnTo>
                      <a:lnTo>
                        <a:pt x="510" y="118"/>
                      </a:lnTo>
                      <a:lnTo>
                        <a:pt x="510" y="120"/>
                      </a:lnTo>
                      <a:lnTo>
                        <a:pt x="512" y="120"/>
                      </a:lnTo>
                      <a:lnTo>
                        <a:pt x="513" y="120"/>
                      </a:lnTo>
                      <a:lnTo>
                        <a:pt x="515" y="120"/>
                      </a:lnTo>
                      <a:lnTo>
                        <a:pt x="518" y="120"/>
                      </a:lnTo>
                      <a:lnTo>
                        <a:pt x="520" y="122"/>
                      </a:lnTo>
                      <a:lnTo>
                        <a:pt x="523" y="122"/>
                      </a:lnTo>
                      <a:lnTo>
                        <a:pt x="525" y="123"/>
                      </a:lnTo>
                      <a:lnTo>
                        <a:pt x="527" y="123"/>
                      </a:lnTo>
                      <a:lnTo>
                        <a:pt x="532" y="125"/>
                      </a:lnTo>
                      <a:lnTo>
                        <a:pt x="533" y="126"/>
                      </a:lnTo>
                      <a:lnTo>
                        <a:pt x="535" y="126"/>
                      </a:lnTo>
                      <a:lnTo>
                        <a:pt x="537" y="128"/>
                      </a:lnTo>
                      <a:lnTo>
                        <a:pt x="539" y="128"/>
                      </a:lnTo>
                      <a:lnTo>
                        <a:pt x="540" y="130"/>
                      </a:lnTo>
                      <a:lnTo>
                        <a:pt x="544" y="130"/>
                      </a:lnTo>
                      <a:lnTo>
                        <a:pt x="545" y="131"/>
                      </a:lnTo>
                      <a:lnTo>
                        <a:pt x="547" y="131"/>
                      </a:lnTo>
                      <a:lnTo>
                        <a:pt x="549" y="133"/>
                      </a:lnTo>
                      <a:lnTo>
                        <a:pt x="550" y="133"/>
                      </a:lnTo>
                      <a:lnTo>
                        <a:pt x="552" y="135"/>
                      </a:lnTo>
                      <a:lnTo>
                        <a:pt x="555" y="135"/>
                      </a:lnTo>
                      <a:lnTo>
                        <a:pt x="555" y="136"/>
                      </a:lnTo>
                      <a:lnTo>
                        <a:pt x="557" y="136"/>
                      </a:lnTo>
                      <a:lnTo>
                        <a:pt x="560" y="138"/>
                      </a:lnTo>
                      <a:lnTo>
                        <a:pt x="564" y="140"/>
                      </a:lnTo>
                      <a:lnTo>
                        <a:pt x="566" y="140"/>
                      </a:lnTo>
                      <a:lnTo>
                        <a:pt x="567" y="140"/>
                      </a:lnTo>
                      <a:lnTo>
                        <a:pt x="567" y="141"/>
                      </a:lnTo>
                      <a:lnTo>
                        <a:pt x="569" y="141"/>
                      </a:lnTo>
                      <a:lnTo>
                        <a:pt x="569" y="140"/>
                      </a:lnTo>
                      <a:lnTo>
                        <a:pt x="567" y="140"/>
                      </a:lnTo>
                      <a:lnTo>
                        <a:pt x="569" y="140"/>
                      </a:lnTo>
                      <a:lnTo>
                        <a:pt x="569" y="138"/>
                      </a:lnTo>
                      <a:lnTo>
                        <a:pt x="569" y="140"/>
                      </a:lnTo>
                      <a:lnTo>
                        <a:pt x="569" y="141"/>
                      </a:lnTo>
                      <a:lnTo>
                        <a:pt x="571" y="141"/>
                      </a:lnTo>
                      <a:lnTo>
                        <a:pt x="571" y="143"/>
                      </a:lnTo>
                      <a:lnTo>
                        <a:pt x="572" y="143"/>
                      </a:lnTo>
                      <a:lnTo>
                        <a:pt x="574" y="143"/>
                      </a:lnTo>
                      <a:lnTo>
                        <a:pt x="574" y="145"/>
                      </a:lnTo>
                      <a:lnTo>
                        <a:pt x="574" y="146"/>
                      </a:lnTo>
                      <a:lnTo>
                        <a:pt x="572" y="148"/>
                      </a:lnTo>
                      <a:lnTo>
                        <a:pt x="574" y="148"/>
                      </a:lnTo>
                      <a:lnTo>
                        <a:pt x="574" y="146"/>
                      </a:lnTo>
                      <a:lnTo>
                        <a:pt x="574" y="145"/>
                      </a:lnTo>
                      <a:lnTo>
                        <a:pt x="574" y="143"/>
                      </a:lnTo>
                      <a:lnTo>
                        <a:pt x="574" y="141"/>
                      </a:lnTo>
                      <a:lnTo>
                        <a:pt x="572" y="141"/>
                      </a:lnTo>
                      <a:lnTo>
                        <a:pt x="571" y="141"/>
                      </a:lnTo>
                      <a:lnTo>
                        <a:pt x="572" y="141"/>
                      </a:lnTo>
                      <a:lnTo>
                        <a:pt x="572" y="140"/>
                      </a:lnTo>
                      <a:lnTo>
                        <a:pt x="571" y="140"/>
                      </a:lnTo>
                      <a:lnTo>
                        <a:pt x="569" y="140"/>
                      </a:lnTo>
                      <a:lnTo>
                        <a:pt x="571" y="140"/>
                      </a:lnTo>
                      <a:lnTo>
                        <a:pt x="572" y="140"/>
                      </a:lnTo>
                      <a:lnTo>
                        <a:pt x="576" y="143"/>
                      </a:lnTo>
                      <a:lnTo>
                        <a:pt x="576" y="145"/>
                      </a:lnTo>
                      <a:lnTo>
                        <a:pt x="577" y="146"/>
                      </a:lnTo>
                      <a:lnTo>
                        <a:pt x="579" y="146"/>
                      </a:lnTo>
                      <a:lnTo>
                        <a:pt x="581" y="148"/>
                      </a:lnTo>
                      <a:lnTo>
                        <a:pt x="582" y="148"/>
                      </a:lnTo>
                      <a:lnTo>
                        <a:pt x="582" y="149"/>
                      </a:lnTo>
                      <a:lnTo>
                        <a:pt x="584" y="149"/>
                      </a:lnTo>
                      <a:lnTo>
                        <a:pt x="586" y="151"/>
                      </a:lnTo>
                      <a:lnTo>
                        <a:pt x="588" y="151"/>
                      </a:lnTo>
                      <a:lnTo>
                        <a:pt x="589" y="151"/>
                      </a:lnTo>
                      <a:lnTo>
                        <a:pt x="591" y="151"/>
                      </a:lnTo>
                      <a:lnTo>
                        <a:pt x="593" y="151"/>
                      </a:lnTo>
                      <a:lnTo>
                        <a:pt x="593" y="153"/>
                      </a:lnTo>
                      <a:lnTo>
                        <a:pt x="594" y="154"/>
                      </a:lnTo>
                      <a:lnTo>
                        <a:pt x="594" y="153"/>
                      </a:lnTo>
                      <a:lnTo>
                        <a:pt x="596" y="153"/>
                      </a:lnTo>
                      <a:lnTo>
                        <a:pt x="598" y="153"/>
                      </a:lnTo>
                      <a:lnTo>
                        <a:pt x="598" y="154"/>
                      </a:lnTo>
                      <a:lnTo>
                        <a:pt x="599" y="154"/>
                      </a:lnTo>
                      <a:lnTo>
                        <a:pt x="603" y="154"/>
                      </a:lnTo>
                      <a:lnTo>
                        <a:pt x="604" y="154"/>
                      </a:lnTo>
                      <a:lnTo>
                        <a:pt x="606" y="154"/>
                      </a:lnTo>
                      <a:lnTo>
                        <a:pt x="606" y="156"/>
                      </a:lnTo>
                      <a:lnTo>
                        <a:pt x="604" y="156"/>
                      </a:lnTo>
                      <a:lnTo>
                        <a:pt x="604" y="154"/>
                      </a:lnTo>
                      <a:lnTo>
                        <a:pt x="604" y="156"/>
                      </a:lnTo>
                      <a:lnTo>
                        <a:pt x="606" y="156"/>
                      </a:lnTo>
                      <a:lnTo>
                        <a:pt x="608" y="158"/>
                      </a:lnTo>
                      <a:lnTo>
                        <a:pt x="609" y="158"/>
                      </a:lnTo>
                      <a:lnTo>
                        <a:pt x="613" y="158"/>
                      </a:lnTo>
                      <a:lnTo>
                        <a:pt x="615" y="158"/>
                      </a:lnTo>
                      <a:lnTo>
                        <a:pt x="615" y="159"/>
                      </a:lnTo>
                      <a:lnTo>
                        <a:pt x="613" y="159"/>
                      </a:lnTo>
                      <a:lnTo>
                        <a:pt x="615" y="159"/>
                      </a:lnTo>
                      <a:lnTo>
                        <a:pt x="615" y="161"/>
                      </a:lnTo>
                      <a:lnTo>
                        <a:pt x="615" y="159"/>
                      </a:lnTo>
                      <a:lnTo>
                        <a:pt x="616" y="159"/>
                      </a:lnTo>
                      <a:lnTo>
                        <a:pt x="616" y="161"/>
                      </a:lnTo>
                      <a:lnTo>
                        <a:pt x="616" y="163"/>
                      </a:lnTo>
                      <a:lnTo>
                        <a:pt x="615" y="163"/>
                      </a:lnTo>
                      <a:lnTo>
                        <a:pt x="616" y="163"/>
                      </a:lnTo>
                      <a:lnTo>
                        <a:pt x="618" y="163"/>
                      </a:lnTo>
                      <a:lnTo>
                        <a:pt x="618" y="164"/>
                      </a:lnTo>
                      <a:lnTo>
                        <a:pt x="618" y="163"/>
                      </a:lnTo>
                      <a:lnTo>
                        <a:pt x="620" y="163"/>
                      </a:lnTo>
                      <a:lnTo>
                        <a:pt x="620" y="164"/>
                      </a:lnTo>
                      <a:lnTo>
                        <a:pt x="620" y="163"/>
                      </a:lnTo>
                      <a:lnTo>
                        <a:pt x="620" y="159"/>
                      </a:lnTo>
                      <a:lnTo>
                        <a:pt x="621" y="158"/>
                      </a:lnTo>
                      <a:lnTo>
                        <a:pt x="620" y="158"/>
                      </a:lnTo>
                      <a:lnTo>
                        <a:pt x="618" y="158"/>
                      </a:lnTo>
                      <a:lnTo>
                        <a:pt x="618" y="156"/>
                      </a:lnTo>
                      <a:lnTo>
                        <a:pt x="616" y="156"/>
                      </a:lnTo>
                      <a:lnTo>
                        <a:pt x="615" y="156"/>
                      </a:lnTo>
                      <a:lnTo>
                        <a:pt x="615" y="154"/>
                      </a:lnTo>
                      <a:lnTo>
                        <a:pt x="616" y="153"/>
                      </a:lnTo>
                      <a:lnTo>
                        <a:pt x="618" y="151"/>
                      </a:lnTo>
                      <a:lnTo>
                        <a:pt x="616" y="151"/>
                      </a:lnTo>
                      <a:lnTo>
                        <a:pt x="616" y="153"/>
                      </a:lnTo>
                      <a:lnTo>
                        <a:pt x="616" y="151"/>
                      </a:lnTo>
                      <a:lnTo>
                        <a:pt x="618" y="151"/>
                      </a:lnTo>
                      <a:lnTo>
                        <a:pt x="618" y="153"/>
                      </a:lnTo>
                      <a:lnTo>
                        <a:pt x="620" y="154"/>
                      </a:lnTo>
                      <a:lnTo>
                        <a:pt x="620" y="153"/>
                      </a:lnTo>
                      <a:lnTo>
                        <a:pt x="620" y="151"/>
                      </a:lnTo>
                      <a:lnTo>
                        <a:pt x="623" y="153"/>
                      </a:lnTo>
                      <a:lnTo>
                        <a:pt x="625" y="153"/>
                      </a:lnTo>
                      <a:lnTo>
                        <a:pt x="626" y="153"/>
                      </a:lnTo>
                      <a:lnTo>
                        <a:pt x="630" y="153"/>
                      </a:lnTo>
                      <a:lnTo>
                        <a:pt x="631" y="151"/>
                      </a:lnTo>
                      <a:lnTo>
                        <a:pt x="633" y="151"/>
                      </a:lnTo>
                      <a:lnTo>
                        <a:pt x="635" y="151"/>
                      </a:lnTo>
                      <a:lnTo>
                        <a:pt x="635" y="153"/>
                      </a:lnTo>
                      <a:lnTo>
                        <a:pt x="635" y="154"/>
                      </a:lnTo>
                      <a:lnTo>
                        <a:pt x="636" y="156"/>
                      </a:lnTo>
                      <a:lnTo>
                        <a:pt x="636" y="158"/>
                      </a:lnTo>
                      <a:lnTo>
                        <a:pt x="638" y="158"/>
                      </a:lnTo>
                      <a:lnTo>
                        <a:pt x="638" y="156"/>
                      </a:lnTo>
                      <a:lnTo>
                        <a:pt x="638" y="154"/>
                      </a:lnTo>
                      <a:lnTo>
                        <a:pt x="640" y="154"/>
                      </a:lnTo>
                      <a:lnTo>
                        <a:pt x="642" y="154"/>
                      </a:lnTo>
                      <a:lnTo>
                        <a:pt x="643" y="154"/>
                      </a:lnTo>
                      <a:lnTo>
                        <a:pt x="645" y="154"/>
                      </a:lnTo>
                      <a:lnTo>
                        <a:pt x="647" y="154"/>
                      </a:lnTo>
                      <a:lnTo>
                        <a:pt x="648" y="154"/>
                      </a:lnTo>
                      <a:lnTo>
                        <a:pt x="650" y="154"/>
                      </a:lnTo>
                      <a:lnTo>
                        <a:pt x="653" y="154"/>
                      </a:lnTo>
                      <a:lnTo>
                        <a:pt x="655" y="154"/>
                      </a:lnTo>
                      <a:lnTo>
                        <a:pt x="657" y="154"/>
                      </a:lnTo>
                      <a:lnTo>
                        <a:pt x="657" y="156"/>
                      </a:lnTo>
                      <a:lnTo>
                        <a:pt x="657" y="158"/>
                      </a:lnTo>
                      <a:lnTo>
                        <a:pt x="653" y="159"/>
                      </a:lnTo>
                      <a:lnTo>
                        <a:pt x="653" y="161"/>
                      </a:lnTo>
                      <a:lnTo>
                        <a:pt x="655" y="161"/>
                      </a:lnTo>
                      <a:lnTo>
                        <a:pt x="655" y="163"/>
                      </a:lnTo>
                      <a:lnTo>
                        <a:pt x="655" y="164"/>
                      </a:lnTo>
                      <a:lnTo>
                        <a:pt x="653" y="164"/>
                      </a:lnTo>
                      <a:lnTo>
                        <a:pt x="653" y="166"/>
                      </a:lnTo>
                      <a:lnTo>
                        <a:pt x="653" y="168"/>
                      </a:lnTo>
                      <a:lnTo>
                        <a:pt x="653" y="169"/>
                      </a:lnTo>
                      <a:lnTo>
                        <a:pt x="653" y="171"/>
                      </a:lnTo>
                      <a:lnTo>
                        <a:pt x="655" y="172"/>
                      </a:lnTo>
                      <a:lnTo>
                        <a:pt x="657" y="174"/>
                      </a:lnTo>
                      <a:lnTo>
                        <a:pt x="658" y="176"/>
                      </a:lnTo>
                      <a:lnTo>
                        <a:pt x="658" y="177"/>
                      </a:lnTo>
                      <a:lnTo>
                        <a:pt x="658" y="179"/>
                      </a:lnTo>
                      <a:lnTo>
                        <a:pt x="657" y="179"/>
                      </a:lnTo>
                      <a:lnTo>
                        <a:pt x="657" y="181"/>
                      </a:lnTo>
                      <a:lnTo>
                        <a:pt x="657" y="182"/>
                      </a:lnTo>
                      <a:lnTo>
                        <a:pt x="655" y="184"/>
                      </a:lnTo>
                      <a:lnTo>
                        <a:pt x="653" y="184"/>
                      </a:lnTo>
                      <a:lnTo>
                        <a:pt x="653" y="186"/>
                      </a:lnTo>
                      <a:lnTo>
                        <a:pt x="652" y="186"/>
                      </a:lnTo>
                      <a:lnTo>
                        <a:pt x="652" y="187"/>
                      </a:lnTo>
                      <a:lnTo>
                        <a:pt x="650" y="189"/>
                      </a:lnTo>
                      <a:lnTo>
                        <a:pt x="648" y="191"/>
                      </a:lnTo>
                      <a:lnTo>
                        <a:pt x="647" y="191"/>
                      </a:lnTo>
                      <a:lnTo>
                        <a:pt x="647" y="192"/>
                      </a:lnTo>
                      <a:lnTo>
                        <a:pt x="647" y="194"/>
                      </a:lnTo>
                      <a:lnTo>
                        <a:pt x="645" y="195"/>
                      </a:lnTo>
                      <a:lnTo>
                        <a:pt x="645" y="197"/>
                      </a:lnTo>
                      <a:lnTo>
                        <a:pt x="645" y="199"/>
                      </a:lnTo>
                      <a:lnTo>
                        <a:pt x="645" y="197"/>
                      </a:lnTo>
                      <a:lnTo>
                        <a:pt x="643" y="197"/>
                      </a:lnTo>
                      <a:lnTo>
                        <a:pt x="643" y="199"/>
                      </a:lnTo>
                      <a:lnTo>
                        <a:pt x="642" y="200"/>
                      </a:lnTo>
                      <a:lnTo>
                        <a:pt x="642" y="202"/>
                      </a:lnTo>
                      <a:lnTo>
                        <a:pt x="640" y="202"/>
                      </a:lnTo>
                      <a:lnTo>
                        <a:pt x="640" y="204"/>
                      </a:lnTo>
                      <a:lnTo>
                        <a:pt x="638" y="204"/>
                      </a:lnTo>
                      <a:lnTo>
                        <a:pt x="636" y="204"/>
                      </a:lnTo>
                      <a:lnTo>
                        <a:pt x="635" y="204"/>
                      </a:lnTo>
                      <a:lnTo>
                        <a:pt x="633" y="204"/>
                      </a:lnTo>
                      <a:lnTo>
                        <a:pt x="631" y="205"/>
                      </a:lnTo>
                      <a:lnTo>
                        <a:pt x="630" y="205"/>
                      </a:lnTo>
                      <a:lnTo>
                        <a:pt x="628" y="205"/>
                      </a:lnTo>
                      <a:lnTo>
                        <a:pt x="628" y="207"/>
                      </a:lnTo>
                      <a:lnTo>
                        <a:pt x="630" y="207"/>
                      </a:lnTo>
                      <a:lnTo>
                        <a:pt x="631" y="207"/>
                      </a:lnTo>
                      <a:lnTo>
                        <a:pt x="631" y="209"/>
                      </a:lnTo>
                      <a:lnTo>
                        <a:pt x="630" y="209"/>
                      </a:lnTo>
                      <a:lnTo>
                        <a:pt x="630" y="210"/>
                      </a:lnTo>
                      <a:lnTo>
                        <a:pt x="628" y="210"/>
                      </a:lnTo>
                      <a:lnTo>
                        <a:pt x="628" y="212"/>
                      </a:lnTo>
                      <a:lnTo>
                        <a:pt x="628" y="214"/>
                      </a:lnTo>
                      <a:lnTo>
                        <a:pt x="626" y="214"/>
                      </a:lnTo>
                      <a:lnTo>
                        <a:pt x="626" y="215"/>
                      </a:lnTo>
                      <a:lnTo>
                        <a:pt x="625" y="217"/>
                      </a:lnTo>
                      <a:lnTo>
                        <a:pt x="623" y="217"/>
                      </a:lnTo>
                      <a:lnTo>
                        <a:pt x="621" y="217"/>
                      </a:lnTo>
                      <a:lnTo>
                        <a:pt x="621" y="218"/>
                      </a:lnTo>
                      <a:lnTo>
                        <a:pt x="621" y="220"/>
                      </a:lnTo>
                      <a:lnTo>
                        <a:pt x="620" y="222"/>
                      </a:lnTo>
                      <a:lnTo>
                        <a:pt x="618" y="222"/>
                      </a:lnTo>
                      <a:lnTo>
                        <a:pt x="618" y="220"/>
                      </a:lnTo>
                      <a:lnTo>
                        <a:pt x="616" y="220"/>
                      </a:lnTo>
                      <a:lnTo>
                        <a:pt x="615" y="222"/>
                      </a:lnTo>
                      <a:lnTo>
                        <a:pt x="613" y="222"/>
                      </a:lnTo>
                      <a:lnTo>
                        <a:pt x="611" y="222"/>
                      </a:lnTo>
                      <a:lnTo>
                        <a:pt x="609" y="220"/>
                      </a:lnTo>
                      <a:lnTo>
                        <a:pt x="608" y="220"/>
                      </a:lnTo>
                      <a:lnTo>
                        <a:pt x="606" y="222"/>
                      </a:lnTo>
                      <a:lnTo>
                        <a:pt x="604" y="222"/>
                      </a:lnTo>
                      <a:lnTo>
                        <a:pt x="603" y="222"/>
                      </a:lnTo>
                      <a:lnTo>
                        <a:pt x="603" y="223"/>
                      </a:lnTo>
                      <a:lnTo>
                        <a:pt x="601" y="225"/>
                      </a:lnTo>
                      <a:lnTo>
                        <a:pt x="601" y="223"/>
                      </a:lnTo>
                      <a:lnTo>
                        <a:pt x="599" y="223"/>
                      </a:lnTo>
                      <a:lnTo>
                        <a:pt x="599" y="222"/>
                      </a:lnTo>
                      <a:lnTo>
                        <a:pt x="598" y="223"/>
                      </a:lnTo>
                      <a:lnTo>
                        <a:pt x="598" y="225"/>
                      </a:lnTo>
                      <a:lnTo>
                        <a:pt x="596" y="225"/>
                      </a:lnTo>
                      <a:lnTo>
                        <a:pt x="594" y="225"/>
                      </a:lnTo>
                      <a:lnTo>
                        <a:pt x="594" y="223"/>
                      </a:lnTo>
                      <a:lnTo>
                        <a:pt x="594" y="222"/>
                      </a:lnTo>
                      <a:lnTo>
                        <a:pt x="593" y="222"/>
                      </a:lnTo>
                      <a:lnTo>
                        <a:pt x="593" y="223"/>
                      </a:lnTo>
                      <a:lnTo>
                        <a:pt x="593" y="225"/>
                      </a:lnTo>
                      <a:lnTo>
                        <a:pt x="591" y="225"/>
                      </a:lnTo>
                      <a:lnTo>
                        <a:pt x="589" y="227"/>
                      </a:lnTo>
                      <a:lnTo>
                        <a:pt x="589" y="228"/>
                      </a:lnTo>
                      <a:lnTo>
                        <a:pt x="588" y="230"/>
                      </a:lnTo>
                      <a:lnTo>
                        <a:pt x="588" y="232"/>
                      </a:lnTo>
                      <a:lnTo>
                        <a:pt x="586" y="232"/>
                      </a:lnTo>
                      <a:lnTo>
                        <a:pt x="586" y="233"/>
                      </a:lnTo>
                      <a:lnTo>
                        <a:pt x="584" y="233"/>
                      </a:lnTo>
                      <a:lnTo>
                        <a:pt x="582" y="235"/>
                      </a:lnTo>
                      <a:lnTo>
                        <a:pt x="581" y="237"/>
                      </a:lnTo>
                      <a:lnTo>
                        <a:pt x="581" y="238"/>
                      </a:lnTo>
                      <a:lnTo>
                        <a:pt x="579" y="238"/>
                      </a:lnTo>
                      <a:lnTo>
                        <a:pt x="579" y="240"/>
                      </a:lnTo>
                      <a:lnTo>
                        <a:pt x="577" y="240"/>
                      </a:lnTo>
                      <a:lnTo>
                        <a:pt x="577" y="241"/>
                      </a:lnTo>
                      <a:lnTo>
                        <a:pt x="576" y="241"/>
                      </a:lnTo>
                      <a:lnTo>
                        <a:pt x="576" y="243"/>
                      </a:lnTo>
                      <a:lnTo>
                        <a:pt x="576" y="245"/>
                      </a:lnTo>
                      <a:lnTo>
                        <a:pt x="576" y="248"/>
                      </a:lnTo>
                      <a:lnTo>
                        <a:pt x="576" y="250"/>
                      </a:lnTo>
                      <a:lnTo>
                        <a:pt x="576" y="251"/>
                      </a:lnTo>
                      <a:lnTo>
                        <a:pt x="576" y="253"/>
                      </a:lnTo>
                      <a:lnTo>
                        <a:pt x="576" y="255"/>
                      </a:lnTo>
                      <a:lnTo>
                        <a:pt x="574" y="255"/>
                      </a:lnTo>
                      <a:lnTo>
                        <a:pt x="574" y="258"/>
                      </a:lnTo>
                      <a:lnTo>
                        <a:pt x="572" y="259"/>
                      </a:lnTo>
                      <a:lnTo>
                        <a:pt x="572" y="261"/>
                      </a:lnTo>
                      <a:lnTo>
                        <a:pt x="571" y="261"/>
                      </a:lnTo>
                      <a:lnTo>
                        <a:pt x="571" y="263"/>
                      </a:lnTo>
                      <a:lnTo>
                        <a:pt x="571" y="264"/>
                      </a:lnTo>
                      <a:lnTo>
                        <a:pt x="571" y="266"/>
                      </a:lnTo>
                      <a:lnTo>
                        <a:pt x="569" y="266"/>
                      </a:lnTo>
                      <a:lnTo>
                        <a:pt x="569" y="268"/>
                      </a:lnTo>
                      <a:lnTo>
                        <a:pt x="567" y="268"/>
                      </a:lnTo>
                      <a:lnTo>
                        <a:pt x="566" y="268"/>
                      </a:lnTo>
                      <a:lnTo>
                        <a:pt x="566" y="269"/>
                      </a:lnTo>
                      <a:lnTo>
                        <a:pt x="566" y="271"/>
                      </a:lnTo>
                      <a:lnTo>
                        <a:pt x="564" y="271"/>
                      </a:lnTo>
                      <a:lnTo>
                        <a:pt x="564" y="273"/>
                      </a:lnTo>
                      <a:lnTo>
                        <a:pt x="562" y="273"/>
                      </a:lnTo>
                      <a:lnTo>
                        <a:pt x="562" y="271"/>
                      </a:lnTo>
                      <a:lnTo>
                        <a:pt x="562" y="273"/>
                      </a:lnTo>
                      <a:lnTo>
                        <a:pt x="560" y="273"/>
                      </a:lnTo>
                      <a:lnTo>
                        <a:pt x="560" y="274"/>
                      </a:lnTo>
                      <a:lnTo>
                        <a:pt x="560" y="276"/>
                      </a:lnTo>
                      <a:lnTo>
                        <a:pt x="559" y="278"/>
                      </a:lnTo>
                      <a:lnTo>
                        <a:pt x="559" y="279"/>
                      </a:lnTo>
                      <a:lnTo>
                        <a:pt x="559" y="281"/>
                      </a:lnTo>
                      <a:lnTo>
                        <a:pt x="557" y="282"/>
                      </a:lnTo>
                      <a:lnTo>
                        <a:pt x="555" y="282"/>
                      </a:lnTo>
                      <a:lnTo>
                        <a:pt x="555" y="284"/>
                      </a:lnTo>
                      <a:lnTo>
                        <a:pt x="554" y="284"/>
                      </a:lnTo>
                      <a:lnTo>
                        <a:pt x="554" y="286"/>
                      </a:lnTo>
                      <a:lnTo>
                        <a:pt x="555" y="286"/>
                      </a:lnTo>
                      <a:lnTo>
                        <a:pt x="555" y="287"/>
                      </a:lnTo>
                      <a:lnTo>
                        <a:pt x="552" y="287"/>
                      </a:lnTo>
                      <a:lnTo>
                        <a:pt x="550" y="289"/>
                      </a:lnTo>
                      <a:lnTo>
                        <a:pt x="547" y="292"/>
                      </a:lnTo>
                      <a:lnTo>
                        <a:pt x="547" y="294"/>
                      </a:lnTo>
                      <a:lnTo>
                        <a:pt x="545" y="294"/>
                      </a:lnTo>
                      <a:lnTo>
                        <a:pt x="547" y="299"/>
                      </a:lnTo>
                      <a:lnTo>
                        <a:pt x="547" y="301"/>
                      </a:lnTo>
                      <a:lnTo>
                        <a:pt x="549" y="304"/>
                      </a:lnTo>
                      <a:lnTo>
                        <a:pt x="549" y="305"/>
                      </a:lnTo>
                      <a:lnTo>
                        <a:pt x="549" y="307"/>
                      </a:lnTo>
                      <a:lnTo>
                        <a:pt x="549" y="309"/>
                      </a:lnTo>
                      <a:lnTo>
                        <a:pt x="550" y="309"/>
                      </a:lnTo>
                      <a:lnTo>
                        <a:pt x="552" y="309"/>
                      </a:lnTo>
                      <a:lnTo>
                        <a:pt x="554" y="309"/>
                      </a:lnTo>
                      <a:lnTo>
                        <a:pt x="557" y="312"/>
                      </a:lnTo>
                      <a:lnTo>
                        <a:pt x="557" y="314"/>
                      </a:lnTo>
                      <a:lnTo>
                        <a:pt x="557" y="315"/>
                      </a:lnTo>
                      <a:lnTo>
                        <a:pt x="559" y="317"/>
                      </a:lnTo>
                      <a:lnTo>
                        <a:pt x="559" y="319"/>
                      </a:lnTo>
                      <a:lnTo>
                        <a:pt x="559" y="320"/>
                      </a:lnTo>
                      <a:lnTo>
                        <a:pt x="557" y="322"/>
                      </a:lnTo>
                      <a:lnTo>
                        <a:pt x="557" y="325"/>
                      </a:lnTo>
                      <a:lnTo>
                        <a:pt x="557" y="327"/>
                      </a:lnTo>
                      <a:lnTo>
                        <a:pt x="555" y="328"/>
                      </a:lnTo>
                      <a:lnTo>
                        <a:pt x="554" y="332"/>
                      </a:lnTo>
                      <a:lnTo>
                        <a:pt x="552" y="333"/>
                      </a:lnTo>
                      <a:lnTo>
                        <a:pt x="550" y="335"/>
                      </a:lnTo>
                      <a:lnTo>
                        <a:pt x="549" y="337"/>
                      </a:lnTo>
                      <a:lnTo>
                        <a:pt x="550" y="338"/>
                      </a:lnTo>
                      <a:lnTo>
                        <a:pt x="552" y="338"/>
                      </a:lnTo>
                      <a:lnTo>
                        <a:pt x="552" y="340"/>
                      </a:lnTo>
                      <a:lnTo>
                        <a:pt x="552" y="342"/>
                      </a:lnTo>
                      <a:lnTo>
                        <a:pt x="550" y="343"/>
                      </a:lnTo>
                      <a:lnTo>
                        <a:pt x="550" y="345"/>
                      </a:lnTo>
                      <a:lnTo>
                        <a:pt x="550" y="347"/>
                      </a:lnTo>
                      <a:lnTo>
                        <a:pt x="550" y="348"/>
                      </a:lnTo>
                      <a:lnTo>
                        <a:pt x="552" y="348"/>
                      </a:lnTo>
                      <a:lnTo>
                        <a:pt x="554" y="350"/>
                      </a:lnTo>
                      <a:lnTo>
                        <a:pt x="555" y="350"/>
                      </a:lnTo>
                      <a:lnTo>
                        <a:pt x="555" y="351"/>
                      </a:lnTo>
                      <a:lnTo>
                        <a:pt x="555" y="355"/>
                      </a:lnTo>
                      <a:lnTo>
                        <a:pt x="555" y="356"/>
                      </a:lnTo>
                      <a:lnTo>
                        <a:pt x="557" y="358"/>
                      </a:lnTo>
                      <a:lnTo>
                        <a:pt x="559" y="360"/>
                      </a:lnTo>
                      <a:lnTo>
                        <a:pt x="559" y="361"/>
                      </a:lnTo>
                      <a:lnTo>
                        <a:pt x="559" y="363"/>
                      </a:lnTo>
                      <a:lnTo>
                        <a:pt x="559" y="366"/>
                      </a:lnTo>
                      <a:lnTo>
                        <a:pt x="560" y="366"/>
                      </a:lnTo>
                      <a:lnTo>
                        <a:pt x="560" y="368"/>
                      </a:lnTo>
                      <a:lnTo>
                        <a:pt x="560" y="370"/>
                      </a:lnTo>
                      <a:lnTo>
                        <a:pt x="560" y="371"/>
                      </a:lnTo>
                      <a:lnTo>
                        <a:pt x="562" y="373"/>
                      </a:lnTo>
                      <a:lnTo>
                        <a:pt x="562" y="374"/>
                      </a:lnTo>
                      <a:lnTo>
                        <a:pt x="562" y="376"/>
                      </a:lnTo>
                      <a:lnTo>
                        <a:pt x="562" y="378"/>
                      </a:lnTo>
                      <a:lnTo>
                        <a:pt x="564" y="379"/>
                      </a:lnTo>
                      <a:lnTo>
                        <a:pt x="564" y="381"/>
                      </a:lnTo>
                      <a:lnTo>
                        <a:pt x="564" y="383"/>
                      </a:lnTo>
                      <a:lnTo>
                        <a:pt x="564" y="384"/>
                      </a:lnTo>
                      <a:lnTo>
                        <a:pt x="562" y="386"/>
                      </a:lnTo>
                      <a:lnTo>
                        <a:pt x="560" y="388"/>
                      </a:lnTo>
                      <a:lnTo>
                        <a:pt x="562" y="389"/>
                      </a:lnTo>
                      <a:lnTo>
                        <a:pt x="562" y="391"/>
                      </a:lnTo>
                      <a:lnTo>
                        <a:pt x="562" y="394"/>
                      </a:lnTo>
                      <a:lnTo>
                        <a:pt x="562" y="396"/>
                      </a:lnTo>
                      <a:lnTo>
                        <a:pt x="562" y="397"/>
                      </a:lnTo>
                      <a:lnTo>
                        <a:pt x="560" y="397"/>
                      </a:lnTo>
                      <a:lnTo>
                        <a:pt x="559" y="399"/>
                      </a:lnTo>
                      <a:lnTo>
                        <a:pt x="557" y="399"/>
                      </a:lnTo>
                      <a:lnTo>
                        <a:pt x="557" y="401"/>
                      </a:lnTo>
                      <a:lnTo>
                        <a:pt x="555" y="401"/>
                      </a:lnTo>
                      <a:lnTo>
                        <a:pt x="554" y="401"/>
                      </a:lnTo>
                      <a:lnTo>
                        <a:pt x="554" y="402"/>
                      </a:lnTo>
                      <a:lnTo>
                        <a:pt x="552" y="402"/>
                      </a:lnTo>
                      <a:lnTo>
                        <a:pt x="552" y="404"/>
                      </a:lnTo>
                      <a:lnTo>
                        <a:pt x="552" y="406"/>
                      </a:lnTo>
                      <a:lnTo>
                        <a:pt x="550" y="406"/>
                      </a:lnTo>
                      <a:lnTo>
                        <a:pt x="549" y="406"/>
                      </a:lnTo>
                      <a:lnTo>
                        <a:pt x="549" y="407"/>
                      </a:lnTo>
                      <a:lnTo>
                        <a:pt x="547" y="411"/>
                      </a:lnTo>
                      <a:lnTo>
                        <a:pt x="545" y="411"/>
                      </a:lnTo>
                      <a:lnTo>
                        <a:pt x="545" y="412"/>
                      </a:lnTo>
                      <a:lnTo>
                        <a:pt x="545" y="414"/>
                      </a:lnTo>
                      <a:lnTo>
                        <a:pt x="545" y="416"/>
                      </a:lnTo>
                      <a:lnTo>
                        <a:pt x="544" y="416"/>
                      </a:lnTo>
                      <a:lnTo>
                        <a:pt x="544" y="417"/>
                      </a:lnTo>
                      <a:lnTo>
                        <a:pt x="542" y="417"/>
                      </a:lnTo>
                      <a:lnTo>
                        <a:pt x="542" y="419"/>
                      </a:lnTo>
                      <a:lnTo>
                        <a:pt x="542" y="420"/>
                      </a:lnTo>
                      <a:lnTo>
                        <a:pt x="540" y="419"/>
                      </a:lnTo>
                      <a:lnTo>
                        <a:pt x="540" y="420"/>
                      </a:lnTo>
                      <a:lnTo>
                        <a:pt x="539" y="420"/>
                      </a:lnTo>
                      <a:lnTo>
                        <a:pt x="537" y="420"/>
                      </a:lnTo>
                      <a:lnTo>
                        <a:pt x="535" y="424"/>
                      </a:lnTo>
                      <a:lnTo>
                        <a:pt x="537" y="424"/>
                      </a:lnTo>
                      <a:lnTo>
                        <a:pt x="537" y="425"/>
                      </a:lnTo>
                      <a:lnTo>
                        <a:pt x="537" y="427"/>
                      </a:lnTo>
                      <a:lnTo>
                        <a:pt x="537" y="429"/>
                      </a:lnTo>
                      <a:lnTo>
                        <a:pt x="537" y="430"/>
                      </a:lnTo>
                      <a:lnTo>
                        <a:pt x="537" y="432"/>
                      </a:lnTo>
                      <a:lnTo>
                        <a:pt x="539" y="432"/>
                      </a:lnTo>
                      <a:lnTo>
                        <a:pt x="537" y="434"/>
                      </a:lnTo>
                      <a:lnTo>
                        <a:pt x="535" y="434"/>
                      </a:lnTo>
                      <a:lnTo>
                        <a:pt x="535" y="435"/>
                      </a:lnTo>
                      <a:lnTo>
                        <a:pt x="535" y="437"/>
                      </a:lnTo>
                      <a:lnTo>
                        <a:pt x="535" y="439"/>
                      </a:lnTo>
                      <a:lnTo>
                        <a:pt x="537" y="439"/>
                      </a:lnTo>
                      <a:lnTo>
                        <a:pt x="537" y="440"/>
                      </a:lnTo>
                      <a:lnTo>
                        <a:pt x="535" y="442"/>
                      </a:lnTo>
                      <a:lnTo>
                        <a:pt x="537" y="442"/>
                      </a:lnTo>
                      <a:lnTo>
                        <a:pt x="537" y="443"/>
                      </a:lnTo>
                      <a:lnTo>
                        <a:pt x="537" y="445"/>
                      </a:lnTo>
                      <a:lnTo>
                        <a:pt x="539" y="445"/>
                      </a:lnTo>
                      <a:lnTo>
                        <a:pt x="537" y="445"/>
                      </a:lnTo>
                      <a:lnTo>
                        <a:pt x="537" y="447"/>
                      </a:lnTo>
                      <a:lnTo>
                        <a:pt x="535" y="448"/>
                      </a:lnTo>
                      <a:lnTo>
                        <a:pt x="537" y="450"/>
                      </a:lnTo>
                      <a:lnTo>
                        <a:pt x="537" y="452"/>
                      </a:lnTo>
                      <a:lnTo>
                        <a:pt x="537" y="453"/>
                      </a:lnTo>
                      <a:lnTo>
                        <a:pt x="537" y="455"/>
                      </a:lnTo>
                      <a:lnTo>
                        <a:pt x="539" y="455"/>
                      </a:lnTo>
                      <a:lnTo>
                        <a:pt x="540" y="457"/>
                      </a:lnTo>
                      <a:lnTo>
                        <a:pt x="540" y="458"/>
                      </a:lnTo>
                      <a:lnTo>
                        <a:pt x="540" y="460"/>
                      </a:lnTo>
                      <a:lnTo>
                        <a:pt x="539" y="460"/>
                      </a:lnTo>
                      <a:lnTo>
                        <a:pt x="539" y="461"/>
                      </a:lnTo>
                      <a:lnTo>
                        <a:pt x="539" y="463"/>
                      </a:lnTo>
                      <a:lnTo>
                        <a:pt x="540" y="466"/>
                      </a:lnTo>
                      <a:lnTo>
                        <a:pt x="542" y="468"/>
                      </a:lnTo>
                      <a:lnTo>
                        <a:pt x="544" y="468"/>
                      </a:lnTo>
                      <a:lnTo>
                        <a:pt x="545" y="468"/>
                      </a:lnTo>
                      <a:lnTo>
                        <a:pt x="547" y="468"/>
                      </a:lnTo>
                      <a:lnTo>
                        <a:pt x="547" y="470"/>
                      </a:lnTo>
                      <a:lnTo>
                        <a:pt x="547" y="471"/>
                      </a:lnTo>
                      <a:lnTo>
                        <a:pt x="547" y="473"/>
                      </a:lnTo>
                      <a:lnTo>
                        <a:pt x="549" y="473"/>
                      </a:lnTo>
                      <a:lnTo>
                        <a:pt x="550" y="475"/>
                      </a:lnTo>
                      <a:lnTo>
                        <a:pt x="552" y="475"/>
                      </a:lnTo>
                      <a:lnTo>
                        <a:pt x="552" y="476"/>
                      </a:lnTo>
                      <a:lnTo>
                        <a:pt x="555" y="478"/>
                      </a:lnTo>
                      <a:lnTo>
                        <a:pt x="557" y="478"/>
                      </a:lnTo>
                      <a:lnTo>
                        <a:pt x="557" y="480"/>
                      </a:lnTo>
                      <a:lnTo>
                        <a:pt x="559" y="480"/>
                      </a:lnTo>
                      <a:lnTo>
                        <a:pt x="559" y="481"/>
                      </a:lnTo>
                      <a:lnTo>
                        <a:pt x="559" y="483"/>
                      </a:lnTo>
                      <a:lnTo>
                        <a:pt x="559" y="484"/>
                      </a:lnTo>
                      <a:lnTo>
                        <a:pt x="559" y="486"/>
                      </a:lnTo>
                      <a:lnTo>
                        <a:pt x="559" y="488"/>
                      </a:lnTo>
                      <a:lnTo>
                        <a:pt x="560" y="488"/>
                      </a:lnTo>
                      <a:lnTo>
                        <a:pt x="560" y="489"/>
                      </a:lnTo>
                      <a:lnTo>
                        <a:pt x="559" y="489"/>
                      </a:lnTo>
                      <a:lnTo>
                        <a:pt x="559" y="491"/>
                      </a:lnTo>
                      <a:lnTo>
                        <a:pt x="559" y="493"/>
                      </a:lnTo>
                      <a:lnTo>
                        <a:pt x="557" y="494"/>
                      </a:lnTo>
                      <a:lnTo>
                        <a:pt x="557" y="496"/>
                      </a:lnTo>
                      <a:lnTo>
                        <a:pt x="557" y="499"/>
                      </a:lnTo>
                      <a:lnTo>
                        <a:pt x="557" y="501"/>
                      </a:lnTo>
                      <a:lnTo>
                        <a:pt x="557" y="503"/>
                      </a:lnTo>
                      <a:lnTo>
                        <a:pt x="555" y="503"/>
                      </a:lnTo>
                      <a:lnTo>
                        <a:pt x="555" y="504"/>
                      </a:lnTo>
                      <a:lnTo>
                        <a:pt x="557" y="504"/>
                      </a:lnTo>
                      <a:lnTo>
                        <a:pt x="557" y="506"/>
                      </a:lnTo>
                      <a:lnTo>
                        <a:pt x="555" y="506"/>
                      </a:lnTo>
                      <a:lnTo>
                        <a:pt x="555" y="507"/>
                      </a:lnTo>
                      <a:lnTo>
                        <a:pt x="555" y="509"/>
                      </a:lnTo>
                      <a:lnTo>
                        <a:pt x="555" y="511"/>
                      </a:lnTo>
                      <a:lnTo>
                        <a:pt x="554" y="512"/>
                      </a:lnTo>
                      <a:lnTo>
                        <a:pt x="554" y="514"/>
                      </a:lnTo>
                      <a:lnTo>
                        <a:pt x="554" y="516"/>
                      </a:lnTo>
                      <a:lnTo>
                        <a:pt x="552" y="516"/>
                      </a:lnTo>
                      <a:lnTo>
                        <a:pt x="554" y="517"/>
                      </a:lnTo>
                      <a:lnTo>
                        <a:pt x="552" y="519"/>
                      </a:lnTo>
                      <a:lnTo>
                        <a:pt x="552" y="521"/>
                      </a:lnTo>
                      <a:lnTo>
                        <a:pt x="550" y="521"/>
                      </a:lnTo>
                      <a:lnTo>
                        <a:pt x="550" y="522"/>
                      </a:lnTo>
                      <a:lnTo>
                        <a:pt x="549" y="522"/>
                      </a:lnTo>
                      <a:lnTo>
                        <a:pt x="547" y="524"/>
                      </a:lnTo>
                      <a:lnTo>
                        <a:pt x="547" y="526"/>
                      </a:lnTo>
                      <a:lnTo>
                        <a:pt x="545" y="526"/>
                      </a:lnTo>
                      <a:lnTo>
                        <a:pt x="545" y="527"/>
                      </a:lnTo>
                      <a:lnTo>
                        <a:pt x="544" y="527"/>
                      </a:lnTo>
                      <a:lnTo>
                        <a:pt x="542" y="527"/>
                      </a:lnTo>
                      <a:lnTo>
                        <a:pt x="540" y="527"/>
                      </a:lnTo>
                      <a:lnTo>
                        <a:pt x="539" y="526"/>
                      </a:lnTo>
                      <a:lnTo>
                        <a:pt x="537" y="526"/>
                      </a:lnTo>
                      <a:lnTo>
                        <a:pt x="537" y="527"/>
                      </a:lnTo>
                      <a:lnTo>
                        <a:pt x="535" y="527"/>
                      </a:lnTo>
                      <a:lnTo>
                        <a:pt x="535" y="529"/>
                      </a:lnTo>
                      <a:lnTo>
                        <a:pt x="533" y="529"/>
                      </a:lnTo>
                      <a:lnTo>
                        <a:pt x="532" y="529"/>
                      </a:lnTo>
                      <a:lnTo>
                        <a:pt x="530" y="529"/>
                      </a:lnTo>
                      <a:lnTo>
                        <a:pt x="528" y="529"/>
                      </a:lnTo>
                      <a:lnTo>
                        <a:pt x="528" y="527"/>
                      </a:lnTo>
                      <a:lnTo>
                        <a:pt x="525" y="527"/>
                      </a:lnTo>
                      <a:lnTo>
                        <a:pt x="522" y="527"/>
                      </a:lnTo>
                      <a:lnTo>
                        <a:pt x="522" y="529"/>
                      </a:lnTo>
                      <a:lnTo>
                        <a:pt x="520" y="529"/>
                      </a:lnTo>
                      <a:lnTo>
                        <a:pt x="520" y="530"/>
                      </a:lnTo>
                      <a:lnTo>
                        <a:pt x="518" y="530"/>
                      </a:lnTo>
                      <a:lnTo>
                        <a:pt x="517" y="530"/>
                      </a:lnTo>
                      <a:lnTo>
                        <a:pt x="515" y="530"/>
                      </a:lnTo>
                      <a:lnTo>
                        <a:pt x="513" y="530"/>
                      </a:lnTo>
                      <a:lnTo>
                        <a:pt x="512" y="530"/>
                      </a:lnTo>
                      <a:lnTo>
                        <a:pt x="512" y="532"/>
                      </a:lnTo>
                      <a:lnTo>
                        <a:pt x="510" y="532"/>
                      </a:lnTo>
                      <a:lnTo>
                        <a:pt x="508" y="532"/>
                      </a:lnTo>
                      <a:lnTo>
                        <a:pt x="508" y="534"/>
                      </a:lnTo>
                      <a:lnTo>
                        <a:pt x="506" y="534"/>
                      </a:lnTo>
                      <a:lnTo>
                        <a:pt x="506" y="535"/>
                      </a:lnTo>
                      <a:lnTo>
                        <a:pt x="505" y="535"/>
                      </a:lnTo>
                      <a:lnTo>
                        <a:pt x="503" y="535"/>
                      </a:lnTo>
                      <a:lnTo>
                        <a:pt x="503" y="534"/>
                      </a:lnTo>
                      <a:lnTo>
                        <a:pt x="503" y="535"/>
                      </a:lnTo>
                      <a:lnTo>
                        <a:pt x="501" y="535"/>
                      </a:lnTo>
                      <a:lnTo>
                        <a:pt x="500" y="535"/>
                      </a:lnTo>
                      <a:lnTo>
                        <a:pt x="500" y="534"/>
                      </a:lnTo>
                      <a:lnTo>
                        <a:pt x="498" y="532"/>
                      </a:lnTo>
                      <a:lnTo>
                        <a:pt x="498" y="530"/>
                      </a:lnTo>
                      <a:lnTo>
                        <a:pt x="496" y="530"/>
                      </a:lnTo>
                      <a:lnTo>
                        <a:pt x="495" y="530"/>
                      </a:lnTo>
                      <a:lnTo>
                        <a:pt x="493" y="530"/>
                      </a:lnTo>
                      <a:lnTo>
                        <a:pt x="493" y="529"/>
                      </a:lnTo>
                      <a:lnTo>
                        <a:pt x="493" y="527"/>
                      </a:lnTo>
                      <a:lnTo>
                        <a:pt x="491" y="526"/>
                      </a:lnTo>
                      <a:lnTo>
                        <a:pt x="490" y="527"/>
                      </a:lnTo>
                      <a:lnTo>
                        <a:pt x="490" y="526"/>
                      </a:lnTo>
                      <a:lnTo>
                        <a:pt x="486" y="526"/>
                      </a:lnTo>
                      <a:lnTo>
                        <a:pt x="484" y="524"/>
                      </a:lnTo>
                      <a:lnTo>
                        <a:pt x="481" y="522"/>
                      </a:lnTo>
                      <a:lnTo>
                        <a:pt x="479" y="522"/>
                      </a:lnTo>
                      <a:lnTo>
                        <a:pt x="478" y="522"/>
                      </a:lnTo>
                      <a:lnTo>
                        <a:pt x="474" y="522"/>
                      </a:lnTo>
                      <a:lnTo>
                        <a:pt x="473" y="522"/>
                      </a:lnTo>
                      <a:lnTo>
                        <a:pt x="471" y="522"/>
                      </a:lnTo>
                      <a:lnTo>
                        <a:pt x="471" y="524"/>
                      </a:lnTo>
                      <a:lnTo>
                        <a:pt x="471" y="522"/>
                      </a:lnTo>
                      <a:lnTo>
                        <a:pt x="469" y="522"/>
                      </a:lnTo>
                      <a:lnTo>
                        <a:pt x="469" y="524"/>
                      </a:lnTo>
                      <a:lnTo>
                        <a:pt x="468" y="524"/>
                      </a:lnTo>
                      <a:lnTo>
                        <a:pt x="466" y="524"/>
                      </a:lnTo>
                      <a:lnTo>
                        <a:pt x="464" y="526"/>
                      </a:lnTo>
                      <a:lnTo>
                        <a:pt x="463" y="527"/>
                      </a:lnTo>
                      <a:lnTo>
                        <a:pt x="461" y="527"/>
                      </a:lnTo>
                      <a:lnTo>
                        <a:pt x="459" y="527"/>
                      </a:lnTo>
                      <a:lnTo>
                        <a:pt x="457" y="527"/>
                      </a:lnTo>
                      <a:lnTo>
                        <a:pt x="457" y="529"/>
                      </a:lnTo>
                      <a:lnTo>
                        <a:pt x="456" y="529"/>
                      </a:lnTo>
                      <a:lnTo>
                        <a:pt x="456" y="527"/>
                      </a:lnTo>
                      <a:lnTo>
                        <a:pt x="454" y="526"/>
                      </a:lnTo>
                      <a:lnTo>
                        <a:pt x="452" y="526"/>
                      </a:lnTo>
                      <a:lnTo>
                        <a:pt x="452" y="527"/>
                      </a:lnTo>
                      <a:lnTo>
                        <a:pt x="451" y="527"/>
                      </a:lnTo>
                      <a:lnTo>
                        <a:pt x="449" y="527"/>
                      </a:lnTo>
                      <a:lnTo>
                        <a:pt x="447" y="527"/>
                      </a:lnTo>
                      <a:lnTo>
                        <a:pt x="446" y="527"/>
                      </a:lnTo>
                      <a:lnTo>
                        <a:pt x="446" y="529"/>
                      </a:lnTo>
                      <a:lnTo>
                        <a:pt x="444" y="529"/>
                      </a:lnTo>
                      <a:lnTo>
                        <a:pt x="444" y="530"/>
                      </a:lnTo>
                      <a:lnTo>
                        <a:pt x="444" y="532"/>
                      </a:lnTo>
                      <a:lnTo>
                        <a:pt x="444" y="534"/>
                      </a:lnTo>
                      <a:lnTo>
                        <a:pt x="442" y="532"/>
                      </a:lnTo>
                      <a:lnTo>
                        <a:pt x="442" y="530"/>
                      </a:lnTo>
                      <a:lnTo>
                        <a:pt x="441" y="530"/>
                      </a:lnTo>
                      <a:lnTo>
                        <a:pt x="439" y="530"/>
                      </a:lnTo>
                      <a:lnTo>
                        <a:pt x="439" y="532"/>
                      </a:lnTo>
                      <a:lnTo>
                        <a:pt x="439" y="534"/>
                      </a:lnTo>
                      <a:lnTo>
                        <a:pt x="441" y="534"/>
                      </a:lnTo>
                      <a:lnTo>
                        <a:pt x="441" y="535"/>
                      </a:lnTo>
                      <a:lnTo>
                        <a:pt x="441" y="537"/>
                      </a:lnTo>
                      <a:lnTo>
                        <a:pt x="439" y="535"/>
                      </a:lnTo>
                      <a:lnTo>
                        <a:pt x="439" y="534"/>
                      </a:lnTo>
                      <a:lnTo>
                        <a:pt x="437" y="535"/>
                      </a:lnTo>
                      <a:lnTo>
                        <a:pt x="437" y="537"/>
                      </a:lnTo>
                      <a:lnTo>
                        <a:pt x="436" y="537"/>
                      </a:lnTo>
                      <a:lnTo>
                        <a:pt x="434" y="537"/>
                      </a:lnTo>
                      <a:lnTo>
                        <a:pt x="434" y="539"/>
                      </a:lnTo>
                      <a:lnTo>
                        <a:pt x="434" y="540"/>
                      </a:lnTo>
                      <a:lnTo>
                        <a:pt x="434" y="542"/>
                      </a:lnTo>
                      <a:lnTo>
                        <a:pt x="432" y="542"/>
                      </a:lnTo>
                      <a:lnTo>
                        <a:pt x="430" y="544"/>
                      </a:lnTo>
                      <a:lnTo>
                        <a:pt x="430" y="545"/>
                      </a:lnTo>
                      <a:lnTo>
                        <a:pt x="430" y="547"/>
                      </a:lnTo>
                      <a:lnTo>
                        <a:pt x="429" y="549"/>
                      </a:lnTo>
                      <a:lnTo>
                        <a:pt x="427" y="549"/>
                      </a:lnTo>
                      <a:lnTo>
                        <a:pt x="427" y="550"/>
                      </a:lnTo>
                      <a:lnTo>
                        <a:pt x="427" y="549"/>
                      </a:lnTo>
                      <a:lnTo>
                        <a:pt x="425" y="549"/>
                      </a:lnTo>
                      <a:lnTo>
                        <a:pt x="425" y="550"/>
                      </a:lnTo>
                      <a:lnTo>
                        <a:pt x="425" y="552"/>
                      </a:lnTo>
                      <a:lnTo>
                        <a:pt x="424" y="552"/>
                      </a:lnTo>
                      <a:lnTo>
                        <a:pt x="424" y="553"/>
                      </a:lnTo>
                      <a:lnTo>
                        <a:pt x="424" y="555"/>
                      </a:lnTo>
                      <a:lnTo>
                        <a:pt x="424" y="557"/>
                      </a:lnTo>
                      <a:lnTo>
                        <a:pt x="422" y="558"/>
                      </a:lnTo>
                      <a:lnTo>
                        <a:pt x="422" y="560"/>
                      </a:lnTo>
                      <a:lnTo>
                        <a:pt x="420" y="560"/>
                      </a:lnTo>
                      <a:lnTo>
                        <a:pt x="419" y="560"/>
                      </a:lnTo>
                      <a:lnTo>
                        <a:pt x="417" y="560"/>
                      </a:lnTo>
                      <a:lnTo>
                        <a:pt x="415" y="560"/>
                      </a:lnTo>
                      <a:lnTo>
                        <a:pt x="414" y="560"/>
                      </a:lnTo>
                      <a:lnTo>
                        <a:pt x="412" y="562"/>
                      </a:lnTo>
                      <a:lnTo>
                        <a:pt x="410" y="562"/>
                      </a:lnTo>
                      <a:lnTo>
                        <a:pt x="410" y="563"/>
                      </a:lnTo>
                      <a:lnTo>
                        <a:pt x="408" y="563"/>
                      </a:lnTo>
                      <a:lnTo>
                        <a:pt x="407" y="565"/>
                      </a:lnTo>
                      <a:lnTo>
                        <a:pt x="405" y="565"/>
                      </a:lnTo>
                      <a:lnTo>
                        <a:pt x="403" y="567"/>
                      </a:lnTo>
                      <a:lnTo>
                        <a:pt x="402" y="567"/>
                      </a:lnTo>
                      <a:lnTo>
                        <a:pt x="402" y="568"/>
                      </a:lnTo>
                      <a:lnTo>
                        <a:pt x="400" y="570"/>
                      </a:lnTo>
                      <a:lnTo>
                        <a:pt x="397" y="570"/>
                      </a:lnTo>
                      <a:lnTo>
                        <a:pt x="397" y="572"/>
                      </a:lnTo>
                      <a:lnTo>
                        <a:pt x="395" y="573"/>
                      </a:lnTo>
                      <a:lnTo>
                        <a:pt x="393" y="573"/>
                      </a:lnTo>
                      <a:lnTo>
                        <a:pt x="393" y="575"/>
                      </a:lnTo>
                      <a:lnTo>
                        <a:pt x="393" y="576"/>
                      </a:lnTo>
                      <a:lnTo>
                        <a:pt x="392" y="576"/>
                      </a:lnTo>
                      <a:lnTo>
                        <a:pt x="392" y="578"/>
                      </a:lnTo>
                      <a:lnTo>
                        <a:pt x="390" y="578"/>
                      </a:lnTo>
                      <a:lnTo>
                        <a:pt x="390" y="580"/>
                      </a:lnTo>
                      <a:lnTo>
                        <a:pt x="388" y="580"/>
                      </a:lnTo>
                      <a:lnTo>
                        <a:pt x="387" y="581"/>
                      </a:lnTo>
                      <a:lnTo>
                        <a:pt x="387" y="583"/>
                      </a:lnTo>
                      <a:lnTo>
                        <a:pt x="385" y="583"/>
                      </a:lnTo>
                      <a:lnTo>
                        <a:pt x="385" y="585"/>
                      </a:lnTo>
                      <a:lnTo>
                        <a:pt x="385" y="586"/>
                      </a:lnTo>
                      <a:lnTo>
                        <a:pt x="383" y="586"/>
                      </a:lnTo>
                      <a:lnTo>
                        <a:pt x="381" y="586"/>
                      </a:lnTo>
                      <a:lnTo>
                        <a:pt x="380" y="585"/>
                      </a:lnTo>
                      <a:lnTo>
                        <a:pt x="380" y="583"/>
                      </a:lnTo>
                      <a:lnTo>
                        <a:pt x="378" y="583"/>
                      </a:lnTo>
                      <a:lnTo>
                        <a:pt x="376" y="585"/>
                      </a:lnTo>
                      <a:lnTo>
                        <a:pt x="376" y="583"/>
                      </a:lnTo>
                      <a:lnTo>
                        <a:pt x="375" y="583"/>
                      </a:lnTo>
                      <a:lnTo>
                        <a:pt x="373" y="583"/>
                      </a:lnTo>
                      <a:lnTo>
                        <a:pt x="371" y="585"/>
                      </a:lnTo>
                      <a:lnTo>
                        <a:pt x="370" y="585"/>
                      </a:lnTo>
                      <a:lnTo>
                        <a:pt x="370" y="586"/>
                      </a:lnTo>
                      <a:lnTo>
                        <a:pt x="370" y="588"/>
                      </a:lnTo>
                      <a:lnTo>
                        <a:pt x="368" y="588"/>
                      </a:lnTo>
                      <a:lnTo>
                        <a:pt x="366" y="590"/>
                      </a:lnTo>
                      <a:lnTo>
                        <a:pt x="366" y="588"/>
                      </a:lnTo>
                      <a:lnTo>
                        <a:pt x="365" y="588"/>
                      </a:lnTo>
                      <a:lnTo>
                        <a:pt x="365" y="590"/>
                      </a:lnTo>
                      <a:lnTo>
                        <a:pt x="363" y="591"/>
                      </a:lnTo>
                      <a:lnTo>
                        <a:pt x="363" y="593"/>
                      </a:lnTo>
                      <a:lnTo>
                        <a:pt x="361" y="593"/>
                      </a:lnTo>
                      <a:lnTo>
                        <a:pt x="360" y="593"/>
                      </a:lnTo>
                      <a:lnTo>
                        <a:pt x="358" y="595"/>
                      </a:lnTo>
                      <a:lnTo>
                        <a:pt x="356" y="595"/>
                      </a:lnTo>
                      <a:lnTo>
                        <a:pt x="354" y="595"/>
                      </a:lnTo>
                      <a:lnTo>
                        <a:pt x="353" y="596"/>
                      </a:lnTo>
                      <a:lnTo>
                        <a:pt x="351" y="596"/>
                      </a:lnTo>
                      <a:lnTo>
                        <a:pt x="349" y="596"/>
                      </a:lnTo>
                      <a:lnTo>
                        <a:pt x="348" y="596"/>
                      </a:lnTo>
                      <a:lnTo>
                        <a:pt x="346" y="596"/>
                      </a:lnTo>
                      <a:lnTo>
                        <a:pt x="344" y="596"/>
                      </a:lnTo>
                      <a:lnTo>
                        <a:pt x="343" y="596"/>
                      </a:lnTo>
                      <a:lnTo>
                        <a:pt x="343" y="598"/>
                      </a:lnTo>
                      <a:lnTo>
                        <a:pt x="341" y="598"/>
                      </a:lnTo>
                      <a:lnTo>
                        <a:pt x="341" y="596"/>
                      </a:lnTo>
                      <a:lnTo>
                        <a:pt x="341" y="598"/>
                      </a:lnTo>
                      <a:lnTo>
                        <a:pt x="339" y="598"/>
                      </a:lnTo>
                      <a:lnTo>
                        <a:pt x="338" y="599"/>
                      </a:lnTo>
                      <a:lnTo>
                        <a:pt x="336" y="599"/>
                      </a:lnTo>
                      <a:lnTo>
                        <a:pt x="336" y="601"/>
                      </a:lnTo>
                      <a:lnTo>
                        <a:pt x="334" y="601"/>
                      </a:lnTo>
                      <a:lnTo>
                        <a:pt x="334" y="599"/>
                      </a:lnTo>
                      <a:lnTo>
                        <a:pt x="332" y="601"/>
                      </a:lnTo>
                      <a:lnTo>
                        <a:pt x="331" y="601"/>
                      </a:lnTo>
                      <a:lnTo>
                        <a:pt x="331" y="603"/>
                      </a:lnTo>
                      <a:lnTo>
                        <a:pt x="329" y="601"/>
                      </a:lnTo>
                      <a:lnTo>
                        <a:pt x="327" y="601"/>
                      </a:lnTo>
                      <a:lnTo>
                        <a:pt x="327" y="603"/>
                      </a:lnTo>
                      <a:lnTo>
                        <a:pt x="326" y="603"/>
                      </a:lnTo>
                      <a:lnTo>
                        <a:pt x="324" y="603"/>
                      </a:lnTo>
                      <a:lnTo>
                        <a:pt x="322" y="603"/>
                      </a:lnTo>
                      <a:lnTo>
                        <a:pt x="322" y="604"/>
                      </a:lnTo>
                      <a:lnTo>
                        <a:pt x="321" y="606"/>
                      </a:lnTo>
                      <a:lnTo>
                        <a:pt x="319" y="606"/>
                      </a:lnTo>
                      <a:lnTo>
                        <a:pt x="317" y="606"/>
                      </a:lnTo>
                      <a:lnTo>
                        <a:pt x="317" y="608"/>
                      </a:lnTo>
                      <a:lnTo>
                        <a:pt x="317" y="609"/>
                      </a:lnTo>
                      <a:lnTo>
                        <a:pt x="316" y="609"/>
                      </a:lnTo>
                      <a:lnTo>
                        <a:pt x="316" y="611"/>
                      </a:lnTo>
                      <a:lnTo>
                        <a:pt x="314" y="611"/>
                      </a:lnTo>
                      <a:lnTo>
                        <a:pt x="314" y="613"/>
                      </a:lnTo>
                      <a:lnTo>
                        <a:pt x="314" y="611"/>
                      </a:lnTo>
                      <a:lnTo>
                        <a:pt x="312" y="611"/>
                      </a:lnTo>
                      <a:lnTo>
                        <a:pt x="312" y="613"/>
                      </a:lnTo>
                      <a:lnTo>
                        <a:pt x="311" y="613"/>
                      </a:lnTo>
                      <a:lnTo>
                        <a:pt x="311" y="614"/>
                      </a:lnTo>
                      <a:lnTo>
                        <a:pt x="311" y="616"/>
                      </a:lnTo>
                      <a:lnTo>
                        <a:pt x="309" y="616"/>
                      </a:lnTo>
                      <a:lnTo>
                        <a:pt x="309" y="618"/>
                      </a:lnTo>
                      <a:lnTo>
                        <a:pt x="311" y="618"/>
                      </a:lnTo>
                      <a:lnTo>
                        <a:pt x="309" y="619"/>
                      </a:lnTo>
                      <a:lnTo>
                        <a:pt x="309" y="618"/>
                      </a:lnTo>
                      <a:lnTo>
                        <a:pt x="309" y="619"/>
                      </a:lnTo>
                      <a:lnTo>
                        <a:pt x="309" y="621"/>
                      </a:lnTo>
                      <a:lnTo>
                        <a:pt x="309" y="622"/>
                      </a:lnTo>
                      <a:lnTo>
                        <a:pt x="307" y="622"/>
                      </a:lnTo>
                      <a:lnTo>
                        <a:pt x="309" y="622"/>
                      </a:lnTo>
                      <a:lnTo>
                        <a:pt x="307" y="622"/>
                      </a:lnTo>
                      <a:lnTo>
                        <a:pt x="307" y="624"/>
                      </a:lnTo>
                      <a:lnTo>
                        <a:pt x="307" y="626"/>
                      </a:lnTo>
                      <a:lnTo>
                        <a:pt x="305" y="627"/>
                      </a:lnTo>
                      <a:lnTo>
                        <a:pt x="305" y="629"/>
                      </a:lnTo>
                      <a:lnTo>
                        <a:pt x="304" y="629"/>
                      </a:lnTo>
                      <a:lnTo>
                        <a:pt x="305" y="631"/>
                      </a:lnTo>
                      <a:lnTo>
                        <a:pt x="304" y="632"/>
                      </a:lnTo>
                      <a:lnTo>
                        <a:pt x="305" y="632"/>
                      </a:lnTo>
                      <a:lnTo>
                        <a:pt x="305" y="634"/>
                      </a:lnTo>
                      <a:lnTo>
                        <a:pt x="304" y="634"/>
                      </a:lnTo>
                      <a:lnTo>
                        <a:pt x="304" y="636"/>
                      </a:lnTo>
                      <a:lnTo>
                        <a:pt x="304" y="637"/>
                      </a:lnTo>
                      <a:lnTo>
                        <a:pt x="302" y="637"/>
                      </a:lnTo>
                      <a:lnTo>
                        <a:pt x="304" y="637"/>
                      </a:lnTo>
                      <a:lnTo>
                        <a:pt x="304" y="639"/>
                      </a:lnTo>
                      <a:lnTo>
                        <a:pt x="302" y="639"/>
                      </a:lnTo>
                      <a:lnTo>
                        <a:pt x="302" y="641"/>
                      </a:lnTo>
                      <a:lnTo>
                        <a:pt x="302" y="642"/>
                      </a:lnTo>
                      <a:lnTo>
                        <a:pt x="304" y="642"/>
                      </a:lnTo>
                      <a:lnTo>
                        <a:pt x="304" y="644"/>
                      </a:lnTo>
                      <a:lnTo>
                        <a:pt x="302" y="644"/>
                      </a:lnTo>
                      <a:lnTo>
                        <a:pt x="302" y="642"/>
                      </a:lnTo>
                      <a:lnTo>
                        <a:pt x="302" y="644"/>
                      </a:lnTo>
                      <a:lnTo>
                        <a:pt x="300" y="644"/>
                      </a:lnTo>
                      <a:lnTo>
                        <a:pt x="302" y="645"/>
                      </a:lnTo>
                      <a:lnTo>
                        <a:pt x="302" y="647"/>
                      </a:lnTo>
                      <a:lnTo>
                        <a:pt x="302" y="649"/>
                      </a:lnTo>
                      <a:lnTo>
                        <a:pt x="300" y="649"/>
                      </a:lnTo>
                      <a:lnTo>
                        <a:pt x="300" y="650"/>
                      </a:lnTo>
                      <a:lnTo>
                        <a:pt x="300" y="652"/>
                      </a:lnTo>
                      <a:lnTo>
                        <a:pt x="300" y="654"/>
                      </a:lnTo>
                      <a:lnTo>
                        <a:pt x="300" y="655"/>
                      </a:lnTo>
                      <a:lnTo>
                        <a:pt x="300" y="657"/>
                      </a:lnTo>
                      <a:lnTo>
                        <a:pt x="299" y="657"/>
                      </a:lnTo>
                      <a:lnTo>
                        <a:pt x="299" y="659"/>
                      </a:lnTo>
                      <a:lnTo>
                        <a:pt x="297" y="659"/>
                      </a:lnTo>
                      <a:lnTo>
                        <a:pt x="297" y="660"/>
                      </a:lnTo>
                      <a:lnTo>
                        <a:pt x="297" y="662"/>
                      </a:lnTo>
                      <a:lnTo>
                        <a:pt x="295" y="662"/>
                      </a:lnTo>
                      <a:lnTo>
                        <a:pt x="294" y="663"/>
                      </a:lnTo>
                      <a:lnTo>
                        <a:pt x="294" y="665"/>
                      </a:lnTo>
                      <a:lnTo>
                        <a:pt x="292" y="665"/>
                      </a:lnTo>
                      <a:lnTo>
                        <a:pt x="292" y="667"/>
                      </a:lnTo>
                      <a:lnTo>
                        <a:pt x="292" y="668"/>
                      </a:lnTo>
                      <a:lnTo>
                        <a:pt x="292" y="670"/>
                      </a:lnTo>
                      <a:lnTo>
                        <a:pt x="290" y="670"/>
                      </a:lnTo>
                      <a:lnTo>
                        <a:pt x="290" y="672"/>
                      </a:lnTo>
                      <a:lnTo>
                        <a:pt x="290" y="673"/>
                      </a:lnTo>
                      <a:lnTo>
                        <a:pt x="290" y="675"/>
                      </a:lnTo>
                      <a:lnTo>
                        <a:pt x="289" y="675"/>
                      </a:lnTo>
                      <a:lnTo>
                        <a:pt x="289" y="677"/>
                      </a:lnTo>
                      <a:lnTo>
                        <a:pt x="287" y="677"/>
                      </a:lnTo>
                      <a:lnTo>
                        <a:pt x="287" y="678"/>
                      </a:lnTo>
                      <a:lnTo>
                        <a:pt x="287" y="680"/>
                      </a:lnTo>
                      <a:lnTo>
                        <a:pt x="285" y="680"/>
                      </a:lnTo>
                      <a:lnTo>
                        <a:pt x="287" y="682"/>
                      </a:lnTo>
                      <a:lnTo>
                        <a:pt x="285" y="682"/>
                      </a:lnTo>
                      <a:lnTo>
                        <a:pt x="285" y="683"/>
                      </a:lnTo>
                      <a:lnTo>
                        <a:pt x="285" y="685"/>
                      </a:lnTo>
                      <a:lnTo>
                        <a:pt x="285" y="686"/>
                      </a:lnTo>
                      <a:lnTo>
                        <a:pt x="285" y="688"/>
                      </a:lnTo>
                      <a:lnTo>
                        <a:pt x="284" y="690"/>
                      </a:lnTo>
                      <a:lnTo>
                        <a:pt x="284" y="691"/>
                      </a:lnTo>
                      <a:lnTo>
                        <a:pt x="284" y="693"/>
                      </a:lnTo>
                      <a:lnTo>
                        <a:pt x="282" y="695"/>
                      </a:lnTo>
                      <a:lnTo>
                        <a:pt x="280" y="695"/>
                      </a:lnTo>
                      <a:lnTo>
                        <a:pt x="280" y="696"/>
                      </a:lnTo>
                      <a:lnTo>
                        <a:pt x="282" y="696"/>
                      </a:lnTo>
                      <a:lnTo>
                        <a:pt x="282" y="698"/>
                      </a:lnTo>
                      <a:lnTo>
                        <a:pt x="284" y="698"/>
                      </a:lnTo>
                      <a:lnTo>
                        <a:pt x="282" y="698"/>
                      </a:lnTo>
                      <a:lnTo>
                        <a:pt x="280" y="698"/>
                      </a:lnTo>
                      <a:lnTo>
                        <a:pt x="280" y="700"/>
                      </a:lnTo>
                      <a:lnTo>
                        <a:pt x="278" y="700"/>
                      </a:lnTo>
                      <a:lnTo>
                        <a:pt x="277" y="701"/>
                      </a:lnTo>
                      <a:lnTo>
                        <a:pt x="278" y="701"/>
                      </a:lnTo>
                      <a:lnTo>
                        <a:pt x="277" y="701"/>
                      </a:lnTo>
                      <a:lnTo>
                        <a:pt x="278" y="701"/>
                      </a:lnTo>
                      <a:lnTo>
                        <a:pt x="278" y="703"/>
                      </a:lnTo>
                      <a:lnTo>
                        <a:pt x="277" y="703"/>
                      </a:lnTo>
                      <a:lnTo>
                        <a:pt x="277" y="705"/>
                      </a:lnTo>
                      <a:lnTo>
                        <a:pt x="277" y="706"/>
                      </a:lnTo>
                      <a:lnTo>
                        <a:pt x="275" y="708"/>
                      </a:lnTo>
                      <a:lnTo>
                        <a:pt x="273" y="708"/>
                      </a:lnTo>
                      <a:lnTo>
                        <a:pt x="273" y="709"/>
                      </a:lnTo>
                      <a:lnTo>
                        <a:pt x="272" y="709"/>
                      </a:lnTo>
                      <a:lnTo>
                        <a:pt x="272" y="711"/>
                      </a:lnTo>
                      <a:lnTo>
                        <a:pt x="270" y="711"/>
                      </a:lnTo>
                      <a:lnTo>
                        <a:pt x="272" y="711"/>
                      </a:lnTo>
                      <a:lnTo>
                        <a:pt x="270" y="713"/>
                      </a:lnTo>
                      <a:lnTo>
                        <a:pt x="270" y="711"/>
                      </a:lnTo>
                      <a:lnTo>
                        <a:pt x="268" y="713"/>
                      </a:lnTo>
                      <a:lnTo>
                        <a:pt x="267" y="713"/>
                      </a:lnTo>
                      <a:lnTo>
                        <a:pt x="267" y="714"/>
                      </a:lnTo>
                      <a:lnTo>
                        <a:pt x="265" y="716"/>
                      </a:lnTo>
                      <a:lnTo>
                        <a:pt x="265" y="718"/>
                      </a:lnTo>
                      <a:lnTo>
                        <a:pt x="265" y="719"/>
                      </a:lnTo>
                      <a:lnTo>
                        <a:pt x="263" y="721"/>
                      </a:lnTo>
                      <a:lnTo>
                        <a:pt x="263" y="723"/>
                      </a:lnTo>
                      <a:lnTo>
                        <a:pt x="262" y="723"/>
                      </a:lnTo>
                      <a:lnTo>
                        <a:pt x="262" y="724"/>
                      </a:lnTo>
                      <a:lnTo>
                        <a:pt x="262" y="726"/>
                      </a:lnTo>
                      <a:lnTo>
                        <a:pt x="262" y="728"/>
                      </a:lnTo>
                      <a:lnTo>
                        <a:pt x="262" y="729"/>
                      </a:lnTo>
                      <a:lnTo>
                        <a:pt x="262" y="731"/>
                      </a:lnTo>
                      <a:lnTo>
                        <a:pt x="263" y="732"/>
                      </a:lnTo>
                      <a:lnTo>
                        <a:pt x="265" y="734"/>
                      </a:lnTo>
                      <a:lnTo>
                        <a:pt x="267" y="736"/>
                      </a:lnTo>
                      <a:lnTo>
                        <a:pt x="265" y="736"/>
                      </a:lnTo>
                      <a:lnTo>
                        <a:pt x="267" y="737"/>
                      </a:lnTo>
                      <a:lnTo>
                        <a:pt x="267" y="739"/>
                      </a:lnTo>
                      <a:lnTo>
                        <a:pt x="267" y="741"/>
                      </a:lnTo>
                      <a:lnTo>
                        <a:pt x="267" y="742"/>
                      </a:lnTo>
                      <a:lnTo>
                        <a:pt x="268" y="742"/>
                      </a:lnTo>
                      <a:lnTo>
                        <a:pt x="268" y="744"/>
                      </a:lnTo>
                      <a:lnTo>
                        <a:pt x="267" y="744"/>
                      </a:lnTo>
                      <a:lnTo>
                        <a:pt x="268" y="744"/>
                      </a:lnTo>
                      <a:lnTo>
                        <a:pt x="267" y="746"/>
                      </a:lnTo>
                      <a:lnTo>
                        <a:pt x="267" y="747"/>
                      </a:lnTo>
                      <a:lnTo>
                        <a:pt x="268" y="747"/>
                      </a:lnTo>
                      <a:lnTo>
                        <a:pt x="268" y="749"/>
                      </a:lnTo>
                      <a:lnTo>
                        <a:pt x="270" y="751"/>
                      </a:lnTo>
                      <a:lnTo>
                        <a:pt x="270" y="752"/>
                      </a:lnTo>
                      <a:lnTo>
                        <a:pt x="270" y="754"/>
                      </a:lnTo>
                      <a:lnTo>
                        <a:pt x="270" y="755"/>
                      </a:lnTo>
                      <a:lnTo>
                        <a:pt x="270" y="757"/>
                      </a:lnTo>
                      <a:lnTo>
                        <a:pt x="270" y="759"/>
                      </a:lnTo>
                      <a:lnTo>
                        <a:pt x="270" y="760"/>
                      </a:lnTo>
                      <a:lnTo>
                        <a:pt x="270" y="762"/>
                      </a:lnTo>
                      <a:lnTo>
                        <a:pt x="270" y="764"/>
                      </a:lnTo>
                      <a:lnTo>
                        <a:pt x="270" y="765"/>
                      </a:lnTo>
                      <a:lnTo>
                        <a:pt x="272" y="765"/>
                      </a:lnTo>
                      <a:lnTo>
                        <a:pt x="273" y="767"/>
                      </a:lnTo>
                      <a:lnTo>
                        <a:pt x="275" y="767"/>
                      </a:lnTo>
                      <a:lnTo>
                        <a:pt x="277" y="767"/>
                      </a:lnTo>
                      <a:lnTo>
                        <a:pt x="277" y="769"/>
                      </a:lnTo>
                      <a:lnTo>
                        <a:pt x="278" y="770"/>
                      </a:lnTo>
                      <a:lnTo>
                        <a:pt x="278" y="772"/>
                      </a:lnTo>
                      <a:lnTo>
                        <a:pt x="280" y="772"/>
                      </a:lnTo>
                      <a:lnTo>
                        <a:pt x="278" y="774"/>
                      </a:lnTo>
                      <a:lnTo>
                        <a:pt x="280" y="774"/>
                      </a:lnTo>
                      <a:lnTo>
                        <a:pt x="280" y="775"/>
                      </a:lnTo>
                      <a:lnTo>
                        <a:pt x="280" y="777"/>
                      </a:lnTo>
                      <a:lnTo>
                        <a:pt x="282" y="778"/>
                      </a:lnTo>
                      <a:lnTo>
                        <a:pt x="280" y="778"/>
                      </a:lnTo>
                      <a:lnTo>
                        <a:pt x="280" y="780"/>
                      </a:lnTo>
                      <a:lnTo>
                        <a:pt x="278" y="780"/>
                      </a:lnTo>
                      <a:lnTo>
                        <a:pt x="278" y="782"/>
                      </a:lnTo>
                      <a:lnTo>
                        <a:pt x="277" y="782"/>
                      </a:lnTo>
                      <a:lnTo>
                        <a:pt x="277" y="783"/>
                      </a:lnTo>
                      <a:lnTo>
                        <a:pt x="277" y="785"/>
                      </a:lnTo>
                      <a:lnTo>
                        <a:pt x="275" y="785"/>
                      </a:lnTo>
                      <a:lnTo>
                        <a:pt x="275" y="787"/>
                      </a:lnTo>
                      <a:lnTo>
                        <a:pt x="275" y="788"/>
                      </a:lnTo>
                      <a:lnTo>
                        <a:pt x="277" y="788"/>
                      </a:lnTo>
                      <a:lnTo>
                        <a:pt x="275" y="788"/>
                      </a:lnTo>
                      <a:lnTo>
                        <a:pt x="277" y="790"/>
                      </a:lnTo>
                      <a:lnTo>
                        <a:pt x="277" y="792"/>
                      </a:lnTo>
                      <a:lnTo>
                        <a:pt x="277" y="793"/>
                      </a:lnTo>
                      <a:lnTo>
                        <a:pt x="277" y="795"/>
                      </a:lnTo>
                      <a:lnTo>
                        <a:pt x="277" y="797"/>
                      </a:lnTo>
                      <a:lnTo>
                        <a:pt x="277" y="798"/>
                      </a:lnTo>
                      <a:lnTo>
                        <a:pt x="275" y="798"/>
                      </a:lnTo>
                      <a:lnTo>
                        <a:pt x="277" y="798"/>
                      </a:lnTo>
                      <a:lnTo>
                        <a:pt x="277" y="800"/>
                      </a:lnTo>
                      <a:lnTo>
                        <a:pt x="277" y="801"/>
                      </a:lnTo>
                      <a:lnTo>
                        <a:pt x="277" y="803"/>
                      </a:lnTo>
                      <a:lnTo>
                        <a:pt x="277" y="805"/>
                      </a:lnTo>
                      <a:lnTo>
                        <a:pt x="277" y="806"/>
                      </a:lnTo>
                      <a:lnTo>
                        <a:pt x="275" y="808"/>
                      </a:lnTo>
                      <a:lnTo>
                        <a:pt x="275" y="810"/>
                      </a:lnTo>
                      <a:lnTo>
                        <a:pt x="275" y="811"/>
                      </a:lnTo>
                      <a:lnTo>
                        <a:pt x="273" y="811"/>
                      </a:lnTo>
                      <a:lnTo>
                        <a:pt x="273" y="813"/>
                      </a:lnTo>
                      <a:lnTo>
                        <a:pt x="273" y="815"/>
                      </a:lnTo>
                      <a:lnTo>
                        <a:pt x="273" y="818"/>
                      </a:lnTo>
                      <a:lnTo>
                        <a:pt x="275" y="818"/>
                      </a:lnTo>
                      <a:lnTo>
                        <a:pt x="275" y="820"/>
                      </a:lnTo>
                      <a:lnTo>
                        <a:pt x="275" y="821"/>
                      </a:lnTo>
                      <a:lnTo>
                        <a:pt x="275" y="823"/>
                      </a:lnTo>
                      <a:lnTo>
                        <a:pt x="275" y="824"/>
                      </a:lnTo>
                      <a:lnTo>
                        <a:pt x="273" y="824"/>
                      </a:lnTo>
                      <a:lnTo>
                        <a:pt x="275" y="824"/>
                      </a:lnTo>
                      <a:lnTo>
                        <a:pt x="273" y="826"/>
                      </a:lnTo>
                      <a:lnTo>
                        <a:pt x="275" y="826"/>
                      </a:lnTo>
                      <a:lnTo>
                        <a:pt x="273" y="826"/>
                      </a:lnTo>
                      <a:lnTo>
                        <a:pt x="273" y="828"/>
                      </a:lnTo>
                      <a:lnTo>
                        <a:pt x="273" y="829"/>
                      </a:lnTo>
                      <a:lnTo>
                        <a:pt x="272" y="829"/>
                      </a:lnTo>
                      <a:lnTo>
                        <a:pt x="272" y="831"/>
                      </a:lnTo>
                      <a:lnTo>
                        <a:pt x="272" y="833"/>
                      </a:lnTo>
                      <a:lnTo>
                        <a:pt x="273" y="833"/>
                      </a:lnTo>
                      <a:lnTo>
                        <a:pt x="273" y="834"/>
                      </a:lnTo>
                      <a:lnTo>
                        <a:pt x="272" y="834"/>
                      </a:lnTo>
                      <a:lnTo>
                        <a:pt x="273" y="834"/>
                      </a:lnTo>
                      <a:lnTo>
                        <a:pt x="272" y="834"/>
                      </a:lnTo>
                      <a:lnTo>
                        <a:pt x="272" y="836"/>
                      </a:lnTo>
                      <a:lnTo>
                        <a:pt x="272" y="838"/>
                      </a:lnTo>
                      <a:lnTo>
                        <a:pt x="272" y="836"/>
                      </a:lnTo>
                      <a:lnTo>
                        <a:pt x="272" y="838"/>
                      </a:lnTo>
                      <a:lnTo>
                        <a:pt x="270" y="838"/>
                      </a:lnTo>
                      <a:lnTo>
                        <a:pt x="270" y="839"/>
                      </a:lnTo>
                      <a:lnTo>
                        <a:pt x="270" y="841"/>
                      </a:lnTo>
                      <a:lnTo>
                        <a:pt x="268" y="841"/>
                      </a:lnTo>
                      <a:lnTo>
                        <a:pt x="268" y="843"/>
                      </a:lnTo>
                      <a:lnTo>
                        <a:pt x="267" y="843"/>
                      </a:lnTo>
                      <a:lnTo>
                        <a:pt x="268" y="843"/>
                      </a:lnTo>
                      <a:lnTo>
                        <a:pt x="267" y="843"/>
                      </a:lnTo>
                      <a:lnTo>
                        <a:pt x="267" y="844"/>
                      </a:lnTo>
                      <a:lnTo>
                        <a:pt x="265" y="844"/>
                      </a:lnTo>
                      <a:lnTo>
                        <a:pt x="267" y="844"/>
                      </a:lnTo>
                      <a:lnTo>
                        <a:pt x="265" y="844"/>
                      </a:lnTo>
                      <a:lnTo>
                        <a:pt x="265" y="846"/>
                      </a:lnTo>
                      <a:lnTo>
                        <a:pt x="265" y="847"/>
                      </a:lnTo>
                      <a:lnTo>
                        <a:pt x="265" y="849"/>
                      </a:lnTo>
                      <a:lnTo>
                        <a:pt x="263" y="849"/>
                      </a:lnTo>
                      <a:lnTo>
                        <a:pt x="262" y="849"/>
                      </a:lnTo>
                      <a:lnTo>
                        <a:pt x="260" y="849"/>
                      </a:lnTo>
                      <a:lnTo>
                        <a:pt x="260" y="851"/>
                      </a:lnTo>
                      <a:lnTo>
                        <a:pt x="260" y="849"/>
                      </a:lnTo>
                      <a:lnTo>
                        <a:pt x="258" y="847"/>
                      </a:lnTo>
                      <a:lnTo>
                        <a:pt x="258" y="846"/>
                      </a:lnTo>
                      <a:lnTo>
                        <a:pt x="258" y="844"/>
                      </a:lnTo>
                      <a:lnTo>
                        <a:pt x="258" y="843"/>
                      </a:lnTo>
                      <a:lnTo>
                        <a:pt x="256" y="843"/>
                      </a:lnTo>
                      <a:lnTo>
                        <a:pt x="255" y="843"/>
                      </a:lnTo>
                      <a:lnTo>
                        <a:pt x="253" y="844"/>
                      </a:lnTo>
                      <a:lnTo>
                        <a:pt x="251" y="846"/>
                      </a:lnTo>
                      <a:lnTo>
                        <a:pt x="250" y="846"/>
                      </a:lnTo>
                      <a:lnTo>
                        <a:pt x="248" y="846"/>
                      </a:lnTo>
                      <a:lnTo>
                        <a:pt x="246" y="846"/>
                      </a:lnTo>
                      <a:lnTo>
                        <a:pt x="245" y="846"/>
                      </a:lnTo>
                      <a:lnTo>
                        <a:pt x="243" y="844"/>
                      </a:lnTo>
                      <a:lnTo>
                        <a:pt x="241" y="843"/>
                      </a:lnTo>
                      <a:lnTo>
                        <a:pt x="241" y="841"/>
                      </a:lnTo>
                      <a:lnTo>
                        <a:pt x="238" y="843"/>
                      </a:lnTo>
                      <a:lnTo>
                        <a:pt x="235" y="843"/>
                      </a:lnTo>
                      <a:lnTo>
                        <a:pt x="233" y="843"/>
                      </a:lnTo>
                      <a:lnTo>
                        <a:pt x="231" y="843"/>
                      </a:lnTo>
                      <a:lnTo>
                        <a:pt x="229" y="843"/>
                      </a:lnTo>
                      <a:lnTo>
                        <a:pt x="228" y="843"/>
                      </a:lnTo>
                      <a:lnTo>
                        <a:pt x="226" y="843"/>
                      </a:lnTo>
                      <a:lnTo>
                        <a:pt x="226" y="841"/>
                      </a:lnTo>
                      <a:lnTo>
                        <a:pt x="224" y="839"/>
                      </a:lnTo>
                      <a:lnTo>
                        <a:pt x="224" y="838"/>
                      </a:lnTo>
                      <a:lnTo>
                        <a:pt x="223" y="836"/>
                      </a:lnTo>
                      <a:lnTo>
                        <a:pt x="221" y="834"/>
                      </a:lnTo>
                      <a:lnTo>
                        <a:pt x="219" y="833"/>
                      </a:lnTo>
                      <a:lnTo>
                        <a:pt x="218" y="833"/>
                      </a:lnTo>
                      <a:lnTo>
                        <a:pt x="218" y="831"/>
                      </a:lnTo>
                      <a:lnTo>
                        <a:pt x="218" y="829"/>
                      </a:lnTo>
                      <a:lnTo>
                        <a:pt x="218" y="828"/>
                      </a:lnTo>
                      <a:lnTo>
                        <a:pt x="216" y="828"/>
                      </a:lnTo>
                      <a:lnTo>
                        <a:pt x="216" y="826"/>
                      </a:lnTo>
                      <a:lnTo>
                        <a:pt x="216" y="824"/>
                      </a:lnTo>
                      <a:lnTo>
                        <a:pt x="216" y="823"/>
                      </a:lnTo>
                      <a:lnTo>
                        <a:pt x="216" y="821"/>
                      </a:lnTo>
                      <a:lnTo>
                        <a:pt x="216" y="820"/>
                      </a:lnTo>
                      <a:lnTo>
                        <a:pt x="216" y="818"/>
                      </a:lnTo>
                      <a:lnTo>
                        <a:pt x="216" y="816"/>
                      </a:lnTo>
                      <a:lnTo>
                        <a:pt x="216" y="815"/>
                      </a:lnTo>
                      <a:lnTo>
                        <a:pt x="214" y="815"/>
                      </a:lnTo>
                      <a:lnTo>
                        <a:pt x="214" y="813"/>
                      </a:lnTo>
                      <a:lnTo>
                        <a:pt x="214" y="811"/>
                      </a:lnTo>
                      <a:lnTo>
                        <a:pt x="213" y="811"/>
                      </a:lnTo>
                      <a:lnTo>
                        <a:pt x="214" y="811"/>
                      </a:lnTo>
                      <a:lnTo>
                        <a:pt x="214" y="810"/>
                      </a:lnTo>
                      <a:lnTo>
                        <a:pt x="213" y="810"/>
                      </a:lnTo>
                      <a:lnTo>
                        <a:pt x="213" y="808"/>
                      </a:lnTo>
                      <a:lnTo>
                        <a:pt x="211" y="808"/>
                      </a:lnTo>
                      <a:lnTo>
                        <a:pt x="209" y="808"/>
                      </a:lnTo>
                      <a:lnTo>
                        <a:pt x="207" y="808"/>
                      </a:lnTo>
                      <a:lnTo>
                        <a:pt x="206" y="808"/>
                      </a:lnTo>
                      <a:lnTo>
                        <a:pt x="206" y="806"/>
                      </a:lnTo>
                      <a:lnTo>
                        <a:pt x="206" y="805"/>
                      </a:lnTo>
                      <a:lnTo>
                        <a:pt x="206" y="803"/>
                      </a:lnTo>
                      <a:lnTo>
                        <a:pt x="204" y="803"/>
                      </a:lnTo>
                      <a:lnTo>
                        <a:pt x="202" y="803"/>
                      </a:lnTo>
                      <a:lnTo>
                        <a:pt x="201" y="803"/>
                      </a:lnTo>
                      <a:lnTo>
                        <a:pt x="199" y="803"/>
                      </a:lnTo>
                      <a:lnTo>
                        <a:pt x="199" y="801"/>
                      </a:lnTo>
                      <a:lnTo>
                        <a:pt x="199" y="800"/>
                      </a:lnTo>
                      <a:lnTo>
                        <a:pt x="199" y="798"/>
                      </a:lnTo>
                      <a:lnTo>
                        <a:pt x="201" y="797"/>
                      </a:lnTo>
                      <a:lnTo>
                        <a:pt x="202" y="795"/>
                      </a:lnTo>
                      <a:lnTo>
                        <a:pt x="202" y="793"/>
                      </a:lnTo>
                      <a:lnTo>
                        <a:pt x="202" y="792"/>
                      </a:lnTo>
                      <a:lnTo>
                        <a:pt x="204" y="790"/>
                      </a:lnTo>
                      <a:lnTo>
                        <a:pt x="204" y="788"/>
                      </a:lnTo>
                      <a:lnTo>
                        <a:pt x="206" y="788"/>
                      </a:lnTo>
                      <a:lnTo>
                        <a:pt x="206" y="787"/>
                      </a:lnTo>
                      <a:lnTo>
                        <a:pt x="207" y="787"/>
                      </a:lnTo>
                      <a:lnTo>
                        <a:pt x="209" y="785"/>
                      </a:lnTo>
                      <a:lnTo>
                        <a:pt x="207" y="783"/>
                      </a:lnTo>
                      <a:lnTo>
                        <a:pt x="206" y="782"/>
                      </a:lnTo>
                      <a:lnTo>
                        <a:pt x="206" y="780"/>
                      </a:lnTo>
                      <a:lnTo>
                        <a:pt x="207" y="780"/>
                      </a:lnTo>
                      <a:lnTo>
                        <a:pt x="207" y="778"/>
                      </a:lnTo>
                      <a:lnTo>
                        <a:pt x="206" y="778"/>
                      </a:lnTo>
                      <a:lnTo>
                        <a:pt x="204" y="778"/>
                      </a:lnTo>
                      <a:lnTo>
                        <a:pt x="204" y="777"/>
                      </a:lnTo>
                      <a:lnTo>
                        <a:pt x="202" y="777"/>
                      </a:lnTo>
                      <a:lnTo>
                        <a:pt x="201" y="777"/>
                      </a:lnTo>
                      <a:lnTo>
                        <a:pt x="199" y="777"/>
                      </a:lnTo>
                      <a:lnTo>
                        <a:pt x="199" y="775"/>
                      </a:lnTo>
                      <a:lnTo>
                        <a:pt x="199" y="774"/>
                      </a:lnTo>
                      <a:lnTo>
                        <a:pt x="199" y="772"/>
                      </a:lnTo>
                      <a:lnTo>
                        <a:pt x="201" y="772"/>
                      </a:lnTo>
                      <a:lnTo>
                        <a:pt x="199" y="772"/>
                      </a:lnTo>
                      <a:lnTo>
                        <a:pt x="197" y="770"/>
                      </a:lnTo>
                      <a:lnTo>
                        <a:pt x="196" y="770"/>
                      </a:lnTo>
                      <a:lnTo>
                        <a:pt x="194" y="770"/>
                      </a:lnTo>
                      <a:lnTo>
                        <a:pt x="192" y="770"/>
                      </a:lnTo>
                      <a:lnTo>
                        <a:pt x="191" y="770"/>
                      </a:lnTo>
                      <a:lnTo>
                        <a:pt x="191" y="772"/>
                      </a:lnTo>
                      <a:lnTo>
                        <a:pt x="189" y="772"/>
                      </a:lnTo>
                      <a:lnTo>
                        <a:pt x="187" y="772"/>
                      </a:lnTo>
                      <a:lnTo>
                        <a:pt x="187" y="770"/>
                      </a:lnTo>
                      <a:lnTo>
                        <a:pt x="189" y="770"/>
                      </a:lnTo>
                      <a:lnTo>
                        <a:pt x="189" y="769"/>
                      </a:lnTo>
                      <a:lnTo>
                        <a:pt x="187" y="767"/>
                      </a:lnTo>
                      <a:lnTo>
                        <a:pt x="186" y="767"/>
                      </a:lnTo>
                      <a:lnTo>
                        <a:pt x="186" y="765"/>
                      </a:lnTo>
                      <a:lnTo>
                        <a:pt x="184" y="764"/>
                      </a:lnTo>
                      <a:lnTo>
                        <a:pt x="184" y="762"/>
                      </a:lnTo>
                      <a:lnTo>
                        <a:pt x="182" y="762"/>
                      </a:lnTo>
                      <a:lnTo>
                        <a:pt x="180" y="762"/>
                      </a:lnTo>
                      <a:lnTo>
                        <a:pt x="180" y="760"/>
                      </a:lnTo>
                      <a:lnTo>
                        <a:pt x="182" y="760"/>
                      </a:lnTo>
                      <a:lnTo>
                        <a:pt x="182" y="759"/>
                      </a:lnTo>
                      <a:lnTo>
                        <a:pt x="182" y="757"/>
                      </a:lnTo>
                      <a:lnTo>
                        <a:pt x="182" y="755"/>
                      </a:lnTo>
                      <a:lnTo>
                        <a:pt x="182" y="754"/>
                      </a:lnTo>
                      <a:lnTo>
                        <a:pt x="182" y="752"/>
                      </a:lnTo>
                      <a:lnTo>
                        <a:pt x="180" y="752"/>
                      </a:lnTo>
                      <a:lnTo>
                        <a:pt x="180" y="751"/>
                      </a:lnTo>
                      <a:lnTo>
                        <a:pt x="180" y="749"/>
                      </a:lnTo>
                      <a:lnTo>
                        <a:pt x="180" y="747"/>
                      </a:lnTo>
                      <a:lnTo>
                        <a:pt x="179" y="747"/>
                      </a:lnTo>
                      <a:lnTo>
                        <a:pt x="177" y="747"/>
                      </a:lnTo>
                      <a:lnTo>
                        <a:pt x="175" y="747"/>
                      </a:lnTo>
                      <a:lnTo>
                        <a:pt x="175" y="746"/>
                      </a:lnTo>
                      <a:lnTo>
                        <a:pt x="174" y="746"/>
                      </a:lnTo>
                      <a:lnTo>
                        <a:pt x="172" y="746"/>
                      </a:lnTo>
                      <a:lnTo>
                        <a:pt x="172" y="744"/>
                      </a:lnTo>
                      <a:lnTo>
                        <a:pt x="172" y="742"/>
                      </a:lnTo>
                      <a:lnTo>
                        <a:pt x="174" y="742"/>
                      </a:lnTo>
                      <a:lnTo>
                        <a:pt x="172" y="742"/>
                      </a:lnTo>
                      <a:lnTo>
                        <a:pt x="174" y="742"/>
                      </a:lnTo>
                      <a:lnTo>
                        <a:pt x="174" y="741"/>
                      </a:lnTo>
                      <a:lnTo>
                        <a:pt x="172" y="739"/>
                      </a:lnTo>
                      <a:lnTo>
                        <a:pt x="172" y="741"/>
                      </a:lnTo>
                      <a:lnTo>
                        <a:pt x="172" y="739"/>
                      </a:lnTo>
                      <a:lnTo>
                        <a:pt x="170" y="739"/>
                      </a:lnTo>
                      <a:lnTo>
                        <a:pt x="170" y="741"/>
                      </a:lnTo>
                      <a:lnTo>
                        <a:pt x="169" y="741"/>
                      </a:lnTo>
                      <a:lnTo>
                        <a:pt x="167" y="741"/>
                      </a:lnTo>
                      <a:lnTo>
                        <a:pt x="165" y="741"/>
                      </a:lnTo>
                      <a:lnTo>
                        <a:pt x="164" y="741"/>
                      </a:lnTo>
                      <a:lnTo>
                        <a:pt x="165" y="741"/>
                      </a:lnTo>
                      <a:lnTo>
                        <a:pt x="164" y="741"/>
                      </a:lnTo>
                      <a:lnTo>
                        <a:pt x="162" y="741"/>
                      </a:lnTo>
                      <a:lnTo>
                        <a:pt x="160" y="741"/>
                      </a:lnTo>
                      <a:lnTo>
                        <a:pt x="160" y="739"/>
                      </a:lnTo>
                      <a:lnTo>
                        <a:pt x="159" y="739"/>
                      </a:lnTo>
                      <a:lnTo>
                        <a:pt x="160" y="739"/>
                      </a:lnTo>
                      <a:lnTo>
                        <a:pt x="160" y="737"/>
                      </a:lnTo>
                      <a:lnTo>
                        <a:pt x="160" y="739"/>
                      </a:lnTo>
                      <a:lnTo>
                        <a:pt x="160" y="737"/>
                      </a:lnTo>
                      <a:lnTo>
                        <a:pt x="162" y="737"/>
                      </a:lnTo>
                      <a:lnTo>
                        <a:pt x="162" y="736"/>
                      </a:lnTo>
                      <a:lnTo>
                        <a:pt x="160" y="736"/>
                      </a:lnTo>
                      <a:lnTo>
                        <a:pt x="159" y="736"/>
                      </a:lnTo>
                      <a:lnTo>
                        <a:pt x="159" y="734"/>
                      </a:lnTo>
                      <a:lnTo>
                        <a:pt x="160" y="734"/>
                      </a:lnTo>
                      <a:lnTo>
                        <a:pt x="162" y="734"/>
                      </a:lnTo>
                      <a:lnTo>
                        <a:pt x="162" y="732"/>
                      </a:lnTo>
                      <a:lnTo>
                        <a:pt x="164" y="732"/>
                      </a:lnTo>
                      <a:lnTo>
                        <a:pt x="162" y="732"/>
                      </a:lnTo>
                      <a:lnTo>
                        <a:pt x="164" y="732"/>
                      </a:lnTo>
                      <a:lnTo>
                        <a:pt x="164" y="731"/>
                      </a:lnTo>
                      <a:lnTo>
                        <a:pt x="165" y="731"/>
                      </a:lnTo>
                      <a:lnTo>
                        <a:pt x="164" y="731"/>
                      </a:lnTo>
                      <a:lnTo>
                        <a:pt x="164" y="729"/>
                      </a:lnTo>
                      <a:lnTo>
                        <a:pt x="165" y="729"/>
                      </a:lnTo>
                      <a:lnTo>
                        <a:pt x="164" y="729"/>
                      </a:lnTo>
                      <a:lnTo>
                        <a:pt x="165" y="729"/>
                      </a:lnTo>
                      <a:lnTo>
                        <a:pt x="167" y="729"/>
                      </a:lnTo>
                      <a:lnTo>
                        <a:pt x="165" y="728"/>
                      </a:lnTo>
                      <a:lnTo>
                        <a:pt x="167" y="728"/>
                      </a:lnTo>
                      <a:lnTo>
                        <a:pt x="167" y="726"/>
                      </a:lnTo>
                      <a:lnTo>
                        <a:pt x="169" y="726"/>
                      </a:lnTo>
                      <a:lnTo>
                        <a:pt x="169" y="724"/>
                      </a:lnTo>
                      <a:lnTo>
                        <a:pt x="167" y="724"/>
                      </a:lnTo>
                      <a:lnTo>
                        <a:pt x="167" y="723"/>
                      </a:lnTo>
                      <a:lnTo>
                        <a:pt x="167" y="721"/>
                      </a:lnTo>
                      <a:lnTo>
                        <a:pt x="169" y="721"/>
                      </a:lnTo>
                      <a:lnTo>
                        <a:pt x="170" y="723"/>
                      </a:lnTo>
                      <a:lnTo>
                        <a:pt x="170" y="721"/>
                      </a:lnTo>
                      <a:lnTo>
                        <a:pt x="172" y="721"/>
                      </a:lnTo>
                      <a:lnTo>
                        <a:pt x="174" y="721"/>
                      </a:lnTo>
                      <a:lnTo>
                        <a:pt x="174" y="719"/>
                      </a:lnTo>
                      <a:lnTo>
                        <a:pt x="174" y="718"/>
                      </a:lnTo>
                      <a:lnTo>
                        <a:pt x="175" y="718"/>
                      </a:lnTo>
                      <a:lnTo>
                        <a:pt x="175" y="716"/>
                      </a:lnTo>
                      <a:lnTo>
                        <a:pt x="175" y="714"/>
                      </a:lnTo>
                      <a:lnTo>
                        <a:pt x="174" y="714"/>
                      </a:lnTo>
                      <a:lnTo>
                        <a:pt x="175" y="714"/>
                      </a:lnTo>
                      <a:lnTo>
                        <a:pt x="175" y="713"/>
                      </a:lnTo>
                      <a:lnTo>
                        <a:pt x="174" y="713"/>
                      </a:lnTo>
                      <a:lnTo>
                        <a:pt x="174" y="711"/>
                      </a:lnTo>
                      <a:lnTo>
                        <a:pt x="172" y="709"/>
                      </a:lnTo>
                      <a:lnTo>
                        <a:pt x="172" y="708"/>
                      </a:lnTo>
                      <a:lnTo>
                        <a:pt x="174" y="709"/>
                      </a:lnTo>
                      <a:lnTo>
                        <a:pt x="174" y="708"/>
                      </a:lnTo>
                      <a:lnTo>
                        <a:pt x="174" y="706"/>
                      </a:lnTo>
                      <a:lnTo>
                        <a:pt x="175" y="706"/>
                      </a:lnTo>
                      <a:lnTo>
                        <a:pt x="175" y="705"/>
                      </a:lnTo>
                      <a:lnTo>
                        <a:pt x="177" y="705"/>
                      </a:lnTo>
                      <a:lnTo>
                        <a:pt x="175" y="705"/>
                      </a:lnTo>
                      <a:lnTo>
                        <a:pt x="175" y="703"/>
                      </a:lnTo>
                      <a:lnTo>
                        <a:pt x="175" y="701"/>
                      </a:lnTo>
                      <a:lnTo>
                        <a:pt x="174" y="701"/>
                      </a:lnTo>
                      <a:lnTo>
                        <a:pt x="174" y="700"/>
                      </a:lnTo>
                      <a:lnTo>
                        <a:pt x="174" y="698"/>
                      </a:lnTo>
                      <a:lnTo>
                        <a:pt x="174" y="700"/>
                      </a:lnTo>
                      <a:lnTo>
                        <a:pt x="174" y="698"/>
                      </a:lnTo>
                      <a:lnTo>
                        <a:pt x="175" y="698"/>
                      </a:lnTo>
                      <a:lnTo>
                        <a:pt x="175" y="696"/>
                      </a:lnTo>
                      <a:lnTo>
                        <a:pt x="174" y="696"/>
                      </a:lnTo>
                      <a:lnTo>
                        <a:pt x="175" y="696"/>
                      </a:lnTo>
                      <a:lnTo>
                        <a:pt x="175" y="695"/>
                      </a:lnTo>
                      <a:lnTo>
                        <a:pt x="177" y="695"/>
                      </a:lnTo>
                      <a:lnTo>
                        <a:pt x="177" y="693"/>
                      </a:lnTo>
                      <a:lnTo>
                        <a:pt x="177" y="695"/>
                      </a:lnTo>
                      <a:lnTo>
                        <a:pt x="177" y="693"/>
                      </a:lnTo>
                      <a:lnTo>
                        <a:pt x="179" y="693"/>
                      </a:lnTo>
                      <a:lnTo>
                        <a:pt x="179" y="691"/>
                      </a:lnTo>
                      <a:lnTo>
                        <a:pt x="180" y="691"/>
                      </a:lnTo>
                      <a:lnTo>
                        <a:pt x="180" y="690"/>
                      </a:lnTo>
                      <a:lnTo>
                        <a:pt x="180" y="688"/>
                      </a:lnTo>
                      <a:lnTo>
                        <a:pt x="180" y="686"/>
                      </a:lnTo>
                      <a:lnTo>
                        <a:pt x="180" y="685"/>
                      </a:lnTo>
                      <a:lnTo>
                        <a:pt x="182" y="685"/>
                      </a:lnTo>
                      <a:lnTo>
                        <a:pt x="184" y="685"/>
                      </a:lnTo>
                      <a:lnTo>
                        <a:pt x="184" y="683"/>
                      </a:lnTo>
                      <a:lnTo>
                        <a:pt x="186" y="683"/>
                      </a:lnTo>
                      <a:lnTo>
                        <a:pt x="184" y="683"/>
                      </a:lnTo>
                      <a:lnTo>
                        <a:pt x="184" y="682"/>
                      </a:lnTo>
                      <a:lnTo>
                        <a:pt x="186" y="682"/>
                      </a:lnTo>
                      <a:lnTo>
                        <a:pt x="184" y="680"/>
                      </a:lnTo>
                      <a:lnTo>
                        <a:pt x="186" y="680"/>
                      </a:lnTo>
                      <a:lnTo>
                        <a:pt x="184" y="680"/>
                      </a:lnTo>
                      <a:lnTo>
                        <a:pt x="184" y="678"/>
                      </a:lnTo>
                      <a:lnTo>
                        <a:pt x="186" y="678"/>
                      </a:lnTo>
                      <a:lnTo>
                        <a:pt x="186" y="677"/>
                      </a:lnTo>
                      <a:lnTo>
                        <a:pt x="186" y="675"/>
                      </a:lnTo>
                      <a:lnTo>
                        <a:pt x="187" y="675"/>
                      </a:lnTo>
                      <a:lnTo>
                        <a:pt x="187" y="677"/>
                      </a:lnTo>
                      <a:lnTo>
                        <a:pt x="189" y="677"/>
                      </a:lnTo>
                      <a:lnTo>
                        <a:pt x="191" y="677"/>
                      </a:lnTo>
                      <a:lnTo>
                        <a:pt x="192" y="677"/>
                      </a:lnTo>
                      <a:lnTo>
                        <a:pt x="192" y="675"/>
                      </a:lnTo>
                      <a:lnTo>
                        <a:pt x="194" y="673"/>
                      </a:lnTo>
                      <a:lnTo>
                        <a:pt x="196" y="673"/>
                      </a:lnTo>
                      <a:lnTo>
                        <a:pt x="197" y="672"/>
                      </a:lnTo>
                      <a:lnTo>
                        <a:pt x="199" y="672"/>
                      </a:lnTo>
                      <a:lnTo>
                        <a:pt x="201" y="672"/>
                      </a:lnTo>
                      <a:lnTo>
                        <a:pt x="202" y="672"/>
                      </a:lnTo>
                      <a:lnTo>
                        <a:pt x="204" y="672"/>
                      </a:lnTo>
                      <a:lnTo>
                        <a:pt x="206" y="672"/>
                      </a:lnTo>
                      <a:lnTo>
                        <a:pt x="207" y="672"/>
                      </a:lnTo>
                      <a:lnTo>
                        <a:pt x="209" y="672"/>
                      </a:lnTo>
                      <a:lnTo>
                        <a:pt x="209" y="670"/>
                      </a:lnTo>
                      <a:lnTo>
                        <a:pt x="211" y="668"/>
                      </a:lnTo>
                      <a:lnTo>
                        <a:pt x="213" y="668"/>
                      </a:lnTo>
                      <a:lnTo>
                        <a:pt x="213" y="667"/>
                      </a:lnTo>
                      <a:lnTo>
                        <a:pt x="213" y="665"/>
                      </a:lnTo>
                      <a:lnTo>
                        <a:pt x="213" y="663"/>
                      </a:lnTo>
                      <a:lnTo>
                        <a:pt x="213" y="662"/>
                      </a:lnTo>
                      <a:lnTo>
                        <a:pt x="214" y="660"/>
                      </a:lnTo>
                      <a:lnTo>
                        <a:pt x="213" y="659"/>
                      </a:lnTo>
                      <a:lnTo>
                        <a:pt x="211" y="659"/>
                      </a:lnTo>
                      <a:lnTo>
                        <a:pt x="211" y="657"/>
                      </a:lnTo>
                      <a:lnTo>
                        <a:pt x="213" y="657"/>
                      </a:lnTo>
                      <a:lnTo>
                        <a:pt x="213" y="655"/>
                      </a:lnTo>
                      <a:lnTo>
                        <a:pt x="213" y="654"/>
                      </a:lnTo>
                      <a:lnTo>
                        <a:pt x="214" y="654"/>
                      </a:lnTo>
                      <a:lnTo>
                        <a:pt x="214" y="652"/>
                      </a:lnTo>
                      <a:lnTo>
                        <a:pt x="214" y="650"/>
                      </a:lnTo>
                      <a:lnTo>
                        <a:pt x="216" y="650"/>
                      </a:lnTo>
                      <a:lnTo>
                        <a:pt x="216" y="649"/>
                      </a:lnTo>
                      <a:lnTo>
                        <a:pt x="216" y="647"/>
                      </a:lnTo>
                      <a:lnTo>
                        <a:pt x="216" y="645"/>
                      </a:lnTo>
                      <a:lnTo>
                        <a:pt x="214" y="645"/>
                      </a:lnTo>
                      <a:lnTo>
                        <a:pt x="216" y="645"/>
                      </a:lnTo>
                      <a:lnTo>
                        <a:pt x="216" y="644"/>
                      </a:lnTo>
                      <a:lnTo>
                        <a:pt x="216" y="642"/>
                      </a:lnTo>
                      <a:lnTo>
                        <a:pt x="214" y="642"/>
                      </a:lnTo>
                      <a:lnTo>
                        <a:pt x="214" y="641"/>
                      </a:lnTo>
                      <a:lnTo>
                        <a:pt x="213" y="639"/>
                      </a:lnTo>
                      <a:lnTo>
                        <a:pt x="211" y="639"/>
                      </a:lnTo>
                      <a:lnTo>
                        <a:pt x="211" y="637"/>
                      </a:lnTo>
                      <a:lnTo>
                        <a:pt x="209" y="637"/>
                      </a:lnTo>
                      <a:lnTo>
                        <a:pt x="207" y="636"/>
                      </a:lnTo>
                      <a:lnTo>
                        <a:pt x="207" y="634"/>
                      </a:lnTo>
                      <a:lnTo>
                        <a:pt x="206" y="634"/>
                      </a:lnTo>
                      <a:lnTo>
                        <a:pt x="206" y="632"/>
                      </a:lnTo>
                      <a:lnTo>
                        <a:pt x="204" y="632"/>
                      </a:lnTo>
                      <a:lnTo>
                        <a:pt x="202" y="632"/>
                      </a:lnTo>
                      <a:lnTo>
                        <a:pt x="201" y="632"/>
                      </a:lnTo>
                      <a:lnTo>
                        <a:pt x="199" y="632"/>
                      </a:lnTo>
                      <a:lnTo>
                        <a:pt x="199" y="634"/>
                      </a:lnTo>
                      <a:lnTo>
                        <a:pt x="199" y="632"/>
                      </a:lnTo>
                      <a:lnTo>
                        <a:pt x="197" y="632"/>
                      </a:lnTo>
                      <a:lnTo>
                        <a:pt x="197" y="634"/>
                      </a:lnTo>
                      <a:lnTo>
                        <a:pt x="196" y="634"/>
                      </a:lnTo>
                      <a:lnTo>
                        <a:pt x="194" y="634"/>
                      </a:lnTo>
                      <a:lnTo>
                        <a:pt x="192" y="634"/>
                      </a:lnTo>
                      <a:lnTo>
                        <a:pt x="191" y="634"/>
                      </a:lnTo>
                      <a:lnTo>
                        <a:pt x="191" y="636"/>
                      </a:lnTo>
                      <a:lnTo>
                        <a:pt x="189" y="636"/>
                      </a:lnTo>
                      <a:lnTo>
                        <a:pt x="189" y="634"/>
                      </a:lnTo>
                      <a:lnTo>
                        <a:pt x="189" y="636"/>
                      </a:lnTo>
                      <a:lnTo>
                        <a:pt x="187" y="636"/>
                      </a:lnTo>
                      <a:lnTo>
                        <a:pt x="187" y="637"/>
                      </a:lnTo>
                      <a:lnTo>
                        <a:pt x="186" y="637"/>
                      </a:lnTo>
                      <a:lnTo>
                        <a:pt x="184" y="637"/>
                      </a:lnTo>
                      <a:lnTo>
                        <a:pt x="182" y="637"/>
                      </a:lnTo>
                      <a:lnTo>
                        <a:pt x="182" y="639"/>
                      </a:lnTo>
                      <a:lnTo>
                        <a:pt x="180" y="637"/>
                      </a:lnTo>
                      <a:lnTo>
                        <a:pt x="180" y="639"/>
                      </a:lnTo>
                      <a:lnTo>
                        <a:pt x="180" y="637"/>
                      </a:lnTo>
                      <a:lnTo>
                        <a:pt x="179" y="637"/>
                      </a:lnTo>
                      <a:lnTo>
                        <a:pt x="179" y="639"/>
                      </a:lnTo>
                      <a:lnTo>
                        <a:pt x="177" y="639"/>
                      </a:lnTo>
                      <a:lnTo>
                        <a:pt x="179" y="637"/>
                      </a:lnTo>
                      <a:lnTo>
                        <a:pt x="177" y="637"/>
                      </a:lnTo>
                      <a:lnTo>
                        <a:pt x="177" y="639"/>
                      </a:lnTo>
                      <a:lnTo>
                        <a:pt x="175" y="639"/>
                      </a:lnTo>
                      <a:lnTo>
                        <a:pt x="175" y="641"/>
                      </a:lnTo>
                      <a:lnTo>
                        <a:pt x="174" y="641"/>
                      </a:lnTo>
                      <a:lnTo>
                        <a:pt x="172" y="641"/>
                      </a:lnTo>
                      <a:lnTo>
                        <a:pt x="172" y="642"/>
                      </a:lnTo>
                      <a:lnTo>
                        <a:pt x="170" y="642"/>
                      </a:lnTo>
                      <a:lnTo>
                        <a:pt x="170" y="644"/>
                      </a:lnTo>
                      <a:lnTo>
                        <a:pt x="169" y="644"/>
                      </a:lnTo>
                      <a:lnTo>
                        <a:pt x="169" y="645"/>
                      </a:lnTo>
                      <a:lnTo>
                        <a:pt x="167" y="645"/>
                      </a:lnTo>
                      <a:lnTo>
                        <a:pt x="167" y="647"/>
                      </a:lnTo>
                      <a:lnTo>
                        <a:pt x="167" y="645"/>
                      </a:lnTo>
                      <a:lnTo>
                        <a:pt x="167" y="647"/>
                      </a:lnTo>
                      <a:lnTo>
                        <a:pt x="165" y="647"/>
                      </a:lnTo>
                      <a:lnTo>
                        <a:pt x="167" y="647"/>
                      </a:lnTo>
                      <a:lnTo>
                        <a:pt x="165" y="647"/>
                      </a:lnTo>
                      <a:lnTo>
                        <a:pt x="164" y="647"/>
                      </a:lnTo>
                      <a:lnTo>
                        <a:pt x="162" y="647"/>
                      </a:lnTo>
                      <a:lnTo>
                        <a:pt x="162" y="645"/>
                      </a:lnTo>
                      <a:lnTo>
                        <a:pt x="160" y="645"/>
                      </a:lnTo>
                      <a:lnTo>
                        <a:pt x="160" y="644"/>
                      </a:lnTo>
                      <a:lnTo>
                        <a:pt x="160" y="642"/>
                      </a:lnTo>
                      <a:lnTo>
                        <a:pt x="159" y="642"/>
                      </a:lnTo>
                      <a:lnTo>
                        <a:pt x="159" y="641"/>
                      </a:lnTo>
                      <a:lnTo>
                        <a:pt x="157" y="641"/>
                      </a:lnTo>
                      <a:lnTo>
                        <a:pt x="155" y="641"/>
                      </a:lnTo>
                      <a:lnTo>
                        <a:pt x="157" y="641"/>
                      </a:lnTo>
                      <a:lnTo>
                        <a:pt x="157" y="639"/>
                      </a:lnTo>
                      <a:lnTo>
                        <a:pt x="155" y="639"/>
                      </a:lnTo>
                      <a:lnTo>
                        <a:pt x="157" y="639"/>
                      </a:lnTo>
                      <a:lnTo>
                        <a:pt x="155" y="639"/>
                      </a:lnTo>
                      <a:lnTo>
                        <a:pt x="155" y="637"/>
                      </a:lnTo>
                      <a:lnTo>
                        <a:pt x="157" y="637"/>
                      </a:lnTo>
                      <a:lnTo>
                        <a:pt x="155" y="637"/>
                      </a:lnTo>
                      <a:lnTo>
                        <a:pt x="155" y="636"/>
                      </a:lnTo>
                      <a:lnTo>
                        <a:pt x="153" y="636"/>
                      </a:lnTo>
                      <a:lnTo>
                        <a:pt x="153" y="634"/>
                      </a:lnTo>
                      <a:lnTo>
                        <a:pt x="152" y="634"/>
                      </a:lnTo>
                      <a:lnTo>
                        <a:pt x="152" y="632"/>
                      </a:lnTo>
                      <a:lnTo>
                        <a:pt x="150" y="632"/>
                      </a:lnTo>
                      <a:lnTo>
                        <a:pt x="150" y="631"/>
                      </a:lnTo>
                      <a:lnTo>
                        <a:pt x="148" y="629"/>
                      </a:lnTo>
                      <a:lnTo>
                        <a:pt x="148" y="627"/>
                      </a:lnTo>
                      <a:lnTo>
                        <a:pt x="147" y="627"/>
                      </a:lnTo>
                      <a:lnTo>
                        <a:pt x="147" y="626"/>
                      </a:lnTo>
                      <a:lnTo>
                        <a:pt x="145" y="626"/>
                      </a:lnTo>
                      <a:lnTo>
                        <a:pt x="143" y="626"/>
                      </a:lnTo>
                      <a:lnTo>
                        <a:pt x="143" y="624"/>
                      </a:lnTo>
                      <a:lnTo>
                        <a:pt x="143" y="626"/>
                      </a:lnTo>
                      <a:lnTo>
                        <a:pt x="143" y="624"/>
                      </a:lnTo>
                      <a:lnTo>
                        <a:pt x="142" y="624"/>
                      </a:lnTo>
                      <a:lnTo>
                        <a:pt x="143" y="624"/>
                      </a:lnTo>
                      <a:lnTo>
                        <a:pt x="142" y="624"/>
                      </a:lnTo>
                      <a:lnTo>
                        <a:pt x="142" y="622"/>
                      </a:lnTo>
                      <a:lnTo>
                        <a:pt x="143" y="622"/>
                      </a:lnTo>
                      <a:lnTo>
                        <a:pt x="142" y="622"/>
                      </a:lnTo>
                      <a:lnTo>
                        <a:pt x="142" y="621"/>
                      </a:lnTo>
                      <a:lnTo>
                        <a:pt x="142" y="619"/>
                      </a:lnTo>
                      <a:lnTo>
                        <a:pt x="140" y="619"/>
                      </a:lnTo>
                      <a:lnTo>
                        <a:pt x="142" y="619"/>
                      </a:lnTo>
                      <a:lnTo>
                        <a:pt x="142" y="618"/>
                      </a:lnTo>
                      <a:lnTo>
                        <a:pt x="140" y="618"/>
                      </a:lnTo>
                      <a:lnTo>
                        <a:pt x="138" y="618"/>
                      </a:lnTo>
                      <a:lnTo>
                        <a:pt x="138" y="616"/>
                      </a:lnTo>
                      <a:lnTo>
                        <a:pt x="138" y="618"/>
                      </a:lnTo>
                      <a:lnTo>
                        <a:pt x="137" y="618"/>
                      </a:lnTo>
                      <a:lnTo>
                        <a:pt x="137" y="616"/>
                      </a:lnTo>
                      <a:lnTo>
                        <a:pt x="137" y="614"/>
                      </a:lnTo>
                      <a:lnTo>
                        <a:pt x="137" y="613"/>
                      </a:lnTo>
                      <a:lnTo>
                        <a:pt x="135" y="613"/>
                      </a:lnTo>
                      <a:lnTo>
                        <a:pt x="135" y="611"/>
                      </a:lnTo>
                      <a:lnTo>
                        <a:pt x="133" y="611"/>
                      </a:lnTo>
                      <a:lnTo>
                        <a:pt x="135" y="611"/>
                      </a:lnTo>
                      <a:lnTo>
                        <a:pt x="137" y="611"/>
                      </a:lnTo>
                      <a:lnTo>
                        <a:pt x="135" y="611"/>
                      </a:lnTo>
                      <a:lnTo>
                        <a:pt x="135" y="609"/>
                      </a:lnTo>
                      <a:lnTo>
                        <a:pt x="133" y="608"/>
                      </a:lnTo>
                      <a:lnTo>
                        <a:pt x="133" y="606"/>
                      </a:lnTo>
                      <a:lnTo>
                        <a:pt x="131" y="606"/>
                      </a:lnTo>
                      <a:lnTo>
                        <a:pt x="130" y="606"/>
                      </a:lnTo>
                      <a:lnTo>
                        <a:pt x="130" y="608"/>
                      </a:lnTo>
                      <a:lnTo>
                        <a:pt x="131" y="608"/>
                      </a:lnTo>
                      <a:lnTo>
                        <a:pt x="131" y="609"/>
                      </a:lnTo>
                      <a:lnTo>
                        <a:pt x="133" y="609"/>
                      </a:lnTo>
                      <a:lnTo>
                        <a:pt x="131" y="609"/>
                      </a:lnTo>
                      <a:lnTo>
                        <a:pt x="130" y="609"/>
                      </a:lnTo>
                      <a:lnTo>
                        <a:pt x="130" y="608"/>
                      </a:lnTo>
                      <a:lnTo>
                        <a:pt x="130" y="606"/>
                      </a:lnTo>
                      <a:lnTo>
                        <a:pt x="130" y="604"/>
                      </a:lnTo>
                      <a:lnTo>
                        <a:pt x="128" y="604"/>
                      </a:lnTo>
                      <a:lnTo>
                        <a:pt x="128" y="603"/>
                      </a:lnTo>
                      <a:lnTo>
                        <a:pt x="128" y="601"/>
                      </a:lnTo>
                      <a:lnTo>
                        <a:pt x="126" y="601"/>
                      </a:lnTo>
                      <a:lnTo>
                        <a:pt x="125" y="601"/>
                      </a:lnTo>
                      <a:lnTo>
                        <a:pt x="125" y="599"/>
                      </a:lnTo>
                      <a:lnTo>
                        <a:pt x="125" y="598"/>
                      </a:lnTo>
                      <a:lnTo>
                        <a:pt x="123" y="598"/>
                      </a:lnTo>
                      <a:lnTo>
                        <a:pt x="121" y="598"/>
                      </a:lnTo>
                      <a:lnTo>
                        <a:pt x="121" y="599"/>
                      </a:lnTo>
                      <a:lnTo>
                        <a:pt x="121" y="598"/>
                      </a:lnTo>
                      <a:lnTo>
                        <a:pt x="120" y="598"/>
                      </a:lnTo>
                      <a:lnTo>
                        <a:pt x="120" y="596"/>
                      </a:lnTo>
                      <a:lnTo>
                        <a:pt x="120" y="595"/>
                      </a:lnTo>
                      <a:lnTo>
                        <a:pt x="118" y="595"/>
                      </a:lnTo>
                      <a:lnTo>
                        <a:pt x="118" y="593"/>
                      </a:lnTo>
                      <a:lnTo>
                        <a:pt x="118" y="591"/>
                      </a:lnTo>
                      <a:lnTo>
                        <a:pt x="118" y="590"/>
                      </a:lnTo>
                      <a:lnTo>
                        <a:pt x="116" y="590"/>
                      </a:lnTo>
                      <a:lnTo>
                        <a:pt x="115" y="590"/>
                      </a:lnTo>
                      <a:lnTo>
                        <a:pt x="113" y="590"/>
                      </a:lnTo>
                      <a:lnTo>
                        <a:pt x="113" y="591"/>
                      </a:lnTo>
                      <a:lnTo>
                        <a:pt x="111" y="591"/>
                      </a:lnTo>
                      <a:lnTo>
                        <a:pt x="111" y="590"/>
                      </a:lnTo>
                      <a:lnTo>
                        <a:pt x="110" y="590"/>
                      </a:lnTo>
                      <a:lnTo>
                        <a:pt x="110" y="588"/>
                      </a:lnTo>
                      <a:lnTo>
                        <a:pt x="111" y="588"/>
                      </a:lnTo>
                      <a:lnTo>
                        <a:pt x="113" y="586"/>
                      </a:lnTo>
                      <a:lnTo>
                        <a:pt x="115" y="586"/>
                      </a:lnTo>
                      <a:lnTo>
                        <a:pt x="116" y="586"/>
                      </a:lnTo>
                      <a:lnTo>
                        <a:pt x="118" y="585"/>
                      </a:lnTo>
                      <a:lnTo>
                        <a:pt x="120" y="583"/>
                      </a:lnTo>
                      <a:lnTo>
                        <a:pt x="120" y="581"/>
                      </a:lnTo>
                      <a:lnTo>
                        <a:pt x="120" y="580"/>
                      </a:lnTo>
                      <a:lnTo>
                        <a:pt x="120" y="578"/>
                      </a:lnTo>
                      <a:lnTo>
                        <a:pt x="118" y="576"/>
                      </a:lnTo>
                      <a:lnTo>
                        <a:pt x="116" y="575"/>
                      </a:lnTo>
                      <a:lnTo>
                        <a:pt x="115" y="575"/>
                      </a:lnTo>
                      <a:lnTo>
                        <a:pt x="115" y="573"/>
                      </a:lnTo>
                      <a:lnTo>
                        <a:pt x="113" y="573"/>
                      </a:lnTo>
                      <a:lnTo>
                        <a:pt x="111" y="573"/>
                      </a:lnTo>
                      <a:lnTo>
                        <a:pt x="110" y="573"/>
                      </a:lnTo>
                      <a:lnTo>
                        <a:pt x="110" y="575"/>
                      </a:lnTo>
                      <a:lnTo>
                        <a:pt x="108" y="575"/>
                      </a:lnTo>
                      <a:lnTo>
                        <a:pt x="108" y="576"/>
                      </a:lnTo>
                      <a:lnTo>
                        <a:pt x="106" y="576"/>
                      </a:lnTo>
                      <a:lnTo>
                        <a:pt x="106" y="578"/>
                      </a:lnTo>
                      <a:lnTo>
                        <a:pt x="104" y="578"/>
                      </a:lnTo>
                      <a:lnTo>
                        <a:pt x="104" y="576"/>
                      </a:lnTo>
                      <a:lnTo>
                        <a:pt x="103" y="576"/>
                      </a:lnTo>
                      <a:lnTo>
                        <a:pt x="103" y="575"/>
                      </a:lnTo>
                      <a:lnTo>
                        <a:pt x="101" y="573"/>
                      </a:lnTo>
                      <a:lnTo>
                        <a:pt x="99" y="572"/>
                      </a:lnTo>
                      <a:lnTo>
                        <a:pt x="98" y="570"/>
                      </a:lnTo>
                      <a:lnTo>
                        <a:pt x="96" y="570"/>
                      </a:lnTo>
                      <a:lnTo>
                        <a:pt x="94" y="568"/>
                      </a:lnTo>
                      <a:lnTo>
                        <a:pt x="94" y="567"/>
                      </a:lnTo>
                      <a:lnTo>
                        <a:pt x="94" y="565"/>
                      </a:lnTo>
                      <a:lnTo>
                        <a:pt x="96" y="563"/>
                      </a:lnTo>
                      <a:lnTo>
                        <a:pt x="98" y="562"/>
                      </a:lnTo>
                      <a:lnTo>
                        <a:pt x="99" y="562"/>
                      </a:lnTo>
                      <a:lnTo>
                        <a:pt x="101" y="563"/>
                      </a:lnTo>
                      <a:lnTo>
                        <a:pt x="103" y="563"/>
                      </a:lnTo>
                      <a:lnTo>
                        <a:pt x="104" y="563"/>
                      </a:lnTo>
                      <a:lnTo>
                        <a:pt x="104" y="562"/>
                      </a:lnTo>
                      <a:lnTo>
                        <a:pt x="106" y="562"/>
                      </a:lnTo>
                      <a:lnTo>
                        <a:pt x="106" y="560"/>
                      </a:lnTo>
                      <a:lnTo>
                        <a:pt x="108" y="558"/>
                      </a:lnTo>
                      <a:lnTo>
                        <a:pt x="108" y="557"/>
                      </a:lnTo>
                      <a:lnTo>
                        <a:pt x="110" y="555"/>
                      </a:lnTo>
                      <a:lnTo>
                        <a:pt x="110" y="553"/>
                      </a:lnTo>
                      <a:lnTo>
                        <a:pt x="110" y="552"/>
                      </a:lnTo>
                      <a:lnTo>
                        <a:pt x="111" y="552"/>
                      </a:lnTo>
                      <a:lnTo>
                        <a:pt x="111" y="550"/>
                      </a:lnTo>
                      <a:lnTo>
                        <a:pt x="113" y="550"/>
                      </a:lnTo>
                      <a:lnTo>
                        <a:pt x="115" y="549"/>
                      </a:lnTo>
                      <a:lnTo>
                        <a:pt x="115" y="547"/>
                      </a:lnTo>
                      <a:lnTo>
                        <a:pt x="116" y="547"/>
                      </a:lnTo>
                      <a:lnTo>
                        <a:pt x="115" y="545"/>
                      </a:lnTo>
                      <a:lnTo>
                        <a:pt x="116" y="545"/>
                      </a:lnTo>
                      <a:lnTo>
                        <a:pt x="116" y="544"/>
                      </a:lnTo>
                      <a:lnTo>
                        <a:pt x="116" y="542"/>
                      </a:lnTo>
                      <a:lnTo>
                        <a:pt x="118" y="540"/>
                      </a:lnTo>
                      <a:lnTo>
                        <a:pt x="118" y="539"/>
                      </a:lnTo>
                      <a:lnTo>
                        <a:pt x="118" y="537"/>
                      </a:lnTo>
                      <a:lnTo>
                        <a:pt x="116" y="535"/>
                      </a:lnTo>
                      <a:lnTo>
                        <a:pt x="116" y="534"/>
                      </a:lnTo>
                      <a:lnTo>
                        <a:pt x="116" y="532"/>
                      </a:lnTo>
                      <a:lnTo>
                        <a:pt x="116" y="530"/>
                      </a:lnTo>
                      <a:lnTo>
                        <a:pt x="118" y="527"/>
                      </a:lnTo>
                      <a:lnTo>
                        <a:pt x="120" y="527"/>
                      </a:lnTo>
                      <a:lnTo>
                        <a:pt x="120" y="526"/>
                      </a:lnTo>
                      <a:lnTo>
                        <a:pt x="118" y="526"/>
                      </a:lnTo>
                      <a:lnTo>
                        <a:pt x="118" y="524"/>
                      </a:lnTo>
                      <a:lnTo>
                        <a:pt x="118" y="522"/>
                      </a:lnTo>
                      <a:lnTo>
                        <a:pt x="120" y="521"/>
                      </a:lnTo>
                      <a:lnTo>
                        <a:pt x="118" y="519"/>
                      </a:lnTo>
                      <a:lnTo>
                        <a:pt x="120" y="517"/>
                      </a:lnTo>
                      <a:lnTo>
                        <a:pt x="121" y="516"/>
                      </a:lnTo>
                      <a:lnTo>
                        <a:pt x="121" y="514"/>
                      </a:lnTo>
                      <a:lnTo>
                        <a:pt x="121" y="512"/>
                      </a:lnTo>
                      <a:lnTo>
                        <a:pt x="121" y="511"/>
                      </a:lnTo>
                      <a:lnTo>
                        <a:pt x="121" y="509"/>
                      </a:lnTo>
                      <a:lnTo>
                        <a:pt x="123" y="509"/>
                      </a:lnTo>
                      <a:lnTo>
                        <a:pt x="123" y="507"/>
                      </a:lnTo>
                      <a:lnTo>
                        <a:pt x="123" y="504"/>
                      </a:lnTo>
                      <a:lnTo>
                        <a:pt x="125" y="504"/>
                      </a:lnTo>
                      <a:lnTo>
                        <a:pt x="125" y="503"/>
                      </a:lnTo>
                      <a:lnTo>
                        <a:pt x="126" y="503"/>
                      </a:lnTo>
                      <a:lnTo>
                        <a:pt x="126" y="501"/>
                      </a:lnTo>
                      <a:lnTo>
                        <a:pt x="125" y="498"/>
                      </a:lnTo>
                      <a:lnTo>
                        <a:pt x="126" y="494"/>
                      </a:lnTo>
                      <a:lnTo>
                        <a:pt x="126" y="493"/>
                      </a:lnTo>
                      <a:lnTo>
                        <a:pt x="126" y="491"/>
                      </a:lnTo>
                      <a:lnTo>
                        <a:pt x="126" y="489"/>
                      </a:lnTo>
                      <a:lnTo>
                        <a:pt x="126" y="488"/>
                      </a:lnTo>
                      <a:lnTo>
                        <a:pt x="128" y="486"/>
                      </a:lnTo>
                      <a:lnTo>
                        <a:pt x="130" y="483"/>
                      </a:lnTo>
                      <a:lnTo>
                        <a:pt x="130" y="481"/>
                      </a:lnTo>
                      <a:lnTo>
                        <a:pt x="130" y="480"/>
                      </a:lnTo>
                      <a:lnTo>
                        <a:pt x="130" y="478"/>
                      </a:lnTo>
                      <a:lnTo>
                        <a:pt x="128" y="478"/>
                      </a:lnTo>
                      <a:lnTo>
                        <a:pt x="128" y="476"/>
                      </a:lnTo>
                      <a:lnTo>
                        <a:pt x="126" y="473"/>
                      </a:lnTo>
                      <a:lnTo>
                        <a:pt x="125" y="471"/>
                      </a:lnTo>
                      <a:lnTo>
                        <a:pt x="125" y="470"/>
                      </a:lnTo>
                      <a:lnTo>
                        <a:pt x="125" y="466"/>
                      </a:lnTo>
                      <a:lnTo>
                        <a:pt x="125" y="465"/>
                      </a:lnTo>
                      <a:lnTo>
                        <a:pt x="125" y="463"/>
                      </a:lnTo>
                      <a:lnTo>
                        <a:pt x="125" y="461"/>
                      </a:lnTo>
                      <a:lnTo>
                        <a:pt x="125" y="460"/>
                      </a:lnTo>
                      <a:lnTo>
                        <a:pt x="125" y="458"/>
                      </a:lnTo>
                      <a:lnTo>
                        <a:pt x="123" y="457"/>
                      </a:lnTo>
                      <a:lnTo>
                        <a:pt x="123" y="455"/>
                      </a:lnTo>
                      <a:lnTo>
                        <a:pt x="125" y="455"/>
                      </a:lnTo>
                      <a:lnTo>
                        <a:pt x="125" y="453"/>
                      </a:lnTo>
                      <a:lnTo>
                        <a:pt x="125" y="452"/>
                      </a:lnTo>
                      <a:lnTo>
                        <a:pt x="125" y="450"/>
                      </a:lnTo>
                      <a:lnTo>
                        <a:pt x="125" y="447"/>
                      </a:lnTo>
                      <a:lnTo>
                        <a:pt x="125" y="445"/>
                      </a:lnTo>
                      <a:lnTo>
                        <a:pt x="125" y="443"/>
                      </a:lnTo>
                      <a:lnTo>
                        <a:pt x="123" y="442"/>
                      </a:lnTo>
                      <a:lnTo>
                        <a:pt x="123" y="440"/>
                      </a:lnTo>
                      <a:lnTo>
                        <a:pt x="123" y="439"/>
                      </a:lnTo>
                      <a:lnTo>
                        <a:pt x="121" y="437"/>
                      </a:lnTo>
                      <a:lnTo>
                        <a:pt x="121" y="435"/>
                      </a:lnTo>
                      <a:lnTo>
                        <a:pt x="120" y="435"/>
                      </a:lnTo>
                      <a:lnTo>
                        <a:pt x="120" y="434"/>
                      </a:lnTo>
                      <a:lnTo>
                        <a:pt x="118" y="434"/>
                      </a:lnTo>
                      <a:lnTo>
                        <a:pt x="118" y="432"/>
                      </a:lnTo>
                      <a:lnTo>
                        <a:pt x="120" y="430"/>
                      </a:lnTo>
                      <a:lnTo>
                        <a:pt x="120" y="429"/>
                      </a:lnTo>
                      <a:lnTo>
                        <a:pt x="121" y="425"/>
                      </a:lnTo>
                      <a:lnTo>
                        <a:pt x="120" y="424"/>
                      </a:lnTo>
                      <a:lnTo>
                        <a:pt x="120" y="422"/>
                      </a:lnTo>
                      <a:lnTo>
                        <a:pt x="120" y="420"/>
                      </a:lnTo>
                      <a:lnTo>
                        <a:pt x="120" y="419"/>
                      </a:lnTo>
                      <a:lnTo>
                        <a:pt x="120" y="417"/>
                      </a:lnTo>
                      <a:lnTo>
                        <a:pt x="120" y="416"/>
                      </a:lnTo>
                      <a:lnTo>
                        <a:pt x="118" y="414"/>
                      </a:lnTo>
                      <a:lnTo>
                        <a:pt x="116" y="412"/>
                      </a:lnTo>
                      <a:lnTo>
                        <a:pt x="116" y="411"/>
                      </a:lnTo>
                      <a:lnTo>
                        <a:pt x="115" y="409"/>
                      </a:lnTo>
                      <a:lnTo>
                        <a:pt x="113" y="409"/>
                      </a:lnTo>
                      <a:lnTo>
                        <a:pt x="113" y="407"/>
                      </a:lnTo>
                      <a:lnTo>
                        <a:pt x="111" y="407"/>
                      </a:lnTo>
                      <a:lnTo>
                        <a:pt x="111" y="409"/>
                      </a:lnTo>
                      <a:lnTo>
                        <a:pt x="110" y="407"/>
                      </a:lnTo>
                      <a:lnTo>
                        <a:pt x="108" y="407"/>
                      </a:lnTo>
                      <a:lnTo>
                        <a:pt x="106" y="407"/>
                      </a:lnTo>
                      <a:lnTo>
                        <a:pt x="104" y="406"/>
                      </a:lnTo>
                      <a:lnTo>
                        <a:pt x="103" y="404"/>
                      </a:lnTo>
                      <a:lnTo>
                        <a:pt x="101" y="404"/>
                      </a:lnTo>
                      <a:lnTo>
                        <a:pt x="101" y="402"/>
                      </a:lnTo>
                      <a:lnTo>
                        <a:pt x="98" y="401"/>
                      </a:lnTo>
                      <a:lnTo>
                        <a:pt x="96" y="401"/>
                      </a:lnTo>
                      <a:lnTo>
                        <a:pt x="94" y="401"/>
                      </a:lnTo>
                      <a:lnTo>
                        <a:pt x="94" y="399"/>
                      </a:lnTo>
                      <a:lnTo>
                        <a:pt x="93" y="399"/>
                      </a:lnTo>
                      <a:lnTo>
                        <a:pt x="93" y="401"/>
                      </a:lnTo>
                      <a:lnTo>
                        <a:pt x="91" y="401"/>
                      </a:lnTo>
                      <a:lnTo>
                        <a:pt x="89" y="401"/>
                      </a:lnTo>
                      <a:lnTo>
                        <a:pt x="88" y="401"/>
                      </a:lnTo>
                      <a:lnTo>
                        <a:pt x="86" y="401"/>
                      </a:lnTo>
                      <a:lnTo>
                        <a:pt x="86" y="399"/>
                      </a:lnTo>
                      <a:lnTo>
                        <a:pt x="84" y="397"/>
                      </a:lnTo>
                      <a:lnTo>
                        <a:pt x="84" y="396"/>
                      </a:lnTo>
                      <a:lnTo>
                        <a:pt x="83" y="396"/>
                      </a:lnTo>
                      <a:lnTo>
                        <a:pt x="84" y="394"/>
                      </a:lnTo>
                      <a:lnTo>
                        <a:pt x="84" y="393"/>
                      </a:lnTo>
                      <a:lnTo>
                        <a:pt x="83" y="391"/>
                      </a:lnTo>
                      <a:lnTo>
                        <a:pt x="83" y="389"/>
                      </a:lnTo>
                      <a:lnTo>
                        <a:pt x="79" y="388"/>
                      </a:lnTo>
                      <a:lnTo>
                        <a:pt x="77" y="388"/>
                      </a:lnTo>
                      <a:lnTo>
                        <a:pt x="76" y="388"/>
                      </a:lnTo>
                      <a:lnTo>
                        <a:pt x="74" y="388"/>
                      </a:lnTo>
                      <a:lnTo>
                        <a:pt x="72" y="386"/>
                      </a:lnTo>
                      <a:lnTo>
                        <a:pt x="71" y="386"/>
                      </a:lnTo>
                      <a:lnTo>
                        <a:pt x="69" y="388"/>
                      </a:lnTo>
                      <a:lnTo>
                        <a:pt x="67" y="388"/>
                      </a:lnTo>
                      <a:lnTo>
                        <a:pt x="67" y="389"/>
                      </a:lnTo>
                      <a:lnTo>
                        <a:pt x="66" y="389"/>
                      </a:lnTo>
                      <a:lnTo>
                        <a:pt x="64" y="391"/>
                      </a:lnTo>
                      <a:lnTo>
                        <a:pt x="62" y="391"/>
                      </a:lnTo>
                      <a:lnTo>
                        <a:pt x="61" y="389"/>
                      </a:lnTo>
                      <a:lnTo>
                        <a:pt x="57" y="389"/>
                      </a:lnTo>
                      <a:lnTo>
                        <a:pt x="54" y="389"/>
                      </a:lnTo>
                      <a:lnTo>
                        <a:pt x="52" y="388"/>
                      </a:lnTo>
                      <a:lnTo>
                        <a:pt x="50" y="388"/>
                      </a:lnTo>
                      <a:lnTo>
                        <a:pt x="49" y="386"/>
                      </a:lnTo>
                      <a:lnTo>
                        <a:pt x="47" y="386"/>
                      </a:lnTo>
                      <a:lnTo>
                        <a:pt x="45" y="384"/>
                      </a:lnTo>
                      <a:lnTo>
                        <a:pt x="44" y="384"/>
                      </a:lnTo>
                      <a:lnTo>
                        <a:pt x="42" y="384"/>
                      </a:lnTo>
                      <a:lnTo>
                        <a:pt x="40" y="384"/>
                      </a:lnTo>
                      <a:lnTo>
                        <a:pt x="40" y="383"/>
                      </a:lnTo>
                      <a:lnTo>
                        <a:pt x="39" y="383"/>
                      </a:lnTo>
                      <a:lnTo>
                        <a:pt x="37" y="381"/>
                      </a:lnTo>
                      <a:lnTo>
                        <a:pt x="35" y="381"/>
                      </a:lnTo>
                      <a:lnTo>
                        <a:pt x="34" y="381"/>
                      </a:lnTo>
                      <a:lnTo>
                        <a:pt x="32" y="381"/>
                      </a:lnTo>
                      <a:lnTo>
                        <a:pt x="28" y="383"/>
                      </a:lnTo>
                      <a:lnTo>
                        <a:pt x="27" y="383"/>
                      </a:lnTo>
                      <a:lnTo>
                        <a:pt x="25" y="383"/>
                      </a:lnTo>
                      <a:lnTo>
                        <a:pt x="23" y="383"/>
                      </a:lnTo>
                      <a:lnTo>
                        <a:pt x="22" y="383"/>
                      </a:lnTo>
                      <a:lnTo>
                        <a:pt x="20" y="383"/>
                      </a:lnTo>
                      <a:lnTo>
                        <a:pt x="20" y="384"/>
                      </a:lnTo>
                      <a:lnTo>
                        <a:pt x="18" y="384"/>
                      </a:lnTo>
                      <a:lnTo>
                        <a:pt x="18" y="386"/>
                      </a:lnTo>
                      <a:lnTo>
                        <a:pt x="18" y="388"/>
                      </a:lnTo>
                      <a:lnTo>
                        <a:pt x="17" y="389"/>
                      </a:lnTo>
                      <a:lnTo>
                        <a:pt x="17" y="391"/>
                      </a:lnTo>
                      <a:lnTo>
                        <a:pt x="15" y="394"/>
                      </a:lnTo>
                      <a:lnTo>
                        <a:pt x="13" y="396"/>
                      </a:lnTo>
                      <a:lnTo>
                        <a:pt x="12" y="396"/>
                      </a:lnTo>
                      <a:lnTo>
                        <a:pt x="10" y="394"/>
                      </a:lnTo>
                      <a:lnTo>
                        <a:pt x="8" y="393"/>
                      </a:lnTo>
                      <a:lnTo>
                        <a:pt x="7" y="393"/>
                      </a:lnTo>
                      <a:lnTo>
                        <a:pt x="5" y="394"/>
                      </a:lnTo>
                      <a:lnTo>
                        <a:pt x="5" y="396"/>
                      </a:lnTo>
                      <a:lnTo>
                        <a:pt x="5" y="397"/>
                      </a:lnTo>
                      <a:lnTo>
                        <a:pt x="3" y="397"/>
                      </a:lnTo>
                      <a:lnTo>
                        <a:pt x="1" y="397"/>
                      </a:lnTo>
                      <a:lnTo>
                        <a:pt x="0" y="397"/>
                      </a:lnTo>
                      <a:lnTo>
                        <a:pt x="23" y="378"/>
                      </a:lnTo>
                      <a:lnTo>
                        <a:pt x="27" y="376"/>
                      </a:lnTo>
                      <a:lnTo>
                        <a:pt x="28" y="376"/>
                      </a:lnTo>
                      <a:lnTo>
                        <a:pt x="28" y="374"/>
                      </a:lnTo>
                      <a:lnTo>
                        <a:pt x="30" y="374"/>
                      </a:lnTo>
                      <a:lnTo>
                        <a:pt x="30" y="373"/>
                      </a:lnTo>
                      <a:lnTo>
                        <a:pt x="30" y="371"/>
                      </a:lnTo>
                      <a:lnTo>
                        <a:pt x="32" y="373"/>
                      </a:lnTo>
                      <a:lnTo>
                        <a:pt x="34" y="371"/>
                      </a:lnTo>
                      <a:lnTo>
                        <a:pt x="35" y="370"/>
                      </a:lnTo>
                      <a:lnTo>
                        <a:pt x="40" y="366"/>
                      </a:lnTo>
                      <a:lnTo>
                        <a:pt x="52" y="356"/>
                      </a:lnTo>
                      <a:lnTo>
                        <a:pt x="69" y="345"/>
                      </a:lnTo>
                      <a:lnTo>
                        <a:pt x="71" y="343"/>
                      </a:lnTo>
                      <a:lnTo>
                        <a:pt x="88" y="330"/>
                      </a:lnTo>
                      <a:lnTo>
                        <a:pt x="89" y="328"/>
                      </a:lnTo>
                      <a:lnTo>
                        <a:pt x="91" y="327"/>
                      </a:lnTo>
                      <a:lnTo>
                        <a:pt x="93" y="327"/>
                      </a:lnTo>
                      <a:lnTo>
                        <a:pt x="94" y="327"/>
                      </a:lnTo>
                      <a:lnTo>
                        <a:pt x="94" y="328"/>
                      </a:lnTo>
                      <a:lnTo>
                        <a:pt x="96" y="328"/>
                      </a:lnTo>
                      <a:lnTo>
                        <a:pt x="98" y="328"/>
                      </a:lnTo>
                      <a:lnTo>
                        <a:pt x="99" y="328"/>
                      </a:lnTo>
                      <a:lnTo>
                        <a:pt x="101" y="328"/>
                      </a:lnTo>
                      <a:lnTo>
                        <a:pt x="103" y="328"/>
                      </a:lnTo>
                      <a:lnTo>
                        <a:pt x="103" y="327"/>
                      </a:lnTo>
                      <a:lnTo>
                        <a:pt x="104" y="327"/>
                      </a:lnTo>
                      <a:lnTo>
                        <a:pt x="106" y="325"/>
                      </a:lnTo>
                      <a:lnTo>
                        <a:pt x="108" y="325"/>
                      </a:lnTo>
                      <a:lnTo>
                        <a:pt x="108" y="324"/>
                      </a:lnTo>
                      <a:lnTo>
                        <a:pt x="110" y="322"/>
                      </a:lnTo>
                      <a:lnTo>
                        <a:pt x="111" y="320"/>
                      </a:lnTo>
                      <a:lnTo>
                        <a:pt x="111" y="319"/>
                      </a:lnTo>
                      <a:lnTo>
                        <a:pt x="111" y="317"/>
                      </a:lnTo>
                      <a:lnTo>
                        <a:pt x="113" y="317"/>
                      </a:lnTo>
                      <a:lnTo>
                        <a:pt x="113" y="315"/>
                      </a:lnTo>
                      <a:lnTo>
                        <a:pt x="115" y="314"/>
                      </a:lnTo>
                      <a:lnTo>
                        <a:pt x="116" y="312"/>
                      </a:lnTo>
                      <a:lnTo>
                        <a:pt x="118" y="310"/>
                      </a:lnTo>
                      <a:lnTo>
                        <a:pt x="118" y="309"/>
                      </a:lnTo>
                      <a:lnTo>
                        <a:pt x="120" y="307"/>
                      </a:lnTo>
                      <a:lnTo>
                        <a:pt x="120" y="305"/>
                      </a:lnTo>
                      <a:lnTo>
                        <a:pt x="121" y="305"/>
                      </a:lnTo>
                      <a:lnTo>
                        <a:pt x="120" y="305"/>
                      </a:lnTo>
                      <a:lnTo>
                        <a:pt x="121" y="304"/>
                      </a:lnTo>
                      <a:lnTo>
                        <a:pt x="120" y="304"/>
                      </a:lnTo>
                      <a:lnTo>
                        <a:pt x="120" y="302"/>
                      </a:lnTo>
                      <a:lnTo>
                        <a:pt x="121" y="302"/>
                      </a:lnTo>
                      <a:lnTo>
                        <a:pt x="121" y="301"/>
                      </a:lnTo>
                      <a:lnTo>
                        <a:pt x="123" y="301"/>
                      </a:lnTo>
                      <a:lnTo>
                        <a:pt x="123" y="299"/>
                      </a:lnTo>
                      <a:lnTo>
                        <a:pt x="125" y="299"/>
                      </a:lnTo>
                      <a:lnTo>
                        <a:pt x="126" y="299"/>
                      </a:lnTo>
                      <a:lnTo>
                        <a:pt x="126" y="297"/>
                      </a:lnTo>
                      <a:lnTo>
                        <a:pt x="128" y="297"/>
                      </a:lnTo>
                      <a:lnTo>
                        <a:pt x="128" y="296"/>
                      </a:lnTo>
                      <a:lnTo>
                        <a:pt x="130" y="296"/>
                      </a:lnTo>
                      <a:lnTo>
                        <a:pt x="130" y="294"/>
                      </a:lnTo>
                      <a:lnTo>
                        <a:pt x="130" y="292"/>
                      </a:lnTo>
                      <a:lnTo>
                        <a:pt x="131" y="292"/>
                      </a:lnTo>
                      <a:lnTo>
                        <a:pt x="131" y="291"/>
                      </a:lnTo>
                      <a:lnTo>
                        <a:pt x="131" y="289"/>
                      </a:lnTo>
                      <a:lnTo>
                        <a:pt x="133" y="289"/>
                      </a:lnTo>
                      <a:lnTo>
                        <a:pt x="133" y="287"/>
                      </a:lnTo>
                      <a:lnTo>
                        <a:pt x="133" y="286"/>
                      </a:lnTo>
                      <a:lnTo>
                        <a:pt x="133" y="284"/>
                      </a:lnTo>
                      <a:lnTo>
                        <a:pt x="133" y="282"/>
                      </a:lnTo>
                      <a:lnTo>
                        <a:pt x="135" y="281"/>
                      </a:lnTo>
                      <a:lnTo>
                        <a:pt x="133" y="281"/>
                      </a:lnTo>
                      <a:lnTo>
                        <a:pt x="135" y="279"/>
                      </a:lnTo>
                      <a:lnTo>
                        <a:pt x="135" y="278"/>
                      </a:lnTo>
                      <a:lnTo>
                        <a:pt x="137" y="278"/>
                      </a:lnTo>
                      <a:lnTo>
                        <a:pt x="138" y="278"/>
                      </a:lnTo>
                      <a:lnTo>
                        <a:pt x="138" y="276"/>
                      </a:lnTo>
                      <a:lnTo>
                        <a:pt x="138" y="278"/>
                      </a:lnTo>
                      <a:lnTo>
                        <a:pt x="138" y="276"/>
                      </a:lnTo>
                      <a:lnTo>
                        <a:pt x="140" y="276"/>
                      </a:lnTo>
                      <a:lnTo>
                        <a:pt x="142" y="274"/>
                      </a:lnTo>
                      <a:lnTo>
                        <a:pt x="143" y="274"/>
                      </a:lnTo>
                      <a:lnTo>
                        <a:pt x="143" y="273"/>
                      </a:lnTo>
                      <a:lnTo>
                        <a:pt x="145" y="273"/>
                      </a:lnTo>
                      <a:lnTo>
                        <a:pt x="145" y="271"/>
                      </a:lnTo>
                      <a:lnTo>
                        <a:pt x="147" y="271"/>
                      </a:lnTo>
                      <a:lnTo>
                        <a:pt x="147" y="269"/>
                      </a:lnTo>
                      <a:lnTo>
                        <a:pt x="147" y="271"/>
                      </a:lnTo>
                      <a:lnTo>
                        <a:pt x="148" y="269"/>
                      </a:lnTo>
                      <a:lnTo>
                        <a:pt x="148" y="268"/>
                      </a:lnTo>
                      <a:lnTo>
                        <a:pt x="150" y="268"/>
                      </a:lnTo>
                      <a:lnTo>
                        <a:pt x="150" y="266"/>
                      </a:lnTo>
                      <a:lnTo>
                        <a:pt x="150" y="264"/>
                      </a:lnTo>
                      <a:lnTo>
                        <a:pt x="152" y="263"/>
                      </a:lnTo>
                      <a:lnTo>
                        <a:pt x="152" y="264"/>
                      </a:lnTo>
                      <a:lnTo>
                        <a:pt x="153" y="263"/>
                      </a:lnTo>
                      <a:lnTo>
                        <a:pt x="153" y="261"/>
                      </a:lnTo>
                      <a:lnTo>
                        <a:pt x="155" y="261"/>
                      </a:lnTo>
                      <a:lnTo>
                        <a:pt x="157" y="259"/>
                      </a:lnTo>
                      <a:lnTo>
                        <a:pt x="159" y="258"/>
                      </a:lnTo>
                      <a:lnTo>
                        <a:pt x="157" y="256"/>
                      </a:lnTo>
                      <a:lnTo>
                        <a:pt x="159" y="256"/>
                      </a:lnTo>
                      <a:lnTo>
                        <a:pt x="159" y="255"/>
                      </a:lnTo>
                      <a:lnTo>
                        <a:pt x="160" y="255"/>
                      </a:lnTo>
                      <a:lnTo>
                        <a:pt x="160" y="253"/>
                      </a:lnTo>
                      <a:lnTo>
                        <a:pt x="160" y="251"/>
                      </a:lnTo>
                      <a:lnTo>
                        <a:pt x="160" y="250"/>
                      </a:lnTo>
                      <a:lnTo>
                        <a:pt x="160" y="248"/>
                      </a:lnTo>
                      <a:lnTo>
                        <a:pt x="160" y="246"/>
                      </a:lnTo>
                      <a:lnTo>
                        <a:pt x="162" y="246"/>
                      </a:lnTo>
                      <a:lnTo>
                        <a:pt x="162" y="245"/>
                      </a:lnTo>
                      <a:lnTo>
                        <a:pt x="160" y="245"/>
                      </a:lnTo>
                      <a:lnTo>
                        <a:pt x="160" y="243"/>
                      </a:lnTo>
                      <a:lnTo>
                        <a:pt x="162" y="243"/>
                      </a:lnTo>
                      <a:lnTo>
                        <a:pt x="162" y="241"/>
                      </a:lnTo>
                      <a:lnTo>
                        <a:pt x="162" y="243"/>
                      </a:lnTo>
                      <a:lnTo>
                        <a:pt x="160" y="241"/>
                      </a:lnTo>
                      <a:lnTo>
                        <a:pt x="162" y="241"/>
                      </a:lnTo>
                      <a:lnTo>
                        <a:pt x="160" y="241"/>
                      </a:lnTo>
                      <a:lnTo>
                        <a:pt x="160" y="240"/>
                      </a:lnTo>
                      <a:lnTo>
                        <a:pt x="162" y="240"/>
                      </a:lnTo>
                      <a:lnTo>
                        <a:pt x="162" y="238"/>
                      </a:lnTo>
                      <a:lnTo>
                        <a:pt x="162" y="240"/>
                      </a:lnTo>
                      <a:lnTo>
                        <a:pt x="160" y="238"/>
                      </a:lnTo>
                      <a:lnTo>
                        <a:pt x="162" y="238"/>
                      </a:lnTo>
                      <a:lnTo>
                        <a:pt x="162" y="237"/>
                      </a:lnTo>
                      <a:lnTo>
                        <a:pt x="164" y="237"/>
                      </a:lnTo>
                      <a:lnTo>
                        <a:pt x="164" y="235"/>
                      </a:lnTo>
                      <a:lnTo>
                        <a:pt x="162" y="235"/>
                      </a:lnTo>
                      <a:lnTo>
                        <a:pt x="164" y="235"/>
                      </a:lnTo>
                      <a:lnTo>
                        <a:pt x="164" y="233"/>
                      </a:lnTo>
                      <a:lnTo>
                        <a:pt x="162" y="233"/>
                      </a:lnTo>
                      <a:lnTo>
                        <a:pt x="164" y="232"/>
                      </a:lnTo>
                      <a:lnTo>
                        <a:pt x="164" y="233"/>
                      </a:lnTo>
                      <a:lnTo>
                        <a:pt x="164" y="232"/>
                      </a:lnTo>
                      <a:lnTo>
                        <a:pt x="165" y="232"/>
                      </a:lnTo>
                      <a:lnTo>
                        <a:pt x="165" y="230"/>
                      </a:lnTo>
                      <a:lnTo>
                        <a:pt x="167" y="230"/>
                      </a:lnTo>
                      <a:lnTo>
                        <a:pt x="169" y="228"/>
                      </a:lnTo>
                      <a:lnTo>
                        <a:pt x="167" y="228"/>
                      </a:lnTo>
                      <a:lnTo>
                        <a:pt x="169" y="228"/>
                      </a:lnTo>
                      <a:lnTo>
                        <a:pt x="169" y="227"/>
                      </a:lnTo>
                      <a:lnTo>
                        <a:pt x="167" y="227"/>
                      </a:lnTo>
                      <a:lnTo>
                        <a:pt x="169" y="227"/>
                      </a:lnTo>
                      <a:lnTo>
                        <a:pt x="169" y="225"/>
                      </a:lnTo>
                      <a:lnTo>
                        <a:pt x="170" y="225"/>
                      </a:lnTo>
                      <a:lnTo>
                        <a:pt x="170" y="223"/>
                      </a:lnTo>
                      <a:lnTo>
                        <a:pt x="170" y="222"/>
                      </a:lnTo>
                      <a:lnTo>
                        <a:pt x="172" y="222"/>
                      </a:lnTo>
                      <a:lnTo>
                        <a:pt x="170" y="222"/>
                      </a:lnTo>
                      <a:lnTo>
                        <a:pt x="170" y="220"/>
                      </a:lnTo>
                      <a:lnTo>
                        <a:pt x="170" y="218"/>
                      </a:lnTo>
                      <a:lnTo>
                        <a:pt x="170" y="220"/>
                      </a:lnTo>
                      <a:lnTo>
                        <a:pt x="172" y="218"/>
                      </a:lnTo>
                      <a:lnTo>
                        <a:pt x="170" y="218"/>
                      </a:lnTo>
                      <a:lnTo>
                        <a:pt x="170" y="217"/>
                      </a:lnTo>
                      <a:lnTo>
                        <a:pt x="172" y="217"/>
                      </a:lnTo>
                      <a:lnTo>
                        <a:pt x="172" y="215"/>
                      </a:lnTo>
                      <a:lnTo>
                        <a:pt x="170" y="215"/>
                      </a:lnTo>
                      <a:lnTo>
                        <a:pt x="172" y="215"/>
                      </a:lnTo>
                      <a:lnTo>
                        <a:pt x="174" y="215"/>
                      </a:lnTo>
                      <a:lnTo>
                        <a:pt x="174" y="214"/>
                      </a:lnTo>
                      <a:lnTo>
                        <a:pt x="174" y="215"/>
                      </a:lnTo>
                      <a:lnTo>
                        <a:pt x="175" y="214"/>
                      </a:lnTo>
                      <a:lnTo>
                        <a:pt x="175" y="212"/>
                      </a:lnTo>
                      <a:lnTo>
                        <a:pt x="177" y="212"/>
                      </a:lnTo>
                      <a:lnTo>
                        <a:pt x="179" y="212"/>
                      </a:lnTo>
                      <a:lnTo>
                        <a:pt x="177" y="212"/>
                      </a:lnTo>
                      <a:lnTo>
                        <a:pt x="177" y="210"/>
                      </a:lnTo>
                      <a:lnTo>
                        <a:pt x="179" y="210"/>
                      </a:lnTo>
                      <a:lnTo>
                        <a:pt x="179" y="212"/>
                      </a:lnTo>
                      <a:lnTo>
                        <a:pt x="180" y="212"/>
                      </a:lnTo>
                      <a:lnTo>
                        <a:pt x="179" y="212"/>
                      </a:lnTo>
                      <a:lnTo>
                        <a:pt x="179" y="210"/>
                      </a:lnTo>
                      <a:lnTo>
                        <a:pt x="180" y="210"/>
                      </a:lnTo>
                      <a:lnTo>
                        <a:pt x="180" y="209"/>
                      </a:lnTo>
                      <a:lnTo>
                        <a:pt x="182" y="209"/>
                      </a:lnTo>
                      <a:lnTo>
                        <a:pt x="184" y="209"/>
                      </a:lnTo>
                      <a:lnTo>
                        <a:pt x="182" y="209"/>
                      </a:lnTo>
                      <a:lnTo>
                        <a:pt x="182" y="207"/>
                      </a:lnTo>
                      <a:lnTo>
                        <a:pt x="184" y="207"/>
                      </a:lnTo>
                      <a:lnTo>
                        <a:pt x="184" y="205"/>
                      </a:lnTo>
                      <a:lnTo>
                        <a:pt x="182" y="205"/>
                      </a:lnTo>
                      <a:lnTo>
                        <a:pt x="184" y="205"/>
                      </a:lnTo>
                      <a:lnTo>
                        <a:pt x="184" y="204"/>
                      </a:lnTo>
                      <a:lnTo>
                        <a:pt x="184" y="202"/>
                      </a:lnTo>
                      <a:lnTo>
                        <a:pt x="186" y="202"/>
                      </a:lnTo>
                      <a:lnTo>
                        <a:pt x="186" y="204"/>
                      </a:lnTo>
                      <a:lnTo>
                        <a:pt x="186" y="202"/>
                      </a:lnTo>
                      <a:lnTo>
                        <a:pt x="187" y="202"/>
                      </a:lnTo>
                      <a:lnTo>
                        <a:pt x="187" y="200"/>
                      </a:lnTo>
                      <a:lnTo>
                        <a:pt x="189" y="200"/>
                      </a:lnTo>
                      <a:lnTo>
                        <a:pt x="187" y="199"/>
                      </a:lnTo>
                      <a:lnTo>
                        <a:pt x="189" y="199"/>
                      </a:lnTo>
                      <a:lnTo>
                        <a:pt x="189" y="197"/>
                      </a:lnTo>
                      <a:lnTo>
                        <a:pt x="187" y="197"/>
                      </a:lnTo>
                      <a:lnTo>
                        <a:pt x="189" y="197"/>
                      </a:lnTo>
                      <a:lnTo>
                        <a:pt x="189" y="195"/>
                      </a:lnTo>
                      <a:lnTo>
                        <a:pt x="191" y="195"/>
                      </a:lnTo>
                      <a:lnTo>
                        <a:pt x="192" y="195"/>
                      </a:lnTo>
                      <a:lnTo>
                        <a:pt x="192" y="194"/>
                      </a:lnTo>
                      <a:lnTo>
                        <a:pt x="191" y="194"/>
                      </a:lnTo>
                      <a:lnTo>
                        <a:pt x="191" y="192"/>
                      </a:lnTo>
                      <a:lnTo>
                        <a:pt x="189" y="192"/>
                      </a:lnTo>
                      <a:lnTo>
                        <a:pt x="191" y="192"/>
                      </a:lnTo>
                      <a:lnTo>
                        <a:pt x="192" y="191"/>
                      </a:lnTo>
                      <a:lnTo>
                        <a:pt x="192" y="192"/>
                      </a:lnTo>
                      <a:lnTo>
                        <a:pt x="194" y="192"/>
                      </a:lnTo>
                      <a:lnTo>
                        <a:pt x="194" y="191"/>
                      </a:lnTo>
                      <a:lnTo>
                        <a:pt x="194" y="189"/>
                      </a:lnTo>
                      <a:lnTo>
                        <a:pt x="196" y="189"/>
                      </a:lnTo>
                      <a:lnTo>
                        <a:pt x="196" y="187"/>
                      </a:lnTo>
                      <a:lnTo>
                        <a:pt x="196" y="186"/>
                      </a:lnTo>
                      <a:lnTo>
                        <a:pt x="196" y="184"/>
                      </a:lnTo>
                      <a:lnTo>
                        <a:pt x="197" y="184"/>
                      </a:lnTo>
                      <a:lnTo>
                        <a:pt x="197" y="182"/>
                      </a:lnTo>
                      <a:lnTo>
                        <a:pt x="197" y="181"/>
                      </a:lnTo>
                      <a:lnTo>
                        <a:pt x="199" y="181"/>
                      </a:lnTo>
                      <a:lnTo>
                        <a:pt x="199" y="179"/>
                      </a:lnTo>
                      <a:lnTo>
                        <a:pt x="197" y="179"/>
                      </a:lnTo>
                      <a:lnTo>
                        <a:pt x="197" y="177"/>
                      </a:lnTo>
                      <a:lnTo>
                        <a:pt x="199" y="177"/>
                      </a:lnTo>
                      <a:lnTo>
                        <a:pt x="199" y="176"/>
                      </a:lnTo>
                      <a:lnTo>
                        <a:pt x="197" y="176"/>
                      </a:lnTo>
                      <a:lnTo>
                        <a:pt x="197" y="174"/>
                      </a:lnTo>
                      <a:lnTo>
                        <a:pt x="199" y="174"/>
                      </a:lnTo>
                      <a:lnTo>
                        <a:pt x="197" y="172"/>
                      </a:lnTo>
                      <a:lnTo>
                        <a:pt x="197" y="171"/>
                      </a:lnTo>
                      <a:lnTo>
                        <a:pt x="196" y="171"/>
                      </a:lnTo>
                      <a:lnTo>
                        <a:pt x="196" y="169"/>
                      </a:lnTo>
                      <a:lnTo>
                        <a:pt x="197" y="169"/>
                      </a:lnTo>
                      <a:lnTo>
                        <a:pt x="199" y="169"/>
                      </a:lnTo>
                      <a:lnTo>
                        <a:pt x="201" y="169"/>
                      </a:lnTo>
                      <a:lnTo>
                        <a:pt x="201" y="168"/>
                      </a:lnTo>
                      <a:lnTo>
                        <a:pt x="199" y="169"/>
                      </a:lnTo>
                      <a:lnTo>
                        <a:pt x="199" y="168"/>
                      </a:lnTo>
                      <a:lnTo>
                        <a:pt x="201" y="168"/>
                      </a:lnTo>
                      <a:lnTo>
                        <a:pt x="199" y="168"/>
                      </a:lnTo>
                      <a:lnTo>
                        <a:pt x="201" y="168"/>
                      </a:lnTo>
                      <a:lnTo>
                        <a:pt x="202" y="168"/>
                      </a:lnTo>
                      <a:lnTo>
                        <a:pt x="202" y="166"/>
                      </a:lnTo>
                      <a:lnTo>
                        <a:pt x="202" y="164"/>
                      </a:lnTo>
                      <a:lnTo>
                        <a:pt x="202" y="166"/>
                      </a:lnTo>
                      <a:lnTo>
                        <a:pt x="204" y="166"/>
                      </a:lnTo>
                      <a:lnTo>
                        <a:pt x="206" y="166"/>
                      </a:lnTo>
                      <a:lnTo>
                        <a:pt x="206" y="164"/>
                      </a:lnTo>
                      <a:lnTo>
                        <a:pt x="204" y="164"/>
                      </a:lnTo>
                      <a:lnTo>
                        <a:pt x="204" y="166"/>
                      </a:lnTo>
                      <a:lnTo>
                        <a:pt x="204" y="164"/>
                      </a:lnTo>
                      <a:lnTo>
                        <a:pt x="204" y="163"/>
                      </a:lnTo>
                      <a:lnTo>
                        <a:pt x="204" y="161"/>
                      </a:lnTo>
                      <a:lnTo>
                        <a:pt x="202" y="161"/>
                      </a:lnTo>
                      <a:lnTo>
                        <a:pt x="202" y="163"/>
                      </a:lnTo>
                      <a:lnTo>
                        <a:pt x="201" y="163"/>
                      </a:lnTo>
                      <a:lnTo>
                        <a:pt x="201" y="161"/>
                      </a:lnTo>
                      <a:lnTo>
                        <a:pt x="201" y="159"/>
                      </a:lnTo>
                      <a:lnTo>
                        <a:pt x="201" y="158"/>
                      </a:lnTo>
                      <a:lnTo>
                        <a:pt x="199" y="158"/>
                      </a:lnTo>
                      <a:lnTo>
                        <a:pt x="197" y="156"/>
                      </a:lnTo>
                      <a:lnTo>
                        <a:pt x="199" y="156"/>
                      </a:lnTo>
                      <a:lnTo>
                        <a:pt x="197" y="156"/>
                      </a:lnTo>
                      <a:lnTo>
                        <a:pt x="197" y="154"/>
                      </a:lnTo>
                      <a:lnTo>
                        <a:pt x="197" y="153"/>
                      </a:lnTo>
                      <a:lnTo>
                        <a:pt x="199" y="153"/>
                      </a:lnTo>
                      <a:lnTo>
                        <a:pt x="199" y="151"/>
                      </a:lnTo>
                      <a:lnTo>
                        <a:pt x="201" y="151"/>
                      </a:lnTo>
                      <a:lnTo>
                        <a:pt x="201" y="149"/>
                      </a:lnTo>
                      <a:lnTo>
                        <a:pt x="202" y="149"/>
                      </a:lnTo>
                      <a:lnTo>
                        <a:pt x="202" y="148"/>
                      </a:lnTo>
                      <a:lnTo>
                        <a:pt x="201" y="148"/>
                      </a:lnTo>
                      <a:lnTo>
                        <a:pt x="202" y="148"/>
                      </a:lnTo>
                      <a:lnTo>
                        <a:pt x="204" y="148"/>
                      </a:lnTo>
                      <a:lnTo>
                        <a:pt x="204" y="149"/>
                      </a:lnTo>
                      <a:lnTo>
                        <a:pt x="204" y="148"/>
                      </a:lnTo>
                      <a:lnTo>
                        <a:pt x="206" y="148"/>
                      </a:lnTo>
                      <a:lnTo>
                        <a:pt x="206" y="146"/>
                      </a:lnTo>
                      <a:lnTo>
                        <a:pt x="207" y="146"/>
                      </a:lnTo>
                      <a:lnTo>
                        <a:pt x="209" y="146"/>
                      </a:lnTo>
                      <a:lnTo>
                        <a:pt x="211" y="146"/>
                      </a:lnTo>
                      <a:lnTo>
                        <a:pt x="213" y="145"/>
                      </a:lnTo>
                      <a:lnTo>
                        <a:pt x="213" y="143"/>
                      </a:lnTo>
                      <a:lnTo>
                        <a:pt x="213" y="141"/>
                      </a:lnTo>
                      <a:lnTo>
                        <a:pt x="214" y="141"/>
                      </a:lnTo>
                      <a:lnTo>
                        <a:pt x="214" y="140"/>
                      </a:lnTo>
                      <a:lnTo>
                        <a:pt x="213" y="140"/>
                      </a:lnTo>
                      <a:lnTo>
                        <a:pt x="213" y="138"/>
                      </a:lnTo>
                      <a:lnTo>
                        <a:pt x="214" y="138"/>
                      </a:lnTo>
                      <a:lnTo>
                        <a:pt x="216" y="138"/>
                      </a:lnTo>
                      <a:lnTo>
                        <a:pt x="218" y="138"/>
                      </a:lnTo>
                      <a:lnTo>
                        <a:pt x="219" y="138"/>
                      </a:lnTo>
                      <a:lnTo>
                        <a:pt x="221" y="138"/>
                      </a:lnTo>
                      <a:lnTo>
                        <a:pt x="221" y="136"/>
                      </a:lnTo>
                      <a:lnTo>
                        <a:pt x="219" y="136"/>
                      </a:lnTo>
                      <a:lnTo>
                        <a:pt x="219" y="135"/>
                      </a:lnTo>
                      <a:lnTo>
                        <a:pt x="219" y="133"/>
                      </a:lnTo>
                      <a:lnTo>
                        <a:pt x="219" y="131"/>
                      </a:lnTo>
                      <a:lnTo>
                        <a:pt x="219" y="130"/>
                      </a:lnTo>
                      <a:lnTo>
                        <a:pt x="219" y="128"/>
                      </a:lnTo>
                      <a:lnTo>
                        <a:pt x="219" y="126"/>
                      </a:lnTo>
                      <a:lnTo>
                        <a:pt x="219" y="125"/>
                      </a:lnTo>
                      <a:lnTo>
                        <a:pt x="221" y="123"/>
                      </a:lnTo>
                      <a:lnTo>
                        <a:pt x="221" y="122"/>
                      </a:lnTo>
                      <a:lnTo>
                        <a:pt x="219" y="122"/>
                      </a:lnTo>
                      <a:lnTo>
                        <a:pt x="219" y="123"/>
                      </a:lnTo>
                      <a:lnTo>
                        <a:pt x="218" y="123"/>
                      </a:lnTo>
                      <a:lnTo>
                        <a:pt x="216" y="123"/>
                      </a:lnTo>
                      <a:lnTo>
                        <a:pt x="216" y="122"/>
                      </a:lnTo>
                      <a:lnTo>
                        <a:pt x="218" y="120"/>
                      </a:lnTo>
                      <a:lnTo>
                        <a:pt x="219" y="120"/>
                      </a:lnTo>
                      <a:lnTo>
                        <a:pt x="219" y="118"/>
                      </a:lnTo>
                      <a:lnTo>
                        <a:pt x="219" y="117"/>
                      </a:lnTo>
                      <a:lnTo>
                        <a:pt x="219" y="115"/>
                      </a:lnTo>
                      <a:lnTo>
                        <a:pt x="221" y="115"/>
                      </a:lnTo>
                      <a:lnTo>
                        <a:pt x="221" y="113"/>
                      </a:lnTo>
                      <a:lnTo>
                        <a:pt x="221" y="112"/>
                      </a:lnTo>
                      <a:lnTo>
                        <a:pt x="219" y="112"/>
                      </a:lnTo>
                      <a:lnTo>
                        <a:pt x="219" y="110"/>
                      </a:lnTo>
                      <a:lnTo>
                        <a:pt x="221" y="110"/>
                      </a:lnTo>
                      <a:lnTo>
                        <a:pt x="223" y="110"/>
                      </a:lnTo>
                      <a:lnTo>
                        <a:pt x="223" y="112"/>
                      </a:lnTo>
                      <a:lnTo>
                        <a:pt x="224" y="112"/>
                      </a:lnTo>
                      <a:lnTo>
                        <a:pt x="226" y="110"/>
                      </a:lnTo>
                      <a:lnTo>
                        <a:pt x="228" y="110"/>
                      </a:lnTo>
                      <a:lnTo>
                        <a:pt x="228" y="108"/>
                      </a:lnTo>
                      <a:lnTo>
                        <a:pt x="229" y="105"/>
                      </a:lnTo>
                      <a:lnTo>
                        <a:pt x="231" y="105"/>
                      </a:lnTo>
                      <a:lnTo>
                        <a:pt x="231" y="103"/>
                      </a:lnTo>
                      <a:lnTo>
                        <a:pt x="233" y="103"/>
                      </a:lnTo>
                      <a:lnTo>
                        <a:pt x="235" y="102"/>
                      </a:lnTo>
                      <a:lnTo>
                        <a:pt x="233" y="102"/>
                      </a:lnTo>
                      <a:lnTo>
                        <a:pt x="233" y="100"/>
                      </a:lnTo>
                      <a:lnTo>
                        <a:pt x="235" y="100"/>
                      </a:lnTo>
                      <a:lnTo>
                        <a:pt x="235" y="99"/>
                      </a:lnTo>
                      <a:lnTo>
                        <a:pt x="235" y="97"/>
                      </a:lnTo>
                      <a:lnTo>
                        <a:pt x="235" y="95"/>
                      </a:lnTo>
                      <a:lnTo>
                        <a:pt x="235" y="94"/>
                      </a:lnTo>
                      <a:lnTo>
                        <a:pt x="236" y="94"/>
                      </a:lnTo>
                      <a:lnTo>
                        <a:pt x="236" y="92"/>
                      </a:lnTo>
                      <a:lnTo>
                        <a:pt x="236" y="90"/>
                      </a:lnTo>
                      <a:lnTo>
                        <a:pt x="236" y="89"/>
                      </a:lnTo>
                      <a:lnTo>
                        <a:pt x="238" y="85"/>
                      </a:lnTo>
                      <a:lnTo>
                        <a:pt x="238" y="84"/>
                      </a:lnTo>
                      <a:lnTo>
                        <a:pt x="240" y="84"/>
                      </a:lnTo>
                      <a:lnTo>
                        <a:pt x="240" y="80"/>
                      </a:lnTo>
                      <a:lnTo>
                        <a:pt x="240" y="79"/>
                      </a:lnTo>
                      <a:lnTo>
                        <a:pt x="240" y="77"/>
                      </a:lnTo>
                      <a:lnTo>
                        <a:pt x="238" y="77"/>
                      </a:lnTo>
                      <a:lnTo>
                        <a:pt x="240" y="74"/>
                      </a:lnTo>
                      <a:lnTo>
                        <a:pt x="241" y="74"/>
                      </a:lnTo>
                      <a:lnTo>
                        <a:pt x="241" y="72"/>
                      </a:lnTo>
                      <a:lnTo>
                        <a:pt x="240" y="71"/>
                      </a:lnTo>
                      <a:lnTo>
                        <a:pt x="238" y="69"/>
                      </a:lnTo>
                      <a:lnTo>
                        <a:pt x="236" y="69"/>
                      </a:lnTo>
                      <a:lnTo>
                        <a:pt x="235" y="69"/>
                      </a:lnTo>
                      <a:lnTo>
                        <a:pt x="233" y="69"/>
                      </a:lnTo>
                      <a:lnTo>
                        <a:pt x="231" y="71"/>
                      </a:lnTo>
                      <a:lnTo>
                        <a:pt x="231" y="69"/>
                      </a:lnTo>
                      <a:lnTo>
                        <a:pt x="229" y="67"/>
                      </a:lnTo>
                      <a:lnTo>
                        <a:pt x="229" y="66"/>
                      </a:lnTo>
                      <a:lnTo>
                        <a:pt x="231" y="64"/>
                      </a:lnTo>
                      <a:lnTo>
                        <a:pt x="231" y="62"/>
                      </a:lnTo>
                      <a:lnTo>
                        <a:pt x="233" y="62"/>
                      </a:lnTo>
                      <a:lnTo>
                        <a:pt x="236" y="62"/>
                      </a:lnTo>
                      <a:lnTo>
                        <a:pt x="238" y="62"/>
                      </a:lnTo>
                      <a:lnTo>
                        <a:pt x="240" y="62"/>
                      </a:lnTo>
                      <a:lnTo>
                        <a:pt x="241" y="62"/>
                      </a:lnTo>
                      <a:lnTo>
                        <a:pt x="241" y="61"/>
                      </a:lnTo>
                      <a:lnTo>
                        <a:pt x="243" y="61"/>
                      </a:lnTo>
                      <a:lnTo>
                        <a:pt x="245" y="61"/>
                      </a:lnTo>
                      <a:lnTo>
                        <a:pt x="245" y="59"/>
                      </a:lnTo>
                      <a:lnTo>
                        <a:pt x="246" y="57"/>
                      </a:lnTo>
                      <a:lnTo>
                        <a:pt x="246" y="56"/>
                      </a:lnTo>
                      <a:lnTo>
                        <a:pt x="245" y="54"/>
                      </a:lnTo>
                      <a:lnTo>
                        <a:pt x="245" y="53"/>
                      </a:lnTo>
                      <a:lnTo>
                        <a:pt x="246" y="53"/>
                      </a:lnTo>
                      <a:lnTo>
                        <a:pt x="246" y="51"/>
                      </a:lnTo>
                      <a:lnTo>
                        <a:pt x="246" y="49"/>
                      </a:lnTo>
                      <a:lnTo>
                        <a:pt x="248" y="49"/>
                      </a:lnTo>
                      <a:lnTo>
                        <a:pt x="248" y="48"/>
                      </a:lnTo>
                      <a:lnTo>
                        <a:pt x="248" y="46"/>
                      </a:lnTo>
                      <a:lnTo>
                        <a:pt x="248" y="44"/>
                      </a:lnTo>
                      <a:lnTo>
                        <a:pt x="246" y="43"/>
                      </a:lnTo>
                      <a:lnTo>
                        <a:pt x="246" y="41"/>
                      </a:lnTo>
                      <a:lnTo>
                        <a:pt x="245" y="41"/>
                      </a:lnTo>
                      <a:lnTo>
                        <a:pt x="245" y="39"/>
                      </a:lnTo>
                      <a:lnTo>
                        <a:pt x="246" y="38"/>
                      </a:lnTo>
                      <a:lnTo>
                        <a:pt x="246" y="36"/>
                      </a:lnTo>
                      <a:lnTo>
                        <a:pt x="248" y="36"/>
                      </a:lnTo>
                      <a:lnTo>
                        <a:pt x="246" y="35"/>
                      </a:lnTo>
                      <a:lnTo>
                        <a:pt x="248" y="33"/>
                      </a:lnTo>
                      <a:lnTo>
                        <a:pt x="248" y="31"/>
                      </a:lnTo>
                      <a:lnTo>
                        <a:pt x="248" y="30"/>
                      </a:lnTo>
                      <a:lnTo>
                        <a:pt x="250" y="30"/>
                      </a:lnTo>
                      <a:lnTo>
                        <a:pt x="250" y="28"/>
                      </a:lnTo>
                      <a:lnTo>
                        <a:pt x="251" y="26"/>
                      </a:lnTo>
                      <a:lnTo>
                        <a:pt x="250" y="26"/>
                      </a:lnTo>
                      <a:lnTo>
                        <a:pt x="248" y="26"/>
                      </a:lnTo>
                      <a:lnTo>
                        <a:pt x="248" y="25"/>
                      </a:lnTo>
                      <a:lnTo>
                        <a:pt x="248" y="23"/>
                      </a:lnTo>
                      <a:lnTo>
                        <a:pt x="246" y="23"/>
                      </a:lnTo>
                      <a:lnTo>
                        <a:pt x="246" y="21"/>
                      </a:lnTo>
                      <a:lnTo>
                        <a:pt x="246" y="20"/>
                      </a:lnTo>
                      <a:lnTo>
                        <a:pt x="248" y="18"/>
                      </a:lnTo>
                      <a:lnTo>
                        <a:pt x="246" y="18"/>
                      </a:lnTo>
                      <a:lnTo>
                        <a:pt x="246" y="16"/>
                      </a:lnTo>
                      <a:lnTo>
                        <a:pt x="248" y="15"/>
                      </a:lnTo>
                      <a:lnTo>
                        <a:pt x="250" y="15"/>
                      </a:lnTo>
                      <a:lnTo>
                        <a:pt x="251" y="15"/>
                      </a:lnTo>
                      <a:lnTo>
                        <a:pt x="253" y="13"/>
                      </a:lnTo>
                      <a:lnTo>
                        <a:pt x="253" y="12"/>
                      </a:lnTo>
                      <a:lnTo>
                        <a:pt x="253" y="10"/>
                      </a:lnTo>
                      <a:lnTo>
                        <a:pt x="253" y="12"/>
                      </a:lnTo>
                      <a:lnTo>
                        <a:pt x="253" y="10"/>
                      </a:lnTo>
                      <a:lnTo>
                        <a:pt x="255" y="8"/>
                      </a:lnTo>
                      <a:lnTo>
                        <a:pt x="255" y="10"/>
                      </a:lnTo>
                      <a:lnTo>
                        <a:pt x="256" y="12"/>
                      </a:lnTo>
                      <a:lnTo>
                        <a:pt x="256" y="10"/>
                      </a:lnTo>
                      <a:lnTo>
                        <a:pt x="256" y="8"/>
                      </a:lnTo>
                      <a:lnTo>
                        <a:pt x="255" y="8"/>
                      </a:lnTo>
                      <a:lnTo>
                        <a:pt x="256" y="7"/>
                      </a:lnTo>
                      <a:lnTo>
                        <a:pt x="256" y="5"/>
                      </a:lnTo>
                      <a:lnTo>
                        <a:pt x="258" y="3"/>
                      </a:lnTo>
                      <a:lnTo>
                        <a:pt x="258" y="2"/>
                      </a:lnTo>
                      <a:lnTo>
                        <a:pt x="258" y="3"/>
                      </a:lnTo>
                      <a:lnTo>
                        <a:pt x="260" y="3"/>
                      </a:lnTo>
                      <a:lnTo>
                        <a:pt x="260" y="5"/>
                      </a:lnTo>
                      <a:lnTo>
                        <a:pt x="260" y="3"/>
                      </a:lnTo>
                      <a:lnTo>
                        <a:pt x="260" y="2"/>
                      </a:lnTo>
                      <a:lnTo>
                        <a:pt x="262" y="2"/>
                      </a:lnTo>
                      <a:lnTo>
                        <a:pt x="262" y="0"/>
                      </a:lnTo>
                      <a:lnTo>
                        <a:pt x="263" y="0"/>
                      </a:lnTo>
                      <a:lnTo>
                        <a:pt x="263" y="2"/>
                      </a:lnTo>
                      <a:lnTo>
                        <a:pt x="262" y="2"/>
                      </a:lnTo>
                      <a:lnTo>
                        <a:pt x="263" y="2"/>
                      </a:lnTo>
                      <a:lnTo>
                        <a:pt x="263" y="3"/>
                      </a:lnTo>
                      <a:lnTo>
                        <a:pt x="265" y="3"/>
                      </a:lnTo>
                      <a:lnTo>
                        <a:pt x="263" y="5"/>
                      </a:lnTo>
                      <a:lnTo>
                        <a:pt x="263" y="3"/>
                      </a:lnTo>
                      <a:lnTo>
                        <a:pt x="262" y="3"/>
                      </a:lnTo>
                      <a:lnTo>
                        <a:pt x="262" y="5"/>
                      </a:lnTo>
                      <a:lnTo>
                        <a:pt x="263" y="3"/>
                      </a:lnTo>
                      <a:lnTo>
                        <a:pt x="263" y="5"/>
                      </a:lnTo>
                      <a:lnTo>
                        <a:pt x="263" y="7"/>
                      </a:lnTo>
                      <a:lnTo>
                        <a:pt x="262" y="7"/>
                      </a:lnTo>
                      <a:lnTo>
                        <a:pt x="263" y="7"/>
                      </a:lnTo>
                      <a:lnTo>
                        <a:pt x="265" y="7"/>
                      </a:lnTo>
                      <a:lnTo>
                        <a:pt x="265" y="8"/>
                      </a:lnTo>
                      <a:lnTo>
                        <a:pt x="263" y="8"/>
                      </a:lnTo>
                      <a:lnTo>
                        <a:pt x="262" y="8"/>
                      </a:lnTo>
                      <a:lnTo>
                        <a:pt x="262" y="10"/>
                      </a:lnTo>
                      <a:lnTo>
                        <a:pt x="260" y="12"/>
                      </a:lnTo>
                      <a:lnTo>
                        <a:pt x="262" y="12"/>
                      </a:lnTo>
                      <a:lnTo>
                        <a:pt x="262" y="10"/>
                      </a:lnTo>
                      <a:lnTo>
                        <a:pt x="262" y="12"/>
                      </a:lnTo>
                      <a:lnTo>
                        <a:pt x="262" y="10"/>
                      </a:lnTo>
                      <a:lnTo>
                        <a:pt x="263" y="10"/>
                      </a:lnTo>
                      <a:lnTo>
                        <a:pt x="263" y="8"/>
                      </a:lnTo>
                      <a:lnTo>
                        <a:pt x="263" y="10"/>
                      </a:lnTo>
                      <a:lnTo>
                        <a:pt x="265" y="8"/>
                      </a:lnTo>
                      <a:lnTo>
                        <a:pt x="265" y="10"/>
                      </a:lnTo>
                      <a:lnTo>
                        <a:pt x="265" y="12"/>
                      </a:lnTo>
                      <a:lnTo>
                        <a:pt x="265" y="13"/>
                      </a:lnTo>
                      <a:lnTo>
                        <a:pt x="265" y="15"/>
                      </a:lnTo>
                      <a:lnTo>
                        <a:pt x="265" y="16"/>
                      </a:lnTo>
                      <a:lnTo>
                        <a:pt x="265" y="18"/>
                      </a:lnTo>
                      <a:lnTo>
                        <a:pt x="265" y="16"/>
                      </a:lnTo>
                      <a:lnTo>
                        <a:pt x="267" y="15"/>
                      </a:lnTo>
                      <a:lnTo>
                        <a:pt x="267" y="13"/>
                      </a:lnTo>
                      <a:lnTo>
                        <a:pt x="267" y="12"/>
                      </a:lnTo>
                      <a:lnTo>
                        <a:pt x="268" y="10"/>
                      </a:lnTo>
                      <a:lnTo>
                        <a:pt x="268" y="8"/>
                      </a:lnTo>
                      <a:lnTo>
                        <a:pt x="270" y="8"/>
                      </a:lnTo>
                      <a:lnTo>
                        <a:pt x="270" y="7"/>
                      </a:lnTo>
                      <a:lnTo>
                        <a:pt x="272" y="7"/>
                      </a:lnTo>
                      <a:lnTo>
                        <a:pt x="270" y="7"/>
                      </a:lnTo>
                      <a:lnTo>
                        <a:pt x="270" y="5"/>
                      </a:lnTo>
                      <a:lnTo>
                        <a:pt x="272" y="5"/>
                      </a:lnTo>
                      <a:lnTo>
                        <a:pt x="272" y="3"/>
                      </a:lnTo>
                      <a:lnTo>
                        <a:pt x="273" y="3"/>
                      </a:lnTo>
                      <a:lnTo>
                        <a:pt x="273" y="2"/>
                      </a:lnTo>
                      <a:lnTo>
                        <a:pt x="272" y="2"/>
                      </a:lnTo>
                      <a:lnTo>
                        <a:pt x="273" y="2"/>
                      </a:lnTo>
                      <a:lnTo>
                        <a:pt x="275" y="0"/>
                      </a:lnTo>
                      <a:lnTo>
                        <a:pt x="275" y="2"/>
                      </a:lnTo>
                      <a:lnTo>
                        <a:pt x="275" y="3"/>
                      </a:lnTo>
                      <a:lnTo>
                        <a:pt x="277" y="3"/>
                      </a:lnTo>
                      <a:lnTo>
                        <a:pt x="275" y="5"/>
                      </a:lnTo>
                      <a:lnTo>
                        <a:pt x="275" y="7"/>
                      </a:lnTo>
                      <a:lnTo>
                        <a:pt x="273" y="7"/>
                      </a:lnTo>
                      <a:lnTo>
                        <a:pt x="275" y="7"/>
                      </a:lnTo>
                      <a:lnTo>
                        <a:pt x="273" y="8"/>
                      </a:lnTo>
                      <a:lnTo>
                        <a:pt x="272" y="8"/>
                      </a:lnTo>
                      <a:lnTo>
                        <a:pt x="272" y="10"/>
                      </a:lnTo>
                      <a:lnTo>
                        <a:pt x="270" y="10"/>
                      </a:lnTo>
                      <a:lnTo>
                        <a:pt x="270" y="12"/>
                      </a:lnTo>
                      <a:lnTo>
                        <a:pt x="268" y="12"/>
                      </a:lnTo>
                      <a:lnTo>
                        <a:pt x="268" y="13"/>
                      </a:lnTo>
                      <a:lnTo>
                        <a:pt x="270" y="13"/>
                      </a:lnTo>
                      <a:lnTo>
                        <a:pt x="268" y="13"/>
                      </a:lnTo>
                      <a:lnTo>
                        <a:pt x="268" y="15"/>
                      </a:lnTo>
                      <a:lnTo>
                        <a:pt x="270" y="15"/>
                      </a:lnTo>
                      <a:lnTo>
                        <a:pt x="270" y="13"/>
                      </a:lnTo>
                      <a:lnTo>
                        <a:pt x="270" y="12"/>
                      </a:lnTo>
                      <a:lnTo>
                        <a:pt x="272" y="10"/>
                      </a:lnTo>
                      <a:lnTo>
                        <a:pt x="273" y="10"/>
                      </a:lnTo>
                      <a:lnTo>
                        <a:pt x="273" y="12"/>
                      </a:lnTo>
                      <a:lnTo>
                        <a:pt x="272" y="12"/>
                      </a:lnTo>
                      <a:lnTo>
                        <a:pt x="272" y="13"/>
                      </a:lnTo>
                      <a:lnTo>
                        <a:pt x="270" y="13"/>
                      </a:lnTo>
                      <a:lnTo>
                        <a:pt x="272" y="13"/>
                      </a:lnTo>
                      <a:lnTo>
                        <a:pt x="272" y="12"/>
                      </a:lnTo>
                      <a:lnTo>
                        <a:pt x="273" y="12"/>
                      </a:lnTo>
                      <a:lnTo>
                        <a:pt x="273" y="13"/>
                      </a:lnTo>
                      <a:lnTo>
                        <a:pt x="272" y="13"/>
                      </a:lnTo>
                      <a:lnTo>
                        <a:pt x="273" y="13"/>
                      </a:lnTo>
                      <a:lnTo>
                        <a:pt x="273" y="15"/>
                      </a:lnTo>
                      <a:lnTo>
                        <a:pt x="272" y="15"/>
                      </a:lnTo>
                      <a:lnTo>
                        <a:pt x="272" y="16"/>
                      </a:lnTo>
                      <a:lnTo>
                        <a:pt x="270" y="16"/>
                      </a:lnTo>
                      <a:lnTo>
                        <a:pt x="270" y="18"/>
                      </a:lnTo>
                      <a:lnTo>
                        <a:pt x="268" y="18"/>
                      </a:lnTo>
                      <a:lnTo>
                        <a:pt x="270" y="18"/>
                      </a:lnTo>
                      <a:lnTo>
                        <a:pt x="268" y="20"/>
                      </a:lnTo>
                      <a:lnTo>
                        <a:pt x="270" y="20"/>
                      </a:lnTo>
                      <a:lnTo>
                        <a:pt x="268" y="20"/>
                      </a:lnTo>
                      <a:lnTo>
                        <a:pt x="270" y="20"/>
                      </a:lnTo>
                      <a:lnTo>
                        <a:pt x="270" y="18"/>
                      </a:lnTo>
                      <a:lnTo>
                        <a:pt x="270" y="16"/>
                      </a:lnTo>
                      <a:lnTo>
                        <a:pt x="272" y="16"/>
                      </a:lnTo>
                      <a:lnTo>
                        <a:pt x="273" y="16"/>
                      </a:lnTo>
                      <a:lnTo>
                        <a:pt x="273" y="15"/>
                      </a:lnTo>
                      <a:lnTo>
                        <a:pt x="275" y="15"/>
                      </a:lnTo>
                      <a:lnTo>
                        <a:pt x="275" y="16"/>
                      </a:lnTo>
                      <a:lnTo>
                        <a:pt x="273" y="18"/>
                      </a:lnTo>
                      <a:lnTo>
                        <a:pt x="272" y="20"/>
                      </a:lnTo>
                      <a:close/>
                      <a:moveTo>
                        <a:pt x="278" y="10"/>
                      </a:moveTo>
                      <a:lnTo>
                        <a:pt x="277" y="10"/>
                      </a:lnTo>
                      <a:lnTo>
                        <a:pt x="277" y="8"/>
                      </a:lnTo>
                      <a:lnTo>
                        <a:pt x="278" y="7"/>
                      </a:lnTo>
                      <a:lnTo>
                        <a:pt x="280" y="7"/>
                      </a:lnTo>
                      <a:lnTo>
                        <a:pt x="280" y="8"/>
                      </a:lnTo>
                      <a:lnTo>
                        <a:pt x="278" y="8"/>
                      </a:lnTo>
                      <a:lnTo>
                        <a:pt x="280" y="8"/>
                      </a:lnTo>
                      <a:lnTo>
                        <a:pt x="278" y="10"/>
                      </a:lnTo>
                      <a:close/>
                      <a:moveTo>
                        <a:pt x="280" y="16"/>
                      </a:moveTo>
                      <a:lnTo>
                        <a:pt x="280" y="15"/>
                      </a:lnTo>
                      <a:lnTo>
                        <a:pt x="280" y="13"/>
                      </a:lnTo>
                      <a:lnTo>
                        <a:pt x="282" y="13"/>
                      </a:lnTo>
                      <a:lnTo>
                        <a:pt x="280" y="15"/>
                      </a:lnTo>
                      <a:lnTo>
                        <a:pt x="282" y="15"/>
                      </a:lnTo>
                      <a:lnTo>
                        <a:pt x="280" y="16"/>
                      </a:lnTo>
                      <a:close/>
                      <a:moveTo>
                        <a:pt x="280" y="18"/>
                      </a:moveTo>
                      <a:lnTo>
                        <a:pt x="278" y="18"/>
                      </a:lnTo>
                      <a:lnTo>
                        <a:pt x="280" y="18"/>
                      </a:lnTo>
                      <a:lnTo>
                        <a:pt x="278" y="18"/>
                      </a:lnTo>
                      <a:lnTo>
                        <a:pt x="280" y="18"/>
                      </a:lnTo>
                      <a:close/>
                      <a:moveTo>
                        <a:pt x="316" y="35"/>
                      </a:moveTo>
                      <a:lnTo>
                        <a:pt x="316" y="33"/>
                      </a:lnTo>
                      <a:lnTo>
                        <a:pt x="317" y="33"/>
                      </a:lnTo>
                      <a:lnTo>
                        <a:pt x="317" y="35"/>
                      </a:lnTo>
                      <a:lnTo>
                        <a:pt x="316" y="35"/>
                      </a:lnTo>
                      <a:close/>
                      <a:moveTo>
                        <a:pt x="360" y="23"/>
                      </a:moveTo>
                      <a:lnTo>
                        <a:pt x="358" y="23"/>
                      </a:lnTo>
                      <a:lnTo>
                        <a:pt x="358" y="25"/>
                      </a:lnTo>
                      <a:lnTo>
                        <a:pt x="356" y="25"/>
                      </a:lnTo>
                      <a:lnTo>
                        <a:pt x="356" y="23"/>
                      </a:lnTo>
                      <a:lnTo>
                        <a:pt x="356" y="21"/>
                      </a:lnTo>
                      <a:lnTo>
                        <a:pt x="358" y="21"/>
                      </a:lnTo>
                      <a:lnTo>
                        <a:pt x="360" y="21"/>
                      </a:lnTo>
                      <a:lnTo>
                        <a:pt x="360" y="23"/>
                      </a:lnTo>
                      <a:close/>
                      <a:moveTo>
                        <a:pt x="366" y="25"/>
                      </a:moveTo>
                      <a:lnTo>
                        <a:pt x="365" y="25"/>
                      </a:lnTo>
                      <a:lnTo>
                        <a:pt x="366" y="25"/>
                      </a:lnTo>
                      <a:lnTo>
                        <a:pt x="365" y="26"/>
                      </a:lnTo>
                      <a:lnTo>
                        <a:pt x="366" y="26"/>
                      </a:lnTo>
                      <a:lnTo>
                        <a:pt x="366" y="25"/>
                      </a:lnTo>
                      <a:lnTo>
                        <a:pt x="366" y="26"/>
                      </a:lnTo>
                      <a:lnTo>
                        <a:pt x="365" y="26"/>
                      </a:lnTo>
                      <a:lnTo>
                        <a:pt x="363" y="26"/>
                      </a:lnTo>
                      <a:lnTo>
                        <a:pt x="363" y="25"/>
                      </a:lnTo>
                      <a:lnTo>
                        <a:pt x="365" y="25"/>
                      </a:lnTo>
                      <a:lnTo>
                        <a:pt x="363" y="25"/>
                      </a:lnTo>
                      <a:lnTo>
                        <a:pt x="363" y="23"/>
                      </a:lnTo>
                      <a:lnTo>
                        <a:pt x="363" y="25"/>
                      </a:lnTo>
                      <a:lnTo>
                        <a:pt x="361" y="23"/>
                      </a:lnTo>
                      <a:lnTo>
                        <a:pt x="361" y="21"/>
                      </a:lnTo>
                      <a:lnTo>
                        <a:pt x="363" y="21"/>
                      </a:lnTo>
                      <a:lnTo>
                        <a:pt x="365" y="21"/>
                      </a:lnTo>
                      <a:lnTo>
                        <a:pt x="366" y="21"/>
                      </a:lnTo>
                      <a:lnTo>
                        <a:pt x="365" y="23"/>
                      </a:lnTo>
                      <a:lnTo>
                        <a:pt x="366" y="23"/>
                      </a:lnTo>
                      <a:lnTo>
                        <a:pt x="366" y="25"/>
                      </a:lnTo>
                      <a:close/>
                      <a:moveTo>
                        <a:pt x="366" y="25"/>
                      </a:moveTo>
                      <a:lnTo>
                        <a:pt x="368" y="25"/>
                      </a:lnTo>
                      <a:lnTo>
                        <a:pt x="366" y="26"/>
                      </a:lnTo>
                      <a:lnTo>
                        <a:pt x="366" y="25"/>
                      </a:lnTo>
                      <a:close/>
                      <a:moveTo>
                        <a:pt x="360" y="21"/>
                      </a:moveTo>
                      <a:lnTo>
                        <a:pt x="361" y="21"/>
                      </a:lnTo>
                      <a:lnTo>
                        <a:pt x="361" y="23"/>
                      </a:lnTo>
                      <a:lnTo>
                        <a:pt x="361" y="25"/>
                      </a:lnTo>
                      <a:lnTo>
                        <a:pt x="360" y="25"/>
                      </a:lnTo>
                      <a:lnTo>
                        <a:pt x="360" y="23"/>
                      </a:lnTo>
                      <a:lnTo>
                        <a:pt x="360" y="25"/>
                      </a:lnTo>
                      <a:lnTo>
                        <a:pt x="358" y="25"/>
                      </a:lnTo>
                      <a:lnTo>
                        <a:pt x="358" y="23"/>
                      </a:lnTo>
                      <a:lnTo>
                        <a:pt x="360" y="23"/>
                      </a:lnTo>
                      <a:lnTo>
                        <a:pt x="360" y="21"/>
                      </a:lnTo>
                      <a:close/>
                      <a:moveTo>
                        <a:pt x="368" y="25"/>
                      </a:moveTo>
                      <a:lnTo>
                        <a:pt x="366" y="23"/>
                      </a:lnTo>
                      <a:lnTo>
                        <a:pt x="368" y="23"/>
                      </a:lnTo>
                      <a:lnTo>
                        <a:pt x="368" y="25"/>
                      </a:lnTo>
                      <a:close/>
                      <a:moveTo>
                        <a:pt x="361" y="25"/>
                      </a:moveTo>
                      <a:lnTo>
                        <a:pt x="363" y="25"/>
                      </a:lnTo>
                      <a:lnTo>
                        <a:pt x="365" y="25"/>
                      </a:lnTo>
                      <a:lnTo>
                        <a:pt x="363" y="25"/>
                      </a:lnTo>
                      <a:lnTo>
                        <a:pt x="363" y="26"/>
                      </a:lnTo>
                      <a:lnTo>
                        <a:pt x="365" y="26"/>
                      </a:lnTo>
                      <a:lnTo>
                        <a:pt x="365" y="28"/>
                      </a:lnTo>
                      <a:lnTo>
                        <a:pt x="363" y="26"/>
                      </a:lnTo>
                      <a:lnTo>
                        <a:pt x="363" y="28"/>
                      </a:lnTo>
                      <a:lnTo>
                        <a:pt x="361" y="28"/>
                      </a:lnTo>
                      <a:lnTo>
                        <a:pt x="363" y="28"/>
                      </a:lnTo>
                      <a:lnTo>
                        <a:pt x="365" y="28"/>
                      </a:lnTo>
                      <a:lnTo>
                        <a:pt x="363" y="30"/>
                      </a:lnTo>
                      <a:lnTo>
                        <a:pt x="361" y="30"/>
                      </a:lnTo>
                      <a:lnTo>
                        <a:pt x="363" y="30"/>
                      </a:lnTo>
                      <a:lnTo>
                        <a:pt x="361" y="30"/>
                      </a:lnTo>
                      <a:lnTo>
                        <a:pt x="361" y="31"/>
                      </a:lnTo>
                      <a:lnTo>
                        <a:pt x="361" y="30"/>
                      </a:lnTo>
                      <a:lnTo>
                        <a:pt x="361" y="31"/>
                      </a:lnTo>
                      <a:lnTo>
                        <a:pt x="360" y="31"/>
                      </a:lnTo>
                      <a:lnTo>
                        <a:pt x="360" y="30"/>
                      </a:lnTo>
                      <a:lnTo>
                        <a:pt x="360" y="28"/>
                      </a:lnTo>
                      <a:lnTo>
                        <a:pt x="360" y="26"/>
                      </a:lnTo>
                      <a:lnTo>
                        <a:pt x="358" y="26"/>
                      </a:lnTo>
                      <a:lnTo>
                        <a:pt x="360" y="25"/>
                      </a:lnTo>
                      <a:lnTo>
                        <a:pt x="358" y="25"/>
                      </a:lnTo>
                      <a:lnTo>
                        <a:pt x="360" y="25"/>
                      </a:lnTo>
                      <a:lnTo>
                        <a:pt x="361" y="25"/>
                      </a:lnTo>
                      <a:close/>
                      <a:moveTo>
                        <a:pt x="370" y="26"/>
                      </a:moveTo>
                      <a:lnTo>
                        <a:pt x="368" y="26"/>
                      </a:lnTo>
                      <a:lnTo>
                        <a:pt x="368" y="25"/>
                      </a:lnTo>
                      <a:lnTo>
                        <a:pt x="368" y="26"/>
                      </a:lnTo>
                      <a:lnTo>
                        <a:pt x="370" y="26"/>
                      </a:lnTo>
                      <a:close/>
                      <a:moveTo>
                        <a:pt x="356" y="26"/>
                      </a:moveTo>
                      <a:lnTo>
                        <a:pt x="356" y="28"/>
                      </a:lnTo>
                      <a:lnTo>
                        <a:pt x="356" y="26"/>
                      </a:lnTo>
                      <a:lnTo>
                        <a:pt x="358" y="26"/>
                      </a:lnTo>
                      <a:lnTo>
                        <a:pt x="358" y="28"/>
                      </a:lnTo>
                      <a:lnTo>
                        <a:pt x="356" y="28"/>
                      </a:lnTo>
                      <a:lnTo>
                        <a:pt x="354" y="28"/>
                      </a:lnTo>
                      <a:lnTo>
                        <a:pt x="353" y="28"/>
                      </a:lnTo>
                      <a:lnTo>
                        <a:pt x="353" y="26"/>
                      </a:lnTo>
                      <a:lnTo>
                        <a:pt x="354" y="26"/>
                      </a:lnTo>
                      <a:lnTo>
                        <a:pt x="356" y="26"/>
                      </a:lnTo>
                      <a:close/>
                      <a:moveTo>
                        <a:pt x="360" y="26"/>
                      </a:moveTo>
                      <a:lnTo>
                        <a:pt x="360" y="28"/>
                      </a:lnTo>
                      <a:lnTo>
                        <a:pt x="360" y="30"/>
                      </a:lnTo>
                      <a:lnTo>
                        <a:pt x="360" y="31"/>
                      </a:lnTo>
                      <a:lnTo>
                        <a:pt x="360" y="33"/>
                      </a:lnTo>
                      <a:lnTo>
                        <a:pt x="358" y="33"/>
                      </a:lnTo>
                      <a:lnTo>
                        <a:pt x="358" y="31"/>
                      </a:lnTo>
                      <a:lnTo>
                        <a:pt x="360" y="31"/>
                      </a:lnTo>
                      <a:lnTo>
                        <a:pt x="358" y="31"/>
                      </a:lnTo>
                      <a:lnTo>
                        <a:pt x="356" y="30"/>
                      </a:lnTo>
                      <a:lnTo>
                        <a:pt x="356" y="28"/>
                      </a:lnTo>
                      <a:lnTo>
                        <a:pt x="358" y="28"/>
                      </a:lnTo>
                      <a:lnTo>
                        <a:pt x="358" y="30"/>
                      </a:lnTo>
                      <a:lnTo>
                        <a:pt x="358" y="28"/>
                      </a:lnTo>
                      <a:lnTo>
                        <a:pt x="358" y="26"/>
                      </a:lnTo>
                      <a:lnTo>
                        <a:pt x="360" y="26"/>
                      </a:lnTo>
                      <a:close/>
                      <a:moveTo>
                        <a:pt x="351" y="33"/>
                      </a:moveTo>
                      <a:lnTo>
                        <a:pt x="351" y="31"/>
                      </a:lnTo>
                      <a:lnTo>
                        <a:pt x="351" y="30"/>
                      </a:lnTo>
                      <a:lnTo>
                        <a:pt x="351" y="28"/>
                      </a:lnTo>
                      <a:lnTo>
                        <a:pt x="349" y="28"/>
                      </a:lnTo>
                      <a:lnTo>
                        <a:pt x="351" y="28"/>
                      </a:lnTo>
                      <a:lnTo>
                        <a:pt x="349" y="26"/>
                      </a:lnTo>
                      <a:lnTo>
                        <a:pt x="351" y="26"/>
                      </a:lnTo>
                      <a:lnTo>
                        <a:pt x="351" y="28"/>
                      </a:lnTo>
                      <a:lnTo>
                        <a:pt x="351" y="30"/>
                      </a:lnTo>
                      <a:lnTo>
                        <a:pt x="351" y="31"/>
                      </a:lnTo>
                      <a:lnTo>
                        <a:pt x="353" y="31"/>
                      </a:lnTo>
                      <a:lnTo>
                        <a:pt x="351" y="33"/>
                      </a:lnTo>
                      <a:close/>
                      <a:moveTo>
                        <a:pt x="366" y="28"/>
                      </a:moveTo>
                      <a:lnTo>
                        <a:pt x="366" y="26"/>
                      </a:lnTo>
                      <a:lnTo>
                        <a:pt x="368" y="26"/>
                      </a:lnTo>
                      <a:lnTo>
                        <a:pt x="368" y="28"/>
                      </a:lnTo>
                      <a:lnTo>
                        <a:pt x="366" y="28"/>
                      </a:lnTo>
                      <a:close/>
                      <a:moveTo>
                        <a:pt x="356" y="33"/>
                      </a:moveTo>
                      <a:lnTo>
                        <a:pt x="354" y="33"/>
                      </a:lnTo>
                      <a:lnTo>
                        <a:pt x="354" y="31"/>
                      </a:lnTo>
                      <a:lnTo>
                        <a:pt x="353" y="30"/>
                      </a:lnTo>
                      <a:lnTo>
                        <a:pt x="354" y="30"/>
                      </a:lnTo>
                      <a:lnTo>
                        <a:pt x="353" y="30"/>
                      </a:lnTo>
                      <a:lnTo>
                        <a:pt x="354" y="30"/>
                      </a:lnTo>
                      <a:lnTo>
                        <a:pt x="354" y="28"/>
                      </a:lnTo>
                      <a:lnTo>
                        <a:pt x="356" y="28"/>
                      </a:lnTo>
                      <a:lnTo>
                        <a:pt x="356" y="30"/>
                      </a:lnTo>
                      <a:lnTo>
                        <a:pt x="356" y="31"/>
                      </a:lnTo>
                      <a:lnTo>
                        <a:pt x="358" y="31"/>
                      </a:lnTo>
                      <a:lnTo>
                        <a:pt x="358" y="33"/>
                      </a:lnTo>
                      <a:lnTo>
                        <a:pt x="356" y="33"/>
                      </a:lnTo>
                      <a:close/>
                      <a:moveTo>
                        <a:pt x="346" y="36"/>
                      </a:moveTo>
                      <a:lnTo>
                        <a:pt x="346" y="35"/>
                      </a:lnTo>
                      <a:lnTo>
                        <a:pt x="346" y="33"/>
                      </a:lnTo>
                      <a:lnTo>
                        <a:pt x="348" y="31"/>
                      </a:lnTo>
                      <a:lnTo>
                        <a:pt x="348" y="30"/>
                      </a:lnTo>
                      <a:lnTo>
                        <a:pt x="349" y="30"/>
                      </a:lnTo>
                      <a:lnTo>
                        <a:pt x="349" y="31"/>
                      </a:lnTo>
                      <a:lnTo>
                        <a:pt x="348" y="31"/>
                      </a:lnTo>
                      <a:lnTo>
                        <a:pt x="349" y="31"/>
                      </a:lnTo>
                      <a:lnTo>
                        <a:pt x="348" y="33"/>
                      </a:lnTo>
                      <a:lnTo>
                        <a:pt x="348" y="35"/>
                      </a:lnTo>
                      <a:lnTo>
                        <a:pt x="346" y="35"/>
                      </a:lnTo>
                      <a:lnTo>
                        <a:pt x="346" y="36"/>
                      </a:lnTo>
                      <a:close/>
                      <a:moveTo>
                        <a:pt x="354" y="35"/>
                      </a:moveTo>
                      <a:lnTo>
                        <a:pt x="354" y="33"/>
                      </a:lnTo>
                      <a:lnTo>
                        <a:pt x="353" y="33"/>
                      </a:lnTo>
                      <a:lnTo>
                        <a:pt x="354" y="33"/>
                      </a:lnTo>
                      <a:lnTo>
                        <a:pt x="354" y="35"/>
                      </a:lnTo>
                      <a:close/>
                      <a:moveTo>
                        <a:pt x="348" y="36"/>
                      </a:moveTo>
                      <a:lnTo>
                        <a:pt x="346" y="36"/>
                      </a:lnTo>
                      <a:lnTo>
                        <a:pt x="346" y="35"/>
                      </a:lnTo>
                      <a:lnTo>
                        <a:pt x="348" y="35"/>
                      </a:lnTo>
                      <a:lnTo>
                        <a:pt x="348" y="36"/>
                      </a:lnTo>
                      <a:close/>
                      <a:moveTo>
                        <a:pt x="324" y="64"/>
                      </a:moveTo>
                      <a:lnTo>
                        <a:pt x="322" y="64"/>
                      </a:lnTo>
                      <a:lnTo>
                        <a:pt x="322" y="62"/>
                      </a:lnTo>
                      <a:lnTo>
                        <a:pt x="322" y="61"/>
                      </a:lnTo>
                      <a:lnTo>
                        <a:pt x="324" y="59"/>
                      </a:lnTo>
                      <a:lnTo>
                        <a:pt x="324" y="57"/>
                      </a:lnTo>
                      <a:lnTo>
                        <a:pt x="324" y="56"/>
                      </a:lnTo>
                      <a:lnTo>
                        <a:pt x="324" y="54"/>
                      </a:lnTo>
                      <a:lnTo>
                        <a:pt x="326" y="53"/>
                      </a:lnTo>
                      <a:lnTo>
                        <a:pt x="326" y="51"/>
                      </a:lnTo>
                      <a:lnTo>
                        <a:pt x="327" y="51"/>
                      </a:lnTo>
                      <a:lnTo>
                        <a:pt x="329" y="51"/>
                      </a:lnTo>
                      <a:lnTo>
                        <a:pt x="329" y="53"/>
                      </a:lnTo>
                      <a:lnTo>
                        <a:pt x="331" y="53"/>
                      </a:lnTo>
                      <a:lnTo>
                        <a:pt x="331" y="54"/>
                      </a:lnTo>
                      <a:lnTo>
                        <a:pt x="329" y="54"/>
                      </a:lnTo>
                      <a:lnTo>
                        <a:pt x="329" y="56"/>
                      </a:lnTo>
                      <a:lnTo>
                        <a:pt x="327" y="54"/>
                      </a:lnTo>
                      <a:lnTo>
                        <a:pt x="327" y="56"/>
                      </a:lnTo>
                      <a:lnTo>
                        <a:pt x="326" y="56"/>
                      </a:lnTo>
                      <a:lnTo>
                        <a:pt x="326" y="57"/>
                      </a:lnTo>
                      <a:lnTo>
                        <a:pt x="327" y="59"/>
                      </a:lnTo>
                      <a:lnTo>
                        <a:pt x="327" y="61"/>
                      </a:lnTo>
                      <a:lnTo>
                        <a:pt x="326" y="61"/>
                      </a:lnTo>
                      <a:lnTo>
                        <a:pt x="327" y="62"/>
                      </a:lnTo>
                      <a:lnTo>
                        <a:pt x="326" y="64"/>
                      </a:lnTo>
                      <a:lnTo>
                        <a:pt x="324" y="64"/>
                      </a:lnTo>
                      <a:close/>
                      <a:moveTo>
                        <a:pt x="329" y="62"/>
                      </a:moveTo>
                      <a:lnTo>
                        <a:pt x="327" y="62"/>
                      </a:lnTo>
                      <a:lnTo>
                        <a:pt x="327" y="61"/>
                      </a:lnTo>
                      <a:lnTo>
                        <a:pt x="327" y="59"/>
                      </a:lnTo>
                      <a:lnTo>
                        <a:pt x="327" y="57"/>
                      </a:lnTo>
                      <a:lnTo>
                        <a:pt x="326" y="56"/>
                      </a:lnTo>
                      <a:lnTo>
                        <a:pt x="327" y="56"/>
                      </a:lnTo>
                      <a:lnTo>
                        <a:pt x="329" y="56"/>
                      </a:lnTo>
                      <a:lnTo>
                        <a:pt x="331" y="56"/>
                      </a:lnTo>
                      <a:lnTo>
                        <a:pt x="331" y="54"/>
                      </a:lnTo>
                      <a:lnTo>
                        <a:pt x="332" y="54"/>
                      </a:lnTo>
                      <a:lnTo>
                        <a:pt x="332" y="56"/>
                      </a:lnTo>
                      <a:lnTo>
                        <a:pt x="332" y="57"/>
                      </a:lnTo>
                      <a:lnTo>
                        <a:pt x="331" y="59"/>
                      </a:lnTo>
                      <a:lnTo>
                        <a:pt x="329" y="59"/>
                      </a:lnTo>
                      <a:lnTo>
                        <a:pt x="329" y="61"/>
                      </a:lnTo>
                      <a:lnTo>
                        <a:pt x="329" y="62"/>
                      </a:lnTo>
                      <a:close/>
                      <a:moveTo>
                        <a:pt x="370" y="35"/>
                      </a:moveTo>
                      <a:lnTo>
                        <a:pt x="371" y="35"/>
                      </a:lnTo>
                      <a:lnTo>
                        <a:pt x="370" y="35"/>
                      </a:lnTo>
                      <a:close/>
                      <a:moveTo>
                        <a:pt x="368" y="36"/>
                      </a:moveTo>
                      <a:lnTo>
                        <a:pt x="366" y="35"/>
                      </a:lnTo>
                      <a:lnTo>
                        <a:pt x="368" y="35"/>
                      </a:lnTo>
                      <a:lnTo>
                        <a:pt x="370" y="35"/>
                      </a:lnTo>
                      <a:lnTo>
                        <a:pt x="368" y="35"/>
                      </a:lnTo>
                      <a:lnTo>
                        <a:pt x="368" y="36"/>
                      </a:lnTo>
                      <a:close/>
                      <a:moveTo>
                        <a:pt x="376" y="44"/>
                      </a:moveTo>
                      <a:lnTo>
                        <a:pt x="375" y="44"/>
                      </a:lnTo>
                      <a:lnTo>
                        <a:pt x="376" y="43"/>
                      </a:lnTo>
                      <a:lnTo>
                        <a:pt x="376" y="41"/>
                      </a:lnTo>
                      <a:lnTo>
                        <a:pt x="378" y="41"/>
                      </a:lnTo>
                      <a:lnTo>
                        <a:pt x="376" y="41"/>
                      </a:lnTo>
                      <a:lnTo>
                        <a:pt x="376" y="39"/>
                      </a:lnTo>
                      <a:lnTo>
                        <a:pt x="376" y="38"/>
                      </a:lnTo>
                      <a:lnTo>
                        <a:pt x="378" y="38"/>
                      </a:lnTo>
                      <a:lnTo>
                        <a:pt x="378" y="39"/>
                      </a:lnTo>
                      <a:lnTo>
                        <a:pt x="380" y="41"/>
                      </a:lnTo>
                      <a:lnTo>
                        <a:pt x="378" y="41"/>
                      </a:lnTo>
                      <a:lnTo>
                        <a:pt x="380" y="41"/>
                      </a:lnTo>
                      <a:lnTo>
                        <a:pt x="380" y="43"/>
                      </a:lnTo>
                      <a:lnTo>
                        <a:pt x="380" y="44"/>
                      </a:lnTo>
                      <a:lnTo>
                        <a:pt x="380" y="43"/>
                      </a:lnTo>
                      <a:lnTo>
                        <a:pt x="378" y="44"/>
                      </a:lnTo>
                      <a:lnTo>
                        <a:pt x="376" y="44"/>
                      </a:lnTo>
                      <a:close/>
                      <a:moveTo>
                        <a:pt x="373" y="48"/>
                      </a:moveTo>
                      <a:lnTo>
                        <a:pt x="371" y="48"/>
                      </a:lnTo>
                      <a:lnTo>
                        <a:pt x="371" y="46"/>
                      </a:lnTo>
                      <a:lnTo>
                        <a:pt x="371" y="44"/>
                      </a:lnTo>
                      <a:lnTo>
                        <a:pt x="373" y="44"/>
                      </a:lnTo>
                      <a:lnTo>
                        <a:pt x="375" y="43"/>
                      </a:lnTo>
                      <a:lnTo>
                        <a:pt x="373" y="43"/>
                      </a:lnTo>
                      <a:lnTo>
                        <a:pt x="375" y="43"/>
                      </a:lnTo>
                      <a:lnTo>
                        <a:pt x="375" y="41"/>
                      </a:lnTo>
                      <a:lnTo>
                        <a:pt x="376" y="41"/>
                      </a:lnTo>
                      <a:lnTo>
                        <a:pt x="375" y="44"/>
                      </a:lnTo>
                      <a:lnTo>
                        <a:pt x="373" y="44"/>
                      </a:lnTo>
                      <a:lnTo>
                        <a:pt x="375" y="44"/>
                      </a:lnTo>
                      <a:lnTo>
                        <a:pt x="375" y="46"/>
                      </a:lnTo>
                      <a:lnTo>
                        <a:pt x="375" y="48"/>
                      </a:lnTo>
                      <a:lnTo>
                        <a:pt x="373" y="48"/>
                      </a:lnTo>
                      <a:close/>
                      <a:moveTo>
                        <a:pt x="378" y="49"/>
                      </a:moveTo>
                      <a:lnTo>
                        <a:pt x="378" y="48"/>
                      </a:lnTo>
                      <a:lnTo>
                        <a:pt x="378" y="46"/>
                      </a:lnTo>
                      <a:lnTo>
                        <a:pt x="380" y="46"/>
                      </a:lnTo>
                      <a:lnTo>
                        <a:pt x="381" y="46"/>
                      </a:lnTo>
                      <a:lnTo>
                        <a:pt x="381" y="48"/>
                      </a:lnTo>
                      <a:lnTo>
                        <a:pt x="380" y="48"/>
                      </a:lnTo>
                      <a:lnTo>
                        <a:pt x="380" y="49"/>
                      </a:lnTo>
                      <a:lnTo>
                        <a:pt x="378" y="49"/>
                      </a:lnTo>
                      <a:close/>
                      <a:moveTo>
                        <a:pt x="383" y="48"/>
                      </a:moveTo>
                      <a:lnTo>
                        <a:pt x="383" y="46"/>
                      </a:lnTo>
                      <a:lnTo>
                        <a:pt x="383" y="48"/>
                      </a:lnTo>
                      <a:close/>
                      <a:moveTo>
                        <a:pt x="381" y="49"/>
                      </a:moveTo>
                      <a:lnTo>
                        <a:pt x="381" y="48"/>
                      </a:lnTo>
                      <a:lnTo>
                        <a:pt x="383" y="48"/>
                      </a:lnTo>
                      <a:lnTo>
                        <a:pt x="383" y="49"/>
                      </a:lnTo>
                      <a:lnTo>
                        <a:pt x="381" y="48"/>
                      </a:lnTo>
                      <a:lnTo>
                        <a:pt x="381" y="49"/>
                      </a:lnTo>
                      <a:close/>
                      <a:moveTo>
                        <a:pt x="371" y="48"/>
                      </a:moveTo>
                      <a:lnTo>
                        <a:pt x="373" y="48"/>
                      </a:lnTo>
                      <a:lnTo>
                        <a:pt x="371" y="48"/>
                      </a:lnTo>
                      <a:close/>
                      <a:moveTo>
                        <a:pt x="376" y="49"/>
                      </a:moveTo>
                      <a:lnTo>
                        <a:pt x="378" y="48"/>
                      </a:lnTo>
                      <a:lnTo>
                        <a:pt x="376" y="49"/>
                      </a:lnTo>
                      <a:close/>
                      <a:moveTo>
                        <a:pt x="375" y="48"/>
                      </a:moveTo>
                      <a:lnTo>
                        <a:pt x="376" y="48"/>
                      </a:lnTo>
                      <a:lnTo>
                        <a:pt x="375" y="48"/>
                      </a:lnTo>
                      <a:close/>
                      <a:moveTo>
                        <a:pt x="387" y="54"/>
                      </a:moveTo>
                      <a:lnTo>
                        <a:pt x="385" y="54"/>
                      </a:lnTo>
                      <a:lnTo>
                        <a:pt x="385" y="56"/>
                      </a:lnTo>
                      <a:lnTo>
                        <a:pt x="387" y="56"/>
                      </a:lnTo>
                      <a:lnTo>
                        <a:pt x="385" y="56"/>
                      </a:lnTo>
                      <a:lnTo>
                        <a:pt x="383" y="56"/>
                      </a:lnTo>
                      <a:lnTo>
                        <a:pt x="383" y="54"/>
                      </a:lnTo>
                      <a:lnTo>
                        <a:pt x="383" y="56"/>
                      </a:lnTo>
                      <a:lnTo>
                        <a:pt x="381" y="56"/>
                      </a:lnTo>
                      <a:lnTo>
                        <a:pt x="380" y="56"/>
                      </a:lnTo>
                      <a:lnTo>
                        <a:pt x="378" y="56"/>
                      </a:lnTo>
                      <a:lnTo>
                        <a:pt x="378" y="54"/>
                      </a:lnTo>
                      <a:lnTo>
                        <a:pt x="380" y="53"/>
                      </a:lnTo>
                      <a:lnTo>
                        <a:pt x="380" y="54"/>
                      </a:lnTo>
                      <a:lnTo>
                        <a:pt x="381" y="53"/>
                      </a:lnTo>
                      <a:lnTo>
                        <a:pt x="381" y="51"/>
                      </a:lnTo>
                      <a:lnTo>
                        <a:pt x="383" y="51"/>
                      </a:lnTo>
                      <a:lnTo>
                        <a:pt x="383" y="53"/>
                      </a:lnTo>
                      <a:lnTo>
                        <a:pt x="383" y="54"/>
                      </a:lnTo>
                      <a:lnTo>
                        <a:pt x="383" y="53"/>
                      </a:lnTo>
                      <a:lnTo>
                        <a:pt x="385" y="51"/>
                      </a:lnTo>
                      <a:lnTo>
                        <a:pt x="385" y="49"/>
                      </a:lnTo>
                      <a:lnTo>
                        <a:pt x="385" y="51"/>
                      </a:lnTo>
                      <a:lnTo>
                        <a:pt x="385" y="49"/>
                      </a:lnTo>
                      <a:lnTo>
                        <a:pt x="385" y="48"/>
                      </a:lnTo>
                      <a:lnTo>
                        <a:pt x="387" y="48"/>
                      </a:lnTo>
                      <a:lnTo>
                        <a:pt x="387" y="49"/>
                      </a:lnTo>
                      <a:lnTo>
                        <a:pt x="388" y="51"/>
                      </a:lnTo>
                      <a:lnTo>
                        <a:pt x="387" y="51"/>
                      </a:lnTo>
                      <a:lnTo>
                        <a:pt x="388" y="51"/>
                      </a:lnTo>
                      <a:lnTo>
                        <a:pt x="388" y="53"/>
                      </a:lnTo>
                      <a:lnTo>
                        <a:pt x="388" y="54"/>
                      </a:lnTo>
                      <a:lnTo>
                        <a:pt x="388" y="56"/>
                      </a:lnTo>
                      <a:lnTo>
                        <a:pt x="388" y="57"/>
                      </a:lnTo>
                      <a:lnTo>
                        <a:pt x="387" y="57"/>
                      </a:lnTo>
                      <a:lnTo>
                        <a:pt x="387" y="56"/>
                      </a:lnTo>
                      <a:lnTo>
                        <a:pt x="387" y="54"/>
                      </a:lnTo>
                      <a:lnTo>
                        <a:pt x="385" y="54"/>
                      </a:lnTo>
                      <a:lnTo>
                        <a:pt x="387" y="54"/>
                      </a:lnTo>
                      <a:close/>
                      <a:moveTo>
                        <a:pt x="381" y="49"/>
                      </a:moveTo>
                      <a:lnTo>
                        <a:pt x="383" y="49"/>
                      </a:lnTo>
                      <a:lnTo>
                        <a:pt x="381" y="49"/>
                      </a:lnTo>
                      <a:lnTo>
                        <a:pt x="383" y="51"/>
                      </a:lnTo>
                      <a:lnTo>
                        <a:pt x="381" y="51"/>
                      </a:lnTo>
                      <a:lnTo>
                        <a:pt x="381" y="53"/>
                      </a:lnTo>
                      <a:lnTo>
                        <a:pt x="380" y="53"/>
                      </a:lnTo>
                      <a:lnTo>
                        <a:pt x="381" y="53"/>
                      </a:lnTo>
                      <a:lnTo>
                        <a:pt x="381" y="51"/>
                      </a:lnTo>
                      <a:lnTo>
                        <a:pt x="380" y="51"/>
                      </a:lnTo>
                      <a:lnTo>
                        <a:pt x="380" y="53"/>
                      </a:lnTo>
                      <a:lnTo>
                        <a:pt x="380" y="51"/>
                      </a:lnTo>
                      <a:lnTo>
                        <a:pt x="378" y="51"/>
                      </a:lnTo>
                      <a:lnTo>
                        <a:pt x="380" y="51"/>
                      </a:lnTo>
                      <a:lnTo>
                        <a:pt x="380" y="49"/>
                      </a:lnTo>
                      <a:lnTo>
                        <a:pt x="381" y="49"/>
                      </a:lnTo>
                      <a:close/>
                      <a:moveTo>
                        <a:pt x="376" y="53"/>
                      </a:moveTo>
                      <a:lnTo>
                        <a:pt x="375" y="51"/>
                      </a:lnTo>
                      <a:lnTo>
                        <a:pt x="375" y="49"/>
                      </a:lnTo>
                      <a:lnTo>
                        <a:pt x="376" y="49"/>
                      </a:lnTo>
                      <a:lnTo>
                        <a:pt x="378" y="49"/>
                      </a:lnTo>
                      <a:lnTo>
                        <a:pt x="378" y="51"/>
                      </a:lnTo>
                      <a:lnTo>
                        <a:pt x="376" y="51"/>
                      </a:lnTo>
                      <a:lnTo>
                        <a:pt x="376" y="53"/>
                      </a:lnTo>
                      <a:lnTo>
                        <a:pt x="378" y="53"/>
                      </a:lnTo>
                      <a:lnTo>
                        <a:pt x="378" y="54"/>
                      </a:lnTo>
                      <a:lnTo>
                        <a:pt x="378" y="56"/>
                      </a:lnTo>
                      <a:lnTo>
                        <a:pt x="380" y="56"/>
                      </a:lnTo>
                      <a:lnTo>
                        <a:pt x="380" y="57"/>
                      </a:lnTo>
                      <a:lnTo>
                        <a:pt x="378" y="57"/>
                      </a:lnTo>
                      <a:lnTo>
                        <a:pt x="376" y="57"/>
                      </a:lnTo>
                      <a:lnTo>
                        <a:pt x="376" y="56"/>
                      </a:lnTo>
                      <a:lnTo>
                        <a:pt x="376" y="54"/>
                      </a:lnTo>
                      <a:lnTo>
                        <a:pt x="376" y="53"/>
                      </a:lnTo>
                      <a:close/>
                      <a:moveTo>
                        <a:pt x="378" y="53"/>
                      </a:moveTo>
                      <a:lnTo>
                        <a:pt x="378" y="51"/>
                      </a:lnTo>
                      <a:lnTo>
                        <a:pt x="380" y="51"/>
                      </a:lnTo>
                      <a:lnTo>
                        <a:pt x="380" y="53"/>
                      </a:lnTo>
                      <a:lnTo>
                        <a:pt x="381" y="51"/>
                      </a:lnTo>
                      <a:lnTo>
                        <a:pt x="381" y="53"/>
                      </a:lnTo>
                      <a:lnTo>
                        <a:pt x="380" y="53"/>
                      </a:lnTo>
                      <a:lnTo>
                        <a:pt x="378" y="53"/>
                      </a:lnTo>
                      <a:close/>
                      <a:moveTo>
                        <a:pt x="375" y="53"/>
                      </a:moveTo>
                      <a:lnTo>
                        <a:pt x="375" y="51"/>
                      </a:lnTo>
                      <a:lnTo>
                        <a:pt x="375" y="53"/>
                      </a:lnTo>
                      <a:close/>
                      <a:moveTo>
                        <a:pt x="375" y="57"/>
                      </a:moveTo>
                      <a:lnTo>
                        <a:pt x="375" y="56"/>
                      </a:lnTo>
                      <a:lnTo>
                        <a:pt x="376" y="56"/>
                      </a:lnTo>
                      <a:lnTo>
                        <a:pt x="376" y="57"/>
                      </a:lnTo>
                      <a:lnTo>
                        <a:pt x="378" y="57"/>
                      </a:lnTo>
                      <a:lnTo>
                        <a:pt x="378" y="59"/>
                      </a:lnTo>
                      <a:lnTo>
                        <a:pt x="376" y="59"/>
                      </a:lnTo>
                      <a:lnTo>
                        <a:pt x="376" y="57"/>
                      </a:lnTo>
                      <a:lnTo>
                        <a:pt x="375" y="57"/>
                      </a:lnTo>
                      <a:close/>
                      <a:moveTo>
                        <a:pt x="381" y="57"/>
                      </a:moveTo>
                      <a:lnTo>
                        <a:pt x="380" y="57"/>
                      </a:lnTo>
                      <a:lnTo>
                        <a:pt x="381" y="57"/>
                      </a:lnTo>
                      <a:close/>
                      <a:moveTo>
                        <a:pt x="380" y="61"/>
                      </a:moveTo>
                      <a:lnTo>
                        <a:pt x="378" y="59"/>
                      </a:lnTo>
                      <a:lnTo>
                        <a:pt x="380" y="59"/>
                      </a:lnTo>
                      <a:lnTo>
                        <a:pt x="381" y="59"/>
                      </a:lnTo>
                      <a:lnTo>
                        <a:pt x="380" y="59"/>
                      </a:lnTo>
                      <a:lnTo>
                        <a:pt x="380" y="61"/>
                      </a:lnTo>
                      <a:close/>
                      <a:moveTo>
                        <a:pt x="385" y="71"/>
                      </a:moveTo>
                      <a:lnTo>
                        <a:pt x="383" y="69"/>
                      </a:lnTo>
                      <a:lnTo>
                        <a:pt x="383" y="67"/>
                      </a:lnTo>
                      <a:lnTo>
                        <a:pt x="385" y="67"/>
                      </a:lnTo>
                      <a:lnTo>
                        <a:pt x="387" y="67"/>
                      </a:lnTo>
                      <a:lnTo>
                        <a:pt x="387" y="66"/>
                      </a:lnTo>
                      <a:lnTo>
                        <a:pt x="388" y="67"/>
                      </a:lnTo>
                      <a:lnTo>
                        <a:pt x="387" y="69"/>
                      </a:lnTo>
                      <a:lnTo>
                        <a:pt x="385" y="69"/>
                      </a:lnTo>
                      <a:lnTo>
                        <a:pt x="385" y="71"/>
                      </a:lnTo>
                      <a:close/>
                      <a:moveTo>
                        <a:pt x="390" y="71"/>
                      </a:moveTo>
                      <a:lnTo>
                        <a:pt x="390" y="69"/>
                      </a:lnTo>
                      <a:lnTo>
                        <a:pt x="392" y="69"/>
                      </a:lnTo>
                      <a:lnTo>
                        <a:pt x="392" y="71"/>
                      </a:lnTo>
                      <a:lnTo>
                        <a:pt x="390" y="71"/>
                      </a:lnTo>
                      <a:close/>
                      <a:moveTo>
                        <a:pt x="290" y="23"/>
                      </a:moveTo>
                      <a:lnTo>
                        <a:pt x="290" y="21"/>
                      </a:lnTo>
                      <a:lnTo>
                        <a:pt x="290" y="20"/>
                      </a:lnTo>
                      <a:lnTo>
                        <a:pt x="292" y="20"/>
                      </a:lnTo>
                      <a:lnTo>
                        <a:pt x="294" y="20"/>
                      </a:lnTo>
                      <a:lnTo>
                        <a:pt x="294" y="21"/>
                      </a:lnTo>
                      <a:lnTo>
                        <a:pt x="294" y="23"/>
                      </a:lnTo>
                      <a:lnTo>
                        <a:pt x="292" y="23"/>
                      </a:lnTo>
                      <a:lnTo>
                        <a:pt x="292" y="25"/>
                      </a:lnTo>
                      <a:lnTo>
                        <a:pt x="294" y="25"/>
                      </a:lnTo>
                      <a:lnTo>
                        <a:pt x="294" y="23"/>
                      </a:lnTo>
                      <a:lnTo>
                        <a:pt x="294" y="21"/>
                      </a:lnTo>
                      <a:lnTo>
                        <a:pt x="295" y="21"/>
                      </a:lnTo>
                      <a:lnTo>
                        <a:pt x="294" y="21"/>
                      </a:lnTo>
                      <a:lnTo>
                        <a:pt x="294" y="20"/>
                      </a:lnTo>
                      <a:lnTo>
                        <a:pt x="295" y="20"/>
                      </a:lnTo>
                      <a:lnTo>
                        <a:pt x="295" y="18"/>
                      </a:lnTo>
                      <a:lnTo>
                        <a:pt x="295" y="16"/>
                      </a:lnTo>
                      <a:lnTo>
                        <a:pt x="295" y="15"/>
                      </a:lnTo>
                      <a:lnTo>
                        <a:pt x="295" y="13"/>
                      </a:lnTo>
                      <a:lnTo>
                        <a:pt x="295" y="12"/>
                      </a:lnTo>
                      <a:lnTo>
                        <a:pt x="295" y="10"/>
                      </a:lnTo>
                      <a:lnTo>
                        <a:pt x="295" y="8"/>
                      </a:lnTo>
                      <a:lnTo>
                        <a:pt x="297" y="8"/>
                      </a:lnTo>
                      <a:lnTo>
                        <a:pt x="295" y="8"/>
                      </a:lnTo>
                      <a:lnTo>
                        <a:pt x="295" y="7"/>
                      </a:lnTo>
                      <a:lnTo>
                        <a:pt x="297" y="7"/>
                      </a:lnTo>
                      <a:lnTo>
                        <a:pt x="297" y="8"/>
                      </a:lnTo>
                      <a:lnTo>
                        <a:pt x="297" y="10"/>
                      </a:lnTo>
                      <a:lnTo>
                        <a:pt x="299" y="12"/>
                      </a:lnTo>
                      <a:lnTo>
                        <a:pt x="297" y="12"/>
                      </a:lnTo>
                      <a:lnTo>
                        <a:pt x="297" y="13"/>
                      </a:lnTo>
                      <a:lnTo>
                        <a:pt x="297" y="12"/>
                      </a:lnTo>
                      <a:lnTo>
                        <a:pt x="297" y="13"/>
                      </a:lnTo>
                      <a:lnTo>
                        <a:pt x="295" y="15"/>
                      </a:lnTo>
                      <a:lnTo>
                        <a:pt x="295" y="16"/>
                      </a:lnTo>
                      <a:lnTo>
                        <a:pt x="295" y="18"/>
                      </a:lnTo>
                      <a:lnTo>
                        <a:pt x="297" y="18"/>
                      </a:lnTo>
                      <a:lnTo>
                        <a:pt x="295" y="18"/>
                      </a:lnTo>
                      <a:lnTo>
                        <a:pt x="295" y="20"/>
                      </a:lnTo>
                      <a:lnTo>
                        <a:pt x="295" y="21"/>
                      </a:lnTo>
                      <a:lnTo>
                        <a:pt x="295" y="23"/>
                      </a:lnTo>
                      <a:lnTo>
                        <a:pt x="295" y="25"/>
                      </a:lnTo>
                      <a:lnTo>
                        <a:pt x="295" y="26"/>
                      </a:lnTo>
                      <a:lnTo>
                        <a:pt x="295" y="28"/>
                      </a:lnTo>
                      <a:lnTo>
                        <a:pt x="294" y="30"/>
                      </a:lnTo>
                      <a:lnTo>
                        <a:pt x="292" y="30"/>
                      </a:lnTo>
                      <a:lnTo>
                        <a:pt x="290" y="30"/>
                      </a:lnTo>
                      <a:lnTo>
                        <a:pt x="289" y="30"/>
                      </a:lnTo>
                      <a:lnTo>
                        <a:pt x="289" y="28"/>
                      </a:lnTo>
                      <a:lnTo>
                        <a:pt x="290" y="28"/>
                      </a:lnTo>
                      <a:lnTo>
                        <a:pt x="292" y="28"/>
                      </a:lnTo>
                      <a:lnTo>
                        <a:pt x="290" y="28"/>
                      </a:lnTo>
                      <a:lnTo>
                        <a:pt x="290" y="26"/>
                      </a:lnTo>
                      <a:lnTo>
                        <a:pt x="290" y="25"/>
                      </a:lnTo>
                      <a:lnTo>
                        <a:pt x="292" y="26"/>
                      </a:lnTo>
                      <a:lnTo>
                        <a:pt x="292" y="25"/>
                      </a:lnTo>
                      <a:lnTo>
                        <a:pt x="290" y="23"/>
                      </a:lnTo>
                      <a:close/>
                      <a:moveTo>
                        <a:pt x="290" y="23"/>
                      </a:moveTo>
                      <a:lnTo>
                        <a:pt x="290" y="25"/>
                      </a:lnTo>
                      <a:lnTo>
                        <a:pt x="289" y="25"/>
                      </a:lnTo>
                      <a:lnTo>
                        <a:pt x="289" y="23"/>
                      </a:lnTo>
                      <a:lnTo>
                        <a:pt x="290" y="23"/>
                      </a:lnTo>
                      <a:close/>
                      <a:moveTo>
                        <a:pt x="290" y="20"/>
                      </a:moveTo>
                      <a:lnTo>
                        <a:pt x="289" y="18"/>
                      </a:lnTo>
                      <a:lnTo>
                        <a:pt x="289" y="16"/>
                      </a:lnTo>
                      <a:lnTo>
                        <a:pt x="289" y="15"/>
                      </a:lnTo>
                      <a:lnTo>
                        <a:pt x="290" y="15"/>
                      </a:lnTo>
                      <a:lnTo>
                        <a:pt x="290" y="13"/>
                      </a:lnTo>
                      <a:lnTo>
                        <a:pt x="292" y="15"/>
                      </a:lnTo>
                      <a:lnTo>
                        <a:pt x="292" y="16"/>
                      </a:lnTo>
                      <a:lnTo>
                        <a:pt x="292" y="18"/>
                      </a:lnTo>
                      <a:lnTo>
                        <a:pt x="292" y="20"/>
                      </a:lnTo>
                      <a:lnTo>
                        <a:pt x="290" y="20"/>
                      </a:lnTo>
                      <a:close/>
                      <a:moveTo>
                        <a:pt x="299" y="18"/>
                      </a:moveTo>
                      <a:lnTo>
                        <a:pt x="300" y="16"/>
                      </a:lnTo>
                      <a:lnTo>
                        <a:pt x="300" y="15"/>
                      </a:lnTo>
                      <a:lnTo>
                        <a:pt x="302" y="15"/>
                      </a:lnTo>
                      <a:lnTo>
                        <a:pt x="300" y="15"/>
                      </a:lnTo>
                      <a:lnTo>
                        <a:pt x="300" y="13"/>
                      </a:lnTo>
                      <a:lnTo>
                        <a:pt x="302" y="13"/>
                      </a:lnTo>
                      <a:lnTo>
                        <a:pt x="304" y="15"/>
                      </a:lnTo>
                      <a:lnTo>
                        <a:pt x="305" y="15"/>
                      </a:lnTo>
                      <a:lnTo>
                        <a:pt x="305" y="16"/>
                      </a:lnTo>
                      <a:lnTo>
                        <a:pt x="304" y="18"/>
                      </a:lnTo>
                      <a:lnTo>
                        <a:pt x="304" y="16"/>
                      </a:lnTo>
                      <a:lnTo>
                        <a:pt x="302" y="18"/>
                      </a:lnTo>
                      <a:lnTo>
                        <a:pt x="302" y="16"/>
                      </a:lnTo>
                      <a:lnTo>
                        <a:pt x="300" y="18"/>
                      </a:lnTo>
                      <a:lnTo>
                        <a:pt x="299" y="18"/>
                      </a:lnTo>
                      <a:close/>
                      <a:moveTo>
                        <a:pt x="294" y="20"/>
                      </a:moveTo>
                      <a:lnTo>
                        <a:pt x="294" y="18"/>
                      </a:lnTo>
                      <a:lnTo>
                        <a:pt x="294" y="20"/>
                      </a:lnTo>
                      <a:close/>
                      <a:moveTo>
                        <a:pt x="300" y="21"/>
                      </a:moveTo>
                      <a:lnTo>
                        <a:pt x="302" y="20"/>
                      </a:lnTo>
                      <a:lnTo>
                        <a:pt x="302" y="21"/>
                      </a:lnTo>
                      <a:lnTo>
                        <a:pt x="300" y="21"/>
                      </a:lnTo>
                      <a:close/>
                      <a:moveTo>
                        <a:pt x="302" y="23"/>
                      </a:moveTo>
                      <a:lnTo>
                        <a:pt x="304" y="21"/>
                      </a:lnTo>
                      <a:lnTo>
                        <a:pt x="304" y="20"/>
                      </a:lnTo>
                      <a:lnTo>
                        <a:pt x="304" y="21"/>
                      </a:lnTo>
                      <a:lnTo>
                        <a:pt x="305" y="21"/>
                      </a:lnTo>
                      <a:lnTo>
                        <a:pt x="304" y="21"/>
                      </a:lnTo>
                      <a:lnTo>
                        <a:pt x="304" y="23"/>
                      </a:lnTo>
                      <a:lnTo>
                        <a:pt x="302" y="23"/>
                      </a:lnTo>
                      <a:close/>
                      <a:moveTo>
                        <a:pt x="302" y="25"/>
                      </a:moveTo>
                      <a:lnTo>
                        <a:pt x="302" y="23"/>
                      </a:lnTo>
                      <a:lnTo>
                        <a:pt x="304" y="23"/>
                      </a:lnTo>
                      <a:lnTo>
                        <a:pt x="304" y="25"/>
                      </a:lnTo>
                      <a:lnTo>
                        <a:pt x="302" y="25"/>
                      </a:lnTo>
                      <a:close/>
                      <a:moveTo>
                        <a:pt x="405" y="100"/>
                      </a:moveTo>
                      <a:lnTo>
                        <a:pt x="405" y="99"/>
                      </a:lnTo>
                      <a:lnTo>
                        <a:pt x="403" y="99"/>
                      </a:lnTo>
                      <a:lnTo>
                        <a:pt x="405" y="99"/>
                      </a:lnTo>
                      <a:lnTo>
                        <a:pt x="405" y="97"/>
                      </a:lnTo>
                      <a:lnTo>
                        <a:pt x="407" y="97"/>
                      </a:lnTo>
                      <a:lnTo>
                        <a:pt x="407" y="99"/>
                      </a:lnTo>
                      <a:lnTo>
                        <a:pt x="405" y="99"/>
                      </a:lnTo>
                      <a:lnTo>
                        <a:pt x="405" y="100"/>
                      </a:lnTo>
                      <a:close/>
                      <a:moveTo>
                        <a:pt x="407" y="92"/>
                      </a:moveTo>
                      <a:lnTo>
                        <a:pt x="407" y="90"/>
                      </a:lnTo>
                      <a:lnTo>
                        <a:pt x="408" y="89"/>
                      </a:lnTo>
                      <a:lnTo>
                        <a:pt x="408" y="90"/>
                      </a:lnTo>
                      <a:lnTo>
                        <a:pt x="407" y="92"/>
                      </a:lnTo>
                      <a:close/>
                      <a:moveTo>
                        <a:pt x="405" y="95"/>
                      </a:moveTo>
                      <a:lnTo>
                        <a:pt x="407" y="94"/>
                      </a:lnTo>
                      <a:lnTo>
                        <a:pt x="408" y="94"/>
                      </a:lnTo>
                      <a:lnTo>
                        <a:pt x="407" y="95"/>
                      </a:lnTo>
                      <a:lnTo>
                        <a:pt x="405" y="95"/>
                      </a:lnTo>
                      <a:close/>
                      <a:moveTo>
                        <a:pt x="392" y="71"/>
                      </a:moveTo>
                      <a:lnTo>
                        <a:pt x="392" y="69"/>
                      </a:lnTo>
                      <a:lnTo>
                        <a:pt x="393" y="69"/>
                      </a:lnTo>
                      <a:lnTo>
                        <a:pt x="393" y="67"/>
                      </a:lnTo>
                      <a:lnTo>
                        <a:pt x="395" y="67"/>
                      </a:lnTo>
                      <a:lnTo>
                        <a:pt x="395" y="69"/>
                      </a:lnTo>
                      <a:lnTo>
                        <a:pt x="393" y="69"/>
                      </a:lnTo>
                      <a:lnTo>
                        <a:pt x="393" y="71"/>
                      </a:lnTo>
                      <a:lnTo>
                        <a:pt x="392" y="71"/>
                      </a:lnTo>
                      <a:close/>
                      <a:moveTo>
                        <a:pt x="397" y="76"/>
                      </a:moveTo>
                      <a:lnTo>
                        <a:pt x="395" y="76"/>
                      </a:lnTo>
                      <a:lnTo>
                        <a:pt x="395" y="74"/>
                      </a:lnTo>
                      <a:lnTo>
                        <a:pt x="393" y="72"/>
                      </a:lnTo>
                      <a:lnTo>
                        <a:pt x="395" y="71"/>
                      </a:lnTo>
                      <a:lnTo>
                        <a:pt x="397" y="71"/>
                      </a:lnTo>
                      <a:lnTo>
                        <a:pt x="397" y="69"/>
                      </a:lnTo>
                      <a:lnTo>
                        <a:pt x="397" y="71"/>
                      </a:lnTo>
                      <a:lnTo>
                        <a:pt x="397" y="72"/>
                      </a:lnTo>
                      <a:lnTo>
                        <a:pt x="397" y="74"/>
                      </a:lnTo>
                      <a:lnTo>
                        <a:pt x="397" y="76"/>
                      </a:lnTo>
                      <a:close/>
                      <a:moveTo>
                        <a:pt x="392" y="72"/>
                      </a:moveTo>
                      <a:lnTo>
                        <a:pt x="393" y="72"/>
                      </a:lnTo>
                      <a:lnTo>
                        <a:pt x="393" y="74"/>
                      </a:lnTo>
                      <a:lnTo>
                        <a:pt x="393" y="72"/>
                      </a:lnTo>
                      <a:lnTo>
                        <a:pt x="392" y="72"/>
                      </a:lnTo>
                      <a:close/>
                      <a:moveTo>
                        <a:pt x="397" y="76"/>
                      </a:moveTo>
                      <a:lnTo>
                        <a:pt x="397" y="74"/>
                      </a:lnTo>
                      <a:lnTo>
                        <a:pt x="397" y="76"/>
                      </a:lnTo>
                      <a:close/>
                      <a:moveTo>
                        <a:pt x="397" y="79"/>
                      </a:moveTo>
                      <a:lnTo>
                        <a:pt x="397" y="77"/>
                      </a:lnTo>
                      <a:lnTo>
                        <a:pt x="398" y="77"/>
                      </a:lnTo>
                      <a:lnTo>
                        <a:pt x="398" y="79"/>
                      </a:lnTo>
                      <a:lnTo>
                        <a:pt x="397" y="79"/>
                      </a:lnTo>
                      <a:close/>
                      <a:moveTo>
                        <a:pt x="451" y="125"/>
                      </a:moveTo>
                      <a:lnTo>
                        <a:pt x="449" y="125"/>
                      </a:lnTo>
                      <a:lnTo>
                        <a:pt x="449" y="126"/>
                      </a:lnTo>
                      <a:lnTo>
                        <a:pt x="449" y="125"/>
                      </a:lnTo>
                      <a:lnTo>
                        <a:pt x="451" y="125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3" name="Freeform 21"/>
                <p:cNvSpPr>
                  <a:spLocks noChangeAspect="1"/>
                </p:cNvSpPr>
                <p:nvPr/>
              </p:nvSpPr>
              <p:spPr bwMode="auto">
                <a:xfrm>
                  <a:off x="5417391" y="1696286"/>
                  <a:ext cx="829271" cy="1264225"/>
                </a:xfrm>
                <a:custGeom>
                  <a:avLst/>
                  <a:gdLst>
                    <a:gd name="T0" fmla="*/ 2147483647 w 532"/>
                    <a:gd name="T1" fmla="*/ 2147483647 h 755"/>
                    <a:gd name="T2" fmla="*/ 2147483647 w 532"/>
                    <a:gd name="T3" fmla="*/ 2147483647 h 755"/>
                    <a:gd name="T4" fmla="*/ 2147483647 w 532"/>
                    <a:gd name="T5" fmla="*/ 2147483647 h 755"/>
                    <a:gd name="T6" fmla="*/ 2147483647 w 532"/>
                    <a:gd name="T7" fmla="*/ 2147483647 h 755"/>
                    <a:gd name="T8" fmla="*/ 2147483647 w 532"/>
                    <a:gd name="T9" fmla="*/ 2147483647 h 755"/>
                    <a:gd name="T10" fmla="*/ 2147483647 w 532"/>
                    <a:gd name="T11" fmla="*/ 2147483647 h 755"/>
                    <a:gd name="T12" fmla="*/ 2147483647 w 532"/>
                    <a:gd name="T13" fmla="*/ 2147483647 h 755"/>
                    <a:gd name="T14" fmla="*/ 2147483647 w 532"/>
                    <a:gd name="T15" fmla="*/ 2147483647 h 755"/>
                    <a:gd name="T16" fmla="*/ 2147483647 w 532"/>
                    <a:gd name="T17" fmla="*/ 2147483647 h 755"/>
                    <a:gd name="T18" fmla="*/ 2147483647 w 532"/>
                    <a:gd name="T19" fmla="*/ 2147483647 h 755"/>
                    <a:gd name="T20" fmla="*/ 2147483647 w 532"/>
                    <a:gd name="T21" fmla="*/ 2147483647 h 755"/>
                    <a:gd name="T22" fmla="*/ 2147483647 w 532"/>
                    <a:gd name="T23" fmla="*/ 2147483647 h 755"/>
                    <a:gd name="T24" fmla="*/ 2147483647 w 532"/>
                    <a:gd name="T25" fmla="*/ 2147483647 h 755"/>
                    <a:gd name="T26" fmla="*/ 2147483647 w 532"/>
                    <a:gd name="T27" fmla="*/ 2147483647 h 755"/>
                    <a:gd name="T28" fmla="*/ 2147483647 w 532"/>
                    <a:gd name="T29" fmla="*/ 2147483647 h 755"/>
                    <a:gd name="T30" fmla="*/ 2147483647 w 532"/>
                    <a:gd name="T31" fmla="*/ 2147483647 h 755"/>
                    <a:gd name="T32" fmla="*/ 2147483647 w 532"/>
                    <a:gd name="T33" fmla="*/ 2147483647 h 755"/>
                    <a:gd name="T34" fmla="*/ 2147483647 w 532"/>
                    <a:gd name="T35" fmla="*/ 2147483647 h 755"/>
                    <a:gd name="T36" fmla="*/ 2147483647 w 532"/>
                    <a:gd name="T37" fmla="*/ 2147483647 h 755"/>
                    <a:gd name="T38" fmla="*/ 2147483647 w 532"/>
                    <a:gd name="T39" fmla="*/ 2147483647 h 755"/>
                    <a:gd name="T40" fmla="*/ 2147483647 w 532"/>
                    <a:gd name="T41" fmla="*/ 2147483647 h 755"/>
                    <a:gd name="T42" fmla="*/ 2147483647 w 532"/>
                    <a:gd name="T43" fmla="*/ 2147483647 h 755"/>
                    <a:gd name="T44" fmla="*/ 2147483647 w 532"/>
                    <a:gd name="T45" fmla="*/ 2147483647 h 755"/>
                    <a:gd name="T46" fmla="*/ 2147483647 w 532"/>
                    <a:gd name="T47" fmla="*/ 2147483647 h 755"/>
                    <a:gd name="T48" fmla="*/ 2147483647 w 532"/>
                    <a:gd name="T49" fmla="*/ 2147483647 h 755"/>
                    <a:gd name="T50" fmla="*/ 2147483647 w 532"/>
                    <a:gd name="T51" fmla="*/ 2147483647 h 755"/>
                    <a:gd name="T52" fmla="*/ 2147483647 w 532"/>
                    <a:gd name="T53" fmla="*/ 2147483647 h 755"/>
                    <a:gd name="T54" fmla="*/ 2147483647 w 532"/>
                    <a:gd name="T55" fmla="*/ 2147483647 h 755"/>
                    <a:gd name="T56" fmla="*/ 2147483647 w 532"/>
                    <a:gd name="T57" fmla="*/ 2147483647 h 755"/>
                    <a:gd name="T58" fmla="*/ 2147483647 w 532"/>
                    <a:gd name="T59" fmla="*/ 2147483647 h 755"/>
                    <a:gd name="T60" fmla="*/ 2147483647 w 532"/>
                    <a:gd name="T61" fmla="*/ 2147483647 h 755"/>
                    <a:gd name="T62" fmla="*/ 2147483647 w 532"/>
                    <a:gd name="T63" fmla="*/ 2147483647 h 755"/>
                    <a:gd name="T64" fmla="*/ 2147483647 w 532"/>
                    <a:gd name="T65" fmla="*/ 2147483647 h 755"/>
                    <a:gd name="T66" fmla="*/ 2147483647 w 532"/>
                    <a:gd name="T67" fmla="*/ 2147483647 h 755"/>
                    <a:gd name="T68" fmla="*/ 2147483647 w 532"/>
                    <a:gd name="T69" fmla="*/ 2147483647 h 755"/>
                    <a:gd name="T70" fmla="*/ 2147483647 w 532"/>
                    <a:gd name="T71" fmla="*/ 2147483647 h 755"/>
                    <a:gd name="T72" fmla="*/ 2147483647 w 532"/>
                    <a:gd name="T73" fmla="*/ 2147483647 h 755"/>
                    <a:gd name="T74" fmla="*/ 2147483647 w 532"/>
                    <a:gd name="T75" fmla="*/ 2147483647 h 755"/>
                    <a:gd name="T76" fmla="*/ 2147483647 w 532"/>
                    <a:gd name="T77" fmla="*/ 2147483647 h 755"/>
                    <a:gd name="T78" fmla="*/ 2147483647 w 532"/>
                    <a:gd name="T79" fmla="*/ 2147483647 h 755"/>
                    <a:gd name="T80" fmla="*/ 2147483647 w 532"/>
                    <a:gd name="T81" fmla="*/ 2147483647 h 755"/>
                    <a:gd name="T82" fmla="*/ 2147483647 w 532"/>
                    <a:gd name="T83" fmla="*/ 2147483647 h 755"/>
                    <a:gd name="T84" fmla="*/ 2147483647 w 532"/>
                    <a:gd name="T85" fmla="*/ 2147483647 h 755"/>
                    <a:gd name="T86" fmla="*/ 2147483647 w 532"/>
                    <a:gd name="T87" fmla="*/ 2147483647 h 755"/>
                    <a:gd name="T88" fmla="*/ 2147483647 w 532"/>
                    <a:gd name="T89" fmla="*/ 2147483647 h 755"/>
                    <a:gd name="T90" fmla="*/ 2147483647 w 532"/>
                    <a:gd name="T91" fmla="*/ 2147483647 h 755"/>
                    <a:gd name="T92" fmla="*/ 2147483647 w 532"/>
                    <a:gd name="T93" fmla="*/ 2147483647 h 755"/>
                    <a:gd name="T94" fmla="*/ 2147483647 w 532"/>
                    <a:gd name="T95" fmla="*/ 2147483647 h 755"/>
                    <a:gd name="T96" fmla="*/ 2147483647 w 532"/>
                    <a:gd name="T97" fmla="*/ 2147483647 h 755"/>
                    <a:gd name="T98" fmla="*/ 2147483647 w 532"/>
                    <a:gd name="T99" fmla="*/ 2147483647 h 755"/>
                    <a:gd name="T100" fmla="*/ 2147483647 w 532"/>
                    <a:gd name="T101" fmla="*/ 2147483647 h 755"/>
                    <a:gd name="T102" fmla="*/ 2147483647 w 532"/>
                    <a:gd name="T103" fmla="*/ 2147483647 h 755"/>
                    <a:gd name="T104" fmla="*/ 2147483647 w 532"/>
                    <a:gd name="T105" fmla="*/ 2147483647 h 755"/>
                    <a:gd name="T106" fmla="*/ 2147483647 w 532"/>
                    <a:gd name="T107" fmla="*/ 2147483647 h 755"/>
                    <a:gd name="T108" fmla="*/ 2147483647 w 532"/>
                    <a:gd name="T109" fmla="*/ 2147483647 h 755"/>
                    <a:gd name="T110" fmla="*/ 2147483647 w 532"/>
                    <a:gd name="T111" fmla="*/ 2147483647 h 755"/>
                    <a:gd name="T112" fmla="*/ 2147483647 w 532"/>
                    <a:gd name="T113" fmla="*/ 2147483647 h 755"/>
                    <a:gd name="T114" fmla="*/ 2147483647 w 532"/>
                    <a:gd name="T115" fmla="*/ 2147483647 h 755"/>
                    <a:gd name="T116" fmla="*/ 2147483647 w 532"/>
                    <a:gd name="T117" fmla="*/ 2147483647 h 755"/>
                    <a:gd name="T118" fmla="*/ 2147483647 w 532"/>
                    <a:gd name="T119" fmla="*/ 2147483647 h 755"/>
                    <a:gd name="T120" fmla="*/ 2147483647 w 532"/>
                    <a:gd name="T121" fmla="*/ 2147483647 h 755"/>
                    <a:gd name="T122" fmla="*/ 2147483647 w 532"/>
                    <a:gd name="T123" fmla="*/ 2147483647 h 755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532"/>
                    <a:gd name="T187" fmla="*/ 0 h 755"/>
                    <a:gd name="T188" fmla="*/ 532 w 532"/>
                    <a:gd name="T189" fmla="*/ 755 h 755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532" h="755">
                      <a:moveTo>
                        <a:pt x="47" y="698"/>
                      </a:moveTo>
                      <a:lnTo>
                        <a:pt x="45" y="696"/>
                      </a:lnTo>
                      <a:lnTo>
                        <a:pt x="43" y="696"/>
                      </a:lnTo>
                      <a:lnTo>
                        <a:pt x="43" y="693"/>
                      </a:lnTo>
                      <a:lnTo>
                        <a:pt x="43" y="691"/>
                      </a:lnTo>
                      <a:lnTo>
                        <a:pt x="42" y="690"/>
                      </a:lnTo>
                      <a:lnTo>
                        <a:pt x="40" y="690"/>
                      </a:lnTo>
                      <a:lnTo>
                        <a:pt x="40" y="688"/>
                      </a:lnTo>
                      <a:lnTo>
                        <a:pt x="38" y="687"/>
                      </a:lnTo>
                      <a:lnTo>
                        <a:pt x="40" y="687"/>
                      </a:lnTo>
                      <a:lnTo>
                        <a:pt x="40" y="685"/>
                      </a:lnTo>
                      <a:lnTo>
                        <a:pt x="40" y="683"/>
                      </a:lnTo>
                      <a:lnTo>
                        <a:pt x="40" y="682"/>
                      </a:lnTo>
                      <a:lnTo>
                        <a:pt x="38" y="682"/>
                      </a:lnTo>
                      <a:lnTo>
                        <a:pt x="38" y="680"/>
                      </a:lnTo>
                      <a:lnTo>
                        <a:pt x="37" y="680"/>
                      </a:lnTo>
                      <a:lnTo>
                        <a:pt x="35" y="680"/>
                      </a:lnTo>
                      <a:lnTo>
                        <a:pt x="33" y="682"/>
                      </a:lnTo>
                      <a:lnTo>
                        <a:pt x="32" y="682"/>
                      </a:lnTo>
                      <a:lnTo>
                        <a:pt x="30" y="683"/>
                      </a:lnTo>
                      <a:lnTo>
                        <a:pt x="28" y="683"/>
                      </a:lnTo>
                      <a:lnTo>
                        <a:pt x="28" y="685"/>
                      </a:lnTo>
                      <a:lnTo>
                        <a:pt x="27" y="685"/>
                      </a:lnTo>
                      <a:lnTo>
                        <a:pt x="25" y="685"/>
                      </a:lnTo>
                      <a:lnTo>
                        <a:pt x="23" y="687"/>
                      </a:lnTo>
                      <a:lnTo>
                        <a:pt x="23" y="688"/>
                      </a:lnTo>
                      <a:lnTo>
                        <a:pt x="25" y="688"/>
                      </a:lnTo>
                      <a:lnTo>
                        <a:pt x="25" y="690"/>
                      </a:lnTo>
                      <a:lnTo>
                        <a:pt x="23" y="691"/>
                      </a:lnTo>
                      <a:lnTo>
                        <a:pt x="23" y="693"/>
                      </a:lnTo>
                      <a:lnTo>
                        <a:pt x="22" y="693"/>
                      </a:lnTo>
                      <a:lnTo>
                        <a:pt x="18" y="695"/>
                      </a:lnTo>
                      <a:lnTo>
                        <a:pt x="13" y="695"/>
                      </a:lnTo>
                      <a:lnTo>
                        <a:pt x="13" y="693"/>
                      </a:lnTo>
                      <a:lnTo>
                        <a:pt x="11" y="693"/>
                      </a:lnTo>
                      <a:lnTo>
                        <a:pt x="10" y="691"/>
                      </a:lnTo>
                      <a:lnTo>
                        <a:pt x="8" y="693"/>
                      </a:lnTo>
                      <a:lnTo>
                        <a:pt x="6" y="693"/>
                      </a:lnTo>
                      <a:lnTo>
                        <a:pt x="5" y="693"/>
                      </a:lnTo>
                      <a:lnTo>
                        <a:pt x="3" y="693"/>
                      </a:lnTo>
                      <a:lnTo>
                        <a:pt x="3" y="691"/>
                      </a:lnTo>
                      <a:lnTo>
                        <a:pt x="3" y="690"/>
                      </a:lnTo>
                      <a:lnTo>
                        <a:pt x="3" y="688"/>
                      </a:lnTo>
                      <a:lnTo>
                        <a:pt x="5" y="688"/>
                      </a:lnTo>
                      <a:lnTo>
                        <a:pt x="3" y="688"/>
                      </a:lnTo>
                      <a:lnTo>
                        <a:pt x="5" y="688"/>
                      </a:lnTo>
                      <a:lnTo>
                        <a:pt x="5" y="687"/>
                      </a:lnTo>
                      <a:lnTo>
                        <a:pt x="6" y="687"/>
                      </a:lnTo>
                      <a:lnTo>
                        <a:pt x="5" y="687"/>
                      </a:lnTo>
                      <a:lnTo>
                        <a:pt x="6" y="687"/>
                      </a:lnTo>
                      <a:lnTo>
                        <a:pt x="6" y="685"/>
                      </a:lnTo>
                      <a:lnTo>
                        <a:pt x="8" y="685"/>
                      </a:lnTo>
                      <a:lnTo>
                        <a:pt x="8" y="683"/>
                      </a:lnTo>
                      <a:lnTo>
                        <a:pt x="8" y="682"/>
                      </a:lnTo>
                      <a:lnTo>
                        <a:pt x="10" y="682"/>
                      </a:lnTo>
                      <a:lnTo>
                        <a:pt x="10" y="680"/>
                      </a:lnTo>
                      <a:lnTo>
                        <a:pt x="10" y="682"/>
                      </a:lnTo>
                      <a:lnTo>
                        <a:pt x="10" y="680"/>
                      </a:lnTo>
                      <a:lnTo>
                        <a:pt x="10" y="678"/>
                      </a:lnTo>
                      <a:lnTo>
                        <a:pt x="11" y="678"/>
                      </a:lnTo>
                      <a:lnTo>
                        <a:pt x="10" y="678"/>
                      </a:lnTo>
                      <a:lnTo>
                        <a:pt x="11" y="678"/>
                      </a:lnTo>
                      <a:lnTo>
                        <a:pt x="11" y="677"/>
                      </a:lnTo>
                      <a:lnTo>
                        <a:pt x="10" y="677"/>
                      </a:lnTo>
                      <a:lnTo>
                        <a:pt x="10" y="675"/>
                      </a:lnTo>
                      <a:lnTo>
                        <a:pt x="10" y="673"/>
                      </a:lnTo>
                      <a:lnTo>
                        <a:pt x="11" y="673"/>
                      </a:lnTo>
                      <a:lnTo>
                        <a:pt x="11" y="672"/>
                      </a:lnTo>
                      <a:lnTo>
                        <a:pt x="11" y="670"/>
                      </a:lnTo>
                      <a:lnTo>
                        <a:pt x="13" y="670"/>
                      </a:lnTo>
                      <a:lnTo>
                        <a:pt x="11" y="670"/>
                      </a:lnTo>
                      <a:lnTo>
                        <a:pt x="13" y="668"/>
                      </a:lnTo>
                      <a:lnTo>
                        <a:pt x="11" y="668"/>
                      </a:lnTo>
                      <a:lnTo>
                        <a:pt x="13" y="668"/>
                      </a:lnTo>
                      <a:lnTo>
                        <a:pt x="13" y="667"/>
                      </a:lnTo>
                      <a:lnTo>
                        <a:pt x="13" y="665"/>
                      </a:lnTo>
                      <a:lnTo>
                        <a:pt x="13" y="664"/>
                      </a:lnTo>
                      <a:lnTo>
                        <a:pt x="13" y="662"/>
                      </a:lnTo>
                      <a:lnTo>
                        <a:pt x="11" y="662"/>
                      </a:lnTo>
                      <a:lnTo>
                        <a:pt x="11" y="659"/>
                      </a:lnTo>
                      <a:lnTo>
                        <a:pt x="11" y="657"/>
                      </a:lnTo>
                      <a:lnTo>
                        <a:pt x="11" y="655"/>
                      </a:lnTo>
                      <a:lnTo>
                        <a:pt x="13" y="655"/>
                      </a:lnTo>
                      <a:lnTo>
                        <a:pt x="13" y="654"/>
                      </a:lnTo>
                      <a:lnTo>
                        <a:pt x="13" y="652"/>
                      </a:lnTo>
                      <a:lnTo>
                        <a:pt x="15" y="650"/>
                      </a:lnTo>
                      <a:lnTo>
                        <a:pt x="15" y="649"/>
                      </a:lnTo>
                      <a:lnTo>
                        <a:pt x="15" y="647"/>
                      </a:lnTo>
                      <a:lnTo>
                        <a:pt x="15" y="645"/>
                      </a:lnTo>
                      <a:lnTo>
                        <a:pt x="15" y="644"/>
                      </a:lnTo>
                      <a:lnTo>
                        <a:pt x="15" y="642"/>
                      </a:lnTo>
                      <a:lnTo>
                        <a:pt x="13" y="642"/>
                      </a:lnTo>
                      <a:lnTo>
                        <a:pt x="15" y="642"/>
                      </a:lnTo>
                      <a:lnTo>
                        <a:pt x="15" y="641"/>
                      </a:lnTo>
                      <a:lnTo>
                        <a:pt x="15" y="639"/>
                      </a:lnTo>
                      <a:lnTo>
                        <a:pt x="15" y="637"/>
                      </a:lnTo>
                      <a:lnTo>
                        <a:pt x="15" y="636"/>
                      </a:lnTo>
                      <a:lnTo>
                        <a:pt x="15" y="634"/>
                      </a:lnTo>
                      <a:lnTo>
                        <a:pt x="13" y="632"/>
                      </a:lnTo>
                      <a:lnTo>
                        <a:pt x="15" y="632"/>
                      </a:lnTo>
                      <a:lnTo>
                        <a:pt x="13" y="632"/>
                      </a:lnTo>
                      <a:lnTo>
                        <a:pt x="13" y="631"/>
                      </a:lnTo>
                      <a:lnTo>
                        <a:pt x="13" y="629"/>
                      </a:lnTo>
                      <a:lnTo>
                        <a:pt x="15" y="629"/>
                      </a:lnTo>
                      <a:lnTo>
                        <a:pt x="15" y="627"/>
                      </a:lnTo>
                      <a:lnTo>
                        <a:pt x="15" y="626"/>
                      </a:lnTo>
                      <a:lnTo>
                        <a:pt x="16" y="626"/>
                      </a:lnTo>
                      <a:lnTo>
                        <a:pt x="16" y="624"/>
                      </a:lnTo>
                      <a:lnTo>
                        <a:pt x="18" y="624"/>
                      </a:lnTo>
                      <a:lnTo>
                        <a:pt x="18" y="622"/>
                      </a:lnTo>
                      <a:lnTo>
                        <a:pt x="20" y="622"/>
                      </a:lnTo>
                      <a:lnTo>
                        <a:pt x="18" y="621"/>
                      </a:lnTo>
                      <a:lnTo>
                        <a:pt x="18" y="619"/>
                      </a:lnTo>
                      <a:lnTo>
                        <a:pt x="18" y="618"/>
                      </a:lnTo>
                      <a:lnTo>
                        <a:pt x="16" y="618"/>
                      </a:lnTo>
                      <a:lnTo>
                        <a:pt x="18" y="616"/>
                      </a:lnTo>
                      <a:lnTo>
                        <a:pt x="16" y="616"/>
                      </a:lnTo>
                      <a:lnTo>
                        <a:pt x="16" y="614"/>
                      </a:lnTo>
                      <a:lnTo>
                        <a:pt x="15" y="613"/>
                      </a:lnTo>
                      <a:lnTo>
                        <a:pt x="15" y="611"/>
                      </a:lnTo>
                      <a:lnTo>
                        <a:pt x="13" y="611"/>
                      </a:lnTo>
                      <a:lnTo>
                        <a:pt x="11" y="611"/>
                      </a:lnTo>
                      <a:lnTo>
                        <a:pt x="10" y="609"/>
                      </a:lnTo>
                      <a:lnTo>
                        <a:pt x="8" y="609"/>
                      </a:lnTo>
                      <a:lnTo>
                        <a:pt x="8" y="608"/>
                      </a:lnTo>
                      <a:lnTo>
                        <a:pt x="8" y="606"/>
                      </a:lnTo>
                      <a:lnTo>
                        <a:pt x="8" y="604"/>
                      </a:lnTo>
                      <a:lnTo>
                        <a:pt x="8" y="603"/>
                      </a:lnTo>
                      <a:lnTo>
                        <a:pt x="8" y="601"/>
                      </a:lnTo>
                      <a:lnTo>
                        <a:pt x="8" y="599"/>
                      </a:lnTo>
                      <a:lnTo>
                        <a:pt x="8" y="598"/>
                      </a:lnTo>
                      <a:lnTo>
                        <a:pt x="8" y="596"/>
                      </a:lnTo>
                      <a:lnTo>
                        <a:pt x="8" y="595"/>
                      </a:lnTo>
                      <a:lnTo>
                        <a:pt x="6" y="593"/>
                      </a:lnTo>
                      <a:lnTo>
                        <a:pt x="6" y="591"/>
                      </a:lnTo>
                      <a:lnTo>
                        <a:pt x="5" y="591"/>
                      </a:lnTo>
                      <a:lnTo>
                        <a:pt x="5" y="590"/>
                      </a:lnTo>
                      <a:lnTo>
                        <a:pt x="6" y="588"/>
                      </a:lnTo>
                      <a:lnTo>
                        <a:pt x="5" y="588"/>
                      </a:lnTo>
                      <a:lnTo>
                        <a:pt x="6" y="588"/>
                      </a:lnTo>
                      <a:lnTo>
                        <a:pt x="6" y="586"/>
                      </a:lnTo>
                      <a:lnTo>
                        <a:pt x="5" y="586"/>
                      </a:lnTo>
                      <a:lnTo>
                        <a:pt x="5" y="585"/>
                      </a:lnTo>
                      <a:lnTo>
                        <a:pt x="5" y="583"/>
                      </a:lnTo>
                      <a:lnTo>
                        <a:pt x="5" y="581"/>
                      </a:lnTo>
                      <a:lnTo>
                        <a:pt x="3" y="580"/>
                      </a:lnTo>
                      <a:lnTo>
                        <a:pt x="5" y="580"/>
                      </a:lnTo>
                      <a:lnTo>
                        <a:pt x="3" y="578"/>
                      </a:lnTo>
                      <a:lnTo>
                        <a:pt x="1" y="576"/>
                      </a:lnTo>
                      <a:lnTo>
                        <a:pt x="0" y="575"/>
                      </a:lnTo>
                      <a:lnTo>
                        <a:pt x="0" y="573"/>
                      </a:lnTo>
                      <a:lnTo>
                        <a:pt x="0" y="572"/>
                      </a:lnTo>
                      <a:lnTo>
                        <a:pt x="0" y="570"/>
                      </a:lnTo>
                      <a:lnTo>
                        <a:pt x="0" y="568"/>
                      </a:lnTo>
                      <a:lnTo>
                        <a:pt x="0" y="567"/>
                      </a:lnTo>
                      <a:lnTo>
                        <a:pt x="1" y="567"/>
                      </a:lnTo>
                      <a:lnTo>
                        <a:pt x="1" y="565"/>
                      </a:lnTo>
                      <a:lnTo>
                        <a:pt x="3" y="563"/>
                      </a:lnTo>
                      <a:lnTo>
                        <a:pt x="3" y="562"/>
                      </a:lnTo>
                      <a:lnTo>
                        <a:pt x="3" y="560"/>
                      </a:lnTo>
                      <a:lnTo>
                        <a:pt x="5" y="558"/>
                      </a:lnTo>
                      <a:lnTo>
                        <a:pt x="5" y="557"/>
                      </a:lnTo>
                      <a:lnTo>
                        <a:pt x="6" y="557"/>
                      </a:lnTo>
                      <a:lnTo>
                        <a:pt x="8" y="555"/>
                      </a:lnTo>
                      <a:lnTo>
                        <a:pt x="8" y="557"/>
                      </a:lnTo>
                      <a:lnTo>
                        <a:pt x="10" y="555"/>
                      </a:lnTo>
                      <a:lnTo>
                        <a:pt x="8" y="555"/>
                      </a:lnTo>
                      <a:lnTo>
                        <a:pt x="10" y="555"/>
                      </a:lnTo>
                      <a:lnTo>
                        <a:pt x="10" y="553"/>
                      </a:lnTo>
                      <a:lnTo>
                        <a:pt x="11" y="553"/>
                      </a:lnTo>
                      <a:lnTo>
                        <a:pt x="11" y="552"/>
                      </a:lnTo>
                      <a:lnTo>
                        <a:pt x="13" y="552"/>
                      </a:lnTo>
                      <a:lnTo>
                        <a:pt x="15" y="550"/>
                      </a:lnTo>
                      <a:lnTo>
                        <a:pt x="15" y="549"/>
                      </a:lnTo>
                      <a:lnTo>
                        <a:pt x="15" y="547"/>
                      </a:lnTo>
                      <a:lnTo>
                        <a:pt x="16" y="547"/>
                      </a:lnTo>
                      <a:lnTo>
                        <a:pt x="16" y="545"/>
                      </a:lnTo>
                      <a:lnTo>
                        <a:pt x="15" y="545"/>
                      </a:lnTo>
                      <a:lnTo>
                        <a:pt x="16" y="545"/>
                      </a:lnTo>
                      <a:lnTo>
                        <a:pt x="15" y="545"/>
                      </a:lnTo>
                      <a:lnTo>
                        <a:pt x="16" y="544"/>
                      </a:lnTo>
                      <a:lnTo>
                        <a:pt x="18" y="544"/>
                      </a:lnTo>
                      <a:lnTo>
                        <a:pt x="18" y="542"/>
                      </a:lnTo>
                      <a:lnTo>
                        <a:pt x="20" y="542"/>
                      </a:lnTo>
                      <a:lnTo>
                        <a:pt x="22" y="542"/>
                      </a:lnTo>
                      <a:lnTo>
                        <a:pt x="20" y="542"/>
                      </a:lnTo>
                      <a:lnTo>
                        <a:pt x="20" y="540"/>
                      </a:lnTo>
                      <a:lnTo>
                        <a:pt x="18" y="540"/>
                      </a:lnTo>
                      <a:lnTo>
                        <a:pt x="18" y="539"/>
                      </a:lnTo>
                      <a:lnTo>
                        <a:pt x="20" y="539"/>
                      </a:lnTo>
                      <a:lnTo>
                        <a:pt x="22" y="537"/>
                      </a:lnTo>
                      <a:lnTo>
                        <a:pt x="22" y="535"/>
                      </a:lnTo>
                      <a:lnTo>
                        <a:pt x="22" y="534"/>
                      </a:lnTo>
                      <a:lnTo>
                        <a:pt x="23" y="532"/>
                      </a:lnTo>
                      <a:lnTo>
                        <a:pt x="23" y="530"/>
                      </a:lnTo>
                      <a:lnTo>
                        <a:pt x="23" y="529"/>
                      </a:lnTo>
                      <a:lnTo>
                        <a:pt x="23" y="527"/>
                      </a:lnTo>
                      <a:lnTo>
                        <a:pt x="23" y="526"/>
                      </a:lnTo>
                      <a:lnTo>
                        <a:pt x="25" y="526"/>
                      </a:lnTo>
                      <a:lnTo>
                        <a:pt x="23" y="524"/>
                      </a:lnTo>
                      <a:lnTo>
                        <a:pt x="25" y="524"/>
                      </a:lnTo>
                      <a:lnTo>
                        <a:pt x="25" y="522"/>
                      </a:lnTo>
                      <a:lnTo>
                        <a:pt x="25" y="521"/>
                      </a:lnTo>
                      <a:lnTo>
                        <a:pt x="27" y="521"/>
                      </a:lnTo>
                      <a:lnTo>
                        <a:pt x="27" y="519"/>
                      </a:lnTo>
                      <a:lnTo>
                        <a:pt x="28" y="519"/>
                      </a:lnTo>
                      <a:lnTo>
                        <a:pt x="28" y="517"/>
                      </a:lnTo>
                      <a:lnTo>
                        <a:pt x="28" y="516"/>
                      </a:lnTo>
                      <a:lnTo>
                        <a:pt x="28" y="514"/>
                      </a:lnTo>
                      <a:lnTo>
                        <a:pt x="30" y="514"/>
                      </a:lnTo>
                      <a:lnTo>
                        <a:pt x="30" y="512"/>
                      </a:lnTo>
                      <a:lnTo>
                        <a:pt x="30" y="511"/>
                      </a:lnTo>
                      <a:lnTo>
                        <a:pt x="30" y="509"/>
                      </a:lnTo>
                      <a:lnTo>
                        <a:pt x="32" y="509"/>
                      </a:lnTo>
                      <a:lnTo>
                        <a:pt x="32" y="507"/>
                      </a:lnTo>
                      <a:lnTo>
                        <a:pt x="33" y="506"/>
                      </a:lnTo>
                      <a:lnTo>
                        <a:pt x="35" y="506"/>
                      </a:lnTo>
                      <a:lnTo>
                        <a:pt x="35" y="504"/>
                      </a:lnTo>
                      <a:lnTo>
                        <a:pt x="35" y="503"/>
                      </a:lnTo>
                      <a:lnTo>
                        <a:pt x="37" y="503"/>
                      </a:lnTo>
                      <a:lnTo>
                        <a:pt x="37" y="501"/>
                      </a:lnTo>
                      <a:lnTo>
                        <a:pt x="38" y="501"/>
                      </a:lnTo>
                      <a:lnTo>
                        <a:pt x="38" y="499"/>
                      </a:lnTo>
                      <a:lnTo>
                        <a:pt x="38" y="498"/>
                      </a:lnTo>
                      <a:lnTo>
                        <a:pt x="38" y="496"/>
                      </a:lnTo>
                      <a:lnTo>
                        <a:pt x="38" y="494"/>
                      </a:lnTo>
                      <a:lnTo>
                        <a:pt x="38" y="493"/>
                      </a:lnTo>
                      <a:lnTo>
                        <a:pt x="40" y="493"/>
                      </a:lnTo>
                      <a:lnTo>
                        <a:pt x="40" y="491"/>
                      </a:lnTo>
                      <a:lnTo>
                        <a:pt x="40" y="489"/>
                      </a:lnTo>
                      <a:lnTo>
                        <a:pt x="38" y="488"/>
                      </a:lnTo>
                      <a:lnTo>
                        <a:pt x="40" y="488"/>
                      </a:lnTo>
                      <a:lnTo>
                        <a:pt x="40" y="486"/>
                      </a:lnTo>
                      <a:lnTo>
                        <a:pt x="40" y="488"/>
                      </a:lnTo>
                      <a:lnTo>
                        <a:pt x="42" y="488"/>
                      </a:lnTo>
                      <a:lnTo>
                        <a:pt x="42" y="486"/>
                      </a:lnTo>
                      <a:lnTo>
                        <a:pt x="40" y="486"/>
                      </a:lnTo>
                      <a:lnTo>
                        <a:pt x="40" y="485"/>
                      </a:lnTo>
                      <a:lnTo>
                        <a:pt x="40" y="483"/>
                      </a:lnTo>
                      <a:lnTo>
                        <a:pt x="42" y="483"/>
                      </a:lnTo>
                      <a:lnTo>
                        <a:pt x="42" y="481"/>
                      </a:lnTo>
                      <a:lnTo>
                        <a:pt x="40" y="481"/>
                      </a:lnTo>
                      <a:lnTo>
                        <a:pt x="42" y="481"/>
                      </a:lnTo>
                      <a:lnTo>
                        <a:pt x="42" y="480"/>
                      </a:lnTo>
                      <a:lnTo>
                        <a:pt x="42" y="478"/>
                      </a:lnTo>
                      <a:lnTo>
                        <a:pt x="43" y="478"/>
                      </a:lnTo>
                      <a:lnTo>
                        <a:pt x="43" y="476"/>
                      </a:lnTo>
                      <a:lnTo>
                        <a:pt x="42" y="476"/>
                      </a:lnTo>
                      <a:lnTo>
                        <a:pt x="43" y="475"/>
                      </a:lnTo>
                      <a:lnTo>
                        <a:pt x="42" y="473"/>
                      </a:lnTo>
                      <a:lnTo>
                        <a:pt x="43" y="473"/>
                      </a:lnTo>
                      <a:lnTo>
                        <a:pt x="43" y="471"/>
                      </a:lnTo>
                      <a:lnTo>
                        <a:pt x="45" y="470"/>
                      </a:lnTo>
                      <a:lnTo>
                        <a:pt x="45" y="468"/>
                      </a:lnTo>
                      <a:lnTo>
                        <a:pt x="45" y="466"/>
                      </a:lnTo>
                      <a:lnTo>
                        <a:pt x="47" y="466"/>
                      </a:lnTo>
                      <a:lnTo>
                        <a:pt x="45" y="466"/>
                      </a:lnTo>
                      <a:lnTo>
                        <a:pt x="47" y="466"/>
                      </a:lnTo>
                      <a:lnTo>
                        <a:pt x="47" y="465"/>
                      </a:lnTo>
                      <a:lnTo>
                        <a:pt x="47" y="463"/>
                      </a:lnTo>
                      <a:lnTo>
                        <a:pt x="47" y="462"/>
                      </a:lnTo>
                      <a:lnTo>
                        <a:pt x="47" y="463"/>
                      </a:lnTo>
                      <a:lnTo>
                        <a:pt x="49" y="462"/>
                      </a:lnTo>
                      <a:lnTo>
                        <a:pt x="47" y="462"/>
                      </a:lnTo>
                      <a:lnTo>
                        <a:pt x="47" y="460"/>
                      </a:lnTo>
                      <a:lnTo>
                        <a:pt x="49" y="460"/>
                      </a:lnTo>
                      <a:lnTo>
                        <a:pt x="49" y="458"/>
                      </a:lnTo>
                      <a:lnTo>
                        <a:pt x="49" y="457"/>
                      </a:lnTo>
                      <a:lnTo>
                        <a:pt x="50" y="457"/>
                      </a:lnTo>
                      <a:lnTo>
                        <a:pt x="50" y="455"/>
                      </a:lnTo>
                      <a:lnTo>
                        <a:pt x="52" y="455"/>
                      </a:lnTo>
                      <a:lnTo>
                        <a:pt x="52" y="457"/>
                      </a:lnTo>
                      <a:lnTo>
                        <a:pt x="52" y="455"/>
                      </a:lnTo>
                      <a:lnTo>
                        <a:pt x="54" y="455"/>
                      </a:lnTo>
                      <a:lnTo>
                        <a:pt x="54" y="453"/>
                      </a:lnTo>
                      <a:lnTo>
                        <a:pt x="55" y="453"/>
                      </a:lnTo>
                      <a:lnTo>
                        <a:pt x="55" y="452"/>
                      </a:lnTo>
                      <a:lnTo>
                        <a:pt x="55" y="450"/>
                      </a:lnTo>
                      <a:lnTo>
                        <a:pt x="57" y="450"/>
                      </a:lnTo>
                      <a:lnTo>
                        <a:pt x="59" y="450"/>
                      </a:lnTo>
                      <a:lnTo>
                        <a:pt x="60" y="448"/>
                      </a:lnTo>
                      <a:lnTo>
                        <a:pt x="60" y="447"/>
                      </a:lnTo>
                      <a:lnTo>
                        <a:pt x="62" y="447"/>
                      </a:lnTo>
                      <a:lnTo>
                        <a:pt x="64" y="447"/>
                      </a:lnTo>
                      <a:lnTo>
                        <a:pt x="65" y="447"/>
                      </a:lnTo>
                      <a:lnTo>
                        <a:pt x="65" y="445"/>
                      </a:lnTo>
                      <a:lnTo>
                        <a:pt x="67" y="445"/>
                      </a:lnTo>
                      <a:lnTo>
                        <a:pt x="69" y="447"/>
                      </a:lnTo>
                      <a:lnTo>
                        <a:pt x="69" y="445"/>
                      </a:lnTo>
                      <a:lnTo>
                        <a:pt x="70" y="445"/>
                      </a:lnTo>
                      <a:lnTo>
                        <a:pt x="72" y="443"/>
                      </a:lnTo>
                      <a:lnTo>
                        <a:pt x="72" y="445"/>
                      </a:lnTo>
                      <a:lnTo>
                        <a:pt x="74" y="445"/>
                      </a:lnTo>
                      <a:lnTo>
                        <a:pt x="74" y="443"/>
                      </a:lnTo>
                      <a:lnTo>
                        <a:pt x="76" y="443"/>
                      </a:lnTo>
                      <a:lnTo>
                        <a:pt x="77" y="442"/>
                      </a:lnTo>
                      <a:lnTo>
                        <a:pt x="79" y="442"/>
                      </a:lnTo>
                      <a:lnTo>
                        <a:pt x="79" y="440"/>
                      </a:lnTo>
                      <a:lnTo>
                        <a:pt x="79" y="442"/>
                      </a:lnTo>
                      <a:lnTo>
                        <a:pt x="81" y="442"/>
                      </a:lnTo>
                      <a:lnTo>
                        <a:pt x="81" y="440"/>
                      </a:lnTo>
                      <a:lnTo>
                        <a:pt x="82" y="440"/>
                      </a:lnTo>
                      <a:lnTo>
                        <a:pt x="84" y="440"/>
                      </a:lnTo>
                      <a:lnTo>
                        <a:pt x="86" y="440"/>
                      </a:lnTo>
                      <a:lnTo>
                        <a:pt x="87" y="440"/>
                      </a:lnTo>
                      <a:lnTo>
                        <a:pt x="89" y="440"/>
                      </a:lnTo>
                      <a:lnTo>
                        <a:pt x="91" y="440"/>
                      </a:lnTo>
                      <a:lnTo>
                        <a:pt x="92" y="439"/>
                      </a:lnTo>
                      <a:lnTo>
                        <a:pt x="94" y="439"/>
                      </a:lnTo>
                      <a:lnTo>
                        <a:pt x="96" y="439"/>
                      </a:lnTo>
                      <a:lnTo>
                        <a:pt x="98" y="437"/>
                      </a:lnTo>
                      <a:lnTo>
                        <a:pt x="99" y="437"/>
                      </a:lnTo>
                      <a:lnTo>
                        <a:pt x="101" y="437"/>
                      </a:lnTo>
                      <a:lnTo>
                        <a:pt x="101" y="435"/>
                      </a:lnTo>
                      <a:lnTo>
                        <a:pt x="103" y="434"/>
                      </a:lnTo>
                      <a:lnTo>
                        <a:pt x="103" y="432"/>
                      </a:lnTo>
                      <a:lnTo>
                        <a:pt x="104" y="432"/>
                      </a:lnTo>
                      <a:lnTo>
                        <a:pt x="104" y="434"/>
                      </a:lnTo>
                      <a:lnTo>
                        <a:pt x="106" y="432"/>
                      </a:lnTo>
                      <a:lnTo>
                        <a:pt x="108" y="432"/>
                      </a:lnTo>
                      <a:lnTo>
                        <a:pt x="108" y="430"/>
                      </a:lnTo>
                      <a:lnTo>
                        <a:pt x="108" y="429"/>
                      </a:lnTo>
                      <a:lnTo>
                        <a:pt x="109" y="429"/>
                      </a:lnTo>
                      <a:lnTo>
                        <a:pt x="111" y="427"/>
                      </a:lnTo>
                      <a:lnTo>
                        <a:pt x="113" y="427"/>
                      </a:lnTo>
                      <a:lnTo>
                        <a:pt x="114" y="427"/>
                      </a:lnTo>
                      <a:lnTo>
                        <a:pt x="114" y="429"/>
                      </a:lnTo>
                      <a:lnTo>
                        <a:pt x="116" y="427"/>
                      </a:lnTo>
                      <a:lnTo>
                        <a:pt x="118" y="427"/>
                      </a:lnTo>
                      <a:lnTo>
                        <a:pt x="118" y="429"/>
                      </a:lnTo>
                      <a:lnTo>
                        <a:pt x="119" y="430"/>
                      </a:lnTo>
                      <a:lnTo>
                        <a:pt x="121" y="430"/>
                      </a:lnTo>
                      <a:lnTo>
                        <a:pt x="123" y="430"/>
                      </a:lnTo>
                      <a:lnTo>
                        <a:pt x="123" y="429"/>
                      </a:lnTo>
                      <a:lnTo>
                        <a:pt x="123" y="427"/>
                      </a:lnTo>
                      <a:lnTo>
                        <a:pt x="125" y="427"/>
                      </a:lnTo>
                      <a:lnTo>
                        <a:pt x="125" y="425"/>
                      </a:lnTo>
                      <a:lnTo>
                        <a:pt x="126" y="424"/>
                      </a:lnTo>
                      <a:lnTo>
                        <a:pt x="128" y="424"/>
                      </a:lnTo>
                      <a:lnTo>
                        <a:pt x="128" y="422"/>
                      </a:lnTo>
                      <a:lnTo>
                        <a:pt x="130" y="422"/>
                      </a:lnTo>
                      <a:lnTo>
                        <a:pt x="130" y="420"/>
                      </a:lnTo>
                      <a:lnTo>
                        <a:pt x="131" y="420"/>
                      </a:lnTo>
                      <a:lnTo>
                        <a:pt x="131" y="419"/>
                      </a:lnTo>
                      <a:lnTo>
                        <a:pt x="131" y="417"/>
                      </a:lnTo>
                      <a:lnTo>
                        <a:pt x="133" y="417"/>
                      </a:lnTo>
                      <a:lnTo>
                        <a:pt x="135" y="416"/>
                      </a:lnTo>
                      <a:lnTo>
                        <a:pt x="135" y="414"/>
                      </a:lnTo>
                      <a:lnTo>
                        <a:pt x="138" y="414"/>
                      </a:lnTo>
                      <a:lnTo>
                        <a:pt x="140" y="412"/>
                      </a:lnTo>
                      <a:lnTo>
                        <a:pt x="140" y="411"/>
                      </a:lnTo>
                      <a:lnTo>
                        <a:pt x="141" y="411"/>
                      </a:lnTo>
                      <a:lnTo>
                        <a:pt x="143" y="409"/>
                      </a:lnTo>
                      <a:lnTo>
                        <a:pt x="145" y="409"/>
                      </a:lnTo>
                      <a:lnTo>
                        <a:pt x="146" y="407"/>
                      </a:lnTo>
                      <a:lnTo>
                        <a:pt x="148" y="407"/>
                      </a:lnTo>
                      <a:lnTo>
                        <a:pt x="148" y="406"/>
                      </a:lnTo>
                      <a:lnTo>
                        <a:pt x="150" y="406"/>
                      </a:lnTo>
                      <a:lnTo>
                        <a:pt x="152" y="404"/>
                      </a:lnTo>
                      <a:lnTo>
                        <a:pt x="153" y="404"/>
                      </a:lnTo>
                      <a:lnTo>
                        <a:pt x="155" y="404"/>
                      </a:lnTo>
                      <a:lnTo>
                        <a:pt x="157" y="404"/>
                      </a:lnTo>
                      <a:lnTo>
                        <a:pt x="158" y="404"/>
                      </a:lnTo>
                      <a:lnTo>
                        <a:pt x="160" y="404"/>
                      </a:lnTo>
                      <a:lnTo>
                        <a:pt x="160" y="402"/>
                      </a:lnTo>
                      <a:lnTo>
                        <a:pt x="162" y="401"/>
                      </a:lnTo>
                      <a:lnTo>
                        <a:pt x="162" y="399"/>
                      </a:lnTo>
                      <a:lnTo>
                        <a:pt x="162" y="397"/>
                      </a:lnTo>
                      <a:lnTo>
                        <a:pt x="162" y="396"/>
                      </a:lnTo>
                      <a:lnTo>
                        <a:pt x="163" y="396"/>
                      </a:lnTo>
                      <a:lnTo>
                        <a:pt x="163" y="394"/>
                      </a:lnTo>
                      <a:lnTo>
                        <a:pt x="163" y="393"/>
                      </a:lnTo>
                      <a:lnTo>
                        <a:pt x="165" y="393"/>
                      </a:lnTo>
                      <a:lnTo>
                        <a:pt x="165" y="394"/>
                      </a:lnTo>
                      <a:lnTo>
                        <a:pt x="165" y="393"/>
                      </a:lnTo>
                      <a:lnTo>
                        <a:pt x="167" y="393"/>
                      </a:lnTo>
                      <a:lnTo>
                        <a:pt x="168" y="391"/>
                      </a:lnTo>
                      <a:lnTo>
                        <a:pt x="168" y="389"/>
                      </a:lnTo>
                      <a:lnTo>
                        <a:pt x="168" y="388"/>
                      </a:lnTo>
                      <a:lnTo>
                        <a:pt x="170" y="386"/>
                      </a:lnTo>
                      <a:lnTo>
                        <a:pt x="172" y="386"/>
                      </a:lnTo>
                      <a:lnTo>
                        <a:pt x="172" y="384"/>
                      </a:lnTo>
                      <a:lnTo>
                        <a:pt x="172" y="383"/>
                      </a:lnTo>
                      <a:lnTo>
                        <a:pt x="172" y="381"/>
                      </a:lnTo>
                      <a:lnTo>
                        <a:pt x="174" y="381"/>
                      </a:lnTo>
                      <a:lnTo>
                        <a:pt x="175" y="381"/>
                      </a:lnTo>
                      <a:lnTo>
                        <a:pt x="175" y="379"/>
                      </a:lnTo>
                      <a:lnTo>
                        <a:pt x="177" y="378"/>
                      </a:lnTo>
                      <a:lnTo>
                        <a:pt x="177" y="379"/>
                      </a:lnTo>
                      <a:lnTo>
                        <a:pt x="179" y="381"/>
                      </a:lnTo>
                      <a:lnTo>
                        <a:pt x="179" y="379"/>
                      </a:lnTo>
                      <a:lnTo>
                        <a:pt x="179" y="378"/>
                      </a:lnTo>
                      <a:lnTo>
                        <a:pt x="177" y="378"/>
                      </a:lnTo>
                      <a:lnTo>
                        <a:pt x="177" y="376"/>
                      </a:lnTo>
                      <a:lnTo>
                        <a:pt x="177" y="374"/>
                      </a:lnTo>
                      <a:lnTo>
                        <a:pt x="179" y="374"/>
                      </a:lnTo>
                      <a:lnTo>
                        <a:pt x="180" y="374"/>
                      </a:lnTo>
                      <a:lnTo>
                        <a:pt x="180" y="376"/>
                      </a:lnTo>
                      <a:lnTo>
                        <a:pt x="182" y="378"/>
                      </a:lnTo>
                      <a:lnTo>
                        <a:pt x="182" y="376"/>
                      </a:lnTo>
                      <a:lnTo>
                        <a:pt x="182" y="374"/>
                      </a:lnTo>
                      <a:lnTo>
                        <a:pt x="182" y="373"/>
                      </a:lnTo>
                      <a:lnTo>
                        <a:pt x="184" y="373"/>
                      </a:lnTo>
                      <a:lnTo>
                        <a:pt x="184" y="371"/>
                      </a:lnTo>
                      <a:lnTo>
                        <a:pt x="185" y="371"/>
                      </a:lnTo>
                      <a:lnTo>
                        <a:pt x="187" y="371"/>
                      </a:lnTo>
                      <a:lnTo>
                        <a:pt x="189" y="371"/>
                      </a:lnTo>
                      <a:lnTo>
                        <a:pt x="190" y="371"/>
                      </a:lnTo>
                      <a:lnTo>
                        <a:pt x="190" y="370"/>
                      </a:lnTo>
                      <a:lnTo>
                        <a:pt x="192" y="370"/>
                      </a:lnTo>
                      <a:lnTo>
                        <a:pt x="194" y="371"/>
                      </a:lnTo>
                      <a:lnTo>
                        <a:pt x="194" y="373"/>
                      </a:lnTo>
                      <a:lnTo>
                        <a:pt x="195" y="373"/>
                      </a:lnTo>
                      <a:lnTo>
                        <a:pt x="195" y="371"/>
                      </a:lnTo>
                      <a:lnTo>
                        <a:pt x="197" y="371"/>
                      </a:lnTo>
                      <a:lnTo>
                        <a:pt x="199" y="371"/>
                      </a:lnTo>
                      <a:lnTo>
                        <a:pt x="201" y="371"/>
                      </a:lnTo>
                      <a:lnTo>
                        <a:pt x="202" y="370"/>
                      </a:lnTo>
                      <a:lnTo>
                        <a:pt x="204" y="368"/>
                      </a:lnTo>
                      <a:lnTo>
                        <a:pt x="206" y="368"/>
                      </a:lnTo>
                      <a:lnTo>
                        <a:pt x="207" y="368"/>
                      </a:lnTo>
                      <a:lnTo>
                        <a:pt x="207" y="366"/>
                      </a:lnTo>
                      <a:lnTo>
                        <a:pt x="209" y="366"/>
                      </a:lnTo>
                      <a:lnTo>
                        <a:pt x="209" y="368"/>
                      </a:lnTo>
                      <a:lnTo>
                        <a:pt x="209" y="366"/>
                      </a:lnTo>
                      <a:lnTo>
                        <a:pt x="211" y="366"/>
                      </a:lnTo>
                      <a:lnTo>
                        <a:pt x="212" y="366"/>
                      </a:lnTo>
                      <a:lnTo>
                        <a:pt x="216" y="366"/>
                      </a:lnTo>
                      <a:lnTo>
                        <a:pt x="217" y="366"/>
                      </a:lnTo>
                      <a:lnTo>
                        <a:pt x="219" y="366"/>
                      </a:lnTo>
                      <a:lnTo>
                        <a:pt x="222" y="368"/>
                      </a:lnTo>
                      <a:lnTo>
                        <a:pt x="224" y="370"/>
                      </a:lnTo>
                      <a:lnTo>
                        <a:pt x="228" y="370"/>
                      </a:lnTo>
                      <a:lnTo>
                        <a:pt x="228" y="371"/>
                      </a:lnTo>
                      <a:lnTo>
                        <a:pt x="229" y="370"/>
                      </a:lnTo>
                      <a:lnTo>
                        <a:pt x="231" y="371"/>
                      </a:lnTo>
                      <a:lnTo>
                        <a:pt x="231" y="373"/>
                      </a:lnTo>
                      <a:lnTo>
                        <a:pt x="231" y="374"/>
                      </a:lnTo>
                      <a:lnTo>
                        <a:pt x="233" y="374"/>
                      </a:lnTo>
                      <a:lnTo>
                        <a:pt x="234" y="374"/>
                      </a:lnTo>
                      <a:lnTo>
                        <a:pt x="236" y="374"/>
                      </a:lnTo>
                      <a:lnTo>
                        <a:pt x="236" y="376"/>
                      </a:lnTo>
                      <a:lnTo>
                        <a:pt x="238" y="378"/>
                      </a:lnTo>
                      <a:lnTo>
                        <a:pt x="238" y="379"/>
                      </a:lnTo>
                      <a:lnTo>
                        <a:pt x="239" y="379"/>
                      </a:lnTo>
                      <a:lnTo>
                        <a:pt x="241" y="379"/>
                      </a:lnTo>
                      <a:lnTo>
                        <a:pt x="241" y="378"/>
                      </a:lnTo>
                      <a:lnTo>
                        <a:pt x="241" y="379"/>
                      </a:lnTo>
                      <a:lnTo>
                        <a:pt x="243" y="379"/>
                      </a:lnTo>
                      <a:lnTo>
                        <a:pt x="244" y="379"/>
                      </a:lnTo>
                      <a:lnTo>
                        <a:pt x="244" y="378"/>
                      </a:lnTo>
                      <a:lnTo>
                        <a:pt x="246" y="378"/>
                      </a:lnTo>
                      <a:lnTo>
                        <a:pt x="246" y="376"/>
                      </a:lnTo>
                      <a:lnTo>
                        <a:pt x="248" y="376"/>
                      </a:lnTo>
                      <a:lnTo>
                        <a:pt x="250" y="376"/>
                      </a:lnTo>
                      <a:lnTo>
                        <a:pt x="250" y="374"/>
                      </a:lnTo>
                      <a:lnTo>
                        <a:pt x="251" y="374"/>
                      </a:lnTo>
                      <a:lnTo>
                        <a:pt x="253" y="374"/>
                      </a:lnTo>
                      <a:lnTo>
                        <a:pt x="255" y="374"/>
                      </a:lnTo>
                      <a:lnTo>
                        <a:pt x="256" y="374"/>
                      </a:lnTo>
                      <a:lnTo>
                        <a:pt x="258" y="374"/>
                      </a:lnTo>
                      <a:lnTo>
                        <a:pt x="258" y="373"/>
                      </a:lnTo>
                      <a:lnTo>
                        <a:pt x="260" y="373"/>
                      </a:lnTo>
                      <a:lnTo>
                        <a:pt x="260" y="371"/>
                      </a:lnTo>
                      <a:lnTo>
                        <a:pt x="263" y="371"/>
                      </a:lnTo>
                      <a:lnTo>
                        <a:pt x="266" y="371"/>
                      </a:lnTo>
                      <a:lnTo>
                        <a:pt x="266" y="373"/>
                      </a:lnTo>
                      <a:lnTo>
                        <a:pt x="268" y="373"/>
                      </a:lnTo>
                      <a:lnTo>
                        <a:pt x="270" y="373"/>
                      </a:lnTo>
                      <a:lnTo>
                        <a:pt x="271" y="373"/>
                      </a:lnTo>
                      <a:lnTo>
                        <a:pt x="273" y="373"/>
                      </a:lnTo>
                      <a:lnTo>
                        <a:pt x="273" y="371"/>
                      </a:lnTo>
                      <a:lnTo>
                        <a:pt x="275" y="371"/>
                      </a:lnTo>
                      <a:lnTo>
                        <a:pt x="275" y="370"/>
                      </a:lnTo>
                      <a:lnTo>
                        <a:pt x="277" y="370"/>
                      </a:lnTo>
                      <a:lnTo>
                        <a:pt x="278" y="371"/>
                      </a:lnTo>
                      <a:lnTo>
                        <a:pt x="280" y="371"/>
                      </a:lnTo>
                      <a:lnTo>
                        <a:pt x="282" y="371"/>
                      </a:lnTo>
                      <a:lnTo>
                        <a:pt x="283" y="371"/>
                      </a:lnTo>
                      <a:lnTo>
                        <a:pt x="283" y="370"/>
                      </a:lnTo>
                      <a:lnTo>
                        <a:pt x="285" y="370"/>
                      </a:lnTo>
                      <a:lnTo>
                        <a:pt x="285" y="368"/>
                      </a:lnTo>
                      <a:lnTo>
                        <a:pt x="287" y="366"/>
                      </a:lnTo>
                      <a:lnTo>
                        <a:pt x="288" y="366"/>
                      </a:lnTo>
                      <a:lnTo>
                        <a:pt x="288" y="365"/>
                      </a:lnTo>
                      <a:lnTo>
                        <a:pt x="290" y="365"/>
                      </a:lnTo>
                      <a:lnTo>
                        <a:pt x="290" y="363"/>
                      </a:lnTo>
                      <a:lnTo>
                        <a:pt x="292" y="361"/>
                      </a:lnTo>
                      <a:lnTo>
                        <a:pt x="290" y="360"/>
                      </a:lnTo>
                      <a:lnTo>
                        <a:pt x="292" y="360"/>
                      </a:lnTo>
                      <a:lnTo>
                        <a:pt x="292" y="358"/>
                      </a:lnTo>
                      <a:lnTo>
                        <a:pt x="292" y="356"/>
                      </a:lnTo>
                      <a:lnTo>
                        <a:pt x="293" y="355"/>
                      </a:lnTo>
                      <a:lnTo>
                        <a:pt x="293" y="353"/>
                      </a:lnTo>
                      <a:lnTo>
                        <a:pt x="293" y="351"/>
                      </a:lnTo>
                      <a:lnTo>
                        <a:pt x="293" y="350"/>
                      </a:lnTo>
                      <a:lnTo>
                        <a:pt x="295" y="350"/>
                      </a:lnTo>
                      <a:lnTo>
                        <a:pt x="295" y="348"/>
                      </a:lnTo>
                      <a:lnTo>
                        <a:pt x="293" y="348"/>
                      </a:lnTo>
                      <a:lnTo>
                        <a:pt x="293" y="347"/>
                      </a:lnTo>
                      <a:lnTo>
                        <a:pt x="295" y="347"/>
                      </a:lnTo>
                      <a:lnTo>
                        <a:pt x="295" y="345"/>
                      </a:lnTo>
                      <a:lnTo>
                        <a:pt x="295" y="343"/>
                      </a:lnTo>
                      <a:lnTo>
                        <a:pt x="295" y="340"/>
                      </a:lnTo>
                      <a:lnTo>
                        <a:pt x="295" y="338"/>
                      </a:lnTo>
                      <a:lnTo>
                        <a:pt x="297" y="337"/>
                      </a:lnTo>
                      <a:lnTo>
                        <a:pt x="297" y="335"/>
                      </a:lnTo>
                      <a:lnTo>
                        <a:pt x="297" y="333"/>
                      </a:lnTo>
                      <a:lnTo>
                        <a:pt x="298" y="333"/>
                      </a:lnTo>
                      <a:lnTo>
                        <a:pt x="298" y="332"/>
                      </a:lnTo>
                      <a:lnTo>
                        <a:pt x="297" y="332"/>
                      </a:lnTo>
                      <a:lnTo>
                        <a:pt x="297" y="330"/>
                      </a:lnTo>
                      <a:lnTo>
                        <a:pt x="297" y="328"/>
                      </a:lnTo>
                      <a:lnTo>
                        <a:pt x="297" y="327"/>
                      </a:lnTo>
                      <a:lnTo>
                        <a:pt x="297" y="325"/>
                      </a:lnTo>
                      <a:lnTo>
                        <a:pt x="297" y="324"/>
                      </a:lnTo>
                      <a:lnTo>
                        <a:pt x="295" y="324"/>
                      </a:lnTo>
                      <a:lnTo>
                        <a:pt x="295" y="322"/>
                      </a:lnTo>
                      <a:lnTo>
                        <a:pt x="293" y="322"/>
                      </a:lnTo>
                      <a:lnTo>
                        <a:pt x="290" y="320"/>
                      </a:lnTo>
                      <a:lnTo>
                        <a:pt x="290" y="319"/>
                      </a:lnTo>
                      <a:lnTo>
                        <a:pt x="288" y="319"/>
                      </a:lnTo>
                      <a:lnTo>
                        <a:pt x="287" y="317"/>
                      </a:lnTo>
                      <a:lnTo>
                        <a:pt x="285" y="317"/>
                      </a:lnTo>
                      <a:lnTo>
                        <a:pt x="285" y="315"/>
                      </a:lnTo>
                      <a:lnTo>
                        <a:pt x="285" y="314"/>
                      </a:lnTo>
                      <a:lnTo>
                        <a:pt x="285" y="312"/>
                      </a:lnTo>
                      <a:lnTo>
                        <a:pt x="283" y="312"/>
                      </a:lnTo>
                      <a:lnTo>
                        <a:pt x="282" y="312"/>
                      </a:lnTo>
                      <a:lnTo>
                        <a:pt x="280" y="312"/>
                      </a:lnTo>
                      <a:lnTo>
                        <a:pt x="278" y="310"/>
                      </a:lnTo>
                      <a:lnTo>
                        <a:pt x="277" y="307"/>
                      </a:lnTo>
                      <a:lnTo>
                        <a:pt x="277" y="305"/>
                      </a:lnTo>
                      <a:lnTo>
                        <a:pt x="277" y="304"/>
                      </a:lnTo>
                      <a:lnTo>
                        <a:pt x="278" y="304"/>
                      </a:lnTo>
                      <a:lnTo>
                        <a:pt x="278" y="302"/>
                      </a:lnTo>
                      <a:lnTo>
                        <a:pt x="278" y="301"/>
                      </a:lnTo>
                      <a:lnTo>
                        <a:pt x="277" y="299"/>
                      </a:lnTo>
                      <a:lnTo>
                        <a:pt x="275" y="299"/>
                      </a:lnTo>
                      <a:lnTo>
                        <a:pt x="275" y="297"/>
                      </a:lnTo>
                      <a:lnTo>
                        <a:pt x="275" y="296"/>
                      </a:lnTo>
                      <a:lnTo>
                        <a:pt x="275" y="294"/>
                      </a:lnTo>
                      <a:lnTo>
                        <a:pt x="273" y="292"/>
                      </a:lnTo>
                      <a:lnTo>
                        <a:pt x="275" y="291"/>
                      </a:lnTo>
                      <a:lnTo>
                        <a:pt x="275" y="289"/>
                      </a:lnTo>
                      <a:lnTo>
                        <a:pt x="277" y="289"/>
                      </a:lnTo>
                      <a:lnTo>
                        <a:pt x="275" y="289"/>
                      </a:lnTo>
                      <a:lnTo>
                        <a:pt x="275" y="287"/>
                      </a:lnTo>
                      <a:lnTo>
                        <a:pt x="275" y="286"/>
                      </a:lnTo>
                      <a:lnTo>
                        <a:pt x="273" y="286"/>
                      </a:lnTo>
                      <a:lnTo>
                        <a:pt x="275" y="284"/>
                      </a:lnTo>
                      <a:lnTo>
                        <a:pt x="275" y="283"/>
                      </a:lnTo>
                      <a:lnTo>
                        <a:pt x="273" y="283"/>
                      </a:lnTo>
                      <a:lnTo>
                        <a:pt x="273" y="281"/>
                      </a:lnTo>
                      <a:lnTo>
                        <a:pt x="273" y="279"/>
                      </a:lnTo>
                      <a:lnTo>
                        <a:pt x="273" y="278"/>
                      </a:lnTo>
                      <a:lnTo>
                        <a:pt x="275" y="278"/>
                      </a:lnTo>
                      <a:lnTo>
                        <a:pt x="277" y="276"/>
                      </a:lnTo>
                      <a:lnTo>
                        <a:pt x="275" y="276"/>
                      </a:lnTo>
                      <a:lnTo>
                        <a:pt x="275" y="274"/>
                      </a:lnTo>
                      <a:lnTo>
                        <a:pt x="275" y="273"/>
                      </a:lnTo>
                      <a:lnTo>
                        <a:pt x="275" y="271"/>
                      </a:lnTo>
                      <a:lnTo>
                        <a:pt x="275" y="269"/>
                      </a:lnTo>
                      <a:lnTo>
                        <a:pt x="275" y="268"/>
                      </a:lnTo>
                      <a:lnTo>
                        <a:pt x="273" y="268"/>
                      </a:lnTo>
                      <a:lnTo>
                        <a:pt x="275" y="264"/>
                      </a:lnTo>
                      <a:lnTo>
                        <a:pt x="277" y="264"/>
                      </a:lnTo>
                      <a:lnTo>
                        <a:pt x="278" y="264"/>
                      </a:lnTo>
                      <a:lnTo>
                        <a:pt x="278" y="263"/>
                      </a:lnTo>
                      <a:lnTo>
                        <a:pt x="280" y="264"/>
                      </a:lnTo>
                      <a:lnTo>
                        <a:pt x="280" y="263"/>
                      </a:lnTo>
                      <a:lnTo>
                        <a:pt x="280" y="261"/>
                      </a:lnTo>
                      <a:lnTo>
                        <a:pt x="282" y="261"/>
                      </a:lnTo>
                      <a:lnTo>
                        <a:pt x="282" y="260"/>
                      </a:lnTo>
                      <a:lnTo>
                        <a:pt x="283" y="260"/>
                      </a:lnTo>
                      <a:lnTo>
                        <a:pt x="283" y="258"/>
                      </a:lnTo>
                      <a:lnTo>
                        <a:pt x="283" y="256"/>
                      </a:lnTo>
                      <a:lnTo>
                        <a:pt x="283" y="255"/>
                      </a:lnTo>
                      <a:lnTo>
                        <a:pt x="285" y="255"/>
                      </a:lnTo>
                      <a:lnTo>
                        <a:pt x="287" y="251"/>
                      </a:lnTo>
                      <a:lnTo>
                        <a:pt x="287" y="250"/>
                      </a:lnTo>
                      <a:lnTo>
                        <a:pt x="288" y="250"/>
                      </a:lnTo>
                      <a:lnTo>
                        <a:pt x="290" y="250"/>
                      </a:lnTo>
                      <a:lnTo>
                        <a:pt x="290" y="248"/>
                      </a:lnTo>
                      <a:lnTo>
                        <a:pt x="290" y="246"/>
                      </a:lnTo>
                      <a:lnTo>
                        <a:pt x="292" y="246"/>
                      </a:lnTo>
                      <a:lnTo>
                        <a:pt x="292" y="245"/>
                      </a:lnTo>
                      <a:lnTo>
                        <a:pt x="293" y="245"/>
                      </a:lnTo>
                      <a:lnTo>
                        <a:pt x="295" y="245"/>
                      </a:lnTo>
                      <a:lnTo>
                        <a:pt x="295" y="243"/>
                      </a:lnTo>
                      <a:lnTo>
                        <a:pt x="297" y="243"/>
                      </a:lnTo>
                      <a:lnTo>
                        <a:pt x="298" y="241"/>
                      </a:lnTo>
                      <a:lnTo>
                        <a:pt x="300" y="241"/>
                      </a:lnTo>
                      <a:lnTo>
                        <a:pt x="300" y="240"/>
                      </a:lnTo>
                      <a:lnTo>
                        <a:pt x="300" y="238"/>
                      </a:lnTo>
                      <a:lnTo>
                        <a:pt x="300" y="235"/>
                      </a:lnTo>
                      <a:lnTo>
                        <a:pt x="300" y="233"/>
                      </a:lnTo>
                      <a:lnTo>
                        <a:pt x="298" y="232"/>
                      </a:lnTo>
                      <a:lnTo>
                        <a:pt x="300" y="230"/>
                      </a:lnTo>
                      <a:lnTo>
                        <a:pt x="302" y="228"/>
                      </a:lnTo>
                      <a:lnTo>
                        <a:pt x="302" y="227"/>
                      </a:lnTo>
                      <a:lnTo>
                        <a:pt x="302" y="225"/>
                      </a:lnTo>
                      <a:lnTo>
                        <a:pt x="302" y="223"/>
                      </a:lnTo>
                      <a:lnTo>
                        <a:pt x="300" y="222"/>
                      </a:lnTo>
                      <a:lnTo>
                        <a:pt x="300" y="220"/>
                      </a:lnTo>
                      <a:lnTo>
                        <a:pt x="300" y="218"/>
                      </a:lnTo>
                      <a:lnTo>
                        <a:pt x="300" y="217"/>
                      </a:lnTo>
                      <a:lnTo>
                        <a:pt x="298" y="215"/>
                      </a:lnTo>
                      <a:lnTo>
                        <a:pt x="298" y="214"/>
                      </a:lnTo>
                      <a:lnTo>
                        <a:pt x="298" y="212"/>
                      </a:lnTo>
                      <a:lnTo>
                        <a:pt x="298" y="210"/>
                      </a:lnTo>
                      <a:lnTo>
                        <a:pt x="297" y="210"/>
                      </a:lnTo>
                      <a:lnTo>
                        <a:pt x="297" y="207"/>
                      </a:lnTo>
                      <a:lnTo>
                        <a:pt x="297" y="205"/>
                      </a:lnTo>
                      <a:lnTo>
                        <a:pt x="297" y="204"/>
                      </a:lnTo>
                      <a:lnTo>
                        <a:pt x="295" y="202"/>
                      </a:lnTo>
                      <a:lnTo>
                        <a:pt x="293" y="200"/>
                      </a:lnTo>
                      <a:lnTo>
                        <a:pt x="293" y="199"/>
                      </a:lnTo>
                      <a:lnTo>
                        <a:pt x="293" y="195"/>
                      </a:lnTo>
                      <a:lnTo>
                        <a:pt x="293" y="194"/>
                      </a:lnTo>
                      <a:lnTo>
                        <a:pt x="292" y="194"/>
                      </a:lnTo>
                      <a:lnTo>
                        <a:pt x="290" y="192"/>
                      </a:lnTo>
                      <a:lnTo>
                        <a:pt x="288" y="192"/>
                      </a:lnTo>
                      <a:lnTo>
                        <a:pt x="288" y="191"/>
                      </a:lnTo>
                      <a:lnTo>
                        <a:pt x="288" y="189"/>
                      </a:lnTo>
                      <a:lnTo>
                        <a:pt x="288" y="187"/>
                      </a:lnTo>
                      <a:lnTo>
                        <a:pt x="290" y="186"/>
                      </a:lnTo>
                      <a:lnTo>
                        <a:pt x="290" y="184"/>
                      </a:lnTo>
                      <a:lnTo>
                        <a:pt x="290" y="182"/>
                      </a:lnTo>
                      <a:lnTo>
                        <a:pt x="288" y="182"/>
                      </a:lnTo>
                      <a:lnTo>
                        <a:pt x="287" y="181"/>
                      </a:lnTo>
                      <a:lnTo>
                        <a:pt x="288" y="179"/>
                      </a:lnTo>
                      <a:lnTo>
                        <a:pt x="290" y="177"/>
                      </a:lnTo>
                      <a:lnTo>
                        <a:pt x="292" y="176"/>
                      </a:lnTo>
                      <a:lnTo>
                        <a:pt x="293" y="172"/>
                      </a:lnTo>
                      <a:lnTo>
                        <a:pt x="295" y="171"/>
                      </a:lnTo>
                      <a:lnTo>
                        <a:pt x="295" y="169"/>
                      </a:lnTo>
                      <a:lnTo>
                        <a:pt x="295" y="166"/>
                      </a:lnTo>
                      <a:lnTo>
                        <a:pt x="297" y="164"/>
                      </a:lnTo>
                      <a:lnTo>
                        <a:pt x="297" y="163"/>
                      </a:lnTo>
                      <a:lnTo>
                        <a:pt x="297" y="161"/>
                      </a:lnTo>
                      <a:lnTo>
                        <a:pt x="295" y="159"/>
                      </a:lnTo>
                      <a:lnTo>
                        <a:pt x="295" y="158"/>
                      </a:lnTo>
                      <a:lnTo>
                        <a:pt x="295" y="156"/>
                      </a:lnTo>
                      <a:lnTo>
                        <a:pt x="292" y="153"/>
                      </a:lnTo>
                      <a:lnTo>
                        <a:pt x="290" y="153"/>
                      </a:lnTo>
                      <a:lnTo>
                        <a:pt x="288" y="153"/>
                      </a:lnTo>
                      <a:lnTo>
                        <a:pt x="287" y="153"/>
                      </a:lnTo>
                      <a:lnTo>
                        <a:pt x="287" y="151"/>
                      </a:lnTo>
                      <a:lnTo>
                        <a:pt x="287" y="149"/>
                      </a:lnTo>
                      <a:lnTo>
                        <a:pt x="287" y="148"/>
                      </a:lnTo>
                      <a:lnTo>
                        <a:pt x="285" y="145"/>
                      </a:lnTo>
                      <a:lnTo>
                        <a:pt x="285" y="143"/>
                      </a:lnTo>
                      <a:lnTo>
                        <a:pt x="283" y="138"/>
                      </a:lnTo>
                      <a:lnTo>
                        <a:pt x="285" y="138"/>
                      </a:lnTo>
                      <a:lnTo>
                        <a:pt x="285" y="136"/>
                      </a:lnTo>
                      <a:lnTo>
                        <a:pt x="288" y="133"/>
                      </a:lnTo>
                      <a:lnTo>
                        <a:pt x="290" y="131"/>
                      </a:lnTo>
                      <a:lnTo>
                        <a:pt x="293" y="131"/>
                      </a:lnTo>
                      <a:lnTo>
                        <a:pt x="293" y="130"/>
                      </a:lnTo>
                      <a:lnTo>
                        <a:pt x="292" y="130"/>
                      </a:lnTo>
                      <a:lnTo>
                        <a:pt x="292" y="128"/>
                      </a:lnTo>
                      <a:lnTo>
                        <a:pt x="293" y="128"/>
                      </a:lnTo>
                      <a:lnTo>
                        <a:pt x="293" y="126"/>
                      </a:lnTo>
                      <a:lnTo>
                        <a:pt x="295" y="126"/>
                      </a:lnTo>
                      <a:lnTo>
                        <a:pt x="297" y="125"/>
                      </a:lnTo>
                      <a:lnTo>
                        <a:pt x="297" y="123"/>
                      </a:lnTo>
                      <a:lnTo>
                        <a:pt x="297" y="122"/>
                      </a:lnTo>
                      <a:lnTo>
                        <a:pt x="298" y="120"/>
                      </a:lnTo>
                      <a:lnTo>
                        <a:pt x="298" y="118"/>
                      </a:lnTo>
                      <a:lnTo>
                        <a:pt x="298" y="117"/>
                      </a:lnTo>
                      <a:lnTo>
                        <a:pt x="300" y="117"/>
                      </a:lnTo>
                      <a:lnTo>
                        <a:pt x="300" y="115"/>
                      </a:lnTo>
                      <a:lnTo>
                        <a:pt x="300" y="117"/>
                      </a:lnTo>
                      <a:lnTo>
                        <a:pt x="302" y="117"/>
                      </a:lnTo>
                      <a:lnTo>
                        <a:pt x="302" y="115"/>
                      </a:lnTo>
                      <a:lnTo>
                        <a:pt x="304" y="115"/>
                      </a:lnTo>
                      <a:lnTo>
                        <a:pt x="304" y="113"/>
                      </a:lnTo>
                      <a:lnTo>
                        <a:pt x="304" y="112"/>
                      </a:lnTo>
                      <a:lnTo>
                        <a:pt x="305" y="112"/>
                      </a:lnTo>
                      <a:lnTo>
                        <a:pt x="307" y="112"/>
                      </a:lnTo>
                      <a:lnTo>
                        <a:pt x="307" y="110"/>
                      </a:lnTo>
                      <a:lnTo>
                        <a:pt x="309" y="110"/>
                      </a:lnTo>
                      <a:lnTo>
                        <a:pt x="309" y="108"/>
                      </a:lnTo>
                      <a:lnTo>
                        <a:pt x="309" y="107"/>
                      </a:lnTo>
                      <a:lnTo>
                        <a:pt x="309" y="105"/>
                      </a:lnTo>
                      <a:lnTo>
                        <a:pt x="310" y="105"/>
                      </a:lnTo>
                      <a:lnTo>
                        <a:pt x="310" y="103"/>
                      </a:lnTo>
                      <a:lnTo>
                        <a:pt x="312" y="102"/>
                      </a:lnTo>
                      <a:lnTo>
                        <a:pt x="312" y="99"/>
                      </a:lnTo>
                      <a:lnTo>
                        <a:pt x="314" y="99"/>
                      </a:lnTo>
                      <a:lnTo>
                        <a:pt x="314" y="97"/>
                      </a:lnTo>
                      <a:lnTo>
                        <a:pt x="314" y="95"/>
                      </a:lnTo>
                      <a:lnTo>
                        <a:pt x="314" y="94"/>
                      </a:lnTo>
                      <a:lnTo>
                        <a:pt x="314" y="92"/>
                      </a:lnTo>
                      <a:lnTo>
                        <a:pt x="314" y="89"/>
                      </a:lnTo>
                      <a:lnTo>
                        <a:pt x="314" y="87"/>
                      </a:lnTo>
                      <a:lnTo>
                        <a:pt x="314" y="85"/>
                      </a:lnTo>
                      <a:lnTo>
                        <a:pt x="315" y="85"/>
                      </a:lnTo>
                      <a:lnTo>
                        <a:pt x="315" y="84"/>
                      </a:lnTo>
                      <a:lnTo>
                        <a:pt x="317" y="84"/>
                      </a:lnTo>
                      <a:lnTo>
                        <a:pt x="317" y="82"/>
                      </a:lnTo>
                      <a:lnTo>
                        <a:pt x="319" y="82"/>
                      </a:lnTo>
                      <a:lnTo>
                        <a:pt x="319" y="81"/>
                      </a:lnTo>
                      <a:lnTo>
                        <a:pt x="320" y="79"/>
                      </a:lnTo>
                      <a:lnTo>
                        <a:pt x="322" y="77"/>
                      </a:lnTo>
                      <a:lnTo>
                        <a:pt x="324" y="77"/>
                      </a:lnTo>
                      <a:lnTo>
                        <a:pt x="324" y="76"/>
                      </a:lnTo>
                      <a:lnTo>
                        <a:pt x="326" y="76"/>
                      </a:lnTo>
                      <a:lnTo>
                        <a:pt x="326" y="74"/>
                      </a:lnTo>
                      <a:lnTo>
                        <a:pt x="327" y="72"/>
                      </a:lnTo>
                      <a:lnTo>
                        <a:pt x="327" y="71"/>
                      </a:lnTo>
                      <a:lnTo>
                        <a:pt x="329" y="69"/>
                      </a:lnTo>
                      <a:lnTo>
                        <a:pt x="331" y="69"/>
                      </a:lnTo>
                      <a:lnTo>
                        <a:pt x="331" y="67"/>
                      </a:lnTo>
                      <a:lnTo>
                        <a:pt x="331" y="66"/>
                      </a:lnTo>
                      <a:lnTo>
                        <a:pt x="332" y="66"/>
                      </a:lnTo>
                      <a:lnTo>
                        <a:pt x="332" y="67"/>
                      </a:lnTo>
                      <a:lnTo>
                        <a:pt x="332" y="69"/>
                      </a:lnTo>
                      <a:lnTo>
                        <a:pt x="334" y="69"/>
                      </a:lnTo>
                      <a:lnTo>
                        <a:pt x="336" y="69"/>
                      </a:lnTo>
                      <a:lnTo>
                        <a:pt x="336" y="67"/>
                      </a:lnTo>
                      <a:lnTo>
                        <a:pt x="337" y="66"/>
                      </a:lnTo>
                      <a:lnTo>
                        <a:pt x="337" y="67"/>
                      </a:lnTo>
                      <a:lnTo>
                        <a:pt x="339" y="67"/>
                      </a:lnTo>
                      <a:lnTo>
                        <a:pt x="339" y="69"/>
                      </a:lnTo>
                      <a:lnTo>
                        <a:pt x="341" y="67"/>
                      </a:lnTo>
                      <a:lnTo>
                        <a:pt x="341" y="66"/>
                      </a:lnTo>
                      <a:lnTo>
                        <a:pt x="342" y="66"/>
                      </a:lnTo>
                      <a:lnTo>
                        <a:pt x="344" y="66"/>
                      </a:lnTo>
                      <a:lnTo>
                        <a:pt x="346" y="64"/>
                      </a:lnTo>
                      <a:lnTo>
                        <a:pt x="347" y="64"/>
                      </a:lnTo>
                      <a:lnTo>
                        <a:pt x="349" y="66"/>
                      </a:lnTo>
                      <a:lnTo>
                        <a:pt x="351" y="66"/>
                      </a:lnTo>
                      <a:lnTo>
                        <a:pt x="353" y="66"/>
                      </a:lnTo>
                      <a:lnTo>
                        <a:pt x="354" y="64"/>
                      </a:lnTo>
                      <a:lnTo>
                        <a:pt x="356" y="64"/>
                      </a:lnTo>
                      <a:lnTo>
                        <a:pt x="356" y="66"/>
                      </a:lnTo>
                      <a:lnTo>
                        <a:pt x="358" y="66"/>
                      </a:lnTo>
                      <a:lnTo>
                        <a:pt x="359" y="64"/>
                      </a:lnTo>
                      <a:lnTo>
                        <a:pt x="359" y="62"/>
                      </a:lnTo>
                      <a:lnTo>
                        <a:pt x="359" y="61"/>
                      </a:lnTo>
                      <a:lnTo>
                        <a:pt x="361" y="61"/>
                      </a:lnTo>
                      <a:lnTo>
                        <a:pt x="363" y="61"/>
                      </a:lnTo>
                      <a:lnTo>
                        <a:pt x="364" y="59"/>
                      </a:lnTo>
                      <a:lnTo>
                        <a:pt x="364" y="58"/>
                      </a:lnTo>
                      <a:lnTo>
                        <a:pt x="366" y="58"/>
                      </a:lnTo>
                      <a:lnTo>
                        <a:pt x="366" y="56"/>
                      </a:lnTo>
                      <a:lnTo>
                        <a:pt x="366" y="54"/>
                      </a:lnTo>
                      <a:lnTo>
                        <a:pt x="368" y="54"/>
                      </a:lnTo>
                      <a:lnTo>
                        <a:pt x="368" y="53"/>
                      </a:lnTo>
                      <a:lnTo>
                        <a:pt x="369" y="53"/>
                      </a:lnTo>
                      <a:lnTo>
                        <a:pt x="369" y="51"/>
                      </a:lnTo>
                      <a:lnTo>
                        <a:pt x="368" y="51"/>
                      </a:lnTo>
                      <a:lnTo>
                        <a:pt x="366" y="51"/>
                      </a:lnTo>
                      <a:lnTo>
                        <a:pt x="366" y="49"/>
                      </a:lnTo>
                      <a:lnTo>
                        <a:pt x="368" y="49"/>
                      </a:lnTo>
                      <a:lnTo>
                        <a:pt x="369" y="49"/>
                      </a:lnTo>
                      <a:lnTo>
                        <a:pt x="371" y="48"/>
                      </a:lnTo>
                      <a:lnTo>
                        <a:pt x="373" y="48"/>
                      </a:lnTo>
                      <a:lnTo>
                        <a:pt x="374" y="48"/>
                      </a:lnTo>
                      <a:lnTo>
                        <a:pt x="376" y="48"/>
                      </a:lnTo>
                      <a:lnTo>
                        <a:pt x="378" y="48"/>
                      </a:lnTo>
                      <a:lnTo>
                        <a:pt x="378" y="46"/>
                      </a:lnTo>
                      <a:lnTo>
                        <a:pt x="380" y="46"/>
                      </a:lnTo>
                      <a:lnTo>
                        <a:pt x="380" y="44"/>
                      </a:lnTo>
                      <a:lnTo>
                        <a:pt x="381" y="43"/>
                      </a:lnTo>
                      <a:lnTo>
                        <a:pt x="381" y="41"/>
                      </a:lnTo>
                      <a:lnTo>
                        <a:pt x="383" y="41"/>
                      </a:lnTo>
                      <a:lnTo>
                        <a:pt x="383" y="43"/>
                      </a:lnTo>
                      <a:lnTo>
                        <a:pt x="383" y="41"/>
                      </a:lnTo>
                      <a:lnTo>
                        <a:pt x="383" y="39"/>
                      </a:lnTo>
                      <a:lnTo>
                        <a:pt x="385" y="38"/>
                      </a:lnTo>
                      <a:lnTo>
                        <a:pt x="385" y="36"/>
                      </a:lnTo>
                      <a:lnTo>
                        <a:pt x="385" y="35"/>
                      </a:lnTo>
                      <a:lnTo>
                        <a:pt x="386" y="35"/>
                      </a:lnTo>
                      <a:lnTo>
                        <a:pt x="388" y="33"/>
                      </a:lnTo>
                      <a:lnTo>
                        <a:pt x="390" y="31"/>
                      </a:lnTo>
                      <a:lnTo>
                        <a:pt x="390" y="30"/>
                      </a:lnTo>
                      <a:lnTo>
                        <a:pt x="391" y="30"/>
                      </a:lnTo>
                      <a:lnTo>
                        <a:pt x="391" y="28"/>
                      </a:lnTo>
                      <a:lnTo>
                        <a:pt x="393" y="28"/>
                      </a:lnTo>
                      <a:lnTo>
                        <a:pt x="395" y="26"/>
                      </a:lnTo>
                      <a:lnTo>
                        <a:pt x="395" y="25"/>
                      </a:lnTo>
                      <a:lnTo>
                        <a:pt x="395" y="23"/>
                      </a:lnTo>
                      <a:lnTo>
                        <a:pt x="396" y="23"/>
                      </a:lnTo>
                      <a:lnTo>
                        <a:pt x="396" y="21"/>
                      </a:lnTo>
                      <a:lnTo>
                        <a:pt x="396" y="20"/>
                      </a:lnTo>
                      <a:lnTo>
                        <a:pt x="395" y="18"/>
                      </a:lnTo>
                      <a:lnTo>
                        <a:pt x="393" y="16"/>
                      </a:lnTo>
                      <a:lnTo>
                        <a:pt x="391" y="15"/>
                      </a:lnTo>
                      <a:lnTo>
                        <a:pt x="391" y="13"/>
                      </a:lnTo>
                      <a:lnTo>
                        <a:pt x="391" y="12"/>
                      </a:lnTo>
                      <a:lnTo>
                        <a:pt x="391" y="10"/>
                      </a:lnTo>
                      <a:lnTo>
                        <a:pt x="391" y="8"/>
                      </a:lnTo>
                      <a:lnTo>
                        <a:pt x="393" y="8"/>
                      </a:lnTo>
                      <a:lnTo>
                        <a:pt x="393" y="7"/>
                      </a:lnTo>
                      <a:lnTo>
                        <a:pt x="393" y="5"/>
                      </a:lnTo>
                      <a:lnTo>
                        <a:pt x="391" y="5"/>
                      </a:lnTo>
                      <a:lnTo>
                        <a:pt x="391" y="3"/>
                      </a:lnTo>
                      <a:lnTo>
                        <a:pt x="395" y="2"/>
                      </a:lnTo>
                      <a:lnTo>
                        <a:pt x="395" y="0"/>
                      </a:lnTo>
                      <a:lnTo>
                        <a:pt x="396" y="2"/>
                      </a:lnTo>
                      <a:lnTo>
                        <a:pt x="398" y="3"/>
                      </a:lnTo>
                      <a:lnTo>
                        <a:pt x="400" y="5"/>
                      </a:lnTo>
                      <a:lnTo>
                        <a:pt x="402" y="7"/>
                      </a:lnTo>
                      <a:lnTo>
                        <a:pt x="403" y="7"/>
                      </a:lnTo>
                      <a:lnTo>
                        <a:pt x="405" y="7"/>
                      </a:lnTo>
                      <a:lnTo>
                        <a:pt x="405" y="8"/>
                      </a:lnTo>
                      <a:lnTo>
                        <a:pt x="407" y="8"/>
                      </a:lnTo>
                      <a:lnTo>
                        <a:pt x="408" y="10"/>
                      </a:lnTo>
                      <a:lnTo>
                        <a:pt x="410" y="12"/>
                      </a:lnTo>
                      <a:lnTo>
                        <a:pt x="410" y="13"/>
                      </a:lnTo>
                      <a:lnTo>
                        <a:pt x="410" y="12"/>
                      </a:lnTo>
                      <a:lnTo>
                        <a:pt x="410" y="13"/>
                      </a:lnTo>
                      <a:lnTo>
                        <a:pt x="408" y="12"/>
                      </a:lnTo>
                      <a:lnTo>
                        <a:pt x="407" y="13"/>
                      </a:lnTo>
                      <a:lnTo>
                        <a:pt x="408" y="13"/>
                      </a:lnTo>
                      <a:lnTo>
                        <a:pt x="410" y="13"/>
                      </a:lnTo>
                      <a:lnTo>
                        <a:pt x="412" y="13"/>
                      </a:lnTo>
                      <a:lnTo>
                        <a:pt x="413" y="15"/>
                      </a:lnTo>
                      <a:lnTo>
                        <a:pt x="415" y="15"/>
                      </a:lnTo>
                      <a:lnTo>
                        <a:pt x="417" y="16"/>
                      </a:lnTo>
                      <a:lnTo>
                        <a:pt x="418" y="16"/>
                      </a:lnTo>
                      <a:lnTo>
                        <a:pt x="418" y="15"/>
                      </a:lnTo>
                      <a:lnTo>
                        <a:pt x="418" y="16"/>
                      </a:lnTo>
                      <a:lnTo>
                        <a:pt x="420" y="15"/>
                      </a:lnTo>
                      <a:lnTo>
                        <a:pt x="422" y="16"/>
                      </a:lnTo>
                      <a:lnTo>
                        <a:pt x="423" y="16"/>
                      </a:lnTo>
                      <a:lnTo>
                        <a:pt x="425" y="16"/>
                      </a:lnTo>
                      <a:lnTo>
                        <a:pt x="425" y="15"/>
                      </a:lnTo>
                      <a:lnTo>
                        <a:pt x="427" y="15"/>
                      </a:lnTo>
                      <a:lnTo>
                        <a:pt x="429" y="16"/>
                      </a:lnTo>
                      <a:lnTo>
                        <a:pt x="429" y="15"/>
                      </a:lnTo>
                      <a:lnTo>
                        <a:pt x="430" y="16"/>
                      </a:lnTo>
                      <a:lnTo>
                        <a:pt x="432" y="16"/>
                      </a:lnTo>
                      <a:lnTo>
                        <a:pt x="434" y="16"/>
                      </a:lnTo>
                      <a:lnTo>
                        <a:pt x="435" y="16"/>
                      </a:lnTo>
                      <a:lnTo>
                        <a:pt x="437" y="16"/>
                      </a:lnTo>
                      <a:lnTo>
                        <a:pt x="439" y="16"/>
                      </a:lnTo>
                      <a:lnTo>
                        <a:pt x="439" y="18"/>
                      </a:lnTo>
                      <a:lnTo>
                        <a:pt x="440" y="18"/>
                      </a:lnTo>
                      <a:lnTo>
                        <a:pt x="442" y="18"/>
                      </a:lnTo>
                      <a:lnTo>
                        <a:pt x="442" y="20"/>
                      </a:lnTo>
                      <a:lnTo>
                        <a:pt x="442" y="21"/>
                      </a:lnTo>
                      <a:lnTo>
                        <a:pt x="444" y="21"/>
                      </a:lnTo>
                      <a:lnTo>
                        <a:pt x="445" y="21"/>
                      </a:lnTo>
                      <a:lnTo>
                        <a:pt x="447" y="21"/>
                      </a:lnTo>
                      <a:lnTo>
                        <a:pt x="447" y="23"/>
                      </a:lnTo>
                      <a:lnTo>
                        <a:pt x="449" y="25"/>
                      </a:lnTo>
                      <a:lnTo>
                        <a:pt x="449" y="26"/>
                      </a:lnTo>
                      <a:lnTo>
                        <a:pt x="449" y="28"/>
                      </a:lnTo>
                      <a:lnTo>
                        <a:pt x="447" y="30"/>
                      </a:lnTo>
                      <a:lnTo>
                        <a:pt x="449" y="30"/>
                      </a:lnTo>
                      <a:lnTo>
                        <a:pt x="447" y="31"/>
                      </a:lnTo>
                      <a:lnTo>
                        <a:pt x="449" y="31"/>
                      </a:lnTo>
                      <a:lnTo>
                        <a:pt x="449" y="33"/>
                      </a:lnTo>
                      <a:lnTo>
                        <a:pt x="447" y="33"/>
                      </a:lnTo>
                      <a:lnTo>
                        <a:pt x="447" y="35"/>
                      </a:lnTo>
                      <a:lnTo>
                        <a:pt x="445" y="35"/>
                      </a:lnTo>
                      <a:lnTo>
                        <a:pt x="445" y="36"/>
                      </a:lnTo>
                      <a:lnTo>
                        <a:pt x="444" y="36"/>
                      </a:lnTo>
                      <a:lnTo>
                        <a:pt x="444" y="38"/>
                      </a:lnTo>
                      <a:lnTo>
                        <a:pt x="442" y="38"/>
                      </a:lnTo>
                      <a:lnTo>
                        <a:pt x="442" y="39"/>
                      </a:lnTo>
                      <a:lnTo>
                        <a:pt x="442" y="41"/>
                      </a:lnTo>
                      <a:lnTo>
                        <a:pt x="435" y="53"/>
                      </a:lnTo>
                      <a:lnTo>
                        <a:pt x="432" y="58"/>
                      </a:lnTo>
                      <a:lnTo>
                        <a:pt x="432" y="59"/>
                      </a:lnTo>
                      <a:lnTo>
                        <a:pt x="432" y="61"/>
                      </a:lnTo>
                      <a:lnTo>
                        <a:pt x="434" y="72"/>
                      </a:lnTo>
                      <a:lnTo>
                        <a:pt x="434" y="74"/>
                      </a:lnTo>
                      <a:lnTo>
                        <a:pt x="435" y="76"/>
                      </a:lnTo>
                      <a:lnTo>
                        <a:pt x="437" y="79"/>
                      </a:lnTo>
                      <a:lnTo>
                        <a:pt x="440" y="89"/>
                      </a:lnTo>
                      <a:lnTo>
                        <a:pt x="442" y="94"/>
                      </a:lnTo>
                      <a:lnTo>
                        <a:pt x="444" y="94"/>
                      </a:lnTo>
                      <a:lnTo>
                        <a:pt x="445" y="95"/>
                      </a:lnTo>
                      <a:lnTo>
                        <a:pt x="447" y="97"/>
                      </a:lnTo>
                      <a:lnTo>
                        <a:pt x="447" y="99"/>
                      </a:lnTo>
                      <a:lnTo>
                        <a:pt x="449" y="100"/>
                      </a:lnTo>
                      <a:lnTo>
                        <a:pt x="449" y="102"/>
                      </a:lnTo>
                      <a:lnTo>
                        <a:pt x="449" y="103"/>
                      </a:lnTo>
                      <a:lnTo>
                        <a:pt x="450" y="105"/>
                      </a:lnTo>
                      <a:lnTo>
                        <a:pt x="450" y="107"/>
                      </a:lnTo>
                      <a:lnTo>
                        <a:pt x="450" y="108"/>
                      </a:lnTo>
                      <a:lnTo>
                        <a:pt x="452" y="112"/>
                      </a:lnTo>
                      <a:lnTo>
                        <a:pt x="452" y="113"/>
                      </a:lnTo>
                      <a:lnTo>
                        <a:pt x="452" y="117"/>
                      </a:lnTo>
                      <a:lnTo>
                        <a:pt x="452" y="118"/>
                      </a:lnTo>
                      <a:lnTo>
                        <a:pt x="454" y="120"/>
                      </a:lnTo>
                      <a:lnTo>
                        <a:pt x="454" y="122"/>
                      </a:lnTo>
                      <a:lnTo>
                        <a:pt x="457" y="123"/>
                      </a:lnTo>
                      <a:lnTo>
                        <a:pt x="459" y="125"/>
                      </a:lnTo>
                      <a:lnTo>
                        <a:pt x="459" y="128"/>
                      </a:lnTo>
                      <a:lnTo>
                        <a:pt x="461" y="130"/>
                      </a:lnTo>
                      <a:lnTo>
                        <a:pt x="461" y="131"/>
                      </a:lnTo>
                      <a:lnTo>
                        <a:pt x="462" y="133"/>
                      </a:lnTo>
                      <a:lnTo>
                        <a:pt x="464" y="133"/>
                      </a:lnTo>
                      <a:lnTo>
                        <a:pt x="466" y="133"/>
                      </a:lnTo>
                      <a:lnTo>
                        <a:pt x="467" y="135"/>
                      </a:lnTo>
                      <a:lnTo>
                        <a:pt x="469" y="135"/>
                      </a:lnTo>
                      <a:lnTo>
                        <a:pt x="469" y="136"/>
                      </a:lnTo>
                      <a:lnTo>
                        <a:pt x="469" y="138"/>
                      </a:lnTo>
                      <a:lnTo>
                        <a:pt x="467" y="138"/>
                      </a:lnTo>
                      <a:lnTo>
                        <a:pt x="467" y="140"/>
                      </a:lnTo>
                      <a:lnTo>
                        <a:pt x="467" y="141"/>
                      </a:lnTo>
                      <a:lnTo>
                        <a:pt x="466" y="146"/>
                      </a:lnTo>
                      <a:lnTo>
                        <a:pt x="466" y="148"/>
                      </a:lnTo>
                      <a:lnTo>
                        <a:pt x="466" y="149"/>
                      </a:lnTo>
                      <a:lnTo>
                        <a:pt x="464" y="151"/>
                      </a:lnTo>
                      <a:lnTo>
                        <a:pt x="462" y="153"/>
                      </a:lnTo>
                      <a:lnTo>
                        <a:pt x="461" y="154"/>
                      </a:lnTo>
                      <a:lnTo>
                        <a:pt x="459" y="156"/>
                      </a:lnTo>
                      <a:lnTo>
                        <a:pt x="459" y="158"/>
                      </a:lnTo>
                      <a:lnTo>
                        <a:pt x="457" y="158"/>
                      </a:lnTo>
                      <a:lnTo>
                        <a:pt x="456" y="159"/>
                      </a:lnTo>
                      <a:lnTo>
                        <a:pt x="456" y="161"/>
                      </a:lnTo>
                      <a:lnTo>
                        <a:pt x="456" y="163"/>
                      </a:lnTo>
                      <a:lnTo>
                        <a:pt x="456" y="164"/>
                      </a:lnTo>
                      <a:lnTo>
                        <a:pt x="454" y="168"/>
                      </a:lnTo>
                      <a:lnTo>
                        <a:pt x="452" y="169"/>
                      </a:lnTo>
                      <a:lnTo>
                        <a:pt x="450" y="171"/>
                      </a:lnTo>
                      <a:lnTo>
                        <a:pt x="450" y="174"/>
                      </a:lnTo>
                      <a:lnTo>
                        <a:pt x="452" y="174"/>
                      </a:lnTo>
                      <a:lnTo>
                        <a:pt x="454" y="176"/>
                      </a:lnTo>
                      <a:lnTo>
                        <a:pt x="456" y="177"/>
                      </a:lnTo>
                      <a:lnTo>
                        <a:pt x="456" y="179"/>
                      </a:lnTo>
                      <a:lnTo>
                        <a:pt x="454" y="181"/>
                      </a:lnTo>
                      <a:lnTo>
                        <a:pt x="452" y="182"/>
                      </a:lnTo>
                      <a:lnTo>
                        <a:pt x="452" y="184"/>
                      </a:lnTo>
                      <a:lnTo>
                        <a:pt x="454" y="184"/>
                      </a:lnTo>
                      <a:lnTo>
                        <a:pt x="454" y="186"/>
                      </a:lnTo>
                      <a:lnTo>
                        <a:pt x="456" y="187"/>
                      </a:lnTo>
                      <a:lnTo>
                        <a:pt x="457" y="189"/>
                      </a:lnTo>
                      <a:lnTo>
                        <a:pt x="457" y="191"/>
                      </a:lnTo>
                      <a:lnTo>
                        <a:pt x="457" y="192"/>
                      </a:lnTo>
                      <a:lnTo>
                        <a:pt x="457" y="195"/>
                      </a:lnTo>
                      <a:lnTo>
                        <a:pt x="457" y="197"/>
                      </a:lnTo>
                      <a:lnTo>
                        <a:pt x="457" y="199"/>
                      </a:lnTo>
                      <a:lnTo>
                        <a:pt x="457" y="200"/>
                      </a:lnTo>
                      <a:lnTo>
                        <a:pt x="457" y="202"/>
                      </a:lnTo>
                      <a:lnTo>
                        <a:pt x="459" y="204"/>
                      </a:lnTo>
                      <a:lnTo>
                        <a:pt x="461" y="207"/>
                      </a:lnTo>
                      <a:lnTo>
                        <a:pt x="462" y="209"/>
                      </a:lnTo>
                      <a:lnTo>
                        <a:pt x="464" y="210"/>
                      </a:lnTo>
                      <a:lnTo>
                        <a:pt x="462" y="212"/>
                      </a:lnTo>
                      <a:lnTo>
                        <a:pt x="464" y="212"/>
                      </a:lnTo>
                      <a:lnTo>
                        <a:pt x="464" y="214"/>
                      </a:lnTo>
                      <a:lnTo>
                        <a:pt x="464" y="215"/>
                      </a:lnTo>
                      <a:lnTo>
                        <a:pt x="466" y="217"/>
                      </a:lnTo>
                      <a:lnTo>
                        <a:pt x="466" y="218"/>
                      </a:lnTo>
                      <a:lnTo>
                        <a:pt x="467" y="220"/>
                      </a:lnTo>
                      <a:lnTo>
                        <a:pt x="467" y="222"/>
                      </a:lnTo>
                      <a:lnTo>
                        <a:pt x="469" y="222"/>
                      </a:lnTo>
                      <a:lnTo>
                        <a:pt x="471" y="223"/>
                      </a:lnTo>
                      <a:lnTo>
                        <a:pt x="471" y="225"/>
                      </a:lnTo>
                      <a:lnTo>
                        <a:pt x="469" y="227"/>
                      </a:lnTo>
                      <a:lnTo>
                        <a:pt x="469" y="228"/>
                      </a:lnTo>
                      <a:lnTo>
                        <a:pt x="469" y="230"/>
                      </a:lnTo>
                      <a:lnTo>
                        <a:pt x="467" y="235"/>
                      </a:lnTo>
                      <a:lnTo>
                        <a:pt x="467" y="237"/>
                      </a:lnTo>
                      <a:lnTo>
                        <a:pt x="469" y="238"/>
                      </a:lnTo>
                      <a:lnTo>
                        <a:pt x="471" y="240"/>
                      </a:lnTo>
                      <a:lnTo>
                        <a:pt x="472" y="241"/>
                      </a:lnTo>
                      <a:lnTo>
                        <a:pt x="472" y="243"/>
                      </a:lnTo>
                      <a:lnTo>
                        <a:pt x="474" y="243"/>
                      </a:lnTo>
                      <a:lnTo>
                        <a:pt x="474" y="245"/>
                      </a:lnTo>
                      <a:lnTo>
                        <a:pt x="476" y="245"/>
                      </a:lnTo>
                      <a:lnTo>
                        <a:pt x="476" y="246"/>
                      </a:lnTo>
                      <a:lnTo>
                        <a:pt x="474" y="246"/>
                      </a:lnTo>
                      <a:lnTo>
                        <a:pt x="476" y="248"/>
                      </a:lnTo>
                      <a:lnTo>
                        <a:pt x="476" y="246"/>
                      </a:lnTo>
                      <a:lnTo>
                        <a:pt x="478" y="246"/>
                      </a:lnTo>
                      <a:lnTo>
                        <a:pt x="478" y="248"/>
                      </a:lnTo>
                      <a:lnTo>
                        <a:pt x="478" y="250"/>
                      </a:lnTo>
                      <a:lnTo>
                        <a:pt x="479" y="250"/>
                      </a:lnTo>
                      <a:lnTo>
                        <a:pt x="479" y="251"/>
                      </a:lnTo>
                      <a:lnTo>
                        <a:pt x="481" y="251"/>
                      </a:lnTo>
                      <a:lnTo>
                        <a:pt x="481" y="253"/>
                      </a:lnTo>
                      <a:lnTo>
                        <a:pt x="479" y="253"/>
                      </a:lnTo>
                      <a:lnTo>
                        <a:pt x="479" y="255"/>
                      </a:lnTo>
                      <a:lnTo>
                        <a:pt x="479" y="256"/>
                      </a:lnTo>
                      <a:lnTo>
                        <a:pt x="479" y="258"/>
                      </a:lnTo>
                      <a:lnTo>
                        <a:pt x="479" y="260"/>
                      </a:lnTo>
                      <a:lnTo>
                        <a:pt x="481" y="261"/>
                      </a:lnTo>
                      <a:lnTo>
                        <a:pt x="481" y="263"/>
                      </a:lnTo>
                      <a:lnTo>
                        <a:pt x="481" y="264"/>
                      </a:lnTo>
                      <a:lnTo>
                        <a:pt x="483" y="266"/>
                      </a:lnTo>
                      <a:lnTo>
                        <a:pt x="483" y="268"/>
                      </a:lnTo>
                      <a:lnTo>
                        <a:pt x="481" y="269"/>
                      </a:lnTo>
                      <a:lnTo>
                        <a:pt x="479" y="269"/>
                      </a:lnTo>
                      <a:lnTo>
                        <a:pt x="479" y="271"/>
                      </a:lnTo>
                      <a:lnTo>
                        <a:pt x="479" y="273"/>
                      </a:lnTo>
                      <a:lnTo>
                        <a:pt x="481" y="276"/>
                      </a:lnTo>
                      <a:lnTo>
                        <a:pt x="481" y="278"/>
                      </a:lnTo>
                      <a:lnTo>
                        <a:pt x="481" y="279"/>
                      </a:lnTo>
                      <a:lnTo>
                        <a:pt x="481" y="281"/>
                      </a:lnTo>
                      <a:lnTo>
                        <a:pt x="481" y="283"/>
                      </a:lnTo>
                      <a:lnTo>
                        <a:pt x="481" y="284"/>
                      </a:lnTo>
                      <a:lnTo>
                        <a:pt x="481" y="286"/>
                      </a:lnTo>
                      <a:lnTo>
                        <a:pt x="481" y="287"/>
                      </a:lnTo>
                      <a:lnTo>
                        <a:pt x="483" y="289"/>
                      </a:lnTo>
                      <a:lnTo>
                        <a:pt x="483" y="291"/>
                      </a:lnTo>
                      <a:lnTo>
                        <a:pt x="483" y="292"/>
                      </a:lnTo>
                      <a:lnTo>
                        <a:pt x="484" y="294"/>
                      </a:lnTo>
                      <a:lnTo>
                        <a:pt x="484" y="296"/>
                      </a:lnTo>
                      <a:lnTo>
                        <a:pt x="484" y="297"/>
                      </a:lnTo>
                      <a:lnTo>
                        <a:pt x="484" y="299"/>
                      </a:lnTo>
                      <a:lnTo>
                        <a:pt x="484" y="301"/>
                      </a:lnTo>
                      <a:lnTo>
                        <a:pt x="483" y="301"/>
                      </a:lnTo>
                      <a:lnTo>
                        <a:pt x="481" y="304"/>
                      </a:lnTo>
                      <a:lnTo>
                        <a:pt x="481" y="305"/>
                      </a:lnTo>
                      <a:lnTo>
                        <a:pt x="483" y="305"/>
                      </a:lnTo>
                      <a:lnTo>
                        <a:pt x="484" y="305"/>
                      </a:lnTo>
                      <a:lnTo>
                        <a:pt x="484" y="307"/>
                      </a:lnTo>
                      <a:lnTo>
                        <a:pt x="486" y="309"/>
                      </a:lnTo>
                      <a:lnTo>
                        <a:pt x="486" y="310"/>
                      </a:lnTo>
                      <a:lnTo>
                        <a:pt x="486" y="312"/>
                      </a:lnTo>
                      <a:lnTo>
                        <a:pt x="488" y="314"/>
                      </a:lnTo>
                      <a:lnTo>
                        <a:pt x="488" y="315"/>
                      </a:lnTo>
                      <a:lnTo>
                        <a:pt x="486" y="315"/>
                      </a:lnTo>
                      <a:lnTo>
                        <a:pt x="488" y="317"/>
                      </a:lnTo>
                      <a:lnTo>
                        <a:pt x="486" y="319"/>
                      </a:lnTo>
                      <a:lnTo>
                        <a:pt x="488" y="319"/>
                      </a:lnTo>
                      <a:lnTo>
                        <a:pt x="488" y="320"/>
                      </a:lnTo>
                      <a:lnTo>
                        <a:pt x="486" y="322"/>
                      </a:lnTo>
                      <a:lnTo>
                        <a:pt x="488" y="324"/>
                      </a:lnTo>
                      <a:lnTo>
                        <a:pt x="489" y="324"/>
                      </a:lnTo>
                      <a:lnTo>
                        <a:pt x="489" y="325"/>
                      </a:lnTo>
                      <a:lnTo>
                        <a:pt x="489" y="327"/>
                      </a:lnTo>
                      <a:lnTo>
                        <a:pt x="491" y="328"/>
                      </a:lnTo>
                      <a:lnTo>
                        <a:pt x="493" y="328"/>
                      </a:lnTo>
                      <a:lnTo>
                        <a:pt x="493" y="330"/>
                      </a:lnTo>
                      <a:lnTo>
                        <a:pt x="494" y="332"/>
                      </a:lnTo>
                      <a:lnTo>
                        <a:pt x="494" y="333"/>
                      </a:lnTo>
                      <a:lnTo>
                        <a:pt x="493" y="333"/>
                      </a:lnTo>
                      <a:lnTo>
                        <a:pt x="493" y="335"/>
                      </a:lnTo>
                      <a:lnTo>
                        <a:pt x="491" y="337"/>
                      </a:lnTo>
                      <a:lnTo>
                        <a:pt x="491" y="338"/>
                      </a:lnTo>
                      <a:lnTo>
                        <a:pt x="493" y="340"/>
                      </a:lnTo>
                      <a:lnTo>
                        <a:pt x="493" y="342"/>
                      </a:lnTo>
                      <a:lnTo>
                        <a:pt x="493" y="343"/>
                      </a:lnTo>
                      <a:lnTo>
                        <a:pt x="493" y="345"/>
                      </a:lnTo>
                      <a:lnTo>
                        <a:pt x="493" y="347"/>
                      </a:lnTo>
                      <a:lnTo>
                        <a:pt x="493" y="348"/>
                      </a:lnTo>
                      <a:lnTo>
                        <a:pt x="493" y="350"/>
                      </a:lnTo>
                      <a:lnTo>
                        <a:pt x="494" y="350"/>
                      </a:lnTo>
                      <a:lnTo>
                        <a:pt x="496" y="351"/>
                      </a:lnTo>
                      <a:lnTo>
                        <a:pt x="496" y="353"/>
                      </a:lnTo>
                      <a:lnTo>
                        <a:pt x="496" y="355"/>
                      </a:lnTo>
                      <a:lnTo>
                        <a:pt x="498" y="356"/>
                      </a:lnTo>
                      <a:lnTo>
                        <a:pt x="498" y="358"/>
                      </a:lnTo>
                      <a:lnTo>
                        <a:pt x="496" y="360"/>
                      </a:lnTo>
                      <a:lnTo>
                        <a:pt x="496" y="361"/>
                      </a:lnTo>
                      <a:lnTo>
                        <a:pt x="498" y="361"/>
                      </a:lnTo>
                      <a:lnTo>
                        <a:pt x="498" y="363"/>
                      </a:lnTo>
                      <a:lnTo>
                        <a:pt x="499" y="363"/>
                      </a:lnTo>
                      <a:lnTo>
                        <a:pt x="501" y="363"/>
                      </a:lnTo>
                      <a:lnTo>
                        <a:pt x="503" y="365"/>
                      </a:lnTo>
                      <a:lnTo>
                        <a:pt x="505" y="365"/>
                      </a:lnTo>
                      <a:lnTo>
                        <a:pt x="506" y="363"/>
                      </a:lnTo>
                      <a:lnTo>
                        <a:pt x="506" y="365"/>
                      </a:lnTo>
                      <a:lnTo>
                        <a:pt x="508" y="366"/>
                      </a:lnTo>
                      <a:lnTo>
                        <a:pt x="510" y="366"/>
                      </a:lnTo>
                      <a:lnTo>
                        <a:pt x="511" y="366"/>
                      </a:lnTo>
                      <a:lnTo>
                        <a:pt x="515" y="368"/>
                      </a:lnTo>
                      <a:lnTo>
                        <a:pt x="518" y="370"/>
                      </a:lnTo>
                      <a:lnTo>
                        <a:pt x="520" y="370"/>
                      </a:lnTo>
                      <a:lnTo>
                        <a:pt x="521" y="368"/>
                      </a:lnTo>
                      <a:lnTo>
                        <a:pt x="523" y="370"/>
                      </a:lnTo>
                      <a:lnTo>
                        <a:pt x="523" y="371"/>
                      </a:lnTo>
                      <a:lnTo>
                        <a:pt x="525" y="371"/>
                      </a:lnTo>
                      <a:lnTo>
                        <a:pt x="525" y="373"/>
                      </a:lnTo>
                      <a:lnTo>
                        <a:pt x="525" y="374"/>
                      </a:lnTo>
                      <a:lnTo>
                        <a:pt x="526" y="376"/>
                      </a:lnTo>
                      <a:lnTo>
                        <a:pt x="528" y="376"/>
                      </a:lnTo>
                      <a:lnTo>
                        <a:pt x="528" y="374"/>
                      </a:lnTo>
                      <a:lnTo>
                        <a:pt x="530" y="374"/>
                      </a:lnTo>
                      <a:lnTo>
                        <a:pt x="532" y="374"/>
                      </a:lnTo>
                      <a:lnTo>
                        <a:pt x="532" y="376"/>
                      </a:lnTo>
                      <a:lnTo>
                        <a:pt x="532" y="378"/>
                      </a:lnTo>
                      <a:lnTo>
                        <a:pt x="530" y="378"/>
                      </a:lnTo>
                      <a:lnTo>
                        <a:pt x="530" y="379"/>
                      </a:lnTo>
                      <a:lnTo>
                        <a:pt x="528" y="379"/>
                      </a:lnTo>
                      <a:lnTo>
                        <a:pt x="528" y="381"/>
                      </a:lnTo>
                      <a:lnTo>
                        <a:pt x="526" y="381"/>
                      </a:lnTo>
                      <a:lnTo>
                        <a:pt x="526" y="383"/>
                      </a:lnTo>
                      <a:lnTo>
                        <a:pt x="526" y="384"/>
                      </a:lnTo>
                      <a:lnTo>
                        <a:pt x="526" y="386"/>
                      </a:lnTo>
                      <a:lnTo>
                        <a:pt x="528" y="388"/>
                      </a:lnTo>
                      <a:lnTo>
                        <a:pt x="526" y="389"/>
                      </a:lnTo>
                      <a:lnTo>
                        <a:pt x="526" y="391"/>
                      </a:lnTo>
                      <a:lnTo>
                        <a:pt x="526" y="393"/>
                      </a:lnTo>
                      <a:lnTo>
                        <a:pt x="528" y="393"/>
                      </a:lnTo>
                      <a:lnTo>
                        <a:pt x="528" y="394"/>
                      </a:lnTo>
                      <a:lnTo>
                        <a:pt x="526" y="394"/>
                      </a:lnTo>
                      <a:lnTo>
                        <a:pt x="526" y="396"/>
                      </a:lnTo>
                      <a:lnTo>
                        <a:pt x="526" y="397"/>
                      </a:lnTo>
                      <a:lnTo>
                        <a:pt x="525" y="399"/>
                      </a:lnTo>
                      <a:lnTo>
                        <a:pt x="523" y="401"/>
                      </a:lnTo>
                      <a:lnTo>
                        <a:pt x="523" y="402"/>
                      </a:lnTo>
                      <a:lnTo>
                        <a:pt x="521" y="404"/>
                      </a:lnTo>
                      <a:lnTo>
                        <a:pt x="521" y="406"/>
                      </a:lnTo>
                      <a:lnTo>
                        <a:pt x="521" y="409"/>
                      </a:lnTo>
                      <a:lnTo>
                        <a:pt x="520" y="409"/>
                      </a:lnTo>
                      <a:lnTo>
                        <a:pt x="520" y="411"/>
                      </a:lnTo>
                      <a:lnTo>
                        <a:pt x="520" y="412"/>
                      </a:lnTo>
                      <a:lnTo>
                        <a:pt x="520" y="414"/>
                      </a:lnTo>
                      <a:lnTo>
                        <a:pt x="518" y="417"/>
                      </a:lnTo>
                      <a:lnTo>
                        <a:pt x="518" y="419"/>
                      </a:lnTo>
                      <a:lnTo>
                        <a:pt x="518" y="420"/>
                      </a:lnTo>
                      <a:lnTo>
                        <a:pt x="518" y="422"/>
                      </a:lnTo>
                      <a:lnTo>
                        <a:pt x="518" y="424"/>
                      </a:lnTo>
                      <a:lnTo>
                        <a:pt x="516" y="424"/>
                      </a:lnTo>
                      <a:lnTo>
                        <a:pt x="516" y="425"/>
                      </a:lnTo>
                      <a:lnTo>
                        <a:pt x="515" y="429"/>
                      </a:lnTo>
                      <a:lnTo>
                        <a:pt x="513" y="430"/>
                      </a:lnTo>
                      <a:lnTo>
                        <a:pt x="511" y="430"/>
                      </a:lnTo>
                      <a:lnTo>
                        <a:pt x="510" y="432"/>
                      </a:lnTo>
                      <a:lnTo>
                        <a:pt x="508" y="432"/>
                      </a:lnTo>
                      <a:lnTo>
                        <a:pt x="506" y="432"/>
                      </a:lnTo>
                      <a:lnTo>
                        <a:pt x="506" y="434"/>
                      </a:lnTo>
                      <a:lnTo>
                        <a:pt x="505" y="435"/>
                      </a:lnTo>
                      <a:lnTo>
                        <a:pt x="501" y="435"/>
                      </a:lnTo>
                      <a:lnTo>
                        <a:pt x="499" y="437"/>
                      </a:lnTo>
                      <a:lnTo>
                        <a:pt x="499" y="439"/>
                      </a:lnTo>
                      <a:lnTo>
                        <a:pt x="499" y="440"/>
                      </a:lnTo>
                      <a:lnTo>
                        <a:pt x="501" y="442"/>
                      </a:lnTo>
                      <a:lnTo>
                        <a:pt x="501" y="443"/>
                      </a:lnTo>
                      <a:lnTo>
                        <a:pt x="503" y="445"/>
                      </a:lnTo>
                      <a:lnTo>
                        <a:pt x="506" y="448"/>
                      </a:lnTo>
                      <a:lnTo>
                        <a:pt x="506" y="450"/>
                      </a:lnTo>
                      <a:lnTo>
                        <a:pt x="506" y="452"/>
                      </a:lnTo>
                      <a:lnTo>
                        <a:pt x="506" y="453"/>
                      </a:lnTo>
                      <a:lnTo>
                        <a:pt x="506" y="455"/>
                      </a:lnTo>
                      <a:lnTo>
                        <a:pt x="505" y="458"/>
                      </a:lnTo>
                      <a:lnTo>
                        <a:pt x="503" y="460"/>
                      </a:lnTo>
                      <a:lnTo>
                        <a:pt x="503" y="462"/>
                      </a:lnTo>
                      <a:lnTo>
                        <a:pt x="503" y="463"/>
                      </a:lnTo>
                      <a:lnTo>
                        <a:pt x="505" y="463"/>
                      </a:lnTo>
                      <a:lnTo>
                        <a:pt x="505" y="465"/>
                      </a:lnTo>
                      <a:lnTo>
                        <a:pt x="506" y="465"/>
                      </a:lnTo>
                      <a:lnTo>
                        <a:pt x="508" y="465"/>
                      </a:lnTo>
                      <a:lnTo>
                        <a:pt x="510" y="465"/>
                      </a:lnTo>
                      <a:lnTo>
                        <a:pt x="511" y="465"/>
                      </a:lnTo>
                      <a:lnTo>
                        <a:pt x="513" y="465"/>
                      </a:lnTo>
                      <a:lnTo>
                        <a:pt x="515" y="465"/>
                      </a:lnTo>
                      <a:lnTo>
                        <a:pt x="516" y="466"/>
                      </a:lnTo>
                      <a:lnTo>
                        <a:pt x="518" y="466"/>
                      </a:lnTo>
                      <a:lnTo>
                        <a:pt x="518" y="470"/>
                      </a:lnTo>
                      <a:lnTo>
                        <a:pt x="518" y="471"/>
                      </a:lnTo>
                      <a:lnTo>
                        <a:pt x="516" y="471"/>
                      </a:lnTo>
                      <a:lnTo>
                        <a:pt x="516" y="473"/>
                      </a:lnTo>
                      <a:lnTo>
                        <a:pt x="515" y="473"/>
                      </a:lnTo>
                      <a:lnTo>
                        <a:pt x="515" y="475"/>
                      </a:lnTo>
                      <a:lnTo>
                        <a:pt x="513" y="475"/>
                      </a:lnTo>
                      <a:lnTo>
                        <a:pt x="515" y="475"/>
                      </a:lnTo>
                      <a:lnTo>
                        <a:pt x="515" y="476"/>
                      </a:lnTo>
                      <a:lnTo>
                        <a:pt x="516" y="476"/>
                      </a:lnTo>
                      <a:lnTo>
                        <a:pt x="516" y="478"/>
                      </a:lnTo>
                      <a:lnTo>
                        <a:pt x="516" y="480"/>
                      </a:lnTo>
                      <a:lnTo>
                        <a:pt x="516" y="481"/>
                      </a:lnTo>
                      <a:lnTo>
                        <a:pt x="516" y="483"/>
                      </a:lnTo>
                      <a:lnTo>
                        <a:pt x="515" y="486"/>
                      </a:lnTo>
                      <a:lnTo>
                        <a:pt x="513" y="489"/>
                      </a:lnTo>
                      <a:lnTo>
                        <a:pt x="511" y="493"/>
                      </a:lnTo>
                      <a:lnTo>
                        <a:pt x="511" y="494"/>
                      </a:lnTo>
                      <a:lnTo>
                        <a:pt x="510" y="494"/>
                      </a:lnTo>
                      <a:lnTo>
                        <a:pt x="510" y="496"/>
                      </a:lnTo>
                      <a:lnTo>
                        <a:pt x="511" y="496"/>
                      </a:lnTo>
                      <a:lnTo>
                        <a:pt x="511" y="498"/>
                      </a:lnTo>
                      <a:lnTo>
                        <a:pt x="511" y="499"/>
                      </a:lnTo>
                      <a:lnTo>
                        <a:pt x="510" y="499"/>
                      </a:lnTo>
                      <a:lnTo>
                        <a:pt x="508" y="499"/>
                      </a:lnTo>
                      <a:lnTo>
                        <a:pt x="506" y="499"/>
                      </a:lnTo>
                      <a:lnTo>
                        <a:pt x="506" y="501"/>
                      </a:lnTo>
                      <a:lnTo>
                        <a:pt x="506" y="499"/>
                      </a:lnTo>
                      <a:lnTo>
                        <a:pt x="506" y="501"/>
                      </a:lnTo>
                      <a:lnTo>
                        <a:pt x="505" y="499"/>
                      </a:lnTo>
                      <a:lnTo>
                        <a:pt x="505" y="501"/>
                      </a:lnTo>
                      <a:lnTo>
                        <a:pt x="505" y="503"/>
                      </a:lnTo>
                      <a:lnTo>
                        <a:pt x="503" y="503"/>
                      </a:lnTo>
                      <a:lnTo>
                        <a:pt x="501" y="504"/>
                      </a:lnTo>
                      <a:lnTo>
                        <a:pt x="501" y="506"/>
                      </a:lnTo>
                      <a:lnTo>
                        <a:pt x="499" y="506"/>
                      </a:lnTo>
                      <a:lnTo>
                        <a:pt x="498" y="506"/>
                      </a:lnTo>
                      <a:lnTo>
                        <a:pt x="498" y="507"/>
                      </a:lnTo>
                      <a:lnTo>
                        <a:pt x="496" y="507"/>
                      </a:lnTo>
                      <a:lnTo>
                        <a:pt x="494" y="507"/>
                      </a:lnTo>
                      <a:lnTo>
                        <a:pt x="494" y="509"/>
                      </a:lnTo>
                      <a:lnTo>
                        <a:pt x="493" y="509"/>
                      </a:lnTo>
                      <a:lnTo>
                        <a:pt x="493" y="511"/>
                      </a:lnTo>
                      <a:lnTo>
                        <a:pt x="494" y="512"/>
                      </a:lnTo>
                      <a:lnTo>
                        <a:pt x="493" y="512"/>
                      </a:lnTo>
                      <a:lnTo>
                        <a:pt x="493" y="514"/>
                      </a:lnTo>
                      <a:lnTo>
                        <a:pt x="493" y="516"/>
                      </a:lnTo>
                      <a:lnTo>
                        <a:pt x="491" y="516"/>
                      </a:lnTo>
                      <a:lnTo>
                        <a:pt x="489" y="516"/>
                      </a:lnTo>
                      <a:lnTo>
                        <a:pt x="489" y="517"/>
                      </a:lnTo>
                      <a:lnTo>
                        <a:pt x="489" y="519"/>
                      </a:lnTo>
                      <a:lnTo>
                        <a:pt x="489" y="521"/>
                      </a:lnTo>
                      <a:lnTo>
                        <a:pt x="488" y="521"/>
                      </a:lnTo>
                      <a:lnTo>
                        <a:pt x="486" y="521"/>
                      </a:lnTo>
                      <a:lnTo>
                        <a:pt x="486" y="519"/>
                      </a:lnTo>
                      <a:lnTo>
                        <a:pt x="484" y="519"/>
                      </a:lnTo>
                      <a:lnTo>
                        <a:pt x="483" y="519"/>
                      </a:lnTo>
                      <a:lnTo>
                        <a:pt x="483" y="521"/>
                      </a:lnTo>
                      <a:lnTo>
                        <a:pt x="483" y="522"/>
                      </a:lnTo>
                      <a:lnTo>
                        <a:pt x="481" y="522"/>
                      </a:lnTo>
                      <a:lnTo>
                        <a:pt x="483" y="524"/>
                      </a:lnTo>
                      <a:lnTo>
                        <a:pt x="481" y="526"/>
                      </a:lnTo>
                      <a:lnTo>
                        <a:pt x="479" y="527"/>
                      </a:lnTo>
                      <a:lnTo>
                        <a:pt x="479" y="526"/>
                      </a:lnTo>
                      <a:lnTo>
                        <a:pt x="478" y="526"/>
                      </a:lnTo>
                      <a:lnTo>
                        <a:pt x="476" y="524"/>
                      </a:lnTo>
                      <a:lnTo>
                        <a:pt x="474" y="522"/>
                      </a:lnTo>
                      <a:lnTo>
                        <a:pt x="472" y="522"/>
                      </a:lnTo>
                      <a:lnTo>
                        <a:pt x="472" y="524"/>
                      </a:lnTo>
                      <a:lnTo>
                        <a:pt x="471" y="524"/>
                      </a:lnTo>
                      <a:lnTo>
                        <a:pt x="471" y="526"/>
                      </a:lnTo>
                      <a:lnTo>
                        <a:pt x="469" y="526"/>
                      </a:lnTo>
                      <a:lnTo>
                        <a:pt x="469" y="527"/>
                      </a:lnTo>
                      <a:lnTo>
                        <a:pt x="467" y="527"/>
                      </a:lnTo>
                      <a:lnTo>
                        <a:pt x="467" y="529"/>
                      </a:lnTo>
                      <a:lnTo>
                        <a:pt x="467" y="530"/>
                      </a:lnTo>
                      <a:lnTo>
                        <a:pt x="467" y="529"/>
                      </a:lnTo>
                      <a:lnTo>
                        <a:pt x="466" y="529"/>
                      </a:lnTo>
                      <a:lnTo>
                        <a:pt x="466" y="530"/>
                      </a:lnTo>
                      <a:lnTo>
                        <a:pt x="464" y="532"/>
                      </a:lnTo>
                      <a:lnTo>
                        <a:pt x="464" y="534"/>
                      </a:lnTo>
                      <a:lnTo>
                        <a:pt x="462" y="534"/>
                      </a:lnTo>
                      <a:lnTo>
                        <a:pt x="462" y="535"/>
                      </a:lnTo>
                      <a:lnTo>
                        <a:pt x="461" y="535"/>
                      </a:lnTo>
                      <a:lnTo>
                        <a:pt x="459" y="535"/>
                      </a:lnTo>
                      <a:lnTo>
                        <a:pt x="459" y="537"/>
                      </a:lnTo>
                      <a:lnTo>
                        <a:pt x="457" y="537"/>
                      </a:lnTo>
                      <a:lnTo>
                        <a:pt x="457" y="539"/>
                      </a:lnTo>
                      <a:lnTo>
                        <a:pt x="457" y="540"/>
                      </a:lnTo>
                      <a:lnTo>
                        <a:pt x="456" y="540"/>
                      </a:lnTo>
                      <a:lnTo>
                        <a:pt x="454" y="540"/>
                      </a:lnTo>
                      <a:lnTo>
                        <a:pt x="452" y="540"/>
                      </a:lnTo>
                      <a:lnTo>
                        <a:pt x="452" y="542"/>
                      </a:lnTo>
                      <a:lnTo>
                        <a:pt x="454" y="544"/>
                      </a:lnTo>
                      <a:lnTo>
                        <a:pt x="452" y="544"/>
                      </a:lnTo>
                      <a:lnTo>
                        <a:pt x="452" y="545"/>
                      </a:lnTo>
                      <a:lnTo>
                        <a:pt x="450" y="545"/>
                      </a:lnTo>
                      <a:lnTo>
                        <a:pt x="450" y="547"/>
                      </a:lnTo>
                      <a:lnTo>
                        <a:pt x="449" y="547"/>
                      </a:lnTo>
                      <a:lnTo>
                        <a:pt x="447" y="547"/>
                      </a:lnTo>
                      <a:lnTo>
                        <a:pt x="445" y="547"/>
                      </a:lnTo>
                      <a:lnTo>
                        <a:pt x="444" y="549"/>
                      </a:lnTo>
                      <a:lnTo>
                        <a:pt x="442" y="550"/>
                      </a:lnTo>
                      <a:lnTo>
                        <a:pt x="440" y="550"/>
                      </a:lnTo>
                      <a:lnTo>
                        <a:pt x="439" y="550"/>
                      </a:lnTo>
                      <a:lnTo>
                        <a:pt x="437" y="550"/>
                      </a:lnTo>
                      <a:lnTo>
                        <a:pt x="435" y="552"/>
                      </a:lnTo>
                      <a:lnTo>
                        <a:pt x="435" y="553"/>
                      </a:lnTo>
                      <a:lnTo>
                        <a:pt x="435" y="555"/>
                      </a:lnTo>
                      <a:lnTo>
                        <a:pt x="434" y="557"/>
                      </a:lnTo>
                      <a:lnTo>
                        <a:pt x="432" y="560"/>
                      </a:lnTo>
                      <a:lnTo>
                        <a:pt x="432" y="558"/>
                      </a:lnTo>
                      <a:lnTo>
                        <a:pt x="432" y="560"/>
                      </a:lnTo>
                      <a:lnTo>
                        <a:pt x="430" y="560"/>
                      </a:lnTo>
                      <a:lnTo>
                        <a:pt x="429" y="562"/>
                      </a:lnTo>
                      <a:lnTo>
                        <a:pt x="429" y="563"/>
                      </a:lnTo>
                      <a:lnTo>
                        <a:pt x="427" y="563"/>
                      </a:lnTo>
                      <a:lnTo>
                        <a:pt x="425" y="565"/>
                      </a:lnTo>
                      <a:lnTo>
                        <a:pt x="423" y="567"/>
                      </a:lnTo>
                      <a:lnTo>
                        <a:pt x="425" y="567"/>
                      </a:lnTo>
                      <a:lnTo>
                        <a:pt x="425" y="568"/>
                      </a:lnTo>
                      <a:lnTo>
                        <a:pt x="423" y="568"/>
                      </a:lnTo>
                      <a:lnTo>
                        <a:pt x="423" y="570"/>
                      </a:lnTo>
                      <a:lnTo>
                        <a:pt x="422" y="572"/>
                      </a:lnTo>
                      <a:lnTo>
                        <a:pt x="420" y="573"/>
                      </a:lnTo>
                      <a:lnTo>
                        <a:pt x="422" y="573"/>
                      </a:lnTo>
                      <a:lnTo>
                        <a:pt x="420" y="573"/>
                      </a:lnTo>
                      <a:lnTo>
                        <a:pt x="422" y="575"/>
                      </a:lnTo>
                      <a:lnTo>
                        <a:pt x="420" y="575"/>
                      </a:lnTo>
                      <a:lnTo>
                        <a:pt x="418" y="575"/>
                      </a:lnTo>
                      <a:lnTo>
                        <a:pt x="418" y="573"/>
                      </a:lnTo>
                      <a:lnTo>
                        <a:pt x="417" y="573"/>
                      </a:lnTo>
                      <a:lnTo>
                        <a:pt x="417" y="575"/>
                      </a:lnTo>
                      <a:lnTo>
                        <a:pt x="415" y="573"/>
                      </a:lnTo>
                      <a:lnTo>
                        <a:pt x="415" y="575"/>
                      </a:lnTo>
                      <a:lnTo>
                        <a:pt x="413" y="575"/>
                      </a:lnTo>
                      <a:lnTo>
                        <a:pt x="413" y="576"/>
                      </a:lnTo>
                      <a:lnTo>
                        <a:pt x="412" y="576"/>
                      </a:lnTo>
                      <a:lnTo>
                        <a:pt x="410" y="576"/>
                      </a:lnTo>
                      <a:lnTo>
                        <a:pt x="408" y="578"/>
                      </a:lnTo>
                      <a:lnTo>
                        <a:pt x="410" y="578"/>
                      </a:lnTo>
                      <a:lnTo>
                        <a:pt x="408" y="578"/>
                      </a:lnTo>
                      <a:lnTo>
                        <a:pt x="408" y="580"/>
                      </a:lnTo>
                      <a:lnTo>
                        <a:pt x="407" y="580"/>
                      </a:lnTo>
                      <a:lnTo>
                        <a:pt x="405" y="578"/>
                      </a:lnTo>
                      <a:lnTo>
                        <a:pt x="403" y="580"/>
                      </a:lnTo>
                      <a:lnTo>
                        <a:pt x="403" y="581"/>
                      </a:lnTo>
                      <a:lnTo>
                        <a:pt x="403" y="583"/>
                      </a:lnTo>
                      <a:lnTo>
                        <a:pt x="403" y="585"/>
                      </a:lnTo>
                      <a:lnTo>
                        <a:pt x="403" y="586"/>
                      </a:lnTo>
                      <a:lnTo>
                        <a:pt x="402" y="588"/>
                      </a:lnTo>
                      <a:lnTo>
                        <a:pt x="400" y="588"/>
                      </a:lnTo>
                      <a:lnTo>
                        <a:pt x="398" y="590"/>
                      </a:lnTo>
                      <a:lnTo>
                        <a:pt x="398" y="591"/>
                      </a:lnTo>
                      <a:lnTo>
                        <a:pt x="396" y="591"/>
                      </a:lnTo>
                      <a:lnTo>
                        <a:pt x="396" y="593"/>
                      </a:lnTo>
                      <a:lnTo>
                        <a:pt x="395" y="595"/>
                      </a:lnTo>
                      <a:lnTo>
                        <a:pt x="395" y="598"/>
                      </a:lnTo>
                      <a:lnTo>
                        <a:pt x="393" y="599"/>
                      </a:lnTo>
                      <a:lnTo>
                        <a:pt x="393" y="601"/>
                      </a:lnTo>
                      <a:lnTo>
                        <a:pt x="391" y="599"/>
                      </a:lnTo>
                      <a:lnTo>
                        <a:pt x="390" y="599"/>
                      </a:lnTo>
                      <a:lnTo>
                        <a:pt x="390" y="601"/>
                      </a:lnTo>
                      <a:lnTo>
                        <a:pt x="388" y="601"/>
                      </a:lnTo>
                      <a:lnTo>
                        <a:pt x="386" y="601"/>
                      </a:lnTo>
                      <a:lnTo>
                        <a:pt x="386" y="603"/>
                      </a:lnTo>
                      <a:lnTo>
                        <a:pt x="385" y="603"/>
                      </a:lnTo>
                      <a:lnTo>
                        <a:pt x="383" y="603"/>
                      </a:lnTo>
                      <a:lnTo>
                        <a:pt x="381" y="603"/>
                      </a:lnTo>
                      <a:lnTo>
                        <a:pt x="381" y="601"/>
                      </a:lnTo>
                      <a:lnTo>
                        <a:pt x="380" y="601"/>
                      </a:lnTo>
                      <a:lnTo>
                        <a:pt x="378" y="603"/>
                      </a:lnTo>
                      <a:lnTo>
                        <a:pt x="376" y="601"/>
                      </a:lnTo>
                      <a:lnTo>
                        <a:pt x="374" y="601"/>
                      </a:lnTo>
                      <a:lnTo>
                        <a:pt x="373" y="601"/>
                      </a:lnTo>
                      <a:lnTo>
                        <a:pt x="371" y="601"/>
                      </a:lnTo>
                      <a:lnTo>
                        <a:pt x="369" y="603"/>
                      </a:lnTo>
                      <a:lnTo>
                        <a:pt x="368" y="604"/>
                      </a:lnTo>
                      <a:lnTo>
                        <a:pt x="366" y="604"/>
                      </a:lnTo>
                      <a:lnTo>
                        <a:pt x="364" y="604"/>
                      </a:lnTo>
                      <a:lnTo>
                        <a:pt x="363" y="604"/>
                      </a:lnTo>
                      <a:lnTo>
                        <a:pt x="361" y="604"/>
                      </a:lnTo>
                      <a:lnTo>
                        <a:pt x="359" y="604"/>
                      </a:lnTo>
                      <a:lnTo>
                        <a:pt x="358" y="604"/>
                      </a:lnTo>
                      <a:lnTo>
                        <a:pt x="356" y="604"/>
                      </a:lnTo>
                      <a:lnTo>
                        <a:pt x="354" y="604"/>
                      </a:lnTo>
                      <a:lnTo>
                        <a:pt x="353" y="606"/>
                      </a:lnTo>
                      <a:lnTo>
                        <a:pt x="351" y="606"/>
                      </a:lnTo>
                      <a:lnTo>
                        <a:pt x="349" y="606"/>
                      </a:lnTo>
                      <a:lnTo>
                        <a:pt x="349" y="608"/>
                      </a:lnTo>
                      <a:lnTo>
                        <a:pt x="347" y="608"/>
                      </a:lnTo>
                      <a:lnTo>
                        <a:pt x="347" y="609"/>
                      </a:lnTo>
                      <a:lnTo>
                        <a:pt x="344" y="609"/>
                      </a:lnTo>
                      <a:lnTo>
                        <a:pt x="344" y="611"/>
                      </a:lnTo>
                      <a:lnTo>
                        <a:pt x="344" y="613"/>
                      </a:lnTo>
                      <a:lnTo>
                        <a:pt x="342" y="614"/>
                      </a:lnTo>
                      <a:lnTo>
                        <a:pt x="341" y="614"/>
                      </a:lnTo>
                      <a:lnTo>
                        <a:pt x="337" y="616"/>
                      </a:lnTo>
                      <a:lnTo>
                        <a:pt x="337" y="619"/>
                      </a:lnTo>
                      <a:lnTo>
                        <a:pt x="336" y="619"/>
                      </a:lnTo>
                      <a:lnTo>
                        <a:pt x="336" y="621"/>
                      </a:lnTo>
                      <a:lnTo>
                        <a:pt x="334" y="621"/>
                      </a:lnTo>
                      <a:lnTo>
                        <a:pt x="332" y="621"/>
                      </a:lnTo>
                      <a:lnTo>
                        <a:pt x="331" y="621"/>
                      </a:lnTo>
                      <a:lnTo>
                        <a:pt x="332" y="622"/>
                      </a:lnTo>
                      <a:lnTo>
                        <a:pt x="331" y="622"/>
                      </a:lnTo>
                      <a:lnTo>
                        <a:pt x="331" y="624"/>
                      </a:lnTo>
                      <a:lnTo>
                        <a:pt x="329" y="624"/>
                      </a:lnTo>
                      <a:lnTo>
                        <a:pt x="327" y="624"/>
                      </a:lnTo>
                      <a:lnTo>
                        <a:pt x="326" y="624"/>
                      </a:lnTo>
                      <a:lnTo>
                        <a:pt x="324" y="624"/>
                      </a:lnTo>
                      <a:lnTo>
                        <a:pt x="322" y="624"/>
                      </a:lnTo>
                      <a:lnTo>
                        <a:pt x="320" y="624"/>
                      </a:lnTo>
                      <a:lnTo>
                        <a:pt x="320" y="626"/>
                      </a:lnTo>
                      <a:lnTo>
                        <a:pt x="319" y="627"/>
                      </a:lnTo>
                      <a:lnTo>
                        <a:pt x="317" y="627"/>
                      </a:lnTo>
                      <a:lnTo>
                        <a:pt x="315" y="627"/>
                      </a:lnTo>
                      <a:lnTo>
                        <a:pt x="315" y="629"/>
                      </a:lnTo>
                      <a:lnTo>
                        <a:pt x="314" y="629"/>
                      </a:lnTo>
                      <a:lnTo>
                        <a:pt x="312" y="627"/>
                      </a:lnTo>
                      <a:lnTo>
                        <a:pt x="310" y="627"/>
                      </a:lnTo>
                      <a:lnTo>
                        <a:pt x="309" y="627"/>
                      </a:lnTo>
                      <a:lnTo>
                        <a:pt x="310" y="629"/>
                      </a:lnTo>
                      <a:lnTo>
                        <a:pt x="309" y="631"/>
                      </a:lnTo>
                      <a:lnTo>
                        <a:pt x="307" y="632"/>
                      </a:lnTo>
                      <a:lnTo>
                        <a:pt x="305" y="632"/>
                      </a:lnTo>
                      <a:lnTo>
                        <a:pt x="305" y="634"/>
                      </a:lnTo>
                      <a:lnTo>
                        <a:pt x="305" y="636"/>
                      </a:lnTo>
                      <a:lnTo>
                        <a:pt x="302" y="636"/>
                      </a:lnTo>
                      <a:lnTo>
                        <a:pt x="300" y="636"/>
                      </a:lnTo>
                      <a:lnTo>
                        <a:pt x="300" y="634"/>
                      </a:lnTo>
                      <a:lnTo>
                        <a:pt x="300" y="632"/>
                      </a:lnTo>
                      <a:lnTo>
                        <a:pt x="298" y="631"/>
                      </a:lnTo>
                      <a:lnTo>
                        <a:pt x="298" y="629"/>
                      </a:lnTo>
                      <a:lnTo>
                        <a:pt x="297" y="629"/>
                      </a:lnTo>
                      <a:lnTo>
                        <a:pt x="295" y="629"/>
                      </a:lnTo>
                      <a:lnTo>
                        <a:pt x="293" y="629"/>
                      </a:lnTo>
                      <a:lnTo>
                        <a:pt x="293" y="627"/>
                      </a:lnTo>
                      <a:lnTo>
                        <a:pt x="292" y="627"/>
                      </a:lnTo>
                      <a:lnTo>
                        <a:pt x="292" y="626"/>
                      </a:lnTo>
                      <a:lnTo>
                        <a:pt x="290" y="626"/>
                      </a:lnTo>
                      <a:lnTo>
                        <a:pt x="288" y="626"/>
                      </a:lnTo>
                      <a:lnTo>
                        <a:pt x="288" y="624"/>
                      </a:lnTo>
                      <a:lnTo>
                        <a:pt x="287" y="622"/>
                      </a:lnTo>
                      <a:lnTo>
                        <a:pt x="287" y="621"/>
                      </a:lnTo>
                      <a:lnTo>
                        <a:pt x="287" y="619"/>
                      </a:lnTo>
                      <a:lnTo>
                        <a:pt x="287" y="618"/>
                      </a:lnTo>
                      <a:lnTo>
                        <a:pt x="287" y="616"/>
                      </a:lnTo>
                      <a:lnTo>
                        <a:pt x="285" y="616"/>
                      </a:lnTo>
                      <a:lnTo>
                        <a:pt x="285" y="614"/>
                      </a:lnTo>
                      <a:lnTo>
                        <a:pt x="283" y="614"/>
                      </a:lnTo>
                      <a:lnTo>
                        <a:pt x="283" y="616"/>
                      </a:lnTo>
                      <a:lnTo>
                        <a:pt x="282" y="616"/>
                      </a:lnTo>
                      <a:lnTo>
                        <a:pt x="280" y="616"/>
                      </a:lnTo>
                      <a:lnTo>
                        <a:pt x="278" y="616"/>
                      </a:lnTo>
                      <a:lnTo>
                        <a:pt x="278" y="614"/>
                      </a:lnTo>
                      <a:lnTo>
                        <a:pt x="277" y="614"/>
                      </a:lnTo>
                      <a:lnTo>
                        <a:pt x="275" y="614"/>
                      </a:lnTo>
                      <a:lnTo>
                        <a:pt x="273" y="613"/>
                      </a:lnTo>
                      <a:lnTo>
                        <a:pt x="273" y="614"/>
                      </a:lnTo>
                      <a:lnTo>
                        <a:pt x="273" y="613"/>
                      </a:lnTo>
                      <a:lnTo>
                        <a:pt x="271" y="613"/>
                      </a:lnTo>
                      <a:lnTo>
                        <a:pt x="270" y="613"/>
                      </a:lnTo>
                      <a:lnTo>
                        <a:pt x="270" y="614"/>
                      </a:lnTo>
                      <a:lnTo>
                        <a:pt x="270" y="613"/>
                      </a:lnTo>
                      <a:lnTo>
                        <a:pt x="268" y="613"/>
                      </a:lnTo>
                      <a:lnTo>
                        <a:pt x="268" y="614"/>
                      </a:lnTo>
                      <a:lnTo>
                        <a:pt x="266" y="616"/>
                      </a:lnTo>
                      <a:lnTo>
                        <a:pt x="265" y="616"/>
                      </a:lnTo>
                      <a:lnTo>
                        <a:pt x="263" y="616"/>
                      </a:lnTo>
                      <a:lnTo>
                        <a:pt x="263" y="614"/>
                      </a:lnTo>
                      <a:lnTo>
                        <a:pt x="261" y="614"/>
                      </a:lnTo>
                      <a:lnTo>
                        <a:pt x="261" y="616"/>
                      </a:lnTo>
                      <a:lnTo>
                        <a:pt x="260" y="616"/>
                      </a:lnTo>
                      <a:lnTo>
                        <a:pt x="258" y="616"/>
                      </a:lnTo>
                      <a:lnTo>
                        <a:pt x="256" y="618"/>
                      </a:lnTo>
                      <a:lnTo>
                        <a:pt x="256" y="616"/>
                      </a:lnTo>
                      <a:lnTo>
                        <a:pt x="255" y="616"/>
                      </a:lnTo>
                      <a:lnTo>
                        <a:pt x="255" y="614"/>
                      </a:lnTo>
                      <a:lnTo>
                        <a:pt x="253" y="614"/>
                      </a:lnTo>
                      <a:lnTo>
                        <a:pt x="253" y="613"/>
                      </a:lnTo>
                      <a:lnTo>
                        <a:pt x="251" y="613"/>
                      </a:lnTo>
                      <a:lnTo>
                        <a:pt x="251" y="611"/>
                      </a:lnTo>
                      <a:lnTo>
                        <a:pt x="250" y="613"/>
                      </a:lnTo>
                      <a:lnTo>
                        <a:pt x="250" y="611"/>
                      </a:lnTo>
                      <a:lnTo>
                        <a:pt x="248" y="611"/>
                      </a:lnTo>
                      <a:lnTo>
                        <a:pt x="248" y="609"/>
                      </a:lnTo>
                      <a:lnTo>
                        <a:pt x="246" y="609"/>
                      </a:lnTo>
                      <a:lnTo>
                        <a:pt x="246" y="608"/>
                      </a:lnTo>
                      <a:lnTo>
                        <a:pt x="246" y="606"/>
                      </a:lnTo>
                      <a:lnTo>
                        <a:pt x="243" y="603"/>
                      </a:lnTo>
                      <a:lnTo>
                        <a:pt x="241" y="603"/>
                      </a:lnTo>
                      <a:lnTo>
                        <a:pt x="239" y="603"/>
                      </a:lnTo>
                      <a:lnTo>
                        <a:pt x="239" y="601"/>
                      </a:lnTo>
                      <a:lnTo>
                        <a:pt x="238" y="603"/>
                      </a:lnTo>
                      <a:lnTo>
                        <a:pt x="236" y="603"/>
                      </a:lnTo>
                      <a:lnTo>
                        <a:pt x="234" y="604"/>
                      </a:lnTo>
                      <a:lnTo>
                        <a:pt x="233" y="604"/>
                      </a:lnTo>
                      <a:lnTo>
                        <a:pt x="231" y="606"/>
                      </a:lnTo>
                      <a:lnTo>
                        <a:pt x="229" y="606"/>
                      </a:lnTo>
                      <a:lnTo>
                        <a:pt x="228" y="606"/>
                      </a:lnTo>
                      <a:lnTo>
                        <a:pt x="226" y="606"/>
                      </a:lnTo>
                      <a:lnTo>
                        <a:pt x="226" y="608"/>
                      </a:lnTo>
                      <a:lnTo>
                        <a:pt x="226" y="609"/>
                      </a:lnTo>
                      <a:lnTo>
                        <a:pt x="224" y="611"/>
                      </a:lnTo>
                      <a:lnTo>
                        <a:pt x="224" y="613"/>
                      </a:lnTo>
                      <a:lnTo>
                        <a:pt x="222" y="613"/>
                      </a:lnTo>
                      <a:lnTo>
                        <a:pt x="222" y="614"/>
                      </a:lnTo>
                      <a:lnTo>
                        <a:pt x="221" y="614"/>
                      </a:lnTo>
                      <a:lnTo>
                        <a:pt x="219" y="616"/>
                      </a:lnTo>
                      <a:lnTo>
                        <a:pt x="217" y="616"/>
                      </a:lnTo>
                      <a:lnTo>
                        <a:pt x="216" y="616"/>
                      </a:lnTo>
                      <a:lnTo>
                        <a:pt x="214" y="618"/>
                      </a:lnTo>
                      <a:lnTo>
                        <a:pt x="212" y="618"/>
                      </a:lnTo>
                      <a:lnTo>
                        <a:pt x="211" y="619"/>
                      </a:lnTo>
                      <a:lnTo>
                        <a:pt x="209" y="619"/>
                      </a:lnTo>
                      <a:lnTo>
                        <a:pt x="207" y="621"/>
                      </a:lnTo>
                      <a:lnTo>
                        <a:pt x="207" y="622"/>
                      </a:lnTo>
                      <a:lnTo>
                        <a:pt x="206" y="622"/>
                      </a:lnTo>
                      <a:lnTo>
                        <a:pt x="206" y="624"/>
                      </a:lnTo>
                      <a:lnTo>
                        <a:pt x="204" y="626"/>
                      </a:lnTo>
                      <a:lnTo>
                        <a:pt x="204" y="627"/>
                      </a:lnTo>
                      <a:lnTo>
                        <a:pt x="202" y="629"/>
                      </a:lnTo>
                      <a:lnTo>
                        <a:pt x="202" y="631"/>
                      </a:lnTo>
                      <a:lnTo>
                        <a:pt x="204" y="632"/>
                      </a:lnTo>
                      <a:lnTo>
                        <a:pt x="204" y="634"/>
                      </a:lnTo>
                      <a:lnTo>
                        <a:pt x="204" y="636"/>
                      </a:lnTo>
                      <a:lnTo>
                        <a:pt x="204" y="637"/>
                      </a:lnTo>
                      <a:lnTo>
                        <a:pt x="206" y="641"/>
                      </a:lnTo>
                      <a:lnTo>
                        <a:pt x="207" y="642"/>
                      </a:lnTo>
                      <a:lnTo>
                        <a:pt x="207" y="644"/>
                      </a:lnTo>
                      <a:lnTo>
                        <a:pt x="207" y="645"/>
                      </a:lnTo>
                      <a:lnTo>
                        <a:pt x="207" y="647"/>
                      </a:lnTo>
                      <a:lnTo>
                        <a:pt x="209" y="649"/>
                      </a:lnTo>
                      <a:lnTo>
                        <a:pt x="211" y="649"/>
                      </a:lnTo>
                      <a:lnTo>
                        <a:pt x="212" y="650"/>
                      </a:lnTo>
                      <a:lnTo>
                        <a:pt x="214" y="650"/>
                      </a:lnTo>
                      <a:lnTo>
                        <a:pt x="214" y="652"/>
                      </a:lnTo>
                      <a:lnTo>
                        <a:pt x="216" y="652"/>
                      </a:lnTo>
                      <a:lnTo>
                        <a:pt x="217" y="652"/>
                      </a:lnTo>
                      <a:lnTo>
                        <a:pt x="217" y="654"/>
                      </a:lnTo>
                      <a:lnTo>
                        <a:pt x="219" y="654"/>
                      </a:lnTo>
                      <a:lnTo>
                        <a:pt x="221" y="655"/>
                      </a:lnTo>
                      <a:lnTo>
                        <a:pt x="219" y="657"/>
                      </a:lnTo>
                      <a:lnTo>
                        <a:pt x="219" y="659"/>
                      </a:lnTo>
                      <a:lnTo>
                        <a:pt x="219" y="660"/>
                      </a:lnTo>
                      <a:lnTo>
                        <a:pt x="217" y="660"/>
                      </a:lnTo>
                      <a:lnTo>
                        <a:pt x="217" y="662"/>
                      </a:lnTo>
                      <a:lnTo>
                        <a:pt x="216" y="662"/>
                      </a:lnTo>
                      <a:lnTo>
                        <a:pt x="216" y="664"/>
                      </a:lnTo>
                      <a:lnTo>
                        <a:pt x="217" y="664"/>
                      </a:lnTo>
                      <a:lnTo>
                        <a:pt x="217" y="665"/>
                      </a:lnTo>
                      <a:lnTo>
                        <a:pt x="216" y="667"/>
                      </a:lnTo>
                      <a:lnTo>
                        <a:pt x="217" y="668"/>
                      </a:lnTo>
                      <a:lnTo>
                        <a:pt x="219" y="668"/>
                      </a:lnTo>
                      <a:lnTo>
                        <a:pt x="221" y="670"/>
                      </a:lnTo>
                      <a:lnTo>
                        <a:pt x="221" y="672"/>
                      </a:lnTo>
                      <a:lnTo>
                        <a:pt x="219" y="672"/>
                      </a:lnTo>
                      <a:lnTo>
                        <a:pt x="219" y="673"/>
                      </a:lnTo>
                      <a:lnTo>
                        <a:pt x="217" y="673"/>
                      </a:lnTo>
                      <a:lnTo>
                        <a:pt x="217" y="675"/>
                      </a:lnTo>
                      <a:lnTo>
                        <a:pt x="217" y="677"/>
                      </a:lnTo>
                      <a:lnTo>
                        <a:pt x="214" y="677"/>
                      </a:lnTo>
                      <a:lnTo>
                        <a:pt x="212" y="677"/>
                      </a:lnTo>
                      <a:lnTo>
                        <a:pt x="211" y="677"/>
                      </a:lnTo>
                      <a:lnTo>
                        <a:pt x="211" y="678"/>
                      </a:lnTo>
                      <a:lnTo>
                        <a:pt x="209" y="680"/>
                      </a:lnTo>
                      <a:lnTo>
                        <a:pt x="211" y="680"/>
                      </a:lnTo>
                      <a:lnTo>
                        <a:pt x="211" y="682"/>
                      </a:lnTo>
                      <a:lnTo>
                        <a:pt x="211" y="683"/>
                      </a:lnTo>
                      <a:lnTo>
                        <a:pt x="209" y="687"/>
                      </a:lnTo>
                      <a:lnTo>
                        <a:pt x="209" y="688"/>
                      </a:lnTo>
                      <a:lnTo>
                        <a:pt x="207" y="690"/>
                      </a:lnTo>
                      <a:lnTo>
                        <a:pt x="206" y="690"/>
                      </a:lnTo>
                      <a:lnTo>
                        <a:pt x="204" y="691"/>
                      </a:lnTo>
                      <a:lnTo>
                        <a:pt x="204" y="693"/>
                      </a:lnTo>
                      <a:lnTo>
                        <a:pt x="204" y="695"/>
                      </a:lnTo>
                      <a:lnTo>
                        <a:pt x="204" y="696"/>
                      </a:lnTo>
                      <a:lnTo>
                        <a:pt x="204" y="698"/>
                      </a:lnTo>
                      <a:lnTo>
                        <a:pt x="202" y="700"/>
                      </a:lnTo>
                      <a:lnTo>
                        <a:pt x="201" y="700"/>
                      </a:lnTo>
                      <a:lnTo>
                        <a:pt x="201" y="701"/>
                      </a:lnTo>
                      <a:lnTo>
                        <a:pt x="199" y="701"/>
                      </a:lnTo>
                      <a:lnTo>
                        <a:pt x="199" y="703"/>
                      </a:lnTo>
                      <a:lnTo>
                        <a:pt x="197" y="703"/>
                      </a:lnTo>
                      <a:lnTo>
                        <a:pt x="197" y="705"/>
                      </a:lnTo>
                      <a:lnTo>
                        <a:pt x="195" y="706"/>
                      </a:lnTo>
                      <a:lnTo>
                        <a:pt x="195" y="708"/>
                      </a:lnTo>
                      <a:lnTo>
                        <a:pt x="195" y="710"/>
                      </a:lnTo>
                      <a:lnTo>
                        <a:pt x="194" y="710"/>
                      </a:lnTo>
                      <a:lnTo>
                        <a:pt x="192" y="710"/>
                      </a:lnTo>
                      <a:lnTo>
                        <a:pt x="190" y="710"/>
                      </a:lnTo>
                      <a:lnTo>
                        <a:pt x="189" y="708"/>
                      </a:lnTo>
                      <a:lnTo>
                        <a:pt x="187" y="708"/>
                      </a:lnTo>
                      <a:lnTo>
                        <a:pt x="185" y="708"/>
                      </a:lnTo>
                      <a:lnTo>
                        <a:pt x="185" y="710"/>
                      </a:lnTo>
                      <a:lnTo>
                        <a:pt x="185" y="711"/>
                      </a:lnTo>
                      <a:lnTo>
                        <a:pt x="185" y="714"/>
                      </a:lnTo>
                      <a:lnTo>
                        <a:pt x="184" y="716"/>
                      </a:lnTo>
                      <a:lnTo>
                        <a:pt x="182" y="719"/>
                      </a:lnTo>
                      <a:lnTo>
                        <a:pt x="182" y="721"/>
                      </a:lnTo>
                      <a:lnTo>
                        <a:pt x="182" y="723"/>
                      </a:lnTo>
                      <a:lnTo>
                        <a:pt x="182" y="724"/>
                      </a:lnTo>
                      <a:lnTo>
                        <a:pt x="180" y="724"/>
                      </a:lnTo>
                      <a:lnTo>
                        <a:pt x="179" y="724"/>
                      </a:lnTo>
                      <a:lnTo>
                        <a:pt x="177" y="724"/>
                      </a:lnTo>
                      <a:lnTo>
                        <a:pt x="177" y="726"/>
                      </a:lnTo>
                      <a:lnTo>
                        <a:pt x="177" y="728"/>
                      </a:lnTo>
                      <a:lnTo>
                        <a:pt x="175" y="728"/>
                      </a:lnTo>
                      <a:lnTo>
                        <a:pt x="175" y="729"/>
                      </a:lnTo>
                      <a:lnTo>
                        <a:pt x="174" y="729"/>
                      </a:lnTo>
                      <a:lnTo>
                        <a:pt x="172" y="729"/>
                      </a:lnTo>
                      <a:lnTo>
                        <a:pt x="172" y="728"/>
                      </a:lnTo>
                      <a:lnTo>
                        <a:pt x="170" y="728"/>
                      </a:lnTo>
                      <a:lnTo>
                        <a:pt x="168" y="728"/>
                      </a:lnTo>
                      <a:lnTo>
                        <a:pt x="168" y="726"/>
                      </a:lnTo>
                      <a:lnTo>
                        <a:pt x="167" y="728"/>
                      </a:lnTo>
                      <a:lnTo>
                        <a:pt x="165" y="728"/>
                      </a:lnTo>
                      <a:lnTo>
                        <a:pt x="163" y="728"/>
                      </a:lnTo>
                      <a:lnTo>
                        <a:pt x="162" y="728"/>
                      </a:lnTo>
                      <a:lnTo>
                        <a:pt x="162" y="726"/>
                      </a:lnTo>
                      <a:lnTo>
                        <a:pt x="160" y="724"/>
                      </a:lnTo>
                      <a:lnTo>
                        <a:pt x="160" y="723"/>
                      </a:lnTo>
                      <a:lnTo>
                        <a:pt x="158" y="723"/>
                      </a:lnTo>
                      <a:lnTo>
                        <a:pt x="158" y="721"/>
                      </a:lnTo>
                      <a:lnTo>
                        <a:pt x="157" y="721"/>
                      </a:lnTo>
                      <a:lnTo>
                        <a:pt x="155" y="721"/>
                      </a:lnTo>
                      <a:lnTo>
                        <a:pt x="153" y="723"/>
                      </a:lnTo>
                      <a:lnTo>
                        <a:pt x="152" y="724"/>
                      </a:lnTo>
                      <a:lnTo>
                        <a:pt x="152" y="726"/>
                      </a:lnTo>
                      <a:lnTo>
                        <a:pt x="150" y="726"/>
                      </a:lnTo>
                      <a:lnTo>
                        <a:pt x="148" y="726"/>
                      </a:lnTo>
                      <a:lnTo>
                        <a:pt x="146" y="726"/>
                      </a:lnTo>
                      <a:lnTo>
                        <a:pt x="145" y="726"/>
                      </a:lnTo>
                      <a:lnTo>
                        <a:pt x="145" y="728"/>
                      </a:lnTo>
                      <a:lnTo>
                        <a:pt x="143" y="729"/>
                      </a:lnTo>
                      <a:lnTo>
                        <a:pt x="141" y="729"/>
                      </a:lnTo>
                      <a:lnTo>
                        <a:pt x="140" y="731"/>
                      </a:lnTo>
                      <a:lnTo>
                        <a:pt x="138" y="729"/>
                      </a:lnTo>
                      <a:lnTo>
                        <a:pt x="136" y="728"/>
                      </a:lnTo>
                      <a:lnTo>
                        <a:pt x="135" y="728"/>
                      </a:lnTo>
                      <a:lnTo>
                        <a:pt x="133" y="728"/>
                      </a:lnTo>
                      <a:lnTo>
                        <a:pt x="133" y="729"/>
                      </a:lnTo>
                      <a:lnTo>
                        <a:pt x="131" y="729"/>
                      </a:lnTo>
                      <a:lnTo>
                        <a:pt x="131" y="731"/>
                      </a:lnTo>
                      <a:lnTo>
                        <a:pt x="130" y="731"/>
                      </a:lnTo>
                      <a:lnTo>
                        <a:pt x="130" y="732"/>
                      </a:lnTo>
                      <a:lnTo>
                        <a:pt x="128" y="732"/>
                      </a:lnTo>
                      <a:lnTo>
                        <a:pt x="126" y="732"/>
                      </a:lnTo>
                      <a:lnTo>
                        <a:pt x="125" y="732"/>
                      </a:lnTo>
                      <a:lnTo>
                        <a:pt x="125" y="734"/>
                      </a:lnTo>
                      <a:lnTo>
                        <a:pt x="125" y="736"/>
                      </a:lnTo>
                      <a:lnTo>
                        <a:pt x="126" y="737"/>
                      </a:lnTo>
                      <a:lnTo>
                        <a:pt x="125" y="739"/>
                      </a:lnTo>
                      <a:lnTo>
                        <a:pt x="125" y="741"/>
                      </a:lnTo>
                      <a:lnTo>
                        <a:pt x="123" y="741"/>
                      </a:lnTo>
                      <a:lnTo>
                        <a:pt x="121" y="741"/>
                      </a:lnTo>
                      <a:lnTo>
                        <a:pt x="119" y="741"/>
                      </a:lnTo>
                      <a:lnTo>
                        <a:pt x="118" y="741"/>
                      </a:lnTo>
                      <a:lnTo>
                        <a:pt x="118" y="742"/>
                      </a:lnTo>
                      <a:lnTo>
                        <a:pt x="116" y="742"/>
                      </a:lnTo>
                      <a:lnTo>
                        <a:pt x="116" y="744"/>
                      </a:lnTo>
                      <a:lnTo>
                        <a:pt x="114" y="744"/>
                      </a:lnTo>
                      <a:lnTo>
                        <a:pt x="113" y="744"/>
                      </a:lnTo>
                      <a:lnTo>
                        <a:pt x="113" y="746"/>
                      </a:lnTo>
                      <a:lnTo>
                        <a:pt x="111" y="747"/>
                      </a:lnTo>
                      <a:lnTo>
                        <a:pt x="111" y="749"/>
                      </a:lnTo>
                      <a:lnTo>
                        <a:pt x="111" y="751"/>
                      </a:lnTo>
                      <a:lnTo>
                        <a:pt x="109" y="751"/>
                      </a:lnTo>
                      <a:lnTo>
                        <a:pt x="109" y="752"/>
                      </a:lnTo>
                      <a:lnTo>
                        <a:pt x="108" y="752"/>
                      </a:lnTo>
                      <a:lnTo>
                        <a:pt x="108" y="754"/>
                      </a:lnTo>
                      <a:lnTo>
                        <a:pt x="108" y="752"/>
                      </a:lnTo>
                      <a:lnTo>
                        <a:pt x="106" y="752"/>
                      </a:lnTo>
                      <a:lnTo>
                        <a:pt x="104" y="752"/>
                      </a:lnTo>
                      <a:lnTo>
                        <a:pt x="104" y="754"/>
                      </a:lnTo>
                      <a:lnTo>
                        <a:pt x="103" y="754"/>
                      </a:lnTo>
                      <a:lnTo>
                        <a:pt x="101" y="755"/>
                      </a:lnTo>
                      <a:lnTo>
                        <a:pt x="99" y="755"/>
                      </a:lnTo>
                      <a:lnTo>
                        <a:pt x="98" y="754"/>
                      </a:lnTo>
                      <a:lnTo>
                        <a:pt x="96" y="752"/>
                      </a:lnTo>
                      <a:lnTo>
                        <a:pt x="94" y="752"/>
                      </a:lnTo>
                      <a:lnTo>
                        <a:pt x="92" y="752"/>
                      </a:lnTo>
                      <a:lnTo>
                        <a:pt x="91" y="751"/>
                      </a:lnTo>
                      <a:lnTo>
                        <a:pt x="89" y="749"/>
                      </a:lnTo>
                      <a:lnTo>
                        <a:pt x="87" y="749"/>
                      </a:lnTo>
                      <a:lnTo>
                        <a:pt x="87" y="747"/>
                      </a:lnTo>
                      <a:lnTo>
                        <a:pt x="86" y="747"/>
                      </a:lnTo>
                      <a:lnTo>
                        <a:pt x="84" y="749"/>
                      </a:lnTo>
                      <a:lnTo>
                        <a:pt x="82" y="747"/>
                      </a:lnTo>
                      <a:lnTo>
                        <a:pt x="81" y="747"/>
                      </a:lnTo>
                      <a:lnTo>
                        <a:pt x="77" y="747"/>
                      </a:lnTo>
                      <a:lnTo>
                        <a:pt x="76" y="747"/>
                      </a:lnTo>
                      <a:lnTo>
                        <a:pt x="74" y="747"/>
                      </a:lnTo>
                      <a:lnTo>
                        <a:pt x="72" y="747"/>
                      </a:lnTo>
                      <a:lnTo>
                        <a:pt x="72" y="746"/>
                      </a:lnTo>
                      <a:lnTo>
                        <a:pt x="70" y="746"/>
                      </a:lnTo>
                      <a:lnTo>
                        <a:pt x="69" y="746"/>
                      </a:lnTo>
                      <a:lnTo>
                        <a:pt x="69" y="744"/>
                      </a:lnTo>
                      <a:lnTo>
                        <a:pt x="69" y="742"/>
                      </a:lnTo>
                      <a:lnTo>
                        <a:pt x="67" y="742"/>
                      </a:lnTo>
                      <a:lnTo>
                        <a:pt x="65" y="741"/>
                      </a:lnTo>
                      <a:lnTo>
                        <a:pt x="64" y="741"/>
                      </a:lnTo>
                      <a:lnTo>
                        <a:pt x="62" y="741"/>
                      </a:lnTo>
                      <a:lnTo>
                        <a:pt x="62" y="739"/>
                      </a:lnTo>
                      <a:lnTo>
                        <a:pt x="60" y="739"/>
                      </a:lnTo>
                      <a:lnTo>
                        <a:pt x="59" y="737"/>
                      </a:lnTo>
                      <a:lnTo>
                        <a:pt x="59" y="736"/>
                      </a:lnTo>
                      <a:lnTo>
                        <a:pt x="59" y="734"/>
                      </a:lnTo>
                      <a:lnTo>
                        <a:pt x="59" y="732"/>
                      </a:lnTo>
                      <a:lnTo>
                        <a:pt x="57" y="731"/>
                      </a:lnTo>
                      <a:lnTo>
                        <a:pt x="57" y="729"/>
                      </a:lnTo>
                      <a:lnTo>
                        <a:pt x="55" y="729"/>
                      </a:lnTo>
                      <a:lnTo>
                        <a:pt x="54" y="729"/>
                      </a:lnTo>
                      <a:lnTo>
                        <a:pt x="52" y="729"/>
                      </a:lnTo>
                      <a:lnTo>
                        <a:pt x="52" y="728"/>
                      </a:lnTo>
                      <a:lnTo>
                        <a:pt x="52" y="726"/>
                      </a:lnTo>
                      <a:lnTo>
                        <a:pt x="52" y="723"/>
                      </a:lnTo>
                      <a:lnTo>
                        <a:pt x="50" y="723"/>
                      </a:lnTo>
                      <a:lnTo>
                        <a:pt x="50" y="721"/>
                      </a:lnTo>
                      <a:lnTo>
                        <a:pt x="52" y="719"/>
                      </a:lnTo>
                      <a:lnTo>
                        <a:pt x="52" y="718"/>
                      </a:lnTo>
                      <a:lnTo>
                        <a:pt x="50" y="718"/>
                      </a:lnTo>
                      <a:lnTo>
                        <a:pt x="50" y="716"/>
                      </a:lnTo>
                      <a:lnTo>
                        <a:pt x="52" y="714"/>
                      </a:lnTo>
                      <a:lnTo>
                        <a:pt x="54" y="714"/>
                      </a:lnTo>
                      <a:lnTo>
                        <a:pt x="55" y="714"/>
                      </a:lnTo>
                      <a:lnTo>
                        <a:pt x="55" y="713"/>
                      </a:lnTo>
                      <a:lnTo>
                        <a:pt x="55" y="711"/>
                      </a:lnTo>
                      <a:lnTo>
                        <a:pt x="54" y="710"/>
                      </a:lnTo>
                      <a:lnTo>
                        <a:pt x="54" y="708"/>
                      </a:lnTo>
                      <a:lnTo>
                        <a:pt x="52" y="708"/>
                      </a:lnTo>
                      <a:lnTo>
                        <a:pt x="52" y="706"/>
                      </a:lnTo>
                      <a:lnTo>
                        <a:pt x="54" y="705"/>
                      </a:lnTo>
                      <a:lnTo>
                        <a:pt x="52" y="703"/>
                      </a:lnTo>
                      <a:lnTo>
                        <a:pt x="50" y="701"/>
                      </a:lnTo>
                      <a:lnTo>
                        <a:pt x="49" y="700"/>
                      </a:lnTo>
                      <a:lnTo>
                        <a:pt x="47" y="698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4" name="Freeform 22"/>
                <p:cNvSpPr>
                  <a:spLocks noChangeAspect="1" noEditPoints="1"/>
                </p:cNvSpPr>
                <p:nvPr/>
              </p:nvSpPr>
              <p:spPr bwMode="auto">
                <a:xfrm>
                  <a:off x="5323763" y="2592195"/>
                  <a:ext cx="1374315" cy="1513089"/>
                </a:xfrm>
                <a:custGeom>
                  <a:avLst/>
                  <a:gdLst>
                    <a:gd name="T0" fmla="*/ 2147483647 w 881"/>
                    <a:gd name="T1" fmla="*/ 2147483647 h 905"/>
                    <a:gd name="T2" fmla="*/ 2147483647 w 881"/>
                    <a:gd name="T3" fmla="*/ 2147483647 h 905"/>
                    <a:gd name="T4" fmla="*/ 2147483647 w 881"/>
                    <a:gd name="T5" fmla="*/ 2147483647 h 905"/>
                    <a:gd name="T6" fmla="*/ 2147483647 w 881"/>
                    <a:gd name="T7" fmla="*/ 2147483647 h 905"/>
                    <a:gd name="T8" fmla="*/ 2147483647 w 881"/>
                    <a:gd name="T9" fmla="*/ 2147483647 h 905"/>
                    <a:gd name="T10" fmla="*/ 2147483647 w 881"/>
                    <a:gd name="T11" fmla="*/ 2147483647 h 905"/>
                    <a:gd name="T12" fmla="*/ 2147483647 w 881"/>
                    <a:gd name="T13" fmla="*/ 2147483647 h 905"/>
                    <a:gd name="T14" fmla="*/ 2147483647 w 881"/>
                    <a:gd name="T15" fmla="*/ 2147483647 h 905"/>
                    <a:gd name="T16" fmla="*/ 2147483647 w 881"/>
                    <a:gd name="T17" fmla="*/ 2147483647 h 905"/>
                    <a:gd name="T18" fmla="*/ 2147483647 w 881"/>
                    <a:gd name="T19" fmla="*/ 2147483647 h 905"/>
                    <a:gd name="T20" fmla="*/ 2147483647 w 881"/>
                    <a:gd name="T21" fmla="*/ 2147483647 h 905"/>
                    <a:gd name="T22" fmla="*/ 2147483647 w 881"/>
                    <a:gd name="T23" fmla="*/ 2147483647 h 905"/>
                    <a:gd name="T24" fmla="*/ 2147483647 w 881"/>
                    <a:gd name="T25" fmla="*/ 2147483647 h 905"/>
                    <a:gd name="T26" fmla="*/ 2147483647 w 881"/>
                    <a:gd name="T27" fmla="*/ 2147483647 h 905"/>
                    <a:gd name="T28" fmla="*/ 2147483647 w 881"/>
                    <a:gd name="T29" fmla="*/ 2147483647 h 905"/>
                    <a:gd name="T30" fmla="*/ 2147483647 w 881"/>
                    <a:gd name="T31" fmla="*/ 2147483647 h 905"/>
                    <a:gd name="T32" fmla="*/ 2147483647 w 881"/>
                    <a:gd name="T33" fmla="*/ 2147483647 h 905"/>
                    <a:gd name="T34" fmla="*/ 2147483647 w 881"/>
                    <a:gd name="T35" fmla="*/ 2147483647 h 905"/>
                    <a:gd name="T36" fmla="*/ 2147483647 w 881"/>
                    <a:gd name="T37" fmla="*/ 2147483647 h 905"/>
                    <a:gd name="T38" fmla="*/ 2147483647 w 881"/>
                    <a:gd name="T39" fmla="*/ 2147483647 h 905"/>
                    <a:gd name="T40" fmla="*/ 2147483647 w 881"/>
                    <a:gd name="T41" fmla="*/ 2147483647 h 905"/>
                    <a:gd name="T42" fmla="*/ 2147483647 w 881"/>
                    <a:gd name="T43" fmla="*/ 2147483647 h 905"/>
                    <a:gd name="T44" fmla="*/ 2147483647 w 881"/>
                    <a:gd name="T45" fmla="*/ 2147483647 h 905"/>
                    <a:gd name="T46" fmla="*/ 2147483647 w 881"/>
                    <a:gd name="T47" fmla="*/ 2147483647 h 905"/>
                    <a:gd name="T48" fmla="*/ 2147483647 w 881"/>
                    <a:gd name="T49" fmla="*/ 2147483647 h 905"/>
                    <a:gd name="T50" fmla="*/ 2147483647 w 881"/>
                    <a:gd name="T51" fmla="*/ 2147483647 h 905"/>
                    <a:gd name="T52" fmla="*/ 2147483647 w 881"/>
                    <a:gd name="T53" fmla="*/ 2147483647 h 905"/>
                    <a:gd name="T54" fmla="*/ 2147483647 w 881"/>
                    <a:gd name="T55" fmla="*/ 2147483647 h 905"/>
                    <a:gd name="T56" fmla="*/ 2147483647 w 881"/>
                    <a:gd name="T57" fmla="*/ 2147483647 h 905"/>
                    <a:gd name="T58" fmla="*/ 2147483647 w 881"/>
                    <a:gd name="T59" fmla="*/ 2147483647 h 905"/>
                    <a:gd name="T60" fmla="*/ 2147483647 w 881"/>
                    <a:gd name="T61" fmla="*/ 2147483647 h 905"/>
                    <a:gd name="T62" fmla="*/ 2147483647 w 881"/>
                    <a:gd name="T63" fmla="*/ 2147483647 h 905"/>
                    <a:gd name="T64" fmla="*/ 2147483647 w 881"/>
                    <a:gd name="T65" fmla="*/ 2147483647 h 905"/>
                    <a:gd name="T66" fmla="*/ 2147483647 w 881"/>
                    <a:gd name="T67" fmla="*/ 2147483647 h 905"/>
                    <a:gd name="T68" fmla="*/ 2147483647 w 881"/>
                    <a:gd name="T69" fmla="*/ 2147483647 h 905"/>
                    <a:gd name="T70" fmla="*/ 2147483647 w 881"/>
                    <a:gd name="T71" fmla="*/ 2147483647 h 905"/>
                    <a:gd name="T72" fmla="*/ 2147483647 w 881"/>
                    <a:gd name="T73" fmla="*/ 2147483647 h 905"/>
                    <a:gd name="T74" fmla="*/ 2147483647 w 881"/>
                    <a:gd name="T75" fmla="*/ 2147483647 h 905"/>
                    <a:gd name="T76" fmla="*/ 2147483647 w 881"/>
                    <a:gd name="T77" fmla="*/ 2147483647 h 905"/>
                    <a:gd name="T78" fmla="*/ 2147483647 w 881"/>
                    <a:gd name="T79" fmla="*/ 2147483647 h 905"/>
                    <a:gd name="T80" fmla="*/ 2147483647 w 881"/>
                    <a:gd name="T81" fmla="*/ 2147483647 h 905"/>
                    <a:gd name="T82" fmla="*/ 2147483647 w 881"/>
                    <a:gd name="T83" fmla="*/ 2147483647 h 905"/>
                    <a:gd name="T84" fmla="*/ 2147483647 w 881"/>
                    <a:gd name="T85" fmla="*/ 2147483647 h 905"/>
                    <a:gd name="T86" fmla="*/ 2147483647 w 881"/>
                    <a:gd name="T87" fmla="*/ 2147483647 h 905"/>
                    <a:gd name="T88" fmla="*/ 2147483647 w 881"/>
                    <a:gd name="T89" fmla="*/ 2147483647 h 905"/>
                    <a:gd name="T90" fmla="*/ 2147483647 w 881"/>
                    <a:gd name="T91" fmla="*/ 2147483647 h 905"/>
                    <a:gd name="T92" fmla="*/ 2147483647 w 881"/>
                    <a:gd name="T93" fmla="*/ 2147483647 h 905"/>
                    <a:gd name="T94" fmla="*/ 2147483647 w 881"/>
                    <a:gd name="T95" fmla="*/ 2147483647 h 905"/>
                    <a:gd name="T96" fmla="*/ 2147483647 w 881"/>
                    <a:gd name="T97" fmla="*/ 2147483647 h 905"/>
                    <a:gd name="T98" fmla="*/ 2147483647 w 881"/>
                    <a:gd name="T99" fmla="*/ 2147483647 h 905"/>
                    <a:gd name="T100" fmla="*/ 2147483647 w 881"/>
                    <a:gd name="T101" fmla="*/ 2147483647 h 905"/>
                    <a:gd name="T102" fmla="*/ 2147483647 w 881"/>
                    <a:gd name="T103" fmla="*/ 2147483647 h 905"/>
                    <a:gd name="T104" fmla="*/ 2147483647 w 881"/>
                    <a:gd name="T105" fmla="*/ 2147483647 h 905"/>
                    <a:gd name="T106" fmla="*/ 2147483647 w 881"/>
                    <a:gd name="T107" fmla="*/ 2147483647 h 905"/>
                    <a:gd name="T108" fmla="*/ 2147483647 w 881"/>
                    <a:gd name="T109" fmla="*/ 2147483647 h 905"/>
                    <a:gd name="T110" fmla="*/ 2147483647 w 881"/>
                    <a:gd name="T111" fmla="*/ 2147483647 h 905"/>
                    <a:gd name="T112" fmla="*/ 2147483647 w 881"/>
                    <a:gd name="T113" fmla="*/ 2147483647 h 905"/>
                    <a:gd name="T114" fmla="*/ 2147483647 w 881"/>
                    <a:gd name="T115" fmla="*/ 2147483647 h 905"/>
                    <a:gd name="T116" fmla="*/ 2147483647 w 881"/>
                    <a:gd name="T117" fmla="*/ 2147483647 h 905"/>
                    <a:gd name="T118" fmla="*/ 2147483647 w 881"/>
                    <a:gd name="T119" fmla="*/ 2147483647 h 905"/>
                    <a:gd name="T120" fmla="*/ 2147483647 w 881"/>
                    <a:gd name="T121" fmla="*/ 2147483647 h 905"/>
                    <a:gd name="T122" fmla="*/ 2147483647 w 881"/>
                    <a:gd name="T123" fmla="*/ 2147483647 h 905"/>
                    <a:gd name="T124" fmla="*/ 2147483647 w 881"/>
                    <a:gd name="T125" fmla="*/ 2147483647 h 90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81"/>
                    <a:gd name="T190" fmla="*/ 0 h 905"/>
                    <a:gd name="T191" fmla="*/ 881 w 881"/>
                    <a:gd name="T192" fmla="*/ 905 h 90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81" h="905">
                      <a:moveTo>
                        <a:pt x="706" y="822"/>
                      </a:moveTo>
                      <a:lnTo>
                        <a:pt x="706" y="823"/>
                      </a:lnTo>
                      <a:lnTo>
                        <a:pt x="706" y="826"/>
                      </a:lnTo>
                      <a:lnTo>
                        <a:pt x="706" y="828"/>
                      </a:lnTo>
                      <a:lnTo>
                        <a:pt x="706" y="830"/>
                      </a:lnTo>
                      <a:lnTo>
                        <a:pt x="706" y="831"/>
                      </a:lnTo>
                      <a:lnTo>
                        <a:pt x="706" y="833"/>
                      </a:lnTo>
                      <a:lnTo>
                        <a:pt x="704" y="835"/>
                      </a:lnTo>
                      <a:lnTo>
                        <a:pt x="706" y="836"/>
                      </a:lnTo>
                      <a:lnTo>
                        <a:pt x="706" y="838"/>
                      </a:lnTo>
                      <a:lnTo>
                        <a:pt x="707" y="840"/>
                      </a:lnTo>
                      <a:lnTo>
                        <a:pt x="707" y="841"/>
                      </a:lnTo>
                      <a:lnTo>
                        <a:pt x="709" y="843"/>
                      </a:lnTo>
                      <a:lnTo>
                        <a:pt x="711" y="843"/>
                      </a:lnTo>
                      <a:lnTo>
                        <a:pt x="711" y="845"/>
                      </a:lnTo>
                      <a:lnTo>
                        <a:pt x="709" y="845"/>
                      </a:lnTo>
                      <a:lnTo>
                        <a:pt x="709" y="846"/>
                      </a:lnTo>
                      <a:lnTo>
                        <a:pt x="707" y="846"/>
                      </a:lnTo>
                      <a:lnTo>
                        <a:pt x="707" y="848"/>
                      </a:lnTo>
                      <a:lnTo>
                        <a:pt x="706" y="848"/>
                      </a:lnTo>
                      <a:lnTo>
                        <a:pt x="706" y="849"/>
                      </a:lnTo>
                      <a:lnTo>
                        <a:pt x="704" y="851"/>
                      </a:lnTo>
                      <a:lnTo>
                        <a:pt x="704" y="853"/>
                      </a:lnTo>
                      <a:lnTo>
                        <a:pt x="701" y="854"/>
                      </a:lnTo>
                      <a:lnTo>
                        <a:pt x="699" y="858"/>
                      </a:lnTo>
                      <a:lnTo>
                        <a:pt x="697" y="858"/>
                      </a:lnTo>
                      <a:lnTo>
                        <a:pt x="697" y="859"/>
                      </a:lnTo>
                      <a:lnTo>
                        <a:pt x="699" y="859"/>
                      </a:lnTo>
                      <a:lnTo>
                        <a:pt x="697" y="861"/>
                      </a:lnTo>
                      <a:lnTo>
                        <a:pt x="696" y="861"/>
                      </a:lnTo>
                      <a:lnTo>
                        <a:pt x="694" y="863"/>
                      </a:lnTo>
                      <a:lnTo>
                        <a:pt x="692" y="863"/>
                      </a:lnTo>
                      <a:lnTo>
                        <a:pt x="691" y="863"/>
                      </a:lnTo>
                      <a:lnTo>
                        <a:pt x="689" y="863"/>
                      </a:lnTo>
                      <a:lnTo>
                        <a:pt x="689" y="864"/>
                      </a:lnTo>
                      <a:lnTo>
                        <a:pt x="687" y="864"/>
                      </a:lnTo>
                      <a:lnTo>
                        <a:pt x="685" y="864"/>
                      </a:lnTo>
                      <a:lnTo>
                        <a:pt x="684" y="866"/>
                      </a:lnTo>
                      <a:lnTo>
                        <a:pt x="682" y="868"/>
                      </a:lnTo>
                      <a:lnTo>
                        <a:pt x="680" y="869"/>
                      </a:lnTo>
                      <a:lnTo>
                        <a:pt x="679" y="871"/>
                      </a:lnTo>
                      <a:lnTo>
                        <a:pt x="677" y="872"/>
                      </a:lnTo>
                      <a:lnTo>
                        <a:pt x="675" y="874"/>
                      </a:lnTo>
                      <a:lnTo>
                        <a:pt x="674" y="876"/>
                      </a:lnTo>
                      <a:lnTo>
                        <a:pt x="672" y="879"/>
                      </a:lnTo>
                      <a:lnTo>
                        <a:pt x="672" y="881"/>
                      </a:lnTo>
                      <a:lnTo>
                        <a:pt x="670" y="881"/>
                      </a:lnTo>
                      <a:lnTo>
                        <a:pt x="669" y="881"/>
                      </a:lnTo>
                      <a:lnTo>
                        <a:pt x="670" y="881"/>
                      </a:lnTo>
                      <a:lnTo>
                        <a:pt x="670" y="882"/>
                      </a:lnTo>
                      <a:lnTo>
                        <a:pt x="670" y="884"/>
                      </a:lnTo>
                      <a:lnTo>
                        <a:pt x="669" y="886"/>
                      </a:lnTo>
                      <a:lnTo>
                        <a:pt x="665" y="891"/>
                      </a:lnTo>
                      <a:lnTo>
                        <a:pt x="663" y="892"/>
                      </a:lnTo>
                      <a:lnTo>
                        <a:pt x="663" y="894"/>
                      </a:lnTo>
                      <a:lnTo>
                        <a:pt x="663" y="895"/>
                      </a:lnTo>
                      <a:lnTo>
                        <a:pt x="662" y="895"/>
                      </a:lnTo>
                      <a:lnTo>
                        <a:pt x="662" y="897"/>
                      </a:lnTo>
                      <a:lnTo>
                        <a:pt x="662" y="899"/>
                      </a:lnTo>
                      <a:lnTo>
                        <a:pt x="662" y="900"/>
                      </a:lnTo>
                      <a:lnTo>
                        <a:pt x="662" y="902"/>
                      </a:lnTo>
                      <a:lnTo>
                        <a:pt x="660" y="902"/>
                      </a:lnTo>
                      <a:lnTo>
                        <a:pt x="660" y="904"/>
                      </a:lnTo>
                      <a:lnTo>
                        <a:pt x="660" y="905"/>
                      </a:lnTo>
                      <a:lnTo>
                        <a:pt x="660" y="904"/>
                      </a:lnTo>
                      <a:lnTo>
                        <a:pt x="660" y="902"/>
                      </a:lnTo>
                      <a:lnTo>
                        <a:pt x="658" y="902"/>
                      </a:lnTo>
                      <a:lnTo>
                        <a:pt x="645" y="894"/>
                      </a:lnTo>
                      <a:lnTo>
                        <a:pt x="608" y="871"/>
                      </a:lnTo>
                      <a:lnTo>
                        <a:pt x="608" y="869"/>
                      </a:lnTo>
                      <a:lnTo>
                        <a:pt x="606" y="869"/>
                      </a:lnTo>
                      <a:lnTo>
                        <a:pt x="604" y="868"/>
                      </a:lnTo>
                      <a:lnTo>
                        <a:pt x="603" y="866"/>
                      </a:lnTo>
                      <a:lnTo>
                        <a:pt x="608" y="863"/>
                      </a:lnTo>
                      <a:lnTo>
                        <a:pt x="611" y="859"/>
                      </a:lnTo>
                      <a:lnTo>
                        <a:pt x="611" y="858"/>
                      </a:lnTo>
                      <a:lnTo>
                        <a:pt x="609" y="858"/>
                      </a:lnTo>
                      <a:lnTo>
                        <a:pt x="609" y="856"/>
                      </a:lnTo>
                      <a:lnTo>
                        <a:pt x="609" y="858"/>
                      </a:lnTo>
                      <a:lnTo>
                        <a:pt x="609" y="856"/>
                      </a:lnTo>
                      <a:lnTo>
                        <a:pt x="609" y="854"/>
                      </a:lnTo>
                      <a:lnTo>
                        <a:pt x="608" y="854"/>
                      </a:lnTo>
                      <a:lnTo>
                        <a:pt x="608" y="853"/>
                      </a:lnTo>
                      <a:lnTo>
                        <a:pt x="608" y="851"/>
                      </a:lnTo>
                      <a:lnTo>
                        <a:pt x="608" y="849"/>
                      </a:lnTo>
                      <a:lnTo>
                        <a:pt x="608" y="848"/>
                      </a:lnTo>
                      <a:lnTo>
                        <a:pt x="606" y="848"/>
                      </a:lnTo>
                      <a:lnTo>
                        <a:pt x="604" y="848"/>
                      </a:lnTo>
                      <a:lnTo>
                        <a:pt x="604" y="846"/>
                      </a:lnTo>
                      <a:lnTo>
                        <a:pt x="603" y="848"/>
                      </a:lnTo>
                      <a:lnTo>
                        <a:pt x="601" y="846"/>
                      </a:lnTo>
                      <a:lnTo>
                        <a:pt x="601" y="845"/>
                      </a:lnTo>
                      <a:lnTo>
                        <a:pt x="599" y="845"/>
                      </a:lnTo>
                      <a:lnTo>
                        <a:pt x="599" y="843"/>
                      </a:lnTo>
                      <a:lnTo>
                        <a:pt x="599" y="841"/>
                      </a:lnTo>
                      <a:lnTo>
                        <a:pt x="598" y="841"/>
                      </a:lnTo>
                      <a:lnTo>
                        <a:pt x="598" y="840"/>
                      </a:lnTo>
                      <a:lnTo>
                        <a:pt x="596" y="838"/>
                      </a:lnTo>
                      <a:lnTo>
                        <a:pt x="596" y="836"/>
                      </a:lnTo>
                      <a:lnTo>
                        <a:pt x="596" y="838"/>
                      </a:lnTo>
                      <a:lnTo>
                        <a:pt x="594" y="840"/>
                      </a:lnTo>
                      <a:lnTo>
                        <a:pt x="594" y="838"/>
                      </a:lnTo>
                      <a:lnTo>
                        <a:pt x="593" y="836"/>
                      </a:lnTo>
                      <a:lnTo>
                        <a:pt x="591" y="838"/>
                      </a:lnTo>
                      <a:lnTo>
                        <a:pt x="591" y="836"/>
                      </a:lnTo>
                      <a:lnTo>
                        <a:pt x="589" y="836"/>
                      </a:lnTo>
                      <a:lnTo>
                        <a:pt x="589" y="835"/>
                      </a:lnTo>
                      <a:lnTo>
                        <a:pt x="589" y="833"/>
                      </a:lnTo>
                      <a:lnTo>
                        <a:pt x="587" y="833"/>
                      </a:lnTo>
                      <a:lnTo>
                        <a:pt x="586" y="833"/>
                      </a:lnTo>
                      <a:lnTo>
                        <a:pt x="584" y="833"/>
                      </a:lnTo>
                      <a:lnTo>
                        <a:pt x="584" y="831"/>
                      </a:lnTo>
                      <a:lnTo>
                        <a:pt x="584" y="830"/>
                      </a:lnTo>
                      <a:lnTo>
                        <a:pt x="582" y="830"/>
                      </a:lnTo>
                      <a:lnTo>
                        <a:pt x="582" y="828"/>
                      </a:lnTo>
                      <a:lnTo>
                        <a:pt x="582" y="826"/>
                      </a:lnTo>
                      <a:lnTo>
                        <a:pt x="582" y="825"/>
                      </a:lnTo>
                      <a:lnTo>
                        <a:pt x="581" y="825"/>
                      </a:lnTo>
                      <a:lnTo>
                        <a:pt x="581" y="823"/>
                      </a:lnTo>
                      <a:lnTo>
                        <a:pt x="579" y="823"/>
                      </a:lnTo>
                      <a:lnTo>
                        <a:pt x="579" y="822"/>
                      </a:lnTo>
                      <a:lnTo>
                        <a:pt x="577" y="822"/>
                      </a:lnTo>
                      <a:lnTo>
                        <a:pt x="576" y="822"/>
                      </a:lnTo>
                      <a:lnTo>
                        <a:pt x="576" y="820"/>
                      </a:lnTo>
                      <a:lnTo>
                        <a:pt x="574" y="818"/>
                      </a:lnTo>
                      <a:lnTo>
                        <a:pt x="572" y="818"/>
                      </a:lnTo>
                      <a:lnTo>
                        <a:pt x="572" y="820"/>
                      </a:lnTo>
                      <a:lnTo>
                        <a:pt x="571" y="818"/>
                      </a:lnTo>
                      <a:lnTo>
                        <a:pt x="569" y="818"/>
                      </a:lnTo>
                      <a:lnTo>
                        <a:pt x="571" y="817"/>
                      </a:lnTo>
                      <a:lnTo>
                        <a:pt x="572" y="817"/>
                      </a:lnTo>
                      <a:lnTo>
                        <a:pt x="571" y="815"/>
                      </a:lnTo>
                      <a:lnTo>
                        <a:pt x="572" y="815"/>
                      </a:lnTo>
                      <a:lnTo>
                        <a:pt x="572" y="813"/>
                      </a:lnTo>
                      <a:lnTo>
                        <a:pt x="571" y="813"/>
                      </a:lnTo>
                      <a:lnTo>
                        <a:pt x="572" y="812"/>
                      </a:lnTo>
                      <a:lnTo>
                        <a:pt x="571" y="812"/>
                      </a:lnTo>
                      <a:lnTo>
                        <a:pt x="571" y="810"/>
                      </a:lnTo>
                      <a:lnTo>
                        <a:pt x="572" y="810"/>
                      </a:lnTo>
                      <a:lnTo>
                        <a:pt x="574" y="808"/>
                      </a:lnTo>
                      <a:lnTo>
                        <a:pt x="576" y="807"/>
                      </a:lnTo>
                      <a:lnTo>
                        <a:pt x="576" y="805"/>
                      </a:lnTo>
                      <a:lnTo>
                        <a:pt x="576" y="803"/>
                      </a:lnTo>
                      <a:lnTo>
                        <a:pt x="574" y="803"/>
                      </a:lnTo>
                      <a:lnTo>
                        <a:pt x="576" y="802"/>
                      </a:lnTo>
                      <a:lnTo>
                        <a:pt x="576" y="800"/>
                      </a:lnTo>
                      <a:lnTo>
                        <a:pt x="576" y="799"/>
                      </a:lnTo>
                      <a:lnTo>
                        <a:pt x="576" y="797"/>
                      </a:lnTo>
                      <a:lnTo>
                        <a:pt x="574" y="797"/>
                      </a:lnTo>
                      <a:lnTo>
                        <a:pt x="574" y="795"/>
                      </a:lnTo>
                      <a:lnTo>
                        <a:pt x="574" y="794"/>
                      </a:lnTo>
                      <a:lnTo>
                        <a:pt x="574" y="792"/>
                      </a:lnTo>
                      <a:lnTo>
                        <a:pt x="576" y="792"/>
                      </a:lnTo>
                      <a:lnTo>
                        <a:pt x="576" y="790"/>
                      </a:lnTo>
                      <a:lnTo>
                        <a:pt x="576" y="789"/>
                      </a:lnTo>
                      <a:lnTo>
                        <a:pt x="574" y="789"/>
                      </a:lnTo>
                      <a:lnTo>
                        <a:pt x="574" y="787"/>
                      </a:lnTo>
                      <a:lnTo>
                        <a:pt x="574" y="785"/>
                      </a:lnTo>
                      <a:lnTo>
                        <a:pt x="576" y="785"/>
                      </a:lnTo>
                      <a:lnTo>
                        <a:pt x="576" y="784"/>
                      </a:lnTo>
                      <a:lnTo>
                        <a:pt x="576" y="782"/>
                      </a:lnTo>
                      <a:lnTo>
                        <a:pt x="576" y="781"/>
                      </a:lnTo>
                      <a:lnTo>
                        <a:pt x="576" y="779"/>
                      </a:lnTo>
                      <a:lnTo>
                        <a:pt x="577" y="779"/>
                      </a:lnTo>
                      <a:lnTo>
                        <a:pt x="579" y="779"/>
                      </a:lnTo>
                      <a:lnTo>
                        <a:pt x="579" y="777"/>
                      </a:lnTo>
                      <a:lnTo>
                        <a:pt x="579" y="776"/>
                      </a:lnTo>
                      <a:lnTo>
                        <a:pt x="581" y="776"/>
                      </a:lnTo>
                      <a:lnTo>
                        <a:pt x="581" y="774"/>
                      </a:lnTo>
                      <a:lnTo>
                        <a:pt x="581" y="772"/>
                      </a:lnTo>
                      <a:lnTo>
                        <a:pt x="582" y="772"/>
                      </a:lnTo>
                      <a:lnTo>
                        <a:pt x="582" y="771"/>
                      </a:lnTo>
                      <a:lnTo>
                        <a:pt x="582" y="769"/>
                      </a:lnTo>
                      <a:lnTo>
                        <a:pt x="584" y="769"/>
                      </a:lnTo>
                      <a:lnTo>
                        <a:pt x="586" y="769"/>
                      </a:lnTo>
                      <a:lnTo>
                        <a:pt x="586" y="771"/>
                      </a:lnTo>
                      <a:lnTo>
                        <a:pt x="587" y="771"/>
                      </a:lnTo>
                      <a:lnTo>
                        <a:pt x="589" y="771"/>
                      </a:lnTo>
                      <a:lnTo>
                        <a:pt x="591" y="771"/>
                      </a:lnTo>
                      <a:lnTo>
                        <a:pt x="593" y="771"/>
                      </a:lnTo>
                      <a:lnTo>
                        <a:pt x="593" y="769"/>
                      </a:lnTo>
                      <a:lnTo>
                        <a:pt x="594" y="769"/>
                      </a:lnTo>
                      <a:lnTo>
                        <a:pt x="594" y="771"/>
                      </a:lnTo>
                      <a:lnTo>
                        <a:pt x="596" y="771"/>
                      </a:lnTo>
                      <a:lnTo>
                        <a:pt x="598" y="772"/>
                      </a:lnTo>
                      <a:lnTo>
                        <a:pt x="599" y="772"/>
                      </a:lnTo>
                      <a:lnTo>
                        <a:pt x="599" y="771"/>
                      </a:lnTo>
                      <a:lnTo>
                        <a:pt x="601" y="772"/>
                      </a:lnTo>
                      <a:lnTo>
                        <a:pt x="601" y="771"/>
                      </a:lnTo>
                      <a:lnTo>
                        <a:pt x="603" y="771"/>
                      </a:lnTo>
                      <a:lnTo>
                        <a:pt x="603" y="769"/>
                      </a:lnTo>
                      <a:lnTo>
                        <a:pt x="603" y="767"/>
                      </a:lnTo>
                      <a:lnTo>
                        <a:pt x="604" y="767"/>
                      </a:lnTo>
                      <a:lnTo>
                        <a:pt x="604" y="766"/>
                      </a:lnTo>
                      <a:lnTo>
                        <a:pt x="604" y="764"/>
                      </a:lnTo>
                      <a:lnTo>
                        <a:pt x="604" y="762"/>
                      </a:lnTo>
                      <a:lnTo>
                        <a:pt x="603" y="762"/>
                      </a:lnTo>
                      <a:lnTo>
                        <a:pt x="603" y="761"/>
                      </a:lnTo>
                      <a:lnTo>
                        <a:pt x="603" y="762"/>
                      </a:lnTo>
                      <a:lnTo>
                        <a:pt x="601" y="762"/>
                      </a:lnTo>
                      <a:lnTo>
                        <a:pt x="598" y="762"/>
                      </a:lnTo>
                      <a:lnTo>
                        <a:pt x="598" y="761"/>
                      </a:lnTo>
                      <a:lnTo>
                        <a:pt x="596" y="761"/>
                      </a:lnTo>
                      <a:lnTo>
                        <a:pt x="596" y="759"/>
                      </a:lnTo>
                      <a:lnTo>
                        <a:pt x="598" y="759"/>
                      </a:lnTo>
                      <a:lnTo>
                        <a:pt x="598" y="758"/>
                      </a:lnTo>
                      <a:lnTo>
                        <a:pt x="599" y="756"/>
                      </a:lnTo>
                      <a:lnTo>
                        <a:pt x="599" y="754"/>
                      </a:lnTo>
                      <a:lnTo>
                        <a:pt x="599" y="753"/>
                      </a:lnTo>
                      <a:lnTo>
                        <a:pt x="599" y="751"/>
                      </a:lnTo>
                      <a:lnTo>
                        <a:pt x="599" y="749"/>
                      </a:lnTo>
                      <a:lnTo>
                        <a:pt x="601" y="748"/>
                      </a:lnTo>
                      <a:lnTo>
                        <a:pt x="601" y="746"/>
                      </a:lnTo>
                      <a:lnTo>
                        <a:pt x="601" y="744"/>
                      </a:lnTo>
                      <a:lnTo>
                        <a:pt x="601" y="743"/>
                      </a:lnTo>
                      <a:lnTo>
                        <a:pt x="603" y="741"/>
                      </a:lnTo>
                      <a:lnTo>
                        <a:pt x="604" y="741"/>
                      </a:lnTo>
                      <a:lnTo>
                        <a:pt x="606" y="741"/>
                      </a:lnTo>
                      <a:lnTo>
                        <a:pt x="606" y="739"/>
                      </a:lnTo>
                      <a:lnTo>
                        <a:pt x="608" y="741"/>
                      </a:lnTo>
                      <a:lnTo>
                        <a:pt x="609" y="741"/>
                      </a:lnTo>
                      <a:lnTo>
                        <a:pt x="611" y="741"/>
                      </a:lnTo>
                      <a:lnTo>
                        <a:pt x="611" y="743"/>
                      </a:lnTo>
                      <a:lnTo>
                        <a:pt x="613" y="743"/>
                      </a:lnTo>
                      <a:lnTo>
                        <a:pt x="613" y="741"/>
                      </a:lnTo>
                      <a:lnTo>
                        <a:pt x="615" y="741"/>
                      </a:lnTo>
                      <a:lnTo>
                        <a:pt x="615" y="739"/>
                      </a:lnTo>
                      <a:lnTo>
                        <a:pt x="613" y="739"/>
                      </a:lnTo>
                      <a:lnTo>
                        <a:pt x="613" y="738"/>
                      </a:lnTo>
                      <a:lnTo>
                        <a:pt x="611" y="738"/>
                      </a:lnTo>
                      <a:lnTo>
                        <a:pt x="613" y="738"/>
                      </a:lnTo>
                      <a:lnTo>
                        <a:pt x="613" y="736"/>
                      </a:lnTo>
                      <a:lnTo>
                        <a:pt x="615" y="735"/>
                      </a:lnTo>
                      <a:lnTo>
                        <a:pt x="616" y="733"/>
                      </a:lnTo>
                      <a:lnTo>
                        <a:pt x="616" y="731"/>
                      </a:lnTo>
                      <a:lnTo>
                        <a:pt x="618" y="731"/>
                      </a:lnTo>
                      <a:lnTo>
                        <a:pt x="618" y="730"/>
                      </a:lnTo>
                      <a:lnTo>
                        <a:pt x="618" y="728"/>
                      </a:lnTo>
                      <a:lnTo>
                        <a:pt x="620" y="728"/>
                      </a:lnTo>
                      <a:lnTo>
                        <a:pt x="620" y="726"/>
                      </a:lnTo>
                      <a:lnTo>
                        <a:pt x="620" y="728"/>
                      </a:lnTo>
                      <a:lnTo>
                        <a:pt x="620" y="730"/>
                      </a:lnTo>
                      <a:lnTo>
                        <a:pt x="621" y="731"/>
                      </a:lnTo>
                      <a:lnTo>
                        <a:pt x="623" y="731"/>
                      </a:lnTo>
                      <a:lnTo>
                        <a:pt x="623" y="730"/>
                      </a:lnTo>
                      <a:lnTo>
                        <a:pt x="623" y="728"/>
                      </a:lnTo>
                      <a:lnTo>
                        <a:pt x="625" y="726"/>
                      </a:lnTo>
                      <a:lnTo>
                        <a:pt x="625" y="725"/>
                      </a:lnTo>
                      <a:lnTo>
                        <a:pt x="626" y="721"/>
                      </a:lnTo>
                      <a:lnTo>
                        <a:pt x="626" y="720"/>
                      </a:lnTo>
                      <a:lnTo>
                        <a:pt x="628" y="720"/>
                      </a:lnTo>
                      <a:lnTo>
                        <a:pt x="630" y="718"/>
                      </a:lnTo>
                      <a:lnTo>
                        <a:pt x="628" y="718"/>
                      </a:lnTo>
                      <a:lnTo>
                        <a:pt x="630" y="718"/>
                      </a:lnTo>
                      <a:lnTo>
                        <a:pt x="630" y="716"/>
                      </a:lnTo>
                      <a:lnTo>
                        <a:pt x="630" y="718"/>
                      </a:lnTo>
                      <a:lnTo>
                        <a:pt x="631" y="718"/>
                      </a:lnTo>
                      <a:lnTo>
                        <a:pt x="633" y="718"/>
                      </a:lnTo>
                      <a:lnTo>
                        <a:pt x="633" y="716"/>
                      </a:lnTo>
                      <a:lnTo>
                        <a:pt x="633" y="715"/>
                      </a:lnTo>
                      <a:lnTo>
                        <a:pt x="635" y="715"/>
                      </a:lnTo>
                      <a:lnTo>
                        <a:pt x="636" y="715"/>
                      </a:lnTo>
                      <a:lnTo>
                        <a:pt x="636" y="713"/>
                      </a:lnTo>
                      <a:lnTo>
                        <a:pt x="635" y="712"/>
                      </a:lnTo>
                      <a:lnTo>
                        <a:pt x="635" y="710"/>
                      </a:lnTo>
                      <a:lnTo>
                        <a:pt x="636" y="708"/>
                      </a:lnTo>
                      <a:lnTo>
                        <a:pt x="638" y="708"/>
                      </a:lnTo>
                      <a:lnTo>
                        <a:pt x="638" y="707"/>
                      </a:lnTo>
                      <a:lnTo>
                        <a:pt x="640" y="707"/>
                      </a:lnTo>
                      <a:lnTo>
                        <a:pt x="640" y="705"/>
                      </a:lnTo>
                      <a:lnTo>
                        <a:pt x="640" y="703"/>
                      </a:lnTo>
                      <a:lnTo>
                        <a:pt x="640" y="702"/>
                      </a:lnTo>
                      <a:lnTo>
                        <a:pt x="638" y="702"/>
                      </a:lnTo>
                      <a:lnTo>
                        <a:pt x="640" y="702"/>
                      </a:lnTo>
                      <a:lnTo>
                        <a:pt x="642" y="700"/>
                      </a:lnTo>
                      <a:lnTo>
                        <a:pt x="642" y="698"/>
                      </a:lnTo>
                      <a:lnTo>
                        <a:pt x="642" y="697"/>
                      </a:lnTo>
                      <a:lnTo>
                        <a:pt x="640" y="697"/>
                      </a:lnTo>
                      <a:lnTo>
                        <a:pt x="640" y="695"/>
                      </a:lnTo>
                      <a:lnTo>
                        <a:pt x="638" y="693"/>
                      </a:lnTo>
                      <a:lnTo>
                        <a:pt x="636" y="692"/>
                      </a:lnTo>
                      <a:lnTo>
                        <a:pt x="636" y="690"/>
                      </a:lnTo>
                      <a:lnTo>
                        <a:pt x="635" y="690"/>
                      </a:lnTo>
                      <a:lnTo>
                        <a:pt x="636" y="689"/>
                      </a:lnTo>
                      <a:lnTo>
                        <a:pt x="635" y="689"/>
                      </a:lnTo>
                      <a:lnTo>
                        <a:pt x="633" y="687"/>
                      </a:lnTo>
                      <a:lnTo>
                        <a:pt x="631" y="689"/>
                      </a:lnTo>
                      <a:lnTo>
                        <a:pt x="630" y="689"/>
                      </a:lnTo>
                      <a:lnTo>
                        <a:pt x="628" y="689"/>
                      </a:lnTo>
                      <a:lnTo>
                        <a:pt x="628" y="687"/>
                      </a:lnTo>
                      <a:lnTo>
                        <a:pt x="626" y="687"/>
                      </a:lnTo>
                      <a:lnTo>
                        <a:pt x="625" y="687"/>
                      </a:lnTo>
                      <a:lnTo>
                        <a:pt x="626" y="685"/>
                      </a:lnTo>
                      <a:lnTo>
                        <a:pt x="625" y="685"/>
                      </a:lnTo>
                      <a:lnTo>
                        <a:pt x="623" y="685"/>
                      </a:lnTo>
                      <a:lnTo>
                        <a:pt x="623" y="684"/>
                      </a:lnTo>
                      <a:lnTo>
                        <a:pt x="621" y="684"/>
                      </a:lnTo>
                      <a:lnTo>
                        <a:pt x="623" y="682"/>
                      </a:lnTo>
                      <a:lnTo>
                        <a:pt x="621" y="682"/>
                      </a:lnTo>
                      <a:lnTo>
                        <a:pt x="621" y="684"/>
                      </a:lnTo>
                      <a:lnTo>
                        <a:pt x="621" y="682"/>
                      </a:lnTo>
                      <a:lnTo>
                        <a:pt x="623" y="682"/>
                      </a:lnTo>
                      <a:lnTo>
                        <a:pt x="621" y="682"/>
                      </a:lnTo>
                      <a:lnTo>
                        <a:pt x="621" y="680"/>
                      </a:lnTo>
                      <a:lnTo>
                        <a:pt x="623" y="680"/>
                      </a:lnTo>
                      <a:lnTo>
                        <a:pt x="621" y="680"/>
                      </a:lnTo>
                      <a:lnTo>
                        <a:pt x="621" y="682"/>
                      </a:lnTo>
                      <a:lnTo>
                        <a:pt x="621" y="680"/>
                      </a:lnTo>
                      <a:lnTo>
                        <a:pt x="620" y="680"/>
                      </a:lnTo>
                      <a:lnTo>
                        <a:pt x="621" y="680"/>
                      </a:lnTo>
                      <a:lnTo>
                        <a:pt x="621" y="679"/>
                      </a:lnTo>
                      <a:lnTo>
                        <a:pt x="620" y="679"/>
                      </a:lnTo>
                      <a:lnTo>
                        <a:pt x="620" y="680"/>
                      </a:lnTo>
                      <a:lnTo>
                        <a:pt x="618" y="680"/>
                      </a:lnTo>
                      <a:lnTo>
                        <a:pt x="618" y="679"/>
                      </a:lnTo>
                      <a:lnTo>
                        <a:pt x="616" y="679"/>
                      </a:lnTo>
                      <a:lnTo>
                        <a:pt x="616" y="680"/>
                      </a:lnTo>
                      <a:lnTo>
                        <a:pt x="615" y="679"/>
                      </a:lnTo>
                      <a:lnTo>
                        <a:pt x="615" y="680"/>
                      </a:lnTo>
                      <a:lnTo>
                        <a:pt x="615" y="679"/>
                      </a:lnTo>
                      <a:lnTo>
                        <a:pt x="613" y="679"/>
                      </a:lnTo>
                      <a:lnTo>
                        <a:pt x="613" y="680"/>
                      </a:lnTo>
                      <a:lnTo>
                        <a:pt x="613" y="679"/>
                      </a:lnTo>
                      <a:lnTo>
                        <a:pt x="613" y="680"/>
                      </a:lnTo>
                      <a:lnTo>
                        <a:pt x="611" y="679"/>
                      </a:lnTo>
                      <a:lnTo>
                        <a:pt x="613" y="679"/>
                      </a:lnTo>
                      <a:lnTo>
                        <a:pt x="613" y="677"/>
                      </a:lnTo>
                      <a:lnTo>
                        <a:pt x="613" y="675"/>
                      </a:lnTo>
                      <a:lnTo>
                        <a:pt x="613" y="677"/>
                      </a:lnTo>
                      <a:lnTo>
                        <a:pt x="611" y="677"/>
                      </a:lnTo>
                      <a:lnTo>
                        <a:pt x="611" y="675"/>
                      </a:lnTo>
                      <a:lnTo>
                        <a:pt x="609" y="675"/>
                      </a:lnTo>
                      <a:lnTo>
                        <a:pt x="609" y="674"/>
                      </a:lnTo>
                      <a:lnTo>
                        <a:pt x="608" y="674"/>
                      </a:lnTo>
                      <a:lnTo>
                        <a:pt x="608" y="672"/>
                      </a:lnTo>
                      <a:lnTo>
                        <a:pt x="606" y="672"/>
                      </a:lnTo>
                      <a:lnTo>
                        <a:pt x="606" y="670"/>
                      </a:lnTo>
                      <a:lnTo>
                        <a:pt x="604" y="670"/>
                      </a:lnTo>
                      <a:lnTo>
                        <a:pt x="603" y="670"/>
                      </a:lnTo>
                      <a:lnTo>
                        <a:pt x="603" y="672"/>
                      </a:lnTo>
                      <a:lnTo>
                        <a:pt x="603" y="670"/>
                      </a:lnTo>
                      <a:lnTo>
                        <a:pt x="601" y="670"/>
                      </a:lnTo>
                      <a:lnTo>
                        <a:pt x="601" y="672"/>
                      </a:lnTo>
                      <a:lnTo>
                        <a:pt x="599" y="672"/>
                      </a:lnTo>
                      <a:lnTo>
                        <a:pt x="599" y="670"/>
                      </a:lnTo>
                      <a:lnTo>
                        <a:pt x="599" y="672"/>
                      </a:lnTo>
                      <a:lnTo>
                        <a:pt x="598" y="672"/>
                      </a:lnTo>
                      <a:lnTo>
                        <a:pt x="596" y="672"/>
                      </a:lnTo>
                      <a:lnTo>
                        <a:pt x="594" y="672"/>
                      </a:lnTo>
                      <a:lnTo>
                        <a:pt x="594" y="670"/>
                      </a:lnTo>
                      <a:lnTo>
                        <a:pt x="594" y="672"/>
                      </a:lnTo>
                      <a:lnTo>
                        <a:pt x="594" y="670"/>
                      </a:lnTo>
                      <a:lnTo>
                        <a:pt x="593" y="670"/>
                      </a:lnTo>
                      <a:lnTo>
                        <a:pt x="593" y="672"/>
                      </a:lnTo>
                      <a:lnTo>
                        <a:pt x="593" y="670"/>
                      </a:lnTo>
                      <a:lnTo>
                        <a:pt x="593" y="672"/>
                      </a:lnTo>
                      <a:lnTo>
                        <a:pt x="591" y="672"/>
                      </a:lnTo>
                      <a:lnTo>
                        <a:pt x="591" y="670"/>
                      </a:lnTo>
                      <a:lnTo>
                        <a:pt x="591" y="672"/>
                      </a:lnTo>
                      <a:lnTo>
                        <a:pt x="589" y="670"/>
                      </a:lnTo>
                      <a:lnTo>
                        <a:pt x="587" y="670"/>
                      </a:lnTo>
                      <a:lnTo>
                        <a:pt x="587" y="669"/>
                      </a:lnTo>
                      <a:lnTo>
                        <a:pt x="587" y="667"/>
                      </a:lnTo>
                      <a:lnTo>
                        <a:pt x="586" y="667"/>
                      </a:lnTo>
                      <a:lnTo>
                        <a:pt x="586" y="666"/>
                      </a:lnTo>
                      <a:lnTo>
                        <a:pt x="584" y="666"/>
                      </a:lnTo>
                      <a:lnTo>
                        <a:pt x="584" y="667"/>
                      </a:lnTo>
                      <a:lnTo>
                        <a:pt x="582" y="667"/>
                      </a:lnTo>
                      <a:lnTo>
                        <a:pt x="581" y="667"/>
                      </a:lnTo>
                      <a:lnTo>
                        <a:pt x="579" y="667"/>
                      </a:lnTo>
                      <a:lnTo>
                        <a:pt x="579" y="669"/>
                      </a:lnTo>
                      <a:lnTo>
                        <a:pt x="577" y="669"/>
                      </a:lnTo>
                      <a:lnTo>
                        <a:pt x="576" y="670"/>
                      </a:lnTo>
                      <a:lnTo>
                        <a:pt x="574" y="669"/>
                      </a:lnTo>
                      <a:lnTo>
                        <a:pt x="574" y="667"/>
                      </a:lnTo>
                      <a:lnTo>
                        <a:pt x="572" y="667"/>
                      </a:lnTo>
                      <a:lnTo>
                        <a:pt x="572" y="666"/>
                      </a:lnTo>
                      <a:lnTo>
                        <a:pt x="571" y="666"/>
                      </a:lnTo>
                      <a:lnTo>
                        <a:pt x="572" y="666"/>
                      </a:lnTo>
                      <a:lnTo>
                        <a:pt x="572" y="664"/>
                      </a:lnTo>
                      <a:lnTo>
                        <a:pt x="571" y="664"/>
                      </a:lnTo>
                      <a:lnTo>
                        <a:pt x="569" y="662"/>
                      </a:lnTo>
                      <a:lnTo>
                        <a:pt x="567" y="664"/>
                      </a:lnTo>
                      <a:lnTo>
                        <a:pt x="567" y="662"/>
                      </a:lnTo>
                      <a:lnTo>
                        <a:pt x="566" y="662"/>
                      </a:lnTo>
                      <a:lnTo>
                        <a:pt x="566" y="661"/>
                      </a:lnTo>
                      <a:lnTo>
                        <a:pt x="564" y="661"/>
                      </a:lnTo>
                      <a:lnTo>
                        <a:pt x="564" y="659"/>
                      </a:lnTo>
                      <a:lnTo>
                        <a:pt x="562" y="659"/>
                      </a:lnTo>
                      <a:lnTo>
                        <a:pt x="562" y="657"/>
                      </a:lnTo>
                      <a:lnTo>
                        <a:pt x="560" y="657"/>
                      </a:lnTo>
                      <a:lnTo>
                        <a:pt x="560" y="659"/>
                      </a:lnTo>
                      <a:lnTo>
                        <a:pt x="559" y="659"/>
                      </a:lnTo>
                      <a:lnTo>
                        <a:pt x="557" y="659"/>
                      </a:lnTo>
                      <a:lnTo>
                        <a:pt x="559" y="659"/>
                      </a:lnTo>
                      <a:lnTo>
                        <a:pt x="559" y="661"/>
                      </a:lnTo>
                      <a:lnTo>
                        <a:pt x="557" y="661"/>
                      </a:lnTo>
                      <a:lnTo>
                        <a:pt x="557" y="662"/>
                      </a:lnTo>
                      <a:lnTo>
                        <a:pt x="555" y="662"/>
                      </a:lnTo>
                      <a:lnTo>
                        <a:pt x="555" y="661"/>
                      </a:lnTo>
                      <a:lnTo>
                        <a:pt x="554" y="661"/>
                      </a:lnTo>
                      <a:lnTo>
                        <a:pt x="554" y="659"/>
                      </a:lnTo>
                      <a:lnTo>
                        <a:pt x="554" y="657"/>
                      </a:lnTo>
                      <a:lnTo>
                        <a:pt x="552" y="657"/>
                      </a:lnTo>
                      <a:lnTo>
                        <a:pt x="552" y="656"/>
                      </a:lnTo>
                      <a:lnTo>
                        <a:pt x="550" y="656"/>
                      </a:lnTo>
                      <a:lnTo>
                        <a:pt x="550" y="657"/>
                      </a:lnTo>
                      <a:lnTo>
                        <a:pt x="549" y="657"/>
                      </a:lnTo>
                      <a:lnTo>
                        <a:pt x="549" y="659"/>
                      </a:lnTo>
                      <a:lnTo>
                        <a:pt x="547" y="659"/>
                      </a:lnTo>
                      <a:lnTo>
                        <a:pt x="545" y="661"/>
                      </a:lnTo>
                      <a:lnTo>
                        <a:pt x="544" y="659"/>
                      </a:lnTo>
                      <a:lnTo>
                        <a:pt x="544" y="661"/>
                      </a:lnTo>
                      <a:lnTo>
                        <a:pt x="544" y="659"/>
                      </a:lnTo>
                      <a:lnTo>
                        <a:pt x="542" y="659"/>
                      </a:lnTo>
                      <a:lnTo>
                        <a:pt x="542" y="657"/>
                      </a:lnTo>
                      <a:lnTo>
                        <a:pt x="540" y="657"/>
                      </a:lnTo>
                      <a:lnTo>
                        <a:pt x="539" y="657"/>
                      </a:lnTo>
                      <a:lnTo>
                        <a:pt x="537" y="656"/>
                      </a:lnTo>
                      <a:lnTo>
                        <a:pt x="537" y="657"/>
                      </a:lnTo>
                      <a:lnTo>
                        <a:pt x="535" y="657"/>
                      </a:lnTo>
                      <a:lnTo>
                        <a:pt x="535" y="659"/>
                      </a:lnTo>
                      <a:lnTo>
                        <a:pt x="535" y="661"/>
                      </a:lnTo>
                      <a:lnTo>
                        <a:pt x="533" y="661"/>
                      </a:lnTo>
                      <a:lnTo>
                        <a:pt x="533" y="662"/>
                      </a:lnTo>
                      <a:lnTo>
                        <a:pt x="532" y="662"/>
                      </a:lnTo>
                      <a:lnTo>
                        <a:pt x="530" y="662"/>
                      </a:lnTo>
                      <a:lnTo>
                        <a:pt x="528" y="662"/>
                      </a:lnTo>
                      <a:lnTo>
                        <a:pt x="527" y="662"/>
                      </a:lnTo>
                      <a:lnTo>
                        <a:pt x="525" y="664"/>
                      </a:lnTo>
                      <a:lnTo>
                        <a:pt x="523" y="664"/>
                      </a:lnTo>
                      <a:lnTo>
                        <a:pt x="522" y="664"/>
                      </a:lnTo>
                      <a:lnTo>
                        <a:pt x="522" y="666"/>
                      </a:lnTo>
                      <a:lnTo>
                        <a:pt x="520" y="667"/>
                      </a:lnTo>
                      <a:lnTo>
                        <a:pt x="518" y="666"/>
                      </a:lnTo>
                      <a:lnTo>
                        <a:pt x="515" y="666"/>
                      </a:lnTo>
                      <a:lnTo>
                        <a:pt x="513" y="664"/>
                      </a:lnTo>
                      <a:lnTo>
                        <a:pt x="511" y="664"/>
                      </a:lnTo>
                      <a:lnTo>
                        <a:pt x="510" y="664"/>
                      </a:lnTo>
                      <a:lnTo>
                        <a:pt x="510" y="666"/>
                      </a:lnTo>
                      <a:lnTo>
                        <a:pt x="508" y="666"/>
                      </a:lnTo>
                      <a:lnTo>
                        <a:pt x="508" y="664"/>
                      </a:lnTo>
                      <a:lnTo>
                        <a:pt x="506" y="664"/>
                      </a:lnTo>
                      <a:lnTo>
                        <a:pt x="505" y="664"/>
                      </a:lnTo>
                      <a:lnTo>
                        <a:pt x="503" y="664"/>
                      </a:lnTo>
                      <a:lnTo>
                        <a:pt x="500" y="643"/>
                      </a:lnTo>
                      <a:lnTo>
                        <a:pt x="500" y="641"/>
                      </a:lnTo>
                      <a:lnTo>
                        <a:pt x="498" y="641"/>
                      </a:lnTo>
                      <a:lnTo>
                        <a:pt x="491" y="636"/>
                      </a:lnTo>
                      <a:lnTo>
                        <a:pt x="490" y="633"/>
                      </a:lnTo>
                      <a:lnTo>
                        <a:pt x="486" y="631"/>
                      </a:lnTo>
                      <a:lnTo>
                        <a:pt x="457" y="605"/>
                      </a:lnTo>
                      <a:lnTo>
                        <a:pt x="456" y="606"/>
                      </a:lnTo>
                      <a:lnTo>
                        <a:pt x="454" y="606"/>
                      </a:lnTo>
                      <a:lnTo>
                        <a:pt x="452" y="606"/>
                      </a:lnTo>
                      <a:lnTo>
                        <a:pt x="451" y="606"/>
                      </a:lnTo>
                      <a:lnTo>
                        <a:pt x="451" y="608"/>
                      </a:lnTo>
                      <a:lnTo>
                        <a:pt x="451" y="610"/>
                      </a:lnTo>
                      <a:lnTo>
                        <a:pt x="449" y="610"/>
                      </a:lnTo>
                      <a:lnTo>
                        <a:pt x="447" y="610"/>
                      </a:lnTo>
                      <a:lnTo>
                        <a:pt x="447" y="611"/>
                      </a:lnTo>
                      <a:lnTo>
                        <a:pt x="446" y="611"/>
                      </a:lnTo>
                      <a:lnTo>
                        <a:pt x="444" y="611"/>
                      </a:lnTo>
                      <a:lnTo>
                        <a:pt x="444" y="613"/>
                      </a:lnTo>
                      <a:lnTo>
                        <a:pt x="442" y="611"/>
                      </a:lnTo>
                      <a:lnTo>
                        <a:pt x="441" y="611"/>
                      </a:lnTo>
                      <a:lnTo>
                        <a:pt x="439" y="611"/>
                      </a:lnTo>
                      <a:lnTo>
                        <a:pt x="437" y="611"/>
                      </a:lnTo>
                      <a:lnTo>
                        <a:pt x="435" y="611"/>
                      </a:lnTo>
                      <a:lnTo>
                        <a:pt x="432" y="611"/>
                      </a:lnTo>
                      <a:lnTo>
                        <a:pt x="432" y="613"/>
                      </a:lnTo>
                      <a:lnTo>
                        <a:pt x="430" y="613"/>
                      </a:lnTo>
                      <a:lnTo>
                        <a:pt x="429" y="611"/>
                      </a:lnTo>
                      <a:lnTo>
                        <a:pt x="429" y="610"/>
                      </a:lnTo>
                      <a:lnTo>
                        <a:pt x="427" y="610"/>
                      </a:lnTo>
                      <a:lnTo>
                        <a:pt x="427" y="608"/>
                      </a:lnTo>
                      <a:lnTo>
                        <a:pt x="425" y="608"/>
                      </a:lnTo>
                      <a:lnTo>
                        <a:pt x="425" y="606"/>
                      </a:lnTo>
                      <a:lnTo>
                        <a:pt x="424" y="606"/>
                      </a:lnTo>
                      <a:lnTo>
                        <a:pt x="424" y="605"/>
                      </a:lnTo>
                      <a:lnTo>
                        <a:pt x="422" y="605"/>
                      </a:lnTo>
                      <a:lnTo>
                        <a:pt x="420" y="605"/>
                      </a:lnTo>
                      <a:lnTo>
                        <a:pt x="419" y="606"/>
                      </a:lnTo>
                      <a:lnTo>
                        <a:pt x="417" y="605"/>
                      </a:lnTo>
                      <a:lnTo>
                        <a:pt x="417" y="606"/>
                      </a:lnTo>
                      <a:lnTo>
                        <a:pt x="415" y="606"/>
                      </a:lnTo>
                      <a:lnTo>
                        <a:pt x="414" y="608"/>
                      </a:lnTo>
                      <a:lnTo>
                        <a:pt x="414" y="606"/>
                      </a:lnTo>
                      <a:lnTo>
                        <a:pt x="412" y="606"/>
                      </a:lnTo>
                      <a:lnTo>
                        <a:pt x="410" y="605"/>
                      </a:lnTo>
                      <a:lnTo>
                        <a:pt x="408" y="605"/>
                      </a:lnTo>
                      <a:lnTo>
                        <a:pt x="407" y="603"/>
                      </a:lnTo>
                      <a:lnTo>
                        <a:pt x="405" y="605"/>
                      </a:lnTo>
                      <a:lnTo>
                        <a:pt x="403" y="603"/>
                      </a:lnTo>
                      <a:lnTo>
                        <a:pt x="402" y="603"/>
                      </a:lnTo>
                      <a:lnTo>
                        <a:pt x="400" y="603"/>
                      </a:lnTo>
                      <a:lnTo>
                        <a:pt x="398" y="601"/>
                      </a:lnTo>
                      <a:lnTo>
                        <a:pt x="397" y="601"/>
                      </a:lnTo>
                      <a:lnTo>
                        <a:pt x="397" y="600"/>
                      </a:lnTo>
                      <a:lnTo>
                        <a:pt x="397" y="598"/>
                      </a:lnTo>
                      <a:lnTo>
                        <a:pt x="395" y="598"/>
                      </a:lnTo>
                      <a:lnTo>
                        <a:pt x="393" y="598"/>
                      </a:lnTo>
                      <a:lnTo>
                        <a:pt x="393" y="597"/>
                      </a:lnTo>
                      <a:lnTo>
                        <a:pt x="392" y="597"/>
                      </a:lnTo>
                      <a:lnTo>
                        <a:pt x="392" y="595"/>
                      </a:lnTo>
                      <a:lnTo>
                        <a:pt x="390" y="595"/>
                      </a:lnTo>
                      <a:lnTo>
                        <a:pt x="388" y="593"/>
                      </a:lnTo>
                      <a:lnTo>
                        <a:pt x="387" y="593"/>
                      </a:lnTo>
                      <a:lnTo>
                        <a:pt x="387" y="592"/>
                      </a:lnTo>
                      <a:lnTo>
                        <a:pt x="385" y="593"/>
                      </a:lnTo>
                      <a:lnTo>
                        <a:pt x="385" y="592"/>
                      </a:lnTo>
                      <a:lnTo>
                        <a:pt x="385" y="590"/>
                      </a:lnTo>
                      <a:lnTo>
                        <a:pt x="383" y="590"/>
                      </a:lnTo>
                      <a:lnTo>
                        <a:pt x="381" y="588"/>
                      </a:lnTo>
                      <a:lnTo>
                        <a:pt x="381" y="590"/>
                      </a:lnTo>
                      <a:lnTo>
                        <a:pt x="380" y="590"/>
                      </a:lnTo>
                      <a:lnTo>
                        <a:pt x="380" y="592"/>
                      </a:lnTo>
                      <a:lnTo>
                        <a:pt x="380" y="590"/>
                      </a:lnTo>
                      <a:lnTo>
                        <a:pt x="378" y="590"/>
                      </a:lnTo>
                      <a:lnTo>
                        <a:pt x="376" y="588"/>
                      </a:lnTo>
                      <a:lnTo>
                        <a:pt x="375" y="588"/>
                      </a:lnTo>
                      <a:lnTo>
                        <a:pt x="375" y="587"/>
                      </a:lnTo>
                      <a:lnTo>
                        <a:pt x="373" y="587"/>
                      </a:lnTo>
                      <a:lnTo>
                        <a:pt x="373" y="585"/>
                      </a:lnTo>
                      <a:lnTo>
                        <a:pt x="371" y="585"/>
                      </a:lnTo>
                      <a:lnTo>
                        <a:pt x="370" y="585"/>
                      </a:lnTo>
                      <a:lnTo>
                        <a:pt x="368" y="583"/>
                      </a:lnTo>
                      <a:lnTo>
                        <a:pt x="368" y="582"/>
                      </a:lnTo>
                      <a:lnTo>
                        <a:pt x="366" y="582"/>
                      </a:lnTo>
                      <a:lnTo>
                        <a:pt x="365" y="582"/>
                      </a:lnTo>
                      <a:lnTo>
                        <a:pt x="363" y="580"/>
                      </a:lnTo>
                      <a:lnTo>
                        <a:pt x="361" y="580"/>
                      </a:lnTo>
                      <a:lnTo>
                        <a:pt x="361" y="579"/>
                      </a:lnTo>
                      <a:lnTo>
                        <a:pt x="359" y="579"/>
                      </a:lnTo>
                      <a:lnTo>
                        <a:pt x="359" y="577"/>
                      </a:lnTo>
                      <a:lnTo>
                        <a:pt x="358" y="577"/>
                      </a:lnTo>
                      <a:lnTo>
                        <a:pt x="358" y="575"/>
                      </a:lnTo>
                      <a:lnTo>
                        <a:pt x="356" y="575"/>
                      </a:lnTo>
                      <a:lnTo>
                        <a:pt x="356" y="574"/>
                      </a:lnTo>
                      <a:lnTo>
                        <a:pt x="356" y="575"/>
                      </a:lnTo>
                      <a:lnTo>
                        <a:pt x="354" y="575"/>
                      </a:lnTo>
                      <a:lnTo>
                        <a:pt x="354" y="574"/>
                      </a:lnTo>
                      <a:lnTo>
                        <a:pt x="353" y="574"/>
                      </a:lnTo>
                      <a:lnTo>
                        <a:pt x="353" y="572"/>
                      </a:lnTo>
                      <a:lnTo>
                        <a:pt x="353" y="574"/>
                      </a:lnTo>
                      <a:lnTo>
                        <a:pt x="351" y="574"/>
                      </a:lnTo>
                      <a:lnTo>
                        <a:pt x="351" y="572"/>
                      </a:lnTo>
                      <a:lnTo>
                        <a:pt x="351" y="570"/>
                      </a:lnTo>
                      <a:lnTo>
                        <a:pt x="349" y="570"/>
                      </a:lnTo>
                      <a:lnTo>
                        <a:pt x="349" y="569"/>
                      </a:lnTo>
                      <a:lnTo>
                        <a:pt x="348" y="569"/>
                      </a:lnTo>
                      <a:lnTo>
                        <a:pt x="346" y="569"/>
                      </a:lnTo>
                      <a:lnTo>
                        <a:pt x="344" y="569"/>
                      </a:lnTo>
                      <a:lnTo>
                        <a:pt x="343" y="569"/>
                      </a:lnTo>
                      <a:lnTo>
                        <a:pt x="341" y="569"/>
                      </a:lnTo>
                      <a:lnTo>
                        <a:pt x="341" y="567"/>
                      </a:lnTo>
                      <a:lnTo>
                        <a:pt x="339" y="567"/>
                      </a:lnTo>
                      <a:lnTo>
                        <a:pt x="338" y="567"/>
                      </a:lnTo>
                      <a:lnTo>
                        <a:pt x="336" y="567"/>
                      </a:lnTo>
                      <a:lnTo>
                        <a:pt x="336" y="569"/>
                      </a:lnTo>
                      <a:lnTo>
                        <a:pt x="336" y="567"/>
                      </a:lnTo>
                      <a:lnTo>
                        <a:pt x="334" y="567"/>
                      </a:lnTo>
                      <a:lnTo>
                        <a:pt x="334" y="565"/>
                      </a:lnTo>
                      <a:lnTo>
                        <a:pt x="334" y="567"/>
                      </a:lnTo>
                      <a:lnTo>
                        <a:pt x="332" y="567"/>
                      </a:lnTo>
                      <a:lnTo>
                        <a:pt x="332" y="565"/>
                      </a:lnTo>
                      <a:lnTo>
                        <a:pt x="331" y="565"/>
                      </a:lnTo>
                      <a:lnTo>
                        <a:pt x="329" y="565"/>
                      </a:lnTo>
                      <a:lnTo>
                        <a:pt x="329" y="564"/>
                      </a:lnTo>
                      <a:lnTo>
                        <a:pt x="327" y="564"/>
                      </a:lnTo>
                      <a:lnTo>
                        <a:pt x="327" y="565"/>
                      </a:lnTo>
                      <a:lnTo>
                        <a:pt x="326" y="565"/>
                      </a:lnTo>
                      <a:lnTo>
                        <a:pt x="326" y="564"/>
                      </a:lnTo>
                      <a:lnTo>
                        <a:pt x="324" y="564"/>
                      </a:lnTo>
                      <a:lnTo>
                        <a:pt x="324" y="565"/>
                      </a:lnTo>
                      <a:lnTo>
                        <a:pt x="324" y="564"/>
                      </a:lnTo>
                      <a:lnTo>
                        <a:pt x="322" y="565"/>
                      </a:lnTo>
                      <a:lnTo>
                        <a:pt x="322" y="564"/>
                      </a:lnTo>
                      <a:lnTo>
                        <a:pt x="321" y="564"/>
                      </a:lnTo>
                      <a:lnTo>
                        <a:pt x="321" y="565"/>
                      </a:lnTo>
                      <a:lnTo>
                        <a:pt x="321" y="564"/>
                      </a:lnTo>
                      <a:lnTo>
                        <a:pt x="321" y="565"/>
                      </a:lnTo>
                      <a:lnTo>
                        <a:pt x="319" y="565"/>
                      </a:lnTo>
                      <a:lnTo>
                        <a:pt x="317" y="565"/>
                      </a:lnTo>
                      <a:lnTo>
                        <a:pt x="317" y="567"/>
                      </a:lnTo>
                      <a:lnTo>
                        <a:pt x="316" y="567"/>
                      </a:lnTo>
                      <a:lnTo>
                        <a:pt x="316" y="565"/>
                      </a:lnTo>
                      <a:lnTo>
                        <a:pt x="314" y="565"/>
                      </a:lnTo>
                      <a:lnTo>
                        <a:pt x="314" y="567"/>
                      </a:lnTo>
                      <a:lnTo>
                        <a:pt x="312" y="567"/>
                      </a:lnTo>
                      <a:lnTo>
                        <a:pt x="311" y="567"/>
                      </a:lnTo>
                      <a:lnTo>
                        <a:pt x="311" y="569"/>
                      </a:lnTo>
                      <a:lnTo>
                        <a:pt x="309" y="569"/>
                      </a:lnTo>
                      <a:lnTo>
                        <a:pt x="307" y="569"/>
                      </a:lnTo>
                      <a:lnTo>
                        <a:pt x="305" y="569"/>
                      </a:lnTo>
                      <a:lnTo>
                        <a:pt x="305" y="570"/>
                      </a:lnTo>
                      <a:lnTo>
                        <a:pt x="304" y="570"/>
                      </a:lnTo>
                      <a:lnTo>
                        <a:pt x="302" y="570"/>
                      </a:lnTo>
                      <a:lnTo>
                        <a:pt x="302" y="572"/>
                      </a:lnTo>
                      <a:lnTo>
                        <a:pt x="300" y="572"/>
                      </a:lnTo>
                      <a:lnTo>
                        <a:pt x="300" y="574"/>
                      </a:lnTo>
                      <a:lnTo>
                        <a:pt x="300" y="575"/>
                      </a:lnTo>
                      <a:lnTo>
                        <a:pt x="299" y="574"/>
                      </a:lnTo>
                      <a:lnTo>
                        <a:pt x="299" y="575"/>
                      </a:lnTo>
                      <a:lnTo>
                        <a:pt x="300" y="575"/>
                      </a:lnTo>
                      <a:lnTo>
                        <a:pt x="300" y="577"/>
                      </a:lnTo>
                      <a:lnTo>
                        <a:pt x="299" y="577"/>
                      </a:lnTo>
                      <a:lnTo>
                        <a:pt x="297" y="577"/>
                      </a:lnTo>
                      <a:lnTo>
                        <a:pt x="295" y="577"/>
                      </a:lnTo>
                      <a:lnTo>
                        <a:pt x="295" y="579"/>
                      </a:lnTo>
                      <a:lnTo>
                        <a:pt x="294" y="579"/>
                      </a:lnTo>
                      <a:lnTo>
                        <a:pt x="294" y="577"/>
                      </a:lnTo>
                      <a:lnTo>
                        <a:pt x="292" y="575"/>
                      </a:lnTo>
                      <a:lnTo>
                        <a:pt x="290" y="575"/>
                      </a:lnTo>
                      <a:lnTo>
                        <a:pt x="289" y="574"/>
                      </a:lnTo>
                      <a:lnTo>
                        <a:pt x="287" y="574"/>
                      </a:lnTo>
                      <a:lnTo>
                        <a:pt x="285" y="574"/>
                      </a:lnTo>
                      <a:lnTo>
                        <a:pt x="283" y="574"/>
                      </a:lnTo>
                      <a:lnTo>
                        <a:pt x="283" y="572"/>
                      </a:lnTo>
                      <a:lnTo>
                        <a:pt x="282" y="572"/>
                      </a:lnTo>
                      <a:lnTo>
                        <a:pt x="280" y="572"/>
                      </a:lnTo>
                      <a:lnTo>
                        <a:pt x="280" y="570"/>
                      </a:lnTo>
                      <a:lnTo>
                        <a:pt x="280" y="572"/>
                      </a:lnTo>
                      <a:lnTo>
                        <a:pt x="278" y="572"/>
                      </a:lnTo>
                      <a:lnTo>
                        <a:pt x="278" y="570"/>
                      </a:lnTo>
                      <a:lnTo>
                        <a:pt x="277" y="570"/>
                      </a:lnTo>
                      <a:lnTo>
                        <a:pt x="277" y="572"/>
                      </a:lnTo>
                      <a:lnTo>
                        <a:pt x="275" y="572"/>
                      </a:lnTo>
                      <a:lnTo>
                        <a:pt x="275" y="570"/>
                      </a:lnTo>
                      <a:lnTo>
                        <a:pt x="277" y="570"/>
                      </a:lnTo>
                      <a:lnTo>
                        <a:pt x="275" y="569"/>
                      </a:lnTo>
                      <a:lnTo>
                        <a:pt x="273" y="569"/>
                      </a:lnTo>
                      <a:lnTo>
                        <a:pt x="272" y="569"/>
                      </a:lnTo>
                      <a:lnTo>
                        <a:pt x="272" y="567"/>
                      </a:lnTo>
                      <a:lnTo>
                        <a:pt x="270" y="567"/>
                      </a:lnTo>
                      <a:lnTo>
                        <a:pt x="268" y="567"/>
                      </a:lnTo>
                      <a:lnTo>
                        <a:pt x="267" y="567"/>
                      </a:lnTo>
                      <a:lnTo>
                        <a:pt x="265" y="567"/>
                      </a:lnTo>
                      <a:lnTo>
                        <a:pt x="265" y="565"/>
                      </a:lnTo>
                      <a:lnTo>
                        <a:pt x="263" y="565"/>
                      </a:lnTo>
                      <a:lnTo>
                        <a:pt x="262" y="565"/>
                      </a:lnTo>
                      <a:lnTo>
                        <a:pt x="262" y="564"/>
                      </a:lnTo>
                      <a:lnTo>
                        <a:pt x="260" y="564"/>
                      </a:lnTo>
                      <a:lnTo>
                        <a:pt x="262" y="564"/>
                      </a:lnTo>
                      <a:lnTo>
                        <a:pt x="262" y="562"/>
                      </a:lnTo>
                      <a:lnTo>
                        <a:pt x="260" y="562"/>
                      </a:lnTo>
                      <a:lnTo>
                        <a:pt x="262" y="562"/>
                      </a:lnTo>
                      <a:lnTo>
                        <a:pt x="260" y="562"/>
                      </a:lnTo>
                      <a:lnTo>
                        <a:pt x="262" y="560"/>
                      </a:lnTo>
                      <a:lnTo>
                        <a:pt x="262" y="562"/>
                      </a:lnTo>
                      <a:lnTo>
                        <a:pt x="262" y="560"/>
                      </a:lnTo>
                      <a:lnTo>
                        <a:pt x="262" y="559"/>
                      </a:lnTo>
                      <a:lnTo>
                        <a:pt x="260" y="559"/>
                      </a:lnTo>
                      <a:lnTo>
                        <a:pt x="260" y="557"/>
                      </a:lnTo>
                      <a:lnTo>
                        <a:pt x="262" y="556"/>
                      </a:lnTo>
                      <a:lnTo>
                        <a:pt x="260" y="556"/>
                      </a:lnTo>
                      <a:lnTo>
                        <a:pt x="262" y="554"/>
                      </a:lnTo>
                      <a:lnTo>
                        <a:pt x="262" y="552"/>
                      </a:lnTo>
                      <a:lnTo>
                        <a:pt x="262" y="551"/>
                      </a:lnTo>
                      <a:lnTo>
                        <a:pt x="263" y="549"/>
                      </a:lnTo>
                      <a:lnTo>
                        <a:pt x="265" y="544"/>
                      </a:lnTo>
                      <a:lnTo>
                        <a:pt x="267" y="539"/>
                      </a:lnTo>
                      <a:lnTo>
                        <a:pt x="268" y="537"/>
                      </a:lnTo>
                      <a:lnTo>
                        <a:pt x="268" y="536"/>
                      </a:lnTo>
                      <a:lnTo>
                        <a:pt x="270" y="536"/>
                      </a:lnTo>
                      <a:lnTo>
                        <a:pt x="270" y="534"/>
                      </a:lnTo>
                      <a:lnTo>
                        <a:pt x="268" y="534"/>
                      </a:lnTo>
                      <a:lnTo>
                        <a:pt x="268" y="536"/>
                      </a:lnTo>
                      <a:lnTo>
                        <a:pt x="268" y="534"/>
                      </a:lnTo>
                      <a:lnTo>
                        <a:pt x="267" y="534"/>
                      </a:lnTo>
                      <a:lnTo>
                        <a:pt x="267" y="533"/>
                      </a:lnTo>
                      <a:lnTo>
                        <a:pt x="265" y="533"/>
                      </a:lnTo>
                      <a:lnTo>
                        <a:pt x="263" y="533"/>
                      </a:lnTo>
                      <a:lnTo>
                        <a:pt x="263" y="534"/>
                      </a:lnTo>
                      <a:lnTo>
                        <a:pt x="263" y="533"/>
                      </a:lnTo>
                      <a:lnTo>
                        <a:pt x="262" y="533"/>
                      </a:lnTo>
                      <a:lnTo>
                        <a:pt x="260" y="533"/>
                      </a:lnTo>
                      <a:lnTo>
                        <a:pt x="260" y="531"/>
                      </a:lnTo>
                      <a:lnTo>
                        <a:pt x="258" y="531"/>
                      </a:lnTo>
                      <a:lnTo>
                        <a:pt x="258" y="533"/>
                      </a:lnTo>
                      <a:lnTo>
                        <a:pt x="256" y="533"/>
                      </a:lnTo>
                      <a:lnTo>
                        <a:pt x="256" y="531"/>
                      </a:lnTo>
                      <a:lnTo>
                        <a:pt x="256" y="533"/>
                      </a:lnTo>
                      <a:lnTo>
                        <a:pt x="255" y="531"/>
                      </a:lnTo>
                      <a:lnTo>
                        <a:pt x="255" y="533"/>
                      </a:lnTo>
                      <a:lnTo>
                        <a:pt x="255" y="531"/>
                      </a:lnTo>
                      <a:lnTo>
                        <a:pt x="253" y="531"/>
                      </a:lnTo>
                      <a:lnTo>
                        <a:pt x="253" y="529"/>
                      </a:lnTo>
                      <a:lnTo>
                        <a:pt x="251" y="529"/>
                      </a:lnTo>
                      <a:lnTo>
                        <a:pt x="250" y="529"/>
                      </a:lnTo>
                      <a:lnTo>
                        <a:pt x="250" y="528"/>
                      </a:lnTo>
                      <a:lnTo>
                        <a:pt x="248" y="529"/>
                      </a:lnTo>
                      <a:lnTo>
                        <a:pt x="246" y="529"/>
                      </a:lnTo>
                      <a:lnTo>
                        <a:pt x="246" y="531"/>
                      </a:lnTo>
                      <a:lnTo>
                        <a:pt x="246" y="529"/>
                      </a:lnTo>
                      <a:lnTo>
                        <a:pt x="245" y="529"/>
                      </a:lnTo>
                      <a:lnTo>
                        <a:pt x="245" y="531"/>
                      </a:lnTo>
                      <a:lnTo>
                        <a:pt x="245" y="529"/>
                      </a:lnTo>
                      <a:lnTo>
                        <a:pt x="245" y="531"/>
                      </a:lnTo>
                      <a:lnTo>
                        <a:pt x="243" y="531"/>
                      </a:lnTo>
                      <a:lnTo>
                        <a:pt x="243" y="529"/>
                      </a:lnTo>
                      <a:lnTo>
                        <a:pt x="245" y="529"/>
                      </a:lnTo>
                      <a:lnTo>
                        <a:pt x="243" y="529"/>
                      </a:lnTo>
                      <a:lnTo>
                        <a:pt x="243" y="531"/>
                      </a:lnTo>
                      <a:lnTo>
                        <a:pt x="241" y="529"/>
                      </a:lnTo>
                      <a:lnTo>
                        <a:pt x="243" y="529"/>
                      </a:lnTo>
                      <a:lnTo>
                        <a:pt x="241" y="529"/>
                      </a:lnTo>
                      <a:lnTo>
                        <a:pt x="243" y="529"/>
                      </a:lnTo>
                      <a:lnTo>
                        <a:pt x="241" y="529"/>
                      </a:lnTo>
                      <a:lnTo>
                        <a:pt x="240" y="529"/>
                      </a:lnTo>
                      <a:lnTo>
                        <a:pt x="240" y="528"/>
                      </a:lnTo>
                      <a:lnTo>
                        <a:pt x="238" y="528"/>
                      </a:lnTo>
                      <a:lnTo>
                        <a:pt x="238" y="529"/>
                      </a:lnTo>
                      <a:lnTo>
                        <a:pt x="236" y="529"/>
                      </a:lnTo>
                      <a:lnTo>
                        <a:pt x="236" y="528"/>
                      </a:lnTo>
                      <a:lnTo>
                        <a:pt x="235" y="528"/>
                      </a:lnTo>
                      <a:lnTo>
                        <a:pt x="235" y="529"/>
                      </a:lnTo>
                      <a:lnTo>
                        <a:pt x="233" y="529"/>
                      </a:lnTo>
                      <a:lnTo>
                        <a:pt x="233" y="528"/>
                      </a:lnTo>
                      <a:lnTo>
                        <a:pt x="231" y="528"/>
                      </a:lnTo>
                      <a:lnTo>
                        <a:pt x="229" y="528"/>
                      </a:lnTo>
                      <a:lnTo>
                        <a:pt x="229" y="526"/>
                      </a:lnTo>
                      <a:lnTo>
                        <a:pt x="228" y="526"/>
                      </a:lnTo>
                      <a:lnTo>
                        <a:pt x="229" y="526"/>
                      </a:lnTo>
                      <a:lnTo>
                        <a:pt x="228" y="526"/>
                      </a:lnTo>
                      <a:lnTo>
                        <a:pt x="226" y="526"/>
                      </a:lnTo>
                      <a:lnTo>
                        <a:pt x="226" y="528"/>
                      </a:lnTo>
                      <a:lnTo>
                        <a:pt x="224" y="528"/>
                      </a:lnTo>
                      <a:lnTo>
                        <a:pt x="224" y="526"/>
                      </a:lnTo>
                      <a:lnTo>
                        <a:pt x="223" y="526"/>
                      </a:lnTo>
                      <a:lnTo>
                        <a:pt x="223" y="528"/>
                      </a:lnTo>
                      <a:lnTo>
                        <a:pt x="223" y="526"/>
                      </a:lnTo>
                      <a:lnTo>
                        <a:pt x="223" y="528"/>
                      </a:lnTo>
                      <a:lnTo>
                        <a:pt x="221" y="528"/>
                      </a:lnTo>
                      <a:lnTo>
                        <a:pt x="219" y="526"/>
                      </a:lnTo>
                      <a:lnTo>
                        <a:pt x="218" y="528"/>
                      </a:lnTo>
                      <a:lnTo>
                        <a:pt x="216" y="528"/>
                      </a:lnTo>
                      <a:lnTo>
                        <a:pt x="216" y="529"/>
                      </a:lnTo>
                      <a:lnTo>
                        <a:pt x="214" y="529"/>
                      </a:lnTo>
                      <a:lnTo>
                        <a:pt x="213" y="529"/>
                      </a:lnTo>
                      <a:lnTo>
                        <a:pt x="214" y="529"/>
                      </a:lnTo>
                      <a:lnTo>
                        <a:pt x="213" y="529"/>
                      </a:lnTo>
                      <a:lnTo>
                        <a:pt x="211" y="529"/>
                      </a:lnTo>
                      <a:lnTo>
                        <a:pt x="209" y="531"/>
                      </a:lnTo>
                      <a:lnTo>
                        <a:pt x="207" y="533"/>
                      </a:lnTo>
                      <a:lnTo>
                        <a:pt x="206" y="533"/>
                      </a:lnTo>
                      <a:lnTo>
                        <a:pt x="204" y="533"/>
                      </a:lnTo>
                      <a:lnTo>
                        <a:pt x="204" y="534"/>
                      </a:lnTo>
                      <a:lnTo>
                        <a:pt x="202" y="534"/>
                      </a:lnTo>
                      <a:lnTo>
                        <a:pt x="201" y="534"/>
                      </a:lnTo>
                      <a:lnTo>
                        <a:pt x="199" y="534"/>
                      </a:lnTo>
                      <a:lnTo>
                        <a:pt x="197" y="534"/>
                      </a:lnTo>
                      <a:lnTo>
                        <a:pt x="197" y="536"/>
                      </a:lnTo>
                      <a:lnTo>
                        <a:pt x="196" y="534"/>
                      </a:lnTo>
                      <a:lnTo>
                        <a:pt x="196" y="536"/>
                      </a:lnTo>
                      <a:lnTo>
                        <a:pt x="194" y="536"/>
                      </a:lnTo>
                      <a:lnTo>
                        <a:pt x="194" y="537"/>
                      </a:lnTo>
                      <a:lnTo>
                        <a:pt x="192" y="537"/>
                      </a:lnTo>
                      <a:lnTo>
                        <a:pt x="191" y="537"/>
                      </a:lnTo>
                      <a:lnTo>
                        <a:pt x="191" y="539"/>
                      </a:lnTo>
                      <a:lnTo>
                        <a:pt x="189" y="539"/>
                      </a:lnTo>
                      <a:lnTo>
                        <a:pt x="191" y="539"/>
                      </a:lnTo>
                      <a:lnTo>
                        <a:pt x="189" y="539"/>
                      </a:lnTo>
                      <a:lnTo>
                        <a:pt x="189" y="541"/>
                      </a:lnTo>
                      <a:lnTo>
                        <a:pt x="189" y="539"/>
                      </a:lnTo>
                      <a:lnTo>
                        <a:pt x="189" y="541"/>
                      </a:lnTo>
                      <a:lnTo>
                        <a:pt x="187" y="541"/>
                      </a:lnTo>
                      <a:lnTo>
                        <a:pt x="186" y="541"/>
                      </a:lnTo>
                      <a:lnTo>
                        <a:pt x="187" y="542"/>
                      </a:lnTo>
                      <a:lnTo>
                        <a:pt x="186" y="542"/>
                      </a:lnTo>
                      <a:lnTo>
                        <a:pt x="184" y="542"/>
                      </a:lnTo>
                      <a:lnTo>
                        <a:pt x="184" y="544"/>
                      </a:lnTo>
                      <a:lnTo>
                        <a:pt x="182" y="544"/>
                      </a:lnTo>
                      <a:lnTo>
                        <a:pt x="182" y="546"/>
                      </a:lnTo>
                      <a:lnTo>
                        <a:pt x="182" y="544"/>
                      </a:lnTo>
                      <a:lnTo>
                        <a:pt x="180" y="546"/>
                      </a:lnTo>
                      <a:lnTo>
                        <a:pt x="179" y="546"/>
                      </a:lnTo>
                      <a:lnTo>
                        <a:pt x="179" y="547"/>
                      </a:lnTo>
                      <a:lnTo>
                        <a:pt x="177" y="547"/>
                      </a:lnTo>
                      <a:lnTo>
                        <a:pt x="175" y="547"/>
                      </a:lnTo>
                      <a:lnTo>
                        <a:pt x="175" y="549"/>
                      </a:lnTo>
                      <a:lnTo>
                        <a:pt x="174" y="549"/>
                      </a:lnTo>
                      <a:lnTo>
                        <a:pt x="172" y="549"/>
                      </a:lnTo>
                      <a:lnTo>
                        <a:pt x="172" y="551"/>
                      </a:lnTo>
                      <a:lnTo>
                        <a:pt x="170" y="551"/>
                      </a:lnTo>
                      <a:lnTo>
                        <a:pt x="170" y="552"/>
                      </a:lnTo>
                      <a:lnTo>
                        <a:pt x="170" y="554"/>
                      </a:lnTo>
                      <a:lnTo>
                        <a:pt x="170" y="552"/>
                      </a:lnTo>
                      <a:lnTo>
                        <a:pt x="170" y="554"/>
                      </a:lnTo>
                      <a:lnTo>
                        <a:pt x="169" y="554"/>
                      </a:lnTo>
                      <a:lnTo>
                        <a:pt x="169" y="556"/>
                      </a:lnTo>
                      <a:lnTo>
                        <a:pt x="167" y="557"/>
                      </a:lnTo>
                      <a:lnTo>
                        <a:pt x="169" y="557"/>
                      </a:lnTo>
                      <a:lnTo>
                        <a:pt x="169" y="556"/>
                      </a:lnTo>
                      <a:lnTo>
                        <a:pt x="169" y="557"/>
                      </a:lnTo>
                      <a:lnTo>
                        <a:pt x="167" y="557"/>
                      </a:lnTo>
                      <a:lnTo>
                        <a:pt x="167" y="559"/>
                      </a:lnTo>
                      <a:lnTo>
                        <a:pt x="165" y="559"/>
                      </a:lnTo>
                      <a:lnTo>
                        <a:pt x="167" y="559"/>
                      </a:lnTo>
                      <a:lnTo>
                        <a:pt x="165" y="559"/>
                      </a:lnTo>
                      <a:lnTo>
                        <a:pt x="164" y="560"/>
                      </a:lnTo>
                      <a:lnTo>
                        <a:pt x="164" y="559"/>
                      </a:lnTo>
                      <a:lnTo>
                        <a:pt x="164" y="560"/>
                      </a:lnTo>
                      <a:lnTo>
                        <a:pt x="162" y="560"/>
                      </a:lnTo>
                      <a:lnTo>
                        <a:pt x="160" y="562"/>
                      </a:lnTo>
                      <a:lnTo>
                        <a:pt x="159" y="562"/>
                      </a:lnTo>
                      <a:lnTo>
                        <a:pt x="157" y="562"/>
                      </a:lnTo>
                      <a:lnTo>
                        <a:pt x="157" y="564"/>
                      </a:lnTo>
                      <a:lnTo>
                        <a:pt x="155" y="564"/>
                      </a:lnTo>
                      <a:lnTo>
                        <a:pt x="157" y="564"/>
                      </a:lnTo>
                      <a:lnTo>
                        <a:pt x="155" y="565"/>
                      </a:lnTo>
                      <a:lnTo>
                        <a:pt x="153" y="565"/>
                      </a:lnTo>
                      <a:lnTo>
                        <a:pt x="152" y="567"/>
                      </a:lnTo>
                      <a:lnTo>
                        <a:pt x="150" y="567"/>
                      </a:lnTo>
                      <a:lnTo>
                        <a:pt x="150" y="569"/>
                      </a:lnTo>
                      <a:lnTo>
                        <a:pt x="150" y="567"/>
                      </a:lnTo>
                      <a:lnTo>
                        <a:pt x="150" y="569"/>
                      </a:lnTo>
                      <a:lnTo>
                        <a:pt x="148" y="569"/>
                      </a:lnTo>
                      <a:lnTo>
                        <a:pt x="148" y="570"/>
                      </a:lnTo>
                      <a:lnTo>
                        <a:pt x="148" y="572"/>
                      </a:lnTo>
                      <a:lnTo>
                        <a:pt x="147" y="572"/>
                      </a:lnTo>
                      <a:lnTo>
                        <a:pt x="147" y="574"/>
                      </a:lnTo>
                      <a:lnTo>
                        <a:pt x="145" y="574"/>
                      </a:lnTo>
                      <a:lnTo>
                        <a:pt x="143" y="574"/>
                      </a:lnTo>
                      <a:lnTo>
                        <a:pt x="142" y="574"/>
                      </a:lnTo>
                      <a:lnTo>
                        <a:pt x="142" y="572"/>
                      </a:lnTo>
                      <a:lnTo>
                        <a:pt x="142" y="574"/>
                      </a:lnTo>
                      <a:lnTo>
                        <a:pt x="142" y="572"/>
                      </a:lnTo>
                      <a:lnTo>
                        <a:pt x="140" y="572"/>
                      </a:lnTo>
                      <a:lnTo>
                        <a:pt x="138" y="572"/>
                      </a:lnTo>
                      <a:lnTo>
                        <a:pt x="137" y="572"/>
                      </a:lnTo>
                      <a:lnTo>
                        <a:pt x="137" y="574"/>
                      </a:lnTo>
                      <a:lnTo>
                        <a:pt x="135" y="572"/>
                      </a:lnTo>
                      <a:lnTo>
                        <a:pt x="135" y="574"/>
                      </a:lnTo>
                      <a:lnTo>
                        <a:pt x="135" y="572"/>
                      </a:lnTo>
                      <a:lnTo>
                        <a:pt x="135" y="574"/>
                      </a:lnTo>
                      <a:lnTo>
                        <a:pt x="133" y="574"/>
                      </a:lnTo>
                      <a:lnTo>
                        <a:pt x="133" y="575"/>
                      </a:lnTo>
                      <a:lnTo>
                        <a:pt x="131" y="575"/>
                      </a:lnTo>
                      <a:lnTo>
                        <a:pt x="131" y="577"/>
                      </a:lnTo>
                      <a:lnTo>
                        <a:pt x="130" y="577"/>
                      </a:lnTo>
                      <a:lnTo>
                        <a:pt x="130" y="579"/>
                      </a:lnTo>
                      <a:lnTo>
                        <a:pt x="128" y="577"/>
                      </a:lnTo>
                      <a:lnTo>
                        <a:pt x="128" y="579"/>
                      </a:lnTo>
                      <a:lnTo>
                        <a:pt x="126" y="579"/>
                      </a:lnTo>
                      <a:lnTo>
                        <a:pt x="126" y="580"/>
                      </a:lnTo>
                      <a:lnTo>
                        <a:pt x="128" y="580"/>
                      </a:lnTo>
                      <a:lnTo>
                        <a:pt x="126" y="580"/>
                      </a:lnTo>
                      <a:lnTo>
                        <a:pt x="125" y="580"/>
                      </a:lnTo>
                      <a:lnTo>
                        <a:pt x="125" y="582"/>
                      </a:lnTo>
                      <a:lnTo>
                        <a:pt x="125" y="580"/>
                      </a:lnTo>
                      <a:lnTo>
                        <a:pt x="125" y="582"/>
                      </a:lnTo>
                      <a:lnTo>
                        <a:pt x="123" y="582"/>
                      </a:lnTo>
                      <a:lnTo>
                        <a:pt x="123" y="583"/>
                      </a:lnTo>
                      <a:lnTo>
                        <a:pt x="121" y="583"/>
                      </a:lnTo>
                      <a:lnTo>
                        <a:pt x="121" y="585"/>
                      </a:lnTo>
                      <a:lnTo>
                        <a:pt x="120" y="585"/>
                      </a:lnTo>
                      <a:lnTo>
                        <a:pt x="120" y="583"/>
                      </a:lnTo>
                      <a:lnTo>
                        <a:pt x="120" y="585"/>
                      </a:lnTo>
                      <a:lnTo>
                        <a:pt x="120" y="587"/>
                      </a:lnTo>
                      <a:lnTo>
                        <a:pt x="118" y="587"/>
                      </a:lnTo>
                      <a:lnTo>
                        <a:pt x="116" y="588"/>
                      </a:lnTo>
                      <a:lnTo>
                        <a:pt x="115" y="588"/>
                      </a:lnTo>
                      <a:lnTo>
                        <a:pt x="115" y="590"/>
                      </a:lnTo>
                      <a:lnTo>
                        <a:pt x="115" y="588"/>
                      </a:lnTo>
                      <a:lnTo>
                        <a:pt x="113" y="588"/>
                      </a:lnTo>
                      <a:lnTo>
                        <a:pt x="113" y="590"/>
                      </a:lnTo>
                      <a:lnTo>
                        <a:pt x="111" y="590"/>
                      </a:lnTo>
                      <a:lnTo>
                        <a:pt x="111" y="592"/>
                      </a:lnTo>
                      <a:lnTo>
                        <a:pt x="110" y="592"/>
                      </a:lnTo>
                      <a:lnTo>
                        <a:pt x="108" y="592"/>
                      </a:lnTo>
                      <a:lnTo>
                        <a:pt x="106" y="592"/>
                      </a:lnTo>
                      <a:lnTo>
                        <a:pt x="104" y="592"/>
                      </a:lnTo>
                      <a:lnTo>
                        <a:pt x="104" y="590"/>
                      </a:lnTo>
                      <a:lnTo>
                        <a:pt x="103" y="590"/>
                      </a:lnTo>
                      <a:lnTo>
                        <a:pt x="103" y="592"/>
                      </a:lnTo>
                      <a:lnTo>
                        <a:pt x="101" y="590"/>
                      </a:lnTo>
                      <a:lnTo>
                        <a:pt x="101" y="592"/>
                      </a:lnTo>
                      <a:lnTo>
                        <a:pt x="99" y="593"/>
                      </a:lnTo>
                      <a:lnTo>
                        <a:pt x="98" y="593"/>
                      </a:lnTo>
                      <a:lnTo>
                        <a:pt x="98" y="595"/>
                      </a:lnTo>
                      <a:lnTo>
                        <a:pt x="98" y="597"/>
                      </a:lnTo>
                      <a:lnTo>
                        <a:pt x="98" y="595"/>
                      </a:lnTo>
                      <a:lnTo>
                        <a:pt x="96" y="595"/>
                      </a:lnTo>
                      <a:lnTo>
                        <a:pt x="96" y="597"/>
                      </a:lnTo>
                      <a:lnTo>
                        <a:pt x="96" y="595"/>
                      </a:lnTo>
                      <a:lnTo>
                        <a:pt x="96" y="597"/>
                      </a:lnTo>
                      <a:lnTo>
                        <a:pt x="96" y="598"/>
                      </a:lnTo>
                      <a:lnTo>
                        <a:pt x="94" y="598"/>
                      </a:lnTo>
                      <a:lnTo>
                        <a:pt x="93" y="598"/>
                      </a:lnTo>
                      <a:lnTo>
                        <a:pt x="93" y="600"/>
                      </a:lnTo>
                      <a:lnTo>
                        <a:pt x="93" y="598"/>
                      </a:lnTo>
                      <a:lnTo>
                        <a:pt x="93" y="600"/>
                      </a:lnTo>
                      <a:lnTo>
                        <a:pt x="91" y="600"/>
                      </a:lnTo>
                      <a:lnTo>
                        <a:pt x="93" y="600"/>
                      </a:lnTo>
                      <a:lnTo>
                        <a:pt x="93" y="601"/>
                      </a:lnTo>
                      <a:lnTo>
                        <a:pt x="91" y="601"/>
                      </a:lnTo>
                      <a:lnTo>
                        <a:pt x="91" y="603"/>
                      </a:lnTo>
                      <a:lnTo>
                        <a:pt x="89" y="603"/>
                      </a:lnTo>
                      <a:lnTo>
                        <a:pt x="89" y="605"/>
                      </a:lnTo>
                      <a:lnTo>
                        <a:pt x="89" y="603"/>
                      </a:lnTo>
                      <a:lnTo>
                        <a:pt x="88" y="605"/>
                      </a:lnTo>
                      <a:lnTo>
                        <a:pt x="89" y="605"/>
                      </a:lnTo>
                      <a:lnTo>
                        <a:pt x="88" y="605"/>
                      </a:lnTo>
                      <a:lnTo>
                        <a:pt x="86" y="605"/>
                      </a:lnTo>
                      <a:lnTo>
                        <a:pt x="86" y="606"/>
                      </a:lnTo>
                      <a:lnTo>
                        <a:pt x="84" y="606"/>
                      </a:lnTo>
                      <a:lnTo>
                        <a:pt x="83" y="606"/>
                      </a:lnTo>
                      <a:lnTo>
                        <a:pt x="83" y="608"/>
                      </a:lnTo>
                      <a:lnTo>
                        <a:pt x="83" y="606"/>
                      </a:lnTo>
                      <a:lnTo>
                        <a:pt x="81" y="606"/>
                      </a:lnTo>
                      <a:lnTo>
                        <a:pt x="79" y="606"/>
                      </a:lnTo>
                      <a:lnTo>
                        <a:pt x="77" y="606"/>
                      </a:lnTo>
                      <a:lnTo>
                        <a:pt x="76" y="606"/>
                      </a:lnTo>
                      <a:lnTo>
                        <a:pt x="76" y="608"/>
                      </a:lnTo>
                      <a:lnTo>
                        <a:pt x="74" y="608"/>
                      </a:lnTo>
                      <a:lnTo>
                        <a:pt x="74" y="610"/>
                      </a:lnTo>
                      <a:lnTo>
                        <a:pt x="72" y="610"/>
                      </a:lnTo>
                      <a:lnTo>
                        <a:pt x="72" y="611"/>
                      </a:lnTo>
                      <a:lnTo>
                        <a:pt x="71" y="610"/>
                      </a:lnTo>
                      <a:lnTo>
                        <a:pt x="69" y="610"/>
                      </a:lnTo>
                      <a:lnTo>
                        <a:pt x="67" y="608"/>
                      </a:lnTo>
                      <a:lnTo>
                        <a:pt x="66" y="608"/>
                      </a:lnTo>
                      <a:lnTo>
                        <a:pt x="64" y="608"/>
                      </a:lnTo>
                      <a:lnTo>
                        <a:pt x="64" y="610"/>
                      </a:lnTo>
                      <a:lnTo>
                        <a:pt x="62" y="610"/>
                      </a:lnTo>
                      <a:lnTo>
                        <a:pt x="62" y="611"/>
                      </a:lnTo>
                      <a:lnTo>
                        <a:pt x="62" y="613"/>
                      </a:lnTo>
                      <a:lnTo>
                        <a:pt x="61" y="613"/>
                      </a:lnTo>
                      <a:lnTo>
                        <a:pt x="61" y="615"/>
                      </a:lnTo>
                      <a:lnTo>
                        <a:pt x="59" y="615"/>
                      </a:lnTo>
                      <a:lnTo>
                        <a:pt x="57" y="615"/>
                      </a:lnTo>
                      <a:lnTo>
                        <a:pt x="57" y="616"/>
                      </a:lnTo>
                      <a:lnTo>
                        <a:pt x="55" y="616"/>
                      </a:lnTo>
                      <a:lnTo>
                        <a:pt x="55" y="618"/>
                      </a:lnTo>
                      <a:lnTo>
                        <a:pt x="54" y="618"/>
                      </a:lnTo>
                      <a:lnTo>
                        <a:pt x="55" y="620"/>
                      </a:lnTo>
                      <a:lnTo>
                        <a:pt x="54" y="620"/>
                      </a:lnTo>
                      <a:lnTo>
                        <a:pt x="52" y="621"/>
                      </a:lnTo>
                      <a:lnTo>
                        <a:pt x="52" y="620"/>
                      </a:lnTo>
                      <a:lnTo>
                        <a:pt x="52" y="618"/>
                      </a:lnTo>
                      <a:lnTo>
                        <a:pt x="50" y="620"/>
                      </a:lnTo>
                      <a:lnTo>
                        <a:pt x="50" y="618"/>
                      </a:lnTo>
                      <a:lnTo>
                        <a:pt x="50" y="616"/>
                      </a:lnTo>
                      <a:lnTo>
                        <a:pt x="49" y="615"/>
                      </a:lnTo>
                      <a:lnTo>
                        <a:pt x="49" y="613"/>
                      </a:lnTo>
                      <a:lnTo>
                        <a:pt x="50" y="615"/>
                      </a:lnTo>
                      <a:lnTo>
                        <a:pt x="50" y="613"/>
                      </a:lnTo>
                      <a:lnTo>
                        <a:pt x="52" y="613"/>
                      </a:lnTo>
                      <a:lnTo>
                        <a:pt x="54" y="613"/>
                      </a:lnTo>
                      <a:lnTo>
                        <a:pt x="54" y="611"/>
                      </a:lnTo>
                      <a:lnTo>
                        <a:pt x="55" y="611"/>
                      </a:lnTo>
                      <a:lnTo>
                        <a:pt x="55" y="610"/>
                      </a:lnTo>
                      <a:lnTo>
                        <a:pt x="55" y="608"/>
                      </a:lnTo>
                      <a:lnTo>
                        <a:pt x="55" y="606"/>
                      </a:lnTo>
                      <a:lnTo>
                        <a:pt x="57" y="606"/>
                      </a:lnTo>
                      <a:lnTo>
                        <a:pt x="57" y="605"/>
                      </a:lnTo>
                      <a:lnTo>
                        <a:pt x="57" y="603"/>
                      </a:lnTo>
                      <a:lnTo>
                        <a:pt x="59" y="603"/>
                      </a:lnTo>
                      <a:lnTo>
                        <a:pt x="61" y="601"/>
                      </a:lnTo>
                      <a:lnTo>
                        <a:pt x="61" y="600"/>
                      </a:lnTo>
                      <a:lnTo>
                        <a:pt x="62" y="600"/>
                      </a:lnTo>
                      <a:lnTo>
                        <a:pt x="62" y="598"/>
                      </a:lnTo>
                      <a:lnTo>
                        <a:pt x="62" y="597"/>
                      </a:lnTo>
                      <a:lnTo>
                        <a:pt x="62" y="595"/>
                      </a:lnTo>
                      <a:lnTo>
                        <a:pt x="62" y="593"/>
                      </a:lnTo>
                      <a:lnTo>
                        <a:pt x="62" y="592"/>
                      </a:lnTo>
                      <a:lnTo>
                        <a:pt x="61" y="590"/>
                      </a:lnTo>
                      <a:lnTo>
                        <a:pt x="59" y="590"/>
                      </a:lnTo>
                      <a:lnTo>
                        <a:pt x="59" y="588"/>
                      </a:lnTo>
                      <a:lnTo>
                        <a:pt x="59" y="587"/>
                      </a:lnTo>
                      <a:lnTo>
                        <a:pt x="57" y="585"/>
                      </a:lnTo>
                      <a:lnTo>
                        <a:pt x="55" y="585"/>
                      </a:lnTo>
                      <a:lnTo>
                        <a:pt x="55" y="583"/>
                      </a:lnTo>
                      <a:lnTo>
                        <a:pt x="57" y="583"/>
                      </a:lnTo>
                      <a:lnTo>
                        <a:pt x="55" y="582"/>
                      </a:lnTo>
                      <a:lnTo>
                        <a:pt x="55" y="580"/>
                      </a:lnTo>
                      <a:lnTo>
                        <a:pt x="54" y="580"/>
                      </a:lnTo>
                      <a:lnTo>
                        <a:pt x="55" y="580"/>
                      </a:lnTo>
                      <a:lnTo>
                        <a:pt x="57" y="580"/>
                      </a:lnTo>
                      <a:lnTo>
                        <a:pt x="57" y="579"/>
                      </a:lnTo>
                      <a:lnTo>
                        <a:pt x="59" y="577"/>
                      </a:lnTo>
                      <a:lnTo>
                        <a:pt x="59" y="575"/>
                      </a:lnTo>
                      <a:lnTo>
                        <a:pt x="59" y="574"/>
                      </a:lnTo>
                      <a:lnTo>
                        <a:pt x="59" y="572"/>
                      </a:lnTo>
                      <a:lnTo>
                        <a:pt x="59" y="570"/>
                      </a:lnTo>
                      <a:lnTo>
                        <a:pt x="59" y="569"/>
                      </a:lnTo>
                      <a:lnTo>
                        <a:pt x="57" y="567"/>
                      </a:lnTo>
                      <a:lnTo>
                        <a:pt x="57" y="565"/>
                      </a:lnTo>
                      <a:lnTo>
                        <a:pt x="59" y="565"/>
                      </a:lnTo>
                      <a:lnTo>
                        <a:pt x="59" y="564"/>
                      </a:lnTo>
                      <a:lnTo>
                        <a:pt x="59" y="565"/>
                      </a:lnTo>
                      <a:lnTo>
                        <a:pt x="61" y="565"/>
                      </a:lnTo>
                      <a:lnTo>
                        <a:pt x="61" y="564"/>
                      </a:lnTo>
                      <a:lnTo>
                        <a:pt x="61" y="562"/>
                      </a:lnTo>
                      <a:lnTo>
                        <a:pt x="61" y="560"/>
                      </a:lnTo>
                      <a:lnTo>
                        <a:pt x="59" y="560"/>
                      </a:lnTo>
                      <a:lnTo>
                        <a:pt x="59" y="559"/>
                      </a:lnTo>
                      <a:lnTo>
                        <a:pt x="61" y="559"/>
                      </a:lnTo>
                      <a:lnTo>
                        <a:pt x="61" y="557"/>
                      </a:lnTo>
                      <a:lnTo>
                        <a:pt x="61" y="556"/>
                      </a:lnTo>
                      <a:lnTo>
                        <a:pt x="61" y="554"/>
                      </a:lnTo>
                      <a:lnTo>
                        <a:pt x="62" y="554"/>
                      </a:lnTo>
                      <a:lnTo>
                        <a:pt x="61" y="552"/>
                      </a:lnTo>
                      <a:lnTo>
                        <a:pt x="59" y="552"/>
                      </a:lnTo>
                      <a:lnTo>
                        <a:pt x="59" y="551"/>
                      </a:lnTo>
                      <a:lnTo>
                        <a:pt x="61" y="551"/>
                      </a:lnTo>
                      <a:lnTo>
                        <a:pt x="61" y="549"/>
                      </a:lnTo>
                      <a:lnTo>
                        <a:pt x="59" y="549"/>
                      </a:lnTo>
                      <a:lnTo>
                        <a:pt x="59" y="547"/>
                      </a:lnTo>
                      <a:lnTo>
                        <a:pt x="57" y="547"/>
                      </a:lnTo>
                      <a:lnTo>
                        <a:pt x="59" y="546"/>
                      </a:lnTo>
                      <a:lnTo>
                        <a:pt x="59" y="544"/>
                      </a:lnTo>
                      <a:lnTo>
                        <a:pt x="59" y="542"/>
                      </a:lnTo>
                      <a:lnTo>
                        <a:pt x="57" y="542"/>
                      </a:lnTo>
                      <a:lnTo>
                        <a:pt x="59" y="542"/>
                      </a:lnTo>
                      <a:lnTo>
                        <a:pt x="59" y="541"/>
                      </a:lnTo>
                      <a:lnTo>
                        <a:pt x="59" y="542"/>
                      </a:lnTo>
                      <a:lnTo>
                        <a:pt x="59" y="544"/>
                      </a:lnTo>
                      <a:lnTo>
                        <a:pt x="61" y="544"/>
                      </a:lnTo>
                      <a:lnTo>
                        <a:pt x="62" y="544"/>
                      </a:lnTo>
                      <a:lnTo>
                        <a:pt x="64" y="544"/>
                      </a:lnTo>
                      <a:lnTo>
                        <a:pt x="64" y="542"/>
                      </a:lnTo>
                      <a:lnTo>
                        <a:pt x="66" y="542"/>
                      </a:lnTo>
                      <a:lnTo>
                        <a:pt x="67" y="541"/>
                      </a:lnTo>
                      <a:lnTo>
                        <a:pt x="67" y="539"/>
                      </a:lnTo>
                      <a:lnTo>
                        <a:pt x="67" y="537"/>
                      </a:lnTo>
                      <a:lnTo>
                        <a:pt x="69" y="537"/>
                      </a:lnTo>
                      <a:lnTo>
                        <a:pt x="69" y="536"/>
                      </a:lnTo>
                      <a:lnTo>
                        <a:pt x="67" y="536"/>
                      </a:lnTo>
                      <a:lnTo>
                        <a:pt x="66" y="536"/>
                      </a:lnTo>
                      <a:lnTo>
                        <a:pt x="64" y="536"/>
                      </a:lnTo>
                      <a:lnTo>
                        <a:pt x="64" y="534"/>
                      </a:lnTo>
                      <a:lnTo>
                        <a:pt x="64" y="533"/>
                      </a:lnTo>
                      <a:lnTo>
                        <a:pt x="64" y="531"/>
                      </a:lnTo>
                      <a:lnTo>
                        <a:pt x="62" y="531"/>
                      </a:lnTo>
                      <a:lnTo>
                        <a:pt x="62" y="529"/>
                      </a:lnTo>
                      <a:lnTo>
                        <a:pt x="61" y="529"/>
                      </a:lnTo>
                      <a:lnTo>
                        <a:pt x="61" y="528"/>
                      </a:lnTo>
                      <a:lnTo>
                        <a:pt x="59" y="528"/>
                      </a:lnTo>
                      <a:lnTo>
                        <a:pt x="57" y="528"/>
                      </a:lnTo>
                      <a:lnTo>
                        <a:pt x="57" y="526"/>
                      </a:lnTo>
                      <a:lnTo>
                        <a:pt x="55" y="526"/>
                      </a:lnTo>
                      <a:lnTo>
                        <a:pt x="54" y="526"/>
                      </a:lnTo>
                      <a:lnTo>
                        <a:pt x="54" y="524"/>
                      </a:lnTo>
                      <a:lnTo>
                        <a:pt x="54" y="523"/>
                      </a:lnTo>
                      <a:lnTo>
                        <a:pt x="54" y="521"/>
                      </a:lnTo>
                      <a:lnTo>
                        <a:pt x="52" y="523"/>
                      </a:lnTo>
                      <a:lnTo>
                        <a:pt x="50" y="523"/>
                      </a:lnTo>
                      <a:lnTo>
                        <a:pt x="50" y="521"/>
                      </a:lnTo>
                      <a:lnTo>
                        <a:pt x="49" y="521"/>
                      </a:lnTo>
                      <a:lnTo>
                        <a:pt x="49" y="519"/>
                      </a:lnTo>
                      <a:lnTo>
                        <a:pt x="47" y="518"/>
                      </a:lnTo>
                      <a:lnTo>
                        <a:pt x="45" y="518"/>
                      </a:lnTo>
                      <a:lnTo>
                        <a:pt x="45" y="519"/>
                      </a:lnTo>
                      <a:lnTo>
                        <a:pt x="42" y="518"/>
                      </a:lnTo>
                      <a:lnTo>
                        <a:pt x="40" y="518"/>
                      </a:lnTo>
                      <a:lnTo>
                        <a:pt x="40" y="516"/>
                      </a:lnTo>
                      <a:lnTo>
                        <a:pt x="40" y="514"/>
                      </a:lnTo>
                      <a:lnTo>
                        <a:pt x="39" y="514"/>
                      </a:lnTo>
                      <a:lnTo>
                        <a:pt x="37" y="514"/>
                      </a:lnTo>
                      <a:lnTo>
                        <a:pt x="35" y="513"/>
                      </a:lnTo>
                      <a:lnTo>
                        <a:pt x="34" y="513"/>
                      </a:lnTo>
                      <a:lnTo>
                        <a:pt x="35" y="513"/>
                      </a:lnTo>
                      <a:lnTo>
                        <a:pt x="35" y="511"/>
                      </a:lnTo>
                      <a:lnTo>
                        <a:pt x="35" y="513"/>
                      </a:lnTo>
                      <a:lnTo>
                        <a:pt x="37" y="513"/>
                      </a:lnTo>
                      <a:lnTo>
                        <a:pt x="37" y="511"/>
                      </a:lnTo>
                      <a:lnTo>
                        <a:pt x="39" y="511"/>
                      </a:lnTo>
                      <a:lnTo>
                        <a:pt x="39" y="510"/>
                      </a:lnTo>
                      <a:lnTo>
                        <a:pt x="37" y="510"/>
                      </a:lnTo>
                      <a:lnTo>
                        <a:pt x="35" y="510"/>
                      </a:lnTo>
                      <a:lnTo>
                        <a:pt x="37" y="508"/>
                      </a:lnTo>
                      <a:lnTo>
                        <a:pt x="39" y="508"/>
                      </a:lnTo>
                      <a:lnTo>
                        <a:pt x="39" y="506"/>
                      </a:lnTo>
                      <a:lnTo>
                        <a:pt x="40" y="506"/>
                      </a:lnTo>
                      <a:lnTo>
                        <a:pt x="40" y="505"/>
                      </a:lnTo>
                      <a:lnTo>
                        <a:pt x="39" y="505"/>
                      </a:lnTo>
                      <a:lnTo>
                        <a:pt x="39" y="503"/>
                      </a:lnTo>
                      <a:lnTo>
                        <a:pt x="39" y="501"/>
                      </a:lnTo>
                      <a:lnTo>
                        <a:pt x="37" y="501"/>
                      </a:lnTo>
                      <a:lnTo>
                        <a:pt x="35" y="500"/>
                      </a:lnTo>
                      <a:lnTo>
                        <a:pt x="34" y="500"/>
                      </a:lnTo>
                      <a:lnTo>
                        <a:pt x="34" y="498"/>
                      </a:lnTo>
                      <a:lnTo>
                        <a:pt x="35" y="498"/>
                      </a:lnTo>
                      <a:lnTo>
                        <a:pt x="35" y="495"/>
                      </a:lnTo>
                      <a:lnTo>
                        <a:pt x="35" y="493"/>
                      </a:lnTo>
                      <a:lnTo>
                        <a:pt x="37" y="491"/>
                      </a:lnTo>
                      <a:lnTo>
                        <a:pt x="37" y="490"/>
                      </a:lnTo>
                      <a:lnTo>
                        <a:pt x="37" y="488"/>
                      </a:lnTo>
                      <a:lnTo>
                        <a:pt x="35" y="488"/>
                      </a:lnTo>
                      <a:lnTo>
                        <a:pt x="34" y="488"/>
                      </a:lnTo>
                      <a:lnTo>
                        <a:pt x="34" y="487"/>
                      </a:lnTo>
                      <a:lnTo>
                        <a:pt x="35" y="487"/>
                      </a:lnTo>
                      <a:lnTo>
                        <a:pt x="34" y="485"/>
                      </a:lnTo>
                      <a:lnTo>
                        <a:pt x="35" y="483"/>
                      </a:lnTo>
                      <a:lnTo>
                        <a:pt x="37" y="483"/>
                      </a:lnTo>
                      <a:lnTo>
                        <a:pt x="39" y="483"/>
                      </a:lnTo>
                      <a:lnTo>
                        <a:pt x="39" y="482"/>
                      </a:lnTo>
                      <a:lnTo>
                        <a:pt x="37" y="482"/>
                      </a:lnTo>
                      <a:lnTo>
                        <a:pt x="37" y="480"/>
                      </a:lnTo>
                      <a:lnTo>
                        <a:pt x="35" y="480"/>
                      </a:lnTo>
                      <a:lnTo>
                        <a:pt x="34" y="480"/>
                      </a:lnTo>
                      <a:lnTo>
                        <a:pt x="35" y="480"/>
                      </a:lnTo>
                      <a:lnTo>
                        <a:pt x="35" y="478"/>
                      </a:lnTo>
                      <a:lnTo>
                        <a:pt x="37" y="478"/>
                      </a:lnTo>
                      <a:lnTo>
                        <a:pt x="37" y="477"/>
                      </a:lnTo>
                      <a:lnTo>
                        <a:pt x="35" y="475"/>
                      </a:lnTo>
                      <a:lnTo>
                        <a:pt x="35" y="473"/>
                      </a:lnTo>
                      <a:lnTo>
                        <a:pt x="37" y="473"/>
                      </a:lnTo>
                      <a:lnTo>
                        <a:pt x="37" y="472"/>
                      </a:lnTo>
                      <a:lnTo>
                        <a:pt x="39" y="472"/>
                      </a:lnTo>
                      <a:lnTo>
                        <a:pt x="39" y="470"/>
                      </a:lnTo>
                      <a:lnTo>
                        <a:pt x="40" y="468"/>
                      </a:lnTo>
                      <a:lnTo>
                        <a:pt x="42" y="468"/>
                      </a:lnTo>
                      <a:lnTo>
                        <a:pt x="44" y="467"/>
                      </a:lnTo>
                      <a:lnTo>
                        <a:pt x="44" y="465"/>
                      </a:lnTo>
                      <a:lnTo>
                        <a:pt x="42" y="464"/>
                      </a:lnTo>
                      <a:lnTo>
                        <a:pt x="40" y="464"/>
                      </a:lnTo>
                      <a:lnTo>
                        <a:pt x="39" y="465"/>
                      </a:lnTo>
                      <a:lnTo>
                        <a:pt x="39" y="464"/>
                      </a:lnTo>
                      <a:lnTo>
                        <a:pt x="37" y="464"/>
                      </a:lnTo>
                      <a:lnTo>
                        <a:pt x="37" y="462"/>
                      </a:lnTo>
                      <a:lnTo>
                        <a:pt x="37" y="460"/>
                      </a:lnTo>
                      <a:lnTo>
                        <a:pt x="39" y="459"/>
                      </a:lnTo>
                      <a:lnTo>
                        <a:pt x="39" y="457"/>
                      </a:lnTo>
                      <a:lnTo>
                        <a:pt x="37" y="455"/>
                      </a:lnTo>
                      <a:lnTo>
                        <a:pt x="39" y="455"/>
                      </a:lnTo>
                      <a:lnTo>
                        <a:pt x="40" y="455"/>
                      </a:lnTo>
                      <a:lnTo>
                        <a:pt x="40" y="454"/>
                      </a:lnTo>
                      <a:lnTo>
                        <a:pt x="39" y="454"/>
                      </a:lnTo>
                      <a:lnTo>
                        <a:pt x="39" y="452"/>
                      </a:lnTo>
                      <a:lnTo>
                        <a:pt x="37" y="452"/>
                      </a:lnTo>
                      <a:lnTo>
                        <a:pt x="37" y="450"/>
                      </a:lnTo>
                      <a:lnTo>
                        <a:pt x="39" y="450"/>
                      </a:lnTo>
                      <a:lnTo>
                        <a:pt x="39" y="449"/>
                      </a:lnTo>
                      <a:lnTo>
                        <a:pt x="40" y="449"/>
                      </a:lnTo>
                      <a:lnTo>
                        <a:pt x="42" y="447"/>
                      </a:lnTo>
                      <a:lnTo>
                        <a:pt x="44" y="447"/>
                      </a:lnTo>
                      <a:lnTo>
                        <a:pt x="45" y="447"/>
                      </a:lnTo>
                      <a:lnTo>
                        <a:pt x="47" y="447"/>
                      </a:lnTo>
                      <a:lnTo>
                        <a:pt x="47" y="445"/>
                      </a:lnTo>
                      <a:lnTo>
                        <a:pt x="49" y="445"/>
                      </a:lnTo>
                      <a:lnTo>
                        <a:pt x="50" y="444"/>
                      </a:lnTo>
                      <a:lnTo>
                        <a:pt x="50" y="442"/>
                      </a:lnTo>
                      <a:lnTo>
                        <a:pt x="52" y="442"/>
                      </a:lnTo>
                      <a:lnTo>
                        <a:pt x="54" y="441"/>
                      </a:lnTo>
                      <a:lnTo>
                        <a:pt x="55" y="441"/>
                      </a:lnTo>
                      <a:lnTo>
                        <a:pt x="55" y="439"/>
                      </a:lnTo>
                      <a:lnTo>
                        <a:pt x="55" y="437"/>
                      </a:lnTo>
                      <a:lnTo>
                        <a:pt x="54" y="436"/>
                      </a:lnTo>
                      <a:lnTo>
                        <a:pt x="52" y="436"/>
                      </a:lnTo>
                      <a:lnTo>
                        <a:pt x="52" y="437"/>
                      </a:lnTo>
                      <a:lnTo>
                        <a:pt x="50" y="437"/>
                      </a:lnTo>
                      <a:lnTo>
                        <a:pt x="49" y="437"/>
                      </a:lnTo>
                      <a:lnTo>
                        <a:pt x="47" y="437"/>
                      </a:lnTo>
                      <a:lnTo>
                        <a:pt x="47" y="439"/>
                      </a:lnTo>
                      <a:lnTo>
                        <a:pt x="45" y="439"/>
                      </a:lnTo>
                      <a:lnTo>
                        <a:pt x="44" y="441"/>
                      </a:lnTo>
                      <a:lnTo>
                        <a:pt x="42" y="441"/>
                      </a:lnTo>
                      <a:lnTo>
                        <a:pt x="40" y="441"/>
                      </a:lnTo>
                      <a:lnTo>
                        <a:pt x="39" y="441"/>
                      </a:lnTo>
                      <a:lnTo>
                        <a:pt x="37" y="442"/>
                      </a:lnTo>
                      <a:lnTo>
                        <a:pt x="35" y="444"/>
                      </a:lnTo>
                      <a:lnTo>
                        <a:pt x="34" y="444"/>
                      </a:lnTo>
                      <a:lnTo>
                        <a:pt x="34" y="442"/>
                      </a:lnTo>
                      <a:lnTo>
                        <a:pt x="32" y="442"/>
                      </a:lnTo>
                      <a:lnTo>
                        <a:pt x="32" y="441"/>
                      </a:lnTo>
                      <a:lnTo>
                        <a:pt x="30" y="441"/>
                      </a:lnTo>
                      <a:lnTo>
                        <a:pt x="30" y="439"/>
                      </a:lnTo>
                      <a:lnTo>
                        <a:pt x="32" y="437"/>
                      </a:lnTo>
                      <a:lnTo>
                        <a:pt x="30" y="436"/>
                      </a:lnTo>
                      <a:lnTo>
                        <a:pt x="32" y="436"/>
                      </a:lnTo>
                      <a:lnTo>
                        <a:pt x="30" y="436"/>
                      </a:lnTo>
                      <a:lnTo>
                        <a:pt x="28" y="436"/>
                      </a:lnTo>
                      <a:lnTo>
                        <a:pt x="28" y="434"/>
                      </a:lnTo>
                      <a:lnTo>
                        <a:pt x="28" y="432"/>
                      </a:lnTo>
                      <a:lnTo>
                        <a:pt x="30" y="432"/>
                      </a:lnTo>
                      <a:lnTo>
                        <a:pt x="30" y="431"/>
                      </a:lnTo>
                      <a:lnTo>
                        <a:pt x="30" y="429"/>
                      </a:lnTo>
                      <a:lnTo>
                        <a:pt x="30" y="427"/>
                      </a:lnTo>
                      <a:lnTo>
                        <a:pt x="30" y="426"/>
                      </a:lnTo>
                      <a:lnTo>
                        <a:pt x="32" y="426"/>
                      </a:lnTo>
                      <a:lnTo>
                        <a:pt x="32" y="424"/>
                      </a:lnTo>
                      <a:lnTo>
                        <a:pt x="32" y="422"/>
                      </a:lnTo>
                      <a:lnTo>
                        <a:pt x="30" y="422"/>
                      </a:lnTo>
                      <a:lnTo>
                        <a:pt x="30" y="421"/>
                      </a:lnTo>
                      <a:lnTo>
                        <a:pt x="28" y="421"/>
                      </a:lnTo>
                      <a:lnTo>
                        <a:pt x="30" y="421"/>
                      </a:lnTo>
                      <a:lnTo>
                        <a:pt x="30" y="419"/>
                      </a:lnTo>
                      <a:lnTo>
                        <a:pt x="32" y="418"/>
                      </a:lnTo>
                      <a:lnTo>
                        <a:pt x="32" y="416"/>
                      </a:lnTo>
                      <a:lnTo>
                        <a:pt x="34" y="416"/>
                      </a:lnTo>
                      <a:lnTo>
                        <a:pt x="34" y="414"/>
                      </a:lnTo>
                      <a:lnTo>
                        <a:pt x="34" y="413"/>
                      </a:lnTo>
                      <a:lnTo>
                        <a:pt x="35" y="413"/>
                      </a:lnTo>
                      <a:lnTo>
                        <a:pt x="35" y="411"/>
                      </a:lnTo>
                      <a:lnTo>
                        <a:pt x="37" y="411"/>
                      </a:lnTo>
                      <a:lnTo>
                        <a:pt x="39" y="411"/>
                      </a:lnTo>
                      <a:lnTo>
                        <a:pt x="39" y="413"/>
                      </a:lnTo>
                      <a:lnTo>
                        <a:pt x="40" y="411"/>
                      </a:lnTo>
                      <a:lnTo>
                        <a:pt x="42" y="411"/>
                      </a:lnTo>
                      <a:lnTo>
                        <a:pt x="44" y="409"/>
                      </a:lnTo>
                      <a:lnTo>
                        <a:pt x="45" y="409"/>
                      </a:lnTo>
                      <a:lnTo>
                        <a:pt x="47" y="408"/>
                      </a:lnTo>
                      <a:lnTo>
                        <a:pt x="49" y="408"/>
                      </a:lnTo>
                      <a:lnTo>
                        <a:pt x="47" y="408"/>
                      </a:lnTo>
                      <a:lnTo>
                        <a:pt x="49" y="406"/>
                      </a:lnTo>
                      <a:lnTo>
                        <a:pt x="49" y="404"/>
                      </a:lnTo>
                      <a:lnTo>
                        <a:pt x="47" y="403"/>
                      </a:lnTo>
                      <a:lnTo>
                        <a:pt x="45" y="404"/>
                      </a:lnTo>
                      <a:lnTo>
                        <a:pt x="44" y="404"/>
                      </a:lnTo>
                      <a:lnTo>
                        <a:pt x="42" y="404"/>
                      </a:lnTo>
                      <a:lnTo>
                        <a:pt x="40" y="404"/>
                      </a:lnTo>
                      <a:lnTo>
                        <a:pt x="39" y="406"/>
                      </a:lnTo>
                      <a:lnTo>
                        <a:pt x="37" y="406"/>
                      </a:lnTo>
                      <a:lnTo>
                        <a:pt x="35" y="406"/>
                      </a:lnTo>
                      <a:lnTo>
                        <a:pt x="34" y="406"/>
                      </a:lnTo>
                      <a:lnTo>
                        <a:pt x="32" y="406"/>
                      </a:lnTo>
                      <a:lnTo>
                        <a:pt x="30" y="408"/>
                      </a:lnTo>
                      <a:lnTo>
                        <a:pt x="30" y="406"/>
                      </a:lnTo>
                      <a:lnTo>
                        <a:pt x="32" y="406"/>
                      </a:lnTo>
                      <a:lnTo>
                        <a:pt x="32" y="404"/>
                      </a:lnTo>
                      <a:lnTo>
                        <a:pt x="32" y="403"/>
                      </a:lnTo>
                      <a:lnTo>
                        <a:pt x="32" y="401"/>
                      </a:lnTo>
                      <a:lnTo>
                        <a:pt x="32" y="399"/>
                      </a:lnTo>
                      <a:lnTo>
                        <a:pt x="32" y="398"/>
                      </a:lnTo>
                      <a:lnTo>
                        <a:pt x="34" y="398"/>
                      </a:lnTo>
                      <a:lnTo>
                        <a:pt x="35" y="396"/>
                      </a:lnTo>
                      <a:lnTo>
                        <a:pt x="34" y="395"/>
                      </a:lnTo>
                      <a:lnTo>
                        <a:pt x="34" y="393"/>
                      </a:lnTo>
                      <a:lnTo>
                        <a:pt x="32" y="391"/>
                      </a:lnTo>
                      <a:lnTo>
                        <a:pt x="34" y="391"/>
                      </a:lnTo>
                      <a:lnTo>
                        <a:pt x="34" y="390"/>
                      </a:lnTo>
                      <a:lnTo>
                        <a:pt x="34" y="388"/>
                      </a:lnTo>
                      <a:lnTo>
                        <a:pt x="35" y="386"/>
                      </a:lnTo>
                      <a:lnTo>
                        <a:pt x="34" y="385"/>
                      </a:lnTo>
                      <a:lnTo>
                        <a:pt x="32" y="385"/>
                      </a:lnTo>
                      <a:lnTo>
                        <a:pt x="32" y="383"/>
                      </a:lnTo>
                      <a:lnTo>
                        <a:pt x="32" y="381"/>
                      </a:lnTo>
                      <a:lnTo>
                        <a:pt x="34" y="381"/>
                      </a:lnTo>
                      <a:lnTo>
                        <a:pt x="35" y="380"/>
                      </a:lnTo>
                      <a:lnTo>
                        <a:pt x="34" y="378"/>
                      </a:lnTo>
                      <a:lnTo>
                        <a:pt x="32" y="378"/>
                      </a:lnTo>
                      <a:lnTo>
                        <a:pt x="32" y="377"/>
                      </a:lnTo>
                      <a:lnTo>
                        <a:pt x="34" y="377"/>
                      </a:lnTo>
                      <a:lnTo>
                        <a:pt x="34" y="375"/>
                      </a:lnTo>
                      <a:lnTo>
                        <a:pt x="34" y="373"/>
                      </a:lnTo>
                      <a:lnTo>
                        <a:pt x="34" y="372"/>
                      </a:lnTo>
                      <a:lnTo>
                        <a:pt x="35" y="372"/>
                      </a:lnTo>
                      <a:lnTo>
                        <a:pt x="35" y="370"/>
                      </a:lnTo>
                      <a:lnTo>
                        <a:pt x="37" y="370"/>
                      </a:lnTo>
                      <a:lnTo>
                        <a:pt x="39" y="368"/>
                      </a:lnTo>
                      <a:lnTo>
                        <a:pt x="40" y="368"/>
                      </a:lnTo>
                      <a:lnTo>
                        <a:pt x="42" y="368"/>
                      </a:lnTo>
                      <a:lnTo>
                        <a:pt x="44" y="368"/>
                      </a:lnTo>
                      <a:lnTo>
                        <a:pt x="45" y="368"/>
                      </a:lnTo>
                      <a:lnTo>
                        <a:pt x="45" y="367"/>
                      </a:lnTo>
                      <a:lnTo>
                        <a:pt x="45" y="365"/>
                      </a:lnTo>
                      <a:lnTo>
                        <a:pt x="44" y="365"/>
                      </a:lnTo>
                      <a:lnTo>
                        <a:pt x="45" y="365"/>
                      </a:lnTo>
                      <a:lnTo>
                        <a:pt x="45" y="363"/>
                      </a:lnTo>
                      <a:lnTo>
                        <a:pt x="44" y="363"/>
                      </a:lnTo>
                      <a:lnTo>
                        <a:pt x="42" y="363"/>
                      </a:lnTo>
                      <a:lnTo>
                        <a:pt x="40" y="363"/>
                      </a:lnTo>
                      <a:lnTo>
                        <a:pt x="40" y="365"/>
                      </a:lnTo>
                      <a:lnTo>
                        <a:pt x="39" y="365"/>
                      </a:lnTo>
                      <a:lnTo>
                        <a:pt x="37" y="365"/>
                      </a:lnTo>
                      <a:lnTo>
                        <a:pt x="35" y="365"/>
                      </a:lnTo>
                      <a:lnTo>
                        <a:pt x="35" y="363"/>
                      </a:lnTo>
                      <a:lnTo>
                        <a:pt x="35" y="362"/>
                      </a:lnTo>
                      <a:lnTo>
                        <a:pt x="35" y="360"/>
                      </a:lnTo>
                      <a:lnTo>
                        <a:pt x="35" y="358"/>
                      </a:lnTo>
                      <a:lnTo>
                        <a:pt x="35" y="357"/>
                      </a:lnTo>
                      <a:lnTo>
                        <a:pt x="34" y="358"/>
                      </a:lnTo>
                      <a:lnTo>
                        <a:pt x="32" y="357"/>
                      </a:lnTo>
                      <a:lnTo>
                        <a:pt x="32" y="358"/>
                      </a:lnTo>
                      <a:lnTo>
                        <a:pt x="30" y="358"/>
                      </a:lnTo>
                      <a:lnTo>
                        <a:pt x="30" y="357"/>
                      </a:lnTo>
                      <a:lnTo>
                        <a:pt x="32" y="357"/>
                      </a:lnTo>
                      <a:lnTo>
                        <a:pt x="32" y="355"/>
                      </a:lnTo>
                      <a:lnTo>
                        <a:pt x="32" y="354"/>
                      </a:lnTo>
                      <a:lnTo>
                        <a:pt x="30" y="352"/>
                      </a:lnTo>
                      <a:lnTo>
                        <a:pt x="28" y="352"/>
                      </a:lnTo>
                      <a:lnTo>
                        <a:pt x="28" y="350"/>
                      </a:lnTo>
                      <a:lnTo>
                        <a:pt x="27" y="350"/>
                      </a:lnTo>
                      <a:lnTo>
                        <a:pt x="27" y="349"/>
                      </a:lnTo>
                      <a:lnTo>
                        <a:pt x="28" y="349"/>
                      </a:lnTo>
                      <a:lnTo>
                        <a:pt x="28" y="347"/>
                      </a:lnTo>
                      <a:lnTo>
                        <a:pt x="27" y="347"/>
                      </a:lnTo>
                      <a:lnTo>
                        <a:pt x="25" y="347"/>
                      </a:lnTo>
                      <a:lnTo>
                        <a:pt x="23" y="347"/>
                      </a:lnTo>
                      <a:lnTo>
                        <a:pt x="23" y="345"/>
                      </a:lnTo>
                      <a:lnTo>
                        <a:pt x="25" y="345"/>
                      </a:lnTo>
                      <a:lnTo>
                        <a:pt x="25" y="344"/>
                      </a:lnTo>
                      <a:lnTo>
                        <a:pt x="23" y="344"/>
                      </a:lnTo>
                      <a:lnTo>
                        <a:pt x="23" y="342"/>
                      </a:lnTo>
                      <a:lnTo>
                        <a:pt x="25" y="342"/>
                      </a:lnTo>
                      <a:lnTo>
                        <a:pt x="25" y="340"/>
                      </a:lnTo>
                      <a:lnTo>
                        <a:pt x="25" y="339"/>
                      </a:lnTo>
                      <a:lnTo>
                        <a:pt x="25" y="337"/>
                      </a:lnTo>
                      <a:lnTo>
                        <a:pt x="23" y="337"/>
                      </a:lnTo>
                      <a:lnTo>
                        <a:pt x="22" y="337"/>
                      </a:lnTo>
                      <a:lnTo>
                        <a:pt x="23" y="337"/>
                      </a:lnTo>
                      <a:lnTo>
                        <a:pt x="23" y="335"/>
                      </a:lnTo>
                      <a:lnTo>
                        <a:pt x="22" y="335"/>
                      </a:lnTo>
                      <a:lnTo>
                        <a:pt x="23" y="335"/>
                      </a:lnTo>
                      <a:lnTo>
                        <a:pt x="23" y="334"/>
                      </a:lnTo>
                      <a:lnTo>
                        <a:pt x="23" y="332"/>
                      </a:lnTo>
                      <a:lnTo>
                        <a:pt x="25" y="332"/>
                      </a:lnTo>
                      <a:lnTo>
                        <a:pt x="25" y="331"/>
                      </a:lnTo>
                      <a:lnTo>
                        <a:pt x="25" y="329"/>
                      </a:lnTo>
                      <a:lnTo>
                        <a:pt x="23" y="329"/>
                      </a:lnTo>
                      <a:lnTo>
                        <a:pt x="23" y="327"/>
                      </a:lnTo>
                      <a:lnTo>
                        <a:pt x="23" y="326"/>
                      </a:lnTo>
                      <a:lnTo>
                        <a:pt x="23" y="324"/>
                      </a:lnTo>
                      <a:lnTo>
                        <a:pt x="22" y="324"/>
                      </a:lnTo>
                      <a:lnTo>
                        <a:pt x="22" y="322"/>
                      </a:lnTo>
                      <a:lnTo>
                        <a:pt x="23" y="321"/>
                      </a:lnTo>
                      <a:lnTo>
                        <a:pt x="25" y="319"/>
                      </a:lnTo>
                      <a:lnTo>
                        <a:pt x="25" y="317"/>
                      </a:lnTo>
                      <a:lnTo>
                        <a:pt x="27" y="317"/>
                      </a:lnTo>
                      <a:lnTo>
                        <a:pt x="28" y="316"/>
                      </a:lnTo>
                      <a:lnTo>
                        <a:pt x="30" y="316"/>
                      </a:lnTo>
                      <a:lnTo>
                        <a:pt x="32" y="314"/>
                      </a:lnTo>
                      <a:lnTo>
                        <a:pt x="34" y="314"/>
                      </a:lnTo>
                      <a:lnTo>
                        <a:pt x="35" y="314"/>
                      </a:lnTo>
                      <a:lnTo>
                        <a:pt x="37" y="314"/>
                      </a:lnTo>
                      <a:lnTo>
                        <a:pt x="39" y="314"/>
                      </a:lnTo>
                      <a:lnTo>
                        <a:pt x="40" y="312"/>
                      </a:lnTo>
                      <a:lnTo>
                        <a:pt x="42" y="312"/>
                      </a:lnTo>
                      <a:lnTo>
                        <a:pt x="42" y="311"/>
                      </a:lnTo>
                      <a:lnTo>
                        <a:pt x="44" y="311"/>
                      </a:lnTo>
                      <a:lnTo>
                        <a:pt x="44" y="309"/>
                      </a:lnTo>
                      <a:lnTo>
                        <a:pt x="42" y="309"/>
                      </a:lnTo>
                      <a:lnTo>
                        <a:pt x="40" y="309"/>
                      </a:lnTo>
                      <a:lnTo>
                        <a:pt x="39" y="311"/>
                      </a:lnTo>
                      <a:lnTo>
                        <a:pt x="37" y="311"/>
                      </a:lnTo>
                      <a:lnTo>
                        <a:pt x="35" y="311"/>
                      </a:lnTo>
                      <a:lnTo>
                        <a:pt x="34" y="309"/>
                      </a:lnTo>
                      <a:lnTo>
                        <a:pt x="32" y="309"/>
                      </a:lnTo>
                      <a:lnTo>
                        <a:pt x="30" y="309"/>
                      </a:lnTo>
                      <a:lnTo>
                        <a:pt x="30" y="311"/>
                      </a:lnTo>
                      <a:lnTo>
                        <a:pt x="28" y="311"/>
                      </a:lnTo>
                      <a:lnTo>
                        <a:pt x="28" y="309"/>
                      </a:lnTo>
                      <a:lnTo>
                        <a:pt x="27" y="309"/>
                      </a:lnTo>
                      <a:lnTo>
                        <a:pt x="25" y="309"/>
                      </a:lnTo>
                      <a:lnTo>
                        <a:pt x="23" y="308"/>
                      </a:lnTo>
                      <a:lnTo>
                        <a:pt x="25" y="306"/>
                      </a:lnTo>
                      <a:lnTo>
                        <a:pt x="23" y="304"/>
                      </a:lnTo>
                      <a:lnTo>
                        <a:pt x="25" y="304"/>
                      </a:lnTo>
                      <a:lnTo>
                        <a:pt x="27" y="304"/>
                      </a:lnTo>
                      <a:lnTo>
                        <a:pt x="27" y="303"/>
                      </a:lnTo>
                      <a:lnTo>
                        <a:pt x="28" y="303"/>
                      </a:lnTo>
                      <a:lnTo>
                        <a:pt x="28" y="301"/>
                      </a:lnTo>
                      <a:lnTo>
                        <a:pt x="28" y="299"/>
                      </a:lnTo>
                      <a:lnTo>
                        <a:pt x="28" y="298"/>
                      </a:lnTo>
                      <a:lnTo>
                        <a:pt x="27" y="298"/>
                      </a:lnTo>
                      <a:lnTo>
                        <a:pt x="27" y="296"/>
                      </a:lnTo>
                      <a:lnTo>
                        <a:pt x="25" y="298"/>
                      </a:lnTo>
                      <a:lnTo>
                        <a:pt x="23" y="296"/>
                      </a:lnTo>
                      <a:lnTo>
                        <a:pt x="25" y="296"/>
                      </a:lnTo>
                      <a:lnTo>
                        <a:pt x="28" y="296"/>
                      </a:lnTo>
                      <a:lnTo>
                        <a:pt x="28" y="294"/>
                      </a:lnTo>
                      <a:lnTo>
                        <a:pt x="30" y="293"/>
                      </a:lnTo>
                      <a:lnTo>
                        <a:pt x="32" y="291"/>
                      </a:lnTo>
                      <a:lnTo>
                        <a:pt x="32" y="289"/>
                      </a:lnTo>
                      <a:lnTo>
                        <a:pt x="30" y="288"/>
                      </a:lnTo>
                      <a:lnTo>
                        <a:pt x="30" y="286"/>
                      </a:lnTo>
                      <a:lnTo>
                        <a:pt x="30" y="285"/>
                      </a:lnTo>
                      <a:lnTo>
                        <a:pt x="32" y="285"/>
                      </a:lnTo>
                      <a:lnTo>
                        <a:pt x="34" y="285"/>
                      </a:lnTo>
                      <a:lnTo>
                        <a:pt x="35" y="285"/>
                      </a:lnTo>
                      <a:lnTo>
                        <a:pt x="39" y="286"/>
                      </a:lnTo>
                      <a:lnTo>
                        <a:pt x="40" y="288"/>
                      </a:lnTo>
                      <a:lnTo>
                        <a:pt x="42" y="288"/>
                      </a:lnTo>
                      <a:lnTo>
                        <a:pt x="44" y="288"/>
                      </a:lnTo>
                      <a:lnTo>
                        <a:pt x="45" y="288"/>
                      </a:lnTo>
                      <a:lnTo>
                        <a:pt x="47" y="286"/>
                      </a:lnTo>
                      <a:lnTo>
                        <a:pt x="49" y="286"/>
                      </a:lnTo>
                      <a:lnTo>
                        <a:pt x="50" y="286"/>
                      </a:lnTo>
                      <a:lnTo>
                        <a:pt x="52" y="286"/>
                      </a:lnTo>
                      <a:lnTo>
                        <a:pt x="50" y="285"/>
                      </a:lnTo>
                      <a:lnTo>
                        <a:pt x="52" y="285"/>
                      </a:lnTo>
                      <a:lnTo>
                        <a:pt x="50" y="285"/>
                      </a:lnTo>
                      <a:lnTo>
                        <a:pt x="50" y="283"/>
                      </a:lnTo>
                      <a:lnTo>
                        <a:pt x="49" y="283"/>
                      </a:lnTo>
                      <a:lnTo>
                        <a:pt x="47" y="283"/>
                      </a:lnTo>
                      <a:lnTo>
                        <a:pt x="45" y="283"/>
                      </a:lnTo>
                      <a:lnTo>
                        <a:pt x="44" y="283"/>
                      </a:lnTo>
                      <a:lnTo>
                        <a:pt x="42" y="283"/>
                      </a:lnTo>
                      <a:lnTo>
                        <a:pt x="40" y="283"/>
                      </a:lnTo>
                      <a:lnTo>
                        <a:pt x="39" y="283"/>
                      </a:lnTo>
                      <a:lnTo>
                        <a:pt x="39" y="281"/>
                      </a:lnTo>
                      <a:lnTo>
                        <a:pt x="39" y="280"/>
                      </a:lnTo>
                      <a:lnTo>
                        <a:pt x="37" y="280"/>
                      </a:lnTo>
                      <a:lnTo>
                        <a:pt x="35" y="278"/>
                      </a:lnTo>
                      <a:lnTo>
                        <a:pt x="34" y="278"/>
                      </a:lnTo>
                      <a:lnTo>
                        <a:pt x="32" y="278"/>
                      </a:lnTo>
                      <a:lnTo>
                        <a:pt x="30" y="278"/>
                      </a:lnTo>
                      <a:lnTo>
                        <a:pt x="30" y="276"/>
                      </a:lnTo>
                      <a:lnTo>
                        <a:pt x="28" y="276"/>
                      </a:lnTo>
                      <a:lnTo>
                        <a:pt x="27" y="278"/>
                      </a:lnTo>
                      <a:lnTo>
                        <a:pt x="25" y="276"/>
                      </a:lnTo>
                      <a:lnTo>
                        <a:pt x="23" y="276"/>
                      </a:lnTo>
                      <a:lnTo>
                        <a:pt x="22" y="276"/>
                      </a:lnTo>
                      <a:lnTo>
                        <a:pt x="22" y="278"/>
                      </a:lnTo>
                      <a:lnTo>
                        <a:pt x="20" y="278"/>
                      </a:lnTo>
                      <a:lnTo>
                        <a:pt x="20" y="276"/>
                      </a:lnTo>
                      <a:lnTo>
                        <a:pt x="18" y="276"/>
                      </a:lnTo>
                      <a:lnTo>
                        <a:pt x="18" y="275"/>
                      </a:lnTo>
                      <a:lnTo>
                        <a:pt x="17" y="275"/>
                      </a:lnTo>
                      <a:lnTo>
                        <a:pt x="15" y="275"/>
                      </a:lnTo>
                      <a:lnTo>
                        <a:pt x="13" y="275"/>
                      </a:lnTo>
                      <a:lnTo>
                        <a:pt x="13" y="273"/>
                      </a:lnTo>
                      <a:lnTo>
                        <a:pt x="12" y="273"/>
                      </a:lnTo>
                      <a:lnTo>
                        <a:pt x="10" y="271"/>
                      </a:lnTo>
                      <a:lnTo>
                        <a:pt x="10" y="270"/>
                      </a:lnTo>
                      <a:lnTo>
                        <a:pt x="10" y="268"/>
                      </a:lnTo>
                      <a:lnTo>
                        <a:pt x="10" y="266"/>
                      </a:lnTo>
                      <a:lnTo>
                        <a:pt x="8" y="266"/>
                      </a:lnTo>
                      <a:lnTo>
                        <a:pt x="8" y="265"/>
                      </a:lnTo>
                      <a:lnTo>
                        <a:pt x="8" y="263"/>
                      </a:lnTo>
                      <a:lnTo>
                        <a:pt x="8" y="262"/>
                      </a:lnTo>
                      <a:lnTo>
                        <a:pt x="6" y="262"/>
                      </a:lnTo>
                      <a:lnTo>
                        <a:pt x="5" y="262"/>
                      </a:lnTo>
                      <a:lnTo>
                        <a:pt x="3" y="260"/>
                      </a:lnTo>
                      <a:lnTo>
                        <a:pt x="1" y="258"/>
                      </a:lnTo>
                      <a:lnTo>
                        <a:pt x="1" y="257"/>
                      </a:lnTo>
                      <a:lnTo>
                        <a:pt x="0" y="255"/>
                      </a:lnTo>
                      <a:lnTo>
                        <a:pt x="0" y="253"/>
                      </a:lnTo>
                      <a:lnTo>
                        <a:pt x="1" y="253"/>
                      </a:lnTo>
                      <a:lnTo>
                        <a:pt x="1" y="252"/>
                      </a:lnTo>
                      <a:lnTo>
                        <a:pt x="1" y="250"/>
                      </a:lnTo>
                      <a:lnTo>
                        <a:pt x="3" y="250"/>
                      </a:lnTo>
                      <a:lnTo>
                        <a:pt x="3" y="248"/>
                      </a:lnTo>
                      <a:lnTo>
                        <a:pt x="5" y="248"/>
                      </a:lnTo>
                      <a:lnTo>
                        <a:pt x="6" y="247"/>
                      </a:lnTo>
                      <a:lnTo>
                        <a:pt x="6" y="245"/>
                      </a:lnTo>
                      <a:lnTo>
                        <a:pt x="8" y="245"/>
                      </a:lnTo>
                      <a:lnTo>
                        <a:pt x="8" y="243"/>
                      </a:lnTo>
                      <a:lnTo>
                        <a:pt x="10" y="243"/>
                      </a:lnTo>
                      <a:lnTo>
                        <a:pt x="12" y="242"/>
                      </a:lnTo>
                      <a:lnTo>
                        <a:pt x="13" y="240"/>
                      </a:lnTo>
                      <a:lnTo>
                        <a:pt x="13" y="239"/>
                      </a:lnTo>
                      <a:lnTo>
                        <a:pt x="13" y="237"/>
                      </a:lnTo>
                      <a:lnTo>
                        <a:pt x="13" y="235"/>
                      </a:lnTo>
                      <a:lnTo>
                        <a:pt x="12" y="235"/>
                      </a:lnTo>
                      <a:lnTo>
                        <a:pt x="12" y="234"/>
                      </a:lnTo>
                      <a:lnTo>
                        <a:pt x="12" y="232"/>
                      </a:lnTo>
                      <a:lnTo>
                        <a:pt x="12" y="230"/>
                      </a:lnTo>
                      <a:lnTo>
                        <a:pt x="13" y="230"/>
                      </a:lnTo>
                      <a:lnTo>
                        <a:pt x="13" y="229"/>
                      </a:lnTo>
                      <a:lnTo>
                        <a:pt x="15" y="229"/>
                      </a:lnTo>
                      <a:lnTo>
                        <a:pt x="15" y="227"/>
                      </a:lnTo>
                      <a:lnTo>
                        <a:pt x="17" y="227"/>
                      </a:lnTo>
                      <a:lnTo>
                        <a:pt x="17" y="225"/>
                      </a:lnTo>
                      <a:lnTo>
                        <a:pt x="17" y="227"/>
                      </a:lnTo>
                      <a:lnTo>
                        <a:pt x="17" y="225"/>
                      </a:lnTo>
                      <a:lnTo>
                        <a:pt x="18" y="225"/>
                      </a:lnTo>
                      <a:lnTo>
                        <a:pt x="20" y="225"/>
                      </a:lnTo>
                      <a:lnTo>
                        <a:pt x="20" y="224"/>
                      </a:lnTo>
                      <a:lnTo>
                        <a:pt x="22" y="224"/>
                      </a:lnTo>
                      <a:lnTo>
                        <a:pt x="22" y="222"/>
                      </a:lnTo>
                      <a:lnTo>
                        <a:pt x="23" y="222"/>
                      </a:lnTo>
                      <a:lnTo>
                        <a:pt x="25" y="220"/>
                      </a:lnTo>
                      <a:lnTo>
                        <a:pt x="27" y="220"/>
                      </a:lnTo>
                      <a:lnTo>
                        <a:pt x="28" y="220"/>
                      </a:lnTo>
                      <a:lnTo>
                        <a:pt x="30" y="220"/>
                      </a:lnTo>
                      <a:lnTo>
                        <a:pt x="30" y="219"/>
                      </a:lnTo>
                      <a:lnTo>
                        <a:pt x="32" y="219"/>
                      </a:lnTo>
                      <a:lnTo>
                        <a:pt x="32" y="217"/>
                      </a:lnTo>
                      <a:lnTo>
                        <a:pt x="30" y="217"/>
                      </a:lnTo>
                      <a:lnTo>
                        <a:pt x="30" y="216"/>
                      </a:lnTo>
                      <a:lnTo>
                        <a:pt x="30" y="214"/>
                      </a:lnTo>
                      <a:lnTo>
                        <a:pt x="32" y="212"/>
                      </a:lnTo>
                      <a:lnTo>
                        <a:pt x="32" y="211"/>
                      </a:lnTo>
                      <a:lnTo>
                        <a:pt x="34" y="211"/>
                      </a:lnTo>
                      <a:lnTo>
                        <a:pt x="35" y="211"/>
                      </a:lnTo>
                      <a:lnTo>
                        <a:pt x="37" y="209"/>
                      </a:lnTo>
                      <a:lnTo>
                        <a:pt x="39" y="207"/>
                      </a:lnTo>
                      <a:lnTo>
                        <a:pt x="37" y="207"/>
                      </a:lnTo>
                      <a:lnTo>
                        <a:pt x="35" y="207"/>
                      </a:lnTo>
                      <a:lnTo>
                        <a:pt x="35" y="206"/>
                      </a:lnTo>
                      <a:lnTo>
                        <a:pt x="34" y="206"/>
                      </a:lnTo>
                      <a:lnTo>
                        <a:pt x="34" y="204"/>
                      </a:lnTo>
                      <a:lnTo>
                        <a:pt x="35" y="204"/>
                      </a:lnTo>
                      <a:lnTo>
                        <a:pt x="37" y="202"/>
                      </a:lnTo>
                      <a:lnTo>
                        <a:pt x="39" y="202"/>
                      </a:lnTo>
                      <a:lnTo>
                        <a:pt x="40" y="201"/>
                      </a:lnTo>
                      <a:lnTo>
                        <a:pt x="42" y="199"/>
                      </a:lnTo>
                      <a:lnTo>
                        <a:pt x="42" y="197"/>
                      </a:lnTo>
                      <a:lnTo>
                        <a:pt x="40" y="197"/>
                      </a:lnTo>
                      <a:lnTo>
                        <a:pt x="40" y="196"/>
                      </a:lnTo>
                      <a:lnTo>
                        <a:pt x="39" y="196"/>
                      </a:lnTo>
                      <a:lnTo>
                        <a:pt x="40" y="194"/>
                      </a:lnTo>
                      <a:lnTo>
                        <a:pt x="42" y="193"/>
                      </a:lnTo>
                      <a:lnTo>
                        <a:pt x="44" y="193"/>
                      </a:lnTo>
                      <a:lnTo>
                        <a:pt x="45" y="193"/>
                      </a:lnTo>
                      <a:lnTo>
                        <a:pt x="47" y="193"/>
                      </a:lnTo>
                      <a:lnTo>
                        <a:pt x="49" y="193"/>
                      </a:lnTo>
                      <a:lnTo>
                        <a:pt x="49" y="191"/>
                      </a:lnTo>
                      <a:lnTo>
                        <a:pt x="50" y="191"/>
                      </a:lnTo>
                      <a:lnTo>
                        <a:pt x="52" y="191"/>
                      </a:lnTo>
                      <a:lnTo>
                        <a:pt x="54" y="191"/>
                      </a:lnTo>
                      <a:lnTo>
                        <a:pt x="54" y="189"/>
                      </a:lnTo>
                      <a:lnTo>
                        <a:pt x="54" y="188"/>
                      </a:lnTo>
                      <a:lnTo>
                        <a:pt x="55" y="188"/>
                      </a:lnTo>
                      <a:lnTo>
                        <a:pt x="57" y="188"/>
                      </a:lnTo>
                      <a:lnTo>
                        <a:pt x="57" y="186"/>
                      </a:lnTo>
                      <a:lnTo>
                        <a:pt x="57" y="184"/>
                      </a:lnTo>
                      <a:lnTo>
                        <a:pt x="59" y="184"/>
                      </a:lnTo>
                      <a:lnTo>
                        <a:pt x="61" y="184"/>
                      </a:lnTo>
                      <a:lnTo>
                        <a:pt x="62" y="184"/>
                      </a:lnTo>
                      <a:lnTo>
                        <a:pt x="62" y="183"/>
                      </a:lnTo>
                      <a:lnTo>
                        <a:pt x="64" y="183"/>
                      </a:lnTo>
                      <a:lnTo>
                        <a:pt x="64" y="181"/>
                      </a:lnTo>
                      <a:lnTo>
                        <a:pt x="66" y="181"/>
                      </a:lnTo>
                      <a:lnTo>
                        <a:pt x="69" y="179"/>
                      </a:lnTo>
                      <a:lnTo>
                        <a:pt x="69" y="178"/>
                      </a:lnTo>
                      <a:lnTo>
                        <a:pt x="71" y="176"/>
                      </a:lnTo>
                      <a:lnTo>
                        <a:pt x="72" y="176"/>
                      </a:lnTo>
                      <a:lnTo>
                        <a:pt x="74" y="176"/>
                      </a:lnTo>
                      <a:lnTo>
                        <a:pt x="76" y="176"/>
                      </a:lnTo>
                      <a:lnTo>
                        <a:pt x="76" y="175"/>
                      </a:lnTo>
                      <a:lnTo>
                        <a:pt x="76" y="173"/>
                      </a:lnTo>
                      <a:lnTo>
                        <a:pt x="77" y="173"/>
                      </a:lnTo>
                      <a:lnTo>
                        <a:pt x="76" y="173"/>
                      </a:lnTo>
                      <a:lnTo>
                        <a:pt x="76" y="171"/>
                      </a:lnTo>
                      <a:lnTo>
                        <a:pt x="76" y="170"/>
                      </a:lnTo>
                      <a:lnTo>
                        <a:pt x="76" y="168"/>
                      </a:lnTo>
                      <a:lnTo>
                        <a:pt x="77" y="168"/>
                      </a:lnTo>
                      <a:lnTo>
                        <a:pt x="79" y="168"/>
                      </a:lnTo>
                      <a:lnTo>
                        <a:pt x="81" y="168"/>
                      </a:lnTo>
                      <a:lnTo>
                        <a:pt x="83" y="168"/>
                      </a:lnTo>
                      <a:lnTo>
                        <a:pt x="84" y="166"/>
                      </a:lnTo>
                      <a:lnTo>
                        <a:pt x="86" y="165"/>
                      </a:lnTo>
                      <a:lnTo>
                        <a:pt x="86" y="163"/>
                      </a:lnTo>
                      <a:lnTo>
                        <a:pt x="86" y="161"/>
                      </a:lnTo>
                      <a:lnTo>
                        <a:pt x="88" y="160"/>
                      </a:lnTo>
                      <a:lnTo>
                        <a:pt x="88" y="158"/>
                      </a:lnTo>
                      <a:lnTo>
                        <a:pt x="88" y="156"/>
                      </a:lnTo>
                      <a:lnTo>
                        <a:pt x="88" y="155"/>
                      </a:lnTo>
                      <a:lnTo>
                        <a:pt x="88" y="153"/>
                      </a:lnTo>
                      <a:lnTo>
                        <a:pt x="88" y="152"/>
                      </a:lnTo>
                      <a:lnTo>
                        <a:pt x="88" y="150"/>
                      </a:lnTo>
                      <a:lnTo>
                        <a:pt x="86" y="150"/>
                      </a:lnTo>
                      <a:lnTo>
                        <a:pt x="88" y="150"/>
                      </a:lnTo>
                      <a:lnTo>
                        <a:pt x="89" y="150"/>
                      </a:lnTo>
                      <a:lnTo>
                        <a:pt x="89" y="148"/>
                      </a:lnTo>
                      <a:lnTo>
                        <a:pt x="91" y="148"/>
                      </a:lnTo>
                      <a:lnTo>
                        <a:pt x="93" y="147"/>
                      </a:lnTo>
                      <a:lnTo>
                        <a:pt x="94" y="147"/>
                      </a:lnTo>
                      <a:lnTo>
                        <a:pt x="96" y="145"/>
                      </a:lnTo>
                      <a:lnTo>
                        <a:pt x="98" y="145"/>
                      </a:lnTo>
                      <a:lnTo>
                        <a:pt x="99" y="145"/>
                      </a:lnTo>
                      <a:lnTo>
                        <a:pt x="99" y="147"/>
                      </a:lnTo>
                      <a:lnTo>
                        <a:pt x="101" y="147"/>
                      </a:lnTo>
                      <a:lnTo>
                        <a:pt x="101" y="148"/>
                      </a:lnTo>
                      <a:lnTo>
                        <a:pt x="101" y="150"/>
                      </a:lnTo>
                      <a:lnTo>
                        <a:pt x="101" y="152"/>
                      </a:lnTo>
                      <a:lnTo>
                        <a:pt x="99" y="152"/>
                      </a:lnTo>
                      <a:lnTo>
                        <a:pt x="101" y="153"/>
                      </a:lnTo>
                      <a:lnTo>
                        <a:pt x="101" y="155"/>
                      </a:lnTo>
                      <a:lnTo>
                        <a:pt x="103" y="155"/>
                      </a:lnTo>
                      <a:lnTo>
                        <a:pt x="104" y="156"/>
                      </a:lnTo>
                      <a:lnTo>
                        <a:pt x="104" y="158"/>
                      </a:lnTo>
                      <a:lnTo>
                        <a:pt x="104" y="161"/>
                      </a:lnTo>
                      <a:lnTo>
                        <a:pt x="106" y="161"/>
                      </a:lnTo>
                      <a:lnTo>
                        <a:pt x="108" y="163"/>
                      </a:lnTo>
                      <a:lnTo>
                        <a:pt x="110" y="165"/>
                      </a:lnTo>
                      <a:lnTo>
                        <a:pt x="111" y="166"/>
                      </a:lnTo>
                      <a:lnTo>
                        <a:pt x="113" y="168"/>
                      </a:lnTo>
                      <a:lnTo>
                        <a:pt x="115" y="170"/>
                      </a:lnTo>
                      <a:lnTo>
                        <a:pt x="113" y="171"/>
                      </a:lnTo>
                      <a:lnTo>
                        <a:pt x="113" y="173"/>
                      </a:lnTo>
                      <a:lnTo>
                        <a:pt x="115" y="173"/>
                      </a:lnTo>
                      <a:lnTo>
                        <a:pt x="115" y="175"/>
                      </a:lnTo>
                      <a:lnTo>
                        <a:pt x="116" y="176"/>
                      </a:lnTo>
                      <a:lnTo>
                        <a:pt x="116" y="178"/>
                      </a:lnTo>
                      <a:lnTo>
                        <a:pt x="116" y="179"/>
                      </a:lnTo>
                      <a:lnTo>
                        <a:pt x="115" y="179"/>
                      </a:lnTo>
                      <a:lnTo>
                        <a:pt x="113" y="179"/>
                      </a:lnTo>
                      <a:lnTo>
                        <a:pt x="111" y="181"/>
                      </a:lnTo>
                      <a:lnTo>
                        <a:pt x="111" y="183"/>
                      </a:lnTo>
                      <a:lnTo>
                        <a:pt x="113" y="183"/>
                      </a:lnTo>
                      <a:lnTo>
                        <a:pt x="113" y="184"/>
                      </a:lnTo>
                      <a:lnTo>
                        <a:pt x="111" y="186"/>
                      </a:lnTo>
                      <a:lnTo>
                        <a:pt x="111" y="188"/>
                      </a:lnTo>
                      <a:lnTo>
                        <a:pt x="113" y="188"/>
                      </a:lnTo>
                      <a:lnTo>
                        <a:pt x="113" y="191"/>
                      </a:lnTo>
                      <a:lnTo>
                        <a:pt x="113" y="193"/>
                      </a:lnTo>
                      <a:lnTo>
                        <a:pt x="113" y="194"/>
                      </a:lnTo>
                      <a:lnTo>
                        <a:pt x="115" y="194"/>
                      </a:lnTo>
                      <a:lnTo>
                        <a:pt x="116" y="194"/>
                      </a:lnTo>
                      <a:lnTo>
                        <a:pt x="118" y="194"/>
                      </a:lnTo>
                      <a:lnTo>
                        <a:pt x="118" y="196"/>
                      </a:lnTo>
                      <a:lnTo>
                        <a:pt x="120" y="197"/>
                      </a:lnTo>
                      <a:lnTo>
                        <a:pt x="120" y="199"/>
                      </a:lnTo>
                      <a:lnTo>
                        <a:pt x="120" y="201"/>
                      </a:lnTo>
                      <a:lnTo>
                        <a:pt x="120" y="202"/>
                      </a:lnTo>
                      <a:lnTo>
                        <a:pt x="121" y="204"/>
                      </a:lnTo>
                      <a:lnTo>
                        <a:pt x="123" y="204"/>
                      </a:lnTo>
                      <a:lnTo>
                        <a:pt x="123" y="206"/>
                      </a:lnTo>
                      <a:lnTo>
                        <a:pt x="125" y="206"/>
                      </a:lnTo>
                      <a:lnTo>
                        <a:pt x="126" y="206"/>
                      </a:lnTo>
                      <a:lnTo>
                        <a:pt x="128" y="207"/>
                      </a:lnTo>
                      <a:lnTo>
                        <a:pt x="130" y="207"/>
                      </a:lnTo>
                      <a:lnTo>
                        <a:pt x="130" y="209"/>
                      </a:lnTo>
                      <a:lnTo>
                        <a:pt x="130" y="211"/>
                      </a:lnTo>
                      <a:lnTo>
                        <a:pt x="131" y="211"/>
                      </a:lnTo>
                      <a:lnTo>
                        <a:pt x="133" y="211"/>
                      </a:lnTo>
                      <a:lnTo>
                        <a:pt x="133" y="212"/>
                      </a:lnTo>
                      <a:lnTo>
                        <a:pt x="135" y="212"/>
                      </a:lnTo>
                      <a:lnTo>
                        <a:pt x="137" y="212"/>
                      </a:lnTo>
                      <a:lnTo>
                        <a:pt x="138" y="212"/>
                      </a:lnTo>
                      <a:lnTo>
                        <a:pt x="142" y="212"/>
                      </a:lnTo>
                      <a:lnTo>
                        <a:pt x="143" y="212"/>
                      </a:lnTo>
                      <a:lnTo>
                        <a:pt x="145" y="214"/>
                      </a:lnTo>
                      <a:lnTo>
                        <a:pt x="147" y="212"/>
                      </a:lnTo>
                      <a:lnTo>
                        <a:pt x="148" y="212"/>
                      </a:lnTo>
                      <a:lnTo>
                        <a:pt x="148" y="214"/>
                      </a:lnTo>
                      <a:lnTo>
                        <a:pt x="150" y="214"/>
                      </a:lnTo>
                      <a:lnTo>
                        <a:pt x="152" y="216"/>
                      </a:lnTo>
                      <a:lnTo>
                        <a:pt x="153" y="217"/>
                      </a:lnTo>
                      <a:lnTo>
                        <a:pt x="155" y="217"/>
                      </a:lnTo>
                      <a:lnTo>
                        <a:pt x="157" y="217"/>
                      </a:lnTo>
                      <a:lnTo>
                        <a:pt x="159" y="219"/>
                      </a:lnTo>
                      <a:lnTo>
                        <a:pt x="160" y="220"/>
                      </a:lnTo>
                      <a:lnTo>
                        <a:pt x="162" y="220"/>
                      </a:lnTo>
                      <a:lnTo>
                        <a:pt x="164" y="219"/>
                      </a:lnTo>
                      <a:lnTo>
                        <a:pt x="165" y="219"/>
                      </a:lnTo>
                      <a:lnTo>
                        <a:pt x="165" y="217"/>
                      </a:lnTo>
                      <a:lnTo>
                        <a:pt x="167" y="217"/>
                      </a:lnTo>
                      <a:lnTo>
                        <a:pt x="169" y="217"/>
                      </a:lnTo>
                      <a:lnTo>
                        <a:pt x="169" y="219"/>
                      </a:lnTo>
                      <a:lnTo>
                        <a:pt x="169" y="217"/>
                      </a:lnTo>
                      <a:lnTo>
                        <a:pt x="170" y="217"/>
                      </a:lnTo>
                      <a:lnTo>
                        <a:pt x="170" y="216"/>
                      </a:lnTo>
                      <a:lnTo>
                        <a:pt x="172" y="216"/>
                      </a:lnTo>
                      <a:lnTo>
                        <a:pt x="172" y="214"/>
                      </a:lnTo>
                      <a:lnTo>
                        <a:pt x="172" y="212"/>
                      </a:lnTo>
                      <a:lnTo>
                        <a:pt x="174" y="211"/>
                      </a:lnTo>
                      <a:lnTo>
                        <a:pt x="174" y="209"/>
                      </a:lnTo>
                      <a:lnTo>
                        <a:pt x="175" y="209"/>
                      </a:lnTo>
                      <a:lnTo>
                        <a:pt x="177" y="209"/>
                      </a:lnTo>
                      <a:lnTo>
                        <a:pt x="177" y="207"/>
                      </a:lnTo>
                      <a:lnTo>
                        <a:pt x="179" y="207"/>
                      </a:lnTo>
                      <a:lnTo>
                        <a:pt x="179" y="206"/>
                      </a:lnTo>
                      <a:lnTo>
                        <a:pt x="180" y="206"/>
                      </a:lnTo>
                      <a:lnTo>
                        <a:pt x="182" y="206"/>
                      </a:lnTo>
                      <a:lnTo>
                        <a:pt x="184" y="206"/>
                      </a:lnTo>
                      <a:lnTo>
                        <a:pt x="186" y="206"/>
                      </a:lnTo>
                      <a:lnTo>
                        <a:pt x="186" y="204"/>
                      </a:lnTo>
                      <a:lnTo>
                        <a:pt x="187" y="202"/>
                      </a:lnTo>
                      <a:lnTo>
                        <a:pt x="186" y="201"/>
                      </a:lnTo>
                      <a:lnTo>
                        <a:pt x="186" y="199"/>
                      </a:lnTo>
                      <a:lnTo>
                        <a:pt x="186" y="197"/>
                      </a:lnTo>
                      <a:lnTo>
                        <a:pt x="187" y="197"/>
                      </a:lnTo>
                      <a:lnTo>
                        <a:pt x="189" y="197"/>
                      </a:lnTo>
                      <a:lnTo>
                        <a:pt x="191" y="197"/>
                      </a:lnTo>
                      <a:lnTo>
                        <a:pt x="191" y="196"/>
                      </a:lnTo>
                      <a:lnTo>
                        <a:pt x="192" y="196"/>
                      </a:lnTo>
                      <a:lnTo>
                        <a:pt x="192" y="194"/>
                      </a:lnTo>
                      <a:lnTo>
                        <a:pt x="194" y="194"/>
                      </a:lnTo>
                      <a:lnTo>
                        <a:pt x="194" y="193"/>
                      </a:lnTo>
                      <a:lnTo>
                        <a:pt x="196" y="193"/>
                      </a:lnTo>
                      <a:lnTo>
                        <a:pt x="197" y="193"/>
                      </a:lnTo>
                      <a:lnTo>
                        <a:pt x="199" y="194"/>
                      </a:lnTo>
                      <a:lnTo>
                        <a:pt x="201" y="196"/>
                      </a:lnTo>
                      <a:lnTo>
                        <a:pt x="202" y="194"/>
                      </a:lnTo>
                      <a:lnTo>
                        <a:pt x="204" y="194"/>
                      </a:lnTo>
                      <a:lnTo>
                        <a:pt x="206" y="193"/>
                      </a:lnTo>
                      <a:lnTo>
                        <a:pt x="206" y="191"/>
                      </a:lnTo>
                      <a:lnTo>
                        <a:pt x="207" y="191"/>
                      </a:lnTo>
                      <a:lnTo>
                        <a:pt x="209" y="191"/>
                      </a:lnTo>
                      <a:lnTo>
                        <a:pt x="211" y="191"/>
                      </a:lnTo>
                      <a:lnTo>
                        <a:pt x="213" y="191"/>
                      </a:lnTo>
                      <a:lnTo>
                        <a:pt x="213" y="189"/>
                      </a:lnTo>
                      <a:lnTo>
                        <a:pt x="214" y="188"/>
                      </a:lnTo>
                      <a:lnTo>
                        <a:pt x="216" y="186"/>
                      </a:lnTo>
                      <a:lnTo>
                        <a:pt x="218" y="186"/>
                      </a:lnTo>
                      <a:lnTo>
                        <a:pt x="219" y="186"/>
                      </a:lnTo>
                      <a:lnTo>
                        <a:pt x="219" y="188"/>
                      </a:lnTo>
                      <a:lnTo>
                        <a:pt x="221" y="188"/>
                      </a:lnTo>
                      <a:lnTo>
                        <a:pt x="221" y="189"/>
                      </a:lnTo>
                      <a:lnTo>
                        <a:pt x="223" y="191"/>
                      </a:lnTo>
                      <a:lnTo>
                        <a:pt x="223" y="193"/>
                      </a:lnTo>
                      <a:lnTo>
                        <a:pt x="224" y="193"/>
                      </a:lnTo>
                      <a:lnTo>
                        <a:pt x="226" y="193"/>
                      </a:lnTo>
                      <a:lnTo>
                        <a:pt x="228" y="193"/>
                      </a:lnTo>
                      <a:lnTo>
                        <a:pt x="229" y="191"/>
                      </a:lnTo>
                      <a:lnTo>
                        <a:pt x="229" y="193"/>
                      </a:lnTo>
                      <a:lnTo>
                        <a:pt x="231" y="193"/>
                      </a:lnTo>
                      <a:lnTo>
                        <a:pt x="233" y="193"/>
                      </a:lnTo>
                      <a:lnTo>
                        <a:pt x="233" y="194"/>
                      </a:lnTo>
                      <a:lnTo>
                        <a:pt x="235" y="194"/>
                      </a:lnTo>
                      <a:lnTo>
                        <a:pt x="236" y="194"/>
                      </a:lnTo>
                      <a:lnTo>
                        <a:pt x="236" y="193"/>
                      </a:lnTo>
                      <a:lnTo>
                        <a:pt x="238" y="193"/>
                      </a:lnTo>
                      <a:lnTo>
                        <a:pt x="238" y="191"/>
                      </a:lnTo>
                      <a:lnTo>
                        <a:pt x="238" y="189"/>
                      </a:lnTo>
                      <a:lnTo>
                        <a:pt x="240" y="189"/>
                      </a:lnTo>
                      <a:lnTo>
                        <a:pt x="241" y="189"/>
                      </a:lnTo>
                      <a:lnTo>
                        <a:pt x="243" y="189"/>
                      </a:lnTo>
                      <a:lnTo>
                        <a:pt x="243" y="188"/>
                      </a:lnTo>
                      <a:lnTo>
                        <a:pt x="243" y="186"/>
                      </a:lnTo>
                      <a:lnTo>
                        <a:pt x="243" y="184"/>
                      </a:lnTo>
                      <a:lnTo>
                        <a:pt x="245" y="181"/>
                      </a:lnTo>
                      <a:lnTo>
                        <a:pt x="246" y="179"/>
                      </a:lnTo>
                      <a:lnTo>
                        <a:pt x="246" y="176"/>
                      </a:lnTo>
                      <a:lnTo>
                        <a:pt x="246" y="175"/>
                      </a:lnTo>
                      <a:lnTo>
                        <a:pt x="246" y="173"/>
                      </a:lnTo>
                      <a:lnTo>
                        <a:pt x="248" y="173"/>
                      </a:lnTo>
                      <a:lnTo>
                        <a:pt x="250" y="173"/>
                      </a:lnTo>
                      <a:lnTo>
                        <a:pt x="251" y="175"/>
                      </a:lnTo>
                      <a:lnTo>
                        <a:pt x="253" y="175"/>
                      </a:lnTo>
                      <a:lnTo>
                        <a:pt x="255" y="175"/>
                      </a:lnTo>
                      <a:lnTo>
                        <a:pt x="256" y="175"/>
                      </a:lnTo>
                      <a:lnTo>
                        <a:pt x="256" y="173"/>
                      </a:lnTo>
                      <a:lnTo>
                        <a:pt x="256" y="171"/>
                      </a:lnTo>
                      <a:lnTo>
                        <a:pt x="258" y="170"/>
                      </a:lnTo>
                      <a:lnTo>
                        <a:pt x="258" y="168"/>
                      </a:lnTo>
                      <a:lnTo>
                        <a:pt x="260" y="168"/>
                      </a:lnTo>
                      <a:lnTo>
                        <a:pt x="260" y="166"/>
                      </a:lnTo>
                      <a:lnTo>
                        <a:pt x="262" y="166"/>
                      </a:lnTo>
                      <a:lnTo>
                        <a:pt x="262" y="165"/>
                      </a:lnTo>
                      <a:lnTo>
                        <a:pt x="263" y="165"/>
                      </a:lnTo>
                      <a:lnTo>
                        <a:pt x="265" y="163"/>
                      </a:lnTo>
                      <a:lnTo>
                        <a:pt x="265" y="161"/>
                      </a:lnTo>
                      <a:lnTo>
                        <a:pt x="265" y="160"/>
                      </a:lnTo>
                      <a:lnTo>
                        <a:pt x="265" y="158"/>
                      </a:lnTo>
                      <a:lnTo>
                        <a:pt x="265" y="156"/>
                      </a:lnTo>
                      <a:lnTo>
                        <a:pt x="267" y="155"/>
                      </a:lnTo>
                      <a:lnTo>
                        <a:pt x="268" y="155"/>
                      </a:lnTo>
                      <a:lnTo>
                        <a:pt x="270" y="153"/>
                      </a:lnTo>
                      <a:lnTo>
                        <a:pt x="270" y="152"/>
                      </a:lnTo>
                      <a:lnTo>
                        <a:pt x="272" y="148"/>
                      </a:lnTo>
                      <a:lnTo>
                        <a:pt x="272" y="147"/>
                      </a:lnTo>
                      <a:lnTo>
                        <a:pt x="272" y="145"/>
                      </a:lnTo>
                      <a:lnTo>
                        <a:pt x="270" y="145"/>
                      </a:lnTo>
                      <a:lnTo>
                        <a:pt x="272" y="143"/>
                      </a:lnTo>
                      <a:lnTo>
                        <a:pt x="272" y="142"/>
                      </a:lnTo>
                      <a:lnTo>
                        <a:pt x="273" y="142"/>
                      </a:lnTo>
                      <a:lnTo>
                        <a:pt x="275" y="142"/>
                      </a:lnTo>
                      <a:lnTo>
                        <a:pt x="278" y="142"/>
                      </a:lnTo>
                      <a:lnTo>
                        <a:pt x="278" y="140"/>
                      </a:lnTo>
                      <a:lnTo>
                        <a:pt x="278" y="138"/>
                      </a:lnTo>
                      <a:lnTo>
                        <a:pt x="280" y="138"/>
                      </a:lnTo>
                      <a:lnTo>
                        <a:pt x="280" y="137"/>
                      </a:lnTo>
                      <a:lnTo>
                        <a:pt x="282" y="137"/>
                      </a:lnTo>
                      <a:lnTo>
                        <a:pt x="282" y="135"/>
                      </a:lnTo>
                      <a:lnTo>
                        <a:pt x="280" y="133"/>
                      </a:lnTo>
                      <a:lnTo>
                        <a:pt x="278" y="133"/>
                      </a:lnTo>
                      <a:lnTo>
                        <a:pt x="277" y="132"/>
                      </a:lnTo>
                      <a:lnTo>
                        <a:pt x="278" y="130"/>
                      </a:lnTo>
                      <a:lnTo>
                        <a:pt x="278" y="129"/>
                      </a:lnTo>
                      <a:lnTo>
                        <a:pt x="277" y="129"/>
                      </a:lnTo>
                      <a:lnTo>
                        <a:pt x="277" y="127"/>
                      </a:lnTo>
                      <a:lnTo>
                        <a:pt x="278" y="127"/>
                      </a:lnTo>
                      <a:lnTo>
                        <a:pt x="278" y="125"/>
                      </a:lnTo>
                      <a:lnTo>
                        <a:pt x="280" y="125"/>
                      </a:lnTo>
                      <a:lnTo>
                        <a:pt x="280" y="124"/>
                      </a:lnTo>
                      <a:lnTo>
                        <a:pt x="280" y="122"/>
                      </a:lnTo>
                      <a:lnTo>
                        <a:pt x="282" y="120"/>
                      </a:lnTo>
                      <a:lnTo>
                        <a:pt x="280" y="119"/>
                      </a:lnTo>
                      <a:lnTo>
                        <a:pt x="278" y="119"/>
                      </a:lnTo>
                      <a:lnTo>
                        <a:pt x="278" y="117"/>
                      </a:lnTo>
                      <a:lnTo>
                        <a:pt x="277" y="117"/>
                      </a:lnTo>
                      <a:lnTo>
                        <a:pt x="275" y="117"/>
                      </a:lnTo>
                      <a:lnTo>
                        <a:pt x="275" y="115"/>
                      </a:lnTo>
                      <a:lnTo>
                        <a:pt x="273" y="115"/>
                      </a:lnTo>
                      <a:lnTo>
                        <a:pt x="272" y="114"/>
                      </a:lnTo>
                      <a:lnTo>
                        <a:pt x="270" y="114"/>
                      </a:lnTo>
                      <a:lnTo>
                        <a:pt x="268" y="112"/>
                      </a:lnTo>
                      <a:lnTo>
                        <a:pt x="268" y="110"/>
                      </a:lnTo>
                      <a:lnTo>
                        <a:pt x="268" y="109"/>
                      </a:lnTo>
                      <a:lnTo>
                        <a:pt x="268" y="107"/>
                      </a:lnTo>
                      <a:lnTo>
                        <a:pt x="267" y="106"/>
                      </a:lnTo>
                      <a:lnTo>
                        <a:pt x="265" y="102"/>
                      </a:lnTo>
                      <a:lnTo>
                        <a:pt x="265" y="101"/>
                      </a:lnTo>
                      <a:lnTo>
                        <a:pt x="265" y="99"/>
                      </a:lnTo>
                      <a:lnTo>
                        <a:pt x="265" y="97"/>
                      </a:lnTo>
                      <a:lnTo>
                        <a:pt x="263" y="96"/>
                      </a:lnTo>
                      <a:lnTo>
                        <a:pt x="263" y="94"/>
                      </a:lnTo>
                      <a:lnTo>
                        <a:pt x="265" y="92"/>
                      </a:lnTo>
                      <a:lnTo>
                        <a:pt x="265" y="91"/>
                      </a:lnTo>
                      <a:lnTo>
                        <a:pt x="267" y="89"/>
                      </a:lnTo>
                      <a:lnTo>
                        <a:pt x="267" y="87"/>
                      </a:lnTo>
                      <a:lnTo>
                        <a:pt x="268" y="87"/>
                      </a:lnTo>
                      <a:lnTo>
                        <a:pt x="268" y="86"/>
                      </a:lnTo>
                      <a:lnTo>
                        <a:pt x="270" y="84"/>
                      </a:lnTo>
                      <a:lnTo>
                        <a:pt x="272" y="84"/>
                      </a:lnTo>
                      <a:lnTo>
                        <a:pt x="273" y="83"/>
                      </a:lnTo>
                      <a:lnTo>
                        <a:pt x="275" y="83"/>
                      </a:lnTo>
                      <a:lnTo>
                        <a:pt x="277" y="81"/>
                      </a:lnTo>
                      <a:lnTo>
                        <a:pt x="278" y="81"/>
                      </a:lnTo>
                      <a:lnTo>
                        <a:pt x="280" y="81"/>
                      </a:lnTo>
                      <a:lnTo>
                        <a:pt x="282" y="79"/>
                      </a:lnTo>
                      <a:lnTo>
                        <a:pt x="283" y="79"/>
                      </a:lnTo>
                      <a:lnTo>
                        <a:pt x="283" y="78"/>
                      </a:lnTo>
                      <a:lnTo>
                        <a:pt x="285" y="78"/>
                      </a:lnTo>
                      <a:lnTo>
                        <a:pt x="285" y="76"/>
                      </a:lnTo>
                      <a:lnTo>
                        <a:pt x="287" y="74"/>
                      </a:lnTo>
                      <a:lnTo>
                        <a:pt x="287" y="73"/>
                      </a:lnTo>
                      <a:lnTo>
                        <a:pt x="287" y="71"/>
                      </a:lnTo>
                      <a:lnTo>
                        <a:pt x="289" y="71"/>
                      </a:lnTo>
                      <a:lnTo>
                        <a:pt x="290" y="71"/>
                      </a:lnTo>
                      <a:lnTo>
                        <a:pt x="292" y="71"/>
                      </a:lnTo>
                      <a:lnTo>
                        <a:pt x="294" y="69"/>
                      </a:lnTo>
                      <a:lnTo>
                        <a:pt x="295" y="69"/>
                      </a:lnTo>
                      <a:lnTo>
                        <a:pt x="297" y="68"/>
                      </a:lnTo>
                      <a:lnTo>
                        <a:pt x="299" y="68"/>
                      </a:lnTo>
                      <a:lnTo>
                        <a:pt x="300" y="66"/>
                      </a:lnTo>
                      <a:lnTo>
                        <a:pt x="300" y="68"/>
                      </a:lnTo>
                      <a:lnTo>
                        <a:pt x="302" y="68"/>
                      </a:lnTo>
                      <a:lnTo>
                        <a:pt x="304" y="68"/>
                      </a:lnTo>
                      <a:lnTo>
                        <a:pt x="307" y="71"/>
                      </a:lnTo>
                      <a:lnTo>
                        <a:pt x="307" y="73"/>
                      </a:lnTo>
                      <a:lnTo>
                        <a:pt x="307" y="74"/>
                      </a:lnTo>
                      <a:lnTo>
                        <a:pt x="309" y="74"/>
                      </a:lnTo>
                      <a:lnTo>
                        <a:pt x="309" y="76"/>
                      </a:lnTo>
                      <a:lnTo>
                        <a:pt x="311" y="76"/>
                      </a:lnTo>
                      <a:lnTo>
                        <a:pt x="311" y="78"/>
                      </a:lnTo>
                      <a:lnTo>
                        <a:pt x="312" y="76"/>
                      </a:lnTo>
                      <a:lnTo>
                        <a:pt x="312" y="78"/>
                      </a:lnTo>
                      <a:lnTo>
                        <a:pt x="314" y="78"/>
                      </a:lnTo>
                      <a:lnTo>
                        <a:pt x="314" y="79"/>
                      </a:lnTo>
                      <a:lnTo>
                        <a:pt x="316" y="79"/>
                      </a:lnTo>
                      <a:lnTo>
                        <a:pt x="316" y="81"/>
                      </a:lnTo>
                      <a:lnTo>
                        <a:pt x="317" y="81"/>
                      </a:lnTo>
                      <a:lnTo>
                        <a:pt x="317" y="83"/>
                      </a:lnTo>
                      <a:lnTo>
                        <a:pt x="319" y="81"/>
                      </a:lnTo>
                      <a:lnTo>
                        <a:pt x="321" y="81"/>
                      </a:lnTo>
                      <a:lnTo>
                        <a:pt x="322" y="81"/>
                      </a:lnTo>
                      <a:lnTo>
                        <a:pt x="322" y="79"/>
                      </a:lnTo>
                      <a:lnTo>
                        <a:pt x="324" y="79"/>
                      </a:lnTo>
                      <a:lnTo>
                        <a:pt x="324" y="81"/>
                      </a:lnTo>
                      <a:lnTo>
                        <a:pt x="326" y="81"/>
                      </a:lnTo>
                      <a:lnTo>
                        <a:pt x="327" y="81"/>
                      </a:lnTo>
                      <a:lnTo>
                        <a:pt x="329" y="79"/>
                      </a:lnTo>
                      <a:lnTo>
                        <a:pt x="329" y="78"/>
                      </a:lnTo>
                      <a:lnTo>
                        <a:pt x="331" y="78"/>
                      </a:lnTo>
                      <a:lnTo>
                        <a:pt x="331" y="79"/>
                      </a:lnTo>
                      <a:lnTo>
                        <a:pt x="331" y="78"/>
                      </a:lnTo>
                      <a:lnTo>
                        <a:pt x="332" y="78"/>
                      </a:lnTo>
                      <a:lnTo>
                        <a:pt x="334" y="78"/>
                      </a:lnTo>
                      <a:lnTo>
                        <a:pt x="334" y="79"/>
                      </a:lnTo>
                      <a:lnTo>
                        <a:pt x="334" y="78"/>
                      </a:lnTo>
                      <a:lnTo>
                        <a:pt x="336" y="79"/>
                      </a:lnTo>
                      <a:lnTo>
                        <a:pt x="338" y="79"/>
                      </a:lnTo>
                      <a:lnTo>
                        <a:pt x="339" y="79"/>
                      </a:lnTo>
                      <a:lnTo>
                        <a:pt x="339" y="81"/>
                      </a:lnTo>
                      <a:lnTo>
                        <a:pt x="341" y="81"/>
                      </a:lnTo>
                      <a:lnTo>
                        <a:pt x="343" y="81"/>
                      </a:lnTo>
                      <a:lnTo>
                        <a:pt x="344" y="81"/>
                      </a:lnTo>
                      <a:lnTo>
                        <a:pt x="344" y="79"/>
                      </a:lnTo>
                      <a:lnTo>
                        <a:pt x="346" y="79"/>
                      </a:lnTo>
                      <a:lnTo>
                        <a:pt x="346" y="81"/>
                      </a:lnTo>
                      <a:lnTo>
                        <a:pt x="348" y="81"/>
                      </a:lnTo>
                      <a:lnTo>
                        <a:pt x="348" y="83"/>
                      </a:lnTo>
                      <a:lnTo>
                        <a:pt x="348" y="84"/>
                      </a:lnTo>
                      <a:lnTo>
                        <a:pt x="348" y="86"/>
                      </a:lnTo>
                      <a:lnTo>
                        <a:pt x="348" y="87"/>
                      </a:lnTo>
                      <a:lnTo>
                        <a:pt x="349" y="89"/>
                      </a:lnTo>
                      <a:lnTo>
                        <a:pt x="349" y="91"/>
                      </a:lnTo>
                      <a:lnTo>
                        <a:pt x="351" y="91"/>
                      </a:lnTo>
                      <a:lnTo>
                        <a:pt x="353" y="91"/>
                      </a:lnTo>
                      <a:lnTo>
                        <a:pt x="353" y="92"/>
                      </a:lnTo>
                      <a:lnTo>
                        <a:pt x="354" y="92"/>
                      </a:lnTo>
                      <a:lnTo>
                        <a:pt x="354" y="94"/>
                      </a:lnTo>
                      <a:lnTo>
                        <a:pt x="356" y="94"/>
                      </a:lnTo>
                      <a:lnTo>
                        <a:pt x="358" y="94"/>
                      </a:lnTo>
                      <a:lnTo>
                        <a:pt x="359" y="94"/>
                      </a:lnTo>
                      <a:lnTo>
                        <a:pt x="359" y="96"/>
                      </a:lnTo>
                      <a:lnTo>
                        <a:pt x="361" y="97"/>
                      </a:lnTo>
                      <a:lnTo>
                        <a:pt x="361" y="99"/>
                      </a:lnTo>
                      <a:lnTo>
                        <a:pt x="361" y="101"/>
                      </a:lnTo>
                      <a:lnTo>
                        <a:pt x="363" y="101"/>
                      </a:lnTo>
                      <a:lnTo>
                        <a:pt x="366" y="101"/>
                      </a:lnTo>
                      <a:lnTo>
                        <a:pt x="366" y="99"/>
                      </a:lnTo>
                      <a:lnTo>
                        <a:pt x="366" y="97"/>
                      </a:lnTo>
                      <a:lnTo>
                        <a:pt x="368" y="97"/>
                      </a:lnTo>
                      <a:lnTo>
                        <a:pt x="370" y="96"/>
                      </a:lnTo>
                      <a:lnTo>
                        <a:pt x="371" y="94"/>
                      </a:lnTo>
                      <a:lnTo>
                        <a:pt x="370" y="92"/>
                      </a:lnTo>
                      <a:lnTo>
                        <a:pt x="371" y="92"/>
                      </a:lnTo>
                      <a:lnTo>
                        <a:pt x="373" y="92"/>
                      </a:lnTo>
                      <a:lnTo>
                        <a:pt x="375" y="94"/>
                      </a:lnTo>
                      <a:lnTo>
                        <a:pt x="376" y="94"/>
                      </a:lnTo>
                      <a:lnTo>
                        <a:pt x="376" y="92"/>
                      </a:lnTo>
                      <a:lnTo>
                        <a:pt x="378" y="92"/>
                      </a:lnTo>
                      <a:lnTo>
                        <a:pt x="380" y="92"/>
                      </a:lnTo>
                      <a:lnTo>
                        <a:pt x="381" y="91"/>
                      </a:lnTo>
                      <a:lnTo>
                        <a:pt x="381" y="89"/>
                      </a:lnTo>
                      <a:lnTo>
                        <a:pt x="383" y="89"/>
                      </a:lnTo>
                      <a:lnTo>
                        <a:pt x="385" y="89"/>
                      </a:lnTo>
                      <a:lnTo>
                        <a:pt x="387" y="89"/>
                      </a:lnTo>
                      <a:lnTo>
                        <a:pt x="388" y="89"/>
                      </a:lnTo>
                      <a:lnTo>
                        <a:pt x="390" y="89"/>
                      </a:lnTo>
                      <a:lnTo>
                        <a:pt x="392" y="89"/>
                      </a:lnTo>
                      <a:lnTo>
                        <a:pt x="392" y="87"/>
                      </a:lnTo>
                      <a:lnTo>
                        <a:pt x="393" y="87"/>
                      </a:lnTo>
                      <a:lnTo>
                        <a:pt x="392" y="86"/>
                      </a:lnTo>
                      <a:lnTo>
                        <a:pt x="393" y="86"/>
                      </a:lnTo>
                      <a:lnTo>
                        <a:pt x="395" y="86"/>
                      </a:lnTo>
                      <a:lnTo>
                        <a:pt x="397" y="86"/>
                      </a:lnTo>
                      <a:lnTo>
                        <a:pt x="397" y="84"/>
                      </a:lnTo>
                      <a:lnTo>
                        <a:pt x="398" y="84"/>
                      </a:lnTo>
                      <a:lnTo>
                        <a:pt x="398" y="81"/>
                      </a:lnTo>
                      <a:lnTo>
                        <a:pt x="402" y="79"/>
                      </a:lnTo>
                      <a:lnTo>
                        <a:pt x="403" y="79"/>
                      </a:lnTo>
                      <a:lnTo>
                        <a:pt x="405" y="78"/>
                      </a:lnTo>
                      <a:lnTo>
                        <a:pt x="405" y="76"/>
                      </a:lnTo>
                      <a:lnTo>
                        <a:pt x="405" y="74"/>
                      </a:lnTo>
                      <a:lnTo>
                        <a:pt x="408" y="74"/>
                      </a:lnTo>
                      <a:lnTo>
                        <a:pt x="408" y="73"/>
                      </a:lnTo>
                      <a:lnTo>
                        <a:pt x="410" y="73"/>
                      </a:lnTo>
                      <a:lnTo>
                        <a:pt x="410" y="71"/>
                      </a:lnTo>
                      <a:lnTo>
                        <a:pt x="412" y="71"/>
                      </a:lnTo>
                      <a:lnTo>
                        <a:pt x="414" y="71"/>
                      </a:lnTo>
                      <a:lnTo>
                        <a:pt x="415" y="69"/>
                      </a:lnTo>
                      <a:lnTo>
                        <a:pt x="417" y="69"/>
                      </a:lnTo>
                      <a:lnTo>
                        <a:pt x="419" y="69"/>
                      </a:lnTo>
                      <a:lnTo>
                        <a:pt x="420" y="69"/>
                      </a:lnTo>
                      <a:lnTo>
                        <a:pt x="422" y="69"/>
                      </a:lnTo>
                      <a:lnTo>
                        <a:pt x="424" y="69"/>
                      </a:lnTo>
                      <a:lnTo>
                        <a:pt x="425" y="69"/>
                      </a:lnTo>
                      <a:lnTo>
                        <a:pt x="427" y="69"/>
                      </a:lnTo>
                      <a:lnTo>
                        <a:pt x="429" y="69"/>
                      </a:lnTo>
                      <a:lnTo>
                        <a:pt x="430" y="68"/>
                      </a:lnTo>
                      <a:lnTo>
                        <a:pt x="432" y="66"/>
                      </a:lnTo>
                      <a:lnTo>
                        <a:pt x="434" y="66"/>
                      </a:lnTo>
                      <a:lnTo>
                        <a:pt x="435" y="66"/>
                      </a:lnTo>
                      <a:lnTo>
                        <a:pt x="437" y="66"/>
                      </a:lnTo>
                      <a:lnTo>
                        <a:pt x="439" y="68"/>
                      </a:lnTo>
                      <a:lnTo>
                        <a:pt x="441" y="66"/>
                      </a:lnTo>
                      <a:lnTo>
                        <a:pt x="442" y="66"/>
                      </a:lnTo>
                      <a:lnTo>
                        <a:pt x="442" y="68"/>
                      </a:lnTo>
                      <a:lnTo>
                        <a:pt x="444" y="68"/>
                      </a:lnTo>
                      <a:lnTo>
                        <a:pt x="446" y="68"/>
                      </a:lnTo>
                      <a:lnTo>
                        <a:pt x="447" y="68"/>
                      </a:lnTo>
                      <a:lnTo>
                        <a:pt x="447" y="66"/>
                      </a:lnTo>
                      <a:lnTo>
                        <a:pt x="449" y="66"/>
                      </a:lnTo>
                      <a:lnTo>
                        <a:pt x="451" y="66"/>
                      </a:lnTo>
                      <a:lnTo>
                        <a:pt x="451" y="64"/>
                      </a:lnTo>
                      <a:lnTo>
                        <a:pt x="452" y="64"/>
                      </a:lnTo>
                      <a:lnTo>
                        <a:pt x="454" y="66"/>
                      </a:lnTo>
                      <a:lnTo>
                        <a:pt x="454" y="64"/>
                      </a:lnTo>
                      <a:lnTo>
                        <a:pt x="456" y="63"/>
                      </a:lnTo>
                      <a:lnTo>
                        <a:pt x="456" y="60"/>
                      </a:lnTo>
                      <a:lnTo>
                        <a:pt x="457" y="58"/>
                      </a:lnTo>
                      <a:lnTo>
                        <a:pt x="457" y="56"/>
                      </a:lnTo>
                      <a:lnTo>
                        <a:pt x="459" y="56"/>
                      </a:lnTo>
                      <a:lnTo>
                        <a:pt x="459" y="55"/>
                      </a:lnTo>
                      <a:lnTo>
                        <a:pt x="461" y="53"/>
                      </a:lnTo>
                      <a:lnTo>
                        <a:pt x="463" y="53"/>
                      </a:lnTo>
                      <a:lnTo>
                        <a:pt x="464" y="51"/>
                      </a:lnTo>
                      <a:lnTo>
                        <a:pt x="464" y="50"/>
                      </a:lnTo>
                      <a:lnTo>
                        <a:pt x="464" y="48"/>
                      </a:lnTo>
                      <a:lnTo>
                        <a:pt x="464" y="46"/>
                      </a:lnTo>
                      <a:lnTo>
                        <a:pt x="464" y="45"/>
                      </a:lnTo>
                      <a:lnTo>
                        <a:pt x="466" y="43"/>
                      </a:lnTo>
                      <a:lnTo>
                        <a:pt x="468" y="45"/>
                      </a:lnTo>
                      <a:lnTo>
                        <a:pt x="469" y="45"/>
                      </a:lnTo>
                      <a:lnTo>
                        <a:pt x="469" y="43"/>
                      </a:lnTo>
                      <a:lnTo>
                        <a:pt x="471" y="43"/>
                      </a:lnTo>
                      <a:lnTo>
                        <a:pt x="469" y="43"/>
                      </a:lnTo>
                      <a:lnTo>
                        <a:pt x="471" y="41"/>
                      </a:lnTo>
                      <a:lnTo>
                        <a:pt x="473" y="41"/>
                      </a:lnTo>
                      <a:lnTo>
                        <a:pt x="474" y="41"/>
                      </a:lnTo>
                      <a:lnTo>
                        <a:pt x="474" y="40"/>
                      </a:lnTo>
                      <a:lnTo>
                        <a:pt x="476" y="40"/>
                      </a:lnTo>
                      <a:lnTo>
                        <a:pt x="476" y="38"/>
                      </a:lnTo>
                      <a:lnTo>
                        <a:pt x="478" y="40"/>
                      </a:lnTo>
                      <a:lnTo>
                        <a:pt x="478" y="38"/>
                      </a:lnTo>
                      <a:lnTo>
                        <a:pt x="479" y="38"/>
                      </a:lnTo>
                      <a:lnTo>
                        <a:pt x="479" y="40"/>
                      </a:lnTo>
                      <a:lnTo>
                        <a:pt x="481" y="40"/>
                      </a:lnTo>
                      <a:lnTo>
                        <a:pt x="483" y="40"/>
                      </a:lnTo>
                      <a:lnTo>
                        <a:pt x="481" y="38"/>
                      </a:lnTo>
                      <a:lnTo>
                        <a:pt x="483" y="38"/>
                      </a:lnTo>
                      <a:lnTo>
                        <a:pt x="481" y="38"/>
                      </a:lnTo>
                      <a:lnTo>
                        <a:pt x="483" y="37"/>
                      </a:lnTo>
                      <a:lnTo>
                        <a:pt x="484" y="35"/>
                      </a:lnTo>
                      <a:lnTo>
                        <a:pt x="484" y="33"/>
                      </a:lnTo>
                      <a:lnTo>
                        <a:pt x="486" y="33"/>
                      </a:lnTo>
                      <a:lnTo>
                        <a:pt x="486" y="32"/>
                      </a:lnTo>
                      <a:lnTo>
                        <a:pt x="484" y="32"/>
                      </a:lnTo>
                      <a:lnTo>
                        <a:pt x="486" y="30"/>
                      </a:lnTo>
                      <a:lnTo>
                        <a:pt x="488" y="28"/>
                      </a:lnTo>
                      <a:lnTo>
                        <a:pt x="490" y="28"/>
                      </a:lnTo>
                      <a:lnTo>
                        <a:pt x="490" y="27"/>
                      </a:lnTo>
                      <a:lnTo>
                        <a:pt x="491" y="25"/>
                      </a:lnTo>
                      <a:lnTo>
                        <a:pt x="493" y="25"/>
                      </a:lnTo>
                      <a:lnTo>
                        <a:pt x="493" y="23"/>
                      </a:lnTo>
                      <a:lnTo>
                        <a:pt x="493" y="25"/>
                      </a:lnTo>
                      <a:lnTo>
                        <a:pt x="495" y="22"/>
                      </a:lnTo>
                      <a:lnTo>
                        <a:pt x="496" y="20"/>
                      </a:lnTo>
                      <a:lnTo>
                        <a:pt x="496" y="18"/>
                      </a:lnTo>
                      <a:lnTo>
                        <a:pt x="496" y="17"/>
                      </a:lnTo>
                      <a:lnTo>
                        <a:pt x="498" y="15"/>
                      </a:lnTo>
                      <a:lnTo>
                        <a:pt x="500" y="15"/>
                      </a:lnTo>
                      <a:lnTo>
                        <a:pt x="500" y="17"/>
                      </a:lnTo>
                      <a:lnTo>
                        <a:pt x="501" y="17"/>
                      </a:lnTo>
                      <a:lnTo>
                        <a:pt x="501" y="18"/>
                      </a:lnTo>
                      <a:lnTo>
                        <a:pt x="503" y="18"/>
                      </a:lnTo>
                      <a:lnTo>
                        <a:pt x="503" y="17"/>
                      </a:lnTo>
                      <a:lnTo>
                        <a:pt x="505" y="17"/>
                      </a:lnTo>
                      <a:lnTo>
                        <a:pt x="505" y="18"/>
                      </a:lnTo>
                      <a:lnTo>
                        <a:pt x="506" y="18"/>
                      </a:lnTo>
                      <a:lnTo>
                        <a:pt x="508" y="18"/>
                      </a:lnTo>
                      <a:lnTo>
                        <a:pt x="508" y="17"/>
                      </a:lnTo>
                      <a:lnTo>
                        <a:pt x="510" y="17"/>
                      </a:lnTo>
                      <a:lnTo>
                        <a:pt x="511" y="17"/>
                      </a:lnTo>
                      <a:lnTo>
                        <a:pt x="511" y="15"/>
                      </a:lnTo>
                      <a:lnTo>
                        <a:pt x="513" y="15"/>
                      </a:lnTo>
                      <a:lnTo>
                        <a:pt x="515" y="17"/>
                      </a:lnTo>
                      <a:lnTo>
                        <a:pt x="515" y="15"/>
                      </a:lnTo>
                      <a:lnTo>
                        <a:pt x="517" y="17"/>
                      </a:lnTo>
                      <a:lnTo>
                        <a:pt x="517" y="15"/>
                      </a:lnTo>
                      <a:lnTo>
                        <a:pt x="517" y="17"/>
                      </a:lnTo>
                      <a:lnTo>
                        <a:pt x="517" y="15"/>
                      </a:lnTo>
                      <a:lnTo>
                        <a:pt x="518" y="17"/>
                      </a:lnTo>
                      <a:lnTo>
                        <a:pt x="520" y="15"/>
                      </a:lnTo>
                      <a:lnTo>
                        <a:pt x="522" y="15"/>
                      </a:lnTo>
                      <a:lnTo>
                        <a:pt x="523" y="15"/>
                      </a:lnTo>
                      <a:lnTo>
                        <a:pt x="523" y="17"/>
                      </a:lnTo>
                      <a:lnTo>
                        <a:pt x="522" y="17"/>
                      </a:lnTo>
                      <a:lnTo>
                        <a:pt x="522" y="18"/>
                      </a:lnTo>
                      <a:lnTo>
                        <a:pt x="522" y="20"/>
                      </a:lnTo>
                      <a:lnTo>
                        <a:pt x="523" y="20"/>
                      </a:lnTo>
                      <a:lnTo>
                        <a:pt x="523" y="22"/>
                      </a:lnTo>
                      <a:lnTo>
                        <a:pt x="523" y="23"/>
                      </a:lnTo>
                      <a:lnTo>
                        <a:pt x="525" y="23"/>
                      </a:lnTo>
                      <a:lnTo>
                        <a:pt x="527" y="23"/>
                      </a:lnTo>
                      <a:lnTo>
                        <a:pt x="528" y="23"/>
                      </a:lnTo>
                      <a:lnTo>
                        <a:pt x="530" y="23"/>
                      </a:lnTo>
                      <a:lnTo>
                        <a:pt x="530" y="25"/>
                      </a:lnTo>
                      <a:lnTo>
                        <a:pt x="532" y="25"/>
                      </a:lnTo>
                      <a:lnTo>
                        <a:pt x="532" y="27"/>
                      </a:lnTo>
                      <a:lnTo>
                        <a:pt x="530" y="27"/>
                      </a:lnTo>
                      <a:lnTo>
                        <a:pt x="530" y="28"/>
                      </a:lnTo>
                      <a:lnTo>
                        <a:pt x="532" y="28"/>
                      </a:lnTo>
                      <a:lnTo>
                        <a:pt x="533" y="27"/>
                      </a:lnTo>
                      <a:lnTo>
                        <a:pt x="535" y="27"/>
                      </a:lnTo>
                      <a:lnTo>
                        <a:pt x="537" y="27"/>
                      </a:lnTo>
                      <a:lnTo>
                        <a:pt x="537" y="28"/>
                      </a:lnTo>
                      <a:lnTo>
                        <a:pt x="539" y="28"/>
                      </a:lnTo>
                      <a:lnTo>
                        <a:pt x="540" y="28"/>
                      </a:lnTo>
                      <a:lnTo>
                        <a:pt x="542" y="28"/>
                      </a:lnTo>
                      <a:lnTo>
                        <a:pt x="542" y="30"/>
                      </a:lnTo>
                      <a:lnTo>
                        <a:pt x="544" y="30"/>
                      </a:lnTo>
                      <a:lnTo>
                        <a:pt x="544" y="32"/>
                      </a:lnTo>
                      <a:lnTo>
                        <a:pt x="544" y="33"/>
                      </a:lnTo>
                      <a:lnTo>
                        <a:pt x="545" y="33"/>
                      </a:lnTo>
                      <a:lnTo>
                        <a:pt x="545" y="35"/>
                      </a:lnTo>
                      <a:lnTo>
                        <a:pt x="547" y="37"/>
                      </a:lnTo>
                      <a:lnTo>
                        <a:pt x="547" y="38"/>
                      </a:lnTo>
                      <a:lnTo>
                        <a:pt x="547" y="41"/>
                      </a:lnTo>
                      <a:lnTo>
                        <a:pt x="549" y="41"/>
                      </a:lnTo>
                      <a:lnTo>
                        <a:pt x="549" y="43"/>
                      </a:lnTo>
                      <a:lnTo>
                        <a:pt x="549" y="45"/>
                      </a:lnTo>
                      <a:lnTo>
                        <a:pt x="550" y="45"/>
                      </a:lnTo>
                      <a:lnTo>
                        <a:pt x="550" y="46"/>
                      </a:lnTo>
                      <a:lnTo>
                        <a:pt x="550" y="48"/>
                      </a:lnTo>
                      <a:lnTo>
                        <a:pt x="550" y="50"/>
                      </a:lnTo>
                      <a:lnTo>
                        <a:pt x="552" y="50"/>
                      </a:lnTo>
                      <a:lnTo>
                        <a:pt x="552" y="51"/>
                      </a:lnTo>
                      <a:lnTo>
                        <a:pt x="554" y="51"/>
                      </a:lnTo>
                      <a:lnTo>
                        <a:pt x="554" y="53"/>
                      </a:lnTo>
                      <a:lnTo>
                        <a:pt x="555" y="51"/>
                      </a:lnTo>
                      <a:lnTo>
                        <a:pt x="555" y="53"/>
                      </a:lnTo>
                      <a:lnTo>
                        <a:pt x="557" y="53"/>
                      </a:lnTo>
                      <a:lnTo>
                        <a:pt x="557" y="55"/>
                      </a:lnTo>
                      <a:lnTo>
                        <a:pt x="557" y="53"/>
                      </a:lnTo>
                      <a:lnTo>
                        <a:pt x="559" y="55"/>
                      </a:lnTo>
                      <a:lnTo>
                        <a:pt x="560" y="55"/>
                      </a:lnTo>
                      <a:lnTo>
                        <a:pt x="560" y="56"/>
                      </a:lnTo>
                      <a:lnTo>
                        <a:pt x="562" y="56"/>
                      </a:lnTo>
                      <a:lnTo>
                        <a:pt x="564" y="56"/>
                      </a:lnTo>
                      <a:lnTo>
                        <a:pt x="564" y="58"/>
                      </a:lnTo>
                      <a:lnTo>
                        <a:pt x="566" y="58"/>
                      </a:lnTo>
                      <a:lnTo>
                        <a:pt x="566" y="60"/>
                      </a:lnTo>
                      <a:lnTo>
                        <a:pt x="564" y="61"/>
                      </a:lnTo>
                      <a:lnTo>
                        <a:pt x="564" y="63"/>
                      </a:lnTo>
                      <a:lnTo>
                        <a:pt x="562" y="64"/>
                      </a:lnTo>
                      <a:lnTo>
                        <a:pt x="564" y="64"/>
                      </a:lnTo>
                      <a:lnTo>
                        <a:pt x="564" y="66"/>
                      </a:lnTo>
                      <a:lnTo>
                        <a:pt x="564" y="68"/>
                      </a:lnTo>
                      <a:lnTo>
                        <a:pt x="562" y="69"/>
                      </a:lnTo>
                      <a:lnTo>
                        <a:pt x="560" y="69"/>
                      </a:lnTo>
                      <a:lnTo>
                        <a:pt x="562" y="69"/>
                      </a:lnTo>
                      <a:lnTo>
                        <a:pt x="560" y="71"/>
                      </a:lnTo>
                      <a:lnTo>
                        <a:pt x="559" y="71"/>
                      </a:lnTo>
                      <a:lnTo>
                        <a:pt x="559" y="69"/>
                      </a:lnTo>
                      <a:lnTo>
                        <a:pt x="559" y="71"/>
                      </a:lnTo>
                      <a:lnTo>
                        <a:pt x="557" y="71"/>
                      </a:lnTo>
                      <a:lnTo>
                        <a:pt x="557" y="73"/>
                      </a:lnTo>
                      <a:lnTo>
                        <a:pt x="559" y="73"/>
                      </a:lnTo>
                      <a:lnTo>
                        <a:pt x="559" y="74"/>
                      </a:lnTo>
                      <a:lnTo>
                        <a:pt x="559" y="76"/>
                      </a:lnTo>
                      <a:lnTo>
                        <a:pt x="557" y="76"/>
                      </a:lnTo>
                      <a:lnTo>
                        <a:pt x="557" y="78"/>
                      </a:lnTo>
                      <a:lnTo>
                        <a:pt x="559" y="78"/>
                      </a:lnTo>
                      <a:lnTo>
                        <a:pt x="557" y="79"/>
                      </a:lnTo>
                      <a:lnTo>
                        <a:pt x="559" y="79"/>
                      </a:lnTo>
                      <a:lnTo>
                        <a:pt x="557" y="81"/>
                      </a:lnTo>
                      <a:lnTo>
                        <a:pt x="555" y="81"/>
                      </a:lnTo>
                      <a:lnTo>
                        <a:pt x="557" y="83"/>
                      </a:lnTo>
                      <a:lnTo>
                        <a:pt x="555" y="84"/>
                      </a:lnTo>
                      <a:lnTo>
                        <a:pt x="557" y="84"/>
                      </a:lnTo>
                      <a:lnTo>
                        <a:pt x="560" y="84"/>
                      </a:lnTo>
                      <a:lnTo>
                        <a:pt x="562" y="86"/>
                      </a:lnTo>
                      <a:lnTo>
                        <a:pt x="564" y="86"/>
                      </a:lnTo>
                      <a:lnTo>
                        <a:pt x="567" y="86"/>
                      </a:lnTo>
                      <a:lnTo>
                        <a:pt x="567" y="87"/>
                      </a:lnTo>
                      <a:lnTo>
                        <a:pt x="569" y="87"/>
                      </a:lnTo>
                      <a:lnTo>
                        <a:pt x="571" y="87"/>
                      </a:lnTo>
                      <a:lnTo>
                        <a:pt x="572" y="86"/>
                      </a:lnTo>
                      <a:lnTo>
                        <a:pt x="574" y="86"/>
                      </a:lnTo>
                      <a:lnTo>
                        <a:pt x="576" y="86"/>
                      </a:lnTo>
                      <a:lnTo>
                        <a:pt x="576" y="84"/>
                      </a:lnTo>
                      <a:lnTo>
                        <a:pt x="577" y="84"/>
                      </a:lnTo>
                      <a:lnTo>
                        <a:pt x="577" y="83"/>
                      </a:lnTo>
                      <a:lnTo>
                        <a:pt x="577" y="81"/>
                      </a:lnTo>
                      <a:lnTo>
                        <a:pt x="579" y="81"/>
                      </a:lnTo>
                      <a:lnTo>
                        <a:pt x="581" y="81"/>
                      </a:lnTo>
                      <a:lnTo>
                        <a:pt x="582" y="81"/>
                      </a:lnTo>
                      <a:lnTo>
                        <a:pt x="584" y="81"/>
                      </a:lnTo>
                      <a:lnTo>
                        <a:pt x="586" y="81"/>
                      </a:lnTo>
                      <a:lnTo>
                        <a:pt x="586" y="79"/>
                      </a:lnTo>
                      <a:lnTo>
                        <a:pt x="587" y="76"/>
                      </a:lnTo>
                      <a:lnTo>
                        <a:pt x="589" y="76"/>
                      </a:lnTo>
                      <a:lnTo>
                        <a:pt x="591" y="76"/>
                      </a:lnTo>
                      <a:lnTo>
                        <a:pt x="591" y="78"/>
                      </a:lnTo>
                      <a:lnTo>
                        <a:pt x="593" y="78"/>
                      </a:lnTo>
                      <a:lnTo>
                        <a:pt x="594" y="78"/>
                      </a:lnTo>
                      <a:lnTo>
                        <a:pt x="596" y="78"/>
                      </a:lnTo>
                      <a:lnTo>
                        <a:pt x="596" y="76"/>
                      </a:lnTo>
                      <a:lnTo>
                        <a:pt x="598" y="76"/>
                      </a:lnTo>
                      <a:lnTo>
                        <a:pt x="596" y="74"/>
                      </a:lnTo>
                      <a:lnTo>
                        <a:pt x="596" y="73"/>
                      </a:lnTo>
                      <a:lnTo>
                        <a:pt x="598" y="73"/>
                      </a:lnTo>
                      <a:lnTo>
                        <a:pt x="598" y="71"/>
                      </a:lnTo>
                      <a:lnTo>
                        <a:pt x="598" y="69"/>
                      </a:lnTo>
                      <a:lnTo>
                        <a:pt x="599" y="69"/>
                      </a:lnTo>
                      <a:lnTo>
                        <a:pt x="599" y="68"/>
                      </a:lnTo>
                      <a:lnTo>
                        <a:pt x="599" y="66"/>
                      </a:lnTo>
                      <a:lnTo>
                        <a:pt x="599" y="64"/>
                      </a:lnTo>
                      <a:lnTo>
                        <a:pt x="601" y="63"/>
                      </a:lnTo>
                      <a:lnTo>
                        <a:pt x="601" y="61"/>
                      </a:lnTo>
                      <a:lnTo>
                        <a:pt x="601" y="60"/>
                      </a:lnTo>
                      <a:lnTo>
                        <a:pt x="601" y="58"/>
                      </a:lnTo>
                      <a:lnTo>
                        <a:pt x="601" y="56"/>
                      </a:lnTo>
                      <a:lnTo>
                        <a:pt x="601" y="53"/>
                      </a:lnTo>
                      <a:lnTo>
                        <a:pt x="603" y="51"/>
                      </a:lnTo>
                      <a:lnTo>
                        <a:pt x="603" y="50"/>
                      </a:lnTo>
                      <a:lnTo>
                        <a:pt x="604" y="50"/>
                      </a:lnTo>
                      <a:lnTo>
                        <a:pt x="604" y="48"/>
                      </a:lnTo>
                      <a:lnTo>
                        <a:pt x="606" y="48"/>
                      </a:lnTo>
                      <a:lnTo>
                        <a:pt x="608" y="48"/>
                      </a:lnTo>
                      <a:lnTo>
                        <a:pt x="609" y="48"/>
                      </a:lnTo>
                      <a:lnTo>
                        <a:pt x="609" y="50"/>
                      </a:lnTo>
                      <a:lnTo>
                        <a:pt x="611" y="51"/>
                      </a:lnTo>
                      <a:lnTo>
                        <a:pt x="613" y="51"/>
                      </a:lnTo>
                      <a:lnTo>
                        <a:pt x="613" y="53"/>
                      </a:lnTo>
                      <a:lnTo>
                        <a:pt x="615" y="53"/>
                      </a:lnTo>
                      <a:lnTo>
                        <a:pt x="616" y="53"/>
                      </a:lnTo>
                      <a:lnTo>
                        <a:pt x="618" y="53"/>
                      </a:lnTo>
                      <a:lnTo>
                        <a:pt x="618" y="51"/>
                      </a:lnTo>
                      <a:lnTo>
                        <a:pt x="620" y="51"/>
                      </a:lnTo>
                      <a:lnTo>
                        <a:pt x="621" y="50"/>
                      </a:lnTo>
                      <a:lnTo>
                        <a:pt x="621" y="48"/>
                      </a:lnTo>
                      <a:lnTo>
                        <a:pt x="623" y="48"/>
                      </a:lnTo>
                      <a:lnTo>
                        <a:pt x="625" y="48"/>
                      </a:lnTo>
                      <a:lnTo>
                        <a:pt x="626" y="48"/>
                      </a:lnTo>
                      <a:lnTo>
                        <a:pt x="628" y="48"/>
                      </a:lnTo>
                      <a:lnTo>
                        <a:pt x="630" y="48"/>
                      </a:lnTo>
                      <a:lnTo>
                        <a:pt x="631" y="48"/>
                      </a:lnTo>
                      <a:lnTo>
                        <a:pt x="633" y="46"/>
                      </a:lnTo>
                      <a:lnTo>
                        <a:pt x="635" y="45"/>
                      </a:lnTo>
                      <a:lnTo>
                        <a:pt x="635" y="43"/>
                      </a:lnTo>
                      <a:lnTo>
                        <a:pt x="636" y="43"/>
                      </a:lnTo>
                      <a:lnTo>
                        <a:pt x="636" y="41"/>
                      </a:lnTo>
                      <a:lnTo>
                        <a:pt x="638" y="40"/>
                      </a:lnTo>
                      <a:lnTo>
                        <a:pt x="640" y="38"/>
                      </a:lnTo>
                      <a:lnTo>
                        <a:pt x="640" y="37"/>
                      </a:lnTo>
                      <a:lnTo>
                        <a:pt x="640" y="35"/>
                      </a:lnTo>
                      <a:lnTo>
                        <a:pt x="640" y="33"/>
                      </a:lnTo>
                      <a:lnTo>
                        <a:pt x="638" y="32"/>
                      </a:lnTo>
                      <a:lnTo>
                        <a:pt x="638" y="30"/>
                      </a:lnTo>
                      <a:lnTo>
                        <a:pt x="638" y="28"/>
                      </a:lnTo>
                      <a:lnTo>
                        <a:pt x="638" y="27"/>
                      </a:lnTo>
                      <a:lnTo>
                        <a:pt x="640" y="27"/>
                      </a:lnTo>
                      <a:lnTo>
                        <a:pt x="642" y="27"/>
                      </a:lnTo>
                      <a:lnTo>
                        <a:pt x="643" y="27"/>
                      </a:lnTo>
                      <a:lnTo>
                        <a:pt x="645" y="25"/>
                      </a:lnTo>
                      <a:lnTo>
                        <a:pt x="647" y="25"/>
                      </a:lnTo>
                      <a:lnTo>
                        <a:pt x="647" y="27"/>
                      </a:lnTo>
                      <a:lnTo>
                        <a:pt x="648" y="27"/>
                      </a:lnTo>
                      <a:lnTo>
                        <a:pt x="650" y="25"/>
                      </a:lnTo>
                      <a:lnTo>
                        <a:pt x="652" y="25"/>
                      </a:lnTo>
                      <a:lnTo>
                        <a:pt x="652" y="23"/>
                      </a:lnTo>
                      <a:lnTo>
                        <a:pt x="653" y="23"/>
                      </a:lnTo>
                      <a:lnTo>
                        <a:pt x="655" y="23"/>
                      </a:lnTo>
                      <a:lnTo>
                        <a:pt x="657" y="25"/>
                      </a:lnTo>
                      <a:lnTo>
                        <a:pt x="658" y="23"/>
                      </a:lnTo>
                      <a:lnTo>
                        <a:pt x="660" y="23"/>
                      </a:lnTo>
                      <a:lnTo>
                        <a:pt x="660" y="22"/>
                      </a:lnTo>
                      <a:lnTo>
                        <a:pt x="658" y="22"/>
                      </a:lnTo>
                      <a:lnTo>
                        <a:pt x="658" y="20"/>
                      </a:lnTo>
                      <a:lnTo>
                        <a:pt x="660" y="18"/>
                      </a:lnTo>
                      <a:lnTo>
                        <a:pt x="658" y="18"/>
                      </a:lnTo>
                      <a:lnTo>
                        <a:pt x="658" y="17"/>
                      </a:lnTo>
                      <a:lnTo>
                        <a:pt x="657" y="14"/>
                      </a:lnTo>
                      <a:lnTo>
                        <a:pt x="657" y="12"/>
                      </a:lnTo>
                      <a:lnTo>
                        <a:pt x="658" y="12"/>
                      </a:lnTo>
                      <a:lnTo>
                        <a:pt x="660" y="12"/>
                      </a:lnTo>
                      <a:lnTo>
                        <a:pt x="662" y="12"/>
                      </a:lnTo>
                      <a:lnTo>
                        <a:pt x="663" y="12"/>
                      </a:lnTo>
                      <a:lnTo>
                        <a:pt x="663" y="10"/>
                      </a:lnTo>
                      <a:lnTo>
                        <a:pt x="665" y="12"/>
                      </a:lnTo>
                      <a:lnTo>
                        <a:pt x="667" y="10"/>
                      </a:lnTo>
                      <a:lnTo>
                        <a:pt x="669" y="10"/>
                      </a:lnTo>
                      <a:lnTo>
                        <a:pt x="669" y="9"/>
                      </a:lnTo>
                      <a:lnTo>
                        <a:pt x="670" y="9"/>
                      </a:lnTo>
                      <a:lnTo>
                        <a:pt x="672" y="7"/>
                      </a:lnTo>
                      <a:lnTo>
                        <a:pt x="674" y="7"/>
                      </a:lnTo>
                      <a:lnTo>
                        <a:pt x="674" y="5"/>
                      </a:lnTo>
                      <a:lnTo>
                        <a:pt x="675" y="5"/>
                      </a:lnTo>
                      <a:lnTo>
                        <a:pt x="677" y="5"/>
                      </a:lnTo>
                      <a:lnTo>
                        <a:pt x="679" y="5"/>
                      </a:lnTo>
                      <a:lnTo>
                        <a:pt x="679" y="4"/>
                      </a:lnTo>
                      <a:lnTo>
                        <a:pt x="680" y="4"/>
                      </a:lnTo>
                      <a:lnTo>
                        <a:pt x="680" y="2"/>
                      </a:lnTo>
                      <a:lnTo>
                        <a:pt x="682" y="2"/>
                      </a:lnTo>
                      <a:lnTo>
                        <a:pt x="684" y="2"/>
                      </a:lnTo>
                      <a:lnTo>
                        <a:pt x="684" y="0"/>
                      </a:lnTo>
                      <a:lnTo>
                        <a:pt x="685" y="0"/>
                      </a:lnTo>
                      <a:lnTo>
                        <a:pt x="687" y="0"/>
                      </a:lnTo>
                      <a:lnTo>
                        <a:pt x="689" y="0"/>
                      </a:lnTo>
                      <a:lnTo>
                        <a:pt x="691" y="2"/>
                      </a:lnTo>
                      <a:lnTo>
                        <a:pt x="692" y="2"/>
                      </a:lnTo>
                      <a:lnTo>
                        <a:pt x="694" y="2"/>
                      </a:lnTo>
                      <a:lnTo>
                        <a:pt x="696" y="2"/>
                      </a:lnTo>
                      <a:lnTo>
                        <a:pt x="697" y="4"/>
                      </a:lnTo>
                      <a:lnTo>
                        <a:pt x="697" y="5"/>
                      </a:lnTo>
                      <a:lnTo>
                        <a:pt x="697" y="7"/>
                      </a:lnTo>
                      <a:lnTo>
                        <a:pt x="699" y="7"/>
                      </a:lnTo>
                      <a:lnTo>
                        <a:pt x="699" y="9"/>
                      </a:lnTo>
                      <a:lnTo>
                        <a:pt x="701" y="9"/>
                      </a:lnTo>
                      <a:lnTo>
                        <a:pt x="701" y="10"/>
                      </a:lnTo>
                      <a:lnTo>
                        <a:pt x="701" y="12"/>
                      </a:lnTo>
                      <a:lnTo>
                        <a:pt x="699" y="12"/>
                      </a:lnTo>
                      <a:lnTo>
                        <a:pt x="701" y="14"/>
                      </a:lnTo>
                      <a:lnTo>
                        <a:pt x="701" y="15"/>
                      </a:lnTo>
                      <a:lnTo>
                        <a:pt x="701" y="17"/>
                      </a:lnTo>
                      <a:lnTo>
                        <a:pt x="702" y="17"/>
                      </a:lnTo>
                      <a:lnTo>
                        <a:pt x="702" y="15"/>
                      </a:lnTo>
                      <a:lnTo>
                        <a:pt x="704" y="17"/>
                      </a:lnTo>
                      <a:lnTo>
                        <a:pt x="706" y="15"/>
                      </a:lnTo>
                      <a:lnTo>
                        <a:pt x="707" y="15"/>
                      </a:lnTo>
                      <a:lnTo>
                        <a:pt x="709" y="15"/>
                      </a:lnTo>
                      <a:lnTo>
                        <a:pt x="709" y="17"/>
                      </a:lnTo>
                      <a:lnTo>
                        <a:pt x="711" y="17"/>
                      </a:lnTo>
                      <a:lnTo>
                        <a:pt x="712" y="17"/>
                      </a:lnTo>
                      <a:lnTo>
                        <a:pt x="714" y="17"/>
                      </a:lnTo>
                      <a:lnTo>
                        <a:pt x="718" y="18"/>
                      </a:lnTo>
                      <a:lnTo>
                        <a:pt x="719" y="18"/>
                      </a:lnTo>
                      <a:lnTo>
                        <a:pt x="721" y="18"/>
                      </a:lnTo>
                      <a:lnTo>
                        <a:pt x="721" y="20"/>
                      </a:lnTo>
                      <a:lnTo>
                        <a:pt x="723" y="20"/>
                      </a:lnTo>
                      <a:lnTo>
                        <a:pt x="724" y="22"/>
                      </a:lnTo>
                      <a:lnTo>
                        <a:pt x="726" y="23"/>
                      </a:lnTo>
                      <a:lnTo>
                        <a:pt x="728" y="25"/>
                      </a:lnTo>
                      <a:lnTo>
                        <a:pt x="729" y="25"/>
                      </a:lnTo>
                      <a:lnTo>
                        <a:pt x="729" y="23"/>
                      </a:lnTo>
                      <a:lnTo>
                        <a:pt x="731" y="23"/>
                      </a:lnTo>
                      <a:lnTo>
                        <a:pt x="733" y="23"/>
                      </a:lnTo>
                      <a:lnTo>
                        <a:pt x="734" y="23"/>
                      </a:lnTo>
                      <a:lnTo>
                        <a:pt x="736" y="23"/>
                      </a:lnTo>
                      <a:lnTo>
                        <a:pt x="738" y="23"/>
                      </a:lnTo>
                      <a:lnTo>
                        <a:pt x="739" y="23"/>
                      </a:lnTo>
                      <a:lnTo>
                        <a:pt x="741" y="23"/>
                      </a:lnTo>
                      <a:lnTo>
                        <a:pt x="743" y="25"/>
                      </a:lnTo>
                      <a:lnTo>
                        <a:pt x="745" y="25"/>
                      </a:lnTo>
                      <a:lnTo>
                        <a:pt x="745" y="27"/>
                      </a:lnTo>
                      <a:lnTo>
                        <a:pt x="746" y="27"/>
                      </a:lnTo>
                      <a:lnTo>
                        <a:pt x="746" y="28"/>
                      </a:lnTo>
                      <a:lnTo>
                        <a:pt x="748" y="28"/>
                      </a:lnTo>
                      <a:lnTo>
                        <a:pt x="750" y="28"/>
                      </a:lnTo>
                      <a:lnTo>
                        <a:pt x="750" y="30"/>
                      </a:lnTo>
                      <a:lnTo>
                        <a:pt x="751" y="30"/>
                      </a:lnTo>
                      <a:lnTo>
                        <a:pt x="751" y="32"/>
                      </a:lnTo>
                      <a:lnTo>
                        <a:pt x="751" y="33"/>
                      </a:lnTo>
                      <a:lnTo>
                        <a:pt x="753" y="35"/>
                      </a:lnTo>
                      <a:lnTo>
                        <a:pt x="753" y="37"/>
                      </a:lnTo>
                      <a:lnTo>
                        <a:pt x="753" y="38"/>
                      </a:lnTo>
                      <a:lnTo>
                        <a:pt x="753" y="40"/>
                      </a:lnTo>
                      <a:lnTo>
                        <a:pt x="755" y="40"/>
                      </a:lnTo>
                      <a:lnTo>
                        <a:pt x="755" y="41"/>
                      </a:lnTo>
                      <a:lnTo>
                        <a:pt x="756" y="41"/>
                      </a:lnTo>
                      <a:lnTo>
                        <a:pt x="758" y="41"/>
                      </a:lnTo>
                      <a:lnTo>
                        <a:pt x="760" y="40"/>
                      </a:lnTo>
                      <a:lnTo>
                        <a:pt x="760" y="38"/>
                      </a:lnTo>
                      <a:lnTo>
                        <a:pt x="760" y="37"/>
                      </a:lnTo>
                      <a:lnTo>
                        <a:pt x="760" y="35"/>
                      </a:lnTo>
                      <a:lnTo>
                        <a:pt x="760" y="33"/>
                      </a:lnTo>
                      <a:lnTo>
                        <a:pt x="761" y="32"/>
                      </a:lnTo>
                      <a:lnTo>
                        <a:pt x="761" y="30"/>
                      </a:lnTo>
                      <a:lnTo>
                        <a:pt x="763" y="30"/>
                      </a:lnTo>
                      <a:lnTo>
                        <a:pt x="763" y="28"/>
                      </a:lnTo>
                      <a:lnTo>
                        <a:pt x="765" y="27"/>
                      </a:lnTo>
                      <a:lnTo>
                        <a:pt x="767" y="27"/>
                      </a:lnTo>
                      <a:lnTo>
                        <a:pt x="770" y="27"/>
                      </a:lnTo>
                      <a:lnTo>
                        <a:pt x="770" y="28"/>
                      </a:lnTo>
                      <a:lnTo>
                        <a:pt x="773" y="28"/>
                      </a:lnTo>
                      <a:lnTo>
                        <a:pt x="773" y="30"/>
                      </a:lnTo>
                      <a:lnTo>
                        <a:pt x="773" y="32"/>
                      </a:lnTo>
                      <a:lnTo>
                        <a:pt x="773" y="33"/>
                      </a:lnTo>
                      <a:lnTo>
                        <a:pt x="772" y="35"/>
                      </a:lnTo>
                      <a:lnTo>
                        <a:pt x="770" y="35"/>
                      </a:lnTo>
                      <a:lnTo>
                        <a:pt x="770" y="37"/>
                      </a:lnTo>
                      <a:lnTo>
                        <a:pt x="768" y="37"/>
                      </a:lnTo>
                      <a:lnTo>
                        <a:pt x="768" y="38"/>
                      </a:lnTo>
                      <a:lnTo>
                        <a:pt x="770" y="38"/>
                      </a:lnTo>
                      <a:lnTo>
                        <a:pt x="770" y="40"/>
                      </a:lnTo>
                      <a:lnTo>
                        <a:pt x="770" y="41"/>
                      </a:lnTo>
                      <a:lnTo>
                        <a:pt x="772" y="43"/>
                      </a:lnTo>
                      <a:lnTo>
                        <a:pt x="773" y="45"/>
                      </a:lnTo>
                      <a:lnTo>
                        <a:pt x="775" y="45"/>
                      </a:lnTo>
                      <a:lnTo>
                        <a:pt x="777" y="46"/>
                      </a:lnTo>
                      <a:lnTo>
                        <a:pt x="778" y="46"/>
                      </a:lnTo>
                      <a:lnTo>
                        <a:pt x="780" y="46"/>
                      </a:lnTo>
                      <a:lnTo>
                        <a:pt x="782" y="45"/>
                      </a:lnTo>
                      <a:lnTo>
                        <a:pt x="783" y="43"/>
                      </a:lnTo>
                      <a:lnTo>
                        <a:pt x="785" y="41"/>
                      </a:lnTo>
                      <a:lnTo>
                        <a:pt x="787" y="41"/>
                      </a:lnTo>
                      <a:lnTo>
                        <a:pt x="788" y="41"/>
                      </a:lnTo>
                      <a:lnTo>
                        <a:pt x="788" y="43"/>
                      </a:lnTo>
                      <a:lnTo>
                        <a:pt x="790" y="45"/>
                      </a:lnTo>
                      <a:lnTo>
                        <a:pt x="790" y="46"/>
                      </a:lnTo>
                      <a:lnTo>
                        <a:pt x="790" y="48"/>
                      </a:lnTo>
                      <a:lnTo>
                        <a:pt x="788" y="48"/>
                      </a:lnTo>
                      <a:lnTo>
                        <a:pt x="788" y="50"/>
                      </a:lnTo>
                      <a:lnTo>
                        <a:pt x="787" y="50"/>
                      </a:lnTo>
                      <a:lnTo>
                        <a:pt x="788" y="51"/>
                      </a:lnTo>
                      <a:lnTo>
                        <a:pt x="788" y="53"/>
                      </a:lnTo>
                      <a:lnTo>
                        <a:pt x="787" y="53"/>
                      </a:lnTo>
                      <a:lnTo>
                        <a:pt x="787" y="55"/>
                      </a:lnTo>
                      <a:lnTo>
                        <a:pt x="788" y="56"/>
                      </a:lnTo>
                      <a:lnTo>
                        <a:pt x="790" y="58"/>
                      </a:lnTo>
                      <a:lnTo>
                        <a:pt x="790" y="60"/>
                      </a:lnTo>
                      <a:lnTo>
                        <a:pt x="792" y="60"/>
                      </a:lnTo>
                      <a:lnTo>
                        <a:pt x="790" y="61"/>
                      </a:lnTo>
                      <a:lnTo>
                        <a:pt x="790" y="63"/>
                      </a:lnTo>
                      <a:lnTo>
                        <a:pt x="792" y="63"/>
                      </a:lnTo>
                      <a:lnTo>
                        <a:pt x="794" y="69"/>
                      </a:lnTo>
                      <a:lnTo>
                        <a:pt x="795" y="73"/>
                      </a:lnTo>
                      <a:lnTo>
                        <a:pt x="797" y="74"/>
                      </a:lnTo>
                      <a:lnTo>
                        <a:pt x="797" y="76"/>
                      </a:lnTo>
                      <a:lnTo>
                        <a:pt x="799" y="76"/>
                      </a:lnTo>
                      <a:lnTo>
                        <a:pt x="799" y="78"/>
                      </a:lnTo>
                      <a:lnTo>
                        <a:pt x="800" y="78"/>
                      </a:lnTo>
                      <a:lnTo>
                        <a:pt x="800" y="79"/>
                      </a:lnTo>
                      <a:lnTo>
                        <a:pt x="799" y="79"/>
                      </a:lnTo>
                      <a:lnTo>
                        <a:pt x="799" y="81"/>
                      </a:lnTo>
                      <a:lnTo>
                        <a:pt x="800" y="83"/>
                      </a:lnTo>
                      <a:lnTo>
                        <a:pt x="802" y="83"/>
                      </a:lnTo>
                      <a:lnTo>
                        <a:pt x="804" y="83"/>
                      </a:lnTo>
                      <a:lnTo>
                        <a:pt x="804" y="84"/>
                      </a:lnTo>
                      <a:lnTo>
                        <a:pt x="805" y="83"/>
                      </a:lnTo>
                      <a:lnTo>
                        <a:pt x="807" y="84"/>
                      </a:lnTo>
                      <a:lnTo>
                        <a:pt x="807" y="83"/>
                      </a:lnTo>
                      <a:lnTo>
                        <a:pt x="809" y="83"/>
                      </a:lnTo>
                      <a:lnTo>
                        <a:pt x="810" y="84"/>
                      </a:lnTo>
                      <a:lnTo>
                        <a:pt x="812" y="84"/>
                      </a:lnTo>
                      <a:lnTo>
                        <a:pt x="812" y="86"/>
                      </a:lnTo>
                      <a:lnTo>
                        <a:pt x="814" y="86"/>
                      </a:lnTo>
                      <a:lnTo>
                        <a:pt x="816" y="86"/>
                      </a:lnTo>
                      <a:lnTo>
                        <a:pt x="816" y="87"/>
                      </a:lnTo>
                      <a:lnTo>
                        <a:pt x="817" y="87"/>
                      </a:lnTo>
                      <a:lnTo>
                        <a:pt x="819" y="89"/>
                      </a:lnTo>
                      <a:lnTo>
                        <a:pt x="817" y="89"/>
                      </a:lnTo>
                      <a:lnTo>
                        <a:pt x="817" y="91"/>
                      </a:lnTo>
                      <a:lnTo>
                        <a:pt x="817" y="92"/>
                      </a:lnTo>
                      <a:lnTo>
                        <a:pt x="816" y="92"/>
                      </a:lnTo>
                      <a:lnTo>
                        <a:pt x="816" y="94"/>
                      </a:lnTo>
                      <a:lnTo>
                        <a:pt x="817" y="94"/>
                      </a:lnTo>
                      <a:lnTo>
                        <a:pt x="816" y="94"/>
                      </a:lnTo>
                      <a:lnTo>
                        <a:pt x="816" y="96"/>
                      </a:lnTo>
                      <a:lnTo>
                        <a:pt x="814" y="96"/>
                      </a:lnTo>
                      <a:lnTo>
                        <a:pt x="814" y="97"/>
                      </a:lnTo>
                      <a:lnTo>
                        <a:pt x="814" y="99"/>
                      </a:lnTo>
                      <a:lnTo>
                        <a:pt x="816" y="99"/>
                      </a:lnTo>
                      <a:lnTo>
                        <a:pt x="816" y="101"/>
                      </a:lnTo>
                      <a:lnTo>
                        <a:pt x="817" y="101"/>
                      </a:lnTo>
                      <a:lnTo>
                        <a:pt x="817" y="102"/>
                      </a:lnTo>
                      <a:lnTo>
                        <a:pt x="819" y="102"/>
                      </a:lnTo>
                      <a:lnTo>
                        <a:pt x="819" y="104"/>
                      </a:lnTo>
                      <a:lnTo>
                        <a:pt x="819" y="102"/>
                      </a:lnTo>
                      <a:lnTo>
                        <a:pt x="817" y="102"/>
                      </a:lnTo>
                      <a:lnTo>
                        <a:pt x="817" y="104"/>
                      </a:lnTo>
                      <a:lnTo>
                        <a:pt x="816" y="104"/>
                      </a:lnTo>
                      <a:lnTo>
                        <a:pt x="816" y="106"/>
                      </a:lnTo>
                      <a:lnTo>
                        <a:pt x="814" y="106"/>
                      </a:lnTo>
                      <a:lnTo>
                        <a:pt x="814" y="107"/>
                      </a:lnTo>
                      <a:lnTo>
                        <a:pt x="814" y="109"/>
                      </a:lnTo>
                      <a:lnTo>
                        <a:pt x="814" y="110"/>
                      </a:lnTo>
                      <a:lnTo>
                        <a:pt x="814" y="112"/>
                      </a:lnTo>
                      <a:lnTo>
                        <a:pt x="816" y="112"/>
                      </a:lnTo>
                      <a:lnTo>
                        <a:pt x="816" y="114"/>
                      </a:lnTo>
                      <a:lnTo>
                        <a:pt x="816" y="115"/>
                      </a:lnTo>
                      <a:lnTo>
                        <a:pt x="816" y="114"/>
                      </a:lnTo>
                      <a:lnTo>
                        <a:pt x="817" y="115"/>
                      </a:lnTo>
                      <a:lnTo>
                        <a:pt x="819" y="117"/>
                      </a:lnTo>
                      <a:lnTo>
                        <a:pt x="821" y="119"/>
                      </a:lnTo>
                      <a:lnTo>
                        <a:pt x="821" y="120"/>
                      </a:lnTo>
                      <a:lnTo>
                        <a:pt x="821" y="122"/>
                      </a:lnTo>
                      <a:lnTo>
                        <a:pt x="821" y="124"/>
                      </a:lnTo>
                      <a:lnTo>
                        <a:pt x="819" y="124"/>
                      </a:lnTo>
                      <a:lnTo>
                        <a:pt x="819" y="125"/>
                      </a:lnTo>
                      <a:lnTo>
                        <a:pt x="819" y="127"/>
                      </a:lnTo>
                      <a:lnTo>
                        <a:pt x="819" y="129"/>
                      </a:lnTo>
                      <a:lnTo>
                        <a:pt x="821" y="130"/>
                      </a:lnTo>
                      <a:lnTo>
                        <a:pt x="821" y="132"/>
                      </a:lnTo>
                      <a:lnTo>
                        <a:pt x="822" y="132"/>
                      </a:lnTo>
                      <a:lnTo>
                        <a:pt x="824" y="132"/>
                      </a:lnTo>
                      <a:lnTo>
                        <a:pt x="826" y="132"/>
                      </a:lnTo>
                      <a:lnTo>
                        <a:pt x="826" y="133"/>
                      </a:lnTo>
                      <a:lnTo>
                        <a:pt x="827" y="133"/>
                      </a:lnTo>
                      <a:lnTo>
                        <a:pt x="829" y="133"/>
                      </a:lnTo>
                      <a:lnTo>
                        <a:pt x="831" y="133"/>
                      </a:lnTo>
                      <a:lnTo>
                        <a:pt x="832" y="133"/>
                      </a:lnTo>
                      <a:lnTo>
                        <a:pt x="832" y="135"/>
                      </a:lnTo>
                      <a:lnTo>
                        <a:pt x="834" y="135"/>
                      </a:lnTo>
                      <a:lnTo>
                        <a:pt x="834" y="137"/>
                      </a:lnTo>
                      <a:lnTo>
                        <a:pt x="836" y="137"/>
                      </a:lnTo>
                      <a:lnTo>
                        <a:pt x="836" y="138"/>
                      </a:lnTo>
                      <a:lnTo>
                        <a:pt x="834" y="138"/>
                      </a:lnTo>
                      <a:lnTo>
                        <a:pt x="834" y="140"/>
                      </a:lnTo>
                      <a:lnTo>
                        <a:pt x="836" y="140"/>
                      </a:lnTo>
                      <a:lnTo>
                        <a:pt x="836" y="142"/>
                      </a:lnTo>
                      <a:lnTo>
                        <a:pt x="837" y="145"/>
                      </a:lnTo>
                      <a:lnTo>
                        <a:pt x="839" y="147"/>
                      </a:lnTo>
                      <a:lnTo>
                        <a:pt x="839" y="148"/>
                      </a:lnTo>
                      <a:lnTo>
                        <a:pt x="841" y="153"/>
                      </a:lnTo>
                      <a:lnTo>
                        <a:pt x="843" y="166"/>
                      </a:lnTo>
                      <a:lnTo>
                        <a:pt x="841" y="166"/>
                      </a:lnTo>
                      <a:lnTo>
                        <a:pt x="839" y="166"/>
                      </a:lnTo>
                      <a:lnTo>
                        <a:pt x="837" y="168"/>
                      </a:lnTo>
                      <a:lnTo>
                        <a:pt x="836" y="170"/>
                      </a:lnTo>
                      <a:lnTo>
                        <a:pt x="834" y="170"/>
                      </a:lnTo>
                      <a:lnTo>
                        <a:pt x="834" y="171"/>
                      </a:lnTo>
                      <a:lnTo>
                        <a:pt x="832" y="171"/>
                      </a:lnTo>
                      <a:lnTo>
                        <a:pt x="834" y="171"/>
                      </a:lnTo>
                      <a:lnTo>
                        <a:pt x="834" y="173"/>
                      </a:lnTo>
                      <a:lnTo>
                        <a:pt x="832" y="173"/>
                      </a:lnTo>
                      <a:lnTo>
                        <a:pt x="832" y="175"/>
                      </a:lnTo>
                      <a:lnTo>
                        <a:pt x="831" y="175"/>
                      </a:lnTo>
                      <a:lnTo>
                        <a:pt x="832" y="175"/>
                      </a:lnTo>
                      <a:lnTo>
                        <a:pt x="832" y="176"/>
                      </a:lnTo>
                      <a:lnTo>
                        <a:pt x="834" y="178"/>
                      </a:lnTo>
                      <a:lnTo>
                        <a:pt x="834" y="179"/>
                      </a:lnTo>
                      <a:lnTo>
                        <a:pt x="836" y="179"/>
                      </a:lnTo>
                      <a:lnTo>
                        <a:pt x="836" y="181"/>
                      </a:lnTo>
                      <a:lnTo>
                        <a:pt x="836" y="183"/>
                      </a:lnTo>
                      <a:lnTo>
                        <a:pt x="836" y="184"/>
                      </a:lnTo>
                      <a:lnTo>
                        <a:pt x="834" y="184"/>
                      </a:lnTo>
                      <a:lnTo>
                        <a:pt x="834" y="186"/>
                      </a:lnTo>
                      <a:lnTo>
                        <a:pt x="832" y="186"/>
                      </a:lnTo>
                      <a:lnTo>
                        <a:pt x="834" y="186"/>
                      </a:lnTo>
                      <a:lnTo>
                        <a:pt x="834" y="188"/>
                      </a:lnTo>
                      <a:lnTo>
                        <a:pt x="834" y="189"/>
                      </a:lnTo>
                      <a:lnTo>
                        <a:pt x="834" y="188"/>
                      </a:lnTo>
                      <a:lnTo>
                        <a:pt x="834" y="189"/>
                      </a:lnTo>
                      <a:lnTo>
                        <a:pt x="836" y="189"/>
                      </a:lnTo>
                      <a:lnTo>
                        <a:pt x="836" y="199"/>
                      </a:lnTo>
                      <a:lnTo>
                        <a:pt x="821" y="204"/>
                      </a:lnTo>
                      <a:lnTo>
                        <a:pt x="819" y="206"/>
                      </a:lnTo>
                      <a:lnTo>
                        <a:pt x="817" y="206"/>
                      </a:lnTo>
                      <a:lnTo>
                        <a:pt x="816" y="204"/>
                      </a:lnTo>
                      <a:lnTo>
                        <a:pt x="812" y="202"/>
                      </a:lnTo>
                      <a:lnTo>
                        <a:pt x="810" y="201"/>
                      </a:lnTo>
                      <a:lnTo>
                        <a:pt x="809" y="201"/>
                      </a:lnTo>
                      <a:lnTo>
                        <a:pt x="805" y="201"/>
                      </a:lnTo>
                      <a:lnTo>
                        <a:pt x="805" y="199"/>
                      </a:lnTo>
                      <a:lnTo>
                        <a:pt x="804" y="199"/>
                      </a:lnTo>
                      <a:lnTo>
                        <a:pt x="804" y="201"/>
                      </a:lnTo>
                      <a:lnTo>
                        <a:pt x="802" y="199"/>
                      </a:lnTo>
                      <a:lnTo>
                        <a:pt x="800" y="199"/>
                      </a:lnTo>
                      <a:lnTo>
                        <a:pt x="799" y="199"/>
                      </a:lnTo>
                      <a:lnTo>
                        <a:pt x="799" y="201"/>
                      </a:lnTo>
                      <a:lnTo>
                        <a:pt x="797" y="201"/>
                      </a:lnTo>
                      <a:lnTo>
                        <a:pt x="797" y="202"/>
                      </a:lnTo>
                      <a:lnTo>
                        <a:pt x="797" y="204"/>
                      </a:lnTo>
                      <a:lnTo>
                        <a:pt x="795" y="206"/>
                      </a:lnTo>
                      <a:lnTo>
                        <a:pt x="795" y="207"/>
                      </a:lnTo>
                      <a:lnTo>
                        <a:pt x="795" y="209"/>
                      </a:lnTo>
                      <a:lnTo>
                        <a:pt x="795" y="211"/>
                      </a:lnTo>
                      <a:lnTo>
                        <a:pt x="795" y="212"/>
                      </a:lnTo>
                      <a:lnTo>
                        <a:pt x="795" y="214"/>
                      </a:lnTo>
                      <a:lnTo>
                        <a:pt x="795" y="216"/>
                      </a:lnTo>
                      <a:lnTo>
                        <a:pt x="797" y="217"/>
                      </a:lnTo>
                      <a:lnTo>
                        <a:pt x="797" y="219"/>
                      </a:lnTo>
                      <a:lnTo>
                        <a:pt x="799" y="219"/>
                      </a:lnTo>
                      <a:lnTo>
                        <a:pt x="799" y="220"/>
                      </a:lnTo>
                      <a:lnTo>
                        <a:pt x="800" y="220"/>
                      </a:lnTo>
                      <a:lnTo>
                        <a:pt x="800" y="222"/>
                      </a:lnTo>
                      <a:lnTo>
                        <a:pt x="800" y="224"/>
                      </a:lnTo>
                      <a:lnTo>
                        <a:pt x="802" y="224"/>
                      </a:lnTo>
                      <a:lnTo>
                        <a:pt x="802" y="225"/>
                      </a:lnTo>
                      <a:lnTo>
                        <a:pt x="804" y="225"/>
                      </a:lnTo>
                      <a:lnTo>
                        <a:pt x="804" y="227"/>
                      </a:lnTo>
                      <a:lnTo>
                        <a:pt x="804" y="229"/>
                      </a:lnTo>
                      <a:lnTo>
                        <a:pt x="805" y="229"/>
                      </a:lnTo>
                      <a:lnTo>
                        <a:pt x="807" y="229"/>
                      </a:lnTo>
                      <a:lnTo>
                        <a:pt x="809" y="229"/>
                      </a:lnTo>
                      <a:lnTo>
                        <a:pt x="807" y="230"/>
                      </a:lnTo>
                      <a:lnTo>
                        <a:pt x="809" y="232"/>
                      </a:lnTo>
                      <a:lnTo>
                        <a:pt x="809" y="234"/>
                      </a:lnTo>
                      <a:lnTo>
                        <a:pt x="809" y="235"/>
                      </a:lnTo>
                      <a:lnTo>
                        <a:pt x="810" y="235"/>
                      </a:lnTo>
                      <a:lnTo>
                        <a:pt x="810" y="239"/>
                      </a:lnTo>
                      <a:lnTo>
                        <a:pt x="810" y="240"/>
                      </a:lnTo>
                      <a:lnTo>
                        <a:pt x="810" y="242"/>
                      </a:lnTo>
                      <a:lnTo>
                        <a:pt x="812" y="243"/>
                      </a:lnTo>
                      <a:lnTo>
                        <a:pt x="814" y="243"/>
                      </a:lnTo>
                      <a:lnTo>
                        <a:pt x="816" y="243"/>
                      </a:lnTo>
                      <a:lnTo>
                        <a:pt x="816" y="245"/>
                      </a:lnTo>
                      <a:lnTo>
                        <a:pt x="817" y="245"/>
                      </a:lnTo>
                      <a:lnTo>
                        <a:pt x="819" y="245"/>
                      </a:lnTo>
                      <a:lnTo>
                        <a:pt x="821" y="245"/>
                      </a:lnTo>
                      <a:lnTo>
                        <a:pt x="821" y="247"/>
                      </a:lnTo>
                      <a:lnTo>
                        <a:pt x="821" y="248"/>
                      </a:lnTo>
                      <a:lnTo>
                        <a:pt x="819" y="248"/>
                      </a:lnTo>
                      <a:lnTo>
                        <a:pt x="819" y="250"/>
                      </a:lnTo>
                      <a:lnTo>
                        <a:pt x="819" y="252"/>
                      </a:lnTo>
                      <a:lnTo>
                        <a:pt x="819" y="253"/>
                      </a:lnTo>
                      <a:lnTo>
                        <a:pt x="817" y="252"/>
                      </a:lnTo>
                      <a:lnTo>
                        <a:pt x="817" y="253"/>
                      </a:lnTo>
                      <a:lnTo>
                        <a:pt x="816" y="253"/>
                      </a:lnTo>
                      <a:lnTo>
                        <a:pt x="816" y="255"/>
                      </a:lnTo>
                      <a:lnTo>
                        <a:pt x="814" y="255"/>
                      </a:lnTo>
                      <a:lnTo>
                        <a:pt x="814" y="257"/>
                      </a:lnTo>
                      <a:lnTo>
                        <a:pt x="814" y="258"/>
                      </a:lnTo>
                      <a:lnTo>
                        <a:pt x="814" y="260"/>
                      </a:lnTo>
                      <a:lnTo>
                        <a:pt x="816" y="260"/>
                      </a:lnTo>
                      <a:lnTo>
                        <a:pt x="816" y="262"/>
                      </a:lnTo>
                      <a:lnTo>
                        <a:pt x="817" y="262"/>
                      </a:lnTo>
                      <a:lnTo>
                        <a:pt x="817" y="263"/>
                      </a:lnTo>
                      <a:lnTo>
                        <a:pt x="817" y="265"/>
                      </a:lnTo>
                      <a:lnTo>
                        <a:pt x="819" y="263"/>
                      </a:lnTo>
                      <a:lnTo>
                        <a:pt x="821" y="263"/>
                      </a:lnTo>
                      <a:lnTo>
                        <a:pt x="822" y="263"/>
                      </a:lnTo>
                      <a:lnTo>
                        <a:pt x="821" y="263"/>
                      </a:lnTo>
                      <a:lnTo>
                        <a:pt x="821" y="265"/>
                      </a:lnTo>
                      <a:lnTo>
                        <a:pt x="822" y="265"/>
                      </a:lnTo>
                      <a:lnTo>
                        <a:pt x="822" y="263"/>
                      </a:lnTo>
                      <a:lnTo>
                        <a:pt x="822" y="265"/>
                      </a:lnTo>
                      <a:lnTo>
                        <a:pt x="824" y="265"/>
                      </a:lnTo>
                      <a:lnTo>
                        <a:pt x="824" y="266"/>
                      </a:lnTo>
                      <a:lnTo>
                        <a:pt x="824" y="265"/>
                      </a:lnTo>
                      <a:lnTo>
                        <a:pt x="826" y="265"/>
                      </a:lnTo>
                      <a:lnTo>
                        <a:pt x="827" y="265"/>
                      </a:lnTo>
                      <a:lnTo>
                        <a:pt x="827" y="266"/>
                      </a:lnTo>
                      <a:lnTo>
                        <a:pt x="827" y="268"/>
                      </a:lnTo>
                      <a:lnTo>
                        <a:pt x="829" y="268"/>
                      </a:lnTo>
                      <a:lnTo>
                        <a:pt x="829" y="266"/>
                      </a:lnTo>
                      <a:lnTo>
                        <a:pt x="831" y="266"/>
                      </a:lnTo>
                      <a:lnTo>
                        <a:pt x="829" y="266"/>
                      </a:lnTo>
                      <a:lnTo>
                        <a:pt x="831" y="268"/>
                      </a:lnTo>
                      <a:lnTo>
                        <a:pt x="832" y="268"/>
                      </a:lnTo>
                      <a:lnTo>
                        <a:pt x="832" y="270"/>
                      </a:lnTo>
                      <a:lnTo>
                        <a:pt x="831" y="270"/>
                      </a:lnTo>
                      <a:lnTo>
                        <a:pt x="832" y="271"/>
                      </a:lnTo>
                      <a:lnTo>
                        <a:pt x="832" y="270"/>
                      </a:lnTo>
                      <a:lnTo>
                        <a:pt x="832" y="271"/>
                      </a:lnTo>
                      <a:lnTo>
                        <a:pt x="832" y="270"/>
                      </a:lnTo>
                      <a:lnTo>
                        <a:pt x="832" y="271"/>
                      </a:lnTo>
                      <a:lnTo>
                        <a:pt x="834" y="271"/>
                      </a:lnTo>
                      <a:lnTo>
                        <a:pt x="834" y="273"/>
                      </a:lnTo>
                      <a:lnTo>
                        <a:pt x="836" y="273"/>
                      </a:lnTo>
                      <a:lnTo>
                        <a:pt x="836" y="275"/>
                      </a:lnTo>
                      <a:lnTo>
                        <a:pt x="837" y="275"/>
                      </a:lnTo>
                      <a:lnTo>
                        <a:pt x="837" y="276"/>
                      </a:lnTo>
                      <a:lnTo>
                        <a:pt x="839" y="276"/>
                      </a:lnTo>
                      <a:lnTo>
                        <a:pt x="841" y="276"/>
                      </a:lnTo>
                      <a:lnTo>
                        <a:pt x="843" y="276"/>
                      </a:lnTo>
                      <a:lnTo>
                        <a:pt x="844" y="276"/>
                      </a:lnTo>
                      <a:lnTo>
                        <a:pt x="844" y="278"/>
                      </a:lnTo>
                      <a:lnTo>
                        <a:pt x="846" y="278"/>
                      </a:lnTo>
                      <a:lnTo>
                        <a:pt x="846" y="276"/>
                      </a:lnTo>
                      <a:lnTo>
                        <a:pt x="848" y="278"/>
                      </a:lnTo>
                      <a:lnTo>
                        <a:pt x="846" y="278"/>
                      </a:lnTo>
                      <a:lnTo>
                        <a:pt x="846" y="280"/>
                      </a:lnTo>
                      <a:lnTo>
                        <a:pt x="848" y="280"/>
                      </a:lnTo>
                      <a:lnTo>
                        <a:pt x="849" y="280"/>
                      </a:lnTo>
                      <a:lnTo>
                        <a:pt x="849" y="278"/>
                      </a:lnTo>
                      <a:lnTo>
                        <a:pt x="851" y="278"/>
                      </a:lnTo>
                      <a:lnTo>
                        <a:pt x="851" y="276"/>
                      </a:lnTo>
                      <a:lnTo>
                        <a:pt x="849" y="276"/>
                      </a:lnTo>
                      <a:lnTo>
                        <a:pt x="851" y="276"/>
                      </a:lnTo>
                      <a:lnTo>
                        <a:pt x="851" y="275"/>
                      </a:lnTo>
                      <a:lnTo>
                        <a:pt x="853" y="276"/>
                      </a:lnTo>
                      <a:lnTo>
                        <a:pt x="853" y="275"/>
                      </a:lnTo>
                      <a:lnTo>
                        <a:pt x="853" y="276"/>
                      </a:lnTo>
                      <a:lnTo>
                        <a:pt x="854" y="276"/>
                      </a:lnTo>
                      <a:lnTo>
                        <a:pt x="856" y="276"/>
                      </a:lnTo>
                      <a:lnTo>
                        <a:pt x="858" y="276"/>
                      </a:lnTo>
                      <a:lnTo>
                        <a:pt x="858" y="278"/>
                      </a:lnTo>
                      <a:lnTo>
                        <a:pt x="859" y="278"/>
                      </a:lnTo>
                      <a:lnTo>
                        <a:pt x="858" y="278"/>
                      </a:lnTo>
                      <a:lnTo>
                        <a:pt x="859" y="276"/>
                      </a:lnTo>
                      <a:lnTo>
                        <a:pt x="859" y="278"/>
                      </a:lnTo>
                      <a:lnTo>
                        <a:pt x="861" y="278"/>
                      </a:lnTo>
                      <a:lnTo>
                        <a:pt x="863" y="278"/>
                      </a:lnTo>
                      <a:lnTo>
                        <a:pt x="864" y="278"/>
                      </a:lnTo>
                      <a:lnTo>
                        <a:pt x="864" y="276"/>
                      </a:lnTo>
                      <a:lnTo>
                        <a:pt x="866" y="276"/>
                      </a:lnTo>
                      <a:lnTo>
                        <a:pt x="868" y="275"/>
                      </a:lnTo>
                      <a:lnTo>
                        <a:pt x="868" y="276"/>
                      </a:lnTo>
                      <a:lnTo>
                        <a:pt x="870" y="275"/>
                      </a:lnTo>
                      <a:lnTo>
                        <a:pt x="871" y="275"/>
                      </a:lnTo>
                      <a:lnTo>
                        <a:pt x="875" y="271"/>
                      </a:lnTo>
                      <a:lnTo>
                        <a:pt x="876" y="271"/>
                      </a:lnTo>
                      <a:lnTo>
                        <a:pt x="878" y="270"/>
                      </a:lnTo>
                      <a:lnTo>
                        <a:pt x="878" y="268"/>
                      </a:lnTo>
                      <a:lnTo>
                        <a:pt x="880" y="268"/>
                      </a:lnTo>
                      <a:lnTo>
                        <a:pt x="881" y="268"/>
                      </a:lnTo>
                      <a:lnTo>
                        <a:pt x="880" y="268"/>
                      </a:lnTo>
                      <a:lnTo>
                        <a:pt x="880" y="270"/>
                      </a:lnTo>
                      <a:lnTo>
                        <a:pt x="876" y="273"/>
                      </a:lnTo>
                      <a:lnTo>
                        <a:pt x="875" y="275"/>
                      </a:lnTo>
                      <a:lnTo>
                        <a:pt x="875" y="278"/>
                      </a:lnTo>
                      <a:lnTo>
                        <a:pt x="873" y="280"/>
                      </a:lnTo>
                      <a:lnTo>
                        <a:pt x="871" y="281"/>
                      </a:lnTo>
                      <a:lnTo>
                        <a:pt x="871" y="283"/>
                      </a:lnTo>
                      <a:lnTo>
                        <a:pt x="870" y="286"/>
                      </a:lnTo>
                      <a:lnTo>
                        <a:pt x="868" y="289"/>
                      </a:lnTo>
                      <a:lnTo>
                        <a:pt x="866" y="291"/>
                      </a:lnTo>
                      <a:lnTo>
                        <a:pt x="866" y="293"/>
                      </a:lnTo>
                      <a:lnTo>
                        <a:pt x="864" y="294"/>
                      </a:lnTo>
                      <a:lnTo>
                        <a:pt x="864" y="296"/>
                      </a:lnTo>
                      <a:lnTo>
                        <a:pt x="863" y="299"/>
                      </a:lnTo>
                      <a:lnTo>
                        <a:pt x="863" y="301"/>
                      </a:lnTo>
                      <a:lnTo>
                        <a:pt x="861" y="304"/>
                      </a:lnTo>
                      <a:lnTo>
                        <a:pt x="859" y="304"/>
                      </a:lnTo>
                      <a:lnTo>
                        <a:pt x="859" y="306"/>
                      </a:lnTo>
                      <a:lnTo>
                        <a:pt x="859" y="308"/>
                      </a:lnTo>
                      <a:lnTo>
                        <a:pt x="858" y="308"/>
                      </a:lnTo>
                      <a:lnTo>
                        <a:pt x="856" y="312"/>
                      </a:lnTo>
                      <a:lnTo>
                        <a:pt x="856" y="314"/>
                      </a:lnTo>
                      <a:lnTo>
                        <a:pt x="854" y="316"/>
                      </a:lnTo>
                      <a:lnTo>
                        <a:pt x="854" y="317"/>
                      </a:lnTo>
                      <a:lnTo>
                        <a:pt x="854" y="319"/>
                      </a:lnTo>
                      <a:lnTo>
                        <a:pt x="851" y="322"/>
                      </a:lnTo>
                      <a:lnTo>
                        <a:pt x="849" y="326"/>
                      </a:lnTo>
                      <a:lnTo>
                        <a:pt x="849" y="327"/>
                      </a:lnTo>
                      <a:lnTo>
                        <a:pt x="848" y="327"/>
                      </a:lnTo>
                      <a:lnTo>
                        <a:pt x="848" y="329"/>
                      </a:lnTo>
                      <a:lnTo>
                        <a:pt x="846" y="331"/>
                      </a:lnTo>
                      <a:lnTo>
                        <a:pt x="846" y="332"/>
                      </a:lnTo>
                      <a:lnTo>
                        <a:pt x="843" y="337"/>
                      </a:lnTo>
                      <a:lnTo>
                        <a:pt x="841" y="340"/>
                      </a:lnTo>
                      <a:lnTo>
                        <a:pt x="839" y="342"/>
                      </a:lnTo>
                      <a:lnTo>
                        <a:pt x="837" y="342"/>
                      </a:lnTo>
                      <a:lnTo>
                        <a:pt x="837" y="344"/>
                      </a:lnTo>
                      <a:lnTo>
                        <a:pt x="836" y="347"/>
                      </a:lnTo>
                      <a:lnTo>
                        <a:pt x="834" y="349"/>
                      </a:lnTo>
                      <a:lnTo>
                        <a:pt x="832" y="349"/>
                      </a:lnTo>
                      <a:lnTo>
                        <a:pt x="832" y="350"/>
                      </a:lnTo>
                      <a:lnTo>
                        <a:pt x="831" y="352"/>
                      </a:lnTo>
                      <a:lnTo>
                        <a:pt x="831" y="354"/>
                      </a:lnTo>
                      <a:lnTo>
                        <a:pt x="829" y="354"/>
                      </a:lnTo>
                      <a:lnTo>
                        <a:pt x="829" y="355"/>
                      </a:lnTo>
                      <a:lnTo>
                        <a:pt x="827" y="357"/>
                      </a:lnTo>
                      <a:lnTo>
                        <a:pt x="827" y="358"/>
                      </a:lnTo>
                      <a:lnTo>
                        <a:pt x="826" y="358"/>
                      </a:lnTo>
                      <a:lnTo>
                        <a:pt x="824" y="362"/>
                      </a:lnTo>
                      <a:lnTo>
                        <a:pt x="822" y="363"/>
                      </a:lnTo>
                      <a:lnTo>
                        <a:pt x="822" y="367"/>
                      </a:lnTo>
                      <a:lnTo>
                        <a:pt x="821" y="367"/>
                      </a:lnTo>
                      <a:lnTo>
                        <a:pt x="821" y="368"/>
                      </a:lnTo>
                      <a:lnTo>
                        <a:pt x="819" y="370"/>
                      </a:lnTo>
                      <a:lnTo>
                        <a:pt x="819" y="372"/>
                      </a:lnTo>
                      <a:lnTo>
                        <a:pt x="817" y="373"/>
                      </a:lnTo>
                      <a:lnTo>
                        <a:pt x="816" y="373"/>
                      </a:lnTo>
                      <a:lnTo>
                        <a:pt x="816" y="375"/>
                      </a:lnTo>
                      <a:lnTo>
                        <a:pt x="814" y="375"/>
                      </a:lnTo>
                      <a:lnTo>
                        <a:pt x="814" y="377"/>
                      </a:lnTo>
                      <a:lnTo>
                        <a:pt x="814" y="378"/>
                      </a:lnTo>
                      <a:lnTo>
                        <a:pt x="812" y="378"/>
                      </a:lnTo>
                      <a:lnTo>
                        <a:pt x="812" y="380"/>
                      </a:lnTo>
                      <a:lnTo>
                        <a:pt x="810" y="380"/>
                      </a:lnTo>
                      <a:lnTo>
                        <a:pt x="810" y="381"/>
                      </a:lnTo>
                      <a:lnTo>
                        <a:pt x="809" y="381"/>
                      </a:lnTo>
                      <a:lnTo>
                        <a:pt x="809" y="383"/>
                      </a:lnTo>
                      <a:lnTo>
                        <a:pt x="807" y="385"/>
                      </a:lnTo>
                      <a:lnTo>
                        <a:pt x="805" y="385"/>
                      </a:lnTo>
                      <a:lnTo>
                        <a:pt x="805" y="386"/>
                      </a:lnTo>
                      <a:lnTo>
                        <a:pt x="802" y="390"/>
                      </a:lnTo>
                      <a:lnTo>
                        <a:pt x="802" y="391"/>
                      </a:lnTo>
                      <a:lnTo>
                        <a:pt x="800" y="391"/>
                      </a:lnTo>
                      <a:lnTo>
                        <a:pt x="799" y="393"/>
                      </a:lnTo>
                      <a:lnTo>
                        <a:pt x="797" y="395"/>
                      </a:lnTo>
                      <a:lnTo>
                        <a:pt x="797" y="396"/>
                      </a:lnTo>
                      <a:lnTo>
                        <a:pt x="795" y="396"/>
                      </a:lnTo>
                      <a:lnTo>
                        <a:pt x="795" y="398"/>
                      </a:lnTo>
                      <a:lnTo>
                        <a:pt x="794" y="399"/>
                      </a:lnTo>
                      <a:lnTo>
                        <a:pt x="792" y="399"/>
                      </a:lnTo>
                      <a:lnTo>
                        <a:pt x="792" y="401"/>
                      </a:lnTo>
                      <a:lnTo>
                        <a:pt x="790" y="401"/>
                      </a:lnTo>
                      <a:lnTo>
                        <a:pt x="790" y="403"/>
                      </a:lnTo>
                      <a:lnTo>
                        <a:pt x="788" y="404"/>
                      </a:lnTo>
                      <a:lnTo>
                        <a:pt x="787" y="406"/>
                      </a:lnTo>
                      <a:lnTo>
                        <a:pt x="785" y="406"/>
                      </a:lnTo>
                      <a:lnTo>
                        <a:pt x="785" y="408"/>
                      </a:lnTo>
                      <a:lnTo>
                        <a:pt x="783" y="408"/>
                      </a:lnTo>
                      <a:lnTo>
                        <a:pt x="782" y="408"/>
                      </a:lnTo>
                      <a:lnTo>
                        <a:pt x="780" y="408"/>
                      </a:lnTo>
                      <a:lnTo>
                        <a:pt x="778" y="409"/>
                      </a:lnTo>
                      <a:lnTo>
                        <a:pt x="777" y="409"/>
                      </a:lnTo>
                      <a:lnTo>
                        <a:pt x="777" y="411"/>
                      </a:lnTo>
                      <a:lnTo>
                        <a:pt x="775" y="411"/>
                      </a:lnTo>
                      <a:lnTo>
                        <a:pt x="775" y="413"/>
                      </a:lnTo>
                      <a:lnTo>
                        <a:pt x="773" y="413"/>
                      </a:lnTo>
                      <a:lnTo>
                        <a:pt x="772" y="413"/>
                      </a:lnTo>
                      <a:lnTo>
                        <a:pt x="770" y="413"/>
                      </a:lnTo>
                      <a:lnTo>
                        <a:pt x="768" y="413"/>
                      </a:lnTo>
                      <a:lnTo>
                        <a:pt x="763" y="411"/>
                      </a:lnTo>
                      <a:lnTo>
                        <a:pt x="763" y="413"/>
                      </a:lnTo>
                      <a:lnTo>
                        <a:pt x="761" y="414"/>
                      </a:lnTo>
                      <a:lnTo>
                        <a:pt x="760" y="419"/>
                      </a:lnTo>
                      <a:lnTo>
                        <a:pt x="758" y="421"/>
                      </a:lnTo>
                      <a:lnTo>
                        <a:pt x="756" y="422"/>
                      </a:lnTo>
                      <a:lnTo>
                        <a:pt x="753" y="424"/>
                      </a:lnTo>
                      <a:lnTo>
                        <a:pt x="751" y="424"/>
                      </a:lnTo>
                      <a:lnTo>
                        <a:pt x="750" y="426"/>
                      </a:lnTo>
                      <a:lnTo>
                        <a:pt x="746" y="427"/>
                      </a:lnTo>
                      <a:lnTo>
                        <a:pt x="743" y="424"/>
                      </a:lnTo>
                      <a:lnTo>
                        <a:pt x="741" y="424"/>
                      </a:lnTo>
                      <a:lnTo>
                        <a:pt x="741" y="426"/>
                      </a:lnTo>
                      <a:lnTo>
                        <a:pt x="739" y="426"/>
                      </a:lnTo>
                      <a:lnTo>
                        <a:pt x="738" y="427"/>
                      </a:lnTo>
                      <a:lnTo>
                        <a:pt x="736" y="427"/>
                      </a:lnTo>
                      <a:lnTo>
                        <a:pt x="736" y="429"/>
                      </a:lnTo>
                      <a:lnTo>
                        <a:pt x="734" y="429"/>
                      </a:lnTo>
                      <a:lnTo>
                        <a:pt x="734" y="431"/>
                      </a:lnTo>
                      <a:lnTo>
                        <a:pt x="733" y="431"/>
                      </a:lnTo>
                      <a:lnTo>
                        <a:pt x="731" y="431"/>
                      </a:lnTo>
                      <a:lnTo>
                        <a:pt x="729" y="432"/>
                      </a:lnTo>
                      <a:lnTo>
                        <a:pt x="728" y="434"/>
                      </a:lnTo>
                      <a:lnTo>
                        <a:pt x="728" y="437"/>
                      </a:lnTo>
                      <a:lnTo>
                        <a:pt x="726" y="439"/>
                      </a:lnTo>
                      <a:lnTo>
                        <a:pt x="726" y="442"/>
                      </a:lnTo>
                      <a:lnTo>
                        <a:pt x="726" y="444"/>
                      </a:lnTo>
                      <a:lnTo>
                        <a:pt x="728" y="445"/>
                      </a:lnTo>
                      <a:lnTo>
                        <a:pt x="728" y="447"/>
                      </a:lnTo>
                      <a:lnTo>
                        <a:pt x="729" y="449"/>
                      </a:lnTo>
                      <a:lnTo>
                        <a:pt x="729" y="447"/>
                      </a:lnTo>
                      <a:lnTo>
                        <a:pt x="731" y="447"/>
                      </a:lnTo>
                      <a:lnTo>
                        <a:pt x="731" y="445"/>
                      </a:lnTo>
                      <a:lnTo>
                        <a:pt x="731" y="447"/>
                      </a:lnTo>
                      <a:lnTo>
                        <a:pt x="733" y="447"/>
                      </a:lnTo>
                      <a:lnTo>
                        <a:pt x="733" y="449"/>
                      </a:lnTo>
                      <a:lnTo>
                        <a:pt x="733" y="450"/>
                      </a:lnTo>
                      <a:lnTo>
                        <a:pt x="733" y="452"/>
                      </a:lnTo>
                      <a:lnTo>
                        <a:pt x="734" y="452"/>
                      </a:lnTo>
                      <a:lnTo>
                        <a:pt x="734" y="454"/>
                      </a:lnTo>
                      <a:lnTo>
                        <a:pt x="733" y="454"/>
                      </a:lnTo>
                      <a:lnTo>
                        <a:pt x="734" y="454"/>
                      </a:lnTo>
                      <a:lnTo>
                        <a:pt x="733" y="454"/>
                      </a:lnTo>
                      <a:lnTo>
                        <a:pt x="733" y="455"/>
                      </a:lnTo>
                      <a:lnTo>
                        <a:pt x="731" y="455"/>
                      </a:lnTo>
                      <a:lnTo>
                        <a:pt x="731" y="457"/>
                      </a:lnTo>
                      <a:lnTo>
                        <a:pt x="733" y="457"/>
                      </a:lnTo>
                      <a:lnTo>
                        <a:pt x="731" y="457"/>
                      </a:lnTo>
                      <a:lnTo>
                        <a:pt x="733" y="457"/>
                      </a:lnTo>
                      <a:lnTo>
                        <a:pt x="731" y="457"/>
                      </a:lnTo>
                      <a:lnTo>
                        <a:pt x="731" y="459"/>
                      </a:lnTo>
                      <a:lnTo>
                        <a:pt x="729" y="459"/>
                      </a:lnTo>
                      <a:lnTo>
                        <a:pt x="729" y="460"/>
                      </a:lnTo>
                      <a:lnTo>
                        <a:pt x="729" y="462"/>
                      </a:lnTo>
                      <a:lnTo>
                        <a:pt x="729" y="464"/>
                      </a:lnTo>
                      <a:lnTo>
                        <a:pt x="729" y="465"/>
                      </a:lnTo>
                      <a:lnTo>
                        <a:pt x="731" y="465"/>
                      </a:lnTo>
                      <a:lnTo>
                        <a:pt x="731" y="467"/>
                      </a:lnTo>
                      <a:lnTo>
                        <a:pt x="733" y="467"/>
                      </a:lnTo>
                      <a:lnTo>
                        <a:pt x="733" y="468"/>
                      </a:lnTo>
                      <a:lnTo>
                        <a:pt x="733" y="470"/>
                      </a:lnTo>
                      <a:lnTo>
                        <a:pt x="733" y="468"/>
                      </a:lnTo>
                      <a:lnTo>
                        <a:pt x="734" y="468"/>
                      </a:lnTo>
                      <a:lnTo>
                        <a:pt x="733" y="468"/>
                      </a:lnTo>
                      <a:lnTo>
                        <a:pt x="734" y="470"/>
                      </a:lnTo>
                      <a:lnTo>
                        <a:pt x="734" y="468"/>
                      </a:lnTo>
                      <a:lnTo>
                        <a:pt x="734" y="470"/>
                      </a:lnTo>
                      <a:lnTo>
                        <a:pt x="734" y="472"/>
                      </a:lnTo>
                      <a:lnTo>
                        <a:pt x="733" y="472"/>
                      </a:lnTo>
                      <a:lnTo>
                        <a:pt x="733" y="473"/>
                      </a:lnTo>
                      <a:lnTo>
                        <a:pt x="731" y="473"/>
                      </a:lnTo>
                      <a:lnTo>
                        <a:pt x="731" y="472"/>
                      </a:lnTo>
                      <a:lnTo>
                        <a:pt x="729" y="472"/>
                      </a:lnTo>
                      <a:lnTo>
                        <a:pt x="728" y="473"/>
                      </a:lnTo>
                      <a:lnTo>
                        <a:pt x="726" y="473"/>
                      </a:lnTo>
                      <a:lnTo>
                        <a:pt x="726" y="475"/>
                      </a:lnTo>
                      <a:lnTo>
                        <a:pt x="726" y="477"/>
                      </a:lnTo>
                      <a:lnTo>
                        <a:pt x="724" y="477"/>
                      </a:lnTo>
                      <a:lnTo>
                        <a:pt x="724" y="478"/>
                      </a:lnTo>
                      <a:lnTo>
                        <a:pt x="724" y="480"/>
                      </a:lnTo>
                      <a:lnTo>
                        <a:pt x="723" y="482"/>
                      </a:lnTo>
                      <a:lnTo>
                        <a:pt x="723" y="483"/>
                      </a:lnTo>
                      <a:lnTo>
                        <a:pt x="724" y="485"/>
                      </a:lnTo>
                      <a:lnTo>
                        <a:pt x="724" y="488"/>
                      </a:lnTo>
                      <a:lnTo>
                        <a:pt x="726" y="488"/>
                      </a:lnTo>
                      <a:lnTo>
                        <a:pt x="726" y="490"/>
                      </a:lnTo>
                      <a:lnTo>
                        <a:pt x="728" y="491"/>
                      </a:lnTo>
                      <a:lnTo>
                        <a:pt x="728" y="493"/>
                      </a:lnTo>
                      <a:lnTo>
                        <a:pt x="729" y="493"/>
                      </a:lnTo>
                      <a:lnTo>
                        <a:pt x="729" y="495"/>
                      </a:lnTo>
                      <a:lnTo>
                        <a:pt x="729" y="496"/>
                      </a:lnTo>
                      <a:lnTo>
                        <a:pt x="729" y="498"/>
                      </a:lnTo>
                      <a:lnTo>
                        <a:pt x="729" y="500"/>
                      </a:lnTo>
                      <a:lnTo>
                        <a:pt x="729" y="501"/>
                      </a:lnTo>
                      <a:lnTo>
                        <a:pt x="729" y="505"/>
                      </a:lnTo>
                      <a:lnTo>
                        <a:pt x="728" y="505"/>
                      </a:lnTo>
                      <a:lnTo>
                        <a:pt x="729" y="505"/>
                      </a:lnTo>
                      <a:lnTo>
                        <a:pt x="728" y="506"/>
                      </a:lnTo>
                      <a:lnTo>
                        <a:pt x="728" y="508"/>
                      </a:lnTo>
                      <a:lnTo>
                        <a:pt x="728" y="510"/>
                      </a:lnTo>
                      <a:lnTo>
                        <a:pt x="728" y="511"/>
                      </a:lnTo>
                      <a:lnTo>
                        <a:pt x="726" y="513"/>
                      </a:lnTo>
                      <a:lnTo>
                        <a:pt x="726" y="514"/>
                      </a:lnTo>
                      <a:lnTo>
                        <a:pt x="726" y="516"/>
                      </a:lnTo>
                      <a:lnTo>
                        <a:pt x="726" y="518"/>
                      </a:lnTo>
                      <a:lnTo>
                        <a:pt x="724" y="518"/>
                      </a:lnTo>
                      <a:lnTo>
                        <a:pt x="726" y="519"/>
                      </a:lnTo>
                      <a:lnTo>
                        <a:pt x="724" y="519"/>
                      </a:lnTo>
                      <a:lnTo>
                        <a:pt x="724" y="521"/>
                      </a:lnTo>
                      <a:lnTo>
                        <a:pt x="724" y="523"/>
                      </a:lnTo>
                      <a:lnTo>
                        <a:pt x="724" y="524"/>
                      </a:lnTo>
                      <a:lnTo>
                        <a:pt x="724" y="526"/>
                      </a:lnTo>
                      <a:lnTo>
                        <a:pt x="724" y="528"/>
                      </a:lnTo>
                      <a:lnTo>
                        <a:pt x="724" y="529"/>
                      </a:lnTo>
                      <a:lnTo>
                        <a:pt x="724" y="531"/>
                      </a:lnTo>
                      <a:lnTo>
                        <a:pt x="724" y="533"/>
                      </a:lnTo>
                      <a:lnTo>
                        <a:pt x="724" y="534"/>
                      </a:lnTo>
                      <a:lnTo>
                        <a:pt x="723" y="534"/>
                      </a:lnTo>
                      <a:lnTo>
                        <a:pt x="723" y="536"/>
                      </a:lnTo>
                      <a:lnTo>
                        <a:pt x="723" y="537"/>
                      </a:lnTo>
                      <a:lnTo>
                        <a:pt x="723" y="541"/>
                      </a:lnTo>
                      <a:lnTo>
                        <a:pt x="721" y="542"/>
                      </a:lnTo>
                      <a:lnTo>
                        <a:pt x="721" y="546"/>
                      </a:lnTo>
                      <a:lnTo>
                        <a:pt x="721" y="547"/>
                      </a:lnTo>
                      <a:lnTo>
                        <a:pt x="721" y="549"/>
                      </a:lnTo>
                      <a:lnTo>
                        <a:pt x="719" y="551"/>
                      </a:lnTo>
                      <a:lnTo>
                        <a:pt x="719" y="552"/>
                      </a:lnTo>
                      <a:lnTo>
                        <a:pt x="719" y="554"/>
                      </a:lnTo>
                      <a:lnTo>
                        <a:pt x="719" y="556"/>
                      </a:lnTo>
                      <a:lnTo>
                        <a:pt x="719" y="557"/>
                      </a:lnTo>
                      <a:lnTo>
                        <a:pt x="718" y="557"/>
                      </a:lnTo>
                      <a:lnTo>
                        <a:pt x="718" y="559"/>
                      </a:lnTo>
                      <a:lnTo>
                        <a:pt x="718" y="562"/>
                      </a:lnTo>
                      <a:lnTo>
                        <a:pt x="718" y="564"/>
                      </a:lnTo>
                      <a:lnTo>
                        <a:pt x="718" y="569"/>
                      </a:lnTo>
                      <a:lnTo>
                        <a:pt x="718" y="570"/>
                      </a:lnTo>
                      <a:lnTo>
                        <a:pt x="718" y="574"/>
                      </a:lnTo>
                      <a:lnTo>
                        <a:pt x="718" y="575"/>
                      </a:lnTo>
                      <a:lnTo>
                        <a:pt x="719" y="575"/>
                      </a:lnTo>
                      <a:lnTo>
                        <a:pt x="719" y="577"/>
                      </a:lnTo>
                      <a:lnTo>
                        <a:pt x="721" y="577"/>
                      </a:lnTo>
                      <a:lnTo>
                        <a:pt x="721" y="575"/>
                      </a:lnTo>
                      <a:lnTo>
                        <a:pt x="721" y="577"/>
                      </a:lnTo>
                      <a:lnTo>
                        <a:pt x="721" y="579"/>
                      </a:lnTo>
                      <a:lnTo>
                        <a:pt x="719" y="579"/>
                      </a:lnTo>
                      <a:lnTo>
                        <a:pt x="721" y="579"/>
                      </a:lnTo>
                      <a:lnTo>
                        <a:pt x="721" y="580"/>
                      </a:lnTo>
                      <a:lnTo>
                        <a:pt x="721" y="582"/>
                      </a:lnTo>
                      <a:lnTo>
                        <a:pt x="721" y="583"/>
                      </a:lnTo>
                      <a:lnTo>
                        <a:pt x="721" y="585"/>
                      </a:lnTo>
                      <a:lnTo>
                        <a:pt x="721" y="587"/>
                      </a:lnTo>
                      <a:lnTo>
                        <a:pt x="721" y="588"/>
                      </a:lnTo>
                      <a:lnTo>
                        <a:pt x="723" y="590"/>
                      </a:lnTo>
                      <a:lnTo>
                        <a:pt x="723" y="592"/>
                      </a:lnTo>
                      <a:lnTo>
                        <a:pt x="723" y="593"/>
                      </a:lnTo>
                      <a:lnTo>
                        <a:pt x="723" y="595"/>
                      </a:lnTo>
                      <a:lnTo>
                        <a:pt x="724" y="597"/>
                      </a:lnTo>
                      <a:lnTo>
                        <a:pt x="724" y="601"/>
                      </a:lnTo>
                      <a:lnTo>
                        <a:pt x="724" y="603"/>
                      </a:lnTo>
                      <a:lnTo>
                        <a:pt x="724" y="605"/>
                      </a:lnTo>
                      <a:lnTo>
                        <a:pt x="724" y="608"/>
                      </a:lnTo>
                      <a:lnTo>
                        <a:pt x="724" y="611"/>
                      </a:lnTo>
                      <a:lnTo>
                        <a:pt x="724" y="615"/>
                      </a:lnTo>
                      <a:lnTo>
                        <a:pt x="724" y="616"/>
                      </a:lnTo>
                      <a:lnTo>
                        <a:pt x="723" y="618"/>
                      </a:lnTo>
                      <a:lnTo>
                        <a:pt x="724" y="618"/>
                      </a:lnTo>
                      <a:lnTo>
                        <a:pt x="724" y="621"/>
                      </a:lnTo>
                      <a:lnTo>
                        <a:pt x="724" y="623"/>
                      </a:lnTo>
                      <a:lnTo>
                        <a:pt x="724" y="624"/>
                      </a:lnTo>
                      <a:lnTo>
                        <a:pt x="724" y="626"/>
                      </a:lnTo>
                      <a:lnTo>
                        <a:pt x="726" y="629"/>
                      </a:lnTo>
                      <a:lnTo>
                        <a:pt x="726" y="631"/>
                      </a:lnTo>
                      <a:lnTo>
                        <a:pt x="726" y="633"/>
                      </a:lnTo>
                      <a:lnTo>
                        <a:pt x="728" y="638"/>
                      </a:lnTo>
                      <a:lnTo>
                        <a:pt x="728" y="639"/>
                      </a:lnTo>
                      <a:lnTo>
                        <a:pt x="728" y="641"/>
                      </a:lnTo>
                      <a:lnTo>
                        <a:pt x="728" y="643"/>
                      </a:lnTo>
                      <a:lnTo>
                        <a:pt x="729" y="643"/>
                      </a:lnTo>
                      <a:lnTo>
                        <a:pt x="729" y="646"/>
                      </a:lnTo>
                      <a:lnTo>
                        <a:pt x="729" y="647"/>
                      </a:lnTo>
                      <a:lnTo>
                        <a:pt x="728" y="647"/>
                      </a:lnTo>
                      <a:lnTo>
                        <a:pt x="729" y="647"/>
                      </a:lnTo>
                      <a:lnTo>
                        <a:pt x="729" y="649"/>
                      </a:lnTo>
                      <a:lnTo>
                        <a:pt x="729" y="651"/>
                      </a:lnTo>
                      <a:lnTo>
                        <a:pt x="729" y="652"/>
                      </a:lnTo>
                      <a:lnTo>
                        <a:pt x="729" y="654"/>
                      </a:lnTo>
                      <a:lnTo>
                        <a:pt x="729" y="657"/>
                      </a:lnTo>
                      <a:lnTo>
                        <a:pt x="729" y="659"/>
                      </a:lnTo>
                      <a:lnTo>
                        <a:pt x="731" y="661"/>
                      </a:lnTo>
                      <a:lnTo>
                        <a:pt x="731" y="662"/>
                      </a:lnTo>
                      <a:lnTo>
                        <a:pt x="733" y="664"/>
                      </a:lnTo>
                      <a:lnTo>
                        <a:pt x="733" y="666"/>
                      </a:lnTo>
                      <a:lnTo>
                        <a:pt x="733" y="667"/>
                      </a:lnTo>
                      <a:lnTo>
                        <a:pt x="734" y="669"/>
                      </a:lnTo>
                      <a:lnTo>
                        <a:pt x="736" y="672"/>
                      </a:lnTo>
                      <a:lnTo>
                        <a:pt x="736" y="674"/>
                      </a:lnTo>
                      <a:lnTo>
                        <a:pt x="736" y="675"/>
                      </a:lnTo>
                      <a:lnTo>
                        <a:pt x="736" y="677"/>
                      </a:lnTo>
                      <a:lnTo>
                        <a:pt x="734" y="680"/>
                      </a:lnTo>
                      <a:lnTo>
                        <a:pt x="731" y="687"/>
                      </a:lnTo>
                      <a:lnTo>
                        <a:pt x="731" y="689"/>
                      </a:lnTo>
                      <a:lnTo>
                        <a:pt x="731" y="690"/>
                      </a:lnTo>
                      <a:lnTo>
                        <a:pt x="729" y="692"/>
                      </a:lnTo>
                      <a:lnTo>
                        <a:pt x="729" y="695"/>
                      </a:lnTo>
                      <a:lnTo>
                        <a:pt x="728" y="695"/>
                      </a:lnTo>
                      <a:lnTo>
                        <a:pt x="728" y="697"/>
                      </a:lnTo>
                      <a:lnTo>
                        <a:pt x="728" y="700"/>
                      </a:lnTo>
                      <a:lnTo>
                        <a:pt x="728" y="702"/>
                      </a:lnTo>
                      <a:lnTo>
                        <a:pt x="728" y="703"/>
                      </a:lnTo>
                      <a:lnTo>
                        <a:pt x="728" y="705"/>
                      </a:lnTo>
                      <a:lnTo>
                        <a:pt x="726" y="705"/>
                      </a:lnTo>
                      <a:lnTo>
                        <a:pt x="726" y="707"/>
                      </a:lnTo>
                      <a:lnTo>
                        <a:pt x="726" y="708"/>
                      </a:lnTo>
                      <a:lnTo>
                        <a:pt x="724" y="708"/>
                      </a:lnTo>
                      <a:lnTo>
                        <a:pt x="723" y="710"/>
                      </a:lnTo>
                      <a:lnTo>
                        <a:pt x="723" y="712"/>
                      </a:lnTo>
                      <a:lnTo>
                        <a:pt x="721" y="712"/>
                      </a:lnTo>
                      <a:lnTo>
                        <a:pt x="721" y="713"/>
                      </a:lnTo>
                      <a:lnTo>
                        <a:pt x="721" y="715"/>
                      </a:lnTo>
                      <a:lnTo>
                        <a:pt x="723" y="713"/>
                      </a:lnTo>
                      <a:lnTo>
                        <a:pt x="721" y="715"/>
                      </a:lnTo>
                      <a:lnTo>
                        <a:pt x="721" y="716"/>
                      </a:lnTo>
                      <a:lnTo>
                        <a:pt x="721" y="718"/>
                      </a:lnTo>
                      <a:lnTo>
                        <a:pt x="723" y="718"/>
                      </a:lnTo>
                      <a:lnTo>
                        <a:pt x="723" y="720"/>
                      </a:lnTo>
                      <a:lnTo>
                        <a:pt x="723" y="721"/>
                      </a:lnTo>
                      <a:lnTo>
                        <a:pt x="723" y="723"/>
                      </a:lnTo>
                      <a:lnTo>
                        <a:pt x="721" y="723"/>
                      </a:lnTo>
                      <a:lnTo>
                        <a:pt x="719" y="725"/>
                      </a:lnTo>
                      <a:lnTo>
                        <a:pt x="719" y="726"/>
                      </a:lnTo>
                      <a:lnTo>
                        <a:pt x="718" y="728"/>
                      </a:lnTo>
                      <a:lnTo>
                        <a:pt x="718" y="730"/>
                      </a:lnTo>
                      <a:lnTo>
                        <a:pt x="718" y="731"/>
                      </a:lnTo>
                      <a:lnTo>
                        <a:pt x="718" y="733"/>
                      </a:lnTo>
                      <a:lnTo>
                        <a:pt x="716" y="735"/>
                      </a:lnTo>
                      <a:lnTo>
                        <a:pt x="716" y="736"/>
                      </a:lnTo>
                      <a:lnTo>
                        <a:pt x="716" y="738"/>
                      </a:lnTo>
                      <a:lnTo>
                        <a:pt x="716" y="739"/>
                      </a:lnTo>
                      <a:lnTo>
                        <a:pt x="716" y="741"/>
                      </a:lnTo>
                      <a:lnTo>
                        <a:pt x="714" y="743"/>
                      </a:lnTo>
                      <a:lnTo>
                        <a:pt x="714" y="744"/>
                      </a:lnTo>
                      <a:lnTo>
                        <a:pt x="714" y="746"/>
                      </a:lnTo>
                      <a:lnTo>
                        <a:pt x="714" y="748"/>
                      </a:lnTo>
                      <a:lnTo>
                        <a:pt x="714" y="749"/>
                      </a:lnTo>
                      <a:lnTo>
                        <a:pt x="714" y="751"/>
                      </a:lnTo>
                      <a:lnTo>
                        <a:pt x="714" y="753"/>
                      </a:lnTo>
                      <a:lnTo>
                        <a:pt x="712" y="753"/>
                      </a:lnTo>
                      <a:lnTo>
                        <a:pt x="712" y="754"/>
                      </a:lnTo>
                      <a:lnTo>
                        <a:pt x="711" y="756"/>
                      </a:lnTo>
                      <a:lnTo>
                        <a:pt x="711" y="758"/>
                      </a:lnTo>
                      <a:lnTo>
                        <a:pt x="709" y="759"/>
                      </a:lnTo>
                      <a:lnTo>
                        <a:pt x="709" y="761"/>
                      </a:lnTo>
                      <a:lnTo>
                        <a:pt x="709" y="762"/>
                      </a:lnTo>
                      <a:lnTo>
                        <a:pt x="709" y="766"/>
                      </a:lnTo>
                      <a:lnTo>
                        <a:pt x="709" y="767"/>
                      </a:lnTo>
                      <a:lnTo>
                        <a:pt x="709" y="769"/>
                      </a:lnTo>
                      <a:lnTo>
                        <a:pt x="711" y="771"/>
                      </a:lnTo>
                      <a:lnTo>
                        <a:pt x="712" y="771"/>
                      </a:lnTo>
                      <a:lnTo>
                        <a:pt x="711" y="772"/>
                      </a:lnTo>
                      <a:lnTo>
                        <a:pt x="709" y="774"/>
                      </a:lnTo>
                      <a:lnTo>
                        <a:pt x="709" y="776"/>
                      </a:lnTo>
                      <a:lnTo>
                        <a:pt x="709" y="777"/>
                      </a:lnTo>
                      <a:lnTo>
                        <a:pt x="709" y="779"/>
                      </a:lnTo>
                      <a:lnTo>
                        <a:pt x="707" y="779"/>
                      </a:lnTo>
                      <a:lnTo>
                        <a:pt x="707" y="781"/>
                      </a:lnTo>
                      <a:lnTo>
                        <a:pt x="707" y="782"/>
                      </a:lnTo>
                      <a:lnTo>
                        <a:pt x="707" y="784"/>
                      </a:lnTo>
                      <a:lnTo>
                        <a:pt x="707" y="785"/>
                      </a:lnTo>
                      <a:lnTo>
                        <a:pt x="707" y="787"/>
                      </a:lnTo>
                      <a:lnTo>
                        <a:pt x="706" y="787"/>
                      </a:lnTo>
                      <a:lnTo>
                        <a:pt x="706" y="789"/>
                      </a:lnTo>
                      <a:lnTo>
                        <a:pt x="706" y="790"/>
                      </a:lnTo>
                      <a:lnTo>
                        <a:pt x="706" y="792"/>
                      </a:lnTo>
                      <a:lnTo>
                        <a:pt x="704" y="792"/>
                      </a:lnTo>
                      <a:lnTo>
                        <a:pt x="704" y="794"/>
                      </a:lnTo>
                      <a:lnTo>
                        <a:pt x="702" y="795"/>
                      </a:lnTo>
                      <a:lnTo>
                        <a:pt x="702" y="797"/>
                      </a:lnTo>
                      <a:lnTo>
                        <a:pt x="702" y="799"/>
                      </a:lnTo>
                      <a:lnTo>
                        <a:pt x="702" y="800"/>
                      </a:lnTo>
                      <a:lnTo>
                        <a:pt x="702" y="802"/>
                      </a:lnTo>
                      <a:lnTo>
                        <a:pt x="702" y="803"/>
                      </a:lnTo>
                      <a:lnTo>
                        <a:pt x="702" y="805"/>
                      </a:lnTo>
                      <a:lnTo>
                        <a:pt x="702" y="807"/>
                      </a:lnTo>
                      <a:lnTo>
                        <a:pt x="702" y="810"/>
                      </a:lnTo>
                      <a:lnTo>
                        <a:pt x="702" y="812"/>
                      </a:lnTo>
                      <a:lnTo>
                        <a:pt x="704" y="813"/>
                      </a:lnTo>
                      <a:lnTo>
                        <a:pt x="704" y="815"/>
                      </a:lnTo>
                      <a:lnTo>
                        <a:pt x="704" y="817"/>
                      </a:lnTo>
                      <a:lnTo>
                        <a:pt x="704" y="818"/>
                      </a:lnTo>
                      <a:lnTo>
                        <a:pt x="704" y="820"/>
                      </a:lnTo>
                      <a:lnTo>
                        <a:pt x="706" y="822"/>
                      </a:lnTo>
                      <a:close/>
                      <a:moveTo>
                        <a:pt x="721" y="712"/>
                      </a:moveTo>
                      <a:lnTo>
                        <a:pt x="723" y="712"/>
                      </a:lnTo>
                      <a:lnTo>
                        <a:pt x="721" y="712"/>
                      </a:lnTo>
                      <a:close/>
                      <a:moveTo>
                        <a:pt x="670" y="882"/>
                      </a:moveTo>
                      <a:lnTo>
                        <a:pt x="670" y="881"/>
                      </a:lnTo>
                      <a:lnTo>
                        <a:pt x="670" y="882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5" name="Freeform 23"/>
                <p:cNvSpPr>
                  <a:spLocks noChangeAspect="1"/>
                </p:cNvSpPr>
                <p:nvPr/>
              </p:nvSpPr>
              <p:spPr bwMode="auto">
                <a:xfrm>
                  <a:off x="6092845" y="1706240"/>
                  <a:ext cx="615266" cy="779773"/>
                </a:xfrm>
                <a:custGeom>
                  <a:avLst/>
                  <a:gdLst>
                    <a:gd name="T0" fmla="*/ 2147483647 w 395"/>
                    <a:gd name="T1" fmla="*/ 2147483647 h 468"/>
                    <a:gd name="T2" fmla="*/ 2147483647 w 395"/>
                    <a:gd name="T3" fmla="*/ 2147483647 h 468"/>
                    <a:gd name="T4" fmla="*/ 2147483647 w 395"/>
                    <a:gd name="T5" fmla="*/ 2147483647 h 468"/>
                    <a:gd name="T6" fmla="*/ 2147483647 w 395"/>
                    <a:gd name="T7" fmla="*/ 2147483647 h 468"/>
                    <a:gd name="T8" fmla="*/ 2147483647 w 395"/>
                    <a:gd name="T9" fmla="*/ 2147483647 h 468"/>
                    <a:gd name="T10" fmla="*/ 2147483647 w 395"/>
                    <a:gd name="T11" fmla="*/ 2147483647 h 468"/>
                    <a:gd name="T12" fmla="*/ 2147483647 w 395"/>
                    <a:gd name="T13" fmla="*/ 2147483647 h 468"/>
                    <a:gd name="T14" fmla="*/ 2147483647 w 395"/>
                    <a:gd name="T15" fmla="*/ 2147483647 h 468"/>
                    <a:gd name="T16" fmla="*/ 0 w 395"/>
                    <a:gd name="T17" fmla="*/ 2147483647 h 468"/>
                    <a:gd name="T18" fmla="*/ 2147483647 w 395"/>
                    <a:gd name="T19" fmla="*/ 2147483647 h 468"/>
                    <a:gd name="T20" fmla="*/ 2147483647 w 395"/>
                    <a:gd name="T21" fmla="*/ 2147483647 h 468"/>
                    <a:gd name="T22" fmla="*/ 2147483647 w 395"/>
                    <a:gd name="T23" fmla="*/ 2147483647 h 468"/>
                    <a:gd name="T24" fmla="*/ 2147483647 w 395"/>
                    <a:gd name="T25" fmla="*/ 2147483647 h 468"/>
                    <a:gd name="T26" fmla="*/ 2147483647 w 395"/>
                    <a:gd name="T27" fmla="*/ 2147483647 h 468"/>
                    <a:gd name="T28" fmla="*/ 2147483647 w 395"/>
                    <a:gd name="T29" fmla="*/ 2147483647 h 468"/>
                    <a:gd name="T30" fmla="*/ 2147483647 w 395"/>
                    <a:gd name="T31" fmla="*/ 2147483647 h 468"/>
                    <a:gd name="T32" fmla="*/ 2147483647 w 395"/>
                    <a:gd name="T33" fmla="*/ 2147483647 h 468"/>
                    <a:gd name="T34" fmla="*/ 2147483647 w 395"/>
                    <a:gd name="T35" fmla="*/ 2147483647 h 468"/>
                    <a:gd name="T36" fmla="*/ 2147483647 w 395"/>
                    <a:gd name="T37" fmla="*/ 2147483647 h 468"/>
                    <a:gd name="T38" fmla="*/ 2147483647 w 395"/>
                    <a:gd name="T39" fmla="*/ 2147483647 h 468"/>
                    <a:gd name="T40" fmla="*/ 2147483647 w 395"/>
                    <a:gd name="T41" fmla="*/ 2147483647 h 468"/>
                    <a:gd name="T42" fmla="*/ 2147483647 w 395"/>
                    <a:gd name="T43" fmla="*/ 2147483647 h 468"/>
                    <a:gd name="T44" fmla="*/ 2147483647 w 395"/>
                    <a:gd name="T45" fmla="*/ 2147483647 h 468"/>
                    <a:gd name="T46" fmla="*/ 2147483647 w 395"/>
                    <a:gd name="T47" fmla="*/ 2147483647 h 468"/>
                    <a:gd name="T48" fmla="*/ 2147483647 w 395"/>
                    <a:gd name="T49" fmla="*/ 2147483647 h 468"/>
                    <a:gd name="T50" fmla="*/ 2147483647 w 395"/>
                    <a:gd name="T51" fmla="*/ 2147483647 h 468"/>
                    <a:gd name="T52" fmla="*/ 2147483647 w 395"/>
                    <a:gd name="T53" fmla="*/ 2147483647 h 468"/>
                    <a:gd name="T54" fmla="*/ 2147483647 w 395"/>
                    <a:gd name="T55" fmla="*/ 2147483647 h 468"/>
                    <a:gd name="T56" fmla="*/ 2147483647 w 395"/>
                    <a:gd name="T57" fmla="*/ 2147483647 h 468"/>
                    <a:gd name="T58" fmla="*/ 2147483647 w 395"/>
                    <a:gd name="T59" fmla="*/ 2147483647 h 468"/>
                    <a:gd name="T60" fmla="*/ 2147483647 w 395"/>
                    <a:gd name="T61" fmla="*/ 2147483647 h 468"/>
                    <a:gd name="T62" fmla="*/ 2147483647 w 395"/>
                    <a:gd name="T63" fmla="*/ 2147483647 h 468"/>
                    <a:gd name="T64" fmla="*/ 2147483647 w 395"/>
                    <a:gd name="T65" fmla="*/ 2147483647 h 468"/>
                    <a:gd name="T66" fmla="*/ 2147483647 w 395"/>
                    <a:gd name="T67" fmla="*/ 2147483647 h 468"/>
                    <a:gd name="T68" fmla="*/ 2147483647 w 395"/>
                    <a:gd name="T69" fmla="*/ 2147483647 h 468"/>
                    <a:gd name="T70" fmla="*/ 2147483647 w 395"/>
                    <a:gd name="T71" fmla="*/ 2147483647 h 468"/>
                    <a:gd name="T72" fmla="*/ 2147483647 w 395"/>
                    <a:gd name="T73" fmla="*/ 2147483647 h 468"/>
                    <a:gd name="T74" fmla="*/ 2147483647 w 395"/>
                    <a:gd name="T75" fmla="*/ 2147483647 h 468"/>
                    <a:gd name="T76" fmla="*/ 2147483647 w 395"/>
                    <a:gd name="T77" fmla="*/ 2147483647 h 468"/>
                    <a:gd name="T78" fmla="*/ 2147483647 w 395"/>
                    <a:gd name="T79" fmla="*/ 2147483647 h 468"/>
                    <a:gd name="T80" fmla="*/ 2147483647 w 395"/>
                    <a:gd name="T81" fmla="*/ 2147483647 h 468"/>
                    <a:gd name="T82" fmla="*/ 2147483647 w 395"/>
                    <a:gd name="T83" fmla="*/ 2147483647 h 468"/>
                    <a:gd name="T84" fmla="*/ 2147483647 w 395"/>
                    <a:gd name="T85" fmla="*/ 2147483647 h 468"/>
                    <a:gd name="T86" fmla="*/ 2147483647 w 395"/>
                    <a:gd name="T87" fmla="*/ 2147483647 h 468"/>
                    <a:gd name="T88" fmla="*/ 2147483647 w 395"/>
                    <a:gd name="T89" fmla="*/ 2147483647 h 468"/>
                    <a:gd name="T90" fmla="*/ 2147483647 w 395"/>
                    <a:gd name="T91" fmla="*/ 2147483647 h 468"/>
                    <a:gd name="T92" fmla="*/ 2147483647 w 395"/>
                    <a:gd name="T93" fmla="*/ 2147483647 h 468"/>
                    <a:gd name="T94" fmla="*/ 2147483647 w 395"/>
                    <a:gd name="T95" fmla="*/ 2147483647 h 468"/>
                    <a:gd name="T96" fmla="*/ 2147483647 w 395"/>
                    <a:gd name="T97" fmla="*/ 2147483647 h 468"/>
                    <a:gd name="T98" fmla="*/ 2147483647 w 395"/>
                    <a:gd name="T99" fmla="*/ 2147483647 h 468"/>
                    <a:gd name="T100" fmla="*/ 2147483647 w 395"/>
                    <a:gd name="T101" fmla="*/ 2147483647 h 468"/>
                    <a:gd name="T102" fmla="*/ 2147483647 w 395"/>
                    <a:gd name="T103" fmla="*/ 2147483647 h 468"/>
                    <a:gd name="T104" fmla="*/ 2147483647 w 395"/>
                    <a:gd name="T105" fmla="*/ 2147483647 h 468"/>
                    <a:gd name="T106" fmla="*/ 2147483647 w 395"/>
                    <a:gd name="T107" fmla="*/ 2147483647 h 468"/>
                    <a:gd name="T108" fmla="*/ 2147483647 w 395"/>
                    <a:gd name="T109" fmla="*/ 2147483647 h 468"/>
                    <a:gd name="T110" fmla="*/ 2147483647 w 395"/>
                    <a:gd name="T111" fmla="*/ 2147483647 h 468"/>
                    <a:gd name="T112" fmla="*/ 2147483647 w 395"/>
                    <a:gd name="T113" fmla="*/ 2147483647 h 468"/>
                    <a:gd name="T114" fmla="*/ 2147483647 w 395"/>
                    <a:gd name="T115" fmla="*/ 2147483647 h 468"/>
                    <a:gd name="T116" fmla="*/ 2147483647 w 395"/>
                    <a:gd name="T117" fmla="*/ 2147483647 h 468"/>
                    <a:gd name="T118" fmla="*/ 2147483647 w 395"/>
                    <a:gd name="T119" fmla="*/ 2147483647 h 46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95"/>
                    <a:gd name="T181" fmla="*/ 0 h 468"/>
                    <a:gd name="T182" fmla="*/ 395 w 395"/>
                    <a:gd name="T183" fmla="*/ 468 h 46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95" h="468">
                      <a:moveTo>
                        <a:pt x="49" y="300"/>
                      </a:moveTo>
                      <a:lnTo>
                        <a:pt x="49" y="299"/>
                      </a:lnTo>
                      <a:lnTo>
                        <a:pt x="51" y="296"/>
                      </a:lnTo>
                      <a:lnTo>
                        <a:pt x="52" y="296"/>
                      </a:lnTo>
                      <a:lnTo>
                        <a:pt x="52" y="294"/>
                      </a:lnTo>
                      <a:lnTo>
                        <a:pt x="52" y="292"/>
                      </a:lnTo>
                      <a:lnTo>
                        <a:pt x="52" y="291"/>
                      </a:lnTo>
                      <a:lnTo>
                        <a:pt x="52" y="289"/>
                      </a:lnTo>
                      <a:lnTo>
                        <a:pt x="51" y="287"/>
                      </a:lnTo>
                      <a:lnTo>
                        <a:pt x="51" y="286"/>
                      </a:lnTo>
                      <a:lnTo>
                        <a:pt x="51" y="284"/>
                      </a:lnTo>
                      <a:lnTo>
                        <a:pt x="49" y="282"/>
                      </a:lnTo>
                      <a:lnTo>
                        <a:pt x="49" y="281"/>
                      </a:lnTo>
                      <a:lnTo>
                        <a:pt x="49" y="279"/>
                      </a:lnTo>
                      <a:lnTo>
                        <a:pt x="49" y="278"/>
                      </a:lnTo>
                      <a:lnTo>
                        <a:pt x="49" y="276"/>
                      </a:lnTo>
                      <a:lnTo>
                        <a:pt x="49" y="274"/>
                      </a:lnTo>
                      <a:lnTo>
                        <a:pt x="49" y="273"/>
                      </a:lnTo>
                      <a:lnTo>
                        <a:pt x="49" y="271"/>
                      </a:lnTo>
                      <a:lnTo>
                        <a:pt x="47" y="268"/>
                      </a:lnTo>
                      <a:lnTo>
                        <a:pt x="47" y="266"/>
                      </a:lnTo>
                      <a:lnTo>
                        <a:pt x="47" y="264"/>
                      </a:lnTo>
                      <a:lnTo>
                        <a:pt x="49" y="264"/>
                      </a:lnTo>
                      <a:lnTo>
                        <a:pt x="51" y="263"/>
                      </a:lnTo>
                      <a:lnTo>
                        <a:pt x="51" y="261"/>
                      </a:lnTo>
                      <a:lnTo>
                        <a:pt x="49" y="259"/>
                      </a:lnTo>
                      <a:lnTo>
                        <a:pt x="49" y="258"/>
                      </a:lnTo>
                      <a:lnTo>
                        <a:pt x="49" y="256"/>
                      </a:lnTo>
                      <a:lnTo>
                        <a:pt x="47" y="255"/>
                      </a:lnTo>
                      <a:lnTo>
                        <a:pt x="47" y="253"/>
                      </a:lnTo>
                      <a:lnTo>
                        <a:pt x="47" y="251"/>
                      </a:lnTo>
                      <a:lnTo>
                        <a:pt x="47" y="250"/>
                      </a:lnTo>
                      <a:lnTo>
                        <a:pt x="47" y="248"/>
                      </a:lnTo>
                      <a:lnTo>
                        <a:pt x="49" y="248"/>
                      </a:lnTo>
                      <a:lnTo>
                        <a:pt x="49" y="246"/>
                      </a:lnTo>
                      <a:lnTo>
                        <a:pt x="47" y="246"/>
                      </a:lnTo>
                      <a:lnTo>
                        <a:pt x="47" y="245"/>
                      </a:lnTo>
                      <a:lnTo>
                        <a:pt x="46" y="245"/>
                      </a:lnTo>
                      <a:lnTo>
                        <a:pt x="46" y="243"/>
                      </a:lnTo>
                      <a:lnTo>
                        <a:pt x="46" y="241"/>
                      </a:lnTo>
                      <a:lnTo>
                        <a:pt x="44" y="241"/>
                      </a:lnTo>
                      <a:lnTo>
                        <a:pt x="44" y="243"/>
                      </a:lnTo>
                      <a:lnTo>
                        <a:pt x="42" y="241"/>
                      </a:lnTo>
                      <a:lnTo>
                        <a:pt x="44" y="241"/>
                      </a:lnTo>
                      <a:lnTo>
                        <a:pt x="44" y="240"/>
                      </a:lnTo>
                      <a:lnTo>
                        <a:pt x="42" y="240"/>
                      </a:lnTo>
                      <a:lnTo>
                        <a:pt x="42" y="238"/>
                      </a:lnTo>
                      <a:lnTo>
                        <a:pt x="40" y="238"/>
                      </a:lnTo>
                      <a:lnTo>
                        <a:pt x="40" y="236"/>
                      </a:lnTo>
                      <a:lnTo>
                        <a:pt x="39" y="235"/>
                      </a:lnTo>
                      <a:lnTo>
                        <a:pt x="37" y="233"/>
                      </a:lnTo>
                      <a:lnTo>
                        <a:pt x="35" y="232"/>
                      </a:lnTo>
                      <a:lnTo>
                        <a:pt x="35" y="230"/>
                      </a:lnTo>
                      <a:lnTo>
                        <a:pt x="37" y="225"/>
                      </a:lnTo>
                      <a:lnTo>
                        <a:pt x="37" y="223"/>
                      </a:lnTo>
                      <a:lnTo>
                        <a:pt x="37" y="222"/>
                      </a:lnTo>
                      <a:lnTo>
                        <a:pt x="39" y="220"/>
                      </a:lnTo>
                      <a:lnTo>
                        <a:pt x="39" y="218"/>
                      </a:lnTo>
                      <a:lnTo>
                        <a:pt x="37" y="217"/>
                      </a:lnTo>
                      <a:lnTo>
                        <a:pt x="35" y="217"/>
                      </a:lnTo>
                      <a:lnTo>
                        <a:pt x="35" y="215"/>
                      </a:lnTo>
                      <a:lnTo>
                        <a:pt x="34" y="213"/>
                      </a:lnTo>
                      <a:lnTo>
                        <a:pt x="34" y="212"/>
                      </a:lnTo>
                      <a:lnTo>
                        <a:pt x="32" y="210"/>
                      </a:lnTo>
                      <a:lnTo>
                        <a:pt x="32" y="209"/>
                      </a:lnTo>
                      <a:lnTo>
                        <a:pt x="32" y="207"/>
                      </a:lnTo>
                      <a:lnTo>
                        <a:pt x="30" y="207"/>
                      </a:lnTo>
                      <a:lnTo>
                        <a:pt x="32" y="205"/>
                      </a:lnTo>
                      <a:lnTo>
                        <a:pt x="30" y="204"/>
                      </a:lnTo>
                      <a:lnTo>
                        <a:pt x="29" y="202"/>
                      </a:lnTo>
                      <a:lnTo>
                        <a:pt x="27" y="199"/>
                      </a:lnTo>
                      <a:lnTo>
                        <a:pt x="25" y="197"/>
                      </a:lnTo>
                      <a:lnTo>
                        <a:pt x="25" y="195"/>
                      </a:lnTo>
                      <a:lnTo>
                        <a:pt x="25" y="194"/>
                      </a:lnTo>
                      <a:lnTo>
                        <a:pt x="25" y="192"/>
                      </a:lnTo>
                      <a:lnTo>
                        <a:pt x="25" y="190"/>
                      </a:lnTo>
                      <a:lnTo>
                        <a:pt x="25" y="187"/>
                      </a:lnTo>
                      <a:lnTo>
                        <a:pt x="25" y="186"/>
                      </a:lnTo>
                      <a:lnTo>
                        <a:pt x="25" y="184"/>
                      </a:lnTo>
                      <a:lnTo>
                        <a:pt x="24" y="182"/>
                      </a:lnTo>
                      <a:lnTo>
                        <a:pt x="22" y="181"/>
                      </a:lnTo>
                      <a:lnTo>
                        <a:pt x="22" y="179"/>
                      </a:lnTo>
                      <a:lnTo>
                        <a:pt x="20" y="179"/>
                      </a:lnTo>
                      <a:lnTo>
                        <a:pt x="20" y="177"/>
                      </a:lnTo>
                      <a:lnTo>
                        <a:pt x="22" y="176"/>
                      </a:lnTo>
                      <a:lnTo>
                        <a:pt x="24" y="174"/>
                      </a:lnTo>
                      <a:lnTo>
                        <a:pt x="24" y="172"/>
                      </a:lnTo>
                      <a:lnTo>
                        <a:pt x="22" y="171"/>
                      </a:lnTo>
                      <a:lnTo>
                        <a:pt x="20" y="169"/>
                      </a:lnTo>
                      <a:lnTo>
                        <a:pt x="18" y="169"/>
                      </a:lnTo>
                      <a:lnTo>
                        <a:pt x="18" y="166"/>
                      </a:lnTo>
                      <a:lnTo>
                        <a:pt x="20" y="164"/>
                      </a:lnTo>
                      <a:lnTo>
                        <a:pt x="22" y="163"/>
                      </a:lnTo>
                      <a:lnTo>
                        <a:pt x="24" y="159"/>
                      </a:lnTo>
                      <a:lnTo>
                        <a:pt x="24" y="158"/>
                      </a:lnTo>
                      <a:lnTo>
                        <a:pt x="24" y="156"/>
                      </a:lnTo>
                      <a:lnTo>
                        <a:pt x="24" y="154"/>
                      </a:lnTo>
                      <a:lnTo>
                        <a:pt x="25" y="153"/>
                      </a:lnTo>
                      <a:lnTo>
                        <a:pt x="27" y="153"/>
                      </a:lnTo>
                      <a:lnTo>
                        <a:pt x="27" y="151"/>
                      </a:lnTo>
                      <a:lnTo>
                        <a:pt x="29" y="149"/>
                      </a:lnTo>
                      <a:lnTo>
                        <a:pt x="30" y="148"/>
                      </a:lnTo>
                      <a:lnTo>
                        <a:pt x="32" y="146"/>
                      </a:lnTo>
                      <a:lnTo>
                        <a:pt x="34" y="144"/>
                      </a:lnTo>
                      <a:lnTo>
                        <a:pt x="34" y="143"/>
                      </a:lnTo>
                      <a:lnTo>
                        <a:pt x="34" y="141"/>
                      </a:lnTo>
                      <a:lnTo>
                        <a:pt x="35" y="136"/>
                      </a:lnTo>
                      <a:lnTo>
                        <a:pt x="35" y="135"/>
                      </a:lnTo>
                      <a:lnTo>
                        <a:pt x="35" y="133"/>
                      </a:lnTo>
                      <a:lnTo>
                        <a:pt x="37" y="133"/>
                      </a:lnTo>
                      <a:lnTo>
                        <a:pt x="37" y="131"/>
                      </a:lnTo>
                      <a:lnTo>
                        <a:pt x="37" y="130"/>
                      </a:lnTo>
                      <a:lnTo>
                        <a:pt x="35" y="130"/>
                      </a:lnTo>
                      <a:lnTo>
                        <a:pt x="34" y="128"/>
                      </a:lnTo>
                      <a:lnTo>
                        <a:pt x="32" y="128"/>
                      </a:lnTo>
                      <a:lnTo>
                        <a:pt x="30" y="128"/>
                      </a:lnTo>
                      <a:lnTo>
                        <a:pt x="29" y="126"/>
                      </a:lnTo>
                      <a:lnTo>
                        <a:pt x="29" y="125"/>
                      </a:lnTo>
                      <a:lnTo>
                        <a:pt x="27" y="123"/>
                      </a:lnTo>
                      <a:lnTo>
                        <a:pt x="27" y="120"/>
                      </a:lnTo>
                      <a:lnTo>
                        <a:pt x="25" y="118"/>
                      </a:lnTo>
                      <a:lnTo>
                        <a:pt x="22" y="117"/>
                      </a:lnTo>
                      <a:lnTo>
                        <a:pt x="22" y="115"/>
                      </a:lnTo>
                      <a:lnTo>
                        <a:pt x="20" y="113"/>
                      </a:lnTo>
                      <a:lnTo>
                        <a:pt x="20" y="112"/>
                      </a:lnTo>
                      <a:lnTo>
                        <a:pt x="20" y="108"/>
                      </a:lnTo>
                      <a:lnTo>
                        <a:pt x="20" y="107"/>
                      </a:lnTo>
                      <a:lnTo>
                        <a:pt x="18" y="103"/>
                      </a:lnTo>
                      <a:lnTo>
                        <a:pt x="18" y="102"/>
                      </a:lnTo>
                      <a:lnTo>
                        <a:pt x="18" y="100"/>
                      </a:lnTo>
                      <a:lnTo>
                        <a:pt x="17" y="98"/>
                      </a:lnTo>
                      <a:lnTo>
                        <a:pt x="17" y="97"/>
                      </a:lnTo>
                      <a:lnTo>
                        <a:pt x="17" y="95"/>
                      </a:lnTo>
                      <a:lnTo>
                        <a:pt x="15" y="94"/>
                      </a:lnTo>
                      <a:lnTo>
                        <a:pt x="15" y="92"/>
                      </a:lnTo>
                      <a:lnTo>
                        <a:pt x="13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8" y="84"/>
                      </a:lnTo>
                      <a:lnTo>
                        <a:pt x="5" y="74"/>
                      </a:lnTo>
                      <a:lnTo>
                        <a:pt x="3" y="71"/>
                      </a:lnTo>
                      <a:lnTo>
                        <a:pt x="2" y="69"/>
                      </a:lnTo>
                      <a:lnTo>
                        <a:pt x="2" y="67"/>
                      </a:lnTo>
                      <a:lnTo>
                        <a:pt x="0" y="56"/>
                      </a:lnTo>
                      <a:lnTo>
                        <a:pt x="0" y="54"/>
                      </a:lnTo>
                      <a:lnTo>
                        <a:pt x="0" y="53"/>
                      </a:lnTo>
                      <a:lnTo>
                        <a:pt x="3" y="48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0" y="33"/>
                      </a:lnTo>
                      <a:lnTo>
                        <a:pt x="12" y="33"/>
                      </a:lnTo>
                      <a:lnTo>
                        <a:pt x="12" y="31"/>
                      </a:lnTo>
                      <a:lnTo>
                        <a:pt x="13" y="31"/>
                      </a:lnTo>
                      <a:lnTo>
                        <a:pt x="13" y="30"/>
                      </a:lnTo>
                      <a:lnTo>
                        <a:pt x="15" y="30"/>
                      </a:lnTo>
                      <a:lnTo>
                        <a:pt x="15" y="28"/>
                      </a:lnTo>
                      <a:lnTo>
                        <a:pt x="17" y="28"/>
                      </a:lnTo>
                      <a:lnTo>
                        <a:pt x="17" y="26"/>
                      </a:lnTo>
                      <a:lnTo>
                        <a:pt x="15" y="26"/>
                      </a:lnTo>
                      <a:lnTo>
                        <a:pt x="17" y="25"/>
                      </a:lnTo>
                      <a:lnTo>
                        <a:pt x="15" y="25"/>
                      </a:lnTo>
                      <a:lnTo>
                        <a:pt x="17" y="23"/>
                      </a:lnTo>
                      <a:lnTo>
                        <a:pt x="17" y="21"/>
                      </a:lnTo>
                      <a:lnTo>
                        <a:pt x="17" y="20"/>
                      </a:lnTo>
                      <a:lnTo>
                        <a:pt x="15" y="18"/>
                      </a:lnTo>
                      <a:lnTo>
                        <a:pt x="15" y="16"/>
                      </a:lnTo>
                      <a:lnTo>
                        <a:pt x="13" y="16"/>
                      </a:lnTo>
                      <a:lnTo>
                        <a:pt x="12" y="16"/>
                      </a:lnTo>
                      <a:lnTo>
                        <a:pt x="10" y="16"/>
                      </a:lnTo>
                      <a:lnTo>
                        <a:pt x="10" y="15"/>
                      </a:lnTo>
                      <a:lnTo>
                        <a:pt x="10" y="13"/>
                      </a:lnTo>
                      <a:lnTo>
                        <a:pt x="13" y="10"/>
                      </a:lnTo>
                      <a:lnTo>
                        <a:pt x="15" y="10"/>
                      </a:lnTo>
                      <a:lnTo>
                        <a:pt x="15" y="8"/>
                      </a:lnTo>
                      <a:lnTo>
                        <a:pt x="17" y="8"/>
                      </a:lnTo>
                      <a:lnTo>
                        <a:pt x="17" y="10"/>
                      </a:lnTo>
                      <a:lnTo>
                        <a:pt x="18" y="10"/>
                      </a:lnTo>
                      <a:lnTo>
                        <a:pt x="20" y="10"/>
                      </a:lnTo>
                      <a:lnTo>
                        <a:pt x="22" y="10"/>
                      </a:lnTo>
                      <a:lnTo>
                        <a:pt x="24" y="10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0" y="10"/>
                      </a:lnTo>
                      <a:lnTo>
                        <a:pt x="32" y="10"/>
                      </a:lnTo>
                      <a:lnTo>
                        <a:pt x="34" y="10"/>
                      </a:lnTo>
                      <a:lnTo>
                        <a:pt x="37" y="10"/>
                      </a:lnTo>
                      <a:lnTo>
                        <a:pt x="40" y="10"/>
                      </a:lnTo>
                      <a:lnTo>
                        <a:pt x="42" y="10"/>
                      </a:lnTo>
                      <a:lnTo>
                        <a:pt x="42" y="8"/>
                      </a:lnTo>
                      <a:lnTo>
                        <a:pt x="44" y="8"/>
                      </a:lnTo>
                      <a:lnTo>
                        <a:pt x="46" y="8"/>
                      </a:lnTo>
                      <a:lnTo>
                        <a:pt x="47" y="8"/>
                      </a:lnTo>
                      <a:lnTo>
                        <a:pt x="49" y="8"/>
                      </a:lnTo>
                      <a:lnTo>
                        <a:pt x="49" y="7"/>
                      </a:lnTo>
                      <a:lnTo>
                        <a:pt x="52" y="7"/>
                      </a:lnTo>
                      <a:lnTo>
                        <a:pt x="54" y="7"/>
                      </a:lnTo>
                      <a:lnTo>
                        <a:pt x="54" y="8"/>
                      </a:lnTo>
                      <a:lnTo>
                        <a:pt x="56" y="8"/>
                      </a:lnTo>
                      <a:lnTo>
                        <a:pt x="57" y="8"/>
                      </a:lnTo>
                      <a:lnTo>
                        <a:pt x="59" y="8"/>
                      </a:lnTo>
                      <a:lnTo>
                        <a:pt x="61" y="8"/>
                      </a:lnTo>
                      <a:lnTo>
                        <a:pt x="61" y="7"/>
                      </a:lnTo>
                      <a:lnTo>
                        <a:pt x="62" y="7"/>
                      </a:lnTo>
                      <a:lnTo>
                        <a:pt x="64" y="7"/>
                      </a:lnTo>
                      <a:lnTo>
                        <a:pt x="66" y="7"/>
                      </a:lnTo>
                      <a:lnTo>
                        <a:pt x="67" y="7"/>
                      </a:lnTo>
                      <a:lnTo>
                        <a:pt x="69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73" y="5"/>
                      </a:lnTo>
                      <a:lnTo>
                        <a:pt x="73" y="7"/>
                      </a:lnTo>
                      <a:lnTo>
                        <a:pt x="74" y="7"/>
                      </a:lnTo>
                      <a:lnTo>
                        <a:pt x="78" y="5"/>
                      </a:lnTo>
                      <a:lnTo>
                        <a:pt x="79" y="5"/>
                      </a:lnTo>
                      <a:lnTo>
                        <a:pt x="81" y="5"/>
                      </a:lnTo>
                      <a:lnTo>
                        <a:pt x="83" y="3"/>
                      </a:lnTo>
                      <a:lnTo>
                        <a:pt x="84" y="3"/>
                      </a:lnTo>
                      <a:lnTo>
                        <a:pt x="86" y="2"/>
                      </a:lnTo>
                      <a:lnTo>
                        <a:pt x="86" y="0"/>
                      </a:lnTo>
                      <a:lnTo>
                        <a:pt x="88" y="0"/>
                      </a:lnTo>
                      <a:lnTo>
                        <a:pt x="89" y="0"/>
                      </a:lnTo>
                      <a:lnTo>
                        <a:pt x="93" y="2"/>
                      </a:lnTo>
                      <a:lnTo>
                        <a:pt x="94" y="2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5" y="2"/>
                      </a:lnTo>
                      <a:lnTo>
                        <a:pt x="108" y="2"/>
                      </a:lnTo>
                      <a:lnTo>
                        <a:pt x="110" y="2"/>
                      </a:lnTo>
                      <a:lnTo>
                        <a:pt x="111" y="2"/>
                      </a:lnTo>
                      <a:lnTo>
                        <a:pt x="113" y="2"/>
                      </a:lnTo>
                      <a:lnTo>
                        <a:pt x="115" y="2"/>
                      </a:lnTo>
                      <a:lnTo>
                        <a:pt x="115" y="3"/>
                      </a:lnTo>
                      <a:lnTo>
                        <a:pt x="116" y="3"/>
                      </a:lnTo>
                      <a:lnTo>
                        <a:pt x="118" y="3"/>
                      </a:lnTo>
                      <a:lnTo>
                        <a:pt x="118" y="2"/>
                      </a:lnTo>
                      <a:lnTo>
                        <a:pt x="118" y="3"/>
                      </a:lnTo>
                      <a:lnTo>
                        <a:pt x="120" y="3"/>
                      </a:lnTo>
                      <a:lnTo>
                        <a:pt x="120" y="5"/>
                      </a:lnTo>
                      <a:lnTo>
                        <a:pt x="122" y="5"/>
                      </a:lnTo>
                      <a:lnTo>
                        <a:pt x="123" y="5"/>
                      </a:lnTo>
                      <a:lnTo>
                        <a:pt x="123" y="3"/>
                      </a:lnTo>
                      <a:lnTo>
                        <a:pt x="125" y="3"/>
                      </a:lnTo>
                      <a:lnTo>
                        <a:pt x="127" y="3"/>
                      </a:lnTo>
                      <a:lnTo>
                        <a:pt x="128" y="5"/>
                      </a:lnTo>
                      <a:lnTo>
                        <a:pt x="130" y="5"/>
                      </a:lnTo>
                      <a:lnTo>
                        <a:pt x="132" y="5"/>
                      </a:lnTo>
                      <a:lnTo>
                        <a:pt x="133" y="5"/>
                      </a:lnTo>
                      <a:lnTo>
                        <a:pt x="135" y="5"/>
                      </a:lnTo>
                      <a:lnTo>
                        <a:pt x="137" y="5"/>
                      </a:lnTo>
                      <a:lnTo>
                        <a:pt x="138" y="7"/>
                      </a:lnTo>
                      <a:lnTo>
                        <a:pt x="137" y="7"/>
                      </a:lnTo>
                      <a:lnTo>
                        <a:pt x="137" y="5"/>
                      </a:lnTo>
                      <a:lnTo>
                        <a:pt x="135" y="5"/>
                      </a:lnTo>
                      <a:lnTo>
                        <a:pt x="137" y="5"/>
                      </a:lnTo>
                      <a:lnTo>
                        <a:pt x="140" y="7"/>
                      </a:lnTo>
                      <a:lnTo>
                        <a:pt x="138" y="7"/>
                      </a:lnTo>
                      <a:lnTo>
                        <a:pt x="138" y="5"/>
                      </a:lnTo>
                      <a:lnTo>
                        <a:pt x="138" y="7"/>
                      </a:lnTo>
                      <a:lnTo>
                        <a:pt x="140" y="7"/>
                      </a:lnTo>
                      <a:lnTo>
                        <a:pt x="142" y="7"/>
                      </a:lnTo>
                      <a:lnTo>
                        <a:pt x="143" y="8"/>
                      </a:lnTo>
                      <a:lnTo>
                        <a:pt x="145" y="8"/>
                      </a:lnTo>
                      <a:lnTo>
                        <a:pt x="147" y="10"/>
                      </a:lnTo>
                      <a:lnTo>
                        <a:pt x="149" y="10"/>
                      </a:lnTo>
                      <a:lnTo>
                        <a:pt x="149" y="11"/>
                      </a:lnTo>
                      <a:lnTo>
                        <a:pt x="150" y="11"/>
                      </a:lnTo>
                      <a:lnTo>
                        <a:pt x="152" y="13"/>
                      </a:lnTo>
                      <a:lnTo>
                        <a:pt x="154" y="13"/>
                      </a:lnTo>
                      <a:lnTo>
                        <a:pt x="154" y="15"/>
                      </a:lnTo>
                      <a:lnTo>
                        <a:pt x="155" y="15"/>
                      </a:lnTo>
                      <a:lnTo>
                        <a:pt x="157" y="15"/>
                      </a:lnTo>
                      <a:lnTo>
                        <a:pt x="157" y="16"/>
                      </a:lnTo>
                      <a:lnTo>
                        <a:pt x="159" y="16"/>
                      </a:lnTo>
                      <a:lnTo>
                        <a:pt x="159" y="18"/>
                      </a:lnTo>
                      <a:lnTo>
                        <a:pt x="160" y="18"/>
                      </a:lnTo>
                      <a:lnTo>
                        <a:pt x="162" y="20"/>
                      </a:lnTo>
                      <a:lnTo>
                        <a:pt x="164" y="20"/>
                      </a:lnTo>
                      <a:lnTo>
                        <a:pt x="165" y="20"/>
                      </a:lnTo>
                      <a:lnTo>
                        <a:pt x="167" y="21"/>
                      </a:lnTo>
                      <a:lnTo>
                        <a:pt x="169" y="21"/>
                      </a:lnTo>
                      <a:lnTo>
                        <a:pt x="170" y="21"/>
                      </a:lnTo>
                      <a:lnTo>
                        <a:pt x="170" y="23"/>
                      </a:lnTo>
                      <a:lnTo>
                        <a:pt x="172" y="23"/>
                      </a:lnTo>
                      <a:lnTo>
                        <a:pt x="172" y="25"/>
                      </a:lnTo>
                      <a:lnTo>
                        <a:pt x="174" y="25"/>
                      </a:lnTo>
                      <a:lnTo>
                        <a:pt x="174" y="26"/>
                      </a:lnTo>
                      <a:lnTo>
                        <a:pt x="176" y="26"/>
                      </a:lnTo>
                      <a:lnTo>
                        <a:pt x="177" y="26"/>
                      </a:lnTo>
                      <a:lnTo>
                        <a:pt x="177" y="28"/>
                      </a:lnTo>
                      <a:lnTo>
                        <a:pt x="179" y="28"/>
                      </a:lnTo>
                      <a:lnTo>
                        <a:pt x="181" y="30"/>
                      </a:lnTo>
                      <a:lnTo>
                        <a:pt x="182" y="30"/>
                      </a:lnTo>
                      <a:lnTo>
                        <a:pt x="184" y="31"/>
                      </a:lnTo>
                      <a:lnTo>
                        <a:pt x="186" y="33"/>
                      </a:lnTo>
                      <a:lnTo>
                        <a:pt x="187" y="33"/>
                      </a:lnTo>
                      <a:lnTo>
                        <a:pt x="189" y="33"/>
                      </a:lnTo>
                      <a:lnTo>
                        <a:pt x="189" y="34"/>
                      </a:lnTo>
                      <a:lnTo>
                        <a:pt x="191" y="34"/>
                      </a:lnTo>
                      <a:lnTo>
                        <a:pt x="192" y="34"/>
                      </a:lnTo>
                      <a:lnTo>
                        <a:pt x="192" y="36"/>
                      </a:lnTo>
                      <a:lnTo>
                        <a:pt x="194" y="36"/>
                      </a:lnTo>
                      <a:lnTo>
                        <a:pt x="196" y="36"/>
                      </a:lnTo>
                      <a:lnTo>
                        <a:pt x="198" y="36"/>
                      </a:lnTo>
                      <a:lnTo>
                        <a:pt x="199" y="38"/>
                      </a:lnTo>
                      <a:lnTo>
                        <a:pt x="201" y="39"/>
                      </a:lnTo>
                      <a:lnTo>
                        <a:pt x="203" y="39"/>
                      </a:lnTo>
                      <a:lnTo>
                        <a:pt x="204" y="39"/>
                      </a:lnTo>
                      <a:lnTo>
                        <a:pt x="206" y="39"/>
                      </a:lnTo>
                      <a:lnTo>
                        <a:pt x="208" y="41"/>
                      </a:lnTo>
                      <a:lnTo>
                        <a:pt x="209" y="41"/>
                      </a:lnTo>
                      <a:lnTo>
                        <a:pt x="211" y="44"/>
                      </a:lnTo>
                      <a:lnTo>
                        <a:pt x="213" y="46"/>
                      </a:lnTo>
                      <a:lnTo>
                        <a:pt x="214" y="49"/>
                      </a:lnTo>
                      <a:lnTo>
                        <a:pt x="214" y="51"/>
                      </a:lnTo>
                      <a:lnTo>
                        <a:pt x="216" y="51"/>
                      </a:lnTo>
                      <a:lnTo>
                        <a:pt x="218" y="51"/>
                      </a:lnTo>
                      <a:lnTo>
                        <a:pt x="219" y="51"/>
                      </a:lnTo>
                      <a:lnTo>
                        <a:pt x="219" y="53"/>
                      </a:lnTo>
                      <a:lnTo>
                        <a:pt x="221" y="56"/>
                      </a:lnTo>
                      <a:lnTo>
                        <a:pt x="223" y="56"/>
                      </a:lnTo>
                      <a:lnTo>
                        <a:pt x="223" y="57"/>
                      </a:lnTo>
                      <a:lnTo>
                        <a:pt x="225" y="57"/>
                      </a:lnTo>
                      <a:lnTo>
                        <a:pt x="226" y="57"/>
                      </a:lnTo>
                      <a:lnTo>
                        <a:pt x="228" y="57"/>
                      </a:lnTo>
                      <a:lnTo>
                        <a:pt x="230" y="56"/>
                      </a:lnTo>
                      <a:lnTo>
                        <a:pt x="231" y="56"/>
                      </a:lnTo>
                      <a:lnTo>
                        <a:pt x="233" y="57"/>
                      </a:lnTo>
                      <a:lnTo>
                        <a:pt x="233" y="59"/>
                      </a:lnTo>
                      <a:lnTo>
                        <a:pt x="235" y="59"/>
                      </a:lnTo>
                      <a:lnTo>
                        <a:pt x="235" y="61"/>
                      </a:lnTo>
                      <a:lnTo>
                        <a:pt x="236" y="61"/>
                      </a:lnTo>
                      <a:lnTo>
                        <a:pt x="236" y="62"/>
                      </a:lnTo>
                      <a:lnTo>
                        <a:pt x="238" y="64"/>
                      </a:lnTo>
                      <a:lnTo>
                        <a:pt x="238" y="66"/>
                      </a:lnTo>
                      <a:lnTo>
                        <a:pt x="240" y="66"/>
                      </a:lnTo>
                      <a:lnTo>
                        <a:pt x="241" y="67"/>
                      </a:lnTo>
                      <a:lnTo>
                        <a:pt x="243" y="67"/>
                      </a:lnTo>
                      <a:lnTo>
                        <a:pt x="243" y="69"/>
                      </a:lnTo>
                      <a:lnTo>
                        <a:pt x="245" y="69"/>
                      </a:lnTo>
                      <a:lnTo>
                        <a:pt x="246" y="71"/>
                      </a:lnTo>
                      <a:lnTo>
                        <a:pt x="248" y="71"/>
                      </a:lnTo>
                      <a:lnTo>
                        <a:pt x="248" y="69"/>
                      </a:lnTo>
                      <a:lnTo>
                        <a:pt x="248" y="71"/>
                      </a:lnTo>
                      <a:lnTo>
                        <a:pt x="250" y="72"/>
                      </a:lnTo>
                      <a:lnTo>
                        <a:pt x="252" y="74"/>
                      </a:lnTo>
                      <a:lnTo>
                        <a:pt x="253" y="76"/>
                      </a:lnTo>
                      <a:lnTo>
                        <a:pt x="253" y="77"/>
                      </a:lnTo>
                      <a:lnTo>
                        <a:pt x="255" y="77"/>
                      </a:lnTo>
                      <a:lnTo>
                        <a:pt x="257" y="77"/>
                      </a:lnTo>
                      <a:lnTo>
                        <a:pt x="258" y="79"/>
                      </a:lnTo>
                      <a:lnTo>
                        <a:pt x="260" y="80"/>
                      </a:lnTo>
                      <a:lnTo>
                        <a:pt x="262" y="80"/>
                      </a:lnTo>
                      <a:lnTo>
                        <a:pt x="262" y="82"/>
                      </a:lnTo>
                      <a:lnTo>
                        <a:pt x="263" y="84"/>
                      </a:lnTo>
                      <a:lnTo>
                        <a:pt x="265" y="84"/>
                      </a:lnTo>
                      <a:lnTo>
                        <a:pt x="265" y="82"/>
                      </a:lnTo>
                      <a:lnTo>
                        <a:pt x="265" y="84"/>
                      </a:lnTo>
                      <a:lnTo>
                        <a:pt x="267" y="84"/>
                      </a:lnTo>
                      <a:lnTo>
                        <a:pt x="268" y="84"/>
                      </a:lnTo>
                      <a:lnTo>
                        <a:pt x="270" y="84"/>
                      </a:lnTo>
                      <a:lnTo>
                        <a:pt x="272" y="84"/>
                      </a:lnTo>
                      <a:lnTo>
                        <a:pt x="272" y="85"/>
                      </a:lnTo>
                      <a:lnTo>
                        <a:pt x="274" y="85"/>
                      </a:lnTo>
                      <a:lnTo>
                        <a:pt x="275" y="85"/>
                      </a:lnTo>
                      <a:lnTo>
                        <a:pt x="277" y="85"/>
                      </a:lnTo>
                      <a:lnTo>
                        <a:pt x="279" y="87"/>
                      </a:lnTo>
                      <a:lnTo>
                        <a:pt x="279" y="85"/>
                      </a:lnTo>
                      <a:lnTo>
                        <a:pt x="280" y="85"/>
                      </a:lnTo>
                      <a:lnTo>
                        <a:pt x="280" y="84"/>
                      </a:lnTo>
                      <a:lnTo>
                        <a:pt x="280" y="85"/>
                      </a:lnTo>
                      <a:lnTo>
                        <a:pt x="282" y="87"/>
                      </a:lnTo>
                      <a:lnTo>
                        <a:pt x="284" y="90"/>
                      </a:lnTo>
                      <a:lnTo>
                        <a:pt x="284" y="92"/>
                      </a:lnTo>
                      <a:lnTo>
                        <a:pt x="285" y="92"/>
                      </a:lnTo>
                      <a:lnTo>
                        <a:pt x="285" y="94"/>
                      </a:lnTo>
                      <a:lnTo>
                        <a:pt x="287" y="95"/>
                      </a:lnTo>
                      <a:lnTo>
                        <a:pt x="287" y="97"/>
                      </a:lnTo>
                      <a:lnTo>
                        <a:pt x="290" y="100"/>
                      </a:lnTo>
                      <a:lnTo>
                        <a:pt x="292" y="102"/>
                      </a:lnTo>
                      <a:lnTo>
                        <a:pt x="294" y="103"/>
                      </a:lnTo>
                      <a:lnTo>
                        <a:pt x="294" y="105"/>
                      </a:lnTo>
                      <a:lnTo>
                        <a:pt x="295" y="105"/>
                      </a:lnTo>
                      <a:lnTo>
                        <a:pt x="295" y="107"/>
                      </a:lnTo>
                      <a:lnTo>
                        <a:pt x="297" y="107"/>
                      </a:lnTo>
                      <a:lnTo>
                        <a:pt x="295" y="107"/>
                      </a:lnTo>
                      <a:lnTo>
                        <a:pt x="297" y="107"/>
                      </a:lnTo>
                      <a:lnTo>
                        <a:pt x="299" y="107"/>
                      </a:lnTo>
                      <a:lnTo>
                        <a:pt x="301" y="108"/>
                      </a:lnTo>
                      <a:lnTo>
                        <a:pt x="302" y="110"/>
                      </a:lnTo>
                      <a:lnTo>
                        <a:pt x="302" y="112"/>
                      </a:lnTo>
                      <a:lnTo>
                        <a:pt x="304" y="112"/>
                      </a:lnTo>
                      <a:lnTo>
                        <a:pt x="304" y="113"/>
                      </a:lnTo>
                      <a:lnTo>
                        <a:pt x="306" y="115"/>
                      </a:lnTo>
                      <a:lnTo>
                        <a:pt x="307" y="115"/>
                      </a:lnTo>
                      <a:lnTo>
                        <a:pt x="307" y="117"/>
                      </a:lnTo>
                      <a:lnTo>
                        <a:pt x="311" y="120"/>
                      </a:lnTo>
                      <a:lnTo>
                        <a:pt x="311" y="121"/>
                      </a:lnTo>
                      <a:lnTo>
                        <a:pt x="312" y="123"/>
                      </a:lnTo>
                      <a:lnTo>
                        <a:pt x="314" y="126"/>
                      </a:lnTo>
                      <a:lnTo>
                        <a:pt x="316" y="126"/>
                      </a:lnTo>
                      <a:lnTo>
                        <a:pt x="319" y="130"/>
                      </a:lnTo>
                      <a:lnTo>
                        <a:pt x="321" y="131"/>
                      </a:lnTo>
                      <a:lnTo>
                        <a:pt x="321" y="133"/>
                      </a:lnTo>
                      <a:lnTo>
                        <a:pt x="323" y="133"/>
                      </a:lnTo>
                      <a:lnTo>
                        <a:pt x="324" y="135"/>
                      </a:lnTo>
                      <a:lnTo>
                        <a:pt x="326" y="135"/>
                      </a:lnTo>
                      <a:lnTo>
                        <a:pt x="326" y="136"/>
                      </a:lnTo>
                      <a:lnTo>
                        <a:pt x="328" y="136"/>
                      </a:lnTo>
                      <a:lnTo>
                        <a:pt x="329" y="140"/>
                      </a:lnTo>
                      <a:lnTo>
                        <a:pt x="331" y="141"/>
                      </a:lnTo>
                      <a:lnTo>
                        <a:pt x="333" y="143"/>
                      </a:lnTo>
                      <a:lnTo>
                        <a:pt x="336" y="144"/>
                      </a:lnTo>
                      <a:lnTo>
                        <a:pt x="338" y="146"/>
                      </a:lnTo>
                      <a:lnTo>
                        <a:pt x="339" y="146"/>
                      </a:lnTo>
                      <a:lnTo>
                        <a:pt x="341" y="146"/>
                      </a:lnTo>
                      <a:lnTo>
                        <a:pt x="341" y="148"/>
                      </a:lnTo>
                      <a:lnTo>
                        <a:pt x="343" y="148"/>
                      </a:lnTo>
                      <a:lnTo>
                        <a:pt x="344" y="149"/>
                      </a:lnTo>
                      <a:lnTo>
                        <a:pt x="344" y="148"/>
                      </a:lnTo>
                      <a:lnTo>
                        <a:pt x="346" y="149"/>
                      </a:lnTo>
                      <a:lnTo>
                        <a:pt x="348" y="151"/>
                      </a:lnTo>
                      <a:lnTo>
                        <a:pt x="346" y="151"/>
                      </a:lnTo>
                      <a:lnTo>
                        <a:pt x="348" y="151"/>
                      </a:lnTo>
                      <a:lnTo>
                        <a:pt x="348" y="153"/>
                      </a:lnTo>
                      <a:lnTo>
                        <a:pt x="350" y="154"/>
                      </a:lnTo>
                      <a:lnTo>
                        <a:pt x="350" y="156"/>
                      </a:lnTo>
                      <a:lnTo>
                        <a:pt x="351" y="158"/>
                      </a:lnTo>
                      <a:lnTo>
                        <a:pt x="351" y="159"/>
                      </a:lnTo>
                      <a:lnTo>
                        <a:pt x="353" y="161"/>
                      </a:lnTo>
                      <a:lnTo>
                        <a:pt x="355" y="161"/>
                      </a:lnTo>
                      <a:lnTo>
                        <a:pt x="358" y="164"/>
                      </a:lnTo>
                      <a:lnTo>
                        <a:pt x="363" y="169"/>
                      </a:lnTo>
                      <a:lnTo>
                        <a:pt x="365" y="169"/>
                      </a:lnTo>
                      <a:lnTo>
                        <a:pt x="366" y="171"/>
                      </a:lnTo>
                      <a:lnTo>
                        <a:pt x="368" y="171"/>
                      </a:lnTo>
                      <a:lnTo>
                        <a:pt x="370" y="171"/>
                      </a:lnTo>
                      <a:lnTo>
                        <a:pt x="371" y="171"/>
                      </a:lnTo>
                      <a:lnTo>
                        <a:pt x="371" y="169"/>
                      </a:lnTo>
                      <a:lnTo>
                        <a:pt x="373" y="169"/>
                      </a:lnTo>
                      <a:lnTo>
                        <a:pt x="375" y="171"/>
                      </a:lnTo>
                      <a:lnTo>
                        <a:pt x="375" y="172"/>
                      </a:lnTo>
                      <a:lnTo>
                        <a:pt x="377" y="172"/>
                      </a:lnTo>
                      <a:lnTo>
                        <a:pt x="378" y="172"/>
                      </a:lnTo>
                      <a:lnTo>
                        <a:pt x="380" y="172"/>
                      </a:lnTo>
                      <a:lnTo>
                        <a:pt x="382" y="174"/>
                      </a:lnTo>
                      <a:lnTo>
                        <a:pt x="385" y="174"/>
                      </a:lnTo>
                      <a:lnTo>
                        <a:pt x="385" y="176"/>
                      </a:lnTo>
                      <a:lnTo>
                        <a:pt x="387" y="176"/>
                      </a:lnTo>
                      <a:lnTo>
                        <a:pt x="388" y="176"/>
                      </a:lnTo>
                      <a:lnTo>
                        <a:pt x="388" y="177"/>
                      </a:lnTo>
                      <a:lnTo>
                        <a:pt x="390" y="177"/>
                      </a:lnTo>
                      <a:lnTo>
                        <a:pt x="392" y="179"/>
                      </a:lnTo>
                      <a:lnTo>
                        <a:pt x="393" y="181"/>
                      </a:lnTo>
                      <a:lnTo>
                        <a:pt x="393" y="184"/>
                      </a:lnTo>
                      <a:lnTo>
                        <a:pt x="395" y="186"/>
                      </a:lnTo>
                      <a:lnTo>
                        <a:pt x="395" y="187"/>
                      </a:lnTo>
                      <a:lnTo>
                        <a:pt x="395" y="189"/>
                      </a:lnTo>
                      <a:lnTo>
                        <a:pt x="387" y="190"/>
                      </a:lnTo>
                      <a:lnTo>
                        <a:pt x="378" y="194"/>
                      </a:lnTo>
                      <a:lnTo>
                        <a:pt x="375" y="194"/>
                      </a:lnTo>
                      <a:lnTo>
                        <a:pt x="360" y="197"/>
                      </a:lnTo>
                      <a:lnTo>
                        <a:pt x="355" y="204"/>
                      </a:lnTo>
                      <a:lnTo>
                        <a:pt x="353" y="209"/>
                      </a:lnTo>
                      <a:lnTo>
                        <a:pt x="344" y="225"/>
                      </a:lnTo>
                      <a:lnTo>
                        <a:pt x="343" y="230"/>
                      </a:lnTo>
                      <a:lnTo>
                        <a:pt x="343" y="232"/>
                      </a:lnTo>
                      <a:lnTo>
                        <a:pt x="341" y="232"/>
                      </a:lnTo>
                      <a:lnTo>
                        <a:pt x="341" y="233"/>
                      </a:lnTo>
                      <a:lnTo>
                        <a:pt x="339" y="233"/>
                      </a:lnTo>
                      <a:lnTo>
                        <a:pt x="339" y="235"/>
                      </a:lnTo>
                      <a:lnTo>
                        <a:pt x="339" y="236"/>
                      </a:lnTo>
                      <a:lnTo>
                        <a:pt x="338" y="238"/>
                      </a:lnTo>
                      <a:lnTo>
                        <a:pt x="338" y="240"/>
                      </a:lnTo>
                      <a:lnTo>
                        <a:pt x="336" y="240"/>
                      </a:lnTo>
                      <a:lnTo>
                        <a:pt x="336" y="241"/>
                      </a:lnTo>
                      <a:lnTo>
                        <a:pt x="334" y="241"/>
                      </a:lnTo>
                      <a:lnTo>
                        <a:pt x="334" y="243"/>
                      </a:lnTo>
                      <a:lnTo>
                        <a:pt x="334" y="245"/>
                      </a:lnTo>
                      <a:lnTo>
                        <a:pt x="333" y="246"/>
                      </a:lnTo>
                      <a:lnTo>
                        <a:pt x="331" y="246"/>
                      </a:lnTo>
                      <a:lnTo>
                        <a:pt x="331" y="248"/>
                      </a:lnTo>
                      <a:lnTo>
                        <a:pt x="329" y="248"/>
                      </a:lnTo>
                      <a:lnTo>
                        <a:pt x="328" y="246"/>
                      </a:lnTo>
                      <a:lnTo>
                        <a:pt x="328" y="248"/>
                      </a:lnTo>
                      <a:lnTo>
                        <a:pt x="328" y="250"/>
                      </a:lnTo>
                      <a:lnTo>
                        <a:pt x="328" y="251"/>
                      </a:lnTo>
                      <a:lnTo>
                        <a:pt x="326" y="251"/>
                      </a:lnTo>
                      <a:lnTo>
                        <a:pt x="326" y="253"/>
                      </a:lnTo>
                      <a:lnTo>
                        <a:pt x="328" y="253"/>
                      </a:lnTo>
                      <a:lnTo>
                        <a:pt x="328" y="255"/>
                      </a:lnTo>
                      <a:lnTo>
                        <a:pt x="326" y="256"/>
                      </a:lnTo>
                      <a:lnTo>
                        <a:pt x="326" y="258"/>
                      </a:lnTo>
                      <a:lnTo>
                        <a:pt x="324" y="258"/>
                      </a:lnTo>
                      <a:lnTo>
                        <a:pt x="323" y="258"/>
                      </a:lnTo>
                      <a:lnTo>
                        <a:pt x="323" y="259"/>
                      </a:lnTo>
                      <a:lnTo>
                        <a:pt x="323" y="261"/>
                      </a:lnTo>
                      <a:lnTo>
                        <a:pt x="323" y="263"/>
                      </a:lnTo>
                      <a:lnTo>
                        <a:pt x="321" y="263"/>
                      </a:lnTo>
                      <a:lnTo>
                        <a:pt x="321" y="264"/>
                      </a:lnTo>
                      <a:lnTo>
                        <a:pt x="319" y="264"/>
                      </a:lnTo>
                      <a:lnTo>
                        <a:pt x="317" y="266"/>
                      </a:lnTo>
                      <a:lnTo>
                        <a:pt x="317" y="268"/>
                      </a:lnTo>
                      <a:lnTo>
                        <a:pt x="317" y="269"/>
                      </a:lnTo>
                      <a:lnTo>
                        <a:pt x="316" y="271"/>
                      </a:lnTo>
                      <a:lnTo>
                        <a:pt x="317" y="271"/>
                      </a:lnTo>
                      <a:lnTo>
                        <a:pt x="319" y="271"/>
                      </a:lnTo>
                      <a:lnTo>
                        <a:pt x="321" y="271"/>
                      </a:lnTo>
                      <a:lnTo>
                        <a:pt x="321" y="273"/>
                      </a:lnTo>
                      <a:lnTo>
                        <a:pt x="319" y="273"/>
                      </a:lnTo>
                      <a:lnTo>
                        <a:pt x="319" y="274"/>
                      </a:lnTo>
                      <a:lnTo>
                        <a:pt x="317" y="276"/>
                      </a:lnTo>
                      <a:lnTo>
                        <a:pt x="317" y="278"/>
                      </a:lnTo>
                      <a:lnTo>
                        <a:pt x="316" y="278"/>
                      </a:lnTo>
                      <a:lnTo>
                        <a:pt x="316" y="279"/>
                      </a:lnTo>
                      <a:lnTo>
                        <a:pt x="314" y="279"/>
                      </a:lnTo>
                      <a:lnTo>
                        <a:pt x="314" y="281"/>
                      </a:lnTo>
                      <a:lnTo>
                        <a:pt x="314" y="282"/>
                      </a:lnTo>
                      <a:lnTo>
                        <a:pt x="312" y="284"/>
                      </a:lnTo>
                      <a:lnTo>
                        <a:pt x="314" y="284"/>
                      </a:lnTo>
                      <a:lnTo>
                        <a:pt x="314" y="286"/>
                      </a:lnTo>
                      <a:lnTo>
                        <a:pt x="312" y="286"/>
                      </a:lnTo>
                      <a:lnTo>
                        <a:pt x="312" y="287"/>
                      </a:lnTo>
                      <a:lnTo>
                        <a:pt x="311" y="287"/>
                      </a:lnTo>
                      <a:lnTo>
                        <a:pt x="311" y="289"/>
                      </a:lnTo>
                      <a:lnTo>
                        <a:pt x="309" y="289"/>
                      </a:lnTo>
                      <a:lnTo>
                        <a:pt x="309" y="291"/>
                      </a:lnTo>
                      <a:lnTo>
                        <a:pt x="309" y="292"/>
                      </a:lnTo>
                      <a:lnTo>
                        <a:pt x="307" y="292"/>
                      </a:lnTo>
                      <a:lnTo>
                        <a:pt x="306" y="292"/>
                      </a:lnTo>
                      <a:lnTo>
                        <a:pt x="306" y="294"/>
                      </a:lnTo>
                      <a:lnTo>
                        <a:pt x="304" y="294"/>
                      </a:lnTo>
                      <a:lnTo>
                        <a:pt x="302" y="296"/>
                      </a:lnTo>
                      <a:lnTo>
                        <a:pt x="301" y="297"/>
                      </a:lnTo>
                      <a:lnTo>
                        <a:pt x="301" y="300"/>
                      </a:lnTo>
                      <a:lnTo>
                        <a:pt x="301" y="302"/>
                      </a:lnTo>
                      <a:lnTo>
                        <a:pt x="299" y="302"/>
                      </a:lnTo>
                      <a:lnTo>
                        <a:pt x="297" y="302"/>
                      </a:lnTo>
                      <a:lnTo>
                        <a:pt x="297" y="304"/>
                      </a:lnTo>
                      <a:lnTo>
                        <a:pt x="295" y="304"/>
                      </a:lnTo>
                      <a:lnTo>
                        <a:pt x="294" y="304"/>
                      </a:lnTo>
                      <a:lnTo>
                        <a:pt x="292" y="304"/>
                      </a:lnTo>
                      <a:lnTo>
                        <a:pt x="292" y="302"/>
                      </a:lnTo>
                      <a:lnTo>
                        <a:pt x="292" y="304"/>
                      </a:lnTo>
                      <a:lnTo>
                        <a:pt x="290" y="304"/>
                      </a:lnTo>
                      <a:lnTo>
                        <a:pt x="289" y="304"/>
                      </a:lnTo>
                      <a:lnTo>
                        <a:pt x="289" y="302"/>
                      </a:lnTo>
                      <a:lnTo>
                        <a:pt x="289" y="300"/>
                      </a:lnTo>
                      <a:lnTo>
                        <a:pt x="287" y="300"/>
                      </a:lnTo>
                      <a:lnTo>
                        <a:pt x="287" y="302"/>
                      </a:lnTo>
                      <a:lnTo>
                        <a:pt x="287" y="300"/>
                      </a:lnTo>
                      <a:lnTo>
                        <a:pt x="287" y="302"/>
                      </a:lnTo>
                      <a:lnTo>
                        <a:pt x="285" y="302"/>
                      </a:lnTo>
                      <a:lnTo>
                        <a:pt x="284" y="304"/>
                      </a:lnTo>
                      <a:lnTo>
                        <a:pt x="282" y="304"/>
                      </a:lnTo>
                      <a:lnTo>
                        <a:pt x="284" y="304"/>
                      </a:lnTo>
                      <a:lnTo>
                        <a:pt x="284" y="305"/>
                      </a:lnTo>
                      <a:lnTo>
                        <a:pt x="282" y="305"/>
                      </a:lnTo>
                      <a:lnTo>
                        <a:pt x="282" y="307"/>
                      </a:lnTo>
                      <a:lnTo>
                        <a:pt x="280" y="307"/>
                      </a:lnTo>
                      <a:lnTo>
                        <a:pt x="280" y="309"/>
                      </a:lnTo>
                      <a:lnTo>
                        <a:pt x="280" y="310"/>
                      </a:lnTo>
                      <a:lnTo>
                        <a:pt x="279" y="310"/>
                      </a:lnTo>
                      <a:lnTo>
                        <a:pt x="279" y="312"/>
                      </a:lnTo>
                      <a:lnTo>
                        <a:pt x="277" y="312"/>
                      </a:lnTo>
                      <a:lnTo>
                        <a:pt x="277" y="314"/>
                      </a:lnTo>
                      <a:lnTo>
                        <a:pt x="275" y="314"/>
                      </a:lnTo>
                      <a:lnTo>
                        <a:pt x="275" y="315"/>
                      </a:lnTo>
                      <a:lnTo>
                        <a:pt x="275" y="317"/>
                      </a:lnTo>
                      <a:lnTo>
                        <a:pt x="275" y="319"/>
                      </a:lnTo>
                      <a:lnTo>
                        <a:pt x="274" y="319"/>
                      </a:lnTo>
                      <a:lnTo>
                        <a:pt x="274" y="320"/>
                      </a:lnTo>
                      <a:lnTo>
                        <a:pt x="272" y="320"/>
                      </a:lnTo>
                      <a:lnTo>
                        <a:pt x="272" y="322"/>
                      </a:lnTo>
                      <a:lnTo>
                        <a:pt x="270" y="322"/>
                      </a:lnTo>
                      <a:lnTo>
                        <a:pt x="270" y="323"/>
                      </a:lnTo>
                      <a:lnTo>
                        <a:pt x="272" y="323"/>
                      </a:lnTo>
                      <a:lnTo>
                        <a:pt x="270" y="325"/>
                      </a:lnTo>
                      <a:lnTo>
                        <a:pt x="270" y="327"/>
                      </a:lnTo>
                      <a:lnTo>
                        <a:pt x="270" y="328"/>
                      </a:lnTo>
                      <a:lnTo>
                        <a:pt x="272" y="328"/>
                      </a:lnTo>
                      <a:lnTo>
                        <a:pt x="272" y="330"/>
                      </a:lnTo>
                      <a:lnTo>
                        <a:pt x="270" y="330"/>
                      </a:lnTo>
                      <a:lnTo>
                        <a:pt x="270" y="332"/>
                      </a:lnTo>
                      <a:lnTo>
                        <a:pt x="268" y="332"/>
                      </a:lnTo>
                      <a:lnTo>
                        <a:pt x="268" y="333"/>
                      </a:lnTo>
                      <a:lnTo>
                        <a:pt x="270" y="333"/>
                      </a:lnTo>
                      <a:lnTo>
                        <a:pt x="272" y="333"/>
                      </a:lnTo>
                      <a:lnTo>
                        <a:pt x="274" y="333"/>
                      </a:lnTo>
                      <a:lnTo>
                        <a:pt x="275" y="333"/>
                      </a:lnTo>
                      <a:lnTo>
                        <a:pt x="275" y="332"/>
                      </a:lnTo>
                      <a:lnTo>
                        <a:pt x="275" y="333"/>
                      </a:lnTo>
                      <a:lnTo>
                        <a:pt x="275" y="335"/>
                      </a:lnTo>
                      <a:lnTo>
                        <a:pt x="274" y="335"/>
                      </a:lnTo>
                      <a:lnTo>
                        <a:pt x="272" y="337"/>
                      </a:lnTo>
                      <a:lnTo>
                        <a:pt x="272" y="338"/>
                      </a:lnTo>
                      <a:lnTo>
                        <a:pt x="272" y="340"/>
                      </a:lnTo>
                      <a:lnTo>
                        <a:pt x="270" y="340"/>
                      </a:lnTo>
                      <a:lnTo>
                        <a:pt x="270" y="342"/>
                      </a:lnTo>
                      <a:lnTo>
                        <a:pt x="268" y="342"/>
                      </a:lnTo>
                      <a:lnTo>
                        <a:pt x="268" y="343"/>
                      </a:lnTo>
                      <a:lnTo>
                        <a:pt x="267" y="343"/>
                      </a:lnTo>
                      <a:lnTo>
                        <a:pt x="267" y="345"/>
                      </a:lnTo>
                      <a:lnTo>
                        <a:pt x="267" y="346"/>
                      </a:lnTo>
                      <a:lnTo>
                        <a:pt x="265" y="346"/>
                      </a:lnTo>
                      <a:lnTo>
                        <a:pt x="265" y="348"/>
                      </a:lnTo>
                      <a:lnTo>
                        <a:pt x="263" y="350"/>
                      </a:lnTo>
                      <a:lnTo>
                        <a:pt x="265" y="351"/>
                      </a:lnTo>
                      <a:lnTo>
                        <a:pt x="265" y="353"/>
                      </a:lnTo>
                      <a:lnTo>
                        <a:pt x="263" y="353"/>
                      </a:lnTo>
                      <a:lnTo>
                        <a:pt x="263" y="355"/>
                      </a:lnTo>
                      <a:lnTo>
                        <a:pt x="263" y="356"/>
                      </a:lnTo>
                      <a:lnTo>
                        <a:pt x="263" y="358"/>
                      </a:lnTo>
                      <a:lnTo>
                        <a:pt x="262" y="358"/>
                      </a:lnTo>
                      <a:lnTo>
                        <a:pt x="262" y="360"/>
                      </a:lnTo>
                      <a:lnTo>
                        <a:pt x="262" y="361"/>
                      </a:lnTo>
                      <a:lnTo>
                        <a:pt x="260" y="363"/>
                      </a:lnTo>
                      <a:lnTo>
                        <a:pt x="262" y="363"/>
                      </a:lnTo>
                      <a:lnTo>
                        <a:pt x="263" y="363"/>
                      </a:lnTo>
                      <a:lnTo>
                        <a:pt x="263" y="365"/>
                      </a:lnTo>
                      <a:lnTo>
                        <a:pt x="263" y="366"/>
                      </a:lnTo>
                      <a:lnTo>
                        <a:pt x="265" y="366"/>
                      </a:lnTo>
                      <a:lnTo>
                        <a:pt x="265" y="368"/>
                      </a:lnTo>
                      <a:lnTo>
                        <a:pt x="267" y="368"/>
                      </a:lnTo>
                      <a:lnTo>
                        <a:pt x="267" y="369"/>
                      </a:lnTo>
                      <a:lnTo>
                        <a:pt x="265" y="369"/>
                      </a:lnTo>
                      <a:lnTo>
                        <a:pt x="263" y="369"/>
                      </a:lnTo>
                      <a:lnTo>
                        <a:pt x="265" y="369"/>
                      </a:lnTo>
                      <a:lnTo>
                        <a:pt x="265" y="371"/>
                      </a:lnTo>
                      <a:lnTo>
                        <a:pt x="263" y="371"/>
                      </a:lnTo>
                      <a:lnTo>
                        <a:pt x="263" y="373"/>
                      </a:lnTo>
                      <a:lnTo>
                        <a:pt x="262" y="373"/>
                      </a:lnTo>
                      <a:lnTo>
                        <a:pt x="260" y="373"/>
                      </a:lnTo>
                      <a:lnTo>
                        <a:pt x="262" y="374"/>
                      </a:lnTo>
                      <a:lnTo>
                        <a:pt x="260" y="376"/>
                      </a:lnTo>
                      <a:lnTo>
                        <a:pt x="258" y="376"/>
                      </a:lnTo>
                      <a:lnTo>
                        <a:pt x="258" y="378"/>
                      </a:lnTo>
                      <a:lnTo>
                        <a:pt x="258" y="376"/>
                      </a:lnTo>
                      <a:lnTo>
                        <a:pt x="257" y="378"/>
                      </a:lnTo>
                      <a:lnTo>
                        <a:pt x="255" y="379"/>
                      </a:lnTo>
                      <a:lnTo>
                        <a:pt x="253" y="379"/>
                      </a:lnTo>
                      <a:lnTo>
                        <a:pt x="253" y="381"/>
                      </a:lnTo>
                      <a:lnTo>
                        <a:pt x="253" y="383"/>
                      </a:lnTo>
                      <a:lnTo>
                        <a:pt x="253" y="384"/>
                      </a:lnTo>
                      <a:lnTo>
                        <a:pt x="255" y="384"/>
                      </a:lnTo>
                      <a:lnTo>
                        <a:pt x="255" y="386"/>
                      </a:lnTo>
                      <a:lnTo>
                        <a:pt x="253" y="386"/>
                      </a:lnTo>
                      <a:lnTo>
                        <a:pt x="253" y="388"/>
                      </a:lnTo>
                      <a:lnTo>
                        <a:pt x="255" y="389"/>
                      </a:lnTo>
                      <a:lnTo>
                        <a:pt x="257" y="389"/>
                      </a:lnTo>
                      <a:lnTo>
                        <a:pt x="258" y="391"/>
                      </a:lnTo>
                      <a:lnTo>
                        <a:pt x="260" y="391"/>
                      </a:lnTo>
                      <a:lnTo>
                        <a:pt x="260" y="392"/>
                      </a:lnTo>
                      <a:lnTo>
                        <a:pt x="262" y="394"/>
                      </a:lnTo>
                      <a:lnTo>
                        <a:pt x="262" y="396"/>
                      </a:lnTo>
                      <a:lnTo>
                        <a:pt x="263" y="397"/>
                      </a:lnTo>
                      <a:lnTo>
                        <a:pt x="262" y="399"/>
                      </a:lnTo>
                      <a:lnTo>
                        <a:pt x="262" y="401"/>
                      </a:lnTo>
                      <a:lnTo>
                        <a:pt x="260" y="401"/>
                      </a:lnTo>
                      <a:lnTo>
                        <a:pt x="262" y="402"/>
                      </a:lnTo>
                      <a:lnTo>
                        <a:pt x="260" y="402"/>
                      </a:lnTo>
                      <a:lnTo>
                        <a:pt x="260" y="404"/>
                      </a:lnTo>
                      <a:lnTo>
                        <a:pt x="262" y="404"/>
                      </a:lnTo>
                      <a:lnTo>
                        <a:pt x="260" y="404"/>
                      </a:lnTo>
                      <a:lnTo>
                        <a:pt x="260" y="406"/>
                      </a:lnTo>
                      <a:lnTo>
                        <a:pt x="262" y="406"/>
                      </a:lnTo>
                      <a:lnTo>
                        <a:pt x="263" y="406"/>
                      </a:lnTo>
                      <a:lnTo>
                        <a:pt x="265" y="406"/>
                      </a:lnTo>
                      <a:lnTo>
                        <a:pt x="267" y="407"/>
                      </a:lnTo>
                      <a:lnTo>
                        <a:pt x="267" y="409"/>
                      </a:lnTo>
                      <a:lnTo>
                        <a:pt x="267" y="411"/>
                      </a:lnTo>
                      <a:lnTo>
                        <a:pt x="268" y="411"/>
                      </a:lnTo>
                      <a:lnTo>
                        <a:pt x="270" y="412"/>
                      </a:lnTo>
                      <a:lnTo>
                        <a:pt x="270" y="411"/>
                      </a:lnTo>
                      <a:lnTo>
                        <a:pt x="272" y="411"/>
                      </a:lnTo>
                      <a:lnTo>
                        <a:pt x="274" y="411"/>
                      </a:lnTo>
                      <a:lnTo>
                        <a:pt x="272" y="412"/>
                      </a:lnTo>
                      <a:lnTo>
                        <a:pt x="274" y="412"/>
                      </a:lnTo>
                      <a:lnTo>
                        <a:pt x="274" y="414"/>
                      </a:lnTo>
                      <a:lnTo>
                        <a:pt x="274" y="415"/>
                      </a:lnTo>
                      <a:lnTo>
                        <a:pt x="274" y="417"/>
                      </a:lnTo>
                      <a:lnTo>
                        <a:pt x="274" y="419"/>
                      </a:lnTo>
                      <a:lnTo>
                        <a:pt x="274" y="420"/>
                      </a:lnTo>
                      <a:lnTo>
                        <a:pt x="272" y="420"/>
                      </a:lnTo>
                      <a:lnTo>
                        <a:pt x="272" y="422"/>
                      </a:lnTo>
                      <a:lnTo>
                        <a:pt x="270" y="422"/>
                      </a:lnTo>
                      <a:lnTo>
                        <a:pt x="270" y="424"/>
                      </a:lnTo>
                      <a:lnTo>
                        <a:pt x="270" y="425"/>
                      </a:lnTo>
                      <a:lnTo>
                        <a:pt x="268" y="425"/>
                      </a:lnTo>
                      <a:lnTo>
                        <a:pt x="268" y="427"/>
                      </a:lnTo>
                      <a:lnTo>
                        <a:pt x="270" y="427"/>
                      </a:lnTo>
                      <a:lnTo>
                        <a:pt x="270" y="429"/>
                      </a:lnTo>
                      <a:lnTo>
                        <a:pt x="268" y="429"/>
                      </a:lnTo>
                      <a:lnTo>
                        <a:pt x="268" y="430"/>
                      </a:lnTo>
                      <a:lnTo>
                        <a:pt x="267" y="430"/>
                      </a:lnTo>
                      <a:lnTo>
                        <a:pt x="265" y="430"/>
                      </a:lnTo>
                      <a:lnTo>
                        <a:pt x="263" y="430"/>
                      </a:lnTo>
                      <a:lnTo>
                        <a:pt x="263" y="432"/>
                      </a:lnTo>
                      <a:lnTo>
                        <a:pt x="265" y="432"/>
                      </a:lnTo>
                      <a:lnTo>
                        <a:pt x="265" y="434"/>
                      </a:lnTo>
                      <a:lnTo>
                        <a:pt x="263" y="435"/>
                      </a:lnTo>
                      <a:lnTo>
                        <a:pt x="263" y="437"/>
                      </a:lnTo>
                      <a:lnTo>
                        <a:pt x="263" y="438"/>
                      </a:lnTo>
                      <a:lnTo>
                        <a:pt x="263" y="440"/>
                      </a:lnTo>
                      <a:lnTo>
                        <a:pt x="262" y="440"/>
                      </a:lnTo>
                      <a:lnTo>
                        <a:pt x="262" y="442"/>
                      </a:lnTo>
                      <a:lnTo>
                        <a:pt x="260" y="442"/>
                      </a:lnTo>
                      <a:lnTo>
                        <a:pt x="258" y="442"/>
                      </a:lnTo>
                      <a:lnTo>
                        <a:pt x="258" y="443"/>
                      </a:lnTo>
                      <a:lnTo>
                        <a:pt x="257" y="443"/>
                      </a:lnTo>
                      <a:lnTo>
                        <a:pt x="258" y="443"/>
                      </a:lnTo>
                      <a:lnTo>
                        <a:pt x="258" y="445"/>
                      </a:lnTo>
                      <a:lnTo>
                        <a:pt x="257" y="445"/>
                      </a:lnTo>
                      <a:lnTo>
                        <a:pt x="257" y="447"/>
                      </a:lnTo>
                      <a:lnTo>
                        <a:pt x="255" y="447"/>
                      </a:lnTo>
                      <a:lnTo>
                        <a:pt x="255" y="448"/>
                      </a:lnTo>
                      <a:lnTo>
                        <a:pt x="255" y="450"/>
                      </a:lnTo>
                      <a:lnTo>
                        <a:pt x="253" y="450"/>
                      </a:lnTo>
                      <a:lnTo>
                        <a:pt x="253" y="448"/>
                      </a:lnTo>
                      <a:lnTo>
                        <a:pt x="252" y="450"/>
                      </a:lnTo>
                      <a:lnTo>
                        <a:pt x="250" y="450"/>
                      </a:lnTo>
                      <a:lnTo>
                        <a:pt x="248" y="450"/>
                      </a:lnTo>
                      <a:lnTo>
                        <a:pt x="246" y="450"/>
                      </a:lnTo>
                      <a:lnTo>
                        <a:pt x="246" y="452"/>
                      </a:lnTo>
                      <a:lnTo>
                        <a:pt x="248" y="452"/>
                      </a:lnTo>
                      <a:lnTo>
                        <a:pt x="248" y="453"/>
                      </a:lnTo>
                      <a:lnTo>
                        <a:pt x="246" y="455"/>
                      </a:lnTo>
                      <a:lnTo>
                        <a:pt x="245" y="455"/>
                      </a:lnTo>
                      <a:lnTo>
                        <a:pt x="243" y="455"/>
                      </a:lnTo>
                      <a:lnTo>
                        <a:pt x="243" y="453"/>
                      </a:lnTo>
                      <a:lnTo>
                        <a:pt x="243" y="455"/>
                      </a:lnTo>
                      <a:lnTo>
                        <a:pt x="241" y="455"/>
                      </a:lnTo>
                      <a:lnTo>
                        <a:pt x="241" y="457"/>
                      </a:lnTo>
                      <a:lnTo>
                        <a:pt x="241" y="458"/>
                      </a:lnTo>
                      <a:lnTo>
                        <a:pt x="240" y="458"/>
                      </a:lnTo>
                      <a:lnTo>
                        <a:pt x="240" y="457"/>
                      </a:lnTo>
                      <a:lnTo>
                        <a:pt x="238" y="457"/>
                      </a:lnTo>
                      <a:lnTo>
                        <a:pt x="238" y="458"/>
                      </a:lnTo>
                      <a:lnTo>
                        <a:pt x="236" y="458"/>
                      </a:lnTo>
                      <a:lnTo>
                        <a:pt x="236" y="460"/>
                      </a:lnTo>
                      <a:lnTo>
                        <a:pt x="235" y="460"/>
                      </a:lnTo>
                      <a:lnTo>
                        <a:pt x="235" y="461"/>
                      </a:lnTo>
                      <a:lnTo>
                        <a:pt x="236" y="461"/>
                      </a:lnTo>
                      <a:lnTo>
                        <a:pt x="235" y="463"/>
                      </a:lnTo>
                      <a:lnTo>
                        <a:pt x="235" y="465"/>
                      </a:lnTo>
                      <a:lnTo>
                        <a:pt x="233" y="465"/>
                      </a:lnTo>
                      <a:lnTo>
                        <a:pt x="235" y="466"/>
                      </a:lnTo>
                      <a:lnTo>
                        <a:pt x="233" y="466"/>
                      </a:lnTo>
                      <a:lnTo>
                        <a:pt x="231" y="466"/>
                      </a:lnTo>
                      <a:lnTo>
                        <a:pt x="230" y="466"/>
                      </a:lnTo>
                      <a:lnTo>
                        <a:pt x="230" y="465"/>
                      </a:lnTo>
                      <a:lnTo>
                        <a:pt x="230" y="463"/>
                      </a:lnTo>
                      <a:lnTo>
                        <a:pt x="228" y="463"/>
                      </a:lnTo>
                      <a:lnTo>
                        <a:pt x="228" y="465"/>
                      </a:lnTo>
                      <a:lnTo>
                        <a:pt x="226" y="465"/>
                      </a:lnTo>
                      <a:lnTo>
                        <a:pt x="225" y="465"/>
                      </a:lnTo>
                      <a:lnTo>
                        <a:pt x="225" y="466"/>
                      </a:lnTo>
                      <a:lnTo>
                        <a:pt x="223" y="466"/>
                      </a:lnTo>
                      <a:lnTo>
                        <a:pt x="221" y="468"/>
                      </a:lnTo>
                      <a:lnTo>
                        <a:pt x="221" y="466"/>
                      </a:lnTo>
                      <a:lnTo>
                        <a:pt x="221" y="465"/>
                      </a:lnTo>
                      <a:lnTo>
                        <a:pt x="221" y="463"/>
                      </a:lnTo>
                      <a:lnTo>
                        <a:pt x="221" y="461"/>
                      </a:lnTo>
                      <a:lnTo>
                        <a:pt x="221" y="460"/>
                      </a:lnTo>
                      <a:lnTo>
                        <a:pt x="219" y="458"/>
                      </a:lnTo>
                      <a:lnTo>
                        <a:pt x="218" y="457"/>
                      </a:lnTo>
                      <a:lnTo>
                        <a:pt x="218" y="455"/>
                      </a:lnTo>
                      <a:lnTo>
                        <a:pt x="216" y="455"/>
                      </a:lnTo>
                      <a:lnTo>
                        <a:pt x="214" y="455"/>
                      </a:lnTo>
                      <a:lnTo>
                        <a:pt x="213" y="453"/>
                      </a:lnTo>
                      <a:lnTo>
                        <a:pt x="211" y="453"/>
                      </a:lnTo>
                      <a:lnTo>
                        <a:pt x="211" y="452"/>
                      </a:lnTo>
                      <a:lnTo>
                        <a:pt x="209" y="452"/>
                      </a:lnTo>
                      <a:lnTo>
                        <a:pt x="209" y="453"/>
                      </a:lnTo>
                      <a:lnTo>
                        <a:pt x="208" y="453"/>
                      </a:lnTo>
                      <a:lnTo>
                        <a:pt x="208" y="452"/>
                      </a:lnTo>
                      <a:lnTo>
                        <a:pt x="206" y="452"/>
                      </a:lnTo>
                      <a:lnTo>
                        <a:pt x="204" y="450"/>
                      </a:lnTo>
                      <a:lnTo>
                        <a:pt x="203" y="450"/>
                      </a:lnTo>
                      <a:lnTo>
                        <a:pt x="201" y="450"/>
                      </a:lnTo>
                      <a:lnTo>
                        <a:pt x="201" y="448"/>
                      </a:lnTo>
                      <a:lnTo>
                        <a:pt x="201" y="447"/>
                      </a:lnTo>
                      <a:lnTo>
                        <a:pt x="203" y="445"/>
                      </a:lnTo>
                      <a:lnTo>
                        <a:pt x="203" y="443"/>
                      </a:lnTo>
                      <a:lnTo>
                        <a:pt x="204" y="445"/>
                      </a:lnTo>
                      <a:lnTo>
                        <a:pt x="203" y="443"/>
                      </a:lnTo>
                      <a:lnTo>
                        <a:pt x="201" y="442"/>
                      </a:lnTo>
                      <a:lnTo>
                        <a:pt x="201" y="440"/>
                      </a:lnTo>
                      <a:lnTo>
                        <a:pt x="201" y="438"/>
                      </a:lnTo>
                      <a:lnTo>
                        <a:pt x="199" y="438"/>
                      </a:lnTo>
                      <a:lnTo>
                        <a:pt x="199" y="437"/>
                      </a:lnTo>
                      <a:lnTo>
                        <a:pt x="198" y="437"/>
                      </a:lnTo>
                      <a:lnTo>
                        <a:pt x="198" y="435"/>
                      </a:lnTo>
                      <a:lnTo>
                        <a:pt x="196" y="435"/>
                      </a:lnTo>
                      <a:lnTo>
                        <a:pt x="196" y="434"/>
                      </a:lnTo>
                      <a:lnTo>
                        <a:pt x="194" y="434"/>
                      </a:lnTo>
                      <a:lnTo>
                        <a:pt x="192" y="432"/>
                      </a:lnTo>
                      <a:lnTo>
                        <a:pt x="191" y="432"/>
                      </a:lnTo>
                      <a:lnTo>
                        <a:pt x="189" y="432"/>
                      </a:lnTo>
                      <a:lnTo>
                        <a:pt x="189" y="430"/>
                      </a:lnTo>
                      <a:lnTo>
                        <a:pt x="187" y="430"/>
                      </a:lnTo>
                      <a:lnTo>
                        <a:pt x="184" y="430"/>
                      </a:lnTo>
                      <a:lnTo>
                        <a:pt x="184" y="429"/>
                      </a:lnTo>
                      <a:lnTo>
                        <a:pt x="182" y="427"/>
                      </a:lnTo>
                      <a:lnTo>
                        <a:pt x="181" y="427"/>
                      </a:lnTo>
                      <a:lnTo>
                        <a:pt x="181" y="425"/>
                      </a:lnTo>
                      <a:lnTo>
                        <a:pt x="179" y="425"/>
                      </a:lnTo>
                      <a:lnTo>
                        <a:pt x="179" y="424"/>
                      </a:lnTo>
                      <a:lnTo>
                        <a:pt x="177" y="424"/>
                      </a:lnTo>
                      <a:lnTo>
                        <a:pt x="176" y="424"/>
                      </a:lnTo>
                      <a:lnTo>
                        <a:pt x="174" y="422"/>
                      </a:lnTo>
                      <a:lnTo>
                        <a:pt x="174" y="420"/>
                      </a:lnTo>
                      <a:lnTo>
                        <a:pt x="172" y="420"/>
                      </a:lnTo>
                      <a:lnTo>
                        <a:pt x="172" y="419"/>
                      </a:lnTo>
                      <a:lnTo>
                        <a:pt x="170" y="419"/>
                      </a:lnTo>
                      <a:lnTo>
                        <a:pt x="169" y="419"/>
                      </a:lnTo>
                      <a:lnTo>
                        <a:pt x="169" y="417"/>
                      </a:lnTo>
                      <a:lnTo>
                        <a:pt x="167" y="417"/>
                      </a:lnTo>
                      <a:lnTo>
                        <a:pt x="165" y="417"/>
                      </a:lnTo>
                      <a:lnTo>
                        <a:pt x="164" y="417"/>
                      </a:lnTo>
                      <a:lnTo>
                        <a:pt x="162" y="417"/>
                      </a:lnTo>
                      <a:lnTo>
                        <a:pt x="160" y="417"/>
                      </a:lnTo>
                      <a:lnTo>
                        <a:pt x="159" y="417"/>
                      </a:lnTo>
                      <a:lnTo>
                        <a:pt x="159" y="419"/>
                      </a:lnTo>
                      <a:lnTo>
                        <a:pt x="157" y="419"/>
                      </a:lnTo>
                      <a:lnTo>
                        <a:pt x="155" y="419"/>
                      </a:lnTo>
                      <a:lnTo>
                        <a:pt x="154" y="419"/>
                      </a:lnTo>
                      <a:lnTo>
                        <a:pt x="152" y="419"/>
                      </a:lnTo>
                      <a:lnTo>
                        <a:pt x="150" y="419"/>
                      </a:lnTo>
                      <a:lnTo>
                        <a:pt x="149" y="419"/>
                      </a:lnTo>
                      <a:lnTo>
                        <a:pt x="147" y="419"/>
                      </a:lnTo>
                      <a:lnTo>
                        <a:pt x="147" y="420"/>
                      </a:lnTo>
                      <a:lnTo>
                        <a:pt x="145" y="420"/>
                      </a:lnTo>
                      <a:lnTo>
                        <a:pt x="143" y="419"/>
                      </a:lnTo>
                      <a:lnTo>
                        <a:pt x="143" y="420"/>
                      </a:lnTo>
                      <a:lnTo>
                        <a:pt x="142" y="420"/>
                      </a:lnTo>
                      <a:lnTo>
                        <a:pt x="140" y="420"/>
                      </a:lnTo>
                      <a:lnTo>
                        <a:pt x="138" y="420"/>
                      </a:lnTo>
                      <a:lnTo>
                        <a:pt x="137" y="420"/>
                      </a:lnTo>
                      <a:lnTo>
                        <a:pt x="135" y="422"/>
                      </a:lnTo>
                      <a:lnTo>
                        <a:pt x="135" y="424"/>
                      </a:lnTo>
                      <a:lnTo>
                        <a:pt x="135" y="422"/>
                      </a:lnTo>
                      <a:lnTo>
                        <a:pt x="133" y="422"/>
                      </a:lnTo>
                      <a:lnTo>
                        <a:pt x="132" y="422"/>
                      </a:lnTo>
                      <a:lnTo>
                        <a:pt x="130" y="420"/>
                      </a:lnTo>
                      <a:lnTo>
                        <a:pt x="128" y="420"/>
                      </a:lnTo>
                      <a:lnTo>
                        <a:pt x="127" y="422"/>
                      </a:lnTo>
                      <a:lnTo>
                        <a:pt x="125" y="422"/>
                      </a:lnTo>
                      <a:lnTo>
                        <a:pt x="123" y="422"/>
                      </a:lnTo>
                      <a:lnTo>
                        <a:pt x="122" y="422"/>
                      </a:lnTo>
                      <a:lnTo>
                        <a:pt x="120" y="424"/>
                      </a:lnTo>
                      <a:lnTo>
                        <a:pt x="118" y="424"/>
                      </a:lnTo>
                      <a:lnTo>
                        <a:pt x="116" y="422"/>
                      </a:lnTo>
                      <a:lnTo>
                        <a:pt x="116" y="420"/>
                      </a:lnTo>
                      <a:lnTo>
                        <a:pt x="115" y="420"/>
                      </a:lnTo>
                      <a:lnTo>
                        <a:pt x="115" y="419"/>
                      </a:lnTo>
                      <a:lnTo>
                        <a:pt x="113" y="419"/>
                      </a:lnTo>
                      <a:lnTo>
                        <a:pt x="113" y="417"/>
                      </a:lnTo>
                      <a:lnTo>
                        <a:pt x="111" y="417"/>
                      </a:lnTo>
                      <a:lnTo>
                        <a:pt x="108" y="415"/>
                      </a:lnTo>
                      <a:lnTo>
                        <a:pt x="106" y="415"/>
                      </a:lnTo>
                      <a:lnTo>
                        <a:pt x="106" y="417"/>
                      </a:lnTo>
                      <a:lnTo>
                        <a:pt x="105" y="417"/>
                      </a:lnTo>
                      <a:lnTo>
                        <a:pt x="103" y="419"/>
                      </a:lnTo>
                      <a:lnTo>
                        <a:pt x="101" y="420"/>
                      </a:lnTo>
                      <a:lnTo>
                        <a:pt x="101" y="422"/>
                      </a:lnTo>
                      <a:lnTo>
                        <a:pt x="100" y="422"/>
                      </a:lnTo>
                      <a:lnTo>
                        <a:pt x="98" y="422"/>
                      </a:lnTo>
                      <a:lnTo>
                        <a:pt x="96" y="422"/>
                      </a:lnTo>
                      <a:lnTo>
                        <a:pt x="96" y="420"/>
                      </a:lnTo>
                      <a:lnTo>
                        <a:pt x="94" y="420"/>
                      </a:lnTo>
                      <a:lnTo>
                        <a:pt x="93" y="420"/>
                      </a:lnTo>
                      <a:lnTo>
                        <a:pt x="91" y="419"/>
                      </a:lnTo>
                      <a:lnTo>
                        <a:pt x="89" y="419"/>
                      </a:lnTo>
                      <a:lnTo>
                        <a:pt x="88" y="419"/>
                      </a:lnTo>
                      <a:lnTo>
                        <a:pt x="86" y="417"/>
                      </a:lnTo>
                      <a:lnTo>
                        <a:pt x="86" y="415"/>
                      </a:lnTo>
                      <a:lnTo>
                        <a:pt x="86" y="414"/>
                      </a:lnTo>
                      <a:lnTo>
                        <a:pt x="86" y="412"/>
                      </a:lnTo>
                      <a:lnTo>
                        <a:pt x="88" y="409"/>
                      </a:lnTo>
                      <a:lnTo>
                        <a:pt x="88" y="407"/>
                      </a:lnTo>
                      <a:lnTo>
                        <a:pt x="88" y="406"/>
                      </a:lnTo>
                      <a:lnTo>
                        <a:pt x="88" y="404"/>
                      </a:lnTo>
                      <a:lnTo>
                        <a:pt x="89" y="404"/>
                      </a:lnTo>
                      <a:lnTo>
                        <a:pt x="89" y="401"/>
                      </a:lnTo>
                      <a:lnTo>
                        <a:pt x="89" y="399"/>
                      </a:lnTo>
                      <a:lnTo>
                        <a:pt x="91" y="397"/>
                      </a:lnTo>
                      <a:lnTo>
                        <a:pt x="91" y="396"/>
                      </a:lnTo>
                      <a:lnTo>
                        <a:pt x="93" y="394"/>
                      </a:lnTo>
                      <a:lnTo>
                        <a:pt x="94" y="392"/>
                      </a:lnTo>
                      <a:lnTo>
                        <a:pt x="94" y="391"/>
                      </a:lnTo>
                      <a:lnTo>
                        <a:pt x="94" y="389"/>
                      </a:lnTo>
                      <a:lnTo>
                        <a:pt x="96" y="389"/>
                      </a:lnTo>
                      <a:lnTo>
                        <a:pt x="96" y="388"/>
                      </a:lnTo>
                      <a:lnTo>
                        <a:pt x="94" y="388"/>
                      </a:lnTo>
                      <a:lnTo>
                        <a:pt x="94" y="386"/>
                      </a:lnTo>
                      <a:lnTo>
                        <a:pt x="94" y="384"/>
                      </a:lnTo>
                      <a:lnTo>
                        <a:pt x="96" y="383"/>
                      </a:lnTo>
                      <a:lnTo>
                        <a:pt x="94" y="381"/>
                      </a:lnTo>
                      <a:lnTo>
                        <a:pt x="94" y="379"/>
                      </a:lnTo>
                      <a:lnTo>
                        <a:pt x="94" y="378"/>
                      </a:lnTo>
                      <a:lnTo>
                        <a:pt x="94" y="376"/>
                      </a:lnTo>
                      <a:lnTo>
                        <a:pt x="96" y="376"/>
                      </a:lnTo>
                      <a:lnTo>
                        <a:pt x="96" y="374"/>
                      </a:lnTo>
                      <a:lnTo>
                        <a:pt x="98" y="374"/>
                      </a:lnTo>
                      <a:lnTo>
                        <a:pt x="98" y="373"/>
                      </a:lnTo>
                      <a:lnTo>
                        <a:pt x="100" y="373"/>
                      </a:lnTo>
                      <a:lnTo>
                        <a:pt x="100" y="371"/>
                      </a:lnTo>
                      <a:lnTo>
                        <a:pt x="100" y="369"/>
                      </a:lnTo>
                      <a:lnTo>
                        <a:pt x="98" y="369"/>
                      </a:lnTo>
                      <a:lnTo>
                        <a:pt x="96" y="369"/>
                      </a:lnTo>
                      <a:lnTo>
                        <a:pt x="96" y="371"/>
                      </a:lnTo>
                      <a:lnTo>
                        <a:pt x="94" y="371"/>
                      </a:lnTo>
                      <a:lnTo>
                        <a:pt x="93" y="369"/>
                      </a:lnTo>
                      <a:lnTo>
                        <a:pt x="93" y="368"/>
                      </a:lnTo>
                      <a:lnTo>
                        <a:pt x="93" y="366"/>
                      </a:lnTo>
                      <a:lnTo>
                        <a:pt x="91" y="366"/>
                      </a:lnTo>
                      <a:lnTo>
                        <a:pt x="91" y="365"/>
                      </a:lnTo>
                      <a:lnTo>
                        <a:pt x="89" y="363"/>
                      </a:lnTo>
                      <a:lnTo>
                        <a:pt x="88" y="365"/>
                      </a:lnTo>
                      <a:lnTo>
                        <a:pt x="86" y="365"/>
                      </a:lnTo>
                      <a:lnTo>
                        <a:pt x="83" y="363"/>
                      </a:lnTo>
                      <a:lnTo>
                        <a:pt x="79" y="361"/>
                      </a:lnTo>
                      <a:lnTo>
                        <a:pt x="78" y="361"/>
                      </a:lnTo>
                      <a:lnTo>
                        <a:pt x="76" y="361"/>
                      </a:lnTo>
                      <a:lnTo>
                        <a:pt x="74" y="360"/>
                      </a:lnTo>
                      <a:lnTo>
                        <a:pt x="74" y="358"/>
                      </a:lnTo>
                      <a:lnTo>
                        <a:pt x="73" y="360"/>
                      </a:lnTo>
                      <a:lnTo>
                        <a:pt x="71" y="360"/>
                      </a:lnTo>
                      <a:lnTo>
                        <a:pt x="69" y="358"/>
                      </a:lnTo>
                      <a:lnTo>
                        <a:pt x="67" y="358"/>
                      </a:lnTo>
                      <a:lnTo>
                        <a:pt x="66" y="358"/>
                      </a:lnTo>
                      <a:lnTo>
                        <a:pt x="66" y="356"/>
                      </a:lnTo>
                      <a:lnTo>
                        <a:pt x="64" y="356"/>
                      </a:lnTo>
                      <a:lnTo>
                        <a:pt x="64" y="355"/>
                      </a:lnTo>
                      <a:lnTo>
                        <a:pt x="66" y="353"/>
                      </a:lnTo>
                      <a:lnTo>
                        <a:pt x="66" y="351"/>
                      </a:lnTo>
                      <a:lnTo>
                        <a:pt x="64" y="350"/>
                      </a:lnTo>
                      <a:lnTo>
                        <a:pt x="64" y="348"/>
                      </a:lnTo>
                      <a:lnTo>
                        <a:pt x="64" y="346"/>
                      </a:lnTo>
                      <a:lnTo>
                        <a:pt x="62" y="345"/>
                      </a:lnTo>
                      <a:lnTo>
                        <a:pt x="61" y="345"/>
                      </a:lnTo>
                      <a:lnTo>
                        <a:pt x="61" y="343"/>
                      </a:lnTo>
                      <a:lnTo>
                        <a:pt x="61" y="342"/>
                      </a:lnTo>
                      <a:lnTo>
                        <a:pt x="61" y="340"/>
                      </a:lnTo>
                      <a:lnTo>
                        <a:pt x="61" y="338"/>
                      </a:lnTo>
                      <a:lnTo>
                        <a:pt x="61" y="337"/>
                      </a:lnTo>
                      <a:lnTo>
                        <a:pt x="61" y="335"/>
                      </a:lnTo>
                      <a:lnTo>
                        <a:pt x="59" y="333"/>
                      </a:lnTo>
                      <a:lnTo>
                        <a:pt x="59" y="332"/>
                      </a:lnTo>
                      <a:lnTo>
                        <a:pt x="61" y="330"/>
                      </a:lnTo>
                      <a:lnTo>
                        <a:pt x="61" y="328"/>
                      </a:lnTo>
                      <a:lnTo>
                        <a:pt x="62" y="328"/>
                      </a:lnTo>
                      <a:lnTo>
                        <a:pt x="62" y="327"/>
                      </a:lnTo>
                      <a:lnTo>
                        <a:pt x="61" y="325"/>
                      </a:lnTo>
                      <a:lnTo>
                        <a:pt x="61" y="323"/>
                      </a:lnTo>
                      <a:lnTo>
                        <a:pt x="59" y="323"/>
                      </a:lnTo>
                      <a:lnTo>
                        <a:pt x="57" y="322"/>
                      </a:lnTo>
                      <a:lnTo>
                        <a:pt x="57" y="320"/>
                      </a:lnTo>
                      <a:lnTo>
                        <a:pt x="57" y="319"/>
                      </a:lnTo>
                      <a:lnTo>
                        <a:pt x="56" y="319"/>
                      </a:lnTo>
                      <a:lnTo>
                        <a:pt x="54" y="317"/>
                      </a:lnTo>
                      <a:lnTo>
                        <a:pt x="56" y="315"/>
                      </a:lnTo>
                      <a:lnTo>
                        <a:pt x="56" y="314"/>
                      </a:lnTo>
                      <a:lnTo>
                        <a:pt x="54" y="314"/>
                      </a:lnTo>
                      <a:lnTo>
                        <a:pt x="56" y="312"/>
                      </a:lnTo>
                      <a:lnTo>
                        <a:pt x="54" y="310"/>
                      </a:lnTo>
                      <a:lnTo>
                        <a:pt x="56" y="310"/>
                      </a:lnTo>
                      <a:lnTo>
                        <a:pt x="56" y="309"/>
                      </a:lnTo>
                      <a:lnTo>
                        <a:pt x="54" y="307"/>
                      </a:lnTo>
                      <a:lnTo>
                        <a:pt x="54" y="305"/>
                      </a:lnTo>
                      <a:lnTo>
                        <a:pt x="54" y="304"/>
                      </a:lnTo>
                      <a:lnTo>
                        <a:pt x="52" y="302"/>
                      </a:lnTo>
                      <a:lnTo>
                        <a:pt x="52" y="300"/>
                      </a:lnTo>
                      <a:lnTo>
                        <a:pt x="51" y="300"/>
                      </a:lnTo>
                      <a:lnTo>
                        <a:pt x="49" y="300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6" name="Freeform 24"/>
                <p:cNvSpPr>
                  <a:spLocks noChangeAspect="1"/>
                </p:cNvSpPr>
                <p:nvPr/>
              </p:nvSpPr>
              <p:spPr bwMode="auto">
                <a:xfrm>
                  <a:off x="6514168" y="2021468"/>
                  <a:ext cx="531669" cy="331818"/>
                </a:xfrm>
                <a:custGeom>
                  <a:avLst/>
                  <a:gdLst>
                    <a:gd name="T0" fmla="*/ 2147483647 w 343"/>
                    <a:gd name="T1" fmla="*/ 2147483647 h 199"/>
                    <a:gd name="T2" fmla="*/ 2147483647 w 343"/>
                    <a:gd name="T3" fmla="*/ 2147483647 h 199"/>
                    <a:gd name="T4" fmla="*/ 2147483647 w 343"/>
                    <a:gd name="T5" fmla="*/ 2147483647 h 199"/>
                    <a:gd name="T6" fmla="*/ 2147483647 w 343"/>
                    <a:gd name="T7" fmla="*/ 2147483647 h 199"/>
                    <a:gd name="T8" fmla="*/ 2147483647 w 343"/>
                    <a:gd name="T9" fmla="*/ 2147483647 h 199"/>
                    <a:gd name="T10" fmla="*/ 2147483647 w 343"/>
                    <a:gd name="T11" fmla="*/ 2147483647 h 199"/>
                    <a:gd name="T12" fmla="*/ 2147483647 w 343"/>
                    <a:gd name="T13" fmla="*/ 2147483647 h 199"/>
                    <a:gd name="T14" fmla="*/ 2147483647 w 343"/>
                    <a:gd name="T15" fmla="*/ 2147483647 h 199"/>
                    <a:gd name="T16" fmla="*/ 2147483647 w 343"/>
                    <a:gd name="T17" fmla="*/ 2147483647 h 199"/>
                    <a:gd name="T18" fmla="*/ 2147483647 w 343"/>
                    <a:gd name="T19" fmla="*/ 2147483647 h 199"/>
                    <a:gd name="T20" fmla="*/ 2147483647 w 343"/>
                    <a:gd name="T21" fmla="*/ 2147483647 h 199"/>
                    <a:gd name="T22" fmla="*/ 2147483647 w 343"/>
                    <a:gd name="T23" fmla="*/ 2147483647 h 199"/>
                    <a:gd name="T24" fmla="*/ 2147483647 w 343"/>
                    <a:gd name="T25" fmla="*/ 2147483647 h 199"/>
                    <a:gd name="T26" fmla="*/ 2147483647 w 343"/>
                    <a:gd name="T27" fmla="*/ 2147483647 h 199"/>
                    <a:gd name="T28" fmla="*/ 2147483647 w 343"/>
                    <a:gd name="T29" fmla="*/ 2147483647 h 199"/>
                    <a:gd name="T30" fmla="*/ 2147483647 w 343"/>
                    <a:gd name="T31" fmla="*/ 2147483647 h 199"/>
                    <a:gd name="T32" fmla="*/ 2147483647 w 343"/>
                    <a:gd name="T33" fmla="*/ 2147483647 h 199"/>
                    <a:gd name="T34" fmla="*/ 2147483647 w 343"/>
                    <a:gd name="T35" fmla="*/ 2147483647 h 199"/>
                    <a:gd name="T36" fmla="*/ 2147483647 w 343"/>
                    <a:gd name="T37" fmla="*/ 2147483647 h 199"/>
                    <a:gd name="T38" fmla="*/ 2147483647 w 343"/>
                    <a:gd name="T39" fmla="*/ 2147483647 h 199"/>
                    <a:gd name="T40" fmla="*/ 2147483647 w 343"/>
                    <a:gd name="T41" fmla="*/ 2147483647 h 199"/>
                    <a:gd name="T42" fmla="*/ 2147483647 w 343"/>
                    <a:gd name="T43" fmla="*/ 2147483647 h 199"/>
                    <a:gd name="T44" fmla="*/ 2147483647 w 343"/>
                    <a:gd name="T45" fmla="*/ 2147483647 h 199"/>
                    <a:gd name="T46" fmla="*/ 2147483647 w 343"/>
                    <a:gd name="T47" fmla="*/ 2147483647 h 199"/>
                    <a:gd name="T48" fmla="*/ 2147483647 w 343"/>
                    <a:gd name="T49" fmla="*/ 2147483647 h 199"/>
                    <a:gd name="T50" fmla="*/ 2147483647 w 343"/>
                    <a:gd name="T51" fmla="*/ 2147483647 h 199"/>
                    <a:gd name="T52" fmla="*/ 2147483647 w 343"/>
                    <a:gd name="T53" fmla="*/ 2147483647 h 199"/>
                    <a:gd name="T54" fmla="*/ 2147483647 w 343"/>
                    <a:gd name="T55" fmla="*/ 2147483647 h 199"/>
                    <a:gd name="T56" fmla="*/ 2147483647 w 343"/>
                    <a:gd name="T57" fmla="*/ 2147483647 h 199"/>
                    <a:gd name="T58" fmla="*/ 2147483647 w 343"/>
                    <a:gd name="T59" fmla="*/ 2147483647 h 199"/>
                    <a:gd name="T60" fmla="*/ 2147483647 w 343"/>
                    <a:gd name="T61" fmla="*/ 2147483647 h 199"/>
                    <a:gd name="T62" fmla="*/ 2147483647 w 343"/>
                    <a:gd name="T63" fmla="*/ 2147483647 h 199"/>
                    <a:gd name="T64" fmla="*/ 2147483647 w 343"/>
                    <a:gd name="T65" fmla="*/ 2147483647 h 199"/>
                    <a:gd name="T66" fmla="*/ 2147483647 w 343"/>
                    <a:gd name="T67" fmla="*/ 2147483647 h 199"/>
                    <a:gd name="T68" fmla="*/ 2147483647 w 343"/>
                    <a:gd name="T69" fmla="*/ 2147483647 h 199"/>
                    <a:gd name="T70" fmla="*/ 2147483647 w 343"/>
                    <a:gd name="T71" fmla="*/ 2147483647 h 199"/>
                    <a:gd name="T72" fmla="*/ 2147483647 w 343"/>
                    <a:gd name="T73" fmla="*/ 2147483647 h 199"/>
                    <a:gd name="T74" fmla="*/ 2147483647 w 343"/>
                    <a:gd name="T75" fmla="*/ 2147483647 h 199"/>
                    <a:gd name="T76" fmla="*/ 2147483647 w 343"/>
                    <a:gd name="T77" fmla="*/ 2147483647 h 199"/>
                    <a:gd name="T78" fmla="*/ 2147483647 w 343"/>
                    <a:gd name="T79" fmla="*/ 2147483647 h 199"/>
                    <a:gd name="T80" fmla="*/ 2147483647 w 343"/>
                    <a:gd name="T81" fmla="*/ 2147483647 h 199"/>
                    <a:gd name="T82" fmla="*/ 2147483647 w 343"/>
                    <a:gd name="T83" fmla="*/ 2147483647 h 199"/>
                    <a:gd name="T84" fmla="*/ 2147483647 w 343"/>
                    <a:gd name="T85" fmla="*/ 2147483647 h 199"/>
                    <a:gd name="T86" fmla="*/ 2147483647 w 343"/>
                    <a:gd name="T87" fmla="*/ 2147483647 h 199"/>
                    <a:gd name="T88" fmla="*/ 2147483647 w 343"/>
                    <a:gd name="T89" fmla="*/ 2147483647 h 199"/>
                    <a:gd name="T90" fmla="*/ 2147483647 w 343"/>
                    <a:gd name="T91" fmla="*/ 2147483647 h 199"/>
                    <a:gd name="T92" fmla="*/ 2147483647 w 343"/>
                    <a:gd name="T93" fmla="*/ 2147483647 h 199"/>
                    <a:gd name="T94" fmla="*/ 2147483647 w 343"/>
                    <a:gd name="T95" fmla="*/ 2147483647 h 199"/>
                    <a:gd name="T96" fmla="*/ 2147483647 w 343"/>
                    <a:gd name="T97" fmla="*/ 2147483647 h 199"/>
                    <a:gd name="T98" fmla="*/ 2147483647 w 343"/>
                    <a:gd name="T99" fmla="*/ 2147483647 h 199"/>
                    <a:gd name="T100" fmla="*/ 0 w 343"/>
                    <a:gd name="T101" fmla="*/ 2147483647 h 199"/>
                    <a:gd name="T102" fmla="*/ 2147483647 w 343"/>
                    <a:gd name="T103" fmla="*/ 2147483647 h 199"/>
                    <a:gd name="T104" fmla="*/ 2147483647 w 343"/>
                    <a:gd name="T105" fmla="*/ 2147483647 h 199"/>
                    <a:gd name="T106" fmla="*/ 2147483647 w 343"/>
                    <a:gd name="T107" fmla="*/ 2147483647 h 199"/>
                    <a:gd name="T108" fmla="*/ 2147483647 w 343"/>
                    <a:gd name="T109" fmla="*/ 2147483647 h 199"/>
                    <a:gd name="T110" fmla="*/ 2147483647 w 343"/>
                    <a:gd name="T111" fmla="*/ 2147483647 h 199"/>
                    <a:gd name="T112" fmla="*/ 2147483647 w 343"/>
                    <a:gd name="T113" fmla="*/ 2147483647 h 199"/>
                    <a:gd name="T114" fmla="*/ 2147483647 w 343"/>
                    <a:gd name="T115" fmla="*/ 2147483647 h 199"/>
                    <a:gd name="T116" fmla="*/ 2147483647 w 343"/>
                    <a:gd name="T117" fmla="*/ 2147483647 h 199"/>
                    <a:gd name="T118" fmla="*/ 2147483647 w 343"/>
                    <a:gd name="T119" fmla="*/ 2147483647 h 19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43"/>
                    <a:gd name="T181" fmla="*/ 0 h 199"/>
                    <a:gd name="T182" fmla="*/ 343 w 343"/>
                    <a:gd name="T183" fmla="*/ 199 h 19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43" h="199">
                      <a:moveTo>
                        <a:pt x="117" y="1"/>
                      </a:moveTo>
                      <a:lnTo>
                        <a:pt x="125" y="0"/>
                      </a:lnTo>
                      <a:lnTo>
                        <a:pt x="127" y="0"/>
                      </a:lnTo>
                      <a:lnTo>
                        <a:pt x="127" y="1"/>
                      </a:lnTo>
                      <a:lnTo>
                        <a:pt x="129" y="3"/>
                      </a:lnTo>
                      <a:lnTo>
                        <a:pt x="130" y="5"/>
                      </a:lnTo>
                      <a:lnTo>
                        <a:pt x="132" y="6"/>
                      </a:lnTo>
                      <a:lnTo>
                        <a:pt x="134" y="8"/>
                      </a:lnTo>
                      <a:lnTo>
                        <a:pt x="134" y="10"/>
                      </a:lnTo>
                      <a:lnTo>
                        <a:pt x="135" y="10"/>
                      </a:lnTo>
                      <a:lnTo>
                        <a:pt x="137" y="10"/>
                      </a:lnTo>
                      <a:lnTo>
                        <a:pt x="139" y="10"/>
                      </a:lnTo>
                      <a:lnTo>
                        <a:pt x="139" y="8"/>
                      </a:lnTo>
                      <a:lnTo>
                        <a:pt x="140" y="8"/>
                      </a:lnTo>
                      <a:lnTo>
                        <a:pt x="142" y="8"/>
                      </a:lnTo>
                      <a:lnTo>
                        <a:pt x="142" y="10"/>
                      </a:lnTo>
                      <a:lnTo>
                        <a:pt x="142" y="8"/>
                      </a:lnTo>
                      <a:lnTo>
                        <a:pt x="144" y="10"/>
                      </a:lnTo>
                      <a:lnTo>
                        <a:pt x="145" y="10"/>
                      </a:lnTo>
                      <a:lnTo>
                        <a:pt x="147" y="10"/>
                      </a:lnTo>
                      <a:lnTo>
                        <a:pt x="149" y="10"/>
                      </a:lnTo>
                      <a:lnTo>
                        <a:pt x="150" y="10"/>
                      </a:lnTo>
                      <a:lnTo>
                        <a:pt x="150" y="8"/>
                      </a:lnTo>
                      <a:lnTo>
                        <a:pt x="152" y="10"/>
                      </a:lnTo>
                      <a:lnTo>
                        <a:pt x="152" y="8"/>
                      </a:lnTo>
                      <a:lnTo>
                        <a:pt x="154" y="8"/>
                      </a:lnTo>
                      <a:lnTo>
                        <a:pt x="156" y="10"/>
                      </a:lnTo>
                      <a:lnTo>
                        <a:pt x="157" y="10"/>
                      </a:lnTo>
                      <a:lnTo>
                        <a:pt x="159" y="11"/>
                      </a:lnTo>
                      <a:lnTo>
                        <a:pt x="161" y="11"/>
                      </a:lnTo>
                      <a:lnTo>
                        <a:pt x="161" y="10"/>
                      </a:lnTo>
                      <a:lnTo>
                        <a:pt x="161" y="11"/>
                      </a:lnTo>
                      <a:lnTo>
                        <a:pt x="162" y="11"/>
                      </a:lnTo>
                      <a:lnTo>
                        <a:pt x="164" y="11"/>
                      </a:lnTo>
                      <a:lnTo>
                        <a:pt x="164" y="13"/>
                      </a:lnTo>
                      <a:lnTo>
                        <a:pt x="166" y="16"/>
                      </a:lnTo>
                      <a:lnTo>
                        <a:pt x="167" y="16"/>
                      </a:lnTo>
                      <a:lnTo>
                        <a:pt x="169" y="18"/>
                      </a:lnTo>
                      <a:lnTo>
                        <a:pt x="169" y="20"/>
                      </a:lnTo>
                      <a:lnTo>
                        <a:pt x="171" y="20"/>
                      </a:lnTo>
                      <a:lnTo>
                        <a:pt x="171" y="21"/>
                      </a:lnTo>
                      <a:lnTo>
                        <a:pt x="172" y="21"/>
                      </a:lnTo>
                      <a:lnTo>
                        <a:pt x="172" y="20"/>
                      </a:lnTo>
                      <a:lnTo>
                        <a:pt x="174" y="21"/>
                      </a:lnTo>
                      <a:lnTo>
                        <a:pt x="176" y="21"/>
                      </a:lnTo>
                      <a:lnTo>
                        <a:pt x="174" y="21"/>
                      </a:lnTo>
                      <a:lnTo>
                        <a:pt x="176" y="21"/>
                      </a:lnTo>
                      <a:lnTo>
                        <a:pt x="176" y="23"/>
                      </a:lnTo>
                      <a:lnTo>
                        <a:pt x="177" y="23"/>
                      </a:lnTo>
                      <a:lnTo>
                        <a:pt x="177" y="21"/>
                      </a:lnTo>
                      <a:lnTo>
                        <a:pt x="177" y="23"/>
                      </a:lnTo>
                      <a:lnTo>
                        <a:pt x="179" y="23"/>
                      </a:lnTo>
                      <a:lnTo>
                        <a:pt x="179" y="24"/>
                      </a:lnTo>
                      <a:lnTo>
                        <a:pt x="181" y="24"/>
                      </a:lnTo>
                      <a:lnTo>
                        <a:pt x="179" y="24"/>
                      </a:lnTo>
                      <a:lnTo>
                        <a:pt x="179" y="23"/>
                      </a:lnTo>
                      <a:lnTo>
                        <a:pt x="181" y="23"/>
                      </a:lnTo>
                      <a:lnTo>
                        <a:pt x="183" y="23"/>
                      </a:lnTo>
                      <a:lnTo>
                        <a:pt x="184" y="23"/>
                      </a:lnTo>
                      <a:lnTo>
                        <a:pt x="186" y="23"/>
                      </a:lnTo>
                      <a:lnTo>
                        <a:pt x="186" y="24"/>
                      </a:lnTo>
                      <a:lnTo>
                        <a:pt x="188" y="24"/>
                      </a:lnTo>
                      <a:lnTo>
                        <a:pt x="186" y="24"/>
                      </a:lnTo>
                      <a:lnTo>
                        <a:pt x="188" y="24"/>
                      </a:lnTo>
                      <a:lnTo>
                        <a:pt x="186" y="23"/>
                      </a:lnTo>
                      <a:lnTo>
                        <a:pt x="188" y="23"/>
                      </a:lnTo>
                      <a:lnTo>
                        <a:pt x="189" y="23"/>
                      </a:lnTo>
                      <a:lnTo>
                        <a:pt x="188" y="23"/>
                      </a:lnTo>
                      <a:lnTo>
                        <a:pt x="189" y="23"/>
                      </a:lnTo>
                      <a:lnTo>
                        <a:pt x="191" y="23"/>
                      </a:lnTo>
                      <a:lnTo>
                        <a:pt x="193" y="23"/>
                      </a:lnTo>
                      <a:lnTo>
                        <a:pt x="194" y="23"/>
                      </a:lnTo>
                      <a:lnTo>
                        <a:pt x="196" y="23"/>
                      </a:lnTo>
                      <a:lnTo>
                        <a:pt x="196" y="21"/>
                      </a:lnTo>
                      <a:lnTo>
                        <a:pt x="198" y="21"/>
                      </a:lnTo>
                      <a:lnTo>
                        <a:pt x="199" y="21"/>
                      </a:lnTo>
                      <a:lnTo>
                        <a:pt x="198" y="21"/>
                      </a:lnTo>
                      <a:lnTo>
                        <a:pt x="196" y="21"/>
                      </a:lnTo>
                      <a:lnTo>
                        <a:pt x="198" y="21"/>
                      </a:lnTo>
                      <a:lnTo>
                        <a:pt x="199" y="21"/>
                      </a:lnTo>
                      <a:lnTo>
                        <a:pt x="201" y="21"/>
                      </a:lnTo>
                      <a:lnTo>
                        <a:pt x="203" y="21"/>
                      </a:lnTo>
                      <a:lnTo>
                        <a:pt x="205" y="21"/>
                      </a:lnTo>
                      <a:lnTo>
                        <a:pt x="208" y="23"/>
                      </a:lnTo>
                      <a:lnTo>
                        <a:pt x="210" y="23"/>
                      </a:lnTo>
                      <a:lnTo>
                        <a:pt x="211" y="23"/>
                      </a:lnTo>
                      <a:lnTo>
                        <a:pt x="213" y="23"/>
                      </a:lnTo>
                      <a:lnTo>
                        <a:pt x="215" y="23"/>
                      </a:lnTo>
                      <a:lnTo>
                        <a:pt x="215" y="24"/>
                      </a:lnTo>
                      <a:lnTo>
                        <a:pt x="216" y="24"/>
                      </a:lnTo>
                      <a:lnTo>
                        <a:pt x="215" y="24"/>
                      </a:lnTo>
                      <a:lnTo>
                        <a:pt x="216" y="24"/>
                      </a:lnTo>
                      <a:lnTo>
                        <a:pt x="218" y="24"/>
                      </a:lnTo>
                      <a:lnTo>
                        <a:pt x="220" y="24"/>
                      </a:lnTo>
                      <a:lnTo>
                        <a:pt x="216" y="23"/>
                      </a:lnTo>
                      <a:lnTo>
                        <a:pt x="218" y="23"/>
                      </a:lnTo>
                      <a:lnTo>
                        <a:pt x="220" y="24"/>
                      </a:lnTo>
                      <a:lnTo>
                        <a:pt x="221" y="24"/>
                      </a:lnTo>
                      <a:lnTo>
                        <a:pt x="223" y="24"/>
                      </a:lnTo>
                      <a:lnTo>
                        <a:pt x="226" y="24"/>
                      </a:lnTo>
                      <a:lnTo>
                        <a:pt x="228" y="24"/>
                      </a:lnTo>
                      <a:lnTo>
                        <a:pt x="230" y="24"/>
                      </a:lnTo>
                      <a:lnTo>
                        <a:pt x="232" y="23"/>
                      </a:lnTo>
                      <a:lnTo>
                        <a:pt x="233" y="23"/>
                      </a:lnTo>
                      <a:lnTo>
                        <a:pt x="235" y="23"/>
                      </a:lnTo>
                      <a:lnTo>
                        <a:pt x="237" y="21"/>
                      </a:lnTo>
                      <a:lnTo>
                        <a:pt x="238" y="21"/>
                      </a:lnTo>
                      <a:lnTo>
                        <a:pt x="240" y="21"/>
                      </a:lnTo>
                      <a:lnTo>
                        <a:pt x="242" y="20"/>
                      </a:lnTo>
                      <a:lnTo>
                        <a:pt x="245" y="20"/>
                      </a:lnTo>
                      <a:lnTo>
                        <a:pt x="247" y="20"/>
                      </a:lnTo>
                      <a:lnTo>
                        <a:pt x="248" y="20"/>
                      </a:lnTo>
                      <a:lnTo>
                        <a:pt x="250" y="20"/>
                      </a:lnTo>
                      <a:lnTo>
                        <a:pt x="252" y="20"/>
                      </a:lnTo>
                      <a:lnTo>
                        <a:pt x="253" y="21"/>
                      </a:lnTo>
                      <a:lnTo>
                        <a:pt x="255" y="21"/>
                      </a:lnTo>
                      <a:lnTo>
                        <a:pt x="257" y="21"/>
                      </a:lnTo>
                      <a:lnTo>
                        <a:pt x="259" y="21"/>
                      </a:lnTo>
                      <a:lnTo>
                        <a:pt x="260" y="21"/>
                      </a:lnTo>
                      <a:lnTo>
                        <a:pt x="264" y="21"/>
                      </a:lnTo>
                      <a:lnTo>
                        <a:pt x="264" y="23"/>
                      </a:lnTo>
                      <a:lnTo>
                        <a:pt x="265" y="23"/>
                      </a:lnTo>
                      <a:lnTo>
                        <a:pt x="265" y="21"/>
                      </a:lnTo>
                      <a:lnTo>
                        <a:pt x="265" y="23"/>
                      </a:lnTo>
                      <a:lnTo>
                        <a:pt x="267" y="23"/>
                      </a:lnTo>
                      <a:lnTo>
                        <a:pt x="269" y="23"/>
                      </a:lnTo>
                      <a:lnTo>
                        <a:pt x="270" y="24"/>
                      </a:lnTo>
                      <a:lnTo>
                        <a:pt x="272" y="24"/>
                      </a:lnTo>
                      <a:lnTo>
                        <a:pt x="274" y="24"/>
                      </a:lnTo>
                      <a:lnTo>
                        <a:pt x="275" y="24"/>
                      </a:lnTo>
                      <a:lnTo>
                        <a:pt x="277" y="26"/>
                      </a:lnTo>
                      <a:lnTo>
                        <a:pt x="279" y="26"/>
                      </a:lnTo>
                      <a:lnTo>
                        <a:pt x="281" y="26"/>
                      </a:lnTo>
                      <a:lnTo>
                        <a:pt x="282" y="26"/>
                      </a:lnTo>
                      <a:lnTo>
                        <a:pt x="284" y="26"/>
                      </a:lnTo>
                      <a:lnTo>
                        <a:pt x="286" y="28"/>
                      </a:lnTo>
                      <a:lnTo>
                        <a:pt x="287" y="28"/>
                      </a:lnTo>
                      <a:lnTo>
                        <a:pt x="289" y="28"/>
                      </a:lnTo>
                      <a:lnTo>
                        <a:pt x="291" y="29"/>
                      </a:lnTo>
                      <a:lnTo>
                        <a:pt x="292" y="29"/>
                      </a:lnTo>
                      <a:lnTo>
                        <a:pt x="294" y="29"/>
                      </a:lnTo>
                      <a:lnTo>
                        <a:pt x="294" y="31"/>
                      </a:lnTo>
                      <a:lnTo>
                        <a:pt x="296" y="31"/>
                      </a:lnTo>
                      <a:lnTo>
                        <a:pt x="296" y="33"/>
                      </a:lnTo>
                      <a:lnTo>
                        <a:pt x="297" y="34"/>
                      </a:lnTo>
                      <a:lnTo>
                        <a:pt x="299" y="34"/>
                      </a:lnTo>
                      <a:lnTo>
                        <a:pt x="301" y="36"/>
                      </a:lnTo>
                      <a:lnTo>
                        <a:pt x="301" y="38"/>
                      </a:lnTo>
                      <a:lnTo>
                        <a:pt x="302" y="38"/>
                      </a:lnTo>
                      <a:lnTo>
                        <a:pt x="302" y="39"/>
                      </a:lnTo>
                      <a:lnTo>
                        <a:pt x="304" y="41"/>
                      </a:lnTo>
                      <a:lnTo>
                        <a:pt x="304" y="43"/>
                      </a:lnTo>
                      <a:lnTo>
                        <a:pt x="306" y="44"/>
                      </a:lnTo>
                      <a:lnTo>
                        <a:pt x="306" y="47"/>
                      </a:lnTo>
                      <a:lnTo>
                        <a:pt x="308" y="49"/>
                      </a:lnTo>
                      <a:lnTo>
                        <a:pt x="308" y="51"/>
                      </a:lnTo>
                      <a:lnTo>
                        <a:pt x="309" y="51"/>
                      </a:lnTo>
                      <a:lnTo>
                        <a:pt x="309" y="49"/>
                      </a:lnTo>
                      <a:lnTo>
                        <a:pt x="309" y="51"/>
                      </a:lnTo>
                      <a:lnTo>
                        <a:pt x="311" y="51"/>
                      </a:lnTo>
                      <a:lnTo>
                        <a:pt x="311" y="52"/>
                      </a:lnTo>
                      <a:lnTo>
                        <a:pt x="311" y="54"/>
                      </a:lnTo>
                      <a:lnTo>
                        <a:pt x="313" y="54"/>
                      </a:lnTo>
                      <a:lnTo>
                        <a:pt x="313" y="56"/>
                      </a:lnTo>
                      <a:lnTo>
                        <a:pt x="313" y="57"/>
                      </a:lnTo>
                      <a:lnTo>
                        <a:pt x="313" y="59"/>
                      </a:lnTo>
                      <a:lnTo>
                        <a:pt x="314" y="59"/>
                      </a:lnTo>
                      <a:lnTo>
                        <a:pt x="314" y="61"/>
                      </a:lnTo>
                      <a:lnTo>
                        <a:pt x="314" y="62"/>
                      </a:lnTo>
                      <a:lnTo>
                        <a:pt x="316" y="62"/>
                      </a:lnTo>
                      <a:lnTo>
                        <a:pt x="316" y="64"/>
                      </a:lnTo>
                      <a:lnTo>
                        <a:pt x="316" y="66"/>
                      </a:lnTo>
                      <a:lnTo>
                        <a:pt x="316" y="67"/>
                      </a:lnTo>
                      <a:lnTo>
                        <a:pt x="318" y="67"/>
                      </a:lnTo>
                      <a:lnTo>
                        <a:pt x="318" y="69"/>
                      </a:lnTo>
                      <a:lnTo>
                        <a:pt x="318" y="70"/>
                      </a:lnTo>
                      <a:lnTo>
                        <a:pt x="318" y="72"/>
                      </a:lnTo>
                      <a:lnTo>
                        <a:pt x="319" y="74"/>
                      </a:lnTo>
                      <a:lnTo>
                        <a:pt x="319" y="75"/>
                      </a:lnTo>
                      <a:lnTo>
                        <a:pt x="319" y="77"/>
                      </a:lnTo>
                      <a:lnTo>
                        <a:pt x="319" y="79"/>
                      </a:lnTo>
                      <a:lnTo>
                        <a:pt x="321" y="79"/>
                      </a:lnTo>
                      <a:lnTo>
                        <a:pt x="321" y="80"/>
                      </a:lnTo>
                      <a:lnTo>
                        <a:pt x="321" y="82"/>
                      </a:lnTo>
                      <a:lnTo>
                        <a:pt x="319" y="84"/>
                      </a:lnTo>
                      <a:lnTo>
                        <a:pt x="321" y="84"/>
                      </a:lnTo>
                      <a:lnTo>
                        <a:pt x="321" y="85"/>
                      </a:lnTo>
                      <a:lnTo>
                        <a:pt x="321" y="87"/>
                      </a:lnTo>
                      <a:lnTo>
                        <a:pt x="321" y="89"/>
                      </a:lnTo>
                      <a:lnTo>
                        <a:pt x="323" y="89"/>
                      </a:lnTo>
                      <a:lnTo>
                        <a:pt x="323" y="90"/>
                      </a:lnTo>
                      <a:lnTo>
                        <a:pt x="323" y="92"/>
                      </a:lnTo>
                      <a:lnTo>
                        <a:pt x="323" y="93"/>
                      </a:lnTo>
                      <a:lnTo>
                        <a:pt x="323" y="95"/>
                      </a:lnTo>
                      <a:lnTo>
                        <a:pt x="323" y="97"/>
                      </a:lnTo>
                      <a:lnTo>
                        <a:pt x="324" y="97"/>
                      </a:lnTo>
                      <a:lnTo>
                        <a:pt x="324" y="98"/>
                      </a:lnTo>
                      <a:lnTo>
                        <a:pt x="324" y="100"/>
                      </a:lnTo>
                      <a:lnTo>
                        <a:pt x="324" y="102"/>
                      </a:lnTo>
                      <a:lnTo>
                        <a:pt x="324" y="103"/>
                      </a:lnTo>
                      <a:lnTo>
                        <a:pt x="326" y="103"/>
                      </a:lnTo>
                      <a:lnTo>
                        <a:pt x="326" y="105"/>
                      </a:lnTo>
                      <a:lnTo>
                        <a:pt x="326" y="103"/>
                      </a:lnTo>
                      <a:lnTo>
                        <a:pt x="328" y="105"/>
                      </a:lnTo>
                      <a:lnTo>
                        <a:pt x="328" y="107"/>
                      </a:lnTo>
                      <a:lnTo>
                        <a:pt x="329" y="107"/>
                      </a:lnTo>
                      <a:lnTo>
                        <a:pt x="329" y="108"/>
                      </a:lnTo>
                      <a:lnTo>
                        <a:pt x="329" y="110"/>
                      </a:lnTo>
                      <a:lnTo>
                        <a:pt x="329" y="111"/>
                      </a:lnTo>
                      <a:lnTo>
                        <a:pt x="329" y="113"/>
                      </a:lnTo>
                      <a:lnTo>
                        <a:pt x="329" y="115"/>
                      </a:lnTo>
                      <a:lnTo>
                        <a:pt x="329" y="118"/>
                      </a:lnTo>
                      <a:lnTo>
                        <a:pt x="329" y="120"/>
                      </a:lnTo>
                      <a:lnTo>
                        <a:pt x="329" y="121"/>
                      </a:lnTo>
                      <a:lnTo>
                        <a:pt x="329" y="123"/>
                      </a:lnTo>
                      <a:lnTo>
                        <a:pt x="331" y="125"/>
                      </a:lnTo>
                      <a:lnTo>
                        <a:pt x="331" y="126"/>
                      </a:lnTo>
                      <a:lnTo>
                        <a:pt x="333" y="126"/>
                      </a:lnTo>
                      <a:lnTo>
                        <a:pt x="333" y="128"/>
                      </a:lnTo>
                      <a:lnTo>
                        <a:pt x="335" y="128"/>
                      </a:lnTo>
                      <a:lnTo>
                        <a:pt x="336" y="128"/>
                      </a:lnTo>
                      <a:lnTo>
                        <a:pt x="336" y="130"/>
                      </a:lnTo>
                      <a:lnTo>
                        <a:pt x="336" y="131"/>
                      </a:lnTo>
                      <a:lnTo>
                        <a:pt x="336" y="133"/>
                      </a:lnTo>
                      <a:lnTo>
                        <a:pt x="336" y="134"/>
                      </a:lnTo>
                      <a:lnTo>
                        <a:pt x="336" y="136"/>
                      </a:lnTo>
                      <a:lnTo>
                        <a:pt x="336" y="138"/>
                      </a:lnTo>
                      <a:lnTo>
                        <a:pt x="336" y="139"/>
                      </a:lnTo>
                      <a:lnTo>
                        <a:pt x="338" y="141"/>
                      </a:lnTo>
                      <a:lnTo>
                        <a:pt x="340" y="141"/>
                      </a:lnTo>
                      <a:lnTo>
                        <a:pt x="341" y="143"/>
                      </a:lnTo>
                      <a:lnTo>
                        <a:pt x="341" y="144"/>
                      </a:lnTo>
                      <a:lnTo>
                        <a:pt x="341" y="146"/>
                      </a:lnTo>
                      <a:lnTo>
                        <a:pt x="343" y="148"/>
                      </a:lnTo>
                      <a:lnTo>
                        <a:pt x="341" y="148"/>
                      </a:lnTo>
                      <a:lnTo>
                        <a:pt x="341" y="149"/>
                      </a:lnTo>
                      <a:lnTo>
                        <a:pt x="343" y="151"/>
                      </a:lnTo>
                      <a:lnTo>
                        <a:pt x="343" y="153"/>
                      </a:lnTo>
                      <a:lnTo>
                        <a:pt x="341" y="153"/>
                      </a:lnTo>
                      <a:lnTo>
                        <a:pt x="340" y="154"/>
                      </a:lnTo>
                      <a:lnTo>
                        <a:pt x="340" y="153"/>
                      </a:lnTo>
                      <a:lnTo>
                        <a:pt x="340" y="154"/>
                      </a:lnTo>
                      <a:lnTo>
                        <a:pt x="338" y="154"/>
                      </a:lnTo>
                      <a:lnTo>
                        <a:pt x="336" y="154"/>
                      </a:lnTo>
                      <a:lnTo>
                        <a:pt x="335" y="156"/>
                      </a:lnTo>
                      <a:lnTo>
                        <a:pt x="333" y="156"/>
                      </a:lnTo>
                      <a:lnTo>
                        <a:pt x="333" y="154"/>
                      </a:lnTo>
                      <a:lnTo>
                        <a:pt x="331" y="154"/>
                      </a:lnTo>
                      <a:lnTo>
                        <a:pt x="331" y="153"/>
                      </a:lnTo>
                      <a:lnTo>
                        <a:pt x="329" y="153"/>
                      </a:lnTo>
                      <a:lnTo>
                        <a:pt x="329" y="154"/>
                      </a:lnTo>
                      <a:lnTo>
                        <a:pt x="328" y="154"/>
                      </a:lnTo>
                      <a:lnTo>
                        <a:pt x="328" y="156"/>
                      </a:lnTo>
                      <a:lnTo>
                        <a:pt x="326" y="157"/>
                      </a:lnTo>
                      <a:lnTo>
                        <a:pt x="324" y="157"/>
                      </a:lnTo>
                      <a:lnTo>
                        <a:pt x="324" y="159"/>
                      </a:lnTo>
                      <a:lnTo>
                        <a:pt x="323" y="159"/>
                      </a:lnTo>
                      <a:lnTo>
                        <a:pt x="323" y="157"/>
                      </a:lnTo>
                      <a:lnTo>
                        <a:pt x="321" y="157"/>
                      </a:lnTo>
                      <a:lnTo>
                        <a:pt x="319" y="157"/>
                      </a:lnTo>
                      <a:lnTo>
                        <a:pt x="319" y="156"/>
                      </a:lnTo>
                      <a:lnTo>
                        <a:pt x="319" y="154"/>
                      </a:lnTo>
                      <a:lnTo>
                        <a:pt x="318" y="154"/>
                      </a:lnTo>
                      <a:lnTo>
                        <a:pt x="318" y="156"/>
                      </a:lnTo>
                      <a:lnTo>
                        <a:pt x="316" y="156"/>
                      </a:lnTo>
                      <a:lnTo>
                        <a:pt x="314" y="157"/>
                      </a:lnTo>
                      <a:lnTo>
                        <a:pt x="308" y="157"/>
                      </a:lnTo>
                      <a:lnTo>
                        <a:pt x="306" y="156"/>
                      </a:lnTo>
                      <a:lnTo>
                        <a:pt x="304" y="156"/>
                      </a:lnTo>
                      <a:lnTo>
                        <a:pt x="302" y="154"/>
                      </a:lnTo>
                      <a:lnTo>
                        <a:pt x="302" y="153"/>
                      </a:lnTo>
                      <a:lnTo>
                        <a:pt x="301" y="153"/>
                      </a:lnTo>
                      <a:lnTo>
                        <a:pt x="299" y="153"/>
                      </a:lnTo>
                      <a:lnTo>
                        <a:pt x="297" y="153"/>
                      </a:lnTo>
                      <a:lnTo>
                        <a:pt x="297" y="151"/>
                      </a:lnTo>
                      <a:lnTo>
                        <a:pt x="297" y="153"/>
                      </a:lnTo>
                      <a:lnTo>
                        <a:pt x="296" y="151"/>
                      </a:lnTo>
                      <a:lnTo>
                        <a:pt x="294" y="151"/>
                      </a:lnTo>
                      <a:lnTo>
                        <a:pt x="294" y="153"/>
                      </a:lnTo>
                      <a:lnTo>
                        <a:pt x="294" y="151"/>
                      </a:lnTo>
                      <a:lnTo>
                        <a:pt x="292" y="151"/>
                      </a:lnTo>
                      <a:lnTo>
                        <a:pt x="291" y="151"/>
                      </a:lnTo>
                      <a:lnTo>
                        <a:pt x="289" y="151"/>
                      </a:lnTo>
                      <a:lnTo>
                        <a:pt x="289" y="153"/>
                      </a:lnTo>
                      <a:lnTo>
                        <a:pt x="289" y="151"/>
                      </a:lnTo>
                      <a:lnTo>
                        <a:pt x="289" y="153"/>
                      </a:lnTo>
                      <a:lnTo>
                        <a:pt x="287" y="151"/>
                      </a:lnTo>
                      <a:lnTo>
                        <a:pt x="287" y="153"/>
                      </a:lnTo>
                      <a:lnTo>
                        <a:pt x="286" y="153"/>
                      </a:lnTo>
                      <a:lnTo>
                        <a:pt x="284" y="153"/>
                      </a:lnTo>
                      <a:lnTo>
                        <a:pt x="284" y="151"/>
                      </a:lnTo>
                      <a:lnTo>
                        <a:pt x="282" y="149"/>
                      </a:lnTo>
                      <a:lnTo>
                        <a:pt x="281" y="149"/>
                      </a:lnTo>
                      <a:lnTo>
                        <a:pt x="279" y="149"/>
                      </a:lnTo>
                      <a:lnTo>
                        <a:pt x="277" y="149"/>
                      </a:lnTo>
                      <a:lnTo>
                        <a:pt x="277" y="148"/>
                      </a:lnTo>
                      <a:lnTo>
                        <a:pt x="277" y="149"/>
                      </a:lnTo>
                      <a:lnTo>
                        <a:pt x="277" y="148"/>
                      </a:lnTo>
                      <a:lnTo>
                        <a:pt x="277" y="149"/>
                      </a:lnTo>
                      <a:lnTo>
                        <a:pt x="275" y="149"/>
                      </a:lnTo>
                      <a:lnTo>
                        <a:pt x="274" y="149"/>
                      </a:lnTo>
                      <a:lnTo>
                        <a:pt x="272" y="151"/>
                      </a:lnTo>
                      <a:lnTo>
                        <a:pt x="270" y="151"/>
                      </a:lnTo>
                      <a:lnTo>
                        <a:pt x="269" y="151"/>
                      </a:lnTo>
                      <a:lnTo>
                        <a:pt x="267" y="151"/>
                      </a:lnTo>
                      <a:lnTo>
                        <a:pt x="262" y="153"/>
                      </a:lnTo>
                      <a:lnTo>
                        <a:pt x="260" y="151"/>
                      </a:lnTo>
                      <a:lnTo>
                        <a:pt x="250" y="153"/>
                      </a:lnTo>
                      <a:lnTo>
                        <a:pt x="248" y="153"/>
                      </a:lnTo>
                      <a:lnTo>
                        <a:pt x="247" y="153"/>
                      </a:lnTo>
                      <a:lnTo>
                        <a:pt x="245" y="153"/>
                      </a:lnTo>
                      <a:lnTo>
                        <a:pt x="245" y="151"/>
                      </a:lnTo>
                      <a:lnTo>
                        <a:pt x="243" y="151"/>
                      </a:lnTo>
                      <a:lnTo>
                        <a:pt x="243" y="149"/>
                      </a:lnTo>
                      <a:lnTo>
                        <a:pt x="243" y="151"/>
                      </a:lnTo>
                      <a:lnTo>
                        <a:pt x="243" y="149"/>
                      </a:lnTo>
                      <a:lnTo>
                        <a:pt x="242" y="149"/>
                      </a:lnTo>
                      <a:lnTo>
                        <a:pt x="242" y="148"/>
                      </a:lnTo>
                      <a:lnTo>
                        <a:pt x="240" y="148"/>
                      </a:lnTo>
                      <a:lnTo>
                        <a:pt x="240" y="149"/>
                      </a:lnTo>
                      <a:lnTo>
                        <a:pt x="238" y="149"/>
                      </a:lnTo>
                      <a:lnTo>
                        <a:pt x="240" y="149"/>
                      </a:lnTo>
                      <a:lnTo>
                        <a:pt x="238" y="149"/>
                      </a:lnTo>
                      <a:lnTo>
                        <a:pt x="238" y="148"/>
                      </a:lnTo>
                      <a:lnTo>
                        <a:pt x="238" y="146"/>
                      </a:lnTo>
                      <a:lnTo>
                        <a:pt x="237" y="146"/>
                      </a:lnTo>
                      <a:lnTo>
                        <a:pt x="235" y="146"/>
                      </a:lnTo>
                      <a:lnTo>
                        <a:pt x="235" y="148"/>
                      </a:lnTo>
                      <a:lnTo>
                        <a:pt x="232" y="148"/>
                      </a:lnTo>
                      <a:lnTo>
                        <a:pt x="230" y="148"/>
                      </a:lnTo>
                      <a:lnTo>
                        <a:pt x="228" y="146"/>
                      </a:lnTo>
                      <a:lnTo>
                        <a:pt x="223" y="148"/>
                      </a:lnTo>
                      <a:lnTo>
                        <a:pt x="221" y="148"/>
                      </a:lnTo>
                      <a:lnTo>
                        <a:pt x="221" y="146"/>
                      </a:lnTo>
                      <a:lnTo>
                        <a:pt x="220" y="146"/>
                      </a:lnTo>
                      <a:lnTo>
                        <a:pt x="220" y="144"/>
                      </a:lnTo>
                      <a:lnTo>
                        <a:pt x="218" y="144"/>
                      </a:lnTo>
                      <a:lnTo>
                        <a:pt x="216" y="144"/>
                      </a:lnTo>
                      <a:lnTo>
                        <a:pt x="216" y="143"/>
                      </a:lnTo>
                      <a:lnTo>
                        <a:pt x="216" y="141"/>
                      </a:lnTo>
                      <a:lnTo>
                        <a:pt x="218" y="139"/>
                      </a:lnTo>
                      <a:lnTo>
                        <a:pt x="218" y="138"/>
                      </a:lnTo>
                      <a:lnTo>
                        <a:pt x="218" y="136"/>
                      </a:lnTo>
                      <a:lnTo>
                        <a:pt x="218" y="134"/>
                      </a:lnTo>
                      <a:lnTo>
                        <a:pt x="216" y="134"/>
                      </a:lnTo>
                      <a:lnTo>
                        <a:pt x="216" y="133"/>
                      </a:lnTo>
                      <a:lnTo>
                        <a:pt x="215" y="133"/>
                      </a:lnTo>
                      <a:lnTo>
                        <a:pt x="215" y="134"/>
                      </a:lnTo>
                      <a:lnTo>
                        <a:pt x="213" y="134"/>
                      </a:lnTo>
                      <a:lnTo>
                        <a:pt x="211" y="134"/>
                      </a:lnTo>
                      <a:lnTo>
                        <a:pt x="211" y="136"/>
                      </a:lnTo>
                      <a:lnTo>
                        <a:pt x="208" y="134"/>
                      </a:lnTo>
                      <a:lnTo>
                        <a:pt x="205" y="141"/>
                      </a:lnTo>
                      <a:lnTo>
                        <a:pt x="198" y="141"/>
                      </a:lnTo>
                      <a:lnTo>
                        <a:pt x="198" y="143"/>
                      </a:lnTo>
                      <a:lnTo>
                        <a:pt x="196" y="143"/>
                      </a:lnTo>
                      <a:lnTo>
                        <a:pt x="196" y="144"/>
                      </a:lnTo>
                      <a:lnTo>
                        <a:pt x="196" y="146"/>
                      </a:lnTo>
                      <a:lnTo>
                        <a:pt x="194" y="148"/>
                      </a:lnTo>
                      <a:lnTo>
                        <a:pt x="194" y="149"/>
                      </a:lnTo>
                      <a:lnTo>
                        <a:pt x="194" y="151"/>
                      </a:lnTo>
                      <a:lnTo>
                        <a:pt x="194" y="153"/>
                      </a:lnTo>
                      <a:lnTo>
                        <a:pt x="194" y="154"/>
                      </a:lnTo>
                      <a:lnTo>
                        <a:pt x="196" y="154"/>
                      </a:lnTo>
                      <a:lnTo>
                        <a:pt x="198" y="154"/>
                      </a:lnTo>
                      <a:lnTo>
                        <a:pt x="199" y="154"/>
                      </a:lnTo>
                      <a:lnTo>
                        <a:pt x="199" y="156"/>
                      </a:lnTo>
                      <a:lnTo>
                        <a:pt x="199" y="157"/>
                      </a:lnTo>
                      <a:lnTo>
                        <a:pt x="201" y="157"/>
                      </a:lnTo>
                      <a:lnTo>
                        <a:pt x="203" y="157"/>
                      </a:lnTo>
                      <a:lnTo>
                        <a:pt x="203" y="159"/>
                      </a:lnTo>
                      <a:lnTo>
                        <a:pt x="205" y="161"/>
                      </a:lnTo>
                      <a:lnTo>
                        <a:pt x="203" y="161"/>
                      </a:lnTo>
                      <a:lnTo>
                        <a:pt x="203" y="162"/>
                      </a:lnTo>
                      <a:lnTo>
                        <a:pt x="203" y="164"/>
                      </a:lnTo>
                      <a:lnTo>
                        <a:pt x="203" y="166"/>
                      </a:lnTo>
                      <a:lnTo>
                        <a:pt x="203" y="164"/>
                      </a:lnTo>
                      <a:lnTo>
                        <a:pt x="201" y="164"/>
                      </a:lnTo>
                      <a:lnTo>
                        <a:pt x="201" y="166"/>
                      </a:lnTo>
                      <a:lnTo>
                        <a:pt x="199" y="166"/>
                      </a:lnTo>
                      <a:lnTo>
                        <a:pt x="199" y="164"/>
                      </a:lnTo>
                      <a:lnTo>
                        <a:pt x="198" y="164"/>
                      </a:lnTo>
                      <a:lnTo>
                        <a:pt x="198" y="162"/>
                      </a:lnTo>
                      <a:lnTo>
                        <a:pt x="196" y="162"/>
                      </a:lnTo>
                      <a:lnTo>
                        <a:pt x="194" y="162"/>
                      </a:lnTo>
                      <a:lnTo>
                        <a:pt x="196" y="162"/>
                      </a:lnTo>
                      <a:lnTo>
                        <a:pt x="194" y="164"/>
                      </a:lnTo>
                      <a:lnTo>
                        <a:pt x="194" y="166"/>
                      </a:lnTo>
                      <a:lnTo>
                        <a:pt x="194" y="167"/>
                      </a:lnTo>
                      <a:lnTo>
                        <a:pt x="193" y="167"/>
                      </a:lnTo>
                      <a:lnTo>
                        <a:pt x="193" y="169"/>
                      </a:lnTo>
                      <a:lnTo>
                        <a:pt x="193" y="171"/>
                      </a:lnTo>
                      <a:lnTo>
                        <a:pt x="193" y="172"/>
                      </a:lnTo>
                      <a:lnTo>
                        <a:pt x="191" y="172"/>
                      </a:lnTo>
                      <a:lnTo>
                        <a:pt x="193" y="172"/>
                      </a:lnTo>
                      <a:lnTo>
                        <a:pt x="193" y="174"/>
                      </a:lnTo>
                      <a:lnTo>
                        <a:pt x="193" y="176"/>
                      </a:lnTo>
                      <a:lnTo>
                        <a:pt x="194" y="174"/>
                      </a:lnTo>
                      <a:lnTo>
                        <a:pt x="194" y="176"/>
                      </a:lnTo>
                      <a:lnTo>
                        <a:pt x="196" y="176"/>
                      </a:lnTo>
                      <a:lnTo>
                        <a:pt x="198" y="177"/>
                      </a:lnTo>
                      <a:lnTo>
                        <a:pt x="196" y="177"/>
                      </a:lnTo>
                      <a:lnTo>
                        <a:pt x="198" y="179"/>
                      </a:lnTo>
                      <a:lnTo>
                        <a:pt x="198" y="180"/>
                      </a:lnTo>
                      <a:lnTo>
                        <a:pt x="196" y="182"/>
                      </a:lnTo>
                      <a:lnTo>
                        <a:pt x="196" y="184"/>
                      </a:lnTo>
                      <a:lnTo>
                        <a:pt x="194" y="184"/>
                      </a:lnTo>
                      <a:lnTo>
                        <a:pt x="193" y="185"/>
                      </a:lnTo>
                      <a:lnTo>
                        <a:pt x="194" y="185"/>
                      </a:lnTo>
                      <a:lnTo>
                        <a:pt x="194" y="187"/>
                      </a:lnTo>
                      <a:lnTo>
                        <a:pt x="193" y="189"/>
                      </a:lnTo>
                      <a:lnTo>
                        <a:pt x="193" y="190"/>
                      </a:lnTo>
                      <a:lnTo>
                        <a:pt x="193" y="192"/>
                      </a:lnTo>
                      <a:lnTo>
                        <a:pt x="191" y="192"/>
                      </a:lnTo>
                      <a:lnTo>
                        <a:pt x="188" y="194"/>
                      </a:lnTo>
                      <a:lnTo>
                        <a:pt x="186" y="194"/>
                      </a:lnTo>
                      <a:lnTo>
                        <a:pt x="184" y="194"/>
                      </a:lnTo>
                      <a:lnTo>
                        <a:pt x="183" y="194"/>
                      </a:lnTo>
                      <a:lnTo>
                        <a:pt x="181" y="194"/>
                      </a:lnTo>
                      <a:lnTo>
                        <a:pt x="181" y="192"/>
                      </a:lnTo>
                      <a:lnTo>
                        <a:pt x="179" y="192"/>
                      </a:lnTo>
                      <a:lnTo>
                        <a:pt x="179" y="194"/>
                      </a:lnTo>
                      <a:lnTo>
                        <a:pt x="179" y="195"/>
                      </a:lnTo>
                      <a:lnTo>
                        <a:pt x="179" y="197"/>
                      </a:lnTo>
                      <a:lnTo>
                        <a:pt x="177" y="197"/>
                      </a:lnTo>
                      <a:lnTo>
                        <a:pt x="177" y="199"/>
                      </a:lnTo>
                      <a:lnTo>
                        <a:pt x="176" y="197"/>
                      </a:lnTo>
                      <a:lnTo>
                        <a:pt x="174" y="197"/>
                      </a:lnTo>
                      <a:lnTo>
                        <a:pt x="172" y="195"/>
                      </a:lnTo>
                      <a:lnTo>
                        <a:pt x="172" y="194"/>
                      </a:lnTo>
                      <a:lnTo>
                        <a:pt x="172" y="192"/>
                      </a:lnTo>
                      <a:lnTo>
                        <a:pt x="172" y="190"/>
                      </a:lnTo>
                      <a:lnTo>
                        <a:pt x="172" y="189"/>
                      </a:lnTo>
                      <a:lnTo>
                        <a:pt x="174" y="187"/>
                      </a:lnTo>
                      <a:lnTo>
                        <a:pt x="174" y="185"/>
                      </a:lnTo>
                      <a:lnTo>
                        <a:pt x="176" y="185"/>
                      </a:lnTo>
                      <a:lnTo>
                        <a:pt x="176" y="184"/>
                      </a:lnTo>
                      <a:lnTo>
                        <a:pt x="176" y="182"/>
                      </a:lnTo>
                      <a:lnTo>
                        <a:pt x="174" y="182"/>
                      </a:lnTo>
                      <a:lnTo>
                        <a:pt x="172" y="182"/>
                      </a:lnTo>
                      <a:lnTo>
                        <a:pt x="171" y="182"/>
                      </a:lnTo>
                      <a:lnTo>
                        <a:pt x="171" y="180"/>
                      </a:lnTo>
                      <a:lnTo>
                        <a:pt x="172" y="179"/>
                      </a:lnTo>
                      <a:lnTo>
                        <a:pt x="171" y="179"/>
                      </a:lnTo>
                      <a:lnTo>
                        <a:pt x="171" y="177"/>
                      </a:lnTo>
                      <a:lnTo>
                        <a:pt x="169" y="177"/>
                      </a:lnTo>
                      <a:lnTo>
                        <a:pt x="167" y="177"/>
                      </a:lnTo>
                      <a:lnTo>
                        <a:pt x="167" y="176"/>
                      </a:lnTo>
                      <a:lnTo>
                        <a:pt x="167" y="174"/>
                      </a:lnTo>
                      <a:lnTo>
                        <a:pt x="166" y="174"/>
                      </a:lnTo>
                      <a:lnTo>
                        <a:pt x="162" y="176"/>
                      </a:lnTo>
                      <a:lnTo>
                        <a:pt x="159" y="177"/>
                      </a:lnTo>
                      <a:lnTo>
                        <a:pt x="154" y="180"/>
                      </a:lnTo>
                      <a:lnTo>
                        <a:pt x="152" y="172"/>
                      </a:lnTo>
                      <a:lnTo>
                        <a:pt x="150" y="172"/>
                      </a:lnTo>
                      <a:lnTo>
                        <a:pt x="149" y="172"/>
                      </a:lnTo>
                      <a:lnTo>
                        <a:pt x="147" y="176"/>
                      </a:lnTo>
                      <a:lnTo>
                        <a:pt x="144" y="177"/>
                      </a:lnTo>
                      <a:lnTo>
                        <a:pt x="145" y="177"/>
                      </a:lnTo>
                      <a:lnTo>
                        <a:pt x="145" y="179"/>
                      </a:lnTo>
                      <a:lnTo>
                        <a:pt x="144" y="180"/>
                      </a:lnTo>
                      <a:lnTo>
                        <a:pt x="142" y="180"/>
                      </a:lnTo>
                      <a:lnTo>
                        <a:pt x="142" y="182"/>
                      </a:lnTo>
                      <a:lnTo>
                        <a:pt x="140" y="182"/>
                      </a:lnTo>
                      <a:lnTo>
                        <a:pt x="139" y="180"/>
                      </a:lnTo>
                      <a:lnTo>
                        <a:pt x="137" y="180"/>
                      </a:lnTo>
                      <a:lnTo>
                        <a:pt x="137" y="179"/>
                      </a:lnTo>
                      <a:lnTo>
                        <a:pt x="135" y="179"/>
                      </a:lnTo>
                      <a:lnTo>
                        <a:pt x="135" y="180"/>
                      </a:lnTo>
                      <a:lnTo>
                        <a:pt x="134" y="180"/>
                      </a:lnTo>
                      <a:lnTo>
                        <a:pt x="132" y="182"/>
                      </a:lnTo>
                      <a:lnTo>
                        <a:pt x="132" y="184"/>
                      </a:lnTo>
                      <a:lnTo>
                        <a:pt x="130" y="184"/>
                      </a:lnTo>
                      <a:lnTo>
                        <a:pt x="129" y="184"/>
                      </a:lnTo>
                      <a:lnTo>
                        <a:pt x="127" y="184"/>
                      </a:lnTo>
                      <a:lnTo>
                        <a:pt x="127" y="182"/>
                      </a:lnTo>
                      <a:lnTo>
                        <a:pt x="125" y="182"/>
                      </a:lnTo>
                      <a:lnTo>
                        <a:pt x="125" y="180"/>
                      </a:lnTo>
                      <a:lnTo>
                        <a:pt x="125" y="179"/>
                      </a:lnTo>
                      <a:lnTo>
                        <a:pt x="123" y="179"/>
                      </a:lnTo>
                      <a:lnTo>
                        <a:pt x="125" y="177"/>
                      </a:lnTo>
                      <a:lnTo>
                        <a:pt x="125" y="176"/>
                      </a:lnTo>
                      <a:lnTo>
                        <a:pt x="125" y="174"/>
                      </a:lnTo>
                      <a:lnTo>
                        <a:pt x="123" y="174"/>
                      </a:lnTo>
                      <a:lnTo>
                        <a:pt x="122" y="172"/>
                      </a:lnTo>
                      <a:lnTo>
                        <a:pt x="120" y="172"/>
                      </a:lnTo>
                      <a:lnTo>
                        <a:pt x="120" y="171"/>
                      </a:lnTo>
                      <a:lnTo>
                        <a:pt x="117" y="172"/>
                      </a:lnTo>
                      <a:lnTo>
                        <a:pt x="115" y="172"/>
                      </a:lnTo>
                      <a:lnTo>
                        <a:pt x="115" y="171"/>
                      </a:lnTo>
                      <a:lnTo>
                        <a:pt x="113" y="171"/>
                      </a:lnTo>
                      <a:lnTo>
                        <a:pt x="112" y="171"/>
                      </a:lnTo>
                      <a:lnTo>
                        <a:pt x="110" y="171"/>
                      </a:lnTo>
                      <a:lnTo>
                        <a:pt x="108" y="171"/>
                      </a:lnTo>
                      <a:lnTo>
                        <a:pt x="105" y="172"/>
                      </a:lnTo>
                      <a:lnTo>
                        <a:pt x="105" y="171"/>
                      </a:lnTo>
                      <a:lnTo>
                        <a:pt x="105" y="169"/>
                      </a:lnTo>
                      <a:lnTo>
                        <a:pt x="105" y="167"/>
                      </a:lnTo>
                      <a:lnTo>
                        <a:pt x="105" y="166"/>
                      </a:lnTo>
                      <a:lnTo>
                        <a:pt x="105" y="164"/>
                      </a:lnTo>
                      <a:lnTo>
                        <a:pt x="105" y="162"/>
                      </a:lnTo>
                      <a:lnTo>
                        <a:pt x="105" y="161"/>
                      </a:lnTo>
                      <a:lnTo>
                        <a:pt x="105" y="159"/>
                      </a:lnTo>
                      <a:lnTo>
                        <a:pt x="105" y="157"/>
                      </a:lnTo>
                      <a:lnTo>
                        <a:pt x="107" y="157"/>
                      </a:lnTo>
                      <a:lnTo>
                        <a:pt x="108" y="157"/>
                      </a:lnTo>
                      <a:lnTo>
                        <a:pt x="110" y="157"/>
                      </a:lnTo>
                      <a:lnTo>
                        <a:pt x="112" y="157"/>
                      </a:lnTo>
                      <a:lnTo>
                        <a:pt x="112" y="156"/>
                      </a:lnTo>
                      <a:lnTo>
                        <a:pt x="113" y="156"/>
                      </a:lnTo>
                      <a:lnTo>
                        <a:pt x="113" y="154"/>
                      </a:lnTo>
                      <a:lnTo>
                        <a:pt x="113" y="153"/>
                      </a:lnTo>
                      <a:lnTo>
                        <a:pt x="112" y="153"/>
                      </a:lnTo>
                      <a:lnTo>
                        <a:pt x="113" y="151"/>
                      </a:lnTo>
                      <a:lnTo>
                        <a:pt x="112" y="149"/>
                      </a:lnTo>
                      <a:lnTo>
                        <a:pt x="112" y="148"/>
                      </a:lnTo>
                      <a:lnTo>
                        <a:pt x="112" y="146"/>
                      </a:lnTo>
                      <a:lnTo>
                        <a:pt x="112" y="144"/>
                      </a:lnTo>
                      <a:lnTo>
                        <a:pt x="115" y="138"/>
                      </a:lnTo>
                      <a:lnTo>
                        <a:pt x="120" y="134"/>
                      </a:lnTo>
                      <a:lnTo>
                        <a:pt x="123" y="131"/>
                      </a:lnTo>
                      <a:lnTo>
                        <a:pt x="123" y="128"/>
                      </a:lnTo>
                      <a:lnTo>
                        <a:pt x="127" y="126"/>
                      </a:lnTo>
                      <a:lnTo>
                        <a:pt x="132" y="121"/>
                      </a:lnTo>
                      <a:lnTo>
                        <a:pt x="134" y="121"/>
                      </a:lnTo>
                      <a:lnTo>
                        <a:pt x="135" y="121"/>
                      </a:lnTo>
                      <a:lnTo>
                        <a:pt x="132" y="116"/>
                      </a:lnTo>
                      <a:lnTo>
                        <a:pt x="134" y="111"/>
                      </a:lnTo>
                      <a:lnTo>
                        <a:pt x="132" y="111"/>
                      </a:lnTo>
                      <a:lnTo>
                        <a:pt x="130" y="111"/>
                      </a:lnTo>
                      <a:lnTo>
                        <a:pt x="129" y="111"/>
                      </a:lnTo>
                      <a:lnTo>
                        <a:pt x="129" y="110"/>
                      </a:lnTo>
                      <a:lnTo>
                        <a:pt x="127" y="110"/>
                      </a:lnTo>
                      <a:lnTo>
                        <a:pt x="125" y="110"/>
                      </a:lnTo>
                      <a:lnTo>
                        <a:pt x="125" y="111"/>
                      </a:lnTo>
                      <a:lnTo>
                        <a:pt x="123" y="113"/>
                      </a:lnTo>
                      <a:lnTo>
                        <a:pt x="122" y="113"/>
                      </a:lnTo>
                      <a:lnTo>
                        <a:pt x="120" y="113"/>
                      </a:lnTo>
                      <a:lnTo>
                        <a:pt x="118" y="113"/>
                      </a:lnTo>
                      <a:lnTo>
                        <a:pt x="117" y="115"/>
                      </a:lnTo>
                      <a:lnTo>
                        <a:pt x="115" y="115"/>
                      </a:lnTo>
                      <a:lnTo>
                        <a:pt x="113" y="115"/>
                      </a:lnTo>
                      <a:lnTo>
                        <a:pt x="112" y="118"/>
                      </a:lnTo>
                      <a:lnTo>
                        <a:pt x="108" y="118"/>
                      </a:lnTo>
                      <a:lnTo>
                        <a:pt x="105" y="120"/>
                      </a:lnTo>
                      <a:lnTo>
                        <a:pt x="103" y="120"/>
                      </a:lnTo>
                      <a:lnTo>
                        <a:pt x="98" y="121"/>
                      </a:lnTo>
                      <a:lnTo>
                        <a:pt x="96" y="123"/>
                      </a:lnTo>
                      <a:lnTo>
                        <a:pt x="96" y="121"/>
                      </a:lnTo>
                      <a:lnTo>
                        <a:pt x="95" y="121"/>
                      </a:lnTo>
                      <a:lnTo>
                        <a:pt x="93" y="121"/>
                      </a:lnTo>
                      <a:lnTo>
                        <a:pt x="93" y="123"/>
                      </a:lnTo>
                      <a:lnTo>
                        <a:pt x="91" y="125"/>
                      </a:lnTo>
                      <a:lnTo>
                        <a:pt x="90" y="125"/>
                      </a:lnTo>
                      <a:lnTo>
                        <a:pt x="88" y="126"/>
                      </a:lnTo>
                      <a:lnTo>
                        <a:pt x="86" y="126"/>
                      </a:lnTo>
                      <a:lnTo>
                        <a:pt x="85" y="126"/>
                      </a:lnTo>
                      <a:lnTo>
                        <a:pt x="85" y="125"/>
                      </a:lnTo>
                      <a:lnTo>
                        <a:pt x="83" y="125"/>
                      </a:lnTo>
                      <a:lnTo>
                        <a:pt x="81" y="125"/>
                      </a:lnTo>
                      <a:lnTo>
                        <a:pt x="80" y="125"/>
                      </a:lnTo>
                      <a:lnTo>
                        <a:pt x="78" y="126"/>
                      </a:lnTo>
                      <a:lnTo>
                        <a:pt x="78" y="128"/>
                      </a:lnTo>
                      <a:lnTo>
                        <a:pt x="76" y="128"/>
                      </a:lnTo>
                      <a:lnTo>
                        <a:pt x="78" y="130"/>
                      </a:lnTo>
                      <a:lnTo>
                        <a:pt x="76" y="130"/>
                      </a:lnTo>
                      <a:lnTo>
                        <a:pt x="78" y="131"/>
                      </a:lnTo>
                      <a:lnTo>
                        <a:pt x="78" y="133"/>
                      </a:lnTo>
                      <a:lnTo>
                        <a:pt x="80" y="131"/>
                      </a:lnTo>
                      <a:lnTo>
                        <a:pt x="80" y="133"/>
                      </a:lnTo>
                      <a:lnTo>
                        <a:pt x="78" y="133"/>
                      </a:lnTo>
                      <a:lnTo>
                        <a:pt x="78" y="134"/>
                      </a:lnTo>
                      <a:lnTo>
                        <a:pt x="76" y="134"/>
                      </a:lnTo>
                      <a:lnTo>
                        <a:pt x="74" y="134"/>
                      </a:lnTo>
                      <a:lnTo>
                        <a:pt x="73" y="134"/>
                      </a:lnTo>
                      <a:lnTo>
                        <a:pt x="71" y="136"/>
                      </a:lnTo>
                      <a:lnTo>
                        <a:pt x="73" y="136"/>
                      </a:lnTo>
                      <a:lnTo>
                        <a:pt x="71" y="136"/>
                      </a:lnTo>
                      <a:lnTo>
                        <a:pt x="71" y="138"/>
                      </a:lnTo>
                      <a:lnTo>
                        <a:pt x="69" y="138"/>
                      </a:lnTo>
                      <a:lnTo>
                        <a:pt x="71" y="138"/>
                      </a:lnTo>
                      <a:lnTo>
                        <a:pt x="71" y="139"/>
                      </a:lnTo>
                      <a:lnTo>
                        <a:pt x="69" y="139"/>
                      </a:lnTo>
                      <a:lnTo>
                        <a:pt x="69" y="141"/>
                      </a:lnTo>
                      <a:lnTo>
                        <a:pt x="68" y="141"/>
                      </a:lnTo>
                      <a:lnTo>
                        <a:pt x="68" y="143"/>
                      </a:lnTo>
                      <a:lnTo>
                        <a:pt x="66" y="143"/>
                      </a:lnTo>
                      <a:lnTo>
                        <a:pt x="66" y="144"/>
                      </a:lnTo>
                      <a:lnTo>
                        <a:pt x="64" y="144"/>
                      </a:lnTo>
                      <a:lnTo>
                        <a:pt x="63" y="143"/>
                      </a:lnTo>
                      <a:lnTo>
                        <a:pt x="63" y="144"/>
                      </a:lnTo>
                      <a:lnTo>
                        <a:pt x="61" y="144"/>
                      </a:lnTo>
                      <a:lnTo>
                        <a:pt x="59" y="144"/>
                      </a:lnTo>
                      <a:lnTo>
                        <a:pt x="58" y="144"/>
                      </a:lnTo>
                      <a:lnTo>
                        <a:pt x="58" y="146"/>
                      </a:lnTo>
                      <a:lnTo>
                        <a:pt x="56" y="146"/>
                      </a:lnTo>
                      <a:lnTo>
                        <a:pt x="54" y="146"/>
                      </a:lnTo>
                      <a:lnTo>
                        <a:pt x="54" y="148"/>
                      </a:lnTo>
                      <a:lnTo>
                        <a:pt x="53" y="148"/>
                      </a:lnTo>
                      <a:lnTo>
                        <a:pt x="53" y="149"/>
                      </a:lnTo>
                      <a:lnTo>
                        <a:pt x="54" y="149"/>
                      </a:lnTo>
                      <a:lnTo>
                        <a:pt x="54" y="151"/>
                      </a:lnTo>
                      <a:lnTo>
                        <a:pt x="53" y="151"/>
                      </a:lnTo>
                      <a:lnTo>
                        <a:pt x="51" y="151"/>
                      </a:lnTo>
                      <a:lnTo>
                        <a:pt x="51" y="149"/>
                      </a:lnTo>
                      <a:lnTo>
                        <a:pt x="51" y="148"/>
                      </a:lnTo>
                      <a:lnTo>
                        <a:pt x="51" y="149"/>
                      </a:lnTo>
                      <a:lnTo>
                        <a:pt x="49" y="149"/>
                      </a:lnTo>
                      <a:lnTo>
                        <a:pt x="47" y="151"/>
                      </a:lnTo>
                      <a:lnTo>
                        <a:pt x="47" y="153"/>
                      </a:lnTo>
                      <a:lnTo>
                        <a:pt x="46" y="153"/>
                      </a:lnTo>
                      <a:lnTo>
                        <a:pt x="46" y="154"/>
                      </a:lnTo>
                      <a:lnTo>
                        <a:pt x="44" y="154"/>
                      </a:lnTo>
                      <a:lnTo>
                        <a:pt x="44" y="156"/>
                      </a:lnTo>
                      <a:lnTo>
                        <a:pt x="42" y="156"/>
                      </a:lnTo>
                      <a:lnTo>
                        <a:pt x="41" y="154"/>
                      </a:lnTo>
                      <a:lnTo>
                        <a:pt x="41" y="153"/>
                      </a:lnTo>
                      <a:lnTo>
                        <a:pt x="39" y="153"/>
                      </a:lnTo>
                      <a:lnTo>
                        <a:pt x="37" y="153"/>
                      </a:lnTo>
                      <a:lnTo>
                        <a:pt x="36" y="153"/>
                      </a:lnTo>
                      <a:lnTo>
                        <a:pt x="34" y="153"/>
                      </a:lnTo>
                      <a:lnTo>
                        <a:pt x="32" y="153"/>
                      </a:lnTo>
                      <a:lnTo>
                        <a:pt x="31" y="153"/>
                      </a:lnTo>
                      <a:lnTo>
                        <a:pt x="29" y="153"/>
                      </a:lnTo>
                      <a:lnTo>
                        <a:pt x="27" y="153"/>
                      </a:lnTo>
                      <a:lnTo>
                        <a:pt x="25" y="153"/>
                      </a:lnTo>
                      <a:lnTo>
                        <a:pt x="25" y="151"/>
                      </a:lnTo>
                      <a:lnTo>
                        <a:pt x="24" y="151"/>
                      </a:lnTo>
                      <a:lnTo>
                        <a:pt x="24" y="149"/>
                      </a:lnTo>
                      <a:lnTo>
                        <a:pt x="22" y="149"/>
                      </a:lnTo>
                      <a:lnTo>
                        <a:pt x="22" y="148"/>
                      </a:lnTo>
                      <a:lnTo>
                        <a:pt x="20" y="149"/>
                      </a:lnTo>
                      <a:lnTo>
                        <a:pt x="19" y="149"/>
                      </a:lnTo>
                      <a:lnTo>
                        <a:pt x="20" y="149"/>
                      </a:lnTo>
                      <a:lnTo>
                        <a:pt x="19" y="148"/>
                      </a:lnTo>
                      <a:lnTo>
                        <a:pt x="19" y="146"/>
                      </a:lnTo>
                      <a:lnTo>
                        <a:pt x="17" y="144"/>
                      </a:lnTo>
                      <a:lnTo>
                        <a:pt x="15" y="144"/>
                      </a:lnTo>
                      <a:lnTo>
                        <a:pt x="15" y="146"/>
                      </a:lnTo>
                      <a:lnTo>
                        <a:pt x="14" y="146"/>
                      </a:lnTo>
                      <a:lnTo>
                        <a:pt x="12" y="148"/>
                      </a:lnTo>
                      <a:lnTo>
                        <a:pt x="10" y="148"/>
                      </a:lnTo>
                      <a:lnTo>
                        <a:pt x="9" y="146"/>
                      </a:lnTo>
                      <a:lnTo>
                        <a:pt x="9" y="144"/>
                      </a:lnTo>
                      <a:lnTo>
                        <a:pt x="9" y="143"/>
                      </a:lnTo>
                      <a:lnTo>
                        <a:pt x="9" y="141"/>
                      </a:lnTo>
                      <a:lnTo>
                        <a:pt x="9" y="139"/>
                      </a:lnTo>
                      <a:lnTo>
                        <a:pt x="10" y="139"/>
                      </a:lnTo>
                      <a:lnTo>
                        <a:pt x="9" y="139"/>
                      </a:lnTo>
                      <a:lnTo>
                        <a:pt x="7" y="139"/>
                      </a:lnTo>
                      <a:lnTo>
                        <a:pt x="5" y="139"/>
                      </a:lnTo>
                      <a:lnTo>
                        <a:pt x="5" y="141"/>
                      </a:lnTo>
                      <a:lnTo>
                        <a:pt x="5" y="143"/>
                      </a:lnTo>
                      <a:lnTo>
                        <a:pt x="4" y="143"/>
                      </a:lnTo>
                      <a:lnTo>
                        <a:pt x="2" y="141"/>
                      </a:lnTo>
                      <a:lnTo>
                        <a:pt x="0" y="141"/>
                      </a:lnTo>
                      <a:lnTo>
                        <a:pt x="2" y="141"/>
                      </a:lnTo>
                      <a:lnTo>
                        <a:pt x="2" y="139"/>
                      </a:lnTo>
                      <a:lnTo>
                        <a:pt x="0" y="139"/>
                      </a:lnTo>
                      <a:lnTo>
                        <a:pt x="0" y="138"/>
                      </a:lnTo>
                      <a:lnTo>
                        <a:pt x="0" y="136"/>
                      </a:lnTo>
                      <a:lnTo>
                        <a:pt x="2" y="134"/>
                      </a:lnTo>
                      <a:lnTo>
                        <a:pt x="0" y="134"/>
                      </a:lnTo>
                      <a:lnTo>
                        <a:pt x="0" y="133"/>
                      </a:lnTo>
                      <a:lnTo>
                        <a:pt x="2" y="133"/>
                      </a:lnTo>
                      <a:lnTo>
                        <a:pt x="2" y="131"/>
                      </a:lnTo>
                      <a:lnTo>
                        <a:pt x="4" y="131"/>
                      </a:lnTo>
                      <a:lnTo>
                        <a:pt x="4" y="130"/>
                      </a:lnTo>
                      <a:lnTo>
                        <a:pt x="5" y="130"/>
                      </a:lnTo>
                      <a:lnTo>
                        <a:pt x="5" y="128"/>
                      </a:lnTo>
                      <a:lnTo>
                        <a:pt x="5" y="126"/>
                      </a:lnTo>
                      <a:lnTo>
                        <a:pt x="5" y="125"/>
                      </a:lnTo>
                      <a:lnTo>
                        <a:pt x="7" y="125"/>
                      </a:lnTo>
                      <a:lnTo>
                        <a:pt x="7" y="123"/>
                      </a:lnTo>
                      <a:lnTo>
                        <a:pt x="9" y="123"/>
                      </a:lnTo>
                      <a:lnTo>
                        <a:pt x="9" y="121"/>
                      </a:lnTo>
                      <a:lnTo>
                        <a:pt x="10" y="121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2" y="118"/>
                      </a:lnTo>
                      <a:lnTo>
                        <a:pt x="12" y="116"/>
                      </a:lnTo>
                      <a:lnTo>
                        <a:pt x="14" y="116"/>
                      </a:lnTo>
                      <a:lnTo>
                        <a:pt x="14" y="115"/>
                      </a:lnTo>
                      <a:lnTo>
                        <a:pt x="12" y="115"/>
                      </a:lnTo>
                      <a:lnTo>
                        <a:pt x="14" y="115"/>
                      </a:lnTo>
                      <a:lnTo>
                        <a:pt x="15" y="113"/>
                      </a:lnTo>
                      <a:lnTo>
                        <a:pt x="17" y="113"/>
                      </a:lnTo>
                      <a:lnTo>
                        <a:pt x="17" y="111"/>
                      </a:lnTo>
                      <a:lnTo>
                        <a:pt x="17" y="113"/>
                      </a:lnTo>
                      <a:lnTo>
                        <a:pt x="17" y="111"/>
                      </a:lnTo>
                      <a:lnTo>
                        <a:pt x="19" y="111"/>
                      </a:lnTo>
                      <a:lnTo>
                        <a:pt x="19" y="113"/>
                      </a:lnTo>
                      <a:lnTo>
                        <a:pt x="19" y="115"/>
                      </a:lnTo>
                      <a:lnTo>
                        <a:pt x="20" y="115"/>
                      </a:lnTo>
                      <a:lnTo>
                        <a:pt x="22" y="115"/>
                      </a:lnTo>
                      <a:lnTo>
                        <a:pt x="22" y="113"/>
                      </a:lnTo>
                      <a:lnTo>
                        <a:pt x="22" y="115"/>
                      </a:lnTo>
                      <a:lnTo>
                        <a:pt x="24" y="115"/>
                      </a:lnTo>
                      <a:lnTo>
                        <a:pt x="25" y="115"/>
                      </a:lnTo>
                      <a:lnTo>
                        <a:pt x="27" y="115"/>
                      </a:lnTo>
                      <a:lnTo>
                        <a:pt x="27" y="113"/>
                      </a:lnTo>
                      <a:lnTo>
                        <a:pt x="29" y="113"/>
                      </a:lnTo>
                      <a:lnTo>
                        <a:pt x="31" y="113"/>
                      </a:lnTo>
                      <a:lnTo>
                        <a:pt x="31" y="111"/>
                      </a:lnTo>
                      <a:lnTo>
                        <a:pt x="31" y="108"/>
                      </a:lnTo>
                      <a:lnTo>
                        <a:pt x="32" y="107"/>
                      </a:lnTo>
                      <a:lnTo>
                        <a:pt x="34" y="105"/>
                      </a:lnTo>
                      <a:lnTo>
                        <a:pt x="36" y="105"/>
                      </a:lnTo>
                      <a:lnTo>
                        <a:pt x="36" y="103"/>
                      </a:lnTo>
                      <a:lnTo>
                        <a:pt x="37" y="103"/>
                      </a:lnTo>
                      <a:lnTo>
                        <a:pt x="39" y="103"/>
                      </a:lnTo>
                      <a:lnTo>
                        <a:pt x="39" y="102"/>
                      </a:lnTo>
                      <a:lnTo>
                        <a:pt x="39" y="100"/>
                      </a:lnTo>
                      <a:lnTo>
                        <a:pt x="41" y="100"/>
                      </a:lnTo>
                      <a:lnTo>
                        <a:pt x="41" y="98"/>
                      </a:lnTo>
                      <a:lnTo>
                        <a:pt x="42" y="98"/>
                      </a:lnTo>
                      <a:lnTo>
                        <a:pt x="42" y="97"/>
                      </a:lnTo>
                      <a:lnTo>
                        <a:pt x="44" y="97"/>
                      </a:lnTo>
                      <a:lnTo>
                        <a:pt x="44" y="95"/>
                      </a:lnTo>
                      <a:lnTo>
                        <a:pt x="42" y="95"/>
                      </a:lnTo>
                      <a:lnTo>
                        <a:pt x="44" y="93"/>
                      </a:lnTo>
                      <a:lnTo>
                        <a:pt x="44" y="92"/>
                      </a:lnTo>
                      <a:lnTo>
                        <a:pt x="44" y="90"/>
                      </a:lnTo>
                      <a:lnTo>
                        <a:pt x="46" y="90"/>
                      </a:lnTo>
                      <a:lnTo>
                        <a:pt x="46" y="89"/>
                      </a:lnTo>
                      <a:lnTo>
                        <a:pt x="47" y="89"/>
                      </a:lnTo>
                      <a:lnTo>
                        <a:pt x="47" y="87"/>
                      </a:lnTo>
                      <a:lnTo>
                        <a:pt x="49" y="85"/>
                      </a:lnTo>
                      <a:lnTo>
                        <a:pt x="49" y="84"/>
                      </a:lnTo>
                      <a:lnTo>
                        <a:pt x="51" y="84"/>
                      </a:lnTo>
                      <a:lnTo>
                        <a:pt x="51" y="82"/>
                      </a:lnTo>
                      <a:lnTo>
                        <a:pt x="49" y="82"/>
                      </a:lnTo>
                      <a:lnTo>
                        <a:pt x="47" y="82"/>
                      </a:lnTo>
                      <a:lnTo>
                        <a:pt x="46" y="82"/>
                      </a:lnTo>
                      <a:lnTo>
                        <a:pt x="47" y="80"/>
                      </a:lnTo>
                      <a:lnTo>
                        <a:pt x="47" y="79"/>
                      </a:lnTo>
                      <a:lnTo>
                        <a:pt x="47" y="77"/>
                      </a:lnTo>
                      <a:lnTo>
                        <a:pt x="49" y="75"/>
                      </a:lnTo>
                      <a:lnTo>
                        <a:pt x="51" y="75"/>
                      </a:lnTo>
                      <a:lnTo>
                        <a:pt x="51" y="74"/>
                      </a:lnTo>
                      <a:lnTo>
                        <a:pt x="53" y="74"/>
                      </a:lnTo>
                      <a:lnTo>
                        <a:pt x="53" y="72"/>
                      </a:lnTo>
                      <a:lnTo>
                        <a:pt x="53" y="70"/>
                      </a:lnTo>
                      <a:lnTo>
                        <a:pt x="53" y="69"/>
                      </a:lnTo>
                      <a:lnTo>
                        <a:pt x="54" y="69"/>
                      </a:lnTo>
                      <a:lnTo>
                        <a:pt x="56" y="69"/>
                      </a:lnTo>
                      <a:lnTo>
                        <a:pt x="56" y="67"/>
                      </a:lnTo>
                      <a:lnTo>
                        <a:pt x="58" y="66"/>
                      </a:lnTo>
                      <a:lnTo>
                        <a:pt x="58" y="64"/>
                      </a:lnTo>
                      <a:lnTo>
                        <a:pt x="56" y="64"/>
                      </a:lnTo>
                      <a:lnTo>
                        <a:pt x="56" y="62"/>
                      </a:lnTo>
                      <a:lnTo>
                        <a:pt x="58" y="62"/>
                      </a:lnTo>
                      <a:lnTo>
                        <a:pt x="58" y="61"/>
                      </a:lnTo>
                      <a:lnTo>
                        <a:pt x="58" y="59"/>
                      </a:lnTo>
                      <a:lnTo>
                        <a:pt x="58" y="57"/>
                      </a:lnTo>
                      <a:lnTo>
                        <a:pt x="59" y="59"/>
                      </a:lnTo>
                      <a:lnTo>
                        <a:pt x="61" y="59"/>
                      </a:lnTo>
                      <a:lnTo>
                        <a:pt x="61" y="57"/>
                      </a:lnTo>
                      <a:lnTo>
                        <a:pt x="63" y="57"/>
                      </a:lnTo>
                      <a:lnTo>
                        <a:pt x="64" y="56"/>
                      </a:lnTo>
                      <a:lnTo>
                        <a:pt x="64" y="54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6" y="51"/>
                      </a:lnTo>
                      <a:lnTo>
                        <a:pt x="68" y="51"/>
                      </a:lnTo>
                      <a:lnTo>
                        <a:pt x="68" y="49"/>
                      </a:lnTo>
                      <a:lnTo>
                        <a:pt x="69" y="47"/>
                      </a:lnTo>
                      <a:lnTo>
                        <a:pt x="69" y="46"/>
                      </a:lnTo>
                      <a:lnTo>
                        <a:pt x="69" y="44"/>
                      </a:lnTo>
                      <a:lnTo>
                        <a:pt x="71" y="44"/>
                      </a:lnTo>
                      <a:lnTo>
                        <a:pt x="71" y="43"/>
                      </a:lnTo>
                      <a:lnTo>
                        <a:pt x="73" y="43"/>
                      </a:lnTo>
                      <a:lnTo>
                        <a:pt x="73" y="41"/>
                      </a:lnTo>
                      <a:lnTo>
                        <a:pt x="74" y="36"/>
                      </a:lnTo>
                      <a:lnTo>
                        <a:pt x="83" y="20"/>
                      </a:lnTo>
                      <a:lnTo>
                        <a:pt x="85" y="15"/>
                      </a:lnTo>
                      <a:lnTo>
                        <a:pt x="90" y="8"/>
                      </a:lnTo>
                      <a:lnTo>
                        <a:pt x="105" y="5"/>
                      </a:lnTo>
                      <a:lnTo>
                        <a:pt x="108" y="5"/>
                      </a:lnTo>
                      <a:lnTo>
                        <a:pt x="117" y="1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7" name="Freeform 25"/>
                <p:cNvSpPr>
                  <a:spLocks noChangeAspect="1"/>
                </p:cNvSpPr>
                <p:nvPr/>
              </p:nvSpPr>
              <p:spPr bwMode="auto">
                <a:xfrm>
                  <a:off x="3103457" y="2406377"/>
                  <a:ext cx="1685292" cy="1652453"/>
                </a:xfrm>
                <a:custGeom>
                  <a:avLst/>
                  <a:gdLst>
                    <a:gd name="T0" fmla="*/ 2147483647 w 1081"/>
                    <a:gd name="T1" fmla="*/ 2147483647 h 986"/>
                    <a:gd name="T2" fmla="*/ 2147483647 w 1081"/>
                    <a:gd name="T3" fmla="*/ 2147483647 h 986"/>
                    <a:gd name="T4" fmla="*/ 2147483647 w 1081"/>
                    <a:gd name="T5" fmla="*/ 2147483647 h 986"/>
                    <a:gd name="T6" fmla="*/ 2147483647 w 1081"/>
                    <a:gd name="T7" fmla="*/ 2147483647 h 986"/>
                    <a:gd name="T8" fmla="*/ 2147483647 w 1081"/>
                    <a:gd name="T9" fmla="*/ 2147483647 h 986"/>
                    <a:gd name="T10" fmla="*/ 2147483647 w 1081"/>
                    <a:gd name="T11" fmla="*/ 2147483647 h 986"/>
                    <a:gd name="T12" fmla="*/ 2147483647 w 1081"/>
                    <a:gd name="T13" fmla="*/ 2147483647 h 986"/>
                    <a:gd name="T14" fmla="*/ 2147483647 w 1081"/>
                    <a:gd name="T15" fmla="*/ 2147483647 h 986"/>
                    <a:gd name="T16" fmla="*/ 2147483647 w 1081"/>
                    <a:gd name="T17" fmla="*/ 2147483647 h 986"/>
                    <a:gd name="T18" fmla="*/ 2147483647 w 1081"/>
                    <a:gd name="T19" fmla="*/ 2147483647 h 986"/>
                    <a:gd name="T20" fmla="*/ 2147483647 w 1081"/>
                    <a:gd name="T21" fmla="*/ 2147483647 h 986"/>
                    <a:gd name="T22" fmla="*/ 2147483647 w 1081"/>
                    <a:gd name="T23" fmla="*/ 2147483647 h 986"/>
                    <a:gd name="T24" fmla="*/ 2147483647 w 1081"/>
                    <a:gd name="T25" fmla="*/ 2147483647 h 986"/>
                    <a:gd name="T26" fmla="*/ 2147483647 w 1081"/>
                    <a:gd name="T27" fmla="*/ 2147483647 h 986"/>
                    <a:gd name="T28" fmla="*/ 2147483647 w 1081"/>
                    <a:gd name="T29" fmla="*/ 2147483647 h 986"/>
                    <a:gd name="T30" fmla="*/ 2147483647 w 1081"/>
                    <a:gd name="T31" fmla="*/ 2147483647 h 986"/>
                    <a:gd name="T32" fmla="*/ 2147483647 w 1081"/>
                    <a:gd name="T33" fmla="*/ 2147483647 h 986"/>
                    <a:gd name="T34" fmla="*/ 2147483647 w 1081"/>
                    <a:gd name="T35" fmla="*/ 2147483647 h 986"/>
                    <a:gd name="T36" fmla="*/ 2147483647 w 1081"/>
                    <a:gd name="T37" fmla="*/ 2147483647 h 986"/>
                    <a:gd name="T38" fmla="*/ 2147483647 w 1081"/>
                    <a:gd name="T39" fmla="*/ 2147483647 h 986"/>
                    <a:gd name="T40" fmla="*/ 2147483647 w 1081"/>
                    <a:gd name="T41" fmla="*/ 2147483647 h 986"/>
                    <a:gd name="T42" fmla="*/ 2147483647 w 1081"/>
                    <a:gd name="T43" fmla="*/ 2147483647 h 986"/>
                    <a:gd name="T44" fmla="*/ 2147483647 w 1081"/>
                    <a:gd name="T45" fmla="*/ 2147483647 h 986"/>
                    <a:gd name="T46" fmla="*/ 2147483647 w 1081"/>
                    <a:gd name="T47" fmla="*/ 2147483647 h 986"/>
                    <a:gd name="T48" fmla="*/ 2147483647 w 1081"/>
                    <a:gd name="T49" fmla="*/ 2147483647 h 986"/>
                    <a:gd name="T50" fmla="*/ 2147483647 w 1081"/>
                    <a:gd name="T51" fmla="*/ 2147483647 h 986"/>
                    <a:gd name="T52" fmla="*/ 2147483647 w 1081"/>
                    <a:gd name="T53" fmla="*/ 2147483647 h 986"/>
                    <a:gd name="T54" fmla="*/ 2147483647 w 1081"/>
                    <a:gd name="T55" fmla="*/ 2147483647 h 986"/>
                    <a:gd name="T56" fmla="*/ 2147483647 w 1081"/>
                    <a:gd name="T57" fmla="*/ 2147483647 h 986"/>
                    <a:gd name="T58" fmla="*/ 2147483647 w 1081"/>
                    <a:gd name="T59" fmla="*/ 2147483647 h 986"/>
                    <a:gd name="T60" fmla="*/ 2147483647 w 1081"/>
                    <a:gd name="T61" fmla="*/ 2147483647 h 986"/>
                    <a:gd name="T62" fmla="*/ 2147483647 w 1081"/>
                    <a:gd name="T63" fmla="*/ 2147483647 h 986"/>
                    <a:gd name="T64" fmla="*/ 2147483647 w 1081"/>
                    <a:gd name="T65" fmla="*/ 2147483647 h 986"/>
                    <a:gd name="T66" fmla="*/ 2147483647 w 1081"/>
                    <a:gd name="T67" fmla="*/ 2147483647 h 986"/>
                    <a:gd name="T68" fmla="*/ 2147483647 w 1081"/>
                    <a:gd name="T69" fmla="*/ 2147483647 h 986"/>
                    <a:gd name="T70" fmla="*/ 2147483647 w 1081"/>
                    <a:gd name="T71" fmla="*/ 2147483647 h 986"/>
                    <a:gd name="T72" fmla="*/ 2147483647 w 1081"/>
                    <a:gd name="T73" fmla="*/ 2147483647 h 986"/>
                    <a:gd name="T74" fmla="*/ 2147483647 w 1081"/>
                    <a:gd name="T75" fmla="*/ 2147483647 h 986"/>
                    <a:gd name="T76" fmla="*/ 2147483647 w 1081"/>
                    <a:gd name="T77" fmla="*/ 2147483647 h 986"/>
                    <a:gd name="T78" fmla="*/ 2147483647 w 1081"/>
                    <a:gd name="T79" fmla="*/ 2147483647 h 986"/>
                    <a:gd name="T80" fmla="*/ 2147483647 w 1081"/>
                    <a:gd name="T81" fmla="*/ 2147483647 h 986"/>
                    <a:gd name="T82" fmla="*/ 2147483647 w 1081"/>
                    <a:gd name="T83" fmla="*/ 2147483647 h 986"/>
                    <a:gd name="T84" fmla="*/ 2147483647 w 1081"/>
                    <a:gd name="T85" fmla="*/ 2147483647 h 986"/>
                    <a:gd name="T86" fmla="*/ 2147483647 w 1081"/>
                    <a:gd name="T87" fmla="*/ 2147483647 h 986"/>
                    <a:gd name="T88" fmla="*/ 2147483647 w 1081"/>
                    <a:gd name="T89" fmla="*/ 2147483647 h 986"/>
                    <a:gd name="T90" fmla="*/ 2147483647 w 1081"/>
                    <a:gd name="T91" fmla="*/ 2147483647 h 986"/>
                    <a:gd name="T92" fmla="*/ 2147483647 w 1081"/>
                    <a:gd name="T93" fmla="*/ 2147483647 h 986"/>
                    <a:gd name="T94" fmla="*/ 2147483647 w 1081"/>
                    <a:gd name="T95" fmla="*/ 2147483647 h 986"/>
                    <a:gd name="T96" fmla="*/ 2147483647 w 1081"/>
                    <a:gd name="T97" fmla="*/ 2147483647 h 986"/>
                    <a:gd name="T98" fmla="*/ 2147483647 w 1081"/>
                    <a:gd name="T99" fmla="*/ 2147483647 h 986"/>
                    <a:gd name="T100" fmla="*/ 2147483647 w 1081"/>
                    <a:gd name="T101" fmla="*/ 2147483647 h 986"/>
                    <a:gd name="T102" fmla="*/ 2147483647 w 1081"/>
                    <a:gd name="T103" fmla="*/ 2147483647 h 986"/>
                    <a:gd name="T104" fmla="*/ 2147483647 w 1081"/>
                    <a:gd name="T105" fmla="*/ 2147483647 h 986"/>
                    <a:gd name="T106" fmla="*/ 2147483647 w 1081"/>
                    <a:gd name="T107" fmla="*/ 2147483647 h 986"/>
                    <a:gd name="T108" fmla="*/ 2147483647 w 1081"/>
                    <a:gd name="T109" fmla="*/ 2147483647 h 986"/>
                    <a:gd name="T110" fmla="*/ 2147483647 w 1081"/>
                    <a:gd name="T111" fmla="*/ 2147483647 h 986"/>
                    <a:gd name="T112" fmla="*/ 2147483647 w 1081"/>
                    <a:gd name="T113" fmla="*/ 2147483647 h 986"/>
                    <a:gd name="T114" fmla="*/ 2147483647 w 1081"/>
                    <a:gd name="T115" fmla="*/ 2147483647 h 986"/>
                    <a:gd name="T116" fmla="*/ 2147483647 w 1081"/>
                    <a:gd name="T117" fmla="*/ 2147483647 h 986"/>
                    <a:gd name="T118" fmla="*/ 2147483647 w 1081"/>
                    <a:gd name="T119" fmla="*/ 2147483647 h 986"/>
                    <a:gd name="T120" fmla="*/ 2147483647 w 1081"/>
                    <a:gd name="T121" fmla="*/ 2147483647 h 986"/>
                    <a:gd name="T122" fmla="*/ 2147483647 w 1081"/>
                    <a:gd name="T123" fmla="*/ 2147483647 h 986"/>
                    <a:gd name="T124" fmla="*/ 2147483647 w 1081"/>
                    <a:gd name="T125" fmla="*/ 2147483647 h 98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081"/>
                    <a:gd name="T190" fmla="*/ 0 h 986"/>
                    <a:gd name="T191" fmla="*/ 1081 w 1081"/>
                    <a:gd name="T192" fmla="*/ 986 h 98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081" h="986">
                      <a:moveTo>
                        <a:pt x="302" y="135"/>
                      </a:moveTo>
                      <a:lnTo>
                        <a:pt x="304" y="133"/>
                      </a:lnTo>
                      <a:lnTo>
                        <a:pt x="305" y="132"/>
                      </a:lnTo>
                      <a:lnTo>
                        <a:pt x="307" y="132"/>
                      </a:lnTo>
                      <a:lnTo>
                        <a:pt x="309" y="130"/>
                      </a:lnTo>
                      <a:lnTo>
                        <a:pt x="309" y="128"/>
                      </a:lnTo>
                      <a:lnTo>
                        <a:pt x="310" y="128"/>
                      </a:lnTo>
                      <a:lnTo>
                        <a:pt x="312" y="127"/>
                      </a:lnTo>
                      <a:lnTo>
                        <a:pt x="312" y="125"/>
                      </a:lnTo>
                      <a:lnTo>
                        <a:pt x="310" y="125"/>
                      </a:lnTo>
                      <a:lnTo>
                        <a:pt x="309" y="125"/>
                      </a:lnTo>
                      <a:lnTo>
                        <a:pt x="307" y="125"/>
                      </a:lnTo>
                      <a:lnTo>
                        <a:pt x="305" y="127"/>
                      </a:lnTo>
                      <a:lnTo>
                        <a:pt x="304" y="127"/>
                      </a:lnTo>
                      <a:lnTo>
                        <a:pt x="302" y="127"/>
                      </a:lnTo>
                      <a:lnTo>
                        <a:pt x="302" y="125"/>
                      </a:lnTo>
                      <a:lnTo>
                        <a:pt x="302" y="124"/>
                      </a:lnTo>
                      <a:lnTo>
                        <a:pt x="304" y="124"/>
                      </a:lnTo>
                      <a:lnTo>
                        <a:pt x="304" y="120"/>
                      </a:lnTo>
                      <a:lnTo>
                        <a:pt x="305" y="119"/>
                      </a:lnTo>
                      <a:lnTo>
                        <a:pt x="305" y="117"/>
                      </a:lnTo>
                      <a:lnTo>
                        <a:pt x="307" y="117"/>
                      </a:lnTo>
                      <a:lnTo>
                        <a:pt x="307" y="115"/>
                      </a:lnTo>
                      <a:lnTo>
                        <a:pt x="305" y="114"/>
                      </a:lnTo>
                      <a:lnTo>
                        <a:pt x="305" y="112"/>
                      </a:lnTo>
                      <a:lnTo>
                        <a:pt x="305" y="110"/>
                      </a:lnTo>
                      <a:lnTo>
                        <a:pt x="305" y="109"/>
                      </a:lnTo>
                      <a:lnTo>
                        <a:pt x="304" y="109"/>
                      </a:lnTo>
                      <a:lnTo>
                        <a:pt x="304" y="107"/>
                      </a:lnTo>
                      <a:lnTo>
                        <a:pt x="304" y="105"/>
                      </a:lnTo>
                      <a:lnTo>
                        <a:pt x="305" y="104"/>
                      </a:lnTo>
                      <a:lnTo>
                        <a:pt x="305" y="102"/>
                      </a:lnTo>
                      <a:lnTo>
                        <a:pt x="307" y="101"/>
                      </a:lnTo>
                      <a:lnTo>
                        <a:pt x="309" y="101"/>
                      </a:lnTo>
                      <a:lnTo>
                        <a:pt x="309" y="99"/>
                      </a:lnTo>
                      <a:lnTo>
                        <a:pt x="310" y="97"/>
                      </a:lnTo>
                      <a:lnTo>
                        <a:pt x="310" y="96"/>
                      </a:lnTo>
                      <a:lnTo>
                        <a:pt x="310" y="94"/>
                      </a:lnTo>
                      <a:lnTo>
                        <a:pt x="310" y="92"/>
                      </a:lnTo>
                      <a:lnTo>
                        <a:pt x="312" y="92"/>
                      </a:lnTo>
                      <a:lnTo>
                        <a:pt x="312" y="91"/>
                      </a:lnTo>
                      <a:lnTo>
                        <a:pt x="314" y="91"/>
                      </a:lnTo>
                      <a:lnTo>
                        <a:pt x="314" y="89"/>
                      </a:lnTo>
                      <a:lnTo>
                        <a:pt x="312" y="87"/>
                      </a:lnTo>
                      <a:lnTo>
                        <a:pt x="312" y="86"/>
                      </a:lnTo>
                      <a:lnTo>
                        <a:pt x="314" y="86"/>
                      </a:lnTo>
                      <a:lnTo>
                        <a:pt x="314" y="84"/>
                      </a:lnTo>
                      <a:lnTo>
                        <a:pt x="314" y="82"/>
                      </a:lnTo>
                      <a:lnTo>
                        <a:pt x="314" y="81"/>
                      </a:lnTo>
                      <a:lnTo>
                        <a:pt x="314" y="79"/>
                      </a:lnTo>
                      <a:lnTo>
                        <a:pt x="314" y="78"/>
                      </a:lnTo>
                      <a:lnTo>
                        <a:pt x="314" y="76"/>
                      </a:lnTo>
                      <a:lnTo>
                        <a:pt x="314" y="74"/>
                      </a:lnTo>
                      <a:lnTo>
                        <a:pt x="315" y="74"/>
                      </a:lnTo>
                      <a:lnTo>
                        <a:pt x="315" y="73"/>
                      </a:lnTo>
                      <a:lnTo>
                        <a:pt x="317" y="73"/>
                      </a:lnTo>
                      <a:lnTo>
                        <a:pt x="315" y="71"/>
                      </a:lnTo>
                      <a:lnTo>
                        <a:pt x="317" y="69"/>
                      </a:lnTo>
                      <a:lnTo>
                        <a:pt x="315" y="68"/>
                      </a:lnTo>
                      <a:lnTo>
                        <a:pt x="314" y="63"/>
                      </a:lnTo>
                      <a:lnTo>
                        <a:pt x="312" y="61"/>
                      </a:lnTo>
                      <a:lnTo>
                        <a:pt x="312" y="60"/>
                      </a:lnTo>
                      <a:lnTo>
                        <a:pt x="312" y="58"/>
                      </a:lnTo>
                      <a:lnTo>
                        <a:pt x="310" y="56"/>
                      </a:lnTo>
                      <a:lnTo>
                        <a:pt x="309" y="53"/>
                      </a:lnTo>
                      <a:lnTo>
                        <a:pt x="309" y="51"/>
                      </a:lnTo>
                      <a:lnTo>
                        <a:pt x="309" y="50"/>
                      </a:lnTo>
                      <a:lnTo>
                        <a:pt x="309" y="48"/>
                      </a:lnTo>
                      <a:lnTo>
                        <a:pt x="307" y="46"/>
                      </a:lnTo>
                      <a:lnTo>
                        <a:pt x="307" y="45"/>
                      </a:lnTo>
                      <a:lnTo>
                        <a:pt x="309" y="45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14" y="41"/>
                      </a:lnTo>
                      <a:lnTo>
                        <a:pt x="315" y="40"/>
                      </a:lnTo>
                      <a:lnTo>
                        <a:pt x="315" y="38"/>
                      </a:lnTo>
                      <a:lnTo>
                        <a:pt x="317" y="38"/>
                      </a:lnTo>
                      <a:lnTo>
                        <a:pt x="317" y="37"/>
                      </a:lnTo>
                      <a:lnTo>
                        <a:pt x="317" y="35"/>
                      </a:lnTo>
                      <a:lnTo>
                        <a:pt x="317" y="33"/>
                      </a:lnTo>
                      <a:lnTo>
                        <a:pt x="321" y="32"/>
                      </a:lnTo>
                      <a:lnTo>
                        <a:pt x="321" y="28"/>
                      </a:lnTo>
                      <a:lnTo>
                        <a:pt x="324" y="27"/>
                      </a:lnTo>
                      <a:lnTo>
                        <a:pt x="324" y="25"/>
                      </a:lnTo>
                      <a:lnTo>
                        <a:pt x="324" y="23"/>
                      </a:lnTo>
                      <a:lnTo>
                        <a:pt x="322" y="20"/>
                      </a:lnTo>
                      <a:lnTo>
                        <a:pt x="322" y="18"/>
                      </a:lnTo>
                      <a:lnTo>
                        <a:pt x="322" y="17"/>
                      </a:lnTo>
                      <a:lnTo>
                        <a:pt x="324" y="14"/>
                      </a:lnTo>
                      <a:lnTo>
                        <a:pt x="324" y="12"/>
                      </a:lnTo>
                      <a:lnTo>
                        <a:pt x="324" y="10"/>
                      </a:lnTo>
                      <a:lnTo>
                        <a:pt x="324" y="9"/>
                      </a:lnTo>
                      <a:lnTo>
                        <a:pt x="327" y="5"/>
                      </a:lnTo>
                      <a:lnTo>
                        <a:pt x="329" y="4"/>
                      </a:lnTo>
                      <a:lnTo>
                        <a:pt x="329" y="2"/>
                      </a:lnTo>
                      <a:lnTo>
                        <a:pt x="331" y="2"/>
                      </a:lnTo>
                      <a:lnTo>
                        <a:pt x="331" y="0"/>
                      </a:lnTo>
                      <a:lnTo>
                        <a:pt x="332" y="0"/>
                      </a:lnTo>
                      <a:lnTo>
                        <a:pt x="336" y="4"/>
                      </a:lnTo>
                      <a:lnTo>
                        <a:pt x="337" y="4"/>
                      </a:lnTo>
                      <a:lnTo>
                        <a:pt x="337" y="5"/>
                      </a:lnTo>
                      <a:lnTo>
                        <a:pt x="339" y="7"/>
                      </a:lnTo>
                      <a:lnTo>
                        <a:pt x="339" y="10"/>
                      </a:lnTo>
                      <a:lnTo>
                        <a:pt x="341" y="10"/>
                      </a:lnTo>
                      <a:lnTo>
                        <a:pt x="343" y="12"/>
                      </a:lnTo>
                      <a:lnTo>
                        <a:pt x="344" y="14"/>
                      </a:lnTo>
                      <a:lnTo>
                        <a:pt x="344" y="15"/>
                      </a:lnTo>
                      <a:lnTo>
                        <a:pt x="346" y="17"/>
                      </a:lnTo>
                      <a:lnTo>
                        <a:pt x="346" y="18"/>
                      </a:lnTo>
                      <a:lnTo>
                        <a:pt x="348" y="20"/>
                      </a:lnTo>
                      <a:lnTo>
                        <a:pt x="348" y="22"/>
                      </a:lnTo>
                      <a:lnTo>
                        <a:pt x="349" y="23"/>
                      </a:lnTo>
                      <a:lnTo>
                        <a:pt x="349" y="25"/>
                      </a:lnTo>
                      <a:lnTo>
                        <a:pt x="349" y="28"/>
                      </a:lnTo>
                      <a:lnTo>
                        <a:pt x="351" y="28"/>
                      </a:lnTo>
                      <a:lnTo>
                        <a:pt x="353" y="30"/>
                      </a:lnTo>
                      <a:lnTo>
                        <a:pt x="354" y="33"/>
                      </a:lnTo>
                      <a:lnTo>
                        <a:pt x="354" y="35"/>
                      </a:lnTo>
                      <a:lnTo>
                        <a:pt x="354" y="37"/>
                      </a:lnTo>
                      <a:lnTo>
                        <a:pt x="354" y="40"/>
                      </a:lnTo>
                      <a:lnTo>
                        <a:pt x="356" y="41"/>
                      </a:lnTo>
                      <a:lnTo>
                        <a:pt x="356" y="43"/>
                      </a:lnTo>
                      <a:lnTo>
                        <a:pt x="358" y="45"/>
                      </a:lnTo>
                      <a:lnTo>
                        <a:pt x="359" y="48"/>
                      </a:lnTo>
                      <a:lnTo>
                        <a:pt x="359" y="50"/>
                      </a:lnTo>
                      <a:lnTo>
                        <a:pt x="359" y="51"/>
                      </a:lnTo>
                      <a:lnTo>
                        <a:pt x="359" y="53"/>
                      </a:lnTo>
                      <a:lnTo>
                        <a:pt x="359" y="55"/>
                      </a:lnTo>
                      <a:lnTo>
                        <a:pt x="359" y="56"/>
                      </a:lnTo>
                      <a:lnTo>
                        <a:pt x="359" y="58"/>
                      </a:lnTo>
                      <a:lnTo>
                        <a:pt x="361" y="60"/>
                      </a:lnTo>
                      <a:lnTo>
                        <a:pt x="363" y="61"/>
                      </a:lnTo>
                      <a:lnTo>
                        <a:pt x="363" y="63"/>
                      </a:lnTo>
                      <a:lnTo>
                        <a:pt x="364" y="66"/>
                      </a:lnTo>
                      <a:lnTo>
                        <a:pt x="368" y="68"/>
                      </a:lnTo>
                      <a:lnTo>
                        <a:pt x="370" y="69"/>
                      </a:lnTo>
                      <a:lnTo>
                        <a:pt x="370" y="71"/>
                      </a:lnTo>
                      <a:lnTo>
                        <a:pt x="370" y="73"/>
                      </a:lnTo>
                      <a:lnTo>
                        <a:pt x="370" y="74"/>
                      </a:lnTo>
                      <a:lnTo>
                        <a:pt x="371" y="76"/>
                      </a:lnTo>
                      <a:lnTo>
                        <a:pt x="373" y="76"/>
                      </a:lnTo>
                      <a:lnTo>
                        <a:pt x="375" y="76"/>
                      </a:lnTo>
                      <a:lnTo>
                        <a:pt x="375" y="78"/>
                      </a:lnTo>
                      <a:lnTo>
                        <a:pt x="376" y="78"/>
                      </a:lnTo>
                      <a:lnTo>
                        <a:pt x="376" y="79"/>
                      </a:lnTo>
                      <a:lnTo>
                        <a:pt x="378" y="79"/>
                      </a:lnTo>
                      <a:lnTo>
                        <a:pt x="378" y="81"/>
                      </a:lnTo>
                      <a:lnTo>
                        <a:pt x="378" y="82"/>
                      </a:lnTo>
                      <a:lnTo>
                        <a:pt x="376" y="86"/>
                      </a:lnTo>
                      <a:lnTo>
                        <a:pt x="376" y="87"/>
                      </a:lnTo>
                      <a:lnTo>
                        <a:pt x="375" y="87"/>
                      </a:lnTo>
                      <a:lnTo>
                        <a:pt x="375" y="89"/>
                      </a:lnTo>
                      <a:lnTo>
                        <a:pt x="375" y="91"/>
                      </a:lnTo>
                      <a:lnTo>
                        <a:pt x="375" y="92"/>
                      </a:lnTo>
                      <a:lnTo>
                        <a:pt x="375" y="94"/>
                      </a:lnTo>
                      <a:lnTo>
                        <a:pt x="375" y="96"/>
                      </a:lnTo>
                      <a:lnTo>
                        <a:pt x="375" y="97"/>
                      </a:lnTo>
                      <a:lnTo>
                        <a:pt x="373" y="99"/>
                      </a:lnTo>
                      <a:lnTo>
                        <a:pt x="373" y="101"/>
                      </a:lnTo>
                      <a:lnTo>
                        <a:pt x="375" y="101"/>
                      </a:lnTo>
                      <a:lnTo>
                        <a:pt x="375" y="102"/>
                      </a:lnTo>
                      <a:lnTo>
                        <a:pt x="376" y="102"/>
                      </a:lnTo>
                      <a:lnTo>
                        <a:pt x="376" y="104"/>
                      </a:lnTo>
                      <a:lnTo>
                        <a:pt x="376" y="105"/>
                      </a:lnTo>
                      <a:lnTo>
                        <a:pt x="376" y="107"/>
                      </a:lnTo>
                      <a:lnTo>
                        <a:pt x="378" y="109"/>
                      </a:lnTo>
                      <a:lnTo>
                        <a:pt x="378" y="110"/>
                      </a:lnTo>
                      <a:lnTo>
                        <a:pt x="376" y="112"/>
                      </a:lnTo>
                      <a:lnTo>
                        <a:pt x="376" y="114"/>
                      </a:lnTo>
                      <a:lnTo>
                        <a:pt x="378" y="114"/>
                      </a:lnTo>
                      <a:lnTo>
                        <a:pt x="378" y="115"/>
                      </a:lnTo>
                      <a:lnTo>
                        <a:pt x="380" y="115"/>
                      </a:lnTo>
                      <a:lnTo>
                        <a:pt x="380" y="117"/>
                      </a:lnTo>
                      <a:lnTo>
                        <a:pt x="380" y="119"/>
                      </a:lnTo>
                      <a:lnTo>
                        <a:pt x="380" y="120"/>
                      </a:lnTo>
                      <a:lnTo>
                        <a:pt x="381" y="122"/>
                      </a:lnTo>
                      <a:lnTo>
                        <a:pt x="381" y="124"/>
                      </a:lnTo>
                      <a:lnTo>
                        <a:pt x="381" y="125"/>
                      </a:lnTo>
                      <a:lnTo>
                        <a:pt x="381" y="127"/>
                      </a:lnTo>
                      <a:lnTo>
                        <a:pt x="381" y="128"/>
                      </a:lnTo>
                      <a:lnTo>
                        <a:pt x="381" y="130"/>
                      </a:lnTo>
                      <a:lnTo>
                        <a:pt x="383" y="130"/>
                      </a:lnTo>
                      <a:lnTo>
                        <a:pt x="385" y="130"/>
                      </a:lnTo>
                      <a:lnTo>
                        <a:pt x="386" y="130"/>
                      </a:lnTo>
                      <a:lnTo>
                        <a:pt x="388" y="130"/>
                      </a:lnTo>
                      <a:lnTo>
                        <a:pt x="390" y="130"/>
                      </a:lnTo>
                      <a:lnTo>
                        <a:pt x="393" y="132"/>
                      </a:lnTo>
                      <a:lnTo>
                        <a:pt x="393" y="133"/>
                      </a:lnTo>
                      <a:lnTo>
                        <a:pt x="395" y="133"/>
                      </a:lnTo>
                      <a:lnTo>
                        <a:pt x="397" y="133"/>
                      </a:lnTo>
                      <a:lnTo>
                        <a:pt x="398" y="133"/>
                      </a:lnTo>
                      <a:lnTo>
                        <a:pt x="400" y="135"/>
                      </a:lnTo>
                      <a:lnTo>
                        <a:pt x="400" y="137"/>
                      </a:lnTo>
                      <a:lnTo>
                        <a:pt x="398" y="138"/>
                      </a:lnTo>
                      <a:lnTo>
                        <a:pt x="398" y="140"/>
                      </a:lnTo>
                      <a:lnTo>
                        <a:pt x="400" y="140"/>
                      </a:lnTo>
                      <a:lnTo>
                        <a:pt x="402" y="142"/>
                      </a:lnTo>
                      <a:lnTo>
                        <a:pt x="403" y="142"/>
                      </a:lnTo>
                      <a:lnTo>
                        <a:pt x="405" y="142"/>
                      </a:lnTo>
                      <a:lnTo>
                        <a:pt x="408" y="142"/>
                      </a:lnTo>
                      <a:lnTo>
                        <a:pt x="408" y="143"/>
                      </a:lnTo>
                      <a:lnTo>
                        <a:pt x="410" y="145"/>
                      </a:lnTo>
                      <a:lnTo>
                        <a:pt x="412" y="145"/>
                      </a:lnTo>
                      <a:lnTo>
                        <a:pt x="413" y="145"/>
                      </a:lnTo>
                      <a:lnTo>
                        <a:pt x="415" y="145"/>
                      </a:lnTo>
                      <a:lnTo>
                        <a:pt x="417" y="145"/>
                      </a:lnTo>
                      <a:lnTo>
                        <a:pt x="419" y="145"/>
                      </a:lnTo>
                      <a:lnTo>
                        <a:pt x="420" y="147"/>
                      </a:lnTo>
                      <a:lnTo>
                        <a:pt x="422" y="147"/>
                      </a:lnTo>
                      <a:lnTo>
                        <a:pt x="424" y="150"/>
                      </a:lnTo>
                      <a:lnTo>
                        <a:pt x="425" y="151"/>
                      </a:lnTo>
                      <a:lnTo>
                        <a:pt x="425" y="153"/>
                      </a:lnTo>
                      <a:lnTo>
                        <a:pt x="429" y="153"/>
                      </a:lnTo>
                      <a:lnTo>
                        <a:pt x="429" y="155"/>
                      </a:lnTo>
                      <a:lnTo>
                        <a:pt x="430" y="155"/>
                      </a:lnTo>
                      <a:lnTo>
                        <a:pt x="430" y="156"/>
                      </a:lnTo>
                      <a:lnTo>
                        <a:pt x="432" y="158"/>
                      </a:lnTo>
                      <a:lnTo>
                        <a:pt x="432" y="160"/>
                      </a:lnTo>
                      <a:lnTo>
                        <a:pt x="434" y="161"/>
                      </a:lnTo>
                      <a:lnTo>
                        <a:pt x="435" y="161"/>
                      </a:lnTo>
                      <a:lnTo>
                        <a:pt x="435" y="163"/>
                      </a:lnTo>
                      <a:lnTo>
                        <a:pt x="434" y="163"/>
                      </a:lnTo>
                      <a:lnTo>
                        <a:pt x="434" y="165"/>
                      </a:lnTo>
                      <a:lnTo>
                        <a:pt x="432" y="166"/>
                      </a:lnTo>
                      <a:lnTo>
                        <a:pt x="434" y="166"/>
                      </a:lnTo>
                      <a:lnTo>
                        <a:pt x="434" y="168"/>
                      </a:lnTo>
                      <a:lnTo>
                        <a:pt x="432" y="170"/>
                      </a:lnTo>
                      <a:lnTo>
                        <a:pt x="434" y="170"/>
                      </a:lnTo>
                      <a:lnTo>
                        <a:pt x="434" y="171"/>
                      </a:lnTo>
                      <a:lnTo>
                        <a:pt x="435" y="171"/>
                      </a:lnTo>
                      <a:lnTo>
                        <a:pt x="435" y="173"/>
                      </a:lnTo>
                      <a:lnTo>
                        <a:pt x="437" y="173"/>
                      </a:lnTo>
                      <a:lnTo>
                        <a:pt x="439" y="174"/>
                      </a:lnTo>
                      <a:lnTo>
                        <a:pt x="440" y="174"/>
                      </a:lnTo>
                      <a:lnTo>
                        <a:pt x="442" y="173"/>
                      </a:lnTo>
                      <a:lnTo>
                        <a:pt x="444" y="173"/>
                      </a:lnTo>
                      <a:lnTo>
                        <a:pt x="444" y="174"/>
                      </a:lnTo>
                      <a:lnTo>
                        <a:pt x="446" y="174"/>
                      </a:lnTo>
                      <a:lnTo>
                        <a:pt x="447" y="174"/>
                      </a:lnTo>
                      <a:lnTo>
                        <a:pt x="449" y="174"/>
                      </a:lnTo>
                      <a:lnTo>
                        <a:pt x="451" y="174"/>
                      </a:lnTo>
                      <a:lnTo>
                        <a:pt x="452" y="174"/>
                      </a:lnTo>
                      <a:lnTo>
                        <a:pt x="454" y="174"/>
                      </a:lnTo>
                      <a:lnTo>
                        <a:pt x="456" y="176"/>
                      </a:lnTo>
                      <a:lnTo>
                        <a:pt x="457" y="178"/>
                      </a:lnTo>
                      <a:lnTo>
                        <a:pt x="457" y="179"/>
                      </a:lnTo>
                      <a:lnTo>
                        <a:pt x="459" y="179"/>
                      </a:lnTo>
                      <a:lnTo>
                        <a:pt x="459" y="183"/>
                      </a:lnTo>
                      <a:lnTo>
                        <a:pt x="459" y="184"/>
                      </a:lnTo>
                      <a:lnTo>
                        <a:pt x="459" y="186"/>
                      </a:lnTo>
                      <a:lnTo>
                        <a:pt x="459" y="188"/>
                      </a:lnTo>
                      <a:lnTo>
                        <a:pt x="461" y="188"/>
                      </a:lnTo>
                      <a:lnTo>
                        <a:pt x="461" y="189"/>
                      </a:lnTo>
                      <a:lnTo>
                        <a:pt x="461" y="191"/>
                      </a:lnTo>
                      <a:lnTo>
                        <a:pt x="462" y="191"/>
                      </a:lnTo>
                      <a:lnTo>
                        <a:pt x="462" y="189"/>
                      </a:lnTo>
                      <a:lnTo>
                        <a:pt x="464" y="189"/>
                      </a:lnTo>
                      <a:lnTo>
                        <a:pt x="466" y="188"/>
                      </a:lnTo>
                      <a:lnTo>
                        <a:pt x="467" y="188"/>
                      </a:lnTo>
                      <a:lnTo>
                        <a:pt x="469" y="188"/>
                      </a:lnTo>
                      <a:lnTo>
                        <a:pt x="469" y="186"/>
                      </a:lnTo>
                      <a:lnTo>
                        <a:pt x="518" y="191"/>
                      </a:lnTo>
                      <a:lnTo>
                        <a:pt x="626" y="199"/>
                      </a:lnTo>
                      <a:lnTo>
                        <a:pt x="665" y="202"/>
                      </a:lnTo>
                      <a:lnTo>
                        <a:pt x="712" y="206"/>
                      </a:lnTo>
                      <a:lnTo>
                        <a:pt x="761" y="209"/>
                      </a:lnTo>
                      <a:lnTo>
                        <a:pt x="805" y="212"/>
                      </a:lnTo>
                      <a:lnTo>
                        <a:pt x="854" y="216"/>
                      </a:lnTo>
                      <a:lnTo>
                        <a:pt x="888" y="219"/>
                      </a:lnTo>
                      <a:lnTo>
                        <a:pt x="913" y="220"/>
                      </a:lnTo>
                      <a:lnTo>
                        <a:pt x="979" y="224"/>
                      </a:lnTo>
                      <a:lnTo>
                        <a:pt x="1021" y="227"/>
                      </a:lnTo>
                      <a:lnTo>
                        <a:pt x="1055" y="229"/>
                      </a:lnTo>
                      <a:lnTo>
                        <a:pt x="1081" y="230"/>
                      </a:lnTo>
                      <a:lnTo>
                        <a:pt x="1081" y="232"/>
                      </a:lnTo>
                      <a:lnTo>
                        <a:pt x="1079" y="232"/>
                      </a:lnTo>
                      <a:lnTo>
                        <a:pt x="1079" y="234"/>
                      </a:lnTo>
                      <a:lnTo>
                        <a:pt x="1077" y="235"/>
                      </a:lnTo>
                      <a:lnTo>
                        <a:pt x="1077" y="237"/>
                      </a:lnTo>
                      <a:lnTo>
                        <a:pt x="1077" y="239"/>
                      </a:lnTo>
                      <a:lnTo>
                        <a:pt x="1077" y="240"/>
                      </a:lnTo>
                      <a:lnTo>
                        <a:pt x="1076" y="240"/>
                      </a:lnTo>
                      <a:lnTo>
                        <a:pt x="1076" y="242"/>
                      </a:lnTo>
                      <a:lnTo>
                        <a:pt x="1076" y="243"/>
                      </a:lnTo>
                      <a:lnTo>
                        <a:pt x="1074" y="243"/>
                      </a:lnTo>
                      <a:lnTo>
                        <a:pt x="1074" y="245"/>
                      </a:lnTo>
                      <a:lnTo>
                        <a:pt x="1074" y="247"/>
                      </a:lnTo>
                      <a:lnTo>
                        <a:pt x="1074" y="248"/>
                      </a:lnTo>
                      <a:lnTo>
                        <a:pt x="1072" y="250"/>
                      </a:lnTo>
                      <a:lnTo>
                        <a:pt x="1070" y="250"/>
                      </a:lnTo>
                      <a:lnTo>
                        <a:pt x="1069" y="252"/>
                      </a:lnTo>
                      <a:lnTo>
                        <a:pt x="1069" y="253"/>
                      </a:lnTo>
                      <a:lnTo>
                        <a:pt x="1067" y="255"/>
                      </a:lnTo>
                      <a:lnTo>
                        <a:pt x="1065" y="257"/>
                      </a:lnTo>
                      <a:lnTo>
                        <a:pt x="1064" y="260"/>
                      </a:lnTo>
                      <a:lnTo>
                        <a:pt x="1065" y="262"/>
                      </a:lnTo>
                      <a:lnTo>
                        <a:pt x="1065" y="265"/>
                      </a:lnTo>
                      <a:lnTo>
                        <a:pt x="1065" y="266"/>
                      </a:lnTo>
                      <a:lnTo>
                        <a:pt x="1065" y="268"/>
                      </a:lnTo>
                      <a:lnTo>
                        <a:pt x="1064" y="268"/>
                      </a:lnTo>
                      <a:lnTo>
                        <a:pt x="1064" y="270"/>
                      </a:lnTo>
                      <a:lnTo>
                        <a:pt x="1064" y="271"/>
                      </a:lnTo>
                      <a:lnTo>
                        <a:pt x="1064" y="273"/>
                      </a:lnTo>
                      <a:lnTo>
                        <a:pt x="1062" y="276"/>
                      </a:lnTo>
                      <a:lnTo>
                        <a:pt x="1062" y="278"/>
                      </a:lnTo>
                      <a:lnTo>
                        <a:pt x="1060" y="280"/>
                      </a:lnTo>
                      <a:lnTo>
                        <a:pt x="1060" y="281"/>
                      </a:lnTo>
                      <a:lnTo>
                        <a:pt x="1059" y="281"/>
                      </a:lnTo>
                      <a:lnTo>
                        <a:pt x="1057" y="283"/>
                      </a:lnTo>
                      <a:lnTo>
                        <a:pt x="1057" y="285"/>
                      </a:lnTo>
                      <a:lnTo>
                        <a:pt x="1055" y="288"/>
                      </a:lnTo>
                      <a:lnTo>
                        <a:pt x="1055" y="289"/>
                      </a:lnTo>
                      <a:lnTo>
                        <a:pt x="1057" y="289"/>
                      </a:lnTo>
                      <a:lnTo>
                        <a:pt x="1055" y="291"/>
                      </a:lnTo>
                      <a:lnTo>
                        <a:pt x="1054" y="291"/>
                      </a:lnTo>
                      <a:lnTo>
                        <a:pt x="1054" y="293"/>
                      </a:lnTo>
                      <a:lnTo>
                        <a:pt x="1052" y="294"/>
                      </a:lnTo>
                      <a:lnTo>
                        <a:pt x="1054" y="296"/>
                      </a:lnTo>
                      <a:lnTo>
                        <a:pt x="1054" y="298"/>
                      </a:lnTo>
                      <a:lnTo>
                        <a:pt x="1052" y="298"/>
                      </a:lnTo>
                      <a:lnTo>
                        <a:pt x="1052" y="299"/>
                      </a:lnTo>
                      <a:lnTo>
                        <a:pt x="1052" y="301"/>
                      </a:lnTo>
                      <a:lnTo>
                        <a:pt x="1050" y="301"/>
                      </a:lnTo>
                      <a:lnTo>
                        <a:pt x="1048" y="301"/>
                      </a:lnTo>
                      <a:lnTo>
                        <a:pt x="1048" y="303"/>
                      </a:lnTo>
                      <a:lnTo>
                        <a:pt x="1047" y="303"/>
                      </a:lnTo>
                      <a:lnTo>
                        <a:pt x="1047" y="304"/>
                      </a:lnTo>
                      <a:lnTo>
                        <a:pt x="1045" y="306"/>
                      </a:lnTo>
                      <a:lnTo>
                        <a:pt x="1045" y="307"/>
                      </a:lnTo>
                      <a:lnTo>
                        <a:pt x="1047" y="307"/>
                      </a:lnTo>
                      <a:lnTo>
                        <a:pt x="1047" y="309"/>
                      </a:lnTo>
                      <a:lnTo>
                        <a:pt x="1047" y="311"/>
                      </a:lnTo>
                      <a:lnTo>
                        <a:pt x="1047" y="312"/>
                      </a:lnTo>
                      <a:lnTo>
                        <a:pt x="1048" y="314"/>
                      </a:lnTo>
                      <a:lnTo>
                        <a:pt x="1048" y="316"/>
                      </a:lnTo>
                      <a:lnTo>
                        <a:pt x="1047" y="316"/>
                      </a:lnTo>
                      <a:lnTo>
                        <a:pt x="1047" y="317"/>
                      </a:lnTo>
                      <a:lnTo>
                        <a:pt x="1047" y="319"/>
                      </a:lnTo>
                      <a:lnTo>
                        <a:pt x="1045" y="319"/>
                      </a:lnTo>
                      <a:lnTo>
                        <a:pt x="1043" y="319"/>
                      </a:lnTo>
                      <a:lnTo>
                        <a:pt x="1043" y="321"/>
                      </a:lnTo>
                      <a:lnTo>
                        <a:pt x="1043" y="322"/>
                      </a:lnTo>
                      <a:lnTo>
                        <a:pt x="1043" y="324"/>
                      </a:lnTo>
                      <a:lnTo>
                        <a:pt x="1043" y="326"/>
                      </a:lnTo>
                      <a:lnTo>
                        <a:pt x="1045" y="326"/>
                      </a:lnTo>
                      <a:lnTo>
                        <a:pt x="1045" y="327"/>
                      </a:lnTo>
                      <a:lnTo>
                        <a:pt x="1045" y="329"/>
                      </a:lnTo>
                      <a:lnTo>
                        <a:pt x="1043" y="329"/>
                      </a:lnTo>
                      <a:lnTo>
                        <a:pt x="1042" y="330"/>
                      </a:lnTo>
                      <a:lnTo>
                        <a:pt x="1042" y="332"/>
                      </a:lnTo>
                      <a:lnTo>
                        <a:pt x="1043" y="332"/>
                      </a:lnTo>
                      <a:lnTo>
                        <a:pt x="1043" y="334"/>
                      </a:lnTo>
                      <a:lnTo>
                        <a:pt x="1043" y="335"/>
                      </a:lnTo>
                      <a:lnTo>
                        <a:pt x="1043" y="337"/>
                      </a:lnTo>
                      <a:lnTo>
                        <a:pt x="1043" y="339"/>
                      </a:lnTo>
                      <a:lnTo>
                        <a:pt x="1043" y="340"/>
                      </a:lnTo>
                      <a:lnTo>
                        <a:pt x="1043" y="342"/>
                      </a:lnTo>
                      <a:lnTo>
                        <a:pt x="1045" y="344"/>
                      </a:lnTo>
                      <a:lnTo>
                        <a:pt x="1043" y="344"/>
                      </a:lnTo>
                      <a:lnTo>
                        <a:pt x="1043" y="345"/>
                      </a:lnTo>
                      <a:lnTo>
                        <a:pt x="1042" y="345"/>
                      </a:lnTo>
                      <a:lnTo>
                        <a:pt x="1042" y="347"/>
                      </a:lnTo>
                      <a:lnTo>
                        <a:pt x="1042" y="349"/>
                      </a:lnTo>
                      <a:lnTo>
                        <a:pt x="1040" y="349"/>
                      </a:lnTo>
                      <a:lnTo>
                        <a:pt x="1040" y="350"/>
                      </a:lnTo>
                      <a:lnTo>
                        <a:pt x="1040" y="352"/>
                      </a:lnTo>
                      <a:lnTo>
                        <a:pt x="1038" y="352"/>
                      </a:lnTo>
                      <a:lnTo>
                        <a:pt x="1040" y="355"/>
                      </a:lnTo>
                      <a:lnTo>
                        <a:pt x="1040" y="357"/>
                      </a:lnTo>
                      <a:lnTo>
                        <a:pt x="1040" y="360"/>
                      </a:lnTo>
                      <a:lnTo>
                        <a:pt x="1038" y="362"/>
                      </a:lnTo>
                      <a:lnTo>
                        <a:pt x="1038" y="363"/>
                      </a:lnTo>
                      <a:lnTo>
                        <a:pt x="1038" y="365"/>
                      </a:lnTo>
                      <a:lnTo>
                        <a:pt x="1037" y="365"/>
                      </a:lnTo>
                      <a:lnTo>
                        <a:pt x="1037" y="367"/>
                      </a:lnTo>
                      <a:lnTo>
                        <a:pt x="1035" y="368"/>
                      </a:lnTo>
                      <a:lnTo>
                        <a:pt x="1035" y="370"/>
                      </a:lnTo>
                      <a:lnTo>
                        <a:pt x="1035" y="372"/>
                      </a:lnTo>
                      <a:lnTo>
                        <a:pt x="1033" y="373"/>
                      </a:lnTo>
                      <a:lnTo>
                        <a:pt x="1033" y="375"/>
                      </a:lnTo>
                      <a:lnTo>
                        <a:pt x="1033" y="376"/>
                      </a:lnTo>
                      <a:lnTo>
                        <a:pt x="1032" y="378"/>
                      </a:lnTo>
                      <a:lnTo>
                        <a:pt x="1032" y="380"/>
                      </a:lnTo>
                      <a:lnTo>
                        <a:pt x="1032" y="381"/>
                      </a:lnTo>
                      <a:lnTo>
                        <a:pt x="1032" y="383"/>
                      </a:lnTo>
                      <a:lnTo>
                        <a:pt x="1033" y="385"/>
                      </a:lnTo>
                      <a:lnTo>
                        <a:pt x="1032" y="386"/>
                      </a:lnTo>
                      <a:lnTo>
                        <a:pt x="1032" y="388"/>
                      </a:lnTo>
                      <a:lnTo>
                        <a:pt x="1033" y="388"/>
                      </a:lnTo>
                      <a:lnTo>
                        <a:pt x="1033" y="390"/>
                      </a:lnTo>
                      <a:lnTo>
                        <a:pt x="1035" y="391"/>
                      </a:lnTo>
                      <a:lnTo>
                        <a:pt x="1037" y="391"/>
                      </a:lnTo>
                      <a:lnTo>
                        <a:pt x="1038" y="391"/>
                      </a:lnTo>
                      <a:lnTo>
                        <a:pt x="1040" y="391"/>
                      </a:lnTo>
                      <a:lnTo>
                        <a:pt x="1040" y="393"/>
                      </a:lnTo>
                      <a:lnTo>
                        <a:pt x="1040" y="395"/>
                      </a:lnTo>
                      <a:lnTo>
                        <a:pt x="1038" y="395"/>
                      </a:lnTo>
                      <a:lnTo>
                        <a:pt x="1040" y="395"/>
                      </a:lnTo>
                      <a:lnTo>
                        <a:pt x="1040" y="396"/>
                      </a:lnTo>
                      <a:lnTo>
                        <a:pt x="1040" y="398"/>
                      </a:lnTo>
                      <a:lnTo>
                        <a:pt x="1040" y="399"/>
                      </a:lnTo>
                      <a:lnTo>
                        <a:pt x="1038" y="401"/>
                      </a:lnTo>
                      <a:lnTo>
                        <a:pt x="1037" y="401"/>
                      </a:lnTo>
                      <a:lnTo>
                        <a:pt x="1037" y="403"/>
                      </a:lnTo>
                      <a:lnTo>
                        <a:pt x="1035" y="403"/>
                      </a:lnTo>
                      <a:lnTo>
                        <a:pt x="1035" y="404"/>
                      </a:lnTo>
                      <a:lnTo>
                        <a:pt x="1033" y="404"/>
                      </a:lnTo>
                      <a:lnTo>
                        <a:pt x="1033" y="406"/>
                      </a:lnTo>
                      <a:lnTo>
                        <a:pt x="1035" y="406"/>
                      </a:lnTo>
                      <a:lnTo>
                        <a:pt x="1035" y="408"/>
                      </a:lnTo>
                      <a:lnTo>
                        <a:pt x="1035" y="411"/>
                      </a:lnTo>
                      <a:lnTo>
                        <a:pt x="1037" y="413"/>
                      </a:lnTo>
                      <a:lnTo>
                        <a:pt x="1037" y="414"/>
                      </a:lnTo>
                      <a:lnTo>
                        <a:pt x="1037" y="416"/>
                      </a:lnTo>
                      <a:lnTo>
                        <a:pt x="1037" y="418"/>
                      </a:lnTo>
                      <a:lnTo>
                        <a:pt x="1038" y="418"/>
                      </a:lnTo>
                      <a:lnTo>
                        <a:pt x="1040" y="418"/>
                      </a:lnTo>
                      <a:lnTo>
                        <a:pt x="1042" y="418"/>
                      </a:lnTo>
                      <a:lnTo>
                        <a:pt x="1042" y="419"/>
                      </a:lnTo>
                      <a:lnTo>
                        <a:pt x="1042" y="421"/>
                      </a:lnTo>
                      <a:lnTo>
                        <a:pt x="1040" y="421"/>
                      </a:lnTo>
                      <a:lnTo>
                        <a:pt x="1038" y="422"/>
                      </a:lnTo>
                      <a:lnTo>
                        <a:pt x="1040" y="424"/>
                      </a:lnTo>
                      <a:lnTo>
                        <a:pt x="1040" y="426"/>
                      </a:lnTo>
                      <a:lnTo>
                        <a:pt x="1040" y="427"/>
                      </a:lnTo>
                      <a:lnTo>
                        <a:pt x="1038" y="427"/>
                      </a:lnTo>
                      <a:lnTo>
                        <a:pt x="1038" y="429"/>
                      </a:lnTo>
                      <a:lnTo>
                        <a:pt x="1037" y="429"/>
                      </a:lnTo>
                      <a:lnTo>
                        <a:pt x="1037" y="431"/>
                      </a:lnTo>
                      <a:lnTo>
                        <a:pt x="1038" y="431"/>
                      </a:lnTo>
                      <a:lnTo>
                        <a:pt x="1038" y="432"/>
                      </a:lnTo>
                      <a:lnTo>
                        <a:pt x="1037" y="432"/>
                      </a:lnTo>
                      <a:lnTo>
                        <a:pt x="1037" y="434"/>
                      </a:lnTo>
                      <a:lnTo>
                        <a:pt x="1038" y="434"/>
                      </a:lnTo>
                      <a:lnTo>
                        <a:pt x="1038" y="436"/>
                      </a:lnTo>
                      <a:lnTo>
                        <a:pt x="1038" y="437"/>
                      </a:lnTo>
                      <a:lnTo>
                        <a:pt x="1038" y="439"/>
                      </a:lnTo>
                      <a:lnTo>
                        <a:pt x="1038" y="441"/>
                      </a:lnTo>
                      <a:lnTo>
                        <a:pt x="1038" y="442"/>
                      </a:lnTo>
                      <a:lnTo>
                        <a:pt x="1038" y="444"/>
                      </a:lnTo>
                      <a:lnTo>
                        <a:pt x="1038" y="445"/>
                      </a:lnTo>
                      <a:lnTo>
                        <a:pt x="1038" y="447"/>
                      </a:lnTo>
                      <a:lnTo>
                        <a:pt x="1037" y="449"/>
                      </a:lnTo>
                      <a:lnTo>
                        <a:pt x="1038" y="449"/>
                      </a:lnTo>
                      <a:lnTo>
                        <a:pt x="1038" y="450"/>
                      </a:lnTo>
                      <a:lnTo>
                        <a:pt x="1040" y="450"/>
                      </a:lnTo>
                      <a:lnTo>
                        <a:pt x="1042" y="450"/>
                      </a:lnTo>
                      <a:lnTo>
                        <a:pt x="1040" y="450"/>
                      </a:lnTo>
                      <a:lnTo>
                        <a:pt x="1040" y="452"/>
                      </a:lnTo>
                      <a:lnTo>
                        <a:pt x="1042" y="454"/>
                      </a:lnTo>
                      <a:lnTo>
                        <a:pt x="1042" y="455"/>
                      </a:lnTo>
                      <a:lnTo>
                        <a:pt x="1042" y="457"/>
                      </a:lnTo>
                      <a:lnTo>
                        <a:pt x="1040" y="457"/>
                      </a:lnTo>
                      <a:lnTo>
                        <a:pt x="1042" y="457"/>
                      </a:lnTo>
                      <a:lnTo>
                        <a:pt x="1042" y="459"/>
                      </a:lnTo>
                      <a:lnTo>
                        <a:pt x="1042" y="460"/>
                      </a:lnTo>
                      <a:lnTo>
                        <a:pt x="1042" y="462"/>
                      </a:lnTo>
                      <a:lnTo>
                        <a:pt x="1042" y="464"/>
                      </a:lnTo>
                      <a:lnTo>
                        <a:pt x="1043" y="465"/>
                      </a:lnTo>
                      <a:lnTo>
                        <a:pt x="1043" y="467"/>
                      </a:lnTo>
                      <a:lnTo>
                        <a:pt x="1042" y="467"/>
                      </a:lnTo>
                      <a:lnTo>
                        <a:pt x="1042" y="468"/>
                      </a:lnTo>
                      <a:lnTo>
                        <a:pt x="1043" y="468"/>
                      </a:lnTo>
                      <a:lnTo>
                        <a:pt x="1043" y="470"/>
                      </a:lnTo>
                      <a:lnTo>
                        <a:pt x="1043" y="472"/>
                      </a:lnTo>
                      <a:lnTo>
                        <a:pt x="1042" y="472"/>
                      </a:lnTo>
                      <a:lnTo>
                        <a:pt x="1040" y="472"/>
                      </a:lnTo>
                      <a:lnTo>
                        <a:pt x="1042" y="473"/>
                      </a:lnTo>
                      <a:lnTo>
                        <a:pt x="1040" y="475"/>
                      </a:lnTo>
                      <a:lnTo>
                        <a:pt x="1040" y="477"/>
                      </a:lnTo>
                      <a:lnTo>
                        <a:pt x="1040" y="478"/>
                      </a:lnTo>
                      <a:lnTo>
                        <a:pt x="1038" y="480"/>
                      </a:lnTo>
                      <a:lnTo>
                        <a:pt x="1037" y="482"/>
                      </a:lnTo>
                      <a:lnTo>
                        <a:pt x="1038" y="483"/>
                      </a:lnTo>
                      <a:lnTo>
                        <a:pt x="1038" y="485"/>
                      </a:lnTo>
                      <a:lnTo>
                        <a:pt x="1037" y="485"/>
                      </a:lnTo>
                      <a:lnTo>
                        <a:pt x="1035" y="485"/>
                      </a:lnTo>
                      <a:lnTo>
                        <a:pt x="1035" y="487"/>
                      </a:lnTo>
                      <a:lnTo>
                        <a:pt x="1035" y="488"/>
                      </a:lnTo>
                      <a:lnTo>
                        <a:pt x="1037" y="490"/>
                      </a:lnTo>
                      <a:lnTo>
                        <a:pt x="1038" y="490"/>
                      </a:lnTo>
                      <a:lnTo>
                        <a:pt x="1040" y="490"/>
                      </a:lnTo>
                      <a:lnTo>
                        <a:pt x="1042" y="490"/>
                      </a:lnTo>
                      <a:lnTo>
                        <a:pt x="1042" y="491"/>
                      </a:lnTo>
                      <a:lnTo>
                        <a:pt x="1040" y="491"/>
                      </a:lnTo>
                      <a:lnTo>
                        <a:pt x="1040" y="493"/>
                      </a:lnTo>
                      <a:lnTo>
                        <a:pt x="1042" y="495"/>
                      </a:lnTo>
                      <a:lnTo>
                        <a:pt x="1042" y="496"/>
                      </a:lnTo>
                      <a:lnTo>
                        <a:pt x="1043" y="496"/>
                      </a:lnTo>
                      <a:lnTo>
                        <a:pt x="1043" y="498"/>
                      </a:lnTo>
                      <a:lnTo>
                        <a:pt x="1043" y="500"/>
                      </a:lnTo>
                      <a:lnTo>
                        <a:pt x="1042" y="500"/>
                      </a:lnTo>
                      <a:lnTo>
                        <a:pt x="1042" y="501"/>
                      </a:lnTo>
                      <a:lnTo>
                        <a:pt x="1043" y="501"/>
                      </a:lnTo>
                      <a:lnTo>
                        <a:pt x="1043" y="503"/>
                      </a:lnTo>
                      <a:lnTo>
                        <a:pt x="1043" y="505"/>
                      </a:lnTo>
                      <a:lnTo>
                        <a:pt x="1045" y="505"/>
                      </a:lnTo>
                      <a:lnTo>
                        <a:pt x="1045" y="503"/>
                      </a:lnTo>
                      <a:lnTo>
                        <a:pt x="1047" y="503"/>
                      </a:lnTo>
                      <a:lnTo>
                        <a:pt x="1047" y="505"/>
                      </a:lnTo>
                      <a:lnTo>
                        <a:pt x="1045" y="505"/>
                      </a:lnTo>
                      <a:lnTo>
                        <a:pt x="1045" y="506"/>
                      </a:lnTo>
                      <a:lnTo>
                        <a:pt x="1047" y="506"/>
                      </a:lnTo>
                      <a:lnTo>
                        <a:pt x="1048" y="508"/>
                      </a:lnTo>
                      <a:lnTo>
                        <a:pt x="1050" y="508"/>
                      </a:lnTo>
                      <a:lnTo>
                        <a:pt x="1052" y="508"/>
                      </a:lnTo>
                      <a:lnTo>
                        <a:pt x="1054" y="506"/>
                      </a:lnTo>
                      <a:lnTo>
                        <a:pt x="1054" y="508"/>
                      </a:lnTo>
                      <a:lnTo>
                        <a:pt x="1054" y="509"/>
                      </a:lnTo>
                      <a:lnTo>
                        <a:pt x="1055" y="509"/>
                      </a:lnTo>
                      <a:lnTo>
                        <a:pt x="1055" y="511"/>
                      </a:lnTo>
                      <a:lnTo>
                        <a:pt x="1054" y="511"/>
                      </a:lnTo>
                      <a:lnTo>
                        <a:pt x="1054" y="513"/>
                      </a:lnTo>
                      <a:lnTo>
                        <a:pt x="1054" y="514"/>
                      </a:lnTo>
                      <a:lnTo>
                        <a:pt x="1052" y="516"/>
                      </a:lnTo>
                      <a:lnTo>
                        <a:pt x="1052" y="519"/>
                      </a:lnTo>
                      <a:lnTo>
                        <a:pt x="1050" y="519"/>
                      </a:lnTo>
                      <a:lnTo>
                        <a:pt x="1050" y="521"/>
                      </a:lnTo>
                      <a:lnTo>
                        <a:pt x="1050" y="523"/>
                      </a:lnTo>
                      <a:lnTo>
                        <a:pt x="1048" y="523"/>
                      </a:lnTo>
                      <a:lnTo>
                        <a:pt x="1048" y="521"/>
                      </a:lnTo>
                      <a:lnTo>
                        <a:pt x="1047" y="521"/>
                      </a:lnTo>
                      <a:lnTo>
                        <a:pt x="1047" y="523"/>
                      </a:lnTo>
                      <a:lnTo>
                        <a:pt x="1047" y="524"/>
                      </a:lnTo>
                      <a:lnTo>
                        <a:pt x="1048" y="524"/>
                      </a:lnTo>
                      <a:lnTo>
                        <a:pt x="1048" y="526"/>
                      </a:lnTo>
                      <a:lnTo>
                        <a:pt x="1047" y="526"/>
                      </a:lnTo>
                      <a:lnTo>
                        <a:pt x="1045" y="526"/>
                      </a:lnTo>
                      <a:lnTo>
                        <a:pt x="1045" y="528"/>
                      </a:lnTo>
                      <a:lnTo>
                        <a:pt x="1043" y="528"/>
                      </a:lnTo>
                      <a:lnTo>
                        <a:pt x="1045" y="528"/>
                      </a:lnTo>
                      <a:lnTo>
                        <a:pt x="1045" y="529"/>
                      </a:lnTo>
                      <a:lnTo>
                        <a:pt x="1045" y="531"/>
                      </a:lnTo>
                      <a:lnTo>
                        <a:pt x="1047" y="532"/>
                      </a:lnTo>
                      <a:lnTo>
                        <a:pt x="1045" y="534"/>
                      </a:lnTo>
                      <a:lnTo>
                        <a:pt x="1045" y="536"/>
                      </a:lnTo>
                      <a:lnTo>
                        <a:pt x="1045" y="537"/>
                      </a:lnTo>
                      <a:lnTo>
                        <a:pt x="1045" y="539"/>
                      </a:lnTo>
                      <a:lnTo>
                        <a:pt x="1045" y="541"/>
                      </a:lnTo>
                      <a:lnTo>
                        <a:pt x="1047" y="541"/>
                      </a:lnTo>
                      <a:lnTo>
                        <a:pt x="1047" y="542"/>
                      </a:lnTo>
                      <a:lnTo>
                        <a:pt x="1047" y="544"/>
                      </a:lnTo>
                      <a:lnTo>
                        <a:pt x="1047" y="546"/>
                      </a:lnTo>
                      <a:lnTo>
                        <a:pt x="1045" y="546"/>
                      </a:lnTo>
                      <a:lnTo>
                        <a:pt x="1045" y="547"/>
                      </a:lnTo>
                      <a:lnTo>
                        <a:pt x="1045" y="549"/>
                      </a:lnTo>
                      <a:lnTo>
                        <a:pt x="1045" y="551"/>
                      </a:lnTo>
                      <a:lnTo>
                        <a:pt x="1043" y="551"/>
                      </a:lnTo>
                      <a:lnTo>
                        <a:pt x="1043" y="552"/>
                      </a:lnTo>
                      <a:lnTo>
                        <a:pt x="1042" y="554"/>
                      </a:lnTo>
                      <a:lnTo>
                        <a:pt x="1040" y="555"/>
                      </a:lnTo>
                      <a:lnTo>
                        <a:pt x="1038" y="557"/>
                      </a:lnTo>
                      <a:lnTo>
                        <a:pt x="1038" y="559"/>
                      </a:lnTo>
                      <a:lnTo>
                        <a:pt x="1040" y="560"/>
                      </a:lnTo>
                      <a:lnTo>
                        <a:pt x="1040" y="562"/>
                      </a:lnTo>
                      <a:lnTo>
                        <a:pt x="1038" y="562"/>
                      </a:lnTo>
                      <a:lnTo>
                        <a:pt x="1037" y="562"/>
                      </a:lnTo>
                      <a:lnTo>
                        <a:pt x="1037" y="564"/>
                      </a:lnTo>
                      <a:lnTo>
                        <a:pt x="1037" y="565"/>
                      </a:lnTo>
                      <a:lnTo>
                        <a:pt x="1035" y="565"/>
                      </a:lnTo>
                      <a:lnTo>
                        <a:pt x="1035" y="567"/>
                      </a:lnTo>
                      <a:lnTo>
                        <a:pt x="1033" y="567"/>
                      </a:lnTo>
                      <a:lnTo>
                        <a:pt x="1033" y="569"/>
                      </a:lnTo>
                      <a:lnTo>
                        <a:pt x="1032" y="569"/>
                      </a:lnTo>
                      <a:lnTo>
                        <a:pt x="1030" y="570"/>
                      </a:lnTo>
                      <a:lnTo>
                        <a:pt x="1030" y="572"/>
                      </a:lnTo>
                      <a:lnTo>
                        <a:pt x="1030" y="574"/>
                      </a:lnTo>
                      <a:lnTo>
                        <a:pt x="1030" y="575"/>
                      </a:lnTo>
                      <a:lnTo>
                        <a:pt x="1030" y="577"/>
                      </a:lnTo>
                      <a:lnTo>
                        <a:pt x="1028" y="578"/>
                      </a:lnTo>
                      <a:lnTo>
                        <a:pt x="1028" y="582"/>
                      </a:lnTo>
                      <a:lnTo>
                        <a:pt x="1027" y="583"/>
                      </a:lnTo>
                      <a:lnTo>
                        <a:pt x="1027" y="585"/>
                      </a:lnTo>
                      <a:lnTo>
                        <a:pt x="1025" y="587"/>
                      </a:lnTo>
                      <a:lnTo>
                        <a:pt x="1023" y="587"/>
                      </a:lnTo>
                      <a:lnTo>
                        <a:pt x="1021" y="588"/>
                      </a:lnTo>
                      <a:lnTo>
                        <a:pt x="1020" y="588"/>
                      </a:lnTo>
                      <a:lnTo>
                        <a:pt x="1020" y="590"/>
                      </a:lnTo>
                      <a:lnTo>
                        <a:pt x="1020" y="592"/>
                      </a:lnTo>
                      <a:lnTo>
                        <a:pt x="1021" y="592"/>
                      </a:lnTo>
                      <a:lnTo>
                        <a:pt x="1021" y="593"/>
                      </a:lnTo>
                      <a:lnTo>
                        <a:pt x="1021" y="595"/>
                      </a:lnTo>
                      <a:lnTo>
                        <a:pt x="1021" y="597"/>
                      </a:lnTo>
                      <a:lnTo>
                        <a:pt x="1021" y="598"/>
                      </a:lnTo>
                      <a:lnTo>
                        <a:pt x="1021" y="600"/>
                      </a:lnTo>
                      <a:lnTo>
                        <a:pt x="1023" y="601"/>
                      </a:lnTo>
                      <a:lnTo>
                        <a:pt x="1023" y="603"/>
                      </a:lnTo>
                      <a:lnTo>
                        <a:pt x="1021" y="605"/>
                      </a:lnTo>
                      <a:lnTo>
                        <a:pt x="1023" y="606"/>
                      </a:lnTo>
                      <a:lnTo>
                        <a:pt x="1021" y="608"/>
                      </a:lnTo>
                      <a:lnTo>
                        <a:pt x="1021" y="610"/>
                      </a:lnTo>
                      <a:lnTo>
                        <a:pt x="1020" y="610"/>
                      </a:lnTo>
                      <a:lnTo>
                        <a:pt x="1020" y="611"/>
                      </a:lnTo>
                      <a:lnTo>
                        <a:pt x="1020" y="613"/>
                      </a:lnTo>
                      <a:lnTo>
                        <a:pt x="1021" y="613"/>
                      </a:lnTo>
                      <a:lnTo>
                        <a:pt x="1021" y="615"/>
                      </a:lnTo>
                      <a:lnTo>
                        <a:pt x="1021" y="616"/>
                      </a:lnTo>
                      <a:lnTo>
                        <a:pt x="1021" y="618"/>
                      </a:lnTo>
                      <a:lnTo>
                        <a:pt x="1023" y="620"/>
                      </a:lnTo>
                      <a:lnTo>
                        <a:pt x="1023" y="621"/>
                      </a:lnTo>
                      <a:lnTo>
                        <a:pt x="1023" y="623"/>
                      </a:lnTo>
                      <a:lnTo>
                        <a:pt x="1021" y="624"/>
                      </a:lnTo>
                      <a:lnTo>
                        <a:pt x="1020" y="626"/>
                      </a:lnTo>
                      <a:lnTo>
                        <a:pt x="1018" y="626"/>
                      </a:lnTo>
                      <a:lnTo>
                        <a:pt x="1016" y="624"/>
                      </a:lnTo>
                      <a:lnTo>
                        <a:pt x="1015" y="624"/>
                      </a:lnTo>
                      <a:lnTo>
                        <a:pt x="1015" y="626"/>
                      </a:lnTo>
                      <a:lnTo>
                        <a:pt x="1016" y="628"/>
                      </a:lnTo>
                      <a:lnTo>
                        <a:pt x="1016" y="629"/>
                      </a:lnTo>
                      <a:lnTo>
                        <a:pt x="1015" y="629"/>
                      </a:lnTo>
                      <a:lnTo>
                        <a:pt x="1015" y="631"/>
                      </a:lnTo>
                      <a:lnTo>
                        <a:pt x="1013" y="631"/>
                      </a:lnTo>
                      <a:lnTo>
                        <a:pt x="1015" y="633"/>
                      </a:lnTo>
                      <a:lnTo>
                        <a:pt x="1013" y="633"/>
                      </a:lnTo>
                      <a:lnTo>
                        <a:pt x="1013" y="634"/>
                      </a:lnTo>
                      <a:lnTo>
                        <a:pt x="1011" y="636"/>
                      </a:lnTo>
                      <a:lnTo>
                        <a:pt x="1011" y="638"/>
                      </a:lnTo>
                      <a:lnTo>
                        <a:pt x="1010" y="639"/>
                      </a:lnTo>
                      <a:lnTo>
                        <a:pt x="1010" y="641"/>
                      </a:lnTo>
                      <a:lnTo>
                        <a:pt x="1010" y="643"/>
                      </a:lnTo>
                      <a:lnTo>
                        <a:pt x="1010" y="644"/>
                      </a:lnTo>
                      <a:lnTo>
                        <a:pt x="1010" y="646"/>
                      </a:lnTo>
                      <a:lnTo>
                        <a:pt x="1010" y="647"/>
                      </a:lnTo>
                      <a:lnTo>
                        <a:pt x="1008" y="647"/>
                      </a:lnTo>
                      <a:lnTo>
                        <a:pt x="1008" y="649"/>
                      </a:lnTo>
                      <a:lnTo>
                        <a:pt x="1008" y="651"/>
                      </a:lnTo>
                      <a:lnTo>
                        <a:pt x="1008" y="652"/>
                      </a:lnTo>
                      <a:lnTo>
                        <a:pt x="1008" y="654"/>
                      </a:lnTo>
                      <a:lnTo>
                        <a:pt x="1008" y="656"/>
                      </a:lnTo>
                      <a:lnTo>
                        <a:pt x="1010" y="656"/>
                      </a:lnTo>
                      <a:lnTo>
                        <a:pt x="1010" y="657"/>
                      </a:lnTo>
                      <a:lnTo>
                        <a:pt x="1010" y="659"/>
                      </a:lnTo>
                      <a:lnTo>
                        <a:pt x="1010" y="661"/>
                      </a:lnTo>
                      <a:lnTo>
                        <a:pt x="1011" y="662"/>
                      </a:lnTo>
                      <a:lnTo>
                        <a:pt x="1010" y="664"/>
                      </a:lnTo>
                      <a:lnTo>
                        <a:pt x="1008" y="666"/>
                      </a:lnTo>
                      <a:lnTo>
                        <a:pt x="1008" y="667"/>
                      </a:lnTo>
                      <a:lnTo>
                        <a:pt x="1008" y="669"/>
                      </a:lnTo>
                      <a:lnTo>
                        <a:pt x="1008" y="670"/>
                      </a:lnTo>
                      <a:lnTo>
                        <a:pt x="1008" y="672"/>
                      </a:lnTo>
                      <a:lnTo>
                        <a:pt x="1006" y="672"/>
                      </a:lnTo>
                      <a:lnTo>
                        <a:pt x="1006" y="674"/>
                      </a:lnTo>
                      <a:lnTo>
                        <a:pt x="1006" y="675"/>
                      </a:lnTo>
                      <a:lnTo>
                        <a:pt x="1005" y="675"/>
                      </a:lnTo>
                      <a:lnTo>
                        <a:pt x="1005" y="677"/>
                      </a:lnTo>
                      <a:lnTo>
                        <a:pt x="1005" y="679"/>
                      </a:lnTo>
                      <a:lnTo>
                        <a:pt x="1005" y="680"/>
                      </a:lnTo>
                      <a:lnTo>
                        <a:pt x="1003" y="680"/>
                      </a:lnTo>
                      <a:lnTo>
                        <a:pt x="1003" y="682"/>
                      </a:lnTo>
                      <a:lnTo>
                        <a:pt x="1003" y="684"/>
                      </a:lnTo>
                      <a:lnTo>
                        <a:pt x="1003" y="685"/>
                      </a:lnTo>
                      <a:lnTo>
                        <a:pt x="1003" y="687"/>
                      </a:lnTo>
                      <a:lnTo>
                        <a:pt x="1001" y="689"/>
                      </a:lnTo>
                      <a:lnTo>
                        <a:pt x="1000" y="690"/>
                      </a:lnTo>
                      <a:lnTo>
                        <a:pt x="1000" y="692"/>
                      </a:lnTo>
                      <a:lnTo>
                        <a:pt x="1000" y="693"/>
                      </a:lnTo>
                      <a:lnTo>
                        <a:pt x="1000" y="695"/>
                      </a:lnTo>
                      <a:lnTo>
                        <a:pt x="1000" y="697"/>
                      </a:lnTo>
                      <a:lnTo>
                        <a:pt x="1000" y="698"/>
                      </a:lnTo>
                      <a:lnTo>
                        <a:pt x="998" y="698"/>
                      </a:lnTo>
                      <a:lnTo>
                        <a:pt x="998" y="700"/>
                      </a:lnTo>
                      <a:lnTo>
                        <a:pt x="996" y="700"/>
                      </a:lnTo>
                      <a:lnTo>
                        <a:pt x="994" y="700"/>
                      </a:lnTo>
                      <a:lnTo>
                        <a:pt x="993" y="702"/>
                      </a:lnTo>
                      <a:lnTo>
                        <a:pt x="993" y="703"/>
                      </a:lnTo>
                      <a:lnTo>
                        <a:pt x="993" y="705"/>
                      </a:lnTo>
                      <a:lnTo>
                        <a:pt x="991" y="705"/>
                      </a:lnTo>
                      <a:lnTo>
                        <a:pt x="989" y="707"/>
                      </a:lnTo>
                      <a:lnTo>
                        <a:pt x="988" y="707"/>
                      </a:lnTo>
                      <a:lnTo>
                        <a:pt x="986" y="708"/>
                      </a:lnTo>
                      <a:lnTo>
                        <a:pt x="984" y="710"/>
                      </a:lnTo>
                      <a:lnTo>
                        <a:pt x="981" y="710"/>
                      </a:lnTo>
                      <a:lnTo>
                        <a:pt x="979" y="710"/>
                      </a:lnTo>
                      <a:lnTo>
                        <a:pt x="979" y="708"/>
                      </a:lnTo>
                      <a:lnTo>
                        <a:pt x="979" y="707"/>
                      </a:lnTo>
                      <a:lnTo>
                        <a:pt x="979" y="705"/>
                      </a:lnTo>
                      <a:lnTo>
                        <a:pt x="978" y="705"/>
                      </a:lnTo>
                      <a:lnTo>
                        <a:pt x="978" y="703"/>
                      </a:lnTo>
                      <a:lnTo>
                        <a:pt x="976" y="703"/>
                      </a:lnTo>
                      <a:lnTo>
                        <a:pt x="974" y="705"/>
                      </a:lnTo>
                      <a:lnTo>
                        <a:pt x="974" y="707"/>
                      </a:lnTo>
                      <a:lnTo>
                        <a:pt x="972" y="707"/>
                      </a:lnTo>
                      <a:lnTo>
                        <a:pt x="971" y="707"/>
                      </a:lnTo>
                      <a:lnTo>
                        <a:pt x="969" y="707"/>
                      </a:lnTo>
                      <a:lnTo>
                        <a:pt x="967" y="707"/>
                      </a:lnTo>
                      <a:lnTo>
                        <a:pt x="966" y="707"/>
                      </a:lnTo>
                      <a:lnTo>
                        <a:pt x="966" y="708"/>
                      </a:lnTo>
                      <a:lnTo>
                        <a:pt x="964" y="710"/>
                      </a:lnTo>
                      <a:lnTo>
                        <a:pt x="962" y="711"/>
                      </a:lnTo>
                      <a:lnTo>
                        <a:pt x="961" y="711"/>
                      </a:lnTo>
                      <a:lnTo>
                        <a:pt x="959" y="711"/>
                      </a:lnTo>
                      <a:lnTo>
                        <a:pt x="957" y="711"/>
                      </a:lnTo>
                      <a:lnTo>
                        <a:pt x="957" y="713"/>
                      </a:lnTo>
                      <a:lnTo>
                        <a:pt x="956" y="713"/>
                      </a:lnTo>
                      <a:lnTo>
                        <a:pt x="956" y="715"/>
                      </a:lnTo>
                      <a:lnTo>
                        <a:pt x="956" y="716"/>
                      </a:lnTo>
                      <a:lnTo>
                        <a:pt x="954" y="716"/>
                      </a:lnTo>
                      <a:lnTo>
                        <a:pt x="952" y="716"/>
                      </a:lnTo>
                      <a:lnTo>
                        <a:pt x="952" y="718"/>
                      </a:lnTo>
                      <a:lnTo>
                        <a:pt x="952" y="720"/>
                      </a:lnTo>
                      <a:lnTo>
                        <a:pt x="951" y="720"/>
                      </a:lnTo>
                      <a:lnTo>
                        <a:pt x="951" y="721"/>
                      </a:lnTo>
                      <a:lnTo>
                        <a:pt x="949" y="721"/>
                      </a:lnTo>
                      <a:lnTo>
                        <a:pt x="947" y="721"/>
                      </a:lnTo>
                      <a:lnTo>
                        <a:pt x="945" y="723"/>
                      </a:lnTo>
                      <a:lnTo>
                        <a:pt x="945" y="725"/>
                      </a:lnTo>
                      <a:lnTo>
                        <a:pt x="945" y="726"/>
                      </a:lnTo>
                      <a:lnTo>
                        <a:pt x="944" y="728"/>
                      </a:lnTo>
                      <a:lnTo>
                        <a:pt x="944" y="730"/>
                      </a:lnTo>
                      <a:lnTo>
                        <a:pt x="945" y="730"/>
                      </a:lnTo>
                      <a:lnTo>
                        <a:pt x="945" y="731"/>
                      </a:lnTo>
                      <a:lnTo>
                        <a:pt x="944" y="733"/>
                      </a:lnTo>
                      <a:lnTo>
                        <a:pt x="942" y="733"/>
                      </a:lnTo>
                      <a:lnTo>
                        <a:pt x="942" y="734"/>
                      </a:lnTo>
                      <a:lnTo>
                        <a:pt x="942" y="736"/>
                      </a:lnTo>
                      <a:lnTo>
                        <a:pt x="942" y="738"/>
                      </a:lnTo>
                      <a:lnTo>
                        <a:pt x="944" y="739"/>
                      </a:lnTo>
                      <a:lnTo>
                        <a:pt x="944" y="741"/>
                      </a:lnTo>
                      <a:lnTo>
                        <a:pt x="942" y="743"/>
                      </a:lnTo>
                      <a:lnTo>
                        <a:pt x="942" y="744"/>
                      </a:lnTo>
                      <a:lnTo>
                        <a:pt x="940" y="744"/>
                      </a:lnTo>
                      <a:lnTo>
                        <a:pt x="942" y="746"/>
                      </a:lnTo>
                      <a:lnTo>
                        <a:pt x="940" y="748"/>
                      </a:lnTo>
                      <a:lnTo>
                        <a:pt x="940" y="749"/>
                      </a:lnTo>
                      <a:lnTo>
                        <a:pt x="940" y="751"/>
                      </a:lnTo>
                      <a:lnTo>
                        <a:pt x="940" y="753"/>
                      </a:lnTo>
                      <a:lnTo>
                        <a:pt x="939" y="753"/>
                      </a:lnTo>
                      <a:lnTo>
                        <a:pt x="937" y="753"/>
                      </a:lnTo>
                      <a:lnTo>
                        <a:pt x="937" y="754"/>
                      </a:lnTo>
                      <a:lnTo>
                        <a:pt x="939" y="756"/>
                      </a:lnTo>
                      <a:lnTo>
                        <a:pt x="939" y="757"/>
                      </a:lnTo>
                      <a:lnTo>
                        <a:pt x="937" y="757"/>
                      </a:lnTo>
                      <a:lnTo>
                        <a:pt x="935" y="757"/>
                      </a:lnTo>
                      <a:lnTo>
                        <a:pt x="935" y="756"/>
                      </a:lnTo>
                      <a:lnTo>
                        <a:pt x="934" y="756"/>
                      </a:lnTo>
                      <a:lnTo>
                        <a:pt x="934" y="757"/>
                      </a:lnTo>
                      <a:lnTo>
                        <a:pt x="935" y="762"/>
                      </a:lnTo>
                      <a:lnTo>
                        <a:pt x="935" y="764"/>
                      </a:lnTo>
                      <a:lnTo>
                        <a:pt x="935" y="766"/>
                      </a:lnTo>
                      <a:lnTo>
                        <a:pt x="932" y="771"/>
                      </a:lnTo>
                      <a:lnTo>
                        <a:pt x="932" y="772"/>
                      </a:lnTo>
                      <a:lnTo>
                        <a:pt x="930" y="772"/>
                      </a:lnTo>
                      <a:lnTo>
                        <a:pt x="932" y="772"/>
                      </a:lnTo>
                      <a:lnTo>
                        <a:pt x="930" y="774"/>
                      </a:lnTo>
                      <a:lnTo>
                        <a:pt x="929" y="776"/>
                      </a:lnTo>
                      <a:lnTo>
                        <a:pt x="927" y="777"/>
                      </a:lnTo>
                      <a:lnTo>
                        <a:pt x="925" y="779"/>
                      </a:lnTo>
                      <a:lnTo>
                        <a:pt x="925" y="780"/>
                      </a:lnTo>
                      <a:lnTo>
                        <a:pt x="924" y="780"/>
                      </a:lnTo>
                      <a:lnTo>
                        <a:pt x="924" y="782"/>
                      </a:lnTo>
                      <a:lnTo>
                        <a:pt x="922" y="782"/>
                      </a:lnTo>
                      <a:lnTo>
                        <a:pt x="920" y="780"/>
                      </a:lnTo>
                      <a:lnTo>
                        <a:pt x="918" y="780"/>
                      </a:lnTo>
                      <a:lnTo>
                        <a:pt x="917" y="780"/>
                      </a:lnTo>
                      <a:lnTo>
                        <a:pt x="917" y="782"/>
                      </a:lnTo>
                      <a:lnTo>
                        <a:pt x="917" y="784"/>
                      </a:lnTo>
                      <a:lnTo>
                        <a:pt x="915" y="784"/>
                      </a:lnTo>
                      <a:lnTo>
                        <a:pt x="913" y="784"/>
                      </a:lnTo>
                      <a:lnTo>
                        <a:pt x="913" y="785"/>
                      </a:lnTo>
                      <a:lnTo>
                        <a:pt x="913" y="787"/>
                      </a:lnTo>
                      <a:lnTo>
                        <a:pt x="912" y="787"/>
                      </a:lnTo>
                      <a:lnTo>
                        <a:pt x="910" y="789"/>
                      </a:lnTo>
                      <a:lnTo>
                        <a:pt x="910" y="787"/>
                      </a:lnTo>
                      <a:lnTo>
                        <a:pt x="908" y="789"/>
                      </a:lnTo>
                      <a:lnTo>
                        <a:pt x="907" y="789"/>
                      </a:lnTo>
                      <a:lnTo>
                        <a:pt x="907" y="787"/>
                      </a:lnTo>
                      <a:lnTo>
                        <a:pt x="905" y="787"/>
                      </a:lnTo>
                      <a:lnTo>
                        <a:pt x="903" y="787"/>
                      </a:lnTo>
                      <a:lnTo>
                        <a:pt x="903" y="789"/>
                      </a:lnTo>
                      <a:lnTo>
                        <a:pt x="903" y="787"/>
                      </a:lnTo>
                      <a:lnTo>
                        <a:pt x="902" y="787"/>
                      </a:lnTo>
                      <a:lnTo>
                        <a:pt x="900" y="789"/>
                      </a:lnTo>
                      <a:lnTo>
                        <a:pt x="898" y="789"/>
                      </a:lnTo>
                      <a:lnTo>
                        <a:pt x="896" y="789"/>
                      </a:lnTo>
                      <a:lnTo>
                        <a:pt x="895" y="787"/>
                      </a:lnTo>
                      <a:lnTo>
                        <a:pt x="893" y="787"/>
                      </a:lnTo>
                      <a:lnTo>
                        <a:pt x="893" y="789"/>
                      </a:lnTo>
                      <a:lnTo>
                        <a:pt x="891" y="789"/>
                      </a:lnTo>
                      <a:lnTo>
                        <a:pt x="890" y="789"/>
                      </a:lnTo>
                      <a:lnTo>
                        <a:pt x="888" y="789"/>
                      </a:lnTo>
                      <a:lnTo>
                        <a:pt x="888" y="790"/>
                      </a:lnTo>
                      <a:lnTo>
                        <a:pt x="888" y="792"/>
                      </a:lnTo>
                      <a:lnTo>
                        <a:pt x="888" y="794"/>
                      </a:lnTo>
                      <a:lnTo>
                        <a:pt x="886" y="794"/>
                      </a:lnTo>
                      <a:lnTo>
                        <a:pt x="885" y="795"/>
                      </a:lnTo>
                      <a:lnTo>
                        <a:pt x="885" y="797"/>
                      </a:lnTo>
                      <a:lnTo>
                        <a:pt x="885" y="799"/>
                      </a:lnTo>
                      <a:lnTo>
                        <a:pt x="883" y="799"/>
                      </a:lnTo>
                      <a:lnTo>
                        <a:pt x="883" y="800"/>
                      </a:lnTo>
                      <a:lnTo>
                        <a:pt x="883" y="802"/>
                      </a:lnTo>
                      <a:lnTo>
                        <a:pt x="881" y="802"/>
                      </a:lnTo>
                      <a:lnTo>
                        <a:pt x="883" y="802"/>
                      </a:lnTo>
                      <a:lnTo>
                        <a:pt x="881" y="803"/>
                      </a:lnTo>
                      <a:lnTo>
                        <a:pt x="881" y="805"/>
                      </a:lnTo>
                      <a:lnTo>
                        <a:pt x="880" y="805"/>
                      </a:lnTo>
                      <a:lnTo>
                        <a:pt x="880" y="807"/>
                      </a:lnTo>
                      <a:lnTo>
                        <a:pt x="878" y="805"/>
                      </a:lnTo>
                      <a:lnTo>
                        <a:pt x="878" y="807"/>
                      </a:lnTo>
                      <a:lnTo>
                        <a:pt x="876" y="807"/>
                      </a:lnTo>
                      <a:lnTo>
                        <a:pt x="875" y="807"/>
                      </a:lnTo>
                      <a:lnTo>
                        <a:pt x="873" y="807"/>
                      </a:lnTo>
                      <a:lnTo>
                        <a:pt x="873" y="808"/>
                      </a:lnTo>
                      <a:lnTo>
                        <a:pt x="871" y="808"/>
                      </a:lnTo>
                      <a:lnTo>
                        <a:pt x="869" y="808"/>
                      </a:lnTo>
                      <a:lnTo>
                        <a:pt x="869" y="810"/>
                      </a:lnTo>
                      <a:lnTo>
                        <a:pt x="868" y="810"/>
                      </a:lnTo>
                      <a:lnTo>
                        <a:pt x="866" y="810"/>
                      </a:lnTo>
                      <a:lnTo>
                        <a:pt x="866" y="812"/>
                      </a:lnTo>
                      <a:lnTo>
                        <a:pt x="864" y="812"/>
                      </a:lnTo>
                      <a:lnTo>
                        <a:pt x="864" y="810"/>
                      </a:lnTo>
                      <a:lnTo>
                        <a:pt x="863" y="810"/>
                      </a:lnTo>
                      <a:lnTo>
                        <a:pt x="863" y="812"/>
                      </a:lnTo>
                      <a:lnTo>
                        <a:pt x="863" y="813"/>
                      </a:lnTo>
                      <a:lnTo>
                        <a:pt x="861" y="813"/>
                      </a:lnTo>
                      <a:lnTo>
                        <a:pt x="861" y="815"/>
                      </a:lnTo>
                      <a:lnTo>
                        <a:pt x="861" y="817"/>
                      </a:lnTo>
                      <a:lnTo>
                        <a:pt x="861" y="818"/>
                      </a:lnTo>
                      <a:lnTo>
                        <a:pt x="861" y="820"/>
                      </a:lnTo>
                      <a:lnTo>
                        <a:pt x="859" y="818"/>
                      </a:lnTo>
                      <a:lnTo>
                        <a:pt x="859" y="820"/>
                      </a:lnTo>
                      <a:lnTo>
                        <a:pt x="859" y="822"/>
                      </a:lnTo>
                      <a:lnTo>
                        <a:pt x="861" y="822"/>
                      </a:lnTo>
                      <a:lnTo>
                        <a:pt x="861" y="823"/>
                      </a:lnTo>
                      <a:lnTo>
                        <a:pt x="859" y="823"/>
                      </a:lnTo>
                      <a:lnTo>
                        <a:pt x="858" y="822"/>
                      </a:lnTo>
                      <a:lnTo>
                        <a:pt x="858" y="823"/>
                      </a:lnTo>
                      <a:lnTo>
                        <a:pt x="856" y="823"/>
                      </a:lnTo>
                      <a:lnTo>
                        <a:pt x="854" y="823"/>
                      </a:lnTo>
                      <a:lnTo>
                        <a:pt x="854" y="825"/>
                      </a:lnTo>
                      <a:lnTo>
                        <a:pt x="853" y="825"/>
                      </a:lnTo>
                      <a:lnTo>
                        <a:pt x="851" y="825"/>
                      </a:lnTo>
                      <a:lnTo>
                        <a:pt x="849" y="825"/>
                      </a:lnTo>
                      <a:lnTo>
                        <a:pt x="849" y="826"/>
                      </a:lnTo>
                      <a:lnTo>
                        <a:pt x="848" y="826"/>
                      </a:lnTo>
                      <a:lnTo>
                        <a:pt x="848" y="828"/>
                      </a:lnTo>
                      <a:lnTo>
                        <a:pt x="848" y="830"/>
                      </a:lnTo>
                      <a:lnTo>
                        <a:pt x="848" y="831"/>
                      </a:lnTo>
                      <a:lnTo>
                        <a:pt x="848" y="833"/>
                      </a:lnTo>
                      <a:lnTo>
                        <a:pt x="848" y="835"/>
                      </a:lnTo>
                      <a:lnTo>
                        <a:pt x="849" y="836"/>
                      </a:lnTo>
                      <a:lnTo>
                        <a:pt x="851" y="836"/>
                      </a:lnTo>
                      <a:lnTo>
                        <a:pt x="853" y="836"/>
                      </a:lnTo>
                      <a:lnTo>
                        <a:pt x="851" y="838"/>
                      </a:lnTo>
                      <a:lnTo>
                        <a:pt x="853" y="838"/>
                      </a:lnTo>
                      <a:lnTo>
                        <a:pt x="853" y="840"/>
                      </a:lnTo>
                      <a:lnTo>
                        <a:pt x="854" y="840"/>
                      </a:lnTo>
                      <a:lnTo>
                        <a:pt x="854" y="841"/>
                      </a:lnTo>
                      <a:lnTo>
                        <a:pt x="856" y="841"/>
                      </a:lnTo>
                      <a:lnTo>
                        <a:pt x="854" y="841"/>
                      </a:lnTo>
                      <a:lnTo>
                        <a:pt x="854" y="843"/>
                      </a:lnTo>
                      <a:lnTo>
                        <a:pt x="856" y="843"/>
                      </a:lnTo>
                      <a:lnTo>
                        <a:pt x="854" y="843"/>
                      </a:lnTo>
                      <a:lnTo>
                        <a:pt x="856" y="843"/>
                      </a:lnTo>
                      <a:lnTo>
                        <a:pt x="854" y="845"/>
                      </a:lnTo>
                      <a:lnTo>
                        <a:pt x="853" y="845"/>
                      </a:lnTo>
                      <a:lnTo>
                        <a:pt x="853" y="846"/>
                      </a:lnTo>
                      <a:lnTo>
                        <a:pt x="853" y="848"/>
                      </a:lnTo>
                      <a:lnTo>
                        <a:pt x="853" y="849"/>
                      </a:lnTo>
                      <a:lnTo>
                        <a:pt x="851" y="849"/>
                      </a:lnTo>
                      <a:lnTo>
                        <a:pt x="851" y="848"/>
                      </a:lnTo>
                      <a:lnTo>
                        <a:pt x="851" y="849"/>
                      </a:lnTo>
                      <a:lnTo>
                        <a:pt x="849" y="849"/>
                      </a:lnTo>
                      <a:lnTo>
                        <a:pt x="849" y="851"/>
                      </a:lnTo>
                      <a:lnTo>
                        <a:pt x="849" y="853"/>
                      </a:lnTo>
                      <a:lnTo>
                        <a:pt x="848" y="853"/>
                      </a:lnTo>
                      <a:lnTo>
                        <a:pt x="848" y="851"/>
                      </a:lnTo>
                      <a:lnTo>
                        <a:pt x="846" y="851"/>
                      </a:lnTo>
                      <a:lnTo>
                        <a:pt x="846" y="853"/>
                      </a:lnTo>
                      <a:lnTo>
                        <a:pt x="844" y="853"/>
                      </a:lnTo>
                      <a:lnTo>
                        <a:pt x="842" y="853"/>
                      </a:lnTo>
                      <a:lnTo>
                        <a:pt x="842" y="854"/>
                      </a:lnTo>
                      <a:lnTo>
                        <a:pt x="844" y="854"/>
                      </a:lnTo>
                      <a:lnTo>
                        <a:pt x="844" y="856"/>
                      </a:lnTo>
                      <a:lnTo>
                        <a:pt x="844" y="858"/>
                      </a:lnTo>
                      <a:lnTo>
                        <a:pt x="842" y="856"/>
                      </a:lnTo>
                      <a:lnTo>
                        <a:pt x="842" y="858"/>
                      </a:lnTo>
                      <a:lnTo>
                        <a:pt x="842" y="859"/>
                      </a:lnTo>
                      <a:lnTo>
                        <a:pt x="841" y="859"/>
                      </a:lnTo>
                      <a:lnTo>
                        <a:pt x="839" y="859"/>
                      </a:lnTo>
                      <a:lnTo>
                        <a:pt x="839" y="861"/>
                      </a:lnTo>
                      <a:lnTo>
                        <a:pt x="841" y="859"/>
                      </a:lnTo>
                      <a:lnTo>
                        <a:pt x="841" y="861"/>
                      </a:lnTo>
                      <a:lnTo>
                        <a:pt x="841" y="863"/>
                      </a:lnTo>
                      <a:lnTo>
                        <a:pt x="841" y="864"/>
                      </a:lnTo>
                      <a:lnTo>
                        <a:pt x="839" y="863"/>
                      </a:lnTo>
                      <a:lnTo>
                        <a:pt x="839" y="864"/>
                      </a:lnTo>
                      <a:lnTo>
                        <a:pt x="837" y="864"/>
                      </a:lnTo>
                      <a:lnTo>
                        <a:pt x="837" y="866"/>
                      </a:lnTo>
                      <a:lnTo>
                        <a:pt x="837" y="868"/>
                      </a:lnTo>
                      <a:lnTo>
                        <a:pt x="836" y="868"/>
                      </a:lnTo>
                      <a:lnTo>
                        <a:pt x="836" y="866"/>
                      </a:lnTo>
                      <a:lnTo>
                        <a:pt x="836" y="868"/>
                      </a:lnTo>
                      <a:lnTo>
                        <a:pt x="834" y="868"/>
                      </a:lnTo>
                      <a:lnTo>
                        <a:pt x="834" y="869"/>
                      </a:lnTo>
                      <a:lnTo>
                        <a:pt x="832" y="869"/>
                      </a:lnTo>
                      <a:lnTo>
                        <a:pt x="831" y="869"/>
                      </a:lnTo>
                      <a:lnTo>
                        <a:pt x="831" y="871"/>
                      </a:lnTo>
                      <a:lnTo>
                        <a:pt x="829" y="871"/>
                      </a:lnTo>
                      <a:lnTo>
                        <a:pt x="829" y="869"/>
                      </a:lnTo>
                      <a:lnTo>
                        <a:pt x="829" y="871"/>
                      </a:lnTo>
                      <a:lnTo>
                        <a:pt x="827" y="871"/>
                      </a:lnTo>
                      <a:lnTo>
                        <a:pt x="829" y="871"/>
                      </a:lnTo>
                      <a:lnTo>
                        <a:pt x="827" y="871"/>
                      </a:lnTo>
                      <a:lnTo>
                        <a:pt x="827" y="872"/>
                      </a:lnTo>
                      <a:lnTo>
                        <a:pt x="826" y="872"/>
                      </a:lnTo>
                      <a:lnTo>
                        <a:pt x="826" y="874"/>
                      </a:lnTo>
                      <a:lnTo>
                        <a:pt x="824" y="874"/>
                      </a:lnTo>
                      <a:lnTo>
                        <a:pt x="826" y="874"/>
                      </a:lnTo>
                      <a:lnTo>
                        <a:pt x="826" y="872"/>
                      </a:lnTo>
                      <a:lnTo>
                        <a:pt x="824" y="872"/>
                      </a:lnTo>
                      <a:lnTo>
                        <a:pt x="824" y="874"/>
                      </a:lnTo>
                      <a:lnTo>
                        <a:pt x="824" y="876"/>
                      </a:lnTo>
                      <a:lnTo>
                        <a:pt x="822" y="876"/>
                      </a:lnTo>
                      <a:lnTo>
                        <a:pt x="824" y="877"/>
                      </a:lnTo>
                      <a:lnTo>
                        <a:pt x="822" y="877"/>
                      </a:lnTo>
                      <a:lnTo>
                        <a:pt x="820" y="877"/>
                      </a:lnTo>
                      <a:lnTo>
                        <a:pt x="822" y="877"/>
                      </a:lnTo>
                      <a:lnTo>
                        <a:pt x="820" y="879"/>
                      </a:lnTo>
                      <a:lnTo>
                        <a:pt x="820" y="877"/>
                      </a:lnTo>
                      <a:lnTo>
                        <a:pt x="819" y="877"/>
                      </a:lnTo>
                      <a:lnTo>
                        <a:pt x="819" y="879"/>
                      </a:lnTo>
                      <a:lnTo>
                        <a:pt x="819" y="877"/>
                      </a:lnTo>
                      <a:lnTo>
                        <a:pt x="817" y="877"/>
                      </a:lnTo>
                      <a:lnTo>
                        <a:pt x="817" y="879"/>
                      </a:lnTo>
                      <a:lnTo>
                        <a:pt x="815" y="879"/>
                      </a:lnTo>
                      <a:lnTo>
                        <a:pt x="817" y="879"/>
                      </a:lnTo>
                      <a:lnTo>
                        <a:pt x="815" y="881"/>
                      </a:lnTo>
                      <a:lnTo>
                        <a:pt x="815" y="882"/>
                      </a:lnTo>
                      <a:lnTo>
                        <a:pt x="814" y="882"/>
                      </a:lnTo>
                      <a:lnTo>
                        <a:pt x="814" y="884"/>
                      </a:lnTo>
                      <a:lnTo>
                        <a:pt x="815" y="884"/>
                      </a:lnTo>
                      <a:lnTo>
                        <a:pt x="814" y="884"/>
                      </a:lnTo>
                      <a:lnTo>
                        <a:pt x="814" y="886"/>
                      </a:lnTo>
                      <a:lnTo>
                        <a:pt x="814" y="887"/>
                      </a:lnTo>
                      <a:lnTo>
                        <a:pt x="812" y="887"/>
                      </a:lnTo>
                      <a:lnTo>
                        <a:pt x="812" y="889"/>
                      </a:lnTo>
                      <a:lnTo>
                        <a:pt x="814" y="891"/>
                      </a:lnTo>
                      <a:lnTo>
                        <a:pt x="812" y="891"/>
                      </a:lnTo>
                      <a:lnTo>
                        <a:pt x="812" y="892"/>
                      </a:lnTo>
                      <a:lnTo>
                        <a:pt x="812" y="894"/>
                      </a:lnTo>
                      <a:lnTo>
                        <a:pt x="810" y="894"/>
                      </a:lnTo>
                      <a:lnTo>
                        <a:pt x="812" y="894"/>
                      </a:lnTo>
                      <a:lnTo>
                        <a:pt x="810" y="894"/>
                      </a:lnTo>
                      <a:lnTo>
                        <a:pt x="810" y="895"/>
                      </a:lnTo>
                      <a:lnTo>
                        <a:pt x="812" y="895"/>
                      </a:lnTo>
                      <a:lnTo>
                        <a:pt x="812" y="897"/>
                      </a:lnTo>
                      <a:lnTo>
                        <a:pt x="810" y="897"/>
                      </a:lnTo>
                      <a:lnTo>
                        <a:pt x="810" y="899"/>
                      </a:lnTo>
                      <a:lnTo>
                        <a:pt x="810" y="897"/>
                      </a:lnTo>
                      <a:lnTo>
                        <a:pt x="810" y="899"/>
                      </a:lnTo>
                      <a:lnTo>
                        <a:pt x="809" y="899"/>
                      </a:lnTo>
                      <a:lnTo>
                        <a:pt x="810" y="899"/>
                      </a:lnTo>
                      <a:lnTo>
                        <a:pt x="809" y="899"/>
                      </a:lnTo>
                      <a:lnTo>
                        <a:pt x="809" y="900"/>
                      </a:lnTo>
                      <a:lnTo>
                        <a:pt x="809" y="899"/>
                      </a:lnTo>
                      <a:lnTo>
                        <a:pt x="809" y="900"/>
                      </a:lnTo>
                      <a:lnTo>
                        <a:pt x="807" y="900"/>
                      </a:lnTo>
                      <a:lnTo>
                        <a:pt x="807" y="902"/>
                      </a:lnTo>
                      <a:lnTo>
                        <a:pt x="807" y="904"/>
                      </a:lnTo>
                      <a:lnTo>
                        <a:pt x="805" y="904"/>
                      </a:lnTo>
                      <a:lnTo>
                        <a:pt x="805" y="905"/>
                      </a:lnTo>
                      <a:lnTo>
                        <a:pt x="804" y="905"/>
                      </a:lnTo>
                      <a:lnTo>
                        <a:pt x="804" y="907"/>
                      </a:lnTo>
                      <a:lnTo>
                        <a:pt x="804" y="905"/>
                      </a:lnTo>
                      <a:lnTo>
                        <a:pt x="804" y="907"/>
                      </a:lnTo>
                      <a:lnTo>
                        <a:pt x="802" y="907"/>
                      </a:lnTo>
                      <a:lnTo>
                        <a:pt x="804" y="907"/>
                      </a:lnTo>
                      <a:lnTo>
                        <a:pt x="804" y="909"/>
                      </a:lnTo>
                      <a:lnTo>
                        <a:pt x="802" y="909"/>
                      </a:lnTo>
                      <a:lnTo>
                        <a:pt x="802" y="910"/>
                      </a:lnTo>
                      <a:lnTo>
                        <a:pt x="802" y="912"/>
                      </a:lnTo>
                      <a:lnTo>
                        <a:pt x="802" y="913"/>
                      </a:lnTo>
                      <a:lnTo>
                        <a:pt x="800" y="913"/>
                      </a:lnTo>
                      <a:lnTo>
                        <a:pt x="800" y="915"/>
                      </a:lnTo>
                      <a:lnTo>
                        <a:pt x="800" y="913"/>
                      </a:lnTo>
                      <a:lnTo>
                        <a:pt x="799" y="915"/>
                      </a:lnTo>
                      <a:lnTo>
                        <a:pt x="799" y="917"/>
                      </a:lnTo>
                      <a:lnTo>
                        <a:pt x="797" y="917"/>
                      </a:lnTo>
                      <a:lnTo>
                        <a:pt x="797" y="918"/>
                      </a:lnTo>
                      <a:lnTo>
                        <a:pt x="799" y="918"/>
                      </a:lnTo>
                      <a:lnTo>
                        <a:pt x="799" y="920"/>
                      </a:lnTo>
                      <a:lnTo>
                        <a:pt x="797" y="918"/>
                      </a:lnTo>
                      <a:lnTo>
                        <a:pt x="797" y="920"/>
                      </a:lnTo>
                      <a:lnTo>
                        <a:pt x="799" y="920"/>
                      </a:lnTo>
                      <a:lnTo>
                        <a:pt x="797" y="920"/>
                      </a:lnTo>
                      <a:lnTo>
                        <a:pt x="799" y="922"/>
                      </a:lnTo>
                      <a:lnTo>
                        <a:pt x="799" y="923"/>
                      </a:lnTo>
                      <a:lnTo>
                        <a:pt x="799" y="925"/>
                      </a:lnTo>
                      <a:lnTo>
                        <a:pt x="799" y="927"/>
                      </a:lnTo>
                      <a:lnTo>
                        <a:pt x="799" y="925"/>
                      </a:lnTo>
                      <a:lnTo>
                        <a:pt x="799" y="927"/>
                      </a:lnTo>
                      <a:lnTo>
                        <a:pt x="797" y="927"/>
                      </a:lnTo>
                      <a:lnTo>
                        <a:pt x="799" y="927"/>
                      </a:lnTo>
                      <a:lnTo>
                        <a:pt x="799" y="928"/>
                      </a:lnTo>
                      <a:lnTo>
                        <a:pt x="797" y="928"/>
                      </a:lnTo>
                      <a:lnTo>
                        <a:pt x="797" y="930"/>
                      </a:lnTo>
                      <a:lnTo>
                        <a:pt x="795" y="930"/>
                      </a:lnTo>
                      <a:lnTo>
                        <a:pt x="797" y="930"/>
                      </a:lnTo>
                      <a:lnTo>
                        <a:pt x="795" y="930"/>
                      </a:lnTo>
                      <a:lnTo>
                        <a:pt x="795" y="932"/>
                      </a:lnTo>
                      <a:lnTo>
                        <a:pt x="797" y="932"/>
                      </a:lnTo>
                      <a:lnTo>
                        <a:pt x="795" y="932"/>
                      </a:lnTo>
                      <a:lnTo>
                        <a:pt x="797" y="932"/>
                      </a:lnTo>
                      <a:lnTo>
                        <a:pt x="797" y="933"/>
                      </a:lnTo>
                      <a:lnTo>
                        <a:pt x="795" y="935"/>
                      </a:lnTo>
                      <a:lnTo>
                        <a:pt x="795" y="936"/>
                      </a:lnTo>
                      <a:lnTo>
                        <a:pt x="795" y="938"/>
                      </a:lnTo>
                      <a:lnTo>
                        <a:pt x="795" y="940"/>
                      </a:lnTo>
                      <a:lnTo>
                        <a:pt x="795" y="941"/>
                      </a:lnTo>
                      <a:lnTo>
                        <a:pt x="793" y="941"/>
                      </a:lnTo>
                      <a:lnTo>
                        <a:pt x="795" y="941"/>
                      </a:lnTo>
                      <a:lnTo>
                        <a:pt x="793" y="943"/>
                      </a:lnTo>
                      <a:lnTo>
                        <a:pt x="795" y="943"/>
                      </a:lnTo>
                      <a:lnTo>
                        <a:pt x="795" y="945"/>
                      </a:lnTo>
                      <a:lnTo>
                        <a:pt x="795" y="946"/>
                      </a:lnTo>
                      <a:lnTo>
                        <a:pt x="793" y="946"/>
                      </a:lnTo>
                      <a:lnTo>
                        <a:pt x="795" y="946"/>
                      </a:lnTo>
                      <a:lnTo>
                        <a:pt x="795" y="948"/>
                      </a:lnTo>
                      <a:lnTo>
                        <a:pt x="793" y="948"/>
                      </a:lnTo>
                      <a:lnTo>
                        <a:pt x="795" y="948"/>
                      </a:lnTo>
                      <a:lnTo>
                        <a:pt x="793" y="948"/>
                      </a:lnTo>
                      <a:lnTo>
                        <a:pt x="795" y="948"/>
                      </a:lnTo>
                      <a:lnTo>
                        <a:pt x="793" y="948"/>
                      </a:lnTo>
                      <a:lnTo>
                        <a:pt x="793" y="950"/>
                      </a:lnTo>
                      <a:lnTo>
                        <a:pt x="793" y="951"/>
                      </a:lnTo>
                      <a:lnTo>
                        <a:pt x="795" y="951"/>
                      </a:lnTo>
                      <a:lnTo>
                        <a:pt x="793" y="951"/>
                      </a:lnTo>
                      <a:lnTo>
                        <a:pt x="795" y="951"/>
                      </a:lnTo>
                      <a:lnTo>
                        <a:pt x="795" y="953"/>
                      </a:lnTo>
                      <a:lnTo>
                        <a:pt x="795" y="955"/>
                      </a:lnTo>
                      <a:lnTo>
                        <a:pt x="795" y="956"/>
                      </a:lnTo>
                      <a:lnTo>
                        <a:pt x="797" y="956"/>
                      </a:lnTo>
                      <a:lnTo>
                        <a:pt x="797" y="958"/>
                      </a:lnTo>
                      <a:lnTo>
                        <a:pt x="797" y="956"/>
                      </a:lnTo>
                      <a:lnTo>
                        <a:pt x="797" y="958"/>
                      </a:lnTo>
                      <a:lnTo>
                        <a:pt x="799" y="958"/>
                      </a:lnTo>
                      <a:lnTo>
                        <a:pt x="799" y="959"/>
                      </a:lnTo>
                      <a:lnTo>
                        <a:pt x="800" y="959"/>
                      </a:lnTo>
                      <a:lnTo>
                        <a:pt x="800" y="961"/>
                      </a:lnTo>
                      <a:lnTo>
                        <a:pt x="802" y="961"/>
                      </a:lnTo>
                      <a:lnTo>
                        <a:pt x="802" y="963"/>
                      </a:lnTo>
                      <a:lnTo>
                        <a:pt x="802" y="964"/>
                      </a:lnTo>
                      <a:lnTo>
                        <a:pt x="804" y="964"/>
                      </a:lnTo>
                      <a:lnTo>
                        <a:pt x="804" y="966"/>
                      </a:lnTo>
                      <a:lnTo>
                        <a:pt x="804" y="968"/>
                      </a:lnTo>
                      <a:lnTo>
                        <a:pt x="805" y="968"/>
                      </a:lnTo>
                      <a:lnTo>
                        <a:pt x="805" y="969"/>
                      </a:lnTo>
                      <a:lnTo>
                        <a:pt x="804" y="969"/>
                      </a:lnTo>
                      <a:lnTo>
                        <a:pt x="805" y="969"/>
                      </a:lnTo>
                      <a:lnTo>
                        <a:pt x="804" y="971"/>
                      </a:lnTo>
                      <a:lnTo>
                        <a:pt x="805" y="971"/>
                      </a:lnTo>
                      <a:lnTo>
                        <a:pt x="805" y="973"/>
                      </a:lnTo>
                      <a:lnTo>
                        <a:pt x="805" y="974"/>
                      </a:lnTo>
                      <a:lnTo>
                        <a:pt x="805" y="976"/>
                      </a:lnTo>
                      <a:lnTo>
                        <a:pt x="807" y="976"/>
                      </a:lnTo>
                      <a:lnTo>
                        <a:pt x="809" y="976"/>
                      </a:lnTo>
                      <a:lnTo>
                        <a:pt x="809" y="978"/>
                      </a:lnTo>
                      <a:lnTo>
                        <a:pt x="810" y="979"/>
                      </a:lnTo>
                      <a:lnTo>
                        <a:pt x="810" y="981"/>
                      </a:lnTo>
                      <a:lnTo>
                        <a:pt x="810" y="982"/>
                      </a:lnTo>
                      <a:lnTo>
                        <a:pt x="810" y="984"/>
                      </a:lnTo>
                      <a:lnTo>
                        <a:pt x="810" y="986"/>
                      </a:lnTo>
                      <a:lnTo>
                        <a:pt x="802" y="986"/>
                      </a:lnTo>
                      <a:lnTo>
                        <a:pt x="800" y="986"/>
                      </a:lnTo>
                      <a:lnTo>
                        <a:pt x="799" y="986"/>
                      </a:lnTo>
                      <a:lnTo>
                        <a:pt x="799" y="984"/>
                      </a:lnTo>
                      <a:lnTo>
                        <a:pt x="797" y="984"/>
                      </a:lnTo>
                      <a:lnTo>
                        <a:pt x="795" y="984"/>
                      </a:lnTo>
                      <a:lnTo>
                        <a:pt x="795" y="982"/>
                      </a:lnTo>
                      <a:lnTo>
                        <a:pt x="790" y="982"/>
                      </a:lnTo>
                      <a:lnTo>
                        <a:pt x="788" y="982"/>
                      </a:lnTo>
                      <a:lnTo>
                        <a:pt x="787" y="982"/>
                      </a:lnTo>
                      <a:lnTo>
                        <a:pt x="787" y="984"/>
                      </a:lnTo>
                      <a:lnTo>
                        <a:pt x="785" y="982"/>
                      </a:lnTo>
                      <a:lnTo>
                        <a:pt x="785" y="984"/>
                      </a:lnTo>
                      <a:lnTo>
                        <a:pt x="785" y="982"/>
                      </a:lnTo>
                      <a:lnTo>
                        <a:pt x="783" y="984"/>
                      </a:lnTo>
                      <a:lnTo>
                        <a:pt x="783" y="982"/>
                      </a:lnTo>
                      <a:lnTo>
                        <a:pt x="783" y="984"/>
                      </a:lnTo>
                      <a:lnTo>
                        <a:pt x="782" y="984"/>
                      </a:lnTo>
                      <a:lnTo>
                        <a:pt x="780" y="982"/>
                      </a:lnTo>
                      <a:lnTo>
                        <a:pt x="778" y="982"/>
                      </a:lnTo>
                      <a:lnTo>
                        <a:pt x="778" y="981"/>
                      </a:lnTo>
                      <a:lnTo>
                        <a:pt x="778" y="982"/>
                      </a:lnTo>
                      <a:lnTo>
                        <a:pt x="778" y="981"/>
                      </a:lnTo>
                      <a:lnTo>
                        <a:pt x="777" y="982"/>
                      </a:lnTo>
                      <a:lnTo>
                        <a:pt x="777" y="981"/>
                      </a:lnTo>
                      <a:lnTo>
                        <a:pt x="777" y="982"/>
                      </a:lnTo>
                      <a:lnTo>
                        <a:pt x="775" y="982"/>
                      </a:lnTo>
                      <a:lnTo>
                        <a:pt x="775" y="984"/>
                      </a:lnTo>
                      <a:lnTo>
                        <a:pt x="773" y="986"/>
                      </a:lnTo>
                      <a:lnTo>
                        <a:pt x="773" y="984"/>
                      </a:lnTo>
                      <a:lnTo>
                        <a:pt x="773" y="986"/>
                      </a:lnTo>
                      <a:lnTo>
                        <a:pt x="771" y="986"/>
                      </a:lnTo>
                      <a:lnTo>
                        <a:pt x="770" y="986"/>
                      </a:lnTo>
                      <a:lnTo>
                        <a:pt x="768" y="984"/>
                      </a:lnTo>
                      <a:lnTo>
                        <a:pt x="766" y="984"/>
                      </a:lnTo>
                      <a:lnTo>
                        <a:pt x="765" y="984"/>
                      </a:lnTo>
                      <a:lnTo>
                        <a:pt x="765" y="982"/>
                      </a:lnTo>
                      <a:lnTo>
                        <a:pt x="763" y="984"/>
                      </a:lnTo>
                      <a:lnTo>
                        <a:pt x="761" y="984"/>
                      </a:lnTo>
                      <a:lnTo>
                        <a:pt x="761" y="982"/>
                      </a:lnTo>
                      <a:lnTo>
                        <a:pt x="760" y="982"/>
                      </a:lnTo>
                      <a:lnTo>
                        <a:pt x="760" y="981"/>
                      </a:lnTo>
                      <a:lnTo>
                        <a:pt x="758" y="981"/>
                      </a:lnTo>
                      <a:lnTo>
                        <a:pt x="756" y="981"/>
                      </a:lnTo>
                      <a:lnTo>
                        <a:pt x="755" y="981"/>
                      </a:lnTo>
                      <a:lnTo>
                        <a:pt x="753" y="982"/>
                      </a:lnTo>
                      <a:lnTo>
                        <a:pt x="755" y="982"/>
                      </a:lnTo>
                      <a:lnTo>
                        <a:pt x="753" y="982"/>
                      </a:lnTo>
                      <a:lnTo>
                        <a:pt x="751" y="984"/>
                      </a:lnTo>
                      <a:lnTo>
                        <a:pt x="753" y="984"/>
                      </a:lnTo>
                      <a:lnTo>
                        <a:pt x="751" y="984"/>
                      </a:lnTo>
                      <a:lnTo>
                        <a:pt x="751" y="982"/>
                      </a:lnTo>
                      <a:lnTo>
                        <a:pt x="751" y="984"/>
                      </a:lnTo>
                      <a:lnTo>
                        <a:pt x="750" y="982"/>
                      </a:lnTo>
                      <a:lnTo>
                        <a:pt x="748" y="982"/>
                      </a:lnTo>
                      <a:lnTo>
                        <a:pt x="746" y="982"/>
                      </a:lnTo>
                      <a:lnTo>
                        <a:pt x="744" y="982"/>
                      </a:lnTo>
                      <a:lnTo>
                        <a:pt x="743" y="982"/>
                      </a:lnTo>
                      <a:lnTo>
                        <a:pt x="743" y="981"/>
                      </a:lnTo>
                      <a:lnTo>
                        <a:pt x="741" y="981"/>
                      </a:lnTo>
                      <a:lnTo>
                        <a:pt x="743" y="981"/>
                      </a:lnTo>
                      <a:lnTo>
                        <a:pt x="741" y="981"/>
                      </a:lnTo>
                      <a:lnTo>
                        <a:pt x="741" y="979"/>
                      </a:lnTo>
                      <a:lnTo>
                        <a:pt x="741" y="981"/>
                      </a:lnTo>
                      <a:lnTo>
                        <a:pt x="741" y="979"/>
                      </a:lnTo>
                      <a:lnTo>
                        <a:pt x="739" y="979"/>
                      </a:lnTo>
                      <a:lnTo>
                        <a:pt x="739" y="978"/>
                      </a:lnTo>
                      <a:lnTo>
                        <a:pt x="738" y="978"/>
                      </a:lnTo>
                      <a:lnTo>
                        <a:pt x="738" y="976"/>
                      </a:lnTo>
                      <a:lnTo>
                        <a:pt x="738" y="978"/>
                      </a:lnTo>
                      <a:lnTo>
                        <a:pt x="738" y="976"/>
                      </a:lnTo>
                      <a:lnTo>
                        <a:pt x="736" y="976"/>
                      </a:lnTo>
                      <a:lnTo>
                        <a:pt x="734" y="976"/>
                      </a:lnTo>
                      <a:lnTo>
                        <a:pt x="736" y="976"/>
                      </a:lnTo>
                      <a:lnTo>
                        <a:pt x="734" y="974"/>
                      </a:lnTo>
                      <a:lnTo>
                        <a:pt x="734" y="976"/>
                      </a:lnTo>
                      <a:lnTo>
                        <a:pt x="734" y="974"/>
                      </a:lnTo>
                      <a:lnTo>
                        <a:pt x="733" y="974"/>
                      </a:lnTo>
                      <a:lnTo>
                        <a:pt x="731" y="974"/>
                      </a:lnTo>
                      <a:lnTo>
                        <a:pt x="731" y="976"/>
                      </a:lnTo>
                      <a:lnTo>
                        <a:pt x="731" y="974"/>
                      </a:lnTo>
                      <a:lnTo>
                        <a:pt x="731" y="976"/>
                      </a:lnTo>
                      <a:lnTo>
                        <a:pt x="729" y="976"/>
                      </a:lnTo>
                      <a:lnTo>
                        <a:pt x="729" y="974"/>
                      </a:lnTo>
                      <a:lnTo>
                        <a:pt x="729" y="976"/>
                      </a:lnTo>
                      <a:lnTo>
                        <a:pt x="728" y="974"/>
                      </a:lnTo>
                      <a:lnTo>
                        <a:pt x="728" y="976"/>
                      </a:lnTo>
                      <a:lnTo>
                        <a:pt x="728" y="974"/>
                      </a:lnTo>
                      <a:lnTo>
                        <a:pt x="728" y="973"/>
                      </a:lnTo>
                      <a:lnTo>
                        <a:pt x="728" y="971"/>
                      </a:lnTo>
                      <a:lnTo>
                        <a:pt x="728" y="969"/>
                      </a:lnTo>
                      <a:lnTo>
                        <a:pt x="729" y="969"/>
                      </a:lnTo>
                      <a:lnTo>
                        <a:pt x="728" y="968"/>
                      </a:lnTo>
                      <a:lnTo>
                        <a:pt x="729" y="968"/>
                      </a:lnTo>
                      <a:lnTo>
                        <a:pt x="729" y="966"/>
                      </a:lnTo>
                      <a:lnTo>
                        <a:pt x="731" y="966"/>
                      </a:lnTo>
                      <a:lnTo>
                        <a:pt x="731" y="964"/>
                      </a:lnTo>
                      <a:lnTo>
                        <a:pt x="733" y="964"/>
                      </a:lnTo>
                      <a:lnTo>
                        <a:pt x="731" y="963"/>
                      </a:lnTo>
                      <a:lnTo>
                        <a:pt x="733" y="963"/>
                      </a:lnTo>
                      <a:lnTo>
                        <a:pt x="733" y="961"/>
                      </a:lnTo>
                      <a:lnTo>
                        <a:pt x="733" y="959"/>
                      </a:lnTo>
                      <a:lnTo>
                        <a:pt x="734" y="959"/>
                      </a:lnTo>
                      <a:lnTo>
                        <a:pt x="734" y="958"/>
                      </a:lnTo>
                      <a:lnTo>
                        <a:pt x="736" y="958"/>
                      </a:lnTo>
                      <a:lnTo>
                        <a:pt x="736" y="956"/>
                      </a:lnTo>
                      <a:lnTo>
                        <a:pt x="736" y="955"/>
                      </a:lnTo>
                      <a:lnTo>
                        <a:pt x="738" y="955"/>
                      </a:lnTo>
                      <a:lnTo>
                        <a:pt x="739" y="955"/>
                      </a:lnTo>
                      <a:lnTo>
                        <a:pt x="739" y="953"/>
                      </a:lnTo>
                      <a:lnTo>
                        <a:pt x="741" y="953"/>
                      </a:lnTo>
                      <a:lnTo>
                        <a:pt x="743" y="953"/>
                      </a:lnTo>
                      <a:lnTo>
                        <a:pt x="744" y="953"/>
                      </a:lnTo>
                      <a:lnTo>
                        <a:pt x="746" y="953"/>
                      </a:lnTo>
                      <a:lnTo>
                        <a:pt x="748" y="953"/>
                      </a:lnTo>
                      <a:lnTo>
                        <a:pt x="748" y="951"/>
                      </a:lnTo>
                      <a:lnTo>
                        <a:pt x="750" y="951"/>
                      </a:lnTo>
                      <a:lnTo>
                        <a:pt x="750" y="953"/>
                      </a:lnTo>
                      <a:lnTo>
                        <a:pt x="751" y="951"/>
                      </a:lnTo>
                      <a:lnTo>
                        <a:pt x="751" y="936"/>
                      </a:lnTo>
                      <a:lnTo>
                        <a:pt x="753" y="913"/>
                      </a:lnTo>
                      <a:lnTo>
                        <a:pt x="751" y="912"/>
                      </a:lnTo>
                      <a:lnTo>
                        <a:pt x="750" y="912"/>
                      </a:lnTo>
                      <a:lnTo>
                        <a:pt x="748" y="912"/>
                      </a:lnTo>
                      <a:lnTo>
                        <a:pt x="746" y="913"/>
                      </a:lnTo>
                      <a:lnTo>
                        <a:pt x="744" y="913"/>
                      </a:lnTo>
                      <a:lnTo>
                        <a:pt x="746" y="913"/>
                      </a:lnTo>
                      <a:lnTo>
                        <a:pt x="744" y="913"/>
                      </a:lnTo>
                      <a:lnTo>
                        <a:pt x="744" y="915"/>
                      </a:lnTo>
                      <a:lnTo>
                        <a:pt x="744" y="917"/>
                      </a:lnTo>
                      <a:lnTo>
                        <a:pt x="743" y="917"/>
                      </a:lnTo>
                      <a:lnTo>
                        <a:pt x="741" y="917"/>
                      </a:lnTo>
                      <a:lnTo>
                        <a:pt x="739" y="918"/>
                      </a:lnTo>
                      <a:lnTo>
                        <a:pt x="739" y="920"/>
                      </a:lnTo>
                      <a:lnTo>
                        <a:pt x="739" y="922"/>
                      </a:lnTo>
                      <a:lnTo>
                        <a:pt x="738" y="922"/>
                      </a:lnTo>
                      <a:lnTo>
                        <a:pt x="739" y="922"/>
                      </a:lnTo>
                      <a:lnTo>
                        <a:pt x="739" y="923"/>
                      </a:lnTo>
                      <a:lnTo>
                        <a:pt x="738" y="923"/>
                      </a:lnTo>
                      <a:lnTo>
                        <a:pt x="736" y="923"/>
                      </a:lnTo>
                      <a:lnTo>
                        <a:pt x="736" y="925"/>
                      </a:lnTo>
                      <a:lnTo>
                        <a:pt x="734" y="925"/>
                      </a:lnTo>
                      <a:lnTo>
                        <a:pt x="734" y="927"/>
                      </a:lnTo>
                      <a:lnTo>
                        <a:pt x="733" y="927"/>
                      </a:lnTo>
                      <a:lnTo>
                        <a:pt x="733" y="928"/>
                      </a:lnTo>
                      <a:lnTo>
                        <a:pt x="731" y="928"/>
                      </a:lnTo>
                      <a:lnTo>
                        <a:pt x="731" y="930"/>
                      </a:lnTo>
                      <a:lnTo>
                        <a:pt x="729" y="930"/>
                      </a:lnTo>
                      <a:lnTo>
                        <a:pt x="729" y="932"/>
                      </a:lnTo>
                      <a:lnTo>
                        <a:pt x="728" y="932"/>
                      </a:lnTo>
                      <a:lnTo>
                        <a:pt x="728" y="933"/>
                      </a:lnTo>
                      <a:lnTo>
                        <a:pt x="726" y="933"/>
                      </a:lnTo>
                      <a:lnTo>
                        <a:pt x="724" y="933"/>
                      </a:lnTo>
                      <a:lnTo>
                        <a:pt x="724" y="935"/>
                      </a:lnTo>
                      <a:lnTo>
                        <a:pt x="724" y="933"/>
                      </a:lnTo>
                      <a:lnTo>
                        <a:pt x="723" y="933"/>
                      </a:lnTo>
                      <a:lnTo>
                        <a:pt x="723" y="935"/>
                      </a:lnTo>
                      <a:lnTo>
                        <a:pt x="721" y="935"/>
                      </a:lnTo>
                      <a:lnTo>
                        <a:pt x="719" y="935"/>
                      </a:lnTo>
                      <a:lnTo>
                        <a:pt x="719" y="936"/>
                      </a:lnTo>
                      <a:lnTo>
                        <a:pt x="717" y="936"/>
                      </a:lnTo>
                      <a:lnTo>
                        <a:pt x="717" y="938"/>
                      </a:lnTo>
                      <a:lnTo>
                        <a:pt x="717" y="940"/>
                      </a:lnTo>
                      <a:lnTo>
                        <a:pt x="719" y="940"/>
                      </a:lnTo>
                      <a:lnTo>
                        <a:pt x="717" y="940"/>
                      </a:lnTo>
                      <a:lnTo>
                        <a:pt x="717" y="941"/>
                      </a:lnTo>
                      <a:lnTo>
                        <a:pt x="717" y="943"/>
                      </a:lnTo>
                      <a:lnTo>
                        <a:pt x="717" y="945"/>
                      </a:lnTo>
                      <a:lnTo>
                        <a:pt x="716" y="945"/>
                      </a:lnTo>
                      <a:lnTo>
                        <a:pt x="716" y="946"/>
                      </a:lnTo>
                      <a:lnTo>
                        <a:pt x="716" y="948"/>
                      </a:lnTo>
                      <a:lnTo>
                        <a:pt x="714" y="948"/>
                      </a:lnTo>
                      <a:lnTo>
                        <a:pt x="714" y="946"/>
                      </a:lnTo>
                      <a:lnTo>
                        <a:pt x="712" y="946"/>
                      </a:lnTo>
                      <a:lnTo>
                        <a:pt x="712" y="948"/>
                      </a:lnTo>
                      <a:lnTo>
                        <a:pt x="712" y="946"/>
                      </a:lnTo>
                      <a:lnTo>
                        <a:pt x="712" y="948"/>
                      </a:lnTo>
                      <a:lnTo>
                        <a:pt x="711" y="946"/>
                      </a:lnTo>
                      <a:lnTo>
                        <a:pt x="711" y="948"/>
                      </a:lnTo>
                      <a:lnTo>
                        <a:pt x="709" y="946"/>
                      </a:lnTo>
                      <a:lnTo>
                        <a:pt x="709" y="948"/>
                      </a:lnTo>
                      <a:lnTo>
                        <a:pt x="709" y="946"/>
                      </a:lnTo>
                      <a:lnTo>
                        <a:pt x="707" y="946"/>
                      </a:lnTo>
                      <a:lnTo>
                        <a:pt x="706" y="946"/>
                      </a:lnTo>
                      <a:lnTo>
                        <a:pt x="704" y="946"/>
                      </a:lnTo>
                      <a:lnTo>
                        <a:pt x="704" y="948"/>
                      </a:lnTo>
                      <a:lnTo>
                        <a:pt x="702" y="948"/>
                      </a:lnTo>
                      <a:lnTo>
                        <a:pt x="701" y="948"/>
                      </a:lnTo>
                      <a:lnTo>
                        <a:pt x="699" y="948"/>
                      </a:lnTo>
                      <a:lnTo>
                        <a:pt x="699" y="950"/>
                      </a:lnTo>
                      <a:lnTo>
                        <a:pt x="697" y="950"/>
                      </a:lnTo>
                      <a:lnTo>
                        <a:pt x="697" y="951"/>
                      </a:lnTo>
                      <a:lnTo>
                        <a:pt x="695" y="951"/>
                      </a:lnTo>
                      <a:lnTo>
                        <a:pt x="694" y="951"/>
                      </a:lnTo>
                      <a:lnTo>
                        <a:pt x="692" y="951"/>
                      </a:lnTo>
                      <a:lnTo>
                        <a:pt x="690" y="951"/>
                      </a:lnTo>
                      <a:lnTo>
                        <a:pt x="689" y="951"/>
                      </a:lnTo>
                      <a:lnTo>
                        <a:pt x="689" y="950"/>
                      </a:lnTo>
                      <a:lnTo>
                        <a:pt x="689" y="951"/>
                      </a:lnTo>
                      <a:lnTo>
                        <a:pt x="689" y="950"/>
                      </a:lnTo>
                      <a:lnTo>
                        <a:pt x="687" y="950"/>
                      </a:lnTo>
                      <a:lnTo>
                        <a:pt x="685" y="948"/>
                      </a:lnTo>
                      <a:lnTo>
                        <a:pt x="687" y="948"/>
                      </a:lnTo>
                      <a:lnTo>
                        <a:pt x="687" y="946"/>
                      </a:lnTo>
                      <a:lnTo>
                        <a:pt x="687" y="945"/>
                      </a:lnTo>
                      <a:lnTo>
                        <a:pt x="687" y="943"/>
                      </a:lnTo>
                      <a:lnTo>
                        <a:pt x="687" y="945"/>
                      </a:lnTo>
                      <a:lnTo>
                        <a:pt x="687" y="943"/>
                      </a:lnTo>
                      <a:lnTo>
                        <a:pt x="685" y="943"/>
                      </a:lnTo>
                      <a:lnTo>
                        <a:pt x="684" y="943"/>
                      </a:lnTo>
                      <a:lnTo>
                        <a:pt x="684" y="941"/>
                      </a:lnTo>
                      <a:lnTo>
                        <a:pt x="684" y="940"/>
                      </a:lnTo>
                      <a:lnTo>
                        <a:pt x="682" y="940"/>
                      </a:lnTo>
                      <a:lnTo>
                        <a:pt x="680" y="940"/>
                      </a:lnTo>
                      <a:lnTo>
                        <a:pt x="679" y="940"/>
                      </a:lnTo>
                      <a:lnTo>
                        <a:pt x="679" y="938"/>
                      </a:lnTo>
                      <a:lnTo>
                        <a:pt x="677" y="938"/>
                      </a:lnTo>
                      <a:lnTo>
                        <a:pt x="679" y="938"/>
                      </a:lnTo>
                      <a:lnTo>
                        <a:pt x="677" y="938"/>
                      </a:lnTo>
                      <a:lnTo>
                        <a:pt x="677" y="936"/>
                      </a:lnTo>
                      <a:lnTo>
                        <a:pt x="679" y="936"/>
                      </a:lnTo>
                      <a:lnTo>
                        <a:pt x="677" y="936"/>
                      </a:lnTo>
                      <a:lnTo>
                        <a:pt x="677" y="935"/>
                      </a:lnTo>
                      <a:lnTo>
                        <a:pt x="675" y="935"/>
                      </a:lnTo>
                      <a:lnTo>
                        <a:pt x="674" y="935"/>
                      </a:lnTo>
                      <a:lnTo>
                        <a:pt x="672" y="935"/>
                      </a:lnTo>
                      <a:lnTo>
                        <a:pt x="670" y="935"/>
                      </a:lnTo>
                      <a:lnTo>
                        <a:pt x="668" y="935"/>
                      </a:lnTo>
                      <a:lnTo>
                        <a:pt x="668" y="933"/>
                      </a:lnTo>
                      <a:lnTo>
                        <a:pt x="667" y="933"/>
                      </a:lnTo>
                      <a:lnTo>
                        <a:pt x="667" y="935"/>
                      </a:lnTo>
                      <a:lnTo>
                        <a:pt x="665" y="935"/>
                      </a:lnTo>
                      <a:lnTo>
                        <a:pt x="665" y="936"/>
                      </a:lnTo>
                      <a:lnTo>
                        <a:pt x="663" y="935"/>
                      </a:lnTo>
                      <a:lnTo>
                        <a:pt x="663" y="936"/>
                      </a:lnTo>
                      <a:lnTo>
                        <a:pt x="662" y="936"/>
                      </a:lnTo>
                      <a:lnTo>
                        <a:pt x="662" y="935"/>
                      </a:lnTo>
                      <a:lnTo>
                        <a:pt x="660" y="935"/>
                      </a:lnTo>
                      <a:lnTo>
                        <a:pt x="660" y="936"/>
                      </a:lnTo>
                      <a:lnTo>
                        <a:pt x="658" y="936"/>
                      </a:lnTo>
                      <a:lnTo>
                        <a:pt x="657" y="936"/>
                      </a:lnTo>
                      <a:lnTo>
                        <a:pt x="657" y="938"/>
                      </a:lnTo>
                      <a:lnTo>
                        <a:pt x="655" y="938"/>
                      </a:lnTo>
                      <a:lnTo>
                        <a:pt x="653" y="938"/>
                      </a:lnTo>
                      <a:lnTo>
                        <a:pt x="652" y="938"/>
                      </a:lnTo>
                      <a:lnTo>
                        <a:pt x="652" y="940"/>
                      </a:lnTo>
                      <a:lnTo>
                        <a:pt x="652" y="941"/>
                      </a:lnTo>
                      <a:lnTo>
                        <a:pt x="650" y="941"/>
                      </a:lnTo>
                      <a:lnTo>
                        <a:pt x="652" y="941"/>
                      </a:lnTo>
                      <a:lnTo>
                        <a:pt x="652" y="943"/>
                      </a:lnTo>
                      <a:lnTo>
                        <a:pt x="650" y="943"/>
                      </a:lnTo>
                      <a:lnTo>
                        <a:pt x="648" y="943"/>
                      </a:lnTo>
                      <a:lnTo>
                        <a:pt x="648" y="945"/>
                      </a:lnTo>
                      <a:lnTo>
                        <a:pt x="647" y="945"/>
                      </a:lnTo>
                      <a:lnTo>
                        <a:pt x="645" y="946"/>
                      </a:lnTo>
                      <a:lnTo>
                        <a:pt x="643" y="946"/>
                      </a:lnTo>
                      <a:lnTo>
                        <a:pt x="641" y="946"/>
                      </a:lnTo>
                      <a:lnTo>
                        <a:pt x="641" y="948"/>
                      </a:lnTo>
                      <a:lnTo>
                        <a:pt x="640" y="948"/>
                      </a:lnTo>
                      <a:lnTo>
                        <a:pt x="638" y="948"/>
                      </a:lnTo>
                      <a:lnTo>
                        <a:pt x="638" y="946"/>
                      </a:lnTo>
                      <a:lnTo>
                        <a:pt x="636" y="946"/>
                      </a:lnTo>
                      <a:lnTo>
                        <a:pt x="635" y="946"/>
                      </a:lnTo>
                      <a:lnTo>
                        <a:pt x="633" y="946"/>
                      </a:lnTo>
                      <a:lnTo>
                        <a:pt x="633" y="948"/>
                      </a:lnTo>
                      <a:lnTo>
                        <a:pt x="633" y="946"/>
                      </a:lnTo>
                      <a:lnTo>
                        <a:pt x="633" y="948"/>
                      </a:lnTo>
                      <a:lnTo>
                        <a:pt x="631" y="948"/>
                      </a:lnTo>
                      <a:lnTo>
                        <a:pt x="630" y="948"/>
                      </a:lnTo>
                      <a:lnTo>
                        <a:pt x="630" y="950"/>
                      </a:lnTo>
                      <a:lnTo>
                        <a:pt x="628" y="950"/>
                      </a:lnTo>
                      <a:lnTo>
                        <a:pt x="630" y="950"/>
                      </a:lnTo>
                      <a:lnTo>
                        <a:pt x="628" y="950"/>
                      </a:lnTo>
                      <a:lnTo>
                        <a:pt x="628" y="948"/>
                      </a:lnTo>
                      <a:lnTo>
                        <a:pt x="628" y="950"/>
                      </a:lnTo>
                      <a:lnTo>
                        <a:pt x="628" y="948"/>
                      </a:lnTo>
                      <a:lnTo>
                        <a:pt x="626" y="948"/>
                      </a:lnTo>
                      <a:lnTo>
                        <a:pt x="626" y="950"/>
                      </a:lnTo>
                      <a:lnTo>
                        <a:pt x="626" y="948"/>
                      </a:lnTo>
                      <a:lnTo>
                        <a:pt x="626" y="950"/>
                      </a:lnTo>
                      <a:lnTo>
                        <a:pt x="626" y="948"/>
                      </a:lnTo>
                      <a:lnTo>
                        <a:pt x="626" y="950"/>
                      </a:lnTo>
                      <a:lnTo>
                        <a:pt x="625" y="950"/>
                      </a:lnTo>
                      <a:lnTo>
                        <a:pt x="623" y="950"/>
                      </a:lnTo>
                      <a:lnTo>
                        <a:pt x="621" y="950"/>
                      </a:lnTo>
                      <a:lnTo>
                        <a:pt x="621" y="948"/>
                      </a:lnTo>
                      <a:lnTo>
                        <a:pt x="621" y="950"/>
                      </a:lnTo>
                      <a:lnTo>
                        <a:pt x="619" y="948"/>
                      </a:lnTo>
                      <a:lnTo>
                        <a:pt x="619" y="950"/>
                      </a:lnTo>
                      <a:lnTo>
                        <a:pt x="619" y="948"/>
                      </a:lnTo>
                      <a:lnTo>
                        <a:pt x="618" y="948"/>
                      </a:lnTo>
                      <a:lnTo>
                        <a:pt x="618" y="950"/>
                      </a:lnTo>
                      <a:lnTo>
                        <a:pt x="616" y="950"/>
                      </a:lnTo>
                      <a:lnTo>
                        <a:pt x="616" y="951"/>
                      </a:lnTo>
                      <a:lnTo>
                        <a:pt x="614" y="950"/>
                      </a:lnTo>
                      <a:lnTo>
                        <a:pt x="613" y="950"/>
                      </a:lnTo>
                      <a:lnTo>
                        <a:pt x="611" y="950"/>
                      </a:lnTo>
                      <a:lnTo>
                        <a:pt x="613" y="950"/>
                      </a:lnTo>
                      <a:lnTo>
                        <a:pt x="611" y="950"/>
                      </a:lnTo>
                      <a:lnTo>
                        <a:pt x="611" y="948"/>
                      </a:lnTo>
                      <a:lnTo>
                        <a:pt x="609" y="948"/>
                      </a:lnTo>
                      <a:lnTo>
                        <a:pt x="609" y="946"/>
                      </a:lnTo>
                      <a:lnTo>
                        <a:pt x="608" y="948"/>
                      </a:lnTo>
                      <a:lnTo>
                        <a:pt x="606" y="946"/>
                      </a:lnTo>
                      <a:lnTo>
                        <a:pt x="608" y="946"/>
                      </a:lnTo>
                      <a:lnTo>
                        <a:pt x="606" y="946"/>
                      </a:lnTo>
                      <a:lnTo>
                        <a:pt x="606" y="945"/>
                      </a:lnTo>
                      <a:lnTo>
                        <a:pt x="606" y="946"/>
                      </a:lnTo>
                      <a:lnTo>
                        <a:pt x="606" y="945"/>
                      </a:lnTo>
                      <a:lnTo>
                        <a:pt x="606" y="946"/>
                      </a:lnTo>
                      <a:lnTo>
                        <a:pt x="606" y="945"/>
                      </a:lnTo>
                      <a:lnTo>
                        <a:pt x="604" y="945"/>
                      </a:lnTo>
                      <a:lnTo>
                        <a:pt x="604" y="946"/>
                      </a:lnTo>
                      <a:lnTo>
                        <a:pt x="604" y="945"/>
                      </a:lnTo>
                      <a:lnTo>
                        <a:pt x="604" y="943"/>
                      </a:lnTo>
                      <a:lnTo>
                        <a:pt x="603" y="943"/>
                      </a:lnTo>
                      <a:lnTo>
                        <a:pt x="603" y="941"/>
                      </a:lnTo>
                      <a:lnTo>
                        <a:pt x="603" y="943"/>
                      </a:lnTo>
                      <a:lnTo>
                        <a:pt x="601" y="943"/>
                      </a:lnTo>
                      <a:lnTo>
                        <a:pt x="601" y="941"/>
                      </a:lnTo>
                      <a:lnTo>
                        <a:pt x="599" y="941"/>
                      </a:lnTo>
                      <a:lnTo>
                        <a:pt x="601" y="941"/>
                      </a:lnTo>
                      <a:lnTo>
                        <a:pt x="601" y="940"/>
                      </a:lnTo>
                      <a:lnTo>
                        <a:pt x="599" y="940"/>
                      </a:lnTo>
                      <a:lnTo>
                        <a:pt x="599" y="941"/>
                      </a:lnTo>
                      <a:lnTo>
                        <a:pt x="598" y="941"/>
                      </a:lnTo>
                      <a:lnTo>
                        <a:pt x="598" y="940"/>
                      </a:lnTo>
                      <a:lnTo>
                        <a:pt x="598" y="941"/>
                      </a:lnTo>
                      <a:lnTo>
                        <a:pt x="596" y="941"/>
                      </a:lnTo>
                      <a:lnTo>
                        <a:pt x="594" y="941"/>
                      </a:lnTo>
                      <a:lnTo>
                        <a:pt x="594" y="940"/>
                      </a:lnTo>
                      <a:lnTo>
                        <a:pt x="592" y="938"/>
                      </a:lnTo>
                      <a:lnTo>
                        <a:pt x="591" y="938"/>
                      </a:lnTo>
                      <a:lnTo>
                        <a:pt x="589" y="938"/>
                      </a:lnTo>
                      <a:lnTo>
                        <a:pt x="587" y="938"/>
                      </a:lnTo>
                      <a:lnTo>
                        <a:pt x="586" y="938"/>
                      </a:lnTo>
                      <a:lnTo>
                        <a:pt x="586" y="936"/>
                      </a:lnTo>
                      <a:lnTo>
                        <a:pt x="586" y="938"/>
                      </a:lnTo>
                      <a:lnTo>
                        <a:pt x="586" y="936"/>
                      </a:lnTo>
                      <a:lnTo>
                        <a:pt x="584" y="936"/>
                      </a:lnTo>
                      <a:lnTo>
                        <a:pt x="584" y="935"/>
                      </a:lnTo>
                      <a:lnTo>
                        <a:pt x="582" y="935"/>
                      </a:lnTo>
                      <a:lnTo>
                        <a:pt x="581" y="935"/>
                      </a:lnTo>
                      <a:lnTo>
                        <a:pt x="579" y="935"/>
                      </a:lnTo>
                      <a:lnTo>
                        <a:pt x="579" y="933"/>
                      </a:lnTo>
                      <a:lnTo>
                        <a:pt x="577" y="933"/>
                      </a:lnTo>
                      <a:lnTo>
                        <a:pt x="576" y="932"/>
                      </a:lnTo>
                      <a:lnTo>
                        <a:pt x="574" y="932"/>
                      </a:lnTo>
                      <a:lnTo>
                        <a:pt x="574" y="930"/>
                      </a:lnTo>
                      <a:lnTo>
                        <a:pt x="574" y="928"/>
                      </a:lnTo>
                      <a:lnTo>
                        <a:pt x="572" y="930"/>
                      </a:lnTo>
                      <a:lnTo>
                        <a:pt x="572" y="928"/>
                      </a:lnTo>
                      <a:lnTo>
                        <a:pt x="574" y="927"/>
                      </a:lnTo>
                      <a:lnTo>
                        <a:pt x="572" y="927"/>
                      </a:lnTo>
                      <a:lnTo>
                        <a:pt x="572" y="925"/>
                      </a:lnTo>
                      <a:lnTo>
                        <a:pt x="571" y="925"/>
                      </a:lnTo>
                      <a:lnTo>
                        <a:pt x="571" y="923"/>
                      </a:lnTo>
                      <a:lnTo>
                        <a:pt x="571" y="925"/>
                      </a:lnTo>
                      <a:lnTo>
                        <a:pt x="569" y="925"/>
                      </a:lnTo>
                      <a:lnTo>
                        <a:pt x="569" y="923"/>
                      </a:lnTo>
                      <a:lnTo>
                        <a:pt x="567" y="923"/>
                      </a:lnTo>
                      <a:lnTo>
                        <a:pt x="567" y="922"/>
                      </a:lnTo>
                      <a:lnTo>
                        <a:pt x="567" y="923"/>
                      </a:lnTo>
                      <a:lnTo>
                        <a:pt x="565" y="923"/>
                      </a:lnTo>
                      <a:lnTo>
                        <a:pt x="565" y="922"/>
                      </a:lnTo>
                      <a:lnTo>
                        <a:pt x="565" y="923"/>
                      </a:lnTo>
                      <a:lnTo>
                        <a:pt x="564" y="923"/>
                      </a:lnTo>
                      <a:lnTo>
                        <a:pt x="564" y="922"/>
                      </a:lnTo>
                      <a:lnTo>
                        <a:pt x="564" y="923"/>
                      </a:lnTo>
                      <a:lnTo>
                        <a:pt x="562" y="922"/>
                      </a:lnTo>
                      <a:lnTo>
                        <a:pt x="562" y="923"/>
                      </a:lnTo>
                      <a:lnTo>
                        <a:pt x="560" y="922"/>
                      </a:lnTo>
                      <a:lnTo>
                        <a:pt x="560" y="923"/>
                      </a:lnTo>
                      <a:lnTo>
                        <a:pt x="559" y="922"/>
                      </a:lnTo>
                      <a:lnTo>
                        <a:pt x="557" y="922"/>
                      </a:lnTo>
                      <a:lnTo>
                        <a:pt x="555" y="920"/>
                      </a:lnTo>
                      <a:lnTo>
                        <a:pt x="555" y="922"/>
                      </a:lnTo>
                      <a:lnTo>
                        <a:pt x="554" y="920"/>
                      </a:lnTo>
                      <a:lnTo>
                        <a:pt x="554" y="922"/>
                      </a:lnTo>
                      <a:lnTo>
                        <a:pt x="554" y="920"/>
                      </a:lnTo>
                      <a:lnTo>
                        <a:pt x="552" y="920"/>
                      </a:lnTo>
                      <a:lnTo>
                        <a:pt x="552" y="918"/>
                      </a:lnTo>
                      <a:lnTo>
                        <a:pt x="550" y="918"/>
                      </a:lnTo>
                      <a:lnTo>
                        <a:pt x="549" y="918"/>
                      </a:lnTo>
                      <a:lnTo>
                        <a:pt x="550" y="918"/>
                      </a:lnTo>
                      <a:lnTo>
                        <a:pt x="550" y="917"/>
                      </a:lnTo>
                      <a:lnTo>
                        <a:pt x="549" y="917"/>
                      </a:lnTo>
                      <a:lnTo>
                        <a:pt x="549" y="918"/>
                      </a:lnTo>
                      <a:lnTo>
                        <a:pt x="549" y="917"/>
                      </a:lnTo>
                      <a:lnTo>
                        <a:pt x="547" y="917"/>
                      </a:lnTo>
                      <a:lnTo>
                        <a:pt x="545" y="915"/>
                      </a:lnTo>
                      <a:lnTo>
                        <a:pt x="545" y="917"/>
                      </a:lnTo>
                      <a:lnTo>
                        <a:pt x="543" y="917"/>
                      </a:lnTo>
                      <a:lnTo>
                        <a:pt x="543" y="915"/>
                      </a:lnTo>
                      <a:lnTo>
                        <a:pt x="543" y="917"/>
                      </a:lnTo>
                      <a:lnTo>
                        <a:pt x="542" y="915"/>
                      </a:lnTo>
                      <a:lnTo>
                        <a:pt x="543" y="915"/>
                      </a:lnTo>
                      <a:lnTo>
                        <a:pt x="542" y="915"/>
                      </a:lnTo>
                      <a:lnTo>
                        <a:pt x="540" y="915"/>
                      </a:lnTo>
                      <a:lnTo>
                        <a:pt x="540" y="913"/>
                      </a:lnTo>
                      <a:lnTo>
                        <a:pt x="540" y="915"/>
                      </a:lnTo>
                      <a:lnTo>
                        <a:pt x="538" y="917"/>
                      </a:lnTo>
                      <a:lnTo>
                        <a:pt x="538" y="915"/>
                      </a:lnTo>
                      <a:lnTo>
                        <a:pt x="537" y="913"/>
                      </a:lnTo>
                      <a:lnTo>
                        <a:pt x="538" y="913"/>
                      </a:lnTo>
                      <a:lnTo>
                        <a:pt x="537" y="913"/>
                      </a:lnTo>
                      <a:lnTo>
                        <a:pt x="535" y="913"/>
                      </a:lnTo>
                      <a:lnTo>
                        <a:pt x="533" y="913"/>
                      </a:lnTo>
                      <a:lnTo>
                        <a:pt x="535" y="913"/>
                      </a:lnTo>
                      <a:lnTo>
                        <a:pt x="533" y="912"/>
                      </a:lnTo>
                      <a:lnTo>
                        <a:pt x="533" y="913"/>
                      </a:lnTo>
                      <a:lnTo>
                        <a:pt x="533" y="912"/>
                      </a:lnTo>
                      <a:lnTo>
                        <a:pt x="532" y="912"/>
                      </a:lnTo>
                      <a:lnTo>
                        <a:pt x="532" y="910"/>
                      </a:lnTo>
                      <a:lnTo>
                        <a:pt x="533" y="910"/>
                      </a:lnTo>
                      <a:lnTo>
                        <a:pt x="533" y="909"/>
                      </a:lnTo>
                      <a:lnTo>
                        <a:pt x="532" y="909"/>
                      </a:lnTo>
                      <a:lnTo>
                        <a:pt x="530" y="907"/>
                      </a:lnTo>
                      <a:lnTo>
                        <a:pt x="528" y="907"/>
                      </a:lnTo>
                      <a:lnTo>
                        <a:pt x="527" y="907"/>
                      </a:lnTo>
                      <a:lnTo>
                        <a:pt x="525" y="907"/>
                      </a:lnTo>
                      <a:lnTo>
                        <a:pt x="523" y="907"/>
                      </a:lnTo>
                      <a:lnTo>
                        <a:pt x="523" y="905"/>
                      </a:lnTo>
                      <a:lnTo>
                        <a:pt x="522" y="905"/>
                      </a:lnTo>
                      <a:lnTo>
                        <a:pt x="522" y="907"/>
                      </a:lnTo>
                      <a:lnTo>
                        <a:pt x="520" y="907"/>
                      </a:lnTo>
                      <a:lnTo>
                        <a:pt x="520" y="909"/>
                      </a:lnTo>
                      <a:lnTo>
                        <a:pt x="520" y="907"/>
                      </a:lnTo>
                      <a:lnTo>
                        <a:pt x="518" y="907"/>
                      </a:lnTo>
                      <a:lnTo>
                        <a:pt x="518" y="909"/>
                      </a:lnTo>
                      <a:lnTo>
                        <a:pt x="516" y="909"/>
                      </a:lnTo>
                      <a:lnTo>
                        <a:pt x="515" y="909"/>
                      </a:lnTo>
                      <a:lnTo>
                        <a:pt x="516" y="909"/>
                      </a:lnTo>
                      <a:lnTo>
                        <a:pt x="515" y="909"/>
                      </a:lnTo>
                      <a:lnTo>
                        <a:pt x="515" y="910"/>
                      </a:lnTo>
                      <a:lnTo>
                        <a:pt x="513" y="910"/>
                      </a:lnTo>
                      <a:lnTo>
                        <a:pt x="513" y="912"/>
                      </a:lnTo>
                      <a:lnTo>
                        <a:pt x="513" y="910"/>
                      </a:lnTo>
                      <a:lnTo>
                        <a:pt x="511" y="910"/>
                      </a:lnTo>
                      <a:lnTo>
                        <a:pt x="513" y="912"/>
                      </a:lnTo>
                      <a:lnTo>
                        <a:pt x="511" y="912"/>
                      </a:lnTo>
                      <a:lnTo>
                        <a:pt x="511" y="910"/>
                      </a:lnTo>
                      <a:lnTo>
                        <a:pt x="510" y="910"/>
                      </a:lnTo>
                      <a:lnTo>
                        <a:pt x="510" y="912"/>
                      </a:lnTo>
                      <a:lnTo>
                        <a:pt x="508" y="912"/>
                      </a:lnTo>
                      <a:lnTo>
                        <a:pt x="510" y="913"/>
                      </a:lnTo>
                      <a:lnTo>
                        <a:pt x="508" y="913"/>
                      </a:lnTo>
                      <a:lnTo>
                        <a:pt x="508" y="912"/>
                      </a:lnTo>
                      <a:lnTo>
                        <a:pt x="508" y="913"/>
                      </a:lnTo>
                      <a:lnTo>
                        <a:pt x="506" y="913"/>
                      </a:lnTo>
                      <a:lnTo>
                        <a:pt x="506" y="915"/>
                      </a:lnTo>
                      <a:lnTo>
                        <a:pt x="505" y="915"/>
                      </a:lnTo>
                      <a:lnTo>
                        <a:pt x="505" y="917"/>
                      </a:lnTo>
                      <a:lnTo>
                        <a:pt x="505" y="915"/>
                      </a:lnTo>
                      <a:lnTo>
                        <a:pt x="503" y="915"/>
                      </a:lnTo>
                      <a:lnTo>
                        <a:pt x="503" y="917"/>
                      </a:lnTo>
                      <a:lnTo>
                        <a:pt x="501" y="917"/>
                      </a:lnTo>
                      <a:lnTo>
                        <a:pt x="500" y="917"/>
                      </a:lnTo>
                      <a:lnTo>
                        <a:pt x="500" y="915"/>
                      </a:lnTo>
                      <a:lnTo>
                        <a:pt x="501" y="915"/>
                      </a:lnTo>
                      <a:lnTo>
                        <a:pt x="500" y="915"/>
                      </a:lnTo>
                      <a:lnTo>
                        <a:pt x="500" y="917"/>
                      </a:lnTo>
                      <a:lnTo>
                        <a:pt x="498" y="917"/>
                      </a:lnTo>
                      <a:lnTo>
                        <a:pt x="496" y="917"/>
                      </a:lnTo>
                      <a:lnTo>
                        <a:pt x="496" y="918"/>
                      </a:lnTo>
                      <a:lnTo>
                        <a:pt x="495" y="918"/>
                      </a:lnTo>
                      <a:lnTo>
                        <a:pt x="495" y="920"/>
                      </a:lnTo>
                      <a:lnTo>
                        <a:pt x="495" y="918"/>
                      </a:lnTo>
                      <a:lnTo>
                        <a:pt x="493" y="920"/>
                      </a:lnTo>
                      <a:lnTo>
                        <a:pt x="491" y="922"/>
                      </a:lnTo>
                      <a:lnTo>
                        <a:pt x="491" y="920"/>
                      </a:lnTo>
                      <a:lnTo>
                        <a:pt x="491" y="918"/>
                      </a:lnTo>
                      <a:lnTo>
                        <a:pt x="489" y="918"/>
                      </a:lnTo>
                      <a:lnTo>
                        <a:pt x="489" y="920"/>
                      </a:lnTo>
                      <a:lnTo>
                        <a:pt x="489" y="918"/>
                      </a:lnTo>
                      <a:lnTo>
                        <a:pt x="488" y="918"/>
                      </a:lnTo>
                      <a:lnTo>
                        <a:pt x="486" y="918"/>
                      </a:lnTo>
                      <a:lnTo>
                        <a:pt x="486" y="917"/>
                      </a:lnTo>
                      <a:lnTo>
                        <a:pt x="484" y="918"/>
                      </a:lnTo>
                      <a:lnTo>
                        <a:pt x="484" y="917"/>
                      </a:lnTo>
                      <a:lnTo>
                        <a:pt x="484" y="918"/>
                      </a:lnTo>
                      <a:lnTo>
                        <a:pt x="486" y="918"/>
                      </a:lnTo>
                      <a:lnTo>
                        <a:pt x="484" y="918"/>
                      </a:lnTo>
                      <a:lnTo>
                        <a:pt x="484" y="920"/>
                      </a:lnTo>
                      <a:lnTo>
                        <a:pt x="484" y="918"/>
                      </a:lnTo>
                      <a:lnTo>
                        <a:pt x="484" y="920"/>
                      </a:lnTo>
                      <a:lnTo>
                        <a:pt x="483" y="920"/>
                      </a:lnTo>
                      <a:lnTo>
                        <a:pt x="481" y="920"/>
                      </a:lnTo>
                      <a:lnTo>
                        <a:pt x="479" y="920"/>
                      </a:lnTo>
                      <a:lnTo>
                        <a:pt x="478" y="920"/>
                      </a:lnTo>
                      <a:lnTo>
                        <a:pt x="479" y="920"/>
                      </a:lnTo>
                      <a:lnTo>
                        <a:pt x="479" y="922"/>
                      </a:lnTo>
                      <a:lnTo>
                        <a:pt x="478" y="920"/>
                      </a:lnTo>
                      <a:lnTo>
                        <a:pt x="476" y="922"/>
                      </a:lnTo>
                      <a:lnTo>
                        <a:pt x="476" y="920"/>
                      </a:lnTo>
                      <a:lnTo>
                        <a:pt x="476" y="922"/>
                      </a:lnTo>
                      <a:lnTo>
                        <a:pt x="474" y="920"/>
                      </a:lnTo>
                      <a:lnTo>
                        <a:pt x="474" y="922"/>
                      </a:lnTo>
                      <a:lnTo>
                        <a:pt x="473" y="920"/>
                      </a:lnTo>
                      <a:lnTo>
                        <a:pt x="471" y="920"/>
                      </a:lnTo>
                      <a:lnTo>
                        <a:pt x="473" y="920"/>
                      </a:lnTo>
                      <a:lnTo>
                        <a:pt x="473" y="922"/>
                      </a:lnTo>
                      <a:lnTo>
                        <a:pt x="471" y="920"/>
                      </a:lnTo>
                      <a:lnTo>
                        <a:pt x="471" y="922"/>
                      </a:lnTo>
                      <a:lnTo>
                        <a:pt x="469" y="922"/>
                      </a:lnTo>
                      <a:lnTo>
                        <a:pt x="469" y="920"/>
                      </a:lnTo>
                      <a:lnTo>
                        <a:pt x="467" y="920"/>
                      </a:lnTo>
                      <a:lnTo>
                        <a:pt x="466" y="920"/>
                      </a:lnTo>
                      <a:lnTo>
                        <a:pt x="466" y="918"/>
                      </a:lnTo>
                      <a:lnTo>
                        <a:pt x="464" y="918"/>
                      </a:lnTo>
                      <a:lnTo>
                        <a:pt x="464" y="920"/>
                      </a:lnTo>
                      <a:lnTo>
                        <a:pt x="462" y="920"/>
                      </a:lnTo>
                      <a:lnTo>
                        <a:pt x="461" y="920"/>
                      </a:lnTo>
                      <a:lnTo>
                        <a:pt x="461" y="922"/>
                      </a:lnTo>
                      <a:lnTo>
                        <a:pt x="461" y="923"/>
                      </a:lnTo>
                      <a:lnTo>
                        <a:pt x="459" y="925"/>
                      </a:lnTo>
                      <a:lnTo>
                        <a:pt x="459" y="927"/>
                      </a:lnTo>
                      <a:lnTo>
                        <a:pt x="457" y="927"/>
                      </a:lnTo>
                      <a:lnTo>
                        <a:pt x="456" y="927"/>
                      </a:lnTo>
                      <a:lnTo>
                        <a:pt x="454" y="927"/>
                      </a:lnTo>
                      <a:lnTo>
                        <a:pt x="454" y="928"/>
                      </a:lnTo>
                      <a:lnTo>
                        <a:pt x="454" y="930"/>
                      </a:lnTo>
                      <a:lnTo>
                        <a:pt x="456" y="930"/>
                      </a:lnTo>
                      <a:lnTo>
                        <a:pt x="456" y="932"/>
                      </a:lnTo>
                      <a:lnTo>
                        <a:pt x="454" y="930"/>
                      </a:lnTo>
                      <a:lnTo>
                        <a:pt x="454" y="932"/>
                      </a:lnTo>
                      <a:lnTo>
                        <a:pt x="456" y="932"/>
                      </a:lnTo>
                      <a:lnTo>
                        <a:pt x="456" y="933"/>
                      </a:lnTo>
                      <a:lnTo>
                        <a:pt x="454" y="933"/>
                      </a:lnTo>
                      <a:lnTo>
                        <a:pt x="452" y="933"/>
                      </a:lnTo>
                      <a:lnTo>
                        <a:pt x="452" y="935"/>
                      </a:lnTo>
                      <a:lnTo>
                        <a:pt x="451" y="935"/>
                      </a:lnTo>
                      <a:lnTo>
                        <a:pt x="451" y="936"/>
                      </a:lnTo>
                      <a:lnTo>
                        <a:pt x="452" y="936"/>
                      </a:lnTo>
                      <a:lnTo>
                        <a:pt x="451" y="938"/>
                      </a:lnTo>
                      <a:lnTo>
                        <a:pt x="451" y="940"/>
                      </a:lnTo>
                      <a:lnTo>
                        <a:pt x="449" y="940"/>
                      </a:lnTo>
                      <a:lnTo>
                        <a:pt x="447" y="940"/>
                      </a:lnTo>
                      <a:lnTo>
                        <a:pt x="446" y="940"/>
                      </a:lnTo>
                      <a:lnTo>
                        <a:pt x="446" y="941"/>
                      </a:lnTo>
                      <a:lnTo>
                        <a:pt x="444" y="941"/>
                      </a:lnTo>
                      <a:lnTo>
                        <a:pt x="444" y="943"/>
                      </a:lnTo>
                      <a:lnTo>
                        <a:pt x="442" y="943"/>
                      </a:lnTo>
                      <a:lnTo>
                        <a:pt x="440" y="943"/>
                      </a:lnTo>
                      <a:lnTo>
                        <a:pt x="440" y="945"/>
                      </a:lnTo>
                      <a:lnTo>
                        <a:pt x="440" y="946"/>
                      </a:lnTo>
                      <a:lnTo>
                        <a:pt x="442" y="946"/>
                      </a:lnTo>
                      <a:lnTo>
                        <a:pt x="442" y="948"/>
                      </a:lnTo>
                      <a:lnTo>
                        <a:pt x="440" y="948"/>
                      </a:lnTo>
                      <a:lnTo>
                        <a:pt x="440" y="950"/>
                      </a:lnTo>
                      <a:lnTo>
                        <a:pt x="440" y="951"/>
                      </a:lnTo>
                      <a:lnTo>
                        <a:pt x="439" y="951"/>
                      </a:lnTo>
                      <a:lnTo>
                        <a:pt x="439" y="953"/>
                      </a:lnTo>
                      <a:lnTo>
                        <a:pt x="437" y="953"/>
                      </a:lnTo>
                      <a:lnTo>
                        <a:pt x="437" y="955"/>
                      </a:lnTo>
                      <a:lnTo>
                        <a:pt x="435" y="955"/>
                      </a:lnTo>
                      <a:lnTo>
                        <a:pt x="435" y="956"/>
                      </a:lnTo>
                      <a:lnTo>
                        <a:pt x="434" y="958"/>
                      </a:lnTo>
                      <a:lnTo>
                        <a:pt x="432" y="958"/>
                      </a:lnTo>
                      <a:lnTo>
                        <a:pt x="430" y="959"/>
                      </a:lnTo>
                      <a:lnTo>
                        <a:pt x="429" y="961"/>
                      </a:lnTo>
                      <a:lnTo>
                        <a:pt x="427" y="961"/>
                      </a:lnTo>
                      <a:lnTo>
                        <a:pt x="427" y="963"/>
                      </a:lnTo>
                      <a:lnTo>
                        <a:pt x="427" y="961"/>
                      </a:lnTo>
                      <a:lnTo>
                        <a:pt x="425" y="961"/>
                      </a:lnTo>
                      <a:lnTo>
                        <a:pt x="424" y="963"/>
                      </a:lnTo>
                      <a:lnTo>
                        <a:pt x="422" y="963"/>
                      </a:lnTo>
                      <a:lnTo>
                        <a:pt x="420" y="963"/>
                      </a:lnTo>
                      <a:lnTo>
                        <a:pt x="419" y="963"/>
                      </a:lnTo>
                      <a:lnTo>
                        <a:pt x="417" y="963"/>
                      </a:lnTo>
                      <a:lnTo>
                        <a:pt x="415" y="964"/>
                      </a:lnTo>
                      <a:lnTo>
                        <a:pt x="415" y="963"/>
                      </a:lnTo>
                      <a:lnTo>
                        <a:pt x="415" y="964"/>
                      </a:lnTo>
                      <a:lnTo>
                        <a:pt x="417" y="964"/>
                      </a:lnTo>
                      <a:lnTo>
                        <a:pt x="417" y="966"/>
                      </a:lnTo>
                      <a:lnTo>
                        <a:pt x="415" y="964"/>
                      </a:lnTo>
                      <a:lnTo>
                        <a:pt x="415" y="966"/>
                      </a:lnTo>
                      <a:lnTo>
                        <a:pt x="413" y="966"/>
                      </a:lnTo>
                      <a:lnTo>
                        <a:pt x="412" y="966"/>
                      </a:lnTo>
                      <a:lnTo>
                        <a:pt x="410" y="966"/>
                      </a:lnTo>
                      <a:lnTo>
                        <a:pt x="412" y="966"/>
                      </a:lnTo>
                      <a:lnTo>
                        <a:pt x="410" y="966"/>
                      </a:lnTo>
                      <a:lnTo>
                        <a:pt x="410" y="964"/>
                      </a:lnTo>
                      <a:lnTo>
                        <a:pt x="408" y="966"/>
                      </a:lnTo>
                      <a:lnTo>
                        <a:pt x="408" y="968"/>
                      </a:lnTo>
                      <a:lnTo>
                        <a:pt x="407" y="968"/>
                      </a:lnTo>
                      <a:lnTo>
                        <a:pt x="405" y="968"/>
                      </a:lnTo>
                      <a:lnTo>
                        <a:pt x="403" y="968"/>
                      </a:lnTo>
                      <a:lnTo>
                        <a:pt x="403" y="966"/>
                      </a:lnTo>
                      <a:lnTo>
                        <a:pt x="402" y="966"/>
                      </a:lnTo>
                      <a:lnTo>
                        <a:pt x="402" y="968"/>
                      </a:lnTo>
                      <a:lnTo>
                        <a:pt x="400" y="968"/>
                      </a:lnTo>
                      <a:lnTo>
                        <a:pt x="400" y="969"/>
                      </a:lnTo>
                      <a:lnTo>
                        <a:pt x="398" y="969"/>
                      </a:lnTo>
                      <a:lnTo>
                        <a:pt x="397" y="971"/>
                      </a:lnTo>
                      <a:lnTo>
                        <a:pt x="397" y="973"/>
                      </a:lnTo>
                      <a:lnTo>
                        <a:pt x="395" y="974"/>
                      </a:lnTo>
                      <a:lnTo>
                        <a:pt x="395" y="973"/>
                      </a:lnTo>
                      <a:lnTo>
                        <a:pt x="393" y="973"/>
                      </a:lnTo>
                      <a:lnTo>
                        <a:pt x="393" y="971"/>
                      </a:lnTo>
                      <a:lnTo>
                        <a:pt x="393" y="969"/>
                      </a:lnTo>
                      <a:lnTo>
                        <a:pt x="391" y="969"/>
                      </a:lnTo>
                      <a:lnTo>
                        <a:pt x="390" y="969"/>
                      </a:lnTo>
                      <a:lnTo>
                        <a:pt x="388" y="969"/>
                      </a:lnTo>
                      <a:lnTo>
                        <a:pt x="388" y="968"/>
                      </a:lnTo>
                      <a:lnTo>
                        <a:pt x="386" y="968"/>
                      </a:lnTo>
                      <a:lnTo>
                        <a:pt x="386" y="966"/>
                      </a:lnTo>
                      <a:lnTo>
                        <a:pt x="385" y="966"/>
                      </a:lnTo>
                      <a:lnTo>
                        <a:pt x="385" y="964"/>
                      </a:lnTo>
                      <a:lnTo>
                        <a:pt x="383" y="964"/>
                      </a:lnTo>
                      <a:lnTo>
                        <a:pt x="381" y="964"/>
                      </a:lnTo>
                      <a:lnTo>
                        <a:pt x="381" y="963"/>
                      </a:lnTo>
                      <a:lnTo>
                        <a:pt x="380" y="963"/>
                      </a:lnTo>
                      <a:lnTo>
                        <a:pt x="381" y="963"/>
                      </a:lnTo>
                      <a:lnTo>
                        <a:pt x="381" y="961"/>
                      </a:lnTo>
                      <a:lnTo>
                        <a:pt x="380" y="961"/>
                      </a:lnTo>
                      <a:lnTo>
                        <a:pt x="380" y="959"/>
                      </a:lnTo>
                      <a:lnTo>
                        <a:pt x="380" y="958"/>
                      </a:lnTo>
                      <a:lnTo>
                        <a:pt x="378" y="956"/>
                      </a:lnTo>
                      <a:lnTo>
                        <a:pt x="378" y="958"/>
                      </a:lnTo>
                      <a:lnTo>
                        <a:pt x="376" y="958"/>
                      </a:lnTo>
                      <a:lnTo>
                        <a:pt x="375" y="958"/>
                      </a:lnTo>
                      <a:lnTo>
                        <a:pt x="375" y="956"/>
                      </a:lnTo>
                      <a:lnTo>
                        <a:pt x="373" y="956"/>
                      </a:lnTo>
                      <a:lnTo>
                        <a:pt x="375" y="956"/>
                      </a:lnTo>
                      <a:lnTo>
                        <a:pt x="373" y="955"/>
                      </a:lnTo>
                      <a:lnTo>
                        <a:pt x="375" y="953"/>
                      </a:lnTo>
                      <a:lnTo>
                        <a:pt x="375" y="951"/>
                      </a:lnTo>
                      <a:lnTo>
                        <a:pt x="373" y="950"/>
                      </a:lnTo>
                      <a:lnTo>
                        <a:pt x="375" y="950"/>
                      </a:lnTo>
                      <a:lnTo>
                        <a:pt x="373" y="950"/>
                      </a:lnTo>
                      <a:lnTo>
                        <a:pt x="373" y="948"/>
                      </a:lnTo>
                      <a:lnTo>
                        <a:pt x="373" y="946"/>
                      </a:lnTo>
                      <a:lnTo>
                        <a:pt x="371" y="946"/>
                      </a:lnTo>
                      <a:lnTo>
                        <a:pt x="373" y="946"/>
                      </a:lnTo>
                      <a:lnTo>
                        <a:pt x="371" y="945"/>
                      </a:lnTo>
                      <a:lnTo>
                        <a:pt x="371" y="943"/>
                      </a:lnTo>
                      <a:lnTo>
                        <a:pt x="371" y="941"/>
                      </a:lnTo>
                      <a:lnTo>
                        <a:pt x="371" y="940"/>
                      </a:lnTo>
                      <a:lnTo>
                        <a:pt x="370" y="940"/>
                      </a:lnTo>
                      <a:lnTo>
                        <a:pt x="368" y="940"/>
                      </a:lnTo>
                      <a:lnTo>
                        <a:pt x="368" y="941"/>
                      </a:lnTo>
                      <a:lnTo>
                        <a:pt x="368" y="943"/>
                      </a:lnTo>
                      <a:lnTo>
                        <a:pt x="354" y="932"/>
                      </a:lnTo>
                      <a:lnTo>
                        <a:pt x="346" y="936"/>
                      </a:lnTo>
                      <a:lnTo>
                        <a:pt x="346" y="938"/>
                      </a:lnTo>
                      <a:lnTo>
                        <a:pt x="344" y="938"/>
                      </a:lnTo>
                      <a:lnTo>
                        <a:pt x="344" y="936"/>
                      </a:lnTo>
                      <a:lnTo>
                        <a:pt x="343" y="936"/>
                      </a:lnTo>
                      <a:lnTo>
                        <a:pt x="341" y="936"/>
                      </a:lnTo>
                      <a:lnTo>
                        <a:pt x="339" y="936"/>
                      </a:lnTo>
                      <a:lnTo>
                        <a:pt x="339" y="935"/>
                      </a:lnTo>
                      <a:lnTo>
                        <a:pt x="339" y="933"/>
                      </a:lnTo>
                      <a:lnTo>
                        <a:pt x="337" y="933"/>
                      </a:lnTo>
                      <a:lnTo>
                        <a:pt x="337" y="932"/>
                      </a:lnTo>
                      <a:lnTo>
                        <a:pt x="336" y="933"/>
                      </a:lnTo>
                      <a:lnTo>
                        <a:pt x="334" y="933"/>
                      </a:lnTo>
                      <a:lnTo>
                        <a:pt x="332" y="932"/>
                      </a:lnTo>
                      <a:lnTo>
                        <a:pt x="332" y="930"/>
                      </a:lnTo>
                      <a:lnTo>
                        <a:pt x="332" y="928"/>
                      </a:lnTo>
                      <a:lnTo>
                        <a:pt x="331" y="928"/>
                      </a:lnTo>
                      <a:lnTo>
                        <a:pt x="329" y="928"/>
                      </a:lnTo>
                      <a:lnTo>
                        <a:pt x="329" y="927"/>
                      </a:lnTo>
                      <a:lnTo>
                        <a:pt x="327" y="927"/>
                      </a:lnTo>
                      <a:lnTo>
                        <a:pt x="326" y="927"/>
                      </a:lnTo>
                      <a:lnTo>
                        <a:pt x="324" y="925"/>
                      </a:lnTo>
                      <a:lnTo>
                        <a:pt x="326" y="925"/>
                      </a:lnTo>
                      <a:lnTo>
                        <a:pt x="326" y="923"/>
                      </a:lnTo>
                      <a:lnTo>
                        <a:pt x="324" y="923"/>
                      </a:lnTo>
                      <a:lnTo>
                        <a:pt x="322" y="923"/>
                      </a:lnTo>
                      <a:lnTo>
                        <a:pt x="321" y="923"/>
                      </a:lnTo>
                      <a:lnTo>
                        <a:pt x="319" y="923"/>
                      </a:lnTo>
                      <a:lnTo>
                        <a:pt x="319" y="922"/>
                      </a:lnTo>
                      <a:lnTo>
                        <a:pt x="319" y="920"/>
                      </a:lnTo>
                      <a:lnTo>
                        <a:pt x="317" y="920"/>
                      </a:lnTo>
                      <a:lnTo>
                        <a:pt x="317" y="918"/>
                      </a:lnTo>
                      <a:lnTo>
                        <a:pt x="315" y="918"/>
                      </a:lnTo>
                      <a:lnTo>
                        <a:pt x="315" y="917"/>
                      </a:lnTo>
                      <a:lnTo>
                        <a:pt x="315" y="915"/>
                      </a:lnTo>
                      <a:lnTo>
                        <a:pt x="314" y="915"/>
                      </a:lnTo>
                      <a:lnTo>
                        <a:pt x="314" y="913"/>
                      </a:lnTo>
                      <a:lnTo>
                        <a:pt x="312" y="913"/>
                      </a:lnTo>
                      <a:lnTo>
                        <a:pt x="312" y="912"/>
                      </a:lnTo>
                      <a:lnTo>
                        <a:pt x="310" y="912"/>
                      </a:lnTo>
                      <a:lnTo>
                        <a:pt x="310" y="910"/>
                      </a:lnTo>
                      <a:lnTo>
                        <a:pt x="309" y="910"/>
                      </a:lnTo>
                      <a:lnTo>
                        <a:pt x="309" y="909"/>
                      </a:lnTo>
                      <a:lnTo>
                        <a:pt x="307" y="909"/>
                      </a:lnTo>
                      <a:lnTo>
                        <a:pt x="305" y="907"/>
                      </a:lnTo>
                      <a:lnTo>
                        <a:pt x="305" y="905"/>
                      </a:lnTo>
                      <a:lnTo>
                        <a:pt x="305" y="904"/>
                      </a:lnTo>
                      <a:lnTo>
                        <a:pt x="307" y="902"/>
                      </a:lnTo>
                      <a:lnTo>
                        <a:pt x="307" y="900"/>
                      </a:lnTo>
                      <a:lnTo>
                        <a:pt x="305" y="900"/>
                      </a:lnTo>
                      <a:lnTo>
                        <a:pt x="304" y="900"/>
                      </a:lnTo>
                      <a:lnTo>
                        <a:pt x="304" y="899"/>
                      </a:lnTo>
                      <a:lnTo>
                        <a:pt x="302" y="899"/>
                      </a:lnTo>
                      <a:lnTo>
                        <a:pt x="302" y="897"/>
                      </a:lnTo>
                      <a:lnTo>
                        <a:pt x="302" y="895"/>
                      </a:lnTo>
                      <a:lnTo>
                        <a:pt x="304" y="895"/>
                      </a:lnTo>
                      <a:lnTo>
                        <a:pt x="302" y="895"/>
                      </a:lnTo>
                      <a:lnTo>
                        <a:pt x="302" y="894"/>
                      </a:lnTo>
                      <a:lnTo>
                        <a:pt x="304" y="894"/>
                      </a:lnTo>
                      <a:lnTo>
                        <a:pt x="302" y="894"/>
                      </a:lnTo>
                      <a:lnTo>
                        <a:pt x="302" y="892"/>
                      </a:lnTo>
                      <a:lnTo>
                        <a:pt x="302" y="891"/>
                      </a:lnTo>
                      <a:lnTo>
                        <a:pt x="304" y="891"/>
                      </a:lnTo>
                      <a:lnTo>
                        <a:pt x="304" y="889"/>
                      </a:lnTo>
                      <a:lnTo>
                        <a:pt x="302" y="889"/>
                      </a:lnTo>
                      <a:lnTo>
                        <a:pt x="300" y="887"/>
                      </a:lnTo>
                      <a:lnTo>
                        <a:pt x="302" y="887"/>
                      </a:lnTo>
                      <a:lnTo>
                        <a:pt x="300" y="887"/>
                      </a:lnTo>
                      <a:lnTo>
                        <a:pt x="300" y="886"/>
                      </a:lnTo>
                      <a:lnTo>
                        <a:pt x="300" y="884"/>
                      </a:lnTo>
                      <a:lnTo>
                        <a:pt x="299" y="886"/>
                      </a:lnTo>
                      <a:lnTo>
                        <a:pt x="299" y="884"/>
                      </a:lnTo>
                      <a:lnTo>
                        <a:pt x="299" y="882"/>
                      </a:lnTo>
                      <a:lnTo>
                        <a:pt x="300" y="882"/>
                      </a:lnTo>
                      <a:lnTo>
                        <a:pt x="300" y="881"/>
                      </a:lnTo>
                      <a:lnTo>
                        <a:pt x="299" y="881"/>
                      </a:lnTo>
                      <a:lnTo>
                        <a:pt x="300" y="881"/>
                      </a:lnTo>
                      <a:lnTo>
                        <a:pt x="299" y="881"/>
                      </a:lnTo>
                      <a:lnTo>
                        <a:pt x="300" y="879"/>
                      </a:lnTo>
                      <a:lnTo>
                        <a:pt x="299" y="879"/>
                      </a:lnTo>
                      <a:lnTo>
                        <a:pt x="300" y="877"/>
                      </a:lnTo>
                      <a:lnTo>
                        <a:pt x="299" y="877"/>
                      </a:lnTo>
                      <a:lnTo>
                        <a:pt x="300" y="877"/>
                      </a:lnTo>
                      <a:lnTo>
                        <a:pt x="299" y="877"/>
                      </a:lnTo>
                      <a:lnTo>
                        <a:pt x="299" y="876"/>
                      </a:lnTo>
                      <a:lnTo>
                        <a:pt x="300" y="876"/>
                      </a:lnTo>
                      <a:lnTo>
                        <a:pt x="299" y="876"/>
                      </a:lnTo>
                      <a:lnTo>
                        <a:pt x="299" y="874"/>
                      </a:lnTo>
                      <a:lnTo>
                        <a:pt x="299" y="872"/>
                      </a:lnTo>
                      <a:lnTo>
                        <a:pt x="299" y="871"/>
                      </a:lnTo>
                      <a:lnTo>
                        <a:pt x="300" y="871"/>
                      </a:lnTo>
                      <a:lnTo>
                        <a:pt x="300" y="869"/>
                      </a:lnTo>
                      <a:lnTo>
                        <a:pt x="299" y="868"/>
                      </a:lnTo>
                      <a:lnTo>
                        <a:pt x="299" y="866"/>
                      </a:lnTo>
                      <a:lnTo>
                        <a:pt x="299" y="864"/>
                      </a:lnTo>
                      <a:lnTo>
                        <a:pt x="299" y="863"/>
                      </a:lnTo>
                      <a:lnTo>
                        <a:pt x="300" y="859"/>
                      </a:lnTo>
                      <a:lnTo>
                        <a:pt x="300" y="858"/>
                      </a:lnTo>
                      <a:lnTo>
                        <a:pt x="300" y="856"/>
                      </a:lnTo>
                      <a:lnTo>
                        <a:pt x="302" y="853"/>
                      </a:lnTo>
                      <a:lnTo>
                        <a:pt x="304" y="853"/>
                      </a:lnTo>
                      <a:lnTo>
                        <a:pt x="304" y="851"/>
                      </a:lnTo>
                      <a:lnTo>
                        <a:pt x="307" y="849"/>
                      </a:lnTo>
                      <a:lnTo>
                        <a:pt x="307" y="848"/>
                      </a:lnTo>
                      <a:lnTo>
                        <a:pt x="310" y="848"/>
                      </a:lnTo>
                      <a:lnTo>
                        <a:pt x="310" y="846"/>
                      </a:lnTo>
                      <a:lnTo>
                        <a:pt x="312" y="843"/>
                      </a:lnTo>
                      <a:lnTo>
                        <a:pt x="310" y="840"/>
                      </a:lnTo>
                      <a:lnTo>
                        <a:pt x="310" y="838"/>
                      </a:lnTo>
                      <a:lnTo>
                        <a:pt x="310" y="836"/>
                      </a:lnTo>
                      <a:lnTo>
                        <a:pt x="310" y="835"/>
                      </a:lnTo>
                      <a:lnTo>
                        <a:pt x="312" y="835"/>
                      </a:lnTo>
                      <a:lnTo>
                        <a:pt x="312" y="833"/>
                      </a:lnTo>
                      <a:lnTo>
                        <a:pt x="314" y="833"/>
                      </a:lnTo>
                      <a:lnTo>
                        <a:pt x="314" y="831"/>
                      </a:lnTo>
                      <a:lnTo>
                        <a:pt x="314" y="830"/>
                      </a:lnTo>
                      <a:lnTo>
                        <a:pt x="315" y="828"/>
                      </a:lnTo>
                      <a:lnTo>
                        <a:pt x="315" y="826"/>
                      </a:lnTo>
                      <a:lnTo>
                        <a:pt x="314" y="825"/>
                      </a:lnTo>
                      <a:lnTo>
                        <a:pt x="314" y="823"/>
                      </a:lnTo>
                      <a:lnTo>
                        <a:pt x="312" y="823"/>
                      </a:lnTo>
                      <a:lnTo>
                        <a:pt x="310" y="823"/>
                      </a:lnTo>
                      <a:lnTo>
                        <a:pt x="309" y="823"/>
                      </a:lnTo>
                      <a:lnTo>
                        <a:pt x="307" y="822"/>
                      </a:lnTo>
                      <a:lnTo>
                        <a:pt x="307" y="823"/>
                      </a:lnTo>
                      <a:lnTo>
                        <a:pt x="307" y="825"/>
                      </a:lnTo>
                      <a:lnTo>
                        <a:pt x="305" y="826"/>
                      </a:lnTo>
                      <a:lnTo>
                        <a:pt x="304" y="828"/>
                      </a:lnTo>
                      <a:lnTo>
                        <a:pt x="302" y="828"/>
                      </a:lnTo>
                      <a:lnTo>
                        <a:pt x="270" y="826"/>
                      </a:lnTo>
                      <a:lnTo>
                        <a:pt x="204" y="825"/>
                      </a:lnTo>
                      <a:lnTo>
                        <a:pt x="197" y="823"/>
                      </a:lnTo>
                      <a:lnTo>
                        <a:pt x="170" y="823"/>
                      </a:lnTo>
                      <a:lnTo>
                        <a:pt x="150" y="823"/>
                      </a:lnTo>
                      <a:lnTo>
                        <a:pt x="138" y="823"/>
                      </a:lnTo>
                      <a:lnTo>
                        <a:pt x="133" y="761"/>
                      </a:lnTo>
                      <a:lnTo>
                        <a:pt x="131" y="749"/>
                      </a:lnTo>
                      <a:lnTo>
                        <a:pt x="106" y="723"/>
                      </a:lnTo>
                      <a:lnTo>
                        <a:pt x="103" y="720"/>
                      </a:lnTo>
                      <a:lnTo>
                        <a:pt x="101" y="716"/>
                      </a:lnTo>
                      <a:lnTo>
                        <a:pt x="106" y="715"/>
                      </a:lnTo>
                      <a:lnTo>
                        <a:pt x="131" y="715"/>
                      </a:lnTo>
                      <a:lnTo>
                        <a:pt x="128" y="670"/>
                      </a:lnTo>
                      <a:lnTo>
                        <a:pt x="128" y="672"/>
                      </a:lnTo>
                      <a:lnTo>
                        <a:pt x="126" y="672"/>
                      </a:lnTo>
                      <a:lnTo>
                        <a:pt x="125" y="670"/>
                      </a:lnTo>
                      <a:lnTo>
                        <a:pt x="123" y="670"/>
                      </a:lnTo>
                      <a:lnTo>
                        <a:pt x="123" y="669"/>
                      </a:lnTo>
                      <a:lnTo>
                        <a:pt x="123" y="667"/>
                      </a:lnTo>
                      <a:lnTo>
                        <a:pt x="123" y="666"/>
                      </a:lnTo>
                      <a:lnTo>
                        <a:pt x="123" y="664"/>
                      </a:lnTo>
                      <a:lnTo>
                        <a:pt x="123" y="666"/>
                      </a:lnTo>
                      <a:lnTo>
                        <a:pt x="123" y="664"/>
                      </a:lnTo>
                      <a:lnTo>
                        <a:pt x="121" y="664"/>
                      </a:lnTo>
                      <a:lnTo>
                        <a:pt x="121" y="662"/>
                      </a:lnTo>
                      <a:lnTo>
                        <a:pt x="121" y="661"/>
                      </a:lnTo>
                      <a:lnTo>
                        <a:pt x="121" y="659"/>
                      </a:lnTo>
                      <a:lnTo>
                        <a:pt x="120" y="659"/>
                      </a:lnTo>
                      <a:lnTo>
                        <a:pt x="120" y="657"/>
                      </a:lnTo>
                      <a:lnTo>
                        <a:pt x="118" y="657"/>
                      </a:lnTo>
                      <a:lnTo>
                        <a:pt x="118" y="656"/>
                      </a:lnTo>
                      <a:lnTo>
                        <a:pt x="118" y="654"/>
                      </a:lnTo>
                      <a:lnTo>
                        <a:pt x="116" y="654"/>
                      </a:lnTo>
                      <a:lnTo>
                        <a:pt x="116" y="652"/>
                      </a:lnTo>
                      <a:lnTo>
                        <a:pt x="116" y="651"/>
                      </a:lnTo>
                      <a:lnTo>
                        <a:pt x="116" y="649"/>
                      </a:lnTo>
                      <a:lnTo>
                        <a:pt x="116" y="647"/>
                      </a:lnTo>
                      <a:lnTo>
                        <a:pt x="115" y="647"/>
                      </a:lnTo>
                      <a:lnTo>
                        <a:pt x="116" y="647"/>
                      </a:lnTo>
                      <a:lnTo>
                        <a:pt x="115" y="646"/>
                      </a:lnTo>
                      <a:lnTo>
                        <a:pt x="115" y="647"/>
                      </a:lnTo>
                      <a:lnTo>
                        <a:pt x="115" y="646"/>
                      </a:lnTo>
                      <a:lnTo>
                        <a:pt x="113" y="646"/>
                      </a:lnTo>
                      <a:lnTo>
                        <a:pt x="115" y="646"/>
                      </a:lnTo>
                      <a:lnTo>
                        <a:pt x="113" y="646"/>
                      </a:lnTo>
                      <a:lnTo>
                        <a:pt x="113" y="644"/>
                      </a:lnTo>
                      <a:lnTo>
                        <a:pt x="111" y="644"/>
                      </a:lnTo>
                      <a:lnTo>
                        <a:pt x="111" y="643"/>
                      </a:lnTo>
                      <a:lnTo>
                        <a:pt x="111" y="641"/>
                      </a:lnTo>
                      <a:lnTo>
                        <a:pt x="109" y="639"/>
                      </a:lnTo>
                      <a:lnTo>
                        <a:pt x="111" y="639"/>
                      </a:lnTo>
                      <a:lnTo>
                        <a:pt x="109" y="639"/>
                      </a:lnTo>
                      <a:lnTo>
                        <a:pt x="109" y="638"/>
                      </a:lnTo>
                      <a:lnTo>
                        <a:pt x="111" y="638"/>
                      </a:lnTo>
                      <a:lnTo>
                        <a:pt x="111" y="636"/>
                      </a:lnTo>
                      <a:lnTo>
                        <a:pt x="109" y="636"/>
                      </a:lnTo>
                      <a:lnTo>
                        <a:pt x="109" y="634"/>
                      </a:lnTo>
                      <a:lnTo>
                        <a:pt x="109" y="633"/>
                      </a:lnTo>
                      <a:lnTo>
                        <a:pt x="109" y="631"/>
                      </a:lnTo>
                      <a:lnTo>
                        <a:pt x="108" y="631"/>
                      </a:lnTo>
                      <a:lnTo>
                        <a:pt x="108" y="629"/>
                      </a:lnTo>
                      <a:lnTo>
                        <a:pt x="109" y="629"/>
                      </a:lnTo>
                      <a:lnTo>
                        <a:pt x="109" y="628"/>
                      </a:lnTo>
                      <a:lnTo>
                        <a:pt x="108" y="626"/>
                      </a:lnTo>
                      <a:lnTo>
                        <a:pt x="109" y="626"/>
                      </a:lnTo>
                      <a:lnTo>
                        <a:pt x="108" y="624"/>
                      </a:lnTo>
                      <a:lnTo>
                        <a:pt x="109" y="624"/>
                      </a:lnTo>
                      <a:lnTo>
                        <a:pt x="109" y="623"/>
                      </a:lnTo>
                      <a:lnTo>
                        <a:pt x="108" y="623"/>
                      </a:lnTo>
                      <a:lnTo>
                        <a:pt x="109" y="623"/>
                      </a:lnTo>
                      <a:lnTo>
                        <a:pt x="111" y="623"/>
                      </a:lnTo>
                      <a:lnTo>
                        <a:pt x="111" y="621"/>
                      </a:lnTo>
                      <a:lnTo>
                        <a:pt x="113" y="621"/>
                      </a:lnTo>
                      <a:lnTo>
                        <a:pt x="113" y="620"/>
                      </a:lnTo>
                      <a:lnTo>
                        <a:pt x="113" y="618"/>
                      </a:lnTo>
                      <a:lnTo>
                        <a:pt x="115" y="618"/>
                      </a:lnTo>
                      <a:lnTo>
                        <a:pt x="116" y="616"/>
                      </a:lnTo>
                      <a:lnTo>
                        <a:pt x="115" y="616"/>
                      </a:lnTo>
                      <a:lnTo>
                        <a:pt x="116" y="616"/>
                      </a:lnTo>
                      <a:lnTo>
                        <a:pt x="116" y="615"/>
                      </a:lnTo>
                      <a:lnTo>
                        <a:pt x="116" y="613"/>
                      </a:lnTo>
                      <a:lnTo>
                        <a:pt x="118" y="613"/>
                      </a:lnTo>
                      <a:lnTo>
                        <a:pt x="118" y="611"/>
                      </a:lnTo>
                      <a:lnTo>
                        <a:pt x="116" y="611"/>
                      </a:lnTo>
                      <a:lnTo>
                        <a:pt x="115" y="613"/>
                      </a:lnTo>
                      <a:lnTo>
                        <a:pt x="115" y="611"/>
                      </a:lnTo>
                      <a:lnTo>
                        <a:pt x="113" y="610"/>
                      </a:lnTo>
                      <a:lnTo>
                        <a:pt x="115" y="610"/>
                      </a:lnTo>
                      <a:lnTo>
                        <a:pt x="115" y="611"/>
                      </a:lnTo>
                      <a:lnTo>
                        <a:pt x="115" y="610"/>
                      </a:lnTo>
                      <a:lnTo>
                        <a:pt x="115" y="608"/>
                      </a:lnTo>
                      <a:lnTo>
                        <a:pt x="113" y="608"/>
                      </a:lnTo>
                      <a:lnTo>
                        <a:pt x="111" y="608"/>
                      </a:lnTo>
                      <a:lnTo>
                        <a:pt x="111" y="606"/>
                      </a:lnTo>
                      <a:lnTo>
                        <a:pt x="111" y="605"/>
                      </a:lnTo>
                      <a:lnTo>
                        <a:pt x="111" y="603"/>
                      </a:lnTo>
                      <a:lnTo>
                        <a:pt x="109" y="603"/>
                      </a:lnTo>
                      <a:lnTo>
                        <a:pt x="109" y="601"/>
                      </a:lnTo>
                      <a:lnTo>
                        <a:pt x="111" y="601"/>
                      </a:lnTo>
                      <a:lnTo>
                        <a:pt x="111" y="600"/>
                      </a:lnTo>
                      <a:lnTo>
                        <a:pt x="109" y="600"/>
                      </a:lnTo>
                      <a:lnTo>
                        <a:pt x="108" y="600"/>
                      </a:lnTo>
                      <a:lnTo>
                        <a:pt x="108" y="601"/>
                      </a:lnTo>
                      <a:lnTo>
                        <a:pt x="108" y="600"/>
                      </a:lnTo>
                      <a:lnTo>
                        <a:pt x="109" y="598"/>
                      </a:lnTo>
                      <a:lnTo>
                        <a:pt x="108" y="598"/>
                      </a:lnTo>
                      <a:lnTo>
                        <a:pt x="108" y="597"/>
                      </a:lnTo>
                      <a:lnTo>
                        <a:pt x="109" y="598"/>
                      </a:lnTo>
                      <a:lnTo>
                        <a:pt x="109" y="597"/>
                      </a:lnTo>
                      <a:lnTo>
                        <a:pt x="108" y="597"/>
                      </a:lnTo>
                      <a:lnTo>
                        <a:pt x="109" y="595"/>
                      </a:lnTo>
                      <a:lnTo>
                        <a:pt x="108" y="595"/>
                      </a:lnTo>
                      <a:lnTo>
                        <a:pt x="106" y="595"/>
                      </a:lnTo>
                      <a:lnTo>
                        <a:pt x="104" y="595"/>
                      </a:lnTo>
                      <a:lnTo>
                        <a:pt x="104" y="593"/>
                      </a:lnTo>
                      <a:lnTo>
                        <a:pt x="103" y="593"/>
                      </a:lnTo>
                      <a:lnTo>
                        <a:pt x="101" y="593"/>
                      </a:lnTo>
                      <a:lnTo>
                        <a:pt x="99" y="593"/>
                      </a:lnTo>
                      <a:lnTo>
                        <a:pt x="99" y="592"/>
                      </a:lnTo>
                      <a:lnTo>
                        <a:pt x="101" y="592"/>
                      </a:lnTo>
                      <a:lnTo>
                        <a:pt x="99" y="592"/>
                      </a:lnTo>
                      <a:lnTo>
                        <a:pt x="99" y="590"/>
                      </a:lnTo>
                      <a:lnTo>
                        <a:pt x="98" y="590"/>
                      </a:lnTo>
                      <a:lnTo>
                        <a:pt x="96" y="590"/>
                      </a:lnTo>
                      <a:lnTo>
                        <a:pt x="96" y="588"/>
                      </a:lnTo>
                      <a:lnTo>
                        <a:pt x="94" y="588"/>
                      </a:lnTo>
                      <a:lnTo>
                        <a:pt x="93" y="588"/>
                      </a:lnTo>
                      <a:lnTo>
                        <a:pt x="93" y="590"/>
                      </a:lnTo>
                      <a:lnTo>
                        <a:pt x="93" y="588"/>
                      </a:lnTo>
                      <a:lnTo>
                        <a:pt x="93" y="590"/>
                      </a:lnTo>
                      <a:lnTo>
                        <a:pt x="91" y="590"/>
                      </a:lnTo>
                      <a:lnTo>
                        <a:pt x="91" y="588"/>
                      </a:lnTo>
                      <a:lnTo>
                        <a:pt x="89" y="588"/>
                      </a:lnTo>
                      <a:lnTo>
                        <a:pt x="89" y="587"/>
                      </a:lnTo>
                      <a:lnTo>
                        <a:pt x="87" y="587"/>
                      </a:lnTo>
                      <a:lnTo>
                        <a:pt x="87" y="588"/>
                      </a:lnTo>
                      <a:lnTo>
                        <a:pt x="87" y="587"/>
                      </a:lnTo>
                      <a:lnTo>
                        <a:pt x="87" y="585"/>
                      </a:lnTo>
                      <a:lnTo>
                        <a:pt x="86" y="585"/>
                      </a:lnTo>
                      <a:lnTo>
                        <a:pt x="86" y="583"/>
                      </a:lnTo>
                      <a:lnTo>
                        <a:pt x="87" y="583"/>
                      </a:lnTo>
                      <a:lnTo>
                        <a:pt x="87" y="582"/>
                      </a:lnTo>
                      <a:lnTo>
                        <a:pt x="89" y="582"/>
                      </a:lnTo>
                      <a:lnTo>
                        <a:pt x="89" y="580"/>
                      </a:lnTo>
                      <a:lnTo>
                        <a:pt x="89" y="578"/>
                      </a:lnTo>
                      <a:lnTo>
                        <a:pt x="91" y="578"/>
                      </a:lnTo>
                      <a:lnTo>
                        <a:pt x="91" y="577"/>
                      </a:lnTo>
                      <a:lnTo>
                        <a:pt x="93" y="577"/>
                      </a:lnTo>
                      <a:lnTo>
                        <a:pt x="94" y="577"/>
                      </a:lnTo>
                      <a:lnTo>
                        <a:pt x="93" y="577"/>
                      </a:lnTo>
                      <a:lnTo>
                        <a:pt x="93" y="575"/>
                      </a:lnTo>
                      <a:lnTo>
                        <a:pt x="94" y="575"/>
                      </a:lnTo>
                      <a:lnTo>
                        <a:pt x="94" y="574"/>
                      </a:lnTo>
                      <a:lnTo>
                        <a:pt x="96" y="574"/>
                      </a:lnTo>
                      <a:lnTo>
                        <a:pt x="98" y="575"/>
                      </a:lnTo>
                      <a:lnTo>
                        <a:pt x="98" y="574"/>
                      </a:lnTo>
                      <a:lnTo>
                        <a:pt x="99" y="574"/>
                      </a:lnTo>
                      <a:lnTo>
                        <a:pt x="101" y="574"/>
                      </a:lnTo>
                      <a:lnTo>
                        <a:pt x="101" y="572"/>
                      </a:lnTo>
                      <a:lnTo>
                        <a:pt x="103" y="572"/>
                      </a:lnTo>
                      <a:lnTo>
                        <a:pt x="104" y="570"/>
                      </a:lnTo>
                      <a:lnTo>
                        <a:pt x="103" y="570"/>
                      </a:lnTo>
                      <a:lnTo>
                        <a:pt x="104" y="570"/>
                      </a:lnTo>
                      <a:lnTo>
                        <a:pt x="104" y="569"/>
                      </a:lnTo>
                      <a:lnTo>
                        <a:pt x="106" y="569"/>
                      </a:lnTo>
                      <a:lnTo>
                        <a:pt x="106" y="567"/>
                      </a:lnTo>
                      <a:lnTo>
                        <a:pt x="108" y="567"/>
                      </a:lnTo>
                      <a:lnTo>
                        <a:pt x="109" y="567"/>
                      </a:lnTo>
                      <a:lnTo>
                        <a:pt x="111" y="567"/>
                      </a:lnTo>
                      <a:lnTo>
                        <a:pt x="113" y="567"/>
                      </a:lnTo>
                      <a:lnTo>
                        <a:pt x="113" y="565"/>
                      </a:lnTo>
                      <a:lnTo>
                        <a:pt x="115" y="565"/>
                      </a:lnTo>
                      <a:lnTo>
                        <a:pt x="115" y="564"/>
                      </a:lnTo>
                      <a:lnTo>
                        <a:pt x="116" y="564"/>
                      </a:lnTo>
                      <a:lnTo>
                        <a:pt x="118" y="564"/>
                      </a:lnTo>
                      <a:lnTo>
                        <a:pt x="118" y="562"/>
                      </a:lnTo>
                      <a:lnTo>
                        <a:pt x="118" y="560"/>
                      </a:lnTo>
                      <a:lnTo>
                        <a:pt x="118" y="559"/>
                      </a:lnTo>
                      <a:lnTo>
                        <a:pt x="118" y="557"/>
                      </a:lnTo>
                      <a:lnTo>
                        <a:pt x="118" y="555"/>
                      </a:lnTo>
                      <a:lnTo>
                        <a:pt x="120" y="555"/>
                      </a:lnTo>
                      <a:lnTo>
                        <a:pt x="120" y="554"/>
                      </a:lnTo>
                      <a:lnTo>
                        <a:pt x="120" y="552"/>
                      </a:lnTo>
                      <a:lnTo>
                        <a:pt x="118" y="552"/>
                      </a:lnTo>
                      <a:lnTo>
                        <a:pt x="120" y="551"/>
                      </a:lnTo>
                      <a:lnTo>
                        <a:pt x="120" y="549"/>
                      </a:lnTo>
                      <a:lnTo>
                        <a:pt x="121" y="549"/>
                      </a:lnTo>
                      <a:lnTo>
                        <a:pt x="121" y="547"/>
                      </a:lnTo>
                      <a:lnTo>
                        <a:pt x="123" y="546"/>
                      </a:lnTo>
                      <a:lnTo>
                        <a:pt x="123" y="544"/>
                      </a:lnTo>
                      <a:lnTo>
                        <a:pt x="123" y="542"/>
                      </a:lnTo>
                      <a:lnTo>
                        <a:pt x="125" y="541"/>
                      </a:lnTo>
                      <a:lnTo>
                        <a:pt x="125" y="539"/>
                      </a:lnTo>
                      <a:lnTo>
                        <a:pt x="125" y="537"/>
                      </a:lnTo>
                      <a:lnTo>
                        <a:pt x="126" y="537"/>
                      </a:lnTo>
                      <a:lnTo>
                        <a:pt x="128" y="536"/>
                      </a:lnTo>
                      <a:lnTo>
                        <a:pt x="128" y="534"/>
                      </a:lnTo>
                      <a:lnTo>
                        <a:pt x="128" y="532"/>
                      </a:lnTo>
                      <a:lnTo>
                        <a:pt x="128" y="531"/>
                      </a:lnTo>
                      <a:lnTo>
                        <a:pt x="126" y="531"/>
                      </a:lnTo>
                      <a:lnTo>
                        <a:pt x="128" y="531"/>
                      </a:lnTo>
                      <a:lnTo>
                        <a:pt x="126" y="531"/>
                      </a:lnTo>
                      <a:lnTo>
                        <a:pt x="126" y="529"/>
                      </a:lnTo>
                      <a:lnTo>
                        <a:pt x="128" y="529"/>
                      </a:lnTo>
                      <a:lnTo>
                        <a:pt x="130" y="528"/>
                      </a:lnTo>
                      <a:lnTo>
                        <a:pt x="130" y="526"/>
                      </a:lnTo>
                      <a:lnTo>
                        <a:pt x="130" y="528"/>
                      </a:lnTo>
                      <a:lnTo>
                        <a:pt x="130" y="526"/>
                      </a:lnTo>
                      <a:lnTo>
                        <a:pt x="131" y="526"/>
                      </a:lnTo>
                      <a:lnTo>
                        <a:pt x="131" y="524"/>
                      </a:lnTo>
                      <a:lnTo>
                        <a:pt x="131" y="526"/>
                      </a:lnTo>
                      <a:lnTo>
                        <a:pt x="131" y="524"/>
                      </a:lnTo>
                      <a:lnTo>
                        <a:pt x="133" y="524"/>
                      </a:lnTo>
                      <a:lnTo>
                        <a:pt x="133" y="523"/>
                      </a:lnTo>
                      <a:lnTo>
                        <a:pt x="135" y="521"/>
                      </a:lnTo>
                      <a:lnTo>
                        <a:pt x="135" y="519"/>
                      </a:lnTo>
                      <a:lnTo>
                        <a:pt x="136" y="519"/>
                      </a:lnTo>
                      <a:lnTo>
                        <a:pt x="138" y="519"/>
                      </a:lnTo>
                      <a:lnTo>
                        <a:pt x="140" y="519"/>
                      </a:lnTo>
                      <a:lnTo>
                        <a:pt x="140" y="518"/>
                      </a:lnTo>
                      <a:lnTo>
                        <a:pt x="140" y="519"/>
                      </a:lnTo>
                      <a:lnTo>
                        <a:pt x="142" y="519"/>
                      </a:lnTo>
                      <a:lnTo>
                        <a:pt x="142" y="518"/>
                      </a:lnTo>
                      <a:lnTo>
                        <a:pt x="143" y="518"/>
                      </a:lnTo>
                      <a:lnTo>
                        <a:pt x="143" y="516"/>
                      </a:lnTo>
                      <a:lnTo>
                        <a:pt x="143" y="514"/>
                      </a:lnTo>
                      <a:lnTo>
                        <a:pt x="145" y="514"/>
                      </a:lnTo>
                      <a:lnTo>
                        <a:pt x="145" y="513"/>
                      </a:lnTo>
                      <a:lnTo>
                        <a:pt x="147" y="513"/>
                      </a:lnTo>
                      <a:lnTo>
                        <a:pt x="147" y="511"/>
                      </a:lnTo>
                      <a:lnTo>
                        <a:pt x="147" y="509"/>
                      </a:lnTo>
                      <a:lnTo>
                        <a:pt x="147" y="506"/>
                      </a:lnTo>
                      <a:lnTo>
                        <a:pt x="147" y="505"/>
                      </a:lnTo>
                      <a:lnTo>
                        <a:pt x="147" y="503"/>
                      </a:lnTo>
                      <a:lnTo>
                        <a:pt x="147" y="501"/>
                      </a:lnTo>
                      <a:lnTo>
                        <a:pt x="147" y="500"/>
                      </a:lnTo>
                      <a:lnTo>
                        <a:pt x="145" y="498"/>
                      </a:lnTo>
                      <a:lnTo>
                        <a:pt x="145" y="496"/>
                      </a:lnTo>
                      <a:lnTo>
                        <a:pt x="145" y="495"/>
                      </a:lnTo>
                      <a:lnTo>
                        <a:pt x="147" y="495"/>
                      </a:lnTo>
                      <a:lnTo>
                        <a:pt x="147" y="493"/>
                      </a:lnTo>
                      <a:lnTo>
                        <a:pt x="147" y="491"/>
                      </a:lnTo>
                      <a:lnTo>
                        <a:pt x="147" y="490"/>
                      </a:lnTo>
                      <a:lnTo>
                        <a:pt x="148" y="488"/>
                      </a:lnTo>
                      <a:lnTo>
                        <a:pt x="147" y="487"/>
                      </a:lnTo>
                      <a:lnTo>
                        <a:pt x="148" y="487"/>
                      </a:lnTo>
                      <a:lnTo>
                        <a:pt x="148" y="485"/>
                      </a:lnTo>
                      <a:lnTo>
                        <a:pt x="150" y="485"/>
                      </a:lnTo>
                      <a:lnTo>
                        <a:pt x="152" y="483"/>
                      </a:lnTo>
                      <a:lnTo>
                        <a:pt x="152" y="482"/>
                      </a:lnTo>
                      <a:lnTo>
                        <a:pt x="152" y="480"/>
                      </a:lnTo>
                      <a:lnTo>
                        <a:pt x="153" y="480"/>
                      </a:lnTo>
                      <a:lnTo>
                        <a:pt x="153" y="478"/>
                      </a:lnTo>
                      <a:lnTo>
                        <a:pt x="155" y="478"/>
                      </a:lnTo>
                      <a:lnTo>
                        <a:pt x="157" y="478"/>
                      </a:lnTo>
                      <a:lnTo>
                        <a:pt x="157" y="477"/>
                      </a:lnTo>
                      <a:lnTo>
                        <a:pt x="158" y="475"/>
                      </a:lnTo>
                      <a:lnTo>
                        <a:pt x="160" y="475"/>
                      </a:lnTo>
                      <a:lnTo>
                        <a:pt x="162" y="473"/>
                      </a:lnTo>
                      <a:lnTo>
                        <a:pt x="163" y="473"/>
                      </a:lnTo>
                      <a:lnTo>
                        <a:pt x="165" y="473"/>
                      </a:lnTo>
                      <a:lnTo>
                        <a:pt x="167" y="473"/>
                      </a:lnTo>
                      <a:lnTo>
                        <a:pt x="169" y="473"/>
                      </a:lnTo>
                      <a:lnTo>
                        <a:pt x="169" y="472"/>
                      </a:lnTo>
                      <a:lnTo>
                        <a:pt x="169" y="470"/>
                      </a:lnTo>
                      <a:lnTo>
                        <a:pt x="169" y="468"/>
                      </a:lnTo>
                      <a:lnTo>
                        <a:pt x="170" y="467"/>
                      </a:lnTo>
                      <a:lnTo>
                        <a:pt x="170" y="465"/>
                      </a:lnTo>
                      <a:lnTo>
                        <a:pt x="172" y="465"/>
                      </a:lnTo>
                      <a:lnTo>
                        <a:pt x="170" y="465"/>
                      </a:lnTo>
                      <a:lnTo>
                        <a:pt x="172" y="465"/>
                      </a:lnTo>
                      <a:lnTo>
                        <a:pt x="172" y="464"/>
                      </a:lnTo>
                      <a:lnTo>
                        <a:pt x="172" y="462"/>
                      </a:lnTo>
                      <a:lnTo>
                        <a:pt x="174" y="462"/>
                      </a:lnTo>
                      <a:lnTo>
                        <a:pt x="175" y="460"/>
                      </a:lnTo>
                      <a:lnTo>
                        <a:pt x="165" y="452"/>
                      </a:lnTo>
                      <a:lnTo>
                        <a:pt x="163" y="452"/>
                      </a:lnTo>
                      <a:lnTo>
                        <a:pt x="163" y="450"/>
                      </a:lnTo>
                      <a:lnTo>
                        <a:pt x="163" y="449"/>
                      </a:lnTo>
                      <a:lnTo>
                        <a:pt x="162" y="447"/>
                      </a:lnTo>
                      <a:lnTo>
                        <a:pt x="162" y="445"/>
                      </a:lnTo>
                      <a:lnTo>
                        <a:pt x="163" y="445"/>
                      </a:lnTo>
                      <a:lnTo>
                        <a:pt x="163" y="444"/>
                      </a:lnTo>
                      <a:lnTo>
                        <a:pt x="163" y="442"/>
                      </a:lnTo>
                      <a:lnTo>
                        <a:pt x="163" y="441"/>
                      </a:lnTo>
                      <a:lnTo>
                        <a:pt x="162" y="439"/>
                      </a:lnTo>
                      <a:lnTo>
                        <a:pt x="160" y="437"/>
                      </a:lnTo>
                      <a:lnTo>
                        <a:pt x="160" y="436"/>
                      </a:lnTo>
                      <a:lnTo>
                        <a:pt x="158" y="436"/>
                      </a:lnTo>
                      <a:lnTo>
                        <a:pt x="158" y="434"/>
                      </a:lnTo>
                      <a:lnTo>
                        <a:pt x="157" y="434"/>
                      </a:lnTo>
                      <a:lnTo>
                        <a:pt x="158" y="434"/>
                      </a:lnTo>
                      <a:lnTo>
                        <a:pt x="157" y="434"/>
                      </a:lnTo>
                      <a:lnTo>
                        <a:pt x="157" y="432"/>
                      </a:lnTo>
                      <a:lnTo>
                        <a:pt x="157" y="431"/>
                      </a:lnTo>
                      <a:lnTo>
                        <a:pt x="157" y="429"/>
                      </a:lnTo>
                      <a:lnTo>
                        <a:pt x="157" y="427"/>
                      </a:lnTo>
                      <a:lnTo>
                        <a:pt x="157" y="426"/>
                      </a:lnTo>
                      <a:lnTo>
                        <a:pt x="155" y="426"/>
                      </a:lnTo>
                      <a:lnTo>
                        <a:pt x="155" y="424"/>
                      </a:lnTo>
                      <a:lnTo>
                        <a:pt x="155" y="422"/>
                      </a:lnTo>
                      <a:lnTo>
                        <a:pt x="155" y="421"/>
                      </a:lnTo>
                      <a:lnTo>
                        <a:pt x="153" y="421"/>
                      </a:lnTo>
                      <a:lnTo>
                        <a:pt x="153" y="419"/>
                      </a:lnTo>
                      <a:lnTo>
                        <a:pt x="152" y="419"/>
                      </a:lnTo>
                      <a:lnTo>
                        <a:pt x="152" y="421"/>
                      </a:lnTo>
                      <a:lnTo>
                        <a:pt x="152" y="419"/>
                      </a:lnTo>
                      <a:lnTo>
                        <a:pt x="150" y="421"/>
                      </a:lnTo>
                      <a:lnTo>
                        <a:pt x="150" y="419"/>
                      </a:lnTo>
                      <a:lnTo>
                        <a:pt x="150" y="421"/>
                      </a:lnTo>
                      <a:lnTo>
                        <a:pt x="148" y="419"/>
                      </a:lnTo>
                      <a:lnTo>
                        <a:pt x="147" y="419"/>
                      </a:lnTo>
                      <a:lnTo>
                        <a:pt x="147" y="418"/>
                      </a:lnTo>
                      <a:lnTo>
                        <a:pt x="147" y="416"/>
                      </a:lnTo>
                      <a:lnTo>
                        <a:pt x="145" y="418"/>
                      </a:lnTo>
                      <a:lnTo>
                        <a:pt x="145" y="416"/>
                      </a:lnTo>
                      <a:lnTo>
                        <a:pt x="145" y="414"/>
                      </a:lnTo>
                      <a:lnTo>
                        <a:pt x="143" y="414"/>
                      </a:lnTo>
                      <a:lnTo>
                        <a:pt x="145" y="414"/>
                      </a:lnTo>
                      <a:lnTo>
                        <a:pt x="145" y="413"/>
                      </a:lnTo>
                      <a:lnTo>
                        <a:pt x="145" y="411"/>
                      </a:lnTo>
                      <a:lnTo>
                        <a:pt x="143" y="411"/>
                      </a:lnTo>
                      <a:lnTo>
                        <a:pt x="145" y="409"/>
                      </a:lnTo>
                      <a:lnTo>
                        <a:pt x="143" y="409"/>
                      </a:lnTo>
                      <a:lnTo>
                        <a:pt x="145" y="409"/>
                      </a:lnTo>
                      <a:lnTo>
                        <a:pt x="143" y="409"/>
                      </a:lnTo>
                      <a:lnTo>
                        <a:pt x="145" y="409"/>
                      </a:lnTo>
                      <a:lnTo>
                        <a:pt x="145" y="408"/>
                      </a:lnTo>
                      <a:lnTo>
                        <a:pt x="143" y="408"/>
                      </a:lnTo>
                      <a:lnTo>
                        <a:pt x="143" y="406"/>
                      </a:lnTo>
                      <a:lnTo>
                        <a:pt x="143" y="404"/>
                      </a:lnTo>
                      <a:lnTo>
                        <a:pt x="143" y="403"/>
                      </a:lnTo>
                      <a:lnTo>
                        <a:pt x="143" y="401"/>
                      </a:lnTo>
                      <a:lnTo>
                        <a:pt x="143" y="399"/>
                      </a:lnTo>
                      <a:lnTo>
                        <a:pt x="143" y="398"/>
                      </a:lnTo>
                      <a:lnTo>
                        <a:pt x="143" y="396"/>
                      </a:lnTo>
                      <a:lnTo>
                        <a:pt x="143" y="395"/>
                      </a:lnTo>
                      <a:lnTo>
                        <a:pt x="143" y="393"/>
                      </a:lnTo>
                      <a:lnTo>
                        <a:pt x="143" y="391"/>
                      </a:lnTo>
                      <a:lnTo>
                        <a:pt x="145" y="391"/>
                      </a:lnTo>
                      <a:lnTo>
                        <a:pt x="145" y="390"/>
                      </a:lnTo>
                      <a:lnTo>
                        <a:pt x="145" y="391"/>
                      </a:lnTo>
                      <a:lnTo>
                        <a:pt x="145" y="390"/>
                      </a:lnTo>
                      <a:lnTo>
                        <a:pt x="147" y="390"/>
                      </a:lnTo>
                      <a:lnTo>
                        <a:pt x="145" y="390"/>
                      </a:lnTo>
                      <a:lnTo>
                        <a:pt x="145" y="388"/>
                      </a:lnTo>
                      <a:lnTo>
                        <a:pt x="145" y="390"/>
                      </a:lnTo>
                      <a:lnTo>
                        <a:pt x="147" y="390"/>
                      </a:lnTo>
                      <a:lnTo>
                        <a:pt x="147" y="388"/>
                      </a:lnTo>
                      <a:lnTo>
                        <a:pt x="148" y="388"/>
                      </a:lnTo>
                      <a:lnTo>
                        <a:pt x="148" y="386"/>
                      </a:lnTo>
                      <a:lnTo>
                        <a:pt x="150" y="386"/>
                      </a:lnTo>
                      <a:lnTo>
                        <a:pt x="150" y="385"/>
                      </a:lnTo>
                      <a:lnTo>
                        <a:pt x="152" y="385"/>
                      </a:lnTo>
                      <a:lnTo>
                        <a:pt x="152" y="383"/>
                      </a:lnTo>
                      <a:lnTo>
                        <a:pt x="153" y="381"/>
                      </a:lnTo>
                      <a:lnTo>
                        <a:pt x="155" y="381"/>
                      </a:lnTo>
                      <a:lnTo>
                        <a:pt x="155" y="380"/>
                      </a:lnTo>
                      <a:lnTo>
                        <a:pt x="157" y="380"/>
                      </a:lnTo>
                      <a:lnTo>
                        <a:pt x="157" y="378"/>
                      </a:lnTo>
                      <a:lnTo>
                        <a:pt x="158" y="378"/>
                      </a:lnTo>
                      <a:lnTo>
                        <a:pt x="158" y="376"/>
                      </a:lnTo>
                      <a:lnTo>
                        <a:pt x="160" y="376"/>
                      </a:lnTo>
                      <a:lnTo>
                        <a:pt x="162" y="375"/>
                      </a:lnTo>
                      <a:lnTo>
                        <a:pt x="160" y="375"/>
                      </a:lnTo>
                      <a:lnTo>
                        <a:pt x="162" y="375"/>
                      </a:lnTo>
                      <a:lnTo>
                        <a:pt x="162" y="373"/>
                      </a:lnTo>
                      <a:lnTo>
                        <a:pt x="162" y="372"/>
                      </a:lnTo>
                      <a:lnTo>
                        <a:pt x="162" y="370"/>
                      </a:lnTo>
                      <a:lnTo>
                        <a:pt x="162" y="368"/>
                      </a:lnTo>
                      <a:lnTo>
                        <a:pt x="162" y="367"/>
                      </a:lnTo>
                      <a:lnTo>
                        <a:pt x="160" y="367"/>
                      </a:lnTo>
                      <a:lnTo>
                        <a:pt x="160" y="365"/>
                      </a:lnTo>
                      <a:lnTo>
                        <a:pt x="158" y="365"/>
                      </a:lnTo>
                      <a:lnTo>
                        <a:pt x="158" y="363"/>
                      </a:lnTo>
                      <a:lnTo>
                        <a:pt x="157" y="362"/>
                      </a:lnTo>
                      <a:lnTo>
                        <a:pt x="157" y="360"/>
                      </a:lnTo>
                      <a:lnTo>
                        <a:pt x="155" y="358"/>
                      </a:lnTo>
                      <a:lnTo>
                        <a:pt x="155" y="357"/>
                      </a:lnTo>
                      <a:lnTo>
                        <a:pt x="157" y="357"/>
                      </a:lnTo>
                      <a:lnTo>
                        <a:pt x="157" y="355"/>
                      </a:lnTo>
                      <a:lnTo>
                        <a:pt x="157" y="353"/>
                      </a:lnTo>
                      <a:lnTo>
                        <a:pt x="155" y="353"/>
                      </a:lnTo>
                      <a:lnTo>
                        <a:pt x="155" y="352"/>
                      </a:lnTo>
                      <a:lnTo>
                        <a:pt x="155" y="350"/>
                      </a:lnTo>
                      <a:lnTo>
                        <a:pt x="157" y="350"/>
                      </a:lnTo>
                      <a:lnTo>
                        <a:pt x="157" y="349"/>
                      </a:lnTo>
                      <a:lnTo>
                        <a:pt x="155" y="349"/>
                      </a:lnTo>
                      <a:lnTo>
                        <a:pt x="153" y="349"/>
                      </a:lnTo>
                      <a:lnTo>
                        <a:pt x="152" y="349"/>
                      </a:lnTo>
                      <a:lnTo>
                        <a:pt x="150" y="349"/>
                      </a:lnTo>
                      <a:lnTo>
                        <a:pt x="148" y="349"/>
                      </a:lnTo>
                      <a:lnTo>
                        <a:pt x="147" y="347"/>
                      </a:lnTo>
                      <a:lnTo>
                        <a:pt x="145" y="347"/>
                      </a:lnTo>
                      <a:lnTo>
                        <a:pt x="143" y="347"/>
                      </a:lnTo>
                      <a:lnTo>
                        <a:pt x="142" y="347"/>
                      </a:lnTo>
                      <a:lnTo>
                        <a:pt x="140" y="347"/>
                      </a:lnTo>
                      <a:lnTo>
                        <a:pt x="138" y="345"/>
                      </a:lnTo>
                      <a:lnTo>
                        <a:pt x="138" y="347"/>
                      </a:lnTo>
                      <a:lnTo>
                        <a:pt x="136" y="347"/>
                      </a:lnTo>
                      <a:lnTo>
                        <a:pt x="136" y="349"/>
                      </a:lnTo>
                      <a:lnTo>
                        <a:pt x="135" y="347"/>
                      </a:lnTo>
                      <a:lnTo>
                        <a:pt x="135" y="349"/>
                      </a:lnTo>
                      <a:lnTo>
                        <a:pt x="135" y="347"/>
                      </a:lnTo>
                      <a:lnTo>
                        <a:pt x="133" y="347"/>
                      </a:lnTo>
                      <a:lnTo>
                        <a:pt x="131" y="347"/>
                      </a:lnTo>
                      <a:lnTo>
                        <a:pt x="131" y="345"/>
                      </a:lnTo>
                      <a:lnTo>
                        <a:pt x="131" y="347"/>
                      </a:lnTo>
                      <a:lnTo>
                        <a:pt x="130" y="347"/>
                      </a:lnTo>
                      <a:lnTo>
                        <a:pt x="130" y="345"/>
                      </a:lnTo>
                      <a:lnTo>
                        <a:pt x="128" y="345"/>
                      </a:lnTo>
                      <a:lnTo>
                        <a:pt x="128" y="347"/>
                      </a:lnTo>
                      <a:lnTo>
                        <a:pt x="128" y="345"/>
                      </a:lnTo>
                      <a:lnTo>
                        <a:pt x="128" y="344"/>
                      </a:lnTo>
                      <a:lnTo>
                        <a:pt x="126" y="344"/>
                      </a:lnTo>
                      <a:lnTo>
                        <a:pt x="125" y="342"/>
                      </a:lnTo>
                      <a:lnTo>
                        <a:pt x="125" y="344"/>
                      </a:lnTo>
                      <a:lnTo>
                        <a:pt x="123" y="344"/>
                      </a:lnTo>
                      <a:lnTo>
                        <a:pt x="123" y="345"/>
                      </a:lnTo>
                      <a:lnTo>
                        <a:pt x="121" y="345"/>
                      </a:lnTo>
                      <a:lnTo>
                        <a:pt x="121" y="344"/>
                      </a:lnTo>
                      <a:lnTo>
                        <a:pt x="121" y="345"/>
                      </a:lnTo>
                      <a:lnTo>
                        <a:pt x="121" y="347"/>
                      </a:lnTo>
                      <a:lnTo>
                        <a:pt x="120" y="347"/>
                      </a:lnTo>
                      <a:lnTo>
                        <a:pt x="118" y="345"/>
                      </a:lnTo>
                      <a:lnTo>
                        <a:pt x="118" y="347"/>
                      </a:lnTo>
                      <a:lnTo>
                        <a:pt x="116" y="345"/>
                      </a:lnTo>
                      <a:lnTo>
                        <a:pt x="116" y="344"/>
                      </a:lnTo>
                      <a:lnTo>
                        <a:pt x="115" y="344"/>
                      </a:lnTo>
                      <a:lnTo>
                        <a:pt x="115" y="342"/>
                      </a:lnTo>
                      <a:lnTo>
                        <a:pt x="115" y="340"/>
                      </a:lnTo>
                      <a:lnTo>
                        <a:pt x="113" y="340"/>
                      </a:lnTo>
                      <a:lnTo>
                        <a:pt x="111" y="340"/>
                      </a:lnTo>
                      <a:lnTo>
                        <a:pt x="113" y="339"/>
                      </a:lnTo>
                      <a:lnTo>
                        <a:pt x="111" y="339"/>
                      </a:lnTo>
                      <a:lnTo>
                        <a:pt x="111" y="337"/>
                      </a:lnTo>
                      <a:lnTo>
                        <a:pt x="59" y="337"/>
                      </a:lnTo>
                      <a:lnTo>
                        <a:pt x="18" y="335"/>
                      </a:lnTo>
                      <a:lnTo>
                        <a:pt x="6" y="335"/>
                      </a:lnTo>
                      <a:lnTo>
                        <a:pt x="8" y="335"/>
                      </a:lnTo>
                      <a:lnTo>
                        <a:pt x="10" y="335"/>
                      </a:lnTo>
                      <a:lnTo>
                        <a:pt x="10" y="334"/>
                      </a:lnTo>
                      <a:lnTo>
                        <a:pt x="10" y="332"/>
                      </a:lnTo>
                      <a:lnTo>
                        <a:pt x="10" y="330"/>
                      </a:lnTo>
                      <a:lnTo>
                        <a:pt x="10" y="329"/>
                      </a:lnTo>
                      <a:lnTo>
                        <a:pt x="10" y="327"/>
                      </a:lnTo>
                      <a:lnTo>
                        <a:pt x="10" y="326"/>
                      </a:lnTo>
                      <a:lnTo>
                        <a:pt x="10" y="324"/>
                      </a:lnTo>
                      <a:lnTo>
                        <a:pt x="10" y="322"/>
                      </a:lnTo>
                      <a:lnTo>
                        <a:pt x="11" y="322"/>
                      </a:lnTo>
                      <a:lnTo>
                        <a:pt x="10" y="321"/>
                      </a:lnTo>
                      <a:lnTo>
                        <a:pt x="11" y="321"/>
                      </a:lnTo>
                      <a:lnTo>
                        <a:pt x="11" y="319"/>
                      </a:lnTo>
                      <a:lnTo>
                        <a:pt x="11" y="317"/>
                      </a:lnTo>
                      <a:lnTo>
                        <a:pt x="13" y="317"/>
                      </a:lnTo>
                      <a:lnTo>
                        <a:pt x="13" y="319"/>
                      </a:lnTo>
                      <a:lnTo>
                        <a:pt x="15" y="319"/>
                      </a:lnTo>
                      <a:lnTo>
                        <a:pt x="15" y="317"/>
                      </a:lnTo>
                      <a:lnTo>
                        <a:pt x="13" y="317"/>
                      </a:lnTo>
                      <a:lnTo>
                        <a:pt x="13" y="316"/>
                      </a:lnTo>
                      <a:lnTo>
                        <a:pt x="13" y="314"/>
                      </a:lnTo>
                      <a:lnTo>
                        <a:pt x="13" y="312"/>
                      </a:lnTo>
                      <a:lnTo>
                        <a:pt x="15" y="311"/>
                      </a:lnTo>
                      <a:lnTo>
                        <a:pt x="13" y="311"/>
                      </a:lnTo>
                      <a:lnTo>
                        <a:pt x="11" y="311"/>
                      </a:lnTo>
                      <a:lnTo>
                        <a:pt x="11" y="309"/>
                      </a:lnTo>
                      <a:lnTo>
                        <a:pt x="11" y="307"/>
                      </a:lnTo>
                      <a:lnTo>
                        <a:pt x="13" y="307"/>
                      </a:lnTo>
                      <a:lnTo>
                        <a:pt x="13" y="306"/>
                      </a:lnTo>
                      <a:lnTo>
                        <a:pt x="13" y="304"/>
                      </a:lnTo>
                      <a:lnTo>
                        <a:pt x="13" y="303"/>
                      </a:lnTo>
                      <a:lnTo>
                        <a:pt x="13" y="301"/>
                      </a:lnTo>
                      <a:lnTo>
                        <a:pt x="13" y="299"/>
                      </a:lnTo>
                      <a:lnTo>
                        <a:pt x="13" y="298"/>
                      </a:lnTo>
                      <a:lnTo>
                        <a:pt x="15" y="298"/>
                      </a:lnTo>
                      <a:lnTo>
                        <a:pt x="15" y="296"/>
                      </a:lnTo>
                      <a:lnTo>
                        <a:pt x="15" y="294"/>
                      </a:lnTo>
                      <a:lnTo>
                        <a:pt x="13" y="294"/>
                      </a:lnTo>
                      <a:lnTo>
                        <a:pt x="13" y="293"/>
                      </a:lnTo>
                      <a:lnTo>
                        <a:pt x="13" y="291"/>
                      </a:lnTo>
                      <a:lnTo>
                        <a:pt x="13" y="289"/>
                      </a:lnTo>
                      <a:lnTo>
                        <a:pt x="15" y="289"/>
                      </a:lnTo>
                      <a:lnTo>
                        <a:pt x="15" y="288"/>
                      </a:lnTo>
                      <a:lnTo>
                        <a:pt x="15" y="286"/>
                      </a:lnTo>
                      <a:lnTo>
                        <a:pt x="15" y="285"/>
                      </a:lnTo>
                      <a:lnTo>
                        <a:pt x="15" y="283"/>
                      </a:lnTo>
                      <a:lnTo>
                        <a:pt x="13" y="283"/>
                      </a:lnTo>
                      <a:lnTo>
                        <a:pt x="15" y="283"/>
                      </a:lnTo>
                      <a:lnTo>
                        <a:pt x="13" y="283"/>
                      </a:lnTo>
                      <a:lnTo>
                        <a:pt x="13" y="281"/>
                      </a:lnTo>
                      <a:lnTo>
                        <a:pt x="11" y="281"/>
                      </a:lnTo>
                      <a:lnTo>
                        <a:pt x="11" y="280"/>
                      </a:lnTo>
                      <a:lnTo>
                        <a:pt x="11" y="278"/>
                      </a:lnTo>
                      <a:lnTo>
                        <a:pt x="10" y="278"/>
                      </a:lnTo>
                      <a:lnTo>
                        <a:pt x="10" y="276"/>
                      </a:lnTo>
                      <a:lnTo>
                        <a:pt x="8" y="276"/>
                      </a:lnTo>
                      <a:lnTo>
                        <a:pt x="8" y="275"/>
                      </a:lnTo>
                      <a:lnTo>
                        <a:pt x="6" y="275"/>
                      </a:lnTo>
                      <a:lnTo>
                        <a:pt x="6" y="273"/>
                      </a:lnTo>
                      <a:lnTo>
                        <a:pt x="8" y="273"/>
                      </a:lnTo>
                      <a:lnTo>
                        <a:pt x="6" y="271"/>
                      </a:lnTo>
                      <a:lnTo>
                        <a:pt x="6" y="270"/>
                      </a:lnTo>
                      <a:lnTo>
                        <a:pt x="5" y="270"/>
                      </a:lnTo>
                      <a:lnTo>
                        <a:pt x="5" y="268"/>
                      </a:lnTo>
                      <a:lnTo>
                        <a:pt x="5" y="266"/>
                      </a:lnTo>
                      <a:lnTo>
                        <a:pt x="5" y="265"/>
                      </a:lnTo>
                      <a:lnTo>
                        <a:pt x="5" y="263"/>
                      </a:lnTo>
                      <a:lnTo>
                        <a:pt x="6" y="263"/>
                      </a:lnTo>
                      <a:lnTo>
                        <a:pt x="6" y="262"/>
                      </a:lnTo>
                      <a:lnTo>
                        <a:pt x="5" y="260"/>
                      </a:lnTo>
                      <a:lnTo>
                        <a:pt x="3" y="260"/>
                      </a:lnTo>
                      <a:lnTo>
                        <a:pt x="1" y="260"/>
                      </a:lnTo>
                      <a:lnTo>
                        <a:pt x="1" y="258"/>
                      </a:lnTo>
                      <a:lnTo>
                        <a:pt x="3" y="258"/>
                      </a:lnTo>
                      <a:lnTo>
                        <a:pt x="3" y="257"/>
                      </a:lnTo>
                      <a:lnTo>
                        <a:pt x="3" y="255"/>
                      </a:lnTo>
                      <a:lnTo>
                        <a:pt x="3" y="253"/>
                      </a:lnTo>
                      <a:lnTo>
                        <a:pt x="5" y="252"/>
                      </a:lnTo>
                      <a:lnTo>
                        <a:pt x="3" y="250"/>
                      </a:lnTo>
                      <a:lnTo>
                        <a:pt x="5" y="250"/>
                      </a:lnTo>
                      <a:lnTo>
                        <a:pt x="6" y="248"/>
                      </a:lnTo>
                      <a:lnTo>
                        <a:pt x="8" y="247"/>
                      </a:lnTo>
                      <a:lnTo>
                        <a:pt x="8" y="245"/>
                      </a:lnTo>
                      <a:lnTo>
                        <a:pt x="8" y="243"/>
                      </a:lnTo>
                      <a:lnTo>
                        <a:pt x="10" y="243"/>
                      </a:lnTo>
                      <a:lnTo>
                        <a:pt x="10" y="242"/>
                      </a:lnTo>
                      <a:lnTo>
                        <a:pt x="8" y="242"/>
                      </a:lnTo>
                      <a:lnTo>
                        <a:pt x="8" y="240"/>
                      </a:lnTo>
                      <a:lnTo>
                        <a:pt x="10" y="240"/>
                      </a:lnTo>
                      <a:lnTo>
                        <a:pt x="10" y="239"/>
                      </a:lnTo>
                      <a:lnTo>
                        <a:pt x="10" y="237"/>
                      </a:lnTo>
                      <a:lnTo>
                        <a:pt x="10" y="235"/>
                      </a:lnTo>
                      <a:lnTo>
                        <a:pt x="11" y="235"/>
                      </a:lnTo>
                      <a:lnTo>
                        <a:pt x="11" y="234"/>
                      </a:lnTo>
                      <a:lnTo>
                        <a:pt x="11" y="232"/>
                      </a:lnTo>
                      <a:lnTo>
                        <a:pt x="10" y="232"/>
                      </a:lnTo>
                      <a:lnTo>
                        <a:pt x="10" y="230"/>
                      </a:lnTo>
                      <a:lnTo>
                        <a:pt x="10" y="229"/>
                      </a:lnTo>
                      <a:lnTo>
                        <a:pt x="8" y="229"/>
                      </a:lnTo>
                      <a:lnTo>
                        <a:pt x="10" y="227"/>
                      </a:lnTo>
                      <a:lnTo>
                        <a:pt x="10" y="225"/>
                      </a:lnTo>
                      <a:lnTo>
                        <a:pt x="8" y="225"/>
                      </a:lnTo>
                      <a:lnTo>
                        <a:pt x="8" y="224"/>
                      </a:lnTo>
                      <a:lnTo>
                        <a:pt x="8" y="222"/>
                      </a:lnTo>
                      <a:lnTo>
                        <a:pt x="8" y="220"/>
                      </a:lnTo>
                      <a:lnTo>
                        <a:pt x="6" y="220"/>
                      </a:lnTo>
                      <a:lnTo>
                        <a:pt x="5" y="220"/>
                      </a:lnTo>
                      <a:lnTo>
                        <a:pt x="5" y="219"/>
                      </a:lnTo>
                      <a:lnTo>
                        <a:pt x="6" y="219"/>
                      </a:lnTo>
                      <a:lnTo>
                        <a:pt x="8" y="219"/>
                      </a:lnTo>
                      <a:lnTo>
                        <a:pt x="10" y="219"/>
                      </a:lnTo>
                      <a:lnTo>
                        <a:pt x="10" y="217"/>
                      </a:lnTo>
                      <a:lnTo>
                        <a:pt x="11" y="217"/>
                      </a:lnTo>
                      <a:lnTo>
                        <a:pt x="11" y="216"/>
                      </a:lnTo>
                      <a:lnTo>
                        <a:pt x="11" y="214"/>
                      </a:lnTo>
                      <a:lnTo>
                        <a:pt x="13" y="212"/>
                      </a:lnTo>
                      <a:lnTo>
                        <a:pt x="13" y="211"/>
                      </a:lnTo>
                      <a:lnTo>
                        <a:pt x="11" y="211"/>
                      </a:lnTo>
                      <a:lnTo>
                        <a:pt x="11" y="209"/>
                      </a:lnTo>
                      <a:lnTo>
                        <a:pt x="11" y="207"/>
                      </a:lnTo>
                      <a:lnTo>
                        <a:pt x="11" y="206"/>
                      </a:lnTo>
                      <a:lnTo>
                        <a:pt x="11" y="204"/>
                      </a:lnTo>
                      <a:lnTo>
                        <a:pt x="11" y="202"/>
                      </a:lnTo>
                      <a:lnTo>
                        <a:pt x="10" y="202"/>
                      </a:lnTo>
                      <a:lnTo>
                        <a:pt x="8" y="202"/>
                      </a:lnTo>
                      <a:lnTo>
                        <a:pt x="8" y="201"/>
                      </a:lnTo>
                      <a:lnTo>
                        <a:pt x="6" y="201"/>
                      </a:lnTo>
                      <a:lnTo>
                        <a:pt x="8" y="201"/>
                      </a:lnTo>
                      <a:lnTo>
                        <a:pt x="8" y="199"/>
                      </a:lnTo>
                      <a:lnTo>
                        <a:pt x="10" y="199"/>
                      </a:lnTo>
                      <a:lnTo>
                        <a:pt x="8" y="199"/>
                      </a:lnTo>
                      <a:lnTo>
                        <a:pt x="6" y="197"/>
                      </a:lnTo>
                      <a:lnTo>
                        <a:pt x="5" y="197"/>
                      </a:lnTo>
                      <a:lnTo>
                        <a:pt x="5" y="196"/>
                      </a:lnTo>
                      <a:lnTo>
                        <a:pt x="5" y="194"/>
                      </a:lnTo>
                      <a:lnTo>
                        <a:pt x="6" y="193"/>
                      </a:lnTo>
                      <a:lnTo>
                        <a:pt x="6" y="191"/>
                      </a:lnTo>
                      <a:lnTo>
                        <a:pt x="6" y="189"/>
                      </a:lnTo>
                      <a:lnTo>
                        <a:pt x="6" y="188"/>
                      </a:lnTo>
                      <a:lnTo>
                        <a:pt x="5" y="188"/>
                      </a:lnTo>
                      <a:lnTo>
                        <a:pt x="5" y="186"/>
                      </a:lnTo>
                      <a:lnTo>
                        <a:pt x="3" y="188"/>
                      </a:lnTo>
                      <a:lnTo>
                        <a:pt x="1" y="186"/>
                      </a:lnTo>
                      <a:lnTo>
                        <a:pt x="0" y="186"/>
                      </a:lnTo>
                      <a:lnTo>
                        <a:pt x="0" y="184"/>
                      </a:lnTo>
                      <a:lnTo>
                        <a:pt x="1" y="183"/>
                      </a:lnTo>
                      <a:lnTo>
                        <a:pt x="1" y="181"/>
                      </a:lnTo>
                      <a:lnTo>
                        <a:pt x="1" y="179"/>
                      </a:lnTo>
                      <a:lnTo>
                        <a:pt x="1" y="178"/>
                      </a:lnTo>
                      <a:lnTo>
                        <a:pt x="0" y="179"/>
                      </a:lnTo>
                      <a:lnTo>
                        <a:pt x="0" y="178"/>
                      </a:lnTo>
                      <a:lnTo>
                        <a:pt x="0" y="176"/>
                      </a:lnTo>
                      <a:lnTo>
                        <a:pt x="1" y="176"/>
                      </a:lnTo>
                      <a:lnTo>
                        <a:pt x="3" y="176"/>
                      </a:lnTo>
                      <a:lnTo>
                        <a:pt x="3" y="174"/>
                      </a:lnTo>
                      <a:lnTo>
                        <a:pt x="5" y="174"/>
                      </a:lnTo>
                      <a:lnTo>
                        <a:pt x="6" y="176"/>
                      </a:lnTo>
                      <a:lnTo>
                        <a:pt x="8" y="176"/>
                      </a:lnTo>
                      <a:lnTo>
                        <a:pt x="10" y="176"/>
                      </a:lnTo>
                      <a:lnTo>
                        <a:pt x="10" y="174"/>
                      </a:lnTo>
                      <a:lnTo>
                        <a:pt x="10" y="173"/>
                      </a:lnTo>
                      <a:lnTo>
                        <a:pt x="10" y="171"/>
                      </a:lnTo>
                      <a:lnTo>
                        <a:pt x="10" y="170"/>
                      </a:lnTo>
                      <a:lnTo>
                        <a:pt x="8" y="168"/>
                      </a:lnTo>
                      <a:lnTo>
                        <a:pt x="8" y="166"/>
                      </a:lnTo>
                      <a:lnTo>
                        <a:pt x="6" y="166"/>
                      </a:lnTo>
                      <a:lnTo>
                        <a:pt x="6" y="165"/>
                      </a:lnTo>
                      <a:lnTo>
                        <a:pt x="6" y="163"/>
                      </a:lnTo>
                      <a:lnTo>
                        <a:pt x="6" y="161"/>
                      </a:lnTo>
                      <a:lnTo>
                        <a:pt x="6" y="160"/>
                      </a:lnTo>
                      <a:lnTo>
                        <a:pt x="8" y="160"/>
                      </a:lnTo>
                      <a:lnTo>
                        <a:pt x="8" y="158"/>
                      </a:lnTo>
                      <a:lnTo>
                        <a:pt x="8" y="156"/>
                      </a:lnTo>
                      <a:lnTo>
                        <a:pt x="10" y="155"/>
                      </a:lnTo>
                      <a:lnTo>
                        <a:pt x="10" y="153"/>
                      </a:lnTo>
                      <a:lnTo>
                        <a:pt x="10" y="151"/>
                      </a:lnTo>
                      <a:lnTo>
                        <a:pt x="11" y="150"/>
                      </a:lnTo>
                      <a:lnTo>
                        <a:pt x="11" y="148"/>
                      </a:lnTo>
                      <a:lnTo>
                        <a:pt x="13" y="147"/>
                      </a:lnTo>
                      <a:lnTo>
                        <a:pt x="15" y="145"/>
                      </a:lnTo>
                      <a:lnTo>
                        <a:pt x="13" y="145"/>
                      </a:lnTo>
                      <a:lnTo>
                        <a:pt x="13" y="143"/>
                      </a:lnTo>
                      <a:lnTo>
                        <a:pt x="13" y="142"/>
                      </a:lnTo>
                      <a:lnTo>
                        <a:pt x="11" y="142"/>
                      </a:lnTo>
                      <a:lnTo>
                        <a:pt x="11" y="140"/>
                      </a:lnTo>
                      <a:lnTo>
                        <a:pt x="10" y="140"/>
                      </a:lnTo>
                      <a:lnTo>
                        <a:pt x="10" y="138"/>
                      </a:lnTo>
                      <a:lnTo>
                        <a:pt x="10" y="137"/>
                      </a:lnTo>
                      <a:lnTo>
                        <a:pt x="8" y="137"/>
                      </a:lnTo>
                      <a:lnTo>
                        <a:pt x="6" y="135"/>
                      </a:lnTo>
                      <a:lnTo>
                        <a:pt x="5" y="135"/>
                      </a:lnTo>
                      <a:lnTo>
                        <a:pt x="3" y="135"/>
                      </a:lnTo>
                      <a:lnTo>
                        <a:pt x="11" y="135"/>
                      </a:lnTo>
                      <a:lnTo>
                        <a:pt x="115" y="133"/>
                      </a:lnTo>
                      <a:lnTo>
                        <a:pt x="153" y="135"/>
                      </a:lnTo>
                      <a:lnTo>
                        <a:pt x="201" y="135"/>
                      </a:lnTo>
                      <a:lnTo>
                        <a:pt x="236" y="135"/>
                      </a:lnTo>
                      <a:lnTo>
                        <a:pt x="297" y="135"/>
                      </a:lnTo>
                      <a:lnTo>
                        <a:pt x="302" y="135"/>
                      </a:lnTo>
                      <a:close/>
                    </a:path>
                  </a:pathLst>
                </a:custGeom>
                <a:solidFill>
                  <a:srgbClr val="FFFFE1"/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black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8" name="Freeform 27"/>
                <p:cNvSpPr>
                  <a:spLocks noChangeAspect="1"/>
                </p:cNvSpPr>
                <p:nvPr/>
              </p:nvSpPr>
              <p:spPr bwMode="auto">
                <a:xfrm>
                  <a:off x="4340676" y="3182830"/>
                  <a:ext cx="1090090" cy="1098316"/>
                </a:xfrm>
                <a:custGeom>
                  <a:avLst/>
                  <a:gdLst>
                    <a:gd name="T0" fmla="*/ 2147483647 w 698"/>
                    <a:gd name="T1" fmla="*/ 2147483647 h 655"/>
                    <a:gd name="T2" fmla="*/ 2147483647 w 698"/>
                    <a:gd name="T3" fmla="*/ 2147483647 h 655"/>
                    <a:gd name="T4" fmla="*/ 2147483647 w 698"/>
                    <a:gd name="T5" fmla="*/ 2147483647 h 655"/>
                    <a:gd name="T6" fmla="*/ 2147483647 w 698"/>
                    <a:gd name="T7" fmla="*/ 2147483647 h 655"/>
                    <a:gd name="T8" fmla="*/ 2147483647 w 698"/>
                    <a:gd name="T9" fmla="*/ 2147483647 h 655"/>
                    <a:gd name="T10" fmla="*/ 2147483647 w 698"/>
                    <a:gd name="T11" fmla="*/ 2147483647 h 655"/>
                    <a:gd name="T12" fmla="*/ 2147483647 w 698"/>
                    <a:gd name="T13" fmla="*/ 2147483647 h 655"/>
                    <a:gd name="T14" fmla="*/ 2147483647 w 698"/>
                    <a:gd name="T15" fmla="*/ 2147483647 h 655"/>
                    <a:gd name="T16" fmla="*/ 2147483647 w 698"/>
                    <a:gd name="T17" fmla="*/ 2147483647 h 655"/>
                    <a:gd name="T18" fmla="*/ 2147483647 w 698"/>
                    <a:gd name="T19" fmla="*/ 2147483647 h 655"/>
                    <a:gd name="T20" fmla="*/ 2147483647 w 698"/>
                    <a:gd name="T21" fmla="*/ 2147483647 h 655"/>
                    <a:gd name="T22" fmla="*/ 2147483647 w 698"/>
                    <a:gd name="T23" fmla="*/ 2147483647 h 655"/>
                    <a:gd name="T24" fmla="*/ 2147483647 w 698"/>
                    <a:gd name="T25" fmla="*/ 2147483647 h 655"/>
                    <a:gd name="T26" fmla="*/ 2147483647 w 698"/>
                    <a:gd name="T27" fmla="*/ 2147483647 h 655"/>
                    <a:gd name="T28" fmla="*/ 2147483647 w 698"/>
                    <a:gd name="T29" fmla="*/ 2147483647 h 655"/>
                    <a:gd name="T30" fmla="*/ 2147483647 w 698"/>
                    <a:gd name="T31" fmla="*/ 2147483647 h 655"/>
                    <a:gd name="T32" fmla="*/ 2147483647 w 698"/>
                    <a:gd name="T33" fmla="*/ 2147483647 h 655"/>
                    <a:gd name="T34" fmla="*/ 2147483647 w 698"/>
                    <a:gd name="T35" fmla="*/ 2147483647 h 655"/>
                    <a:gd name="T36" fmla="*/ 2147483647 w 698"/>
                    <a:gd name="T37" fmla="*/ 2147483647 h 655"/>
                    <a:gd name="T38" fmla="*/ 2147483647 w 698"/>
                    <a:gd name="T39" fmla="*/ 2147483647 h 655"/>
                    <a:gd name="T40" fmla="*/ 2147483647 w 698"/>
                    <a:gd name="T41" fmla="*/ 2147483647 h 655"/>
                    <a:gd name="T42" fmla="*/ 2147483647 w 698"/>
                    <a:gd name="T43" fmla="*/ 2147483647 h 655"/>
                    <a:gd name="T44" fmla="*/ 2147483647 w 698"/>
                    <a:gd name="T45" fmla="*/ 2147483647 h 655"/>
                    <a:gd name="T46" fmla="*/ 2147483647 w 698"/>
                    <a:gd name="T47" fmla="*/ 2147483647 h 655"/>
                    <a:gd name="T48" fmla="*/ 2147483647 w 698"/>
                    <a:gd name="T49" fmla="*/ 2147483647 h 655"/>
                    <a:gd name="T50" fmla="*/ 2147483647 w 698"/>
                    <a:gd name="T51" fmla="*/ 2147483647 h 655"/>
                    <a:gd name="T52" fmla="*/ 2147483647 w 698"/>
                    <a:gd name="T53" fmla="*/ 2147483647 h 655"/>
                    <a:gd name="T54" fmla="*/ 2147483647 w 698"/>
                    <a:gd name="T55" fmla="*/ 2147483647 h 655"/>
                    <a:gd name="T56" fmla="*/ 2147483647 w 698"/>
                    <a:gd name="T57" fmla="*/ 2147483647 h 655"/>
                    <a:gd name="T58" fmla="*/ 2147483647 w 698"/>
                    <a:gd name="T59" fmla="*/ 2147483647 h 655"/>
                    <a:gd name="T60" fmla="*/ 2147483647 w 698"/>
                    <a:gd name="T61" fmla="*/ 2147483647 h 655"/>
                    <a:gd name="T62" fmla="*/ 2147483647 w 698"/>
                    <a:gd name="T63" fmla="*/ 2147483647 h 655"/>
                    <a:gd name="T64" fmla="*/ 2147483647 w 698"/>
                    <a:gd name="T65" fmla="*/ 2147483647 h 655"/>
                    <a:gd name="T66" fmla="*/ 2147483647 w 698"/>
                    <a:gd name="T67" fmla="*/ 2147483647 h 655"/>
                    <a:gd name="T68" fmla="*/ 2147483647 w 698"/>
                    <a:gd name="T69" fmla="*/ 2147483647 h 655"/>
                    <a:gd name="T70" fmla="*/ 2147483647 w 698"/>
                    <a:gd name="T71" fmla="*/ 2147483647 h 655"/>
                    <a:gd name="T72" fmla="*/ 2147483647 w 698"/>
                    <a:gd name="T73" fmla="*/ 2147483647 h 655"/>
                    <a:gd name="T74" fmla="*/ 2147483647 w 698"/>
                    <a:gd name="T75" fmla="*/ 2147483647 h 655"/>
                    <a:gd name="T76" fmla="*/ 2147483647 w 698"/>
                    <a:gd name="T77" fmla="*/ 2147483647 h 655"/>
                    <a:gd name="T78" fmla="*/ 2147483647 w 698"/>
                    <a:gd name="T79" fmla="*/ 2147483647 h 655"/>
                    <a:gd name="T80" fmla="*/ 2147483647 w 698"/>
                    <a:gd name="T81" fmla="*/ 2147483647 h 655"/>
                    <a:gd name="T82" fmla="*/ 2147483647 w 698"/>
                    <a:gd name="T83" fmla="*/ 2147483647 h 655"/>
                    <a:gd name="T84" fmla="*/ 2147483647 w 698"/>
                    <a:gd name="T85" fmla="*/ 2147483647 h 655"/>
                    <a:gd name="T86" fmla="*/ 2147483647 w 698"/>
                    <a:gd name="T87" fmla="*/ 2147483647 h 655"/>
                    <a:gd name="T88" fmla="*/ 2147483647 w 698"/>
                    <a:gd name="T89" fmla="*/ 2147483647 h 655"/>
                    <a:gd name="T90" fmla="*/ 2147483647 w 698"/>
                    <a:gd name="T91" fmla="*/ 2147483647 h 655"/>
                    <a:gd name="T92" fmla="*/ 2147483647 w 698"/>
                    <a:gd name="T93" fmla="*/ 2147483647 h 655"/>
                    <a:gd name="T94" fmla="*/ 2147483647 w 698"/>
                    <a:gd name="T95" fmla="*/ 2147483647 h 655"/>
                    <a:gd name="T96" fmla="*/ 2147483647 w 698"/>
                    <a:gd name="T97" fmla="*/ 2147483647 h 655"/>
                    <a:gd name="T98" fmla="*/ 2147483647 w 698"/>
                    <a:gd name="T99" fmla="*/ 2147483647 h 655"/>
                    <a:gd name="T100" fmla="*/ 2147483647 w 698"/>
                    <a:gd name="T101" fmla="*/ 2147483647 h 655"/>
                    <a:gd name="T102" fmla="*/ 2147483647 w 698"/>
                    <a:gd name="T103" fmla="*/ 2147483647 h 655"/>
                    <a:gd name="T104" fmla="*/ 2147483647 w 698"/>
                    <a:gd name="T105" fmla="*/ 2147483647 h 655"/>
                    <a:gd name="T106" fmla="*/ 2147483647 w 698"/>
                    <a:gd name="T107" fmla="*/ 2147483647 h 655"/>
                    <a:gd name="T108" fmla="*/ 2147483647 w 698"/>
                    <a:gd name="T109" fmla="*/ 2147483647 h 655"/>
                    <a:gd name="T110" fmla="*/ 2147483647 w 698"/>
                    <a:gd name="T111" fmla="*/ 2147483647 h 655"/>
                    <a:gd name="T112" fmla="*/ 2147483647 w 698"/>
                    <a:gd name="T113" fmla="*/ 2147483647 h 655"/>
                    <a:gd name="T114" fmla="*/ 2147483647 w 698"/>
                    <a:gd name="T115" fmla="*/ 2147483647 h 655"/>
                    <a:gd name="T116" fmla="*/ 2147483647 w 698"/>
                    <a:gd name="T117" fmla="*/ 2147483647 h 655"/>
                    <a:gd name="T118" fmla="*/ 2147483647 w 698"/>
                    <a:gd name="T119" fmla="*/ 2147483647 h 655"/>
                    <a:gd name="T120" fmla="*/ 2147483647 w 698"/>
                    <a:gd name="T121" fmla="*/ 2147483647 h 655"/>
                    <a:gd name="T122" fmla="*/ 2147483647 w 698"/>
                    <a:gd name="T123" fmla="*/ 2147483647 h 655"/>
                    <a:gd name="T124" fmla="*/ 2147483647 w 698"/>
                    <a:gd name="T125" fmla="*/ 2147483647 h 65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98"/>
                    <a:gd name="T190" fmla="*/ 0 h 655"/>
                    <a:gd name="T191" fmla="*/ 698 w 698"/>
                    <a:gd name="T192" fmla="*/ 655 h 65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98" h="655">
                      <a:moveTo>
                        <a:pt x="686" y="224"/>
                      </a:moveTo>
                      <a:lnTo>
                        <a:pt x="686" y="225"/>
                      </a:lnTo>
                      <a:lnTo>
                        <a:pt x="684" y="225"/>
                      </a:lnTo>
                      <a:lnTo>
                        <a:pt x="683" y="225"/>
                      </a:lnTo>
                      <a:lnTo>
                        <a:pt x="684" y="225"/>
                      </a:lnTo>
                      <a:lnTo>
                        <a:pt x="684" y="227"/>
                      </a:lnTo>
                      <a:lnTo>
                        <a:pt x="686" y="228"/>
                      </a:lnTo>
                      <a:lnTo>
                        <a:pt x="684" y="228"/>
                      </a:lnTo>
                      <a:lnTo>
                        <a:pt x="684" y="230"/>
                      </a:lnTo>
                      <a:lnTo>
                        <a:pt x="684" y="228"/>
                      </a:lnTo>
                      <a:lnTo>
                        <a:pt x="684" y="230"/>
                      </a:lnTo>
                      <a:lnTo>
                        <a:pt x="683" y="230"/>
                      </a:lnTo>
                      <a:lnTo>
                        <a:pt x="683" y="232"/>
                      </a:lnTo>
                      <a:lnTo>
                        <a:pt x="683" y="233"/>
                      </a:lnTo>
                      <a:lnTo>
                        <a:pt x="681" y="232"/>
                      </a:lnTo>
                      <a:lnTo>
                        <a:pt x="681" y="233"/>
                      </a:lnTo>
                      <a:lnTo>
                        <a:pt x="681" y="235"/>
                      </a:lnTo>
                      <a:lnTo>
                        <a:pt x="679" y="235"/>
                      </a:lnTo>
                      <a:lnTo>
                        <a:pt x="678" y="235"/>
                      </a:lnTo>
                      <a:lnTo>
                        <a:pt x="678" y="233"/>
                      </a:lnTo>
                      <a:lnTo>
                        <a:pt x="676" y="233"/>
                      </a:lnTo>
                      <a:lnTo>
                        <a:pt x="676" y="235"/>
                      </a:lnTo>
                      <a:lnTo>
                        <a:pt x="674" y="235"/>
                      </a:lnTo>
                      <a:lnTo>
                        <a:pt x="674" y="233"/>
                      </a:lnTo>
                      <a:lnTo>
                        <a:pt x="673" y="233"/>
                      </a:lnTo>
                      <a:lnTo>
                        <a:pt x="673" y="232"/>
                      </a:lnTo>
                      <a:lnTo>
                        <a:pt x="673" y="233"/>
                      </a:lnTo>
                      <a:lnTo>
                        <a:pt x="673" y="235"/>
                      </a:lnTo>
                      <a:lnTo>
                        <a:pt x="673" y="237"/>
                      </a:lnTo>
                      <a:lnTo>
                        <a:pt x="671" y="237"/>
                      </a:lnTo>
                      <a:lnTo>
                        <a:pt x="669" y="235"/>
                      </a:lnTo>
                      <a:lnTo>
                        <a:pt x="668" y="237"/>
                      </a:lnTo>
                      <a:lnTo>
                        <a:pt x="668" y="235"/>
                      </a:lnTo>
                      <a:lnTo>
                        <a:pt x="666" y="233"/>
                      </a:lnTo>
                      <a:lnTo>
                        <a:pt x="664" y="233"/>
                      </a:lnTo>
                      <a:lnTo>
                        <a:pt x="664" y="235"/>
                      </a:lnTo>
                      <a:lnTo>
                        <a:pt x="663" y="235"/>
                      </a:lnTo>
                      <a:lnTo>
                        <a:pt x="661" y="235"/>
                      </a:lnTo>
                      <a:lnTo>
                        <a:pt x="661" y="233"/>
                      </a:lnTo>
                      <a:lnTo>
                        <a:pt x="659" y="233"/>
                      </a:lnTo>
                      <a:lnTo>
                        <a:pt x="659" y="232"/>
                      </a:lnTo>
                      <a:lnTo>
                        <a:pt x="657" y="232"/>
                      </a:lnTo>
                      <a:lnTo>
                        <a:pt x="659" y="230"/>
                      </a:lnTo>
                      <a:lnTo>
                        <a:pt x="659" y="228"/>
                      </a:lnTo>
                      <a:lnTo>
                        <a:pt x="661" y="228"/>
                      </a:lnTo>
                      <a:lnTo>
                        <a:pt x="659" y="228"/>
                      </a:lnTo>
                      <a:lnTo>
                        <a:pt x="657" y="227"/>
                      </a:lnTo>
                      <a:lnTo>
                        <a:pt x="657" y="225"/>
                      </a:lnTo>
                      <a:lnTo>
                        <a:pt x="657" y="224"/>
                      </a:lnTo>
                      <a:lnTo>
                        <a:pt x="656" y="222"/>
                      </a:lnTo>
                      <a:lnTo>
                        <a:pt x="654" y="222"/>
                      </a:lnTo>
                      <a:lnTo>
                        <a:pt x="652" y="222"/>
                      </a:lnTo>
                      <a:lnTo>
                        <a:pt x="652" y="220"/>
                      </a:lnTo>
                      <a:lnTo>
                        <a:pt x="651" y="220"/>
                      </a:lnTo>
                      <a:lnTo>
                        <a:pt x="651" y="219"/>
                      </a:lnTo>
                      <a:lnTo>
                        <a:pt x="649" y="219"/>
                      </a:lnTo>
                      <a:lnTo>
                        <a:pt x="647" y="219"/>
                      </a:lnTo>
                      <a:lnTo>
                        <a:pt x="647" y="217"/>
                      </a:lnTo>
                      <a:lnTo>
                        <a:pt x="646" y="217"/>
                      </a:lnTo>
                      <a:lnTo>
                        <a:pt x="644" y="217"/>
                      </a:lnTo>
                      <a:lnTo>
                        <a:pt x="644" y="215"/>
                      </a:lnTo>
                      <a:lnTo>
                        <a:pt x="644" y="214"/>
                      </a:lnTo>
                      <a:lnTo>
                        <a:pt x="642" y="214"/>
                      </a:lnTo>
                      <a:lnTo>
                        <a:pt x="641" y="214"/>
                      </a:lnTo>
                      <a:lnTo>
                        <a:pt x="641" y="215"/>
                      </a:lnTo>
                      <a:lnTo>
                        <a:pt x="641" y="217"/>
                      </a:lnTo>
                      <a:lnTo>
                        <a:pt x="639" y="217"/>
                      </a:lnTo>
                      <a:lnTo>
                        <a:pt x="637" y="219"/>
                      </a:lnTo>
                      <a:lnTo>
                        <a:pt x="637" y="220"/>
                      </a:lnTo>
                      <a:lnTo>
                        <a:pt x="635" y="222"/>
                      </a:lnTo>
                      <a:lnTo>
                        <a:pt x="635" y="224"/>
                      </a:lnTo>
                      <a:lnTo>
                        <a:pt x="635" y="225"/>
                      </a:lnTo>
                      <a:lnTo>
                        <a:pt x="637" y="225"/>
                      </a:lnTo>
                      <a:lnTo>
                        <a:pt x="639" y="225"/>
                      </a:lnTo>
                      <a:lnTo>
                        <a:pt x="639" y="227"/>
                      </a:lnTo>
                      <a:lnTo>
                        <a:pt x="639" y="228"/>
                      </a:lnTo>
                      <a:lnTo>
                        <a:pt x="639" y="230"/>
                      </a:lnTo>
                      <a:lnTo>
                        <a:pt x="637" y="230"/>
                      </a:lnTo>
                      <a:lnTo>
                        <a:pt x="637" y="232"/>
                      </a:lnTo>
                      <a:lnTo>
                        <a:pt x="637" y="233"/>
                      </a:lnTo>
                      <a:lnTo>
                        <a:pt x="637" y="235"/>
                      </a:lnTo>
                      <a:lnTo>
                        <a:pt x="637" y="237"/>
                      </a:lnTo>
                      <a:lnTo>
                        <a:pt x="637" y="238"/>
                      </a:lnTo>
                      <a:lnTo>
                        <a:pt x="639" y="238"/>
                      </a:lnTo>
                      <a:lnTo>
                        <a:pt x="639" y="240"/>
                      </a:lnTo>
                      <a:lnTo>
                        <a:pt x="639" y="242"/>
                      </a:lnTo>
                      <a:lnTo>
                        <a:pt x="639" y="243"/>
                      </a:lnTo>
                      <a:lnTo>
                        <a:pt x="641" y="243"/>
                      </a:lnTo>
                      <a:lnTo>
                        <a:pt x="641" y="245"/>
                      </a:lnTo>
                      <a:lnTo>
                        <a:pt x="641" y="246"/>
                      </a:lnTo>
                      <a:lnTo>
                        <a:pt x="639" y="246"/>
                      </a:lnTo>
                      <a:lnTo>
                        <a:pt x="637" y="246"/>
                      </a:lnTo>
                      <a:lnTo>
                        <a:pt x="635" y="246"/>
                      </a:lnTo>
                      <a:lnTo>
                        <a:pt x="635" y="248"/>
                      </a:lnTo>
                      <a:lnTo>
                        <a:pt x="634" y="248"/>
                      </a:lnTo>
                      <a:lnTo>
                        <a:pt x="632" y="248"/>
                      </a:lnTo>
                      <a:lnTo>
                        <a:pt x="632" y="250"/>
                      </a:lnTo>
                      <a:lnTo>
                        <a:pt x="630" y="250"/>
                      </a:lnTo>
                      <a:lnTo>
                        <a:pt x="630" y="248"/>
                      </a:lnTo>
                      <a:lnTo>
                        <a:pt x="629" y="250"/>
                      </a:lnTo>
                      <a:lnTo>
                        <a:pt x="627" y="250"/>
                      </a:lnTo>
                      <a:lnTo>
                        <a:pt x="627" y="248"/>
                      </a:lnTo>
                      <a:lnTo>
                        <a:pt x="625" y="246"/>
                      </a:lnTo>
                      <a:lnTo>
                        <a:pt x="624" y="246"/>
                      </a:lnTo>
                      <a:lnTo>
                        <a:pt x="622" y="246"/>
                      </a:lnTo>
                      <a:lnTo>
                        <a:pt x="622" y="245"/>
                      </a:lnTo>
                      <a:lnTo>
                        <a:pt x="620" y="245"/>
                      </a:lnTo>
                      <a:lnTo>
                        <a:pt x="619" y="245"/>
                      </a:lnTo>
                      <a:lnTo>
                        <a:pt x="617" y="245"/>
                      </a:lnTo>
                      <a:lnTo>
                        <a:pt x="615" y="243"/>
                      </a:lnTo>
                      <a:lnTo>
                        <a:pt x="614" y="243"/>
                      </a:lnTo>
                      <a:lnTo>
                        <a:pt x="612" y="243"/>
                      </a:lnTo>
                      <a:lnTo>
                        <a:pt x="612" y="242"/>
                      </a:lnTo>
                      <a:lnTo>
                        <a:pt x="610" y="242"/>
                      </a:lnTo>
                      <a:lnTo>
                        <a:pt x="608" y="242"/>
                      </a:lnTo>
                      <a:lnTo>
                        <a:pt x="607" y="242"/>
                      </a:lnTo>
                      <a:lnTo>
                        <a:pt x="607" y="243"/>
                      </a:lnTo>
                      <a:lnTo>
                        <a:pt x="605" y="243"/>
                      </a:lnTo>
                      <a:lnTo>
                        <a:pt x="603" y="245"/>
                      </a:lnTo>
                      <a:lnTo>
                        <a:pt x="602" y="245"/>
                      </a:lnTo>
                      <a:lnTo>
                        <a:pt x="602" y="246"/>
                      </a:lnTo>
                      <a:lnTo>
                        <a:pt x="600" y="246"/>
                      </a:lnTo>
                      <a:lnTo>
                        <a:pt x="600" y="248"/>
                      </a:lnTo>
                      <a:lnTo>
                        <a:pt x="602" y="248"/>
                      </a:lnTo>
                      <a:lnTo>
                        <a:pt x="602" y="250"/>
                      </a:lnTo>
                      <a:lnTo>
                        <a:pt x="603" y="250"/>
                      </a:lnTo>
                      <a:lnTo>
                        <a:pt x="603" y="251"/>
                      </a:lnTo>
                      <a:lnTo>
                        <a:pt x="605" y="251"/>
                      </a:lnTo>
                      <a:lnTo>
                        <a:pt x="603" y="253"/>
                      </a:lnTo>
                      <a:lnTo>
                        <a:pt x="603" y="255"/>
                      </a:lnTo>
                      <a:lnTo>
                        <a:pt x="602" y="255"/>
                      </a:lnTo>
                      <a:lnTo>
                        <a:pt x="602" y="256"/>
                      </a:lnTo>
                      <a:lnTo>
                        <a:pt x="602" y="258"/>
                      </a:lnTo>
                      <a:lnTo>
                        <a:pt x="600" y="258"/>
                      </a:lnTo>
                      <a:lnTo>
                        <a:pt x="600" y="260"/>
                      </a:lnTo>
                      <a:lnTo>
                        <a:pt x="600" y="261"/>
                      </a:lnTo>
                      <a:lnTo>
                        <a:pt x="600" y="263"/>
                      </a:lnTo>
                      <a:lnTo>
                        <a:pt x="600" y="265"/>
                      </a:lnTo>
                      <a:lnTo>
                        <a:pt x="602" y="265"/>
                      </a:lnTo>
                      <a:lnTo>
                        <a:pt x="602" y="263"/>
                      </a:lnTo>
                      <a:lnTo>
                        <a:pt x="603" y="263"/>
                      </a:lnTo>
                      <a:lnTo>
                        <a:pt x="603" y="265"/>
                      </a:lnTo>
                      <a:lnTo>
                        <a:pt x="605" y="266"/>
                      </a:lnTo>
                      <a:lnTo>
                        <a:pt x="603" y="266"/>
                      </a:lnTo>
                      <a:lnTo>
                        <a:pt x="603" y="268"/>
                      </a:lnTo>
                      <a:lnTo>
                        <a:pt x="605" y="268"/>
                      </a:lnTo>
                      <a:lnTo>
                        <a:pt x="607" y="269"/>
                      </a:lnTo>
                      <a:lnTo>
                        <a:pt x="608" y="271"/>
                      </a:lnTo>
                      <a:lnTo>
                        <a:pt x="608" y="273"/>
                      </a:lnTo>
                      <a:lnTo>
                        <a:pt x="607" y="273"/>
                      </a:lnTo>
                      <a:lnTo>
                        <a:pt x="607" y="274"/>
                      </a:lnTo>
                      <a:lnTo>
                        <a:pt x="608" y="274"/>
                      </a:lnTo>
                      <a:lnTo>
                        <a:pt x="608" y="276"/>
                      </a:lnTo>
                      <a:lnTo>
                        <a:pt x="607" y="276"/>
                      </a:lnTo>
                      <a:lnTo>
                        <a:pt x="605" y="278"/>
                      </a:lnTo>
                      <a:lnTo>
                        <a:pt x="603" y="278"/>
                      </a:lnTo>
                      <a:lnTo>
                        <a:pt x="602" y="279"/>
                      </a:lnTo>
                      <a:lnTo>
                        <a:pt x="602" y="281"/>
                      </a:lnTo>
                      <a:lnTo>
                        <a:pt x="600" y="281"/>
                      </a:lnTo>
                      <a:lnTo>
                        <a:pt x="600" y="283"/>
                      </a:lnTo>
                      <a:lnTo>
                        <a:pt x="600" y="284"/>
                      </a:lnTo>
                      <a:lnTo>
                        <a:pt x="600" y="286"/>
                      </a:lnTo>
                      <a:lnTo>
                        <a:pt x="600" y="288"/>
                      </a:lnTo>
                      <a:lnTo>
                        <a:pt x="598" y="289"/>
                      </a:lnTo>
                      <a:lnTo>
                        <a:pt x="598" y="291"/>
                      </a:lnTo>
                      <a:lnTo>
                        <a:pt x="598" y="292"/>
                      </a:lnTo>
                      <a:lnTo>
                        <a:pt x="598" y="294"/>
                      </a:lnTo>
                      <a:lnTo>
                        <a:pt x="600" y="294"/>
                      </a:lnTo>
                      <a:lnTo>
                        <a:pt x="602" y="296"/>
                      </a:lnTo>
                      <a:lnTo>
                        <a:pt x="603" y="296"/>
                      </a:lnTo>
                      <a:lnTo>
                        <a:pt x="603" y="297"/>
                      </a:lnTo>
                      <a:lnTo>
                        <a:pt x="605" y="297"/>
                      </a:lnTo>
                      <a:lnTo>
                        <a:pt x="607" y="297"/>
                      </a:lnTo>
                      <a:lnTo>
                        <a:pt x="607" y="299"/>
                      </a:lnTo>
                      <a:lnTo>
                        <a:pt x="607" y="301"/>
                      </a:lnTo>
                      <a:lnTo>
                        <a:pt x="608" y="301"/>
                      </a:lnTo>
                      <a:lnTo>
                        <a:pt x="608" y="302"/>
                      </a:lnTo>
                      <a:lnTo>
                        <a:pt x="607" y="304"/>
                      </a:lnTo>
                      <a:lnTo>
                        <a:pt x="608" y="306"/>
                      </a:lnTo>
                      <a:lnTo>
                        <a:pt x="608" y="307"/>
                      </a:lnTo>
                      <a:lnTo>
                        <a:pt x="610" y="307"/>
                      </a:lnTo>
                      <a:lnTo>
                        <a:pt x="610" y="309"/>
                      </a:lnTo>
                      <a:lnTo>
                        <a:pt x="610" y="311"/>
                      </a:lnTo>
                      <a:lnTo>
                        <a:pt x="610" y="312"/>
                      </a:lnTo>
                      <a:lnTo>
                        <a:pt x="612" y="314"/>
                      </a:lnTo>
                      <a:lnTo>
                        <a:pt x="612" y="315"/>
                      </a:lnTo>
                      <a:lnTo>
                        <a:pt x="610" y="315"/>
                      </a:lnTo>
                      <a:lnTo>
                        <a:pt x="610" y="317"/>
                      </a:lnTo>
                      <a:lnTo>
                        <a:pt x="612" y="319"/>
                      </a:lnTo>
                      <a:lnTo>
                        <a:pt x="612" y="320"/>
                      </a:lnTo>
                      <a:lnTo>
                        <a:pt x="612" y="322"/>
                      </a:lnTo>
                      <a:lnTo>
                        <a:pt x="610" y="322"/>
                      </a:lnTo>
                      <a:lnTo>
                        <a:pt x="607" y="324"/>
                      </a:lnTo>
                      <a:lnTo>
                        <a:pt x="605" y="324"/>
                      </a:lnTo>
                      <a:lnTo>
                        <a:pt x="602" y="324"/>
                      </a:lnTo>
                      <a:lnTo>
                        <a:pt x="598" y="325"/>
                      </a:lnTo>
                      <a:lnTo>
                        <a:pt x="593" y="327"/>
                      </a:lnTo>
                      <a:lnTo>
                        <a:pt x="592" y="327"/>
                      </a:lnTo>
                      <a:lnTo>
                        <a:pt x="590" y="327"/>
                      </a:lnTo>
                      <a:lnTo>
                        <a:pt x="588" y="327"/>
                      </a:lnTo>
                      <a:lnTo>
                        <a:pt x="588" y="329"/>
                      </a:lnTo>
                      <a:lnTo>
                        <a:pt x="587" y="329"/>
                      </a:lnTo>
                      <a:lnTo>
                        <a:pt x="585" y="330"/>
                      </a:lnTo>
                      <a:lnTo>
                        <a:pt x="585" y="329"/>
                      </a:lnTo>
                      <a:lnTo>
                        <a:pt x="583" y="330"/>
                      </a:lnTo>
                      <a:lnTo>
                        <a:pt x="583" y="329"/>
                      </a:lnTo>
                      <a:lnTo>
                        <a:pt x="581" y="329"/>
                      </a:lnTo>
                      <a:lnTo>
                        <a:pt x="581" y="327"/>
                      </a:lnTo>
                      <a:lnTo>
                        <a:pt x="580" y="327"/>
                      </a:lnTo>
                      <a:lnTo>
                        <a:pt x="581" y="327"/>
                      </a:lnTo>
                      <a:lnTo>
                        <a:pt x="580" y="327"/>
                      </a:lnTo>
                      <a:lnTo>
                        <a:pt x="580" y="329"/>
                      </a:lnTo>
                      <a:lnTo>
                        <a:pt x="578" y="327"/>
                      </a:lnTo>
                      <a:lnTo>
                        <a:pt x="578" y="329"/>
                      </a:lnTo>
                      <a:lnTo>
                        <a:pt x="578" y="330"/>
                      </a:lnTo>
                      <a:lnTo>
                        <a:pt x="576" y="330"/>
                      </a:lnTo>
                      <a:lnTo>
                        <a:pt x="576" y="332"/>
                      </a:lnTo>
                      <a:lnTo>
                        <a:pt x="575" y="332"/>
                      </a:lnTo>
                      <a:lnTo>
                        <a:pt x="576" y="332"/>
                      </a:lnTo>
                      <a:lnTo>
                        <a:pt x="575" y="332"/>
                      </a:lnTo>
                      <a:lnTo>
                        <a:pt x="575" y="334"/>
                      </a:lnTo>
                      <a:lnTo>
                        <a:pt x="573" y="334"/>
                      </a:lnTo>
                      <a:lnTo>
                        <a:pt x="573" y="335"/>
                      </a:lnTo>
                      <a:lnTo>
                        <a:pt x="573" y="334"/>
                      </a:lnTo>
                      <a:lnTo>
                        <a:pt x="573" y="335"/>
                      </a:lnTo>
                      <a:lnTo>
                        <a:pt x="571" y="335"/>
                      </a:lnTo>
                      <a:lnTo>
                        <a:pt x="571" y="334"/>
                      </a:lnTo>
                      <a:lnTo>
                        <a:pt x="571" y="335"/>
                      </a:lnTo>
                      <a:lnTo>
                        <a:pt x="570" y="335"/>
                      </a:lnTo>
                      <a:lnTo>
                        <a:pt x="568" y="335"/>
                      </a:lnTo>
                      <a:lnTo>
                        <a:pt x="568" y="334"/>
                      </a:lnTo>
                      <a:lnTo>
                        <a:pt x="568" y="335"/>
                      </a:lnTo>
                      <a:lnTo>
                        <a:pt x="568" y="334"/>
                      </a:lnTo>
                      <a:lnTo>
                        <a:pt x="566" y="334"/>
                      </a:lnTo>
                      <a:lnTo>
                        <a:pt x="566" y="335"/>
                      </a:lnTo>
                      <a:lnTo>
                        <a:pt x="565" y="335"/>
                      </a:lnTo>
                      <a:lnTo>
                        <a:pt x="566" y="335"/>
                      </a:lnTo>
                      <a:lnTo>
                        <a:pt x="565" y="335"/>
                      </a:lnTo>
                      <a:lnTo>
                        <a:pt x="566" y="335"/>
                      </a:lnTo>
                      <a:lnTo>
                        <a:pt x="565" y="335"/>
                      </a:lnTo>
                      <a:lnTo>
                        <a:pt x="565" y="337"/>
                      </a:lnTo>
                      <a:lnTo>
                        <a:pt x="565" y="335"/>
                      </a:lnTo>
                      <a:lnTo>
                        <a:pt x="565" y="337"/>
                      </a:lnTo>
                      <a:lnTo>
                        <a:pt x="563" y="337"/>
                      </a:lnTo>
                      <a:lnTo>
                        <a:pt x="563" y="335"/>
                      </a:lnTo>
                      <a:lnTo>
                        <a:pt x="561" y="335"/>
                      </a:lnTo>
                      <a:lnTo>
                        <a:pt x="561" y="334"/>
                      </a:lnTo>
                      <a:lnTo>
                        <a:pt x="559" y="334"/>
                      </a:lnTo>
                      <a:lnTo>
                        <a:pt x="558" y="334"/>
                      </a:lnTo>
                      <a:lnTo>
                        <a:pt x="558" y="332"/>
                      </a:lnTo>
                      <a:lnTo>
                        <a:pt x="558" y="330"/>
                      </a:lnTo>
                      <a:lnTo>
                        <a:pt x="558" y="329"/>
                      </a:lnTo>
                      <a:lnTo>
                        <a:pt x="559" y="329"/>
                      </a:lnTo>
                      <a:lnTo>
                        <a:pt x="558" y="329"/>
                      </a:lnTo>
                      <a:lnTo>
                        <a:pt x="559" y="329"/>
                      </a:lnTo>
                      <a:lnTo>
                        <a:pt x="558" y="327"/>
                      </a:lnTo>
                      <a:lnTo>
                        <a:pt x="559" y="327"/>
                      </a:lnTo>
                      <a:lnTo>
                        <a:pt x="558" y="327"/>
                      </a:lnTo>
                      <a:lnTo>
                        <a:pt x="559" y="327"/>
                      </a:lnTo>
                      <a:lnTo>
                        <a:pt x="559" y="325"/>
                      </a:lnTo>
                      <a:lnTo>
                        <a:pt x="558" y="325"/>
                      </a:lnTo>
                      <a:lnTo>
                        <a:pt x="558" y="324"/>
                      </a:lnTo>
                      <a:lnTo>
                        <a:pt x="558" y="322"/>
                      </a:lnTo>
                      <a:lnTo>
                        <a:pt x="558" y="320"/>
                      </a:lnTo>
                      <a:lnTo>
                        <a:pt x="559" y="320"/>
                      </a:lnTo>
                      <a:lnTo>
                        <a:pt x="558" y="320"/>
                      </a:lnTo>
                      <a:lnTo>
                        <a:pt x="559" y="320"/>
                      </a:lnTo>
                      <a:lnTo>
                        <a:pt x="559" y="319"/>
                      </a:lnTo>
                      <a:lnTo>
                        <a:pt x="558" y="319"/>
                      </a:lnTo>
                      <a:lnTo>
                        <a:pt x="559" y="319"/>
                      </a:lnTo>
                      <a:lnTo>
                        <a:pt x="558" y="319"/>
                      </a:lnTo>
                      <a:lnTo>
                        <a:pt x="559" y="319"/>
                      </a:lnTo>
                      <a:lnTo>
                        <a:pt x="559" y="317"/>
                      </a:lnTo>
                      <a:lnTo>
                        <a:pt x="559" y="315"/>
                      </a:lnTo>
                      <a:lnTo>
                        <a:pt x="561" y="315"/>
                      </a:lnTo>
                      <a:lnTo>
                        <a:pt x="559" y="315"/>
                      </a:lnTo>
                      <a:lnTo>
                        <a:pt x="561" y="315"/>
                      </a:lnTo>
                      <a:lnTo>
                        <a:pt x="561" y="314"/>
                      </a:lnTo>
                      <a:lnTo>
                        <a:pt x="563" y="312"/>
                      </a:lnTo>
                      <a:lnTo>
                        <a:pt x="563" y="311"/>
                      </a:lnTo>
                      <a:lnTo>
                        <a:pt x="565" y="311"/>
                      </a:lnTo>
                      <a:lnTo>
                        <a:pt x="565" y="309"/>
                      </a:lnTo>
                      <a:lnTo>
                        <a:pt x="563" y="309"/>
                      </a:lnTo>
                      <a:lnTo>
                        <a:pt x="563" y="307"/>
                      </a:lnTo>
                      <a:lnTo>
                        <a:pt x="565" y="307"/>
                      </a:lnTo>
                      <a:lnTo>
                        <a:pt x="565" y="306"/>
                      </a:lnTo>
                      <a:lnTo>
                        <a:pt x="563" y="306"/>
                      </a:lnTo>
                      <a:lnTo>
                        <a:pt x="563" y="304"/>
                      </a:lnTo>
                      <a:lnTo>
                        <a:pt x="563" y="302"/>
                      </a:lnTo>
                      <a:lnTo>
                        <a:pt x="563" y="301"/>
                      </a:lnTo>
                      <a:lnTo>
                        <a:pt x="563" y="299"/>
                      </a:lnTo>
                      <a:lnTo>
                        <a:pt x="563" y="297"/>
                      </a:lnTo>
                      <a:lnTo>
                        <a:pt x="563" y="296"/>
                      </a:lnTo>
                      <a:lnTo>
                        <a:pt x="565" y="296"/>
                      </a:lnTo>
                      <a:lnTo>
                        <a:pt x="563" y="296"/>
                      </a:lnTo>
                      <a:lnTo>
                        <a:pt x="561" y="296"/>
                      </a:lnTo>
                      <a:lnTo>
                        <a:pt x="561" y="294"/>
                      </a:lnTo>
                      <a:lnTo>
                        <a:pt x="559" y="294"/>
                      </a:lnTo>
                      <a:lnTo>
                        <a:pt x="558" y="294"/>
                      </a:lnTo>
                      <a:lnTo>
                        <a:pt x="556" y="294"/>
                      </a:lnTo>
                      <a:lnTo>
                        <a:pt x="556" y="292"/>
                      </a:lnTo>
                      <a:lnTo>
                        <a:pt x="556" y="291"/>
                      </a:lnTo>
                      <a:lnTo>
                        <a:pt x="554" y="291"/>
                      </a:lnTo>
                      <a:lnTo>
                        <a:pt x="554" y="288"/>
                      </a:lnTo>
                      <a:lnTo>
                        <a:pt x="546" y="288"/>
                      </a:lnTo>
                      <a:lnTo>
                        <a:pt x="494" y="288"/>
                      </a:lnTo>
                      <a:lnTo>
                        <a:pt x="480" y="288"/>
                      </a:lnTo>
                      <a:lnTo>
                        <a:pt x="480" y="297"/>
                      </a:lnTo>
                      <a:lnTo>
                        <a:pt x="480" y="299"/>
                      </a:lnTo>
                      <a:lnTo>
                        <a:pt x="478" y="299"/>
                      </a:lnTo>
                      <a:lnTo>
                        <a:pt x="477" y="299"/>
                      </a:lnTo>
                      <a:lnTo>
                        <a:pt x="477" y="301"/>
                      </a:lnTo>
                      <a:lnTo>
                        <a:pt x="477" y="302"/>
                      </a:lnTo>
                      <a:lnTo>
                        <a:pt x="475" y="304"/>
                      </a:lnTo>
                      <a:lnTo>
                        <a:pt x="477" y="306"/>
                      </a:lnTo>
                      <a:lnTo>
                        <a:pt x="477" y="307"/>
                      </a:lnTo>
                      <a:lnTo>
                        <a:pt x="478" y="306"/>
                      </a:lnTo>
                      <a:lnTo>
                        <a:pt x="478" y="307"/>
                      </a:lnTo>
                      <a:lnTo>
                        <a:pt x="480" y="309"/>
                      </a:lnTo>
                      <a:lnTo>
                        <a:pt x="478" y="309"/>
                      </a:lnTo>
                      <a:lnTo>
                        <a:pt x="480" y="309"/>
                      </a:lnTo>
                      <a:lnTo>
                        <a:pt x="478" y="311"/>
                      </a:lnTo>
                      <a:lnTo>
                        <a:pt x="478" y="312"/>
                      </a:lnTo>
                      <a:lnTo>
                        <a:pt x="477" y="312"/>
                      </a:lnTo>
                      <a:lnTo>
                        <a:pt x="477" y="314"/>
                      </a:lnTo>
                      <a:lnTo>
                        <a:pt x="477" y="315"/>
                      </a:lnTo>
                      <a:lnTo>
                        <a:pt x="475" y="314"/>
                      </a:lnTo>
                      <a:lnTo>
                        <a:pt x="475" y="315"/>
                      </a:lnTo>
                      <a:lnTo>
                        <a:pt x="473" y="315"/>
                      </a:lnTo>
                      <a:lnTo>
                        <a:pt x="473" y="317"/>
                      </a:lnTo>
                      <a:lnTo>
                        <a:pt x="472" y="317"/>
                      </a:lnTo>
                      <a:lnTo>
                        <a:pt x="472" y="319"/>
                      </a:lnTo>
                      <a:lnTo>
                        <a:pt x="472" y="320"/>
                      </a:lnTo>
                      <a:lnTo>
                        <a:pt x="473" y="320"/>
                      </a:lnTo>
                      <a:lnTo>
                        <a:pt x="472" y="322"/>
                      </a:lnTo>
                      <a:lnTo>
                        <a:pt x="473" y="322"/>
                      </a:lnTo>
                      <a:lnTo>
                        <a:pt x="473" y="324"/>
                      </a:lnTo>
                      <a:lnTo>
                        <a:pt x="473" y="325"/>
                      </a:lnTo>
                      <a:lnTo>
                        <a:pt x="473" y="327"/>
                      </a:lnTo>
                      <a:lnTo>
                        <a:pt x="475" y="327"/>
                      </a:lnTo>
                      <a:lnTo>
                        <a:pt x="475" y="329"/>
                      </a:lnTo>
                      <a:lnTo>
                        <a:pt x="475" y="330"/>
                      </a:lnTo>
                      <a:lnTo>
                        <a:pt x="473" y="330"/>
                      </a:lnTo>
                      <a:lnTo>
                        <a:pt x="475" y="330"/>
                      </a:lnTo>
                      <a:lnTo>
                        <a:pt x="473" y="332"/>
                      </a:lnTo>
                      <a:lnTo>
                        <a:pt x="473" y="334"/>
                      </a:lnTo>
                      <a:lnTo>
                        <a:pt x="473" y="335"/>
                      </a:lnTo>
                      <a:lnTo>
                        <a:pt x="473" y="337"/>
                      </a:lnTo>
                      <a:lnTo>
                        <a:pt x="472" y="337"/>
                      </a:lnTo>
                      <a:lnTo>
                        <a:pt x="472" y="338"/>
                      </a:lnTo>
                      <a:lnTo>
                        <a:pt x="490" y="338"/>
                      </a:lnTo>
                      <a:lnTo>
                        <a:pt x="505" y="338"/>
                      </a:lnTo>
                      <a:lnTo>
                        <a:pt x="529" y="338"/>
                      </a:lnTo>
                      <a:lnTo>
                        <a:pt x="565" y="338"/>
                      </a:lnTo>
                      <a:lnTo>
                        <a:pt x="565" y="340"/>
                      </a:lnTo>
                      <a:lnTo>
                        <a:pt x="565" y="342"/>
                      </a:lnTo>
                      <a:lnTo>
                        <a:pt x="563" y="342"/>
                      </a:lnTo>
                      <a:lnTo>
                        <a:pt x="561" y="342"/>
                      </a:lnTo>
                      <a:lnTo>
                        <a:pt x="563" y="342"/>
                      </a:lnTo>
                      <a:lnTo>
                        <a:pt x="563" y="343"/>
                      </a:lnTo>
                      <a:lnTo>
                        <a:pt x="561" y="343"/>
                      </a:lnTo>
                      <a:lnTo>
                        <a:pt x="561" y="345"/>
                      </a:lnTo>
                      <a:lnTo>
                        <a:pt x="559" y="345"/>
                      </a:lnTo>
                      <a:lnTo>
                        <a:pt x="561" y="345"/>
                      </a:lnTo>
                      <a:lnTo>
                        <a:pt x="561" y="347"/>
                      </a:lnTo>
                      <a:lnTo>
                        <a:pt x="561" y="348"/>
                      </a:lnTo>
                      <a:lnTo>
                        <a:pt x="563" y="348"/>
                      </a:lnTo>
                      <a:lnTo>
                        <a:pt x="563" y="350"/>
                      </a:lnTo>
                      <a:lnTo>
                        <a:pt x="561" y="350"/>
                      </a:lnTo>
                      <a:lnTo>
                        <a:pt x="563" y="350"/>
                      </a:lnTo>
                      <a:lnTo>
                        <a:pt x="563" y="352"/>
                      </a:lnTo>
                      <a:lnTo>
                        <a:pt x="563" y="353"/>
                      </a:lnTo>
                      <a:lnTo>
                        <a:pt x="563" y="355"/>
                      </a:lnTo>
                      <a:lnTo>
                        <a:pt x="563" y="357"/>
                      </a:lnTo>
                      <a:lnTo>
                        <a:pt x="561" y="358"/>
                      </a:lnTo>
                      <a:lnTo>
                        <a:pt x="561" y="360"/>
                      </a:lnTo>
                      <a:lnTo>
                        <a:pt x="559" y="360"/>
                      </a:lnTo>
                      <a:lnTo>
                        <a:pt x="559" y="361"/>
                      </a:lnTo>
                      <a:lnTo>
                        <a:pt x="561" y="361"/>
                      </a:lnTo>
                      <a:lnTo>
                        <a:pt x="559" y="361"/>
                      </a:lnTo>
                      <a:lnTo>
                        <a:pt x="559" y="363"/>
                      </a:lnTo>
                      <a:lnTo>
                        <a:pt x="558" y="365"/>
                      </a:lnTo>
                      <a:lnTo>
                        <a:pt x="558" y="366"/>
                      </a:lnTo>
                      <a:lnTo>
                        <a:pt x="556" y="366"/>
                      </a:lnTo>
                      <a:lnTo>
                        <a:pt x="556" y="368"/>
                      </a:lnTo>
                      <a:lnTo>
                        <a:pt x="554" y="368"/>
                      </a:lnTo>
                      <a:lnTo>
                        <a:pt x="554" y="370"/>
                      </a:lnTo>
                      <a:lnTo>
                        <a:pt x="553" y="370"/>
                      </a:lnTo>
                      <a:lnTo>
                        <a:pt x="553" y="371"/>
                      </a:lnTo>
                      <a:lnTo>
                        <a:pt x="554" y="371"/>
                      </a:lnTo>
                      <a:lnTo>
                        <a:pt x="553" y="371"/>
                      </a:lnTo>
                      <a:lnTo>
                        <a:pt x="553" y="373"/>
                      </a:lnTo>
                      <a:lnTo>
                        <a:pt x="553" y="375"/>
                      </a:lnTo>
                      <a:lnTo>
                        <a:pt x="551" y="375"/>
                      </a:lnTo>
                      <a:lnTo>
                        <a:pt x="551" y="376"/>
                      </a:lnTo>
                      <a:lnTo>
                        <a:pt x="551" y="378"/>
                      </a:lnTo>
                      <a:lnTo>
                        <a:pt x="551" y="380"/>
                      </a:lnTo>
                      <a:lnTo>
                        <a:pt x="549" y="380"/>
                      </a:lnTo>
                      <a:lnTo>
                        <a:pt x="551" y="380"/>
                      </a:lnTo>
                      <a:lnTo>
                        <a:pt x="551" y="381"/>
                      </a:lnTo>
                      <a:lnTo>
                        <a:pt x="551" y="383"/>
                      </a:lnTo>
                      <a:lnTo>
                        <a:pt x="553" y="383"/>
                      </a:lnTo>
                      <a:lnTo>
                        <a:pt x="553" y="384"/>
                      </a:lnTo>
                      <a:lnTo>
                        <a:pt x="554" y="384"/>
                      </a:lnTo>
                      <a:lnTo>
                        <a:pt x="556" y="384"/>
                      </a:lnTo>
                      <a:lnTo>
                        <a:pt x="554" y="384"/>
                      </a:lnTo>
                      <a:lnTo>
                        <a:pt x="554" y="386"/>
                      </a:lnTo>
                      <a:lnTo>
                        <a:pt x="556" y="386"/>
                      </a:lnTo>
                      <a:lnTo>
                        <a:pt x="556" y="388"/>
                      </a:lnTo>
                      <a:lnTo>
                        <a:pt x="558" y="388"/>
                      </a:lnTo>
                      <a:lnTo>
                        <a:pt x="556" y="386"/>
                      </a:lnTo>
                      <a:lnTo>
                        <a:pt x="558" y="386"/>
                      </a:lnTo>
                      <a:lnTo>
                        <a:pt x="558" y="388"/>
                      </a:lnTo>
                      <a:lnTo>
                        <a:pt x="558" y="389"/>
                      </a:lnTo>
                      <a:lnTo>
                        <a:pt x="558" y="388"/>
                      </a:lnTo>
                      <a:lnTo>
                        <a:pt x="559" y="389"/>
                      </a:lnTo>
                      <a:lnTo>
                        <a:pt x="559" y="388"/>
                      </a:lnTo>
                      <a:lnTo>
                        <a:pt x="561" y="388"/>
                      </a:lnTo>
                      <a:lnTo>
                        <a:pt x="561" y="389"/>
                      </a:lnTo>
                      <a:lnTo>
                        <a:pt x="563" y="389"/>
                      </a:lnTo>
                      <a:lnTo>
                        <a:pt x="561" y="389"/>
                      </a:lnTo>
                      <a:lnTo>
                        <a:pt x="563" y="389"/>
                      </a:lnTo>
                      <a:lnTo>
                        <a:pt x="565" y="389"/>
                      </a:lnTo>
                      <a:lnTo>
                        <a:pt x="563" y="389"/>
                      </a:lnTo>
                      <a:lnTo>
                        <a:pt x="563" y="391"/>
                      </a:lnTo>
                      <a:lnTo>
                        <a:pt x="563" y="389"/>
                      </a:lnTo>
                      <a:lnTo>
                        <a:pt x="565" y="391"/>
                      </a:lnTo>
                      <a:lnTo>
                        <a:pt x="566" y="391"/>
                      </a:lnTo>
                      <a:lnTo>
                        <a:pt x="566" y="393"/>
                      </a:lnTo>
                      <a:lnTo>
                        <a:pt x="566" y="391"/>
                      </a:lnTo>
                      <a:lnTo>
                        <a:pt x="566" y="393"/>
                      </a:lnTo>
                      <a:lnTo>
                        <a:pt x="568" y="393"/>
                      </a:lnTo>
                      <a:lnTo>
                        <a:pt x="568" y="394"/>
                      </a:lnTo>
                      <a:lnTo>
                        <a:pt x="570" y="394"/>
                      </a:lnTo>
                      <a:lnTo>
                        <a:pt x="570" y="396"/>
                      </a:lnTo>
                      <a:lnTo>
                        <a:pt x="570" y="398"/>
                      </a:lnTo>
                      <a:lnTo>
                        <a:pt x="570" y="399"/>
                      </a:lnTo>
                      <a:lnTo>
                        <a:pt x="571" y="398"/>
                      </a:lnTo>
                      <a:lnTo>
                        <a:pt x="571" y="399"/>
                      </a:lnTo>
                      <a:lnTo>
                        <a:pt x="573" y="399"/>
                      </a:lnTo>
                      <a:lnTo>
                        <a:pt x="573" y="401"/>
                      </a:lnTo>
                      <a:lnTo>
                        <a:pt x="571" y="401"/>
                      </a:lnTo>
                      <a:lnTo>
                        <a:pt x="573" y="401"/>
                      </a:lnTo>
                      <a:lnTo>
                        <a:pt x="573" y="403"/>
                      </a:lnTo>
                      <a:lnTo>
                        <a:pt x="571" y="403"/>
                      </a:lnTo>
                      <a:lnTo>
                        <a:pt x="571" y="404"/>
                      </a:lnTo>
                      <a:lnTo>
                        <a:pt x="573" y="404"/>
                      </a:lnTo>
                      <a:lnTo>
                        <a:pt x="571" y="404"/>
                      </a:lnTo>
                      <a:lnTo>
                        <a:pt x="573" y="406"/>
                      </a:lnTo>
                      <a:lnTo>
                        <a:pt x="573" y="407"/>
                      </a:lnTo>
                      <a:lnTo>
                        <a:pt x="573" y="409"/>
                      </a:lnTo>
                      <a:lnTo>
                        <a:pt x="575" y="409"/>
                      </a:lnTo>
                      <a:lnTo>
                        <a:pt x="573" y="409"/>
                      </a:lnTo>
                      <a:lnTo>
                        <a:pt x="575" y="409"/>
                      </a:lnTo>
                      <a:lnTo>
                        <a:pt x="575" y="411"/>
                      </a:lnTo>
                      <a:lnTo>
                        <a:pt x="575" y="412"/>
                      </a:lnTo>
                      <a:lnTo>
                        <a:pt x="573" y="412"/>
                      </a:lnTo>
                      <a:lnTo>
                        <a:pt x="575" y="414"/>
                      </a:lnTo>
                      <a:lnTo>
                        <a:pt x="575" y="416"/>
                      </a:lnTo>
                      <a:lnTo>
                        <a:pt x="575" y="417"/>
                      </a:lnTo>
                      <a:lnTo>
                        <a:pt x="576" y="417"/>
                      </a:lnTo>
                      <a:lnTo>
                        <a:pt x="576" y="416"/>
                      </a:lnTo>
                      <a:lnTo>
                        <a:pt x="576" y="417"/>
                      </a:lnTo>
                      <a:lnTo>
                        <a:pt x="578" y="417"/>
                      </a:lnTo>
                      <a:lnTo>
                        <a:pt x="578" y="419"/>
                      </a:lnTo>
                      <a:lnTo>
                        <a:pt x="576" y="419"/>
                      </a:lnTo>
                      <a:lnTo>
                        <a:pt x="578" y="419"/>
                      </a:lnTo>
                      <a:lnTo>
                        <a:pt x="578" y="421"/>
                      </a:lnTo>
                      <a:lnTo>
                        <a:pt x="580" y="421"/>
                      </a:lnTo>
                      <a:lnTo>
                        <a:pt x="580" y="422"/>
                      </a:lnTo>
                      <a:lnTo>
                        <a:pt x="578" y="422"/>
                      </a:lnTo>
                      <a:lnTo>
                        <a:pt x="580" y="422"/>
                      </a:lnTo>
                      <a:lnTo>
                        <a:pt x="581" y="424"/>
                      </a:lnTo>
                      <a:lnTo>
                        <a:pt x="581" y="426"/>
                      </a:lnTo>
                      <a:lnTo>
                        <a:pt x="580" y="426"/>
                      </a:lnTo>
                      <a:lnTo>
                        <a:pt x="580" y="427"/>
                      </a:lnTo>
                      <a:lnTo>
                        <a:pt x="580" y="426"/>
                      </a:lnTo>
                      <a:lnTo>
                        <a:pt x="581" y="426"/>
                      </a:lnTo>
                      <a:lnTo>
                        <a:pt x="581" y="427"/>
                      </a:lnTo>
                      <a:lnTo>
                        <a:pt x="580" y="427"/>
                      </a:lnTo>
                      <a:lnTo>
                        <a:pt x="580" y="429"/>
                      </a:lnTo>
                      <a:lnTo>
                        <a:pt x="580" y="427"/>
                      </a:lnTo>
                      <a:lnTo>
                        <a:pt x="578" y="429"/>
                      </a:lnTo>
                      <a:lnTo>
                        <a:pt x="580" y="429"/>
                      </a:lnTo>
                      <a:lnTo>
                        <a:pt x="578" y="429"/>
                      </a:lnTo>
                      <a:lnTo>
                        <a:pt x="578" y="430"/>
                      </a:lnTo>
                      <a:lnTo>
                        <a:pt x="578" y="429"/>
                      </a:lnTo>
                      <a:lnTo>
                        <a:pt x="576" y="429"/>
                      </a:lnTo>
                      <a:lnTo>
                        <a:pt x="576" y="430"/>
                      </a:lnTo>
                      <a:lnTo>
                        <a:pt x="576" y="432"/>
                      </a:lnTo>
                      <a:lnTo>
                        <a:pt x="576" y="430"/>
                      </a:lnTo>
                      <a:lnTo>
                        <a:pt x="575" y="430"/>
                      </a:lnTo>
                      <a:lnTo>
                        <a:pt x="575" y="432"/>
                      </a:lnTo>
                      <a:lnTo>
                        <a:pt x="576" y="432"/>
                      </a:lnTo>
                      <a:lnTo>
                        <a:pt x="575" y="432"/>
                      </a:lnTo>
                      <a:lnTo>
                        <a:pt x="573" y="432"/>
                      </a:lnTo>
                      <a:lnTo>
                        <a:pt x="575" y="432"/>
                      </a:lnTo>
                      <a:lnTo>
                        <a:pt x="573" y="432"/>
                      </a:lnTo>
                      <a:lnTo>
                        <a:pt x="573" y="434"/>
                      </a:lnTo>
                      <a:lnTo>
                        <a:pt x="571" y="432"/>
                      </a:lnTo>
                      <a:lnTo>
                        <a:pt x="571" y="434"/>
                      </a:lnTo>
                      <a:lnTo>
                        <a:pt x="573" y="434"/>
                      </a:lnTo>
                      <a:lnTo>
                        <a:pt x="571" y="434"/>
                      </a:lnTo>
                      <a:lnTo>
                        <a:pt x="570" y="434"/>
                      </a:lnTo>
                      <a:lnTo>
                        <a:pt x="570" y="435"/>
                      </a:lnTo>
                      <a:lnTo>
                        <a:pt x="570" y="434"/>
                      </a:lnTo>
                      <a:lnTo>
                        <a:pt x="570" y="435"/>
                      </a:lnTo>
                      <a:lnTo>
                        <a:pt x="570" y="434"/>
                      </a:lnTo>
                      <a:lnTo>
                        <a:pt x="570" y="435"/>
                      </a:lnTo>
                      <a:lnTo>
                        <a:pt x="570" y="434"/>
                      </a:lnTo>
                      <a:lnTo>
                        <a:pt x="568" y="434"/>
                      </a:lnTo>
                      <a:lnTo>
                        <a:pt x="568" y="435"/>
                      </a:lnTo>
                      <a:lnTo>
                        <a:pt x="566" y="435"/>
                      </a:lnTo>
                      <a:lnTo>
                        <a:pt x="566" y="437"/>
                      </a:lnTo>
                      <a:lnTo>
                        <a:pt x="568" y="435"/>
                      </a:lnTo>
                      <a:lnTo>
                        <a:pt x="568" y="437"/>
                      </a:lnTo>
                      <a:lnTo>
                        <a:pt x="566" y="437"/>
                      </a:lnTo>
                      <a:lnTo>
                        <a:pt x="568" y="437"/>
                      </a:lnTo>
                      <a:lnTo>
                        <a:pt x="566" y="437"/>
                      </a:lnTo>
                      <a:lnTo>
                        <a:pt x="566" y="439"/>
                      </a:lnTo>
                      <a:lnTo>
                        <a:pt x="565" y="439"/>
                      </a:lnTo>
                      <a:lnTo>
                        <a:pt x="565" y="440"/>
                      </a:lnTo>
                      <a:lnTo>
                        <a:pt x="565" y="439"/>
                      </a:lnTo>
                      <a:lnTo>
                        <a:pt x="563" y="440"/>
                      </a:lnTo>
                      <a:lnTo>
                        <a:pt x="563" y="439"/>
                      </a:lnTo>
                      <a:lnTo>
                        <a:pt x="563" y="440"/>
                      </a:lnTo>
                      <a:lnTo>
                        <a:pt x="563" y="439"/>
                      </a:lnTo>
                      <a:lnTo>
                        <a:pt x="563" y="440"/>
                      </a:lnTo>
                      <a:lnTo>
                        <a:pt x="561" y="440"/>
                      </a:lnTo>
                      <a:lnTo>
                        <a:pt x="559" y="440"/>
                      </a:lnTo>
                      <a:lnTo>
                        <a:pt x="559" y="442"/>
                      </a:lnTo>
                      <a:lnTo>
                        <a:pt x="561" y="442"/>
                      </a:lnTo>
                      <a:lnTo>
                        <a:pt x="559" y="442"/>
                      </a:lnTo>
                      <a:lnTo>
                        <a:pt x="561" y="442"/>
                      </a:lnTo>
                      <a:lnTo>
                        <a:pt x="561" y="444"/>
                      </a:lnTo>
                      <a:lnTo>
                        <a:pt x="561" y="442"/>
                      </a:lnTo>
                      <a:lnTo>
                        <a:pt x="559" y="442"/>
                      </a:lnTo>
                      <a:lnTo>
                        <a:pt x="559" y="444"/>
                      </a:lnTo>
                      <a:lnTo>
                        <a:pt x="559" y="442"/>
                      </a:lnTo>
                      <a:lnTo>
                        <a:pt x="559" y="444"/>
                      </a:lnTo>
                      <a:lnTo>
                        <a:pt x="561" y="444"/>
                      </a:lnTo>
                      <a:lnTo>
                        <a:pt x="561" y="445"/>
                      </a:lnTo>
                      <a:lnTo>
                        <a:pt x="559" y="445"/>
                      </a:lnTo>
                      <a:lnTo>
                        <a:pt x="559" y="444"/>
                      </a:lnTo>
                      <a:lnTo>
                        <a:pt x="559" y="445"/>
                      </a:lnTo>
                      <a:lnTo>
                        <a:pt x="558" y="445"/>
                      </a:lnTo>
                      <a:lnTo>
                        <a:pt x="558" y="447"/>
                      </a:lnTo>
                      <a:lnTo>
                        <a:pt x="558" y="448"/>
                      </a:lnTo>
                      <a:lnTo>
                        <a:pt x="556" y="448"/>
                      </a:lnTo>
                      <a:lnTo>
                        <a:pt x="554" y="448"/>
                      </a:lnTo>
                      <a:lnTo>
                        <a:pt x="554" y="450"/>
                      </a:lnTo>
                      <a:lnTo>
                        <a:pt x="553" y="450"/>
                      </a:lnTo>
                      <a:lnTo>
                        <a:pt x="554" y="450"/>
                      </a:lnTo>
                      <a:lnTo>
                        <a:pt x="553" y="450"/>
                      </a:lnTo>
                      <a:lnTo>
                        <a:pt x="553" y="452"/>
                      </a:lnTo>
                      <a:lnTo>
                        <a:pt x="554" y="452"/>
                      </a:lnTo>
                      <a:lnTo>
                        <a:pt x="554" y="453"/>
                      </a:lnTo>
                      <a:lnTo>
                        <a:pt x="553" y="453"/>
                      </a:lnTo>
                      <a:lnTo>
                        <a:pt x="554" y="455"/>
                      </a:lnTo>
                      <a:lnTo>
                        <a:pt x="553" y="455"/>
                      </a:lnTo>
                      <a:lnTo>
                        <a:pt x="551" y="455"/>
                      </a:lnTo>
                      <a:lnTo>
                        <a:pt x="551" y="457"/>
                      </a:lnTo>
                      <a:lnTo>
                        <a:pt x="553" y="457"/>
                      </a:lnTo>
                      <a:lnTo>
                        <a:pt x="551" y="457"/>
                      </a:lnTo>
                      <a:lnTo>
                        <a:pt x="551" y="458"/>
                      </a:lnTo>
                      <a:lnTo>
                        <a:pt x="551" y="457"/>
                      </a:lnTo>
                      <a:lnTo>
                        <a:pt x="549" y="457"/>
                      </a:lnTo>
                      <a:lnTo>
                        <a:pt x="549" y="458"/>
                      </a:lnTo>
                      <a:lnTo>
                        <a:pt x="551" y="458"/>
                      </a:lnTo>
                      <a:lnTo>
                        <a:pt x="549" y="458"/>
                      </a:lnTo>
                      <a:lnTo>
                        <a:pt x="549" y="457"/>
                      </a:lnTo>
                      <a:lnTo>
                        <a:pt x="548" y="458"/>
                      </a:lnTo>
                      <a:lnTo>
                        <a:pt x="548" y="457"/>
                      </a:lnTo>
                      <a:lnTo>
                        <a:pt x="546" y="457"/>
                      </a:lnTo>
                      <a:lnTo>
                        <a:pt x="546" y="455"/>
                      </a:lnTo>
                      <a:lnTo>
                        <a:pt x="544" y="455"/>
                      </a:lnTo>
                      <a:lnTo>
                        <a:pt x="544" y="457"/>
                      </a:lnTo>
                      <a:lnTo>
                        <a:pt x="546" y="457"/>
                      </a:lnTo>
                      <a:lnTo>
                        <a:pt x="544" y="457"/>
                      </a:lnTo>
                      <a:lnTo>
                        <a:pt x="544" y="458"/>
                      </a:lnTo>
                      <a:lnTo>
                        <a:pt x="544" y="460"/>
                      </a:lnTo>
                      <a:lnTo>
                        <a:pt x="544" y="462"/>
                      </a:lnTo>
                      <a:lnTo>
                        <a:pt x="544" y="460"/>
                      </a:lnTo>
                      <a:lnTo>
                        <a:pt x="543" y="460"/>
                      </a:lnTo>
                      <a:lnTo>
                        <a:pt x="544" y="462"/>
                      </a:lnTo>
                      <a:lnTo>
                        <a:pt x="543" y="462"/>
                      </a:lnTo>
                      <a:lnTo>
                        <a:pt x="543" y="463"/>
                      </a:lnTo>
                      <a:lnTo>
                        <a:pt x="544" y="463"/>
                      </a:lnTo>
                      <a:lnTo>
                        <a:pt x="543" y="463"/>
                      </a:lnTo>
                      <a:lnTo>
                        <a:pt x="544" y="465"/>
                      </a:lnTo>
                      <a:lnTo>
                        <a:pt x="544" y="467"/>
                      </a:lnTo>
                      <a:lnTo>
                        <a:pt x="543" y="467"/>
                      </a:lnTo>
                      <a:lnTo>
                        <a:pt x="543" y="468"/>
                      </a:lnTo>
                      <a:lnTo>
                        <a:pt x="543" y="467"/>
                      </a:lnTo>
                      <a:lnTo>
                        <a:pt x="543" y="468"/>
                      </a:lnTo>
                      <a:lnTo>
                        <a:pt x="544" y="468"/>
                      </a:lnTo>
                      <a:lnTo>
                        <a:pt x="544" y="470"/>
                      </a:lnTo>
                      <a:lnTo>
                        <a:pt x="546" y="470"/>
                      </a:lnTo>
                      <a:lnTo>
                        <a:pt x="546" y="471"/>
                      </a:lnTo>
                      <a:lnTo>
                        <a:pt x="546" y="473"/>
                      </a:lnTo>
                      <a:lnTo>
                        <a:pt x="546" y="475"/>
                      </a:lnTo>
                      <a:lnTo>
                        <a:pt x="548" y="475"/>
                      </a:lnTo>
                      <a:lnTo>
                        <a:pt x="548" y="473"/>
                      </a:lnTo>
                      <a:lnTo>
                        <a:pt x="549" y="473"/>
                      </a:lnTo>
                      <a:lnTo>
                        <a:pt x="549" y="475"/>
                      </a:lnTo>
                      <a:lnTo>
                        <a:pt x="551" y="475"/>
                      </a:lnTo>
                      <a:lnTo>
                        <a:pt x="553" y="475"/>
                      </a:lnTo>
                      <a:lnTo>
                        <a:pt x="553" y="473"/>
                      </a:lnTo>
                      <a:lnTo>
                        <a:pt x="554" y="473"/>
                      </a:lnTo>
                      <a:lnTo>
                        <a:pt x="556" y="473"/>
                      </a:lnTo>
                      <a:lnTo>
                        <a:pt x="558" y="473"/>
                      </a:lnTo>
                      <a:lnTo>
                        <a:pt x="559" y="473"/>
                      </a:lnTo>
                      <a:lnTo>
                        <a:pt x="561" y="475"/>
                      </a:lnTo>
                      <a:lnTo>
                        <a:pt x="561" y="473"/>
                      </a:lnTo>
                      <a:lnTo>
                        <a:pt x="563" y="473"/>
                      </a:lnTo>
                      <a:lnTo>
                        <a:pt x="563" y="475"/>
                      </a:lnTo>
                      <a:lnTo>
                        <a:pt x="565" y="475"/>
                      </a:lnTo>
                      <a:lnTo>
                        <a:pt x="565" y="476"/>
                      </a:lnTo>
                      <a:lnTo>
                        <a:pt x="566" y="478"/>
                      </a:lnTo>
                      <a:lnTo>
                        <a:pt x="566" y="480"/>
                      </a:lnTo>
                      <a:lnTo>
                        <a:pt x="568" y="480"/>
                      </a:lnTo>
                      <a:lnTo>
                        <a:pt x="568" y="481"/>
                      </a:lnTo>
                      <a:lnTo>
                        <a:pt x="568" y="483"/>
                      </a:lnTo>
                      <a:lnTo>
                        <a:pt x="568" y="485"/>
                      </a:lnTo>
                      <a:lnTo>
                        <a:pt x="566" y="486"/>
                      </a:lnTo>
                      <a:lnTo>
                        <a:pt x="568" y="486"/>
                      </a:lnTo>
                      <a:lnTo>
                        <a:pt x="566" y="486"/>
                      </a:lnTo>
                      <a:lnTo>
                        <a:pt x="568" y="486"/>
                      </a:lnTo>
                      <a:lnTo>
                        <a:pt x="568" y="488"/>
                      </a:lnTo>
                      <a:lnTo>
                        <a:pt x="566" y="488"/>
                      </a:lnTo>
                      <a:lnTo>
                        <a:pt x="565" y="488"/>
                      </a:lnTo>
                      <a:lnTo>
                        <a:pt x="565" y="490"/>
                      </a:lnTo>
                      <a:lnTo>
                        <a:pt x="565" y="491"/>
                      </a:lnTo>
                      <a:lnTo>
                        <a:pt x="563" y="493"/>
                      </a:lnTo>
                      <a:lnTo>
                        <a:pt x="561" y="493"/>
                      </a:lnTo>
                      <a:lnTo>
                        <a:pt x="561" y="494"/>
                      </a:lnTo>
                      <a:lnTo>
                        <a:pt x="561" y="496"/>
                      </a:lnTo>
                      <a:lnTo>
                        <a:pt x="563" y="496"/>
                      </a:lnTo>
                      <a:lnTo>
                        <a:pt x="561" y="496"/>
                      </a:lnTo>
                      <a:lnTo>
                        <a:pt x="561" y="498"/>
                      </a:lnTo>
                      <a:lnTo>
                        <a:pt x="559" y="498"/>
                      </a:lnTo>
                      <a:lnTo>
                        <a:pt x="559" y="499"/>
                      </a:lnTo>
                      <a:lnTo>
                        <a:pt x="561" y="499"/>
                      </a:lnTo>
                      <a:lnTo>
                        <a:pt x="559" y="499"/>
                      </a:lnTo>
                      <a:lnTo>
                        <a:pt x="561" y="499"/>
                      </a:lnTo>
                      <a:lnTo>
                        <a:pt x="561" y="501"/>
                      </a:lnTo>
                      <a:lnTo>
                        <a:pt x="559" y="501"/>
                      </a:lnTo>
                      <a:lnTo>
                        <a:pt x="558" y="501"/>
                      </a:lnTo>
                      <a:lnTo>
                        <a:pt x="558" y="503"/>
                      </a:lnTo>
                      <a:lnTo>
                        <a:pt x="559" y="503"/>
                      </a:lnTo>
                      <a:lnTo>
                        <a:pt x="559" y="504"/>
                      </a:lnTo>
                      <a:lnTo>
                        <a:pt x="559" y="506"/>
                      </a:lnTo>
                      <a:lnTo>
                        <a:pt x="559" y="508"/>
                      </a:lnTo>
                      <a:lnTo>
                        <a:pt x="561" y="508"/>
                      </a:lnTo>
                      <a:lnTo>
                        <a:pt x="561" y="509"/>
                      </a:lnTo>
                      <a:lnTo>
                        <a:pt x="561" y="511"/>
                      </a:lnTo>
                      <a:lnTo>
                        <a:pt x="561" y="513"/>
                      </a:lnTo>
                      <a:lnTo>
                        <a:pt x="561" y="511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3" y="514"/>
                      </a:lnTo>
                      <a:lnTo>
                        <a:pt x="565" y="514"/>
                      </a:lnTo>
                      <a:lnTo>
                        <a:pt x="565" y="516"/>
                      </a:lnTo>
                      <a:lnTo>
                        <a:pt x="563" y="516"/>
                      </a:lnTo>
                      <a:lnTo>
                        <a:pt x="563" y="517"/>
                      </a:lnTo>
                      <a:lnTo>
                        <a:pt x="565" y="517"/>
                      </a:lnTo>
                      <a:lnTo>
                        <a:pt x="565" y="519"/>
                      </a:lnTo>
                      <a:lnTo>
                        <a:pt x="565" y="517"/>
                      </a:lnTo>
                      <a:lnTo>
                        <a:pt x="565" y="519"/>
                      </a:lnTo>
                      <a:lnTo>
                        <a:pt x="566" y="519"/>
                      </a:lnTo>
                      <a:lnTo>
                        <a:pt x="566" y="521"/>
                      </a:lnTo>
                      <a:lnTo>
                        <a:pt x="565" y="521"/>
                      </a:lnTo>
                      <a:lnTo>
                        <a:pt x="566" y="521"/>
                      </a:lnTo>
                      <a:lnTo>
                        <a:pt x="566" y="522"/>
                      </a:lnTo>
                      <a:lnTo>
                        <a:pt x="566" y="521"/>
                      </a:lnTo>
                      <a:lnTo>
                        <a:pt x="566" y="522"/>
                      </a:lnTo>
                      <a:lnTo>
                        <a:pt x="566" y="524"/>
                      </a:lnTo>
                      <a:lnTo>
                        <a:pt x="565" y="524"/>
                      </a:lnTo>
                      <a:lnTo>
                        <a:pt x="563" y="524"/>
                      </a:lnTo>
                      <a:lnTo>
                        <a:pt x="561" y="526"/>
                      </a:lnTo>
                      <a:lnTo>
                        <a:pt x="559" y="526"/>
                      </a:lnTo>
                      <a:lnTo>
                        <a:pt x="559" y="527"/>
                      </a:lnTo>
                      <a:lnTo>
                        <a:pt x="559" y="526"/>
                      </a:lnTo>
                      <a:lnTo>
                        <a:pt x="559" y="527"/>
                      </a:lnTo>
                      <a:lnTo>
                        <a:pt x="558" y="529"/>
                      </a:lnTo>
                      <a:lnTo>
                        <a:pt x="556" y="529"/>
                      </a:lnTo>
                      <a:lnTo>
                        <a:pt x="554" y="531"/>
                      </a:lnTo>
                      <a:lnTo>
                        <a:pt x="556" y="531"/>
                      </a:lnTo>
                      <a:lnTo>
                        <a:pt x="554" y="531"/>
                      </a:lnTo>
                      <a:lnTo>
                        <a:pt x="553" y="531"/>
                      </a:lnTo>
                      <a:lnTo>
                        <a:pt x="553" y="532"/>
                      </a:lnTo>
                      <a:lnTo>
                        <a:pt x="553" y="534"/>
                      </a:lnTo>
                      <a:lnTo>
                        <a:pt x="553" y="532"/>
                      </a:lnTo>
                      <a:lnTo>
                        <a:pt x="551" y="532"/>
                      </a:lnTo>
                      <a:lnTo>
                        <a:pt x="549" y="534"/>
                      </a:lnTo>
                      <a:lnTo>
                        <a:pt x="548" y="534"/>
                      </a:lnTo>
                      <a:lnTo>
                        <a:pt x="548" y="536"/>
                      </a:lnTo>
                      <a:lnTo>
                        <a:pt x="546" y="536"/>
                      </a:lnTo>
                      <a:lnTo>
                        <a:pt x="544" y="536"/>
                      </a:lnTo>
                      <a:lnTo>
                        <a:pt x="544" y="537"/>
                      </a:lnTo>
                      <a:lnTo>
                        <a:pt x="543" y="537"/>
                      </a:lnTo>
                      <a:lnTo>
                        <a:pt x="543" y="539"/>
                      </a:lnTo>
                      <a:lnTo>
                        <a:pt x="544" y="539"/>
                      </a:lnTo>
                      <a:lnTo>
                        <a:pt x="543" y="539"/>
                      </a:lnTo>
                      <a:lnTo>
                        <a:pt x="543" y="537"/>
                      </a:lnTo>
                      <a:lnTo>
                        <a:pt x="543" y="536"/>
                      </a:lnTo>
                      <a:lnTo>
                        <a:pt x="541" y="536"/>
                      </a:lnTo>
                      <a:lnTo>
                        <a:pt x="541" y="537"/>
                      </a:lnTo>
                      <a:lnTo>
                        <a:pt x="539" y="537"/>
                      </a:lnTo>
                      <a:lnTo>
                        <a:pt x="539" y="539"/>
                      </a:lnTo>
                      <a:lnTo>
                        <a:pt x="538" y="539"/>
                      </a:lnTo>
                      <a:lnTo>
                        <a:pt x="539" y="539"/>
                      </a:lnTo>
                      <a:lnTo>
                        <a:pt x="538" y="539"/>
                      </a:lnTo>
                      <a:lnTo>
                        <a:pt x="538" y="540"/>
                      </a:lnTo>
                      <a:lnTo>
                        <a:pt x="536" y="540"/>
                      </a:lnTo>
                      <a:lnTo>
                        <a:pt x="536" y="542"/>
                      </a:lnTo>
                      <a:lnTo>
                        <a:pt x="536" y="540"/>
                      </a:lnTo>
                      <a:lnTo>
                        <a:pt x="534" y="540"/>
                      </a:lnTo>
                      <a:lnTo>
                        <a:pt x="534" y="542"/>
                      </a:lnTo>
                      <a:lnTo>
                        <a:pt x="534" y="544"/>
                      </a:lnTo>
                      <a:lnTo>
                        <a:pt x="532" y="544"/>
                      </a:lnTo>
                      <a:lnTo>
                        <a:pt x="534" y="544"/>
                      </a:lnTo>
                      <a:lnTo>
                        <a:pt x="534" y="545"/>
                      </a:lnTo>
                      <a:lnTo>
                        <a:pt x="536" y="545"/>
                      </a:lnTo>
                      <a:lnTo>
                        <a:pt x="536" y="547"/>
                      </a:lnTo>
                      <a:lnTo>
                        <a:pt x="534" y="547"/>
                      </a:lnTo>
                      <a:lnTo>
                        <a:pt x="534" y="549"/>
                      </a:lnTo>
                      <a:lnTo>
                        <a:pt x="532" y="549"/>
                      </a:lnTo>
                      <a:lnTo>
                        <a:pt x="532" y="547"/>
                      </a:lnTo>
                      <a:lnTo>
                        <a:pt x="531" y="549"/>
                      </a:lnTo>
                      <a:lnTo>
                        <a:pt x="531" y="550"/>
                      </a:lnTo>
                      <a:lnTo>
                        <a:pt x="529" y="550"/>
                      </a:lnTo>
                      <a:lnTo>
                        <a:pt x="527" y="552"/>
                      </a:lnTo>
                      <a:lnTo>
                        <a:pt x="526" y="552"/>
                      </a:lnTo>
                      <a:lnTo>
                        <a:pt x="526" y="550"/>
                      </a:lnTo>
                      <a:lnTo>
                        <a:pt x="526" y="552"/>
                      </a:lnTo>
                      <a:lnTo>
                        <a:pt x="524" y="550"/>
                      </a:lnTo>
                      <a:lnTo>
                        <a:pt x="524" y="552"/>
                      </a:lnTo>
                      <a:lnTo>
                        <a:pt x="522" y="552"/>
                      </a:lnTo>
                      <a:lnTo>
                        <a:pt x="522" y="554"/>
                      </a:lnTo>
                      <a:lnTo>
                        <a:pt x="522" y="555"/>
                      </a:lnTo>
                      <a:lnTo>
                        <a:pt x="521" y="555"/>
                      </a:lnTo>
                      <a:lnTo>
                        <a:pt x="521" y="557"/>
                      </a:lnTo>
                      <a:lnTo>
                        <a:pt x="519" y="557"/>
                      </a:lnTo>
                      <a:lnTo>
                        <a:pt x="517" y="555"/>
                      </a:lnTo>
                      <a:lnTo>
                        <a:pt x="516" y="555"/>
                      </a:lnTo>
                      <a:lnTo>
                        <a:pt x="516" y="557"/>
                      </a:lnTo>
                      <a:lnTo>
                        <a:pt x="514" y="557"/>
                      </a:lnTo>
                      <a:lnTo>
                        <a:pt x="514" y="559"/>
                      </a:lnTo>
                      <a:lnTo>
                        <a:pt x="516" y="559"/>
                      </a:lnTo>
                      <a:lnTo>
                        <a:pt x="514" y="559"/>
                      </a:lnTo>
                      <a:lnTo>
                        <a:pt x="512" y="559"/>
                      </a:lnTo>
                      <a:lnTo>
                        <a:pt x="512" y="560"/>
                      </a:lnTo>
                      <a:lnTo>
                        <a:pt x="511" y="560"/>
                      </a:lnTo>
                      <a:lnTo>
                        <a:pt x="512" y="560"/>
                      </a:lnTo>
                      <a:lnTo>
                        <a:pt x="512" y="562"/>
                      </a:lnTo>
                      <a:lnTo>
                        <a:pt x="511" y="562"/>
                      </a:lnTo>
                      <a:lnTo>
                        <a:pt x="511" y="560"/>
                      </a:lnTo>
                      <a:lnTo>
                        <a:pt x="509" y="560"/>
                      </a:lnTo>
                      <a:lnTo>
                        <a:pt x="509" y="562"/>
                      </a:lnTo>
                      <a:lnTo>
                        <a:pt x="507" y="560"/>
                      </a:lnTo>
                      <a:lnTo>
                        <a:pt x="505" y="562"/>
                      </a:lnTo>
                      <a:lnTo>
                        <a:pt x="505" y="563"/>
                      </a:lnTo>
                      <a:lnTo>
                        <a:pt x="505" y="562"/>
                      </a:lnTo>
                      <a:lnTo>
                        <a:pt x="504" y="563"/>
                      </a:lnTo>
                      <a:lnTo>
                        <a:pt x="502" y="563"/>
                      </a:lnTo>
                      <a:lnTo>
                        <a:pt x="502" y="562"/>
                      </a:lnTo>
                      <a:lnTo>
                        <a:pt x="500" y="562"/>
                      </a:lnTo>
                      <a:lnTo>
                        <a:pt x="500" y="560"/>
                      </a:lnTo>
                      <a:lnTo>
                        <a:pt x="500" y="559"/>
                      </a:lnTo>
                      <a:lnTo>
                        <a:pt x="499" y="560"/>
                      </a:lnTo>
                      <a:lnTo>
                        <a:pt x="497" y="560"/>
                      </a:lnTo>
                      <a:lnTo>
                        <a:pt x="497" y="559"/>
                      </a:lnTo>
                      <a:lnTo>
                        <a:pt x="495" y="559"/>
                      </a:lnTo>
                      <a:lnTo>
                        <a:pt x="495" y="557"/>
                      </a:lnTo>
                      <a:lnTo>
                        <a:pt x="494" y="555"/>
                      </a:lnTo>
                      <a:lnTo>
                        <a:pt x="492" y="557"/>
                      </a:lnTo>
                      <a:lnTo>
                        <a:pt x="490" y="557"/>
                      </a:lnTo>
                      <a:lnTo>
                        <a:pt x="489" y="557"/>
                      </a:lnTo>
                      <a:lnTo>
                        <a:pt x="487" y="557"/>
                      </a:lnTo>
                      <a:lnTo>
                        <a:pt x="487" y="555"/>
                      </a:lnTo>
                      <a:lnTo>
                        <a:pt x="485" y="555"/>
                      </a:lnTo>
                      <a:lnTo>
                        <a:pt x="485" y="554"/>
                      </a:lnTo>
                      <a:lnTo>
                        <a:pt x="483" y="554"/>
                      </a:lnTo>
                      <a:lnTo>
                        <a:pt x="483" y="552"/>
                      </a:lnTo>
                      <a:lnTo>
                        <a:pt x="482" y="552"/>
                      </a:lnTo>
                      <a:lnTo>
                        <a:pt x="480" y="550"/>
                      </a:lnTo>
                      <a:lnTo>
                        <a:pt x="478" y="550"/>
                      </a:lnTo>
                      <a:lnTo>
                        <a:pt x="477" y="550"/>
                      </a:lnTo>
                      <a:lnTo>
                        <a:pt x="478" y="549"/>
                      </a:lnTo>
                      <a:lnTo>
                        <a:pt x="475" y="549"/>
                      </a:lnTo>
                      <a:lnTo>
                        <a:pt x="473" y="549"/>
                      </a:lnTo>
                      <a:lnTo>
                        <a:pt x="475" y="549"/>
                      </a:lnTo>
                      <a:lnTo>
                        <a:pt x="473" y="549"/>
                      </a:lnTo>
                      <a:lnTo>
                        <a:pt x="473" y="547"/>
                      </a:lnTo>
                      <a:lnTo>
                        <a:pt x="473" y="549"/>
                      </a:lnTo>
                      <a:lnTo>
                        <a:pt x="472" y="549"/>
                      </a:lnTo>
                      <a:lnTo>
                        <a:pt x="472" y="550"/>
                      </a:lnTo>
                      <a:lnTo>
                        <a:pt x="470" y="550"/>
                      </a:lnTo>
                      <a:lnTo>
                        <a:pt x="468" y="552"/>
                      </a:lnTo>
                      <a:lnTo>
                        <a:pt x="470" y="552"/>
                      </a:lnTo>
                      <a:lnTo>
                        <a:pt x="470" y="554"/>
                      </a:lnTo>
                      <a:lnTo>
                        <a:pt x="468" y="554"/>
                      </a:lnTo>
                      <a:lnTo>
                        <a:pt x="467" y="552"/>
                      </a:lnTo>
                      <a:lnTo>
                        <a:pt x="465" y="552"/>
                      </a:lnTo>
                      <a:lnTo>
                        <a:pt x="463" y="552"/>
                      </a:lnTo>
                      <a:lnTo>
                        <a:pt x="462" y="552"/>
                      </a:lnTo>
                      <a:lnTo>
                        <a:pt x="460" y="552"/>
                      </a:lnTo>
                      <a:lnTo>
                        <a:pt x="460" y="550"/>
                      </a:lnTo>
                      <a:lnTo>
                        <a:pt x="458" y="552"/>
                      </a:lnTo>
                      <a:lnTo>
                        <a:pt x="456" y="552"/>
                      </a:lnTo>
                      <a:lnTo>
                        <a:pt x="456" y="550"/>
                      </a:lnTo>
                      <a:lnTo>
                        <a:pt x="455" y="552"/>
                      </a:lnTo>
                      <a:lnTo>
                        <a:pt x="453" y="552"/>
                      </a:lnTo>
                      <a:lnTo>
                        <a:pt x="453" y="554"/>
                      </a:lnTo>
                      <a:lnTo>
                        <a:pt x="453" y="552"/>
                      </a:lnTo>
                      <a:lnTo>
                        <a:pt x="453" y="550"/>
                      </a:lnTo>
                      <a:lnTo>
                        <a:pt x="451" y="550"/>
                      </a:lnTo>
                      <a:lnTo>
                        <a:pt x="450" y="550"/>
                      </a:lnTo>
                      <a:lnTo>
                        <a:pt x="448" y="550"/>
                      </a:lnTo>
                      <a:lnTo>
                        <a:pt x="446" y="550"/>
                      </a:lnTo>
                      <a:lnTo>
                        <a:pt x="446" y="549"/>
                      </a:lnTo>
                      <a:lnTo>
                        <a:pt x="446" y="547"/>
                      </a:lnTo>
                      <a:lnTo>
                        <a:pt x="443" y="547"/>
                      </a:lnTo>
                      <a:lnTo>
                        <a:pt x="443" y="549"/>
                      </a:lnTo>
                      <a:lnTo>
                        <a:pt x="441" y="549"/>
                      </a:lnTo>
                      <a:lnTo>
                        <a:pt x="441" y="547"/>
                      </a:lnTo>
                      <a:lnTo>
                        <a:pt x="440" y="547"/>
                      </a:lnTo>
                      <a:lnTo>
                        <a:pt x="438" y="547"/>
                      </a:lnTo>
                      <a:lnTo>
                        <a:pt x="438" y="549"/>
                      </a:lnTo>
                      <a:lnTo>
                        <a:pt x="436" y="549"/>
                      </a:lnTo>
                      <a:lnTo>
                        <a:pt x="436" y="550"/>
                      </a:lnTo>
                      <a:lnTo>
                        <a:pt x="435" y="550"/>
                      </a:lnTo>
                      <a:lnTo>
                        <a:pt x="435" y="549"/>
                      </a:lnTo>
                      <a:lnTo>
                        <a:pt x="433" y="550"/>
                      </a:lnTo>
                      <a:lnTo>
                        <a:pt x="431" y="549"/>
                      </a:lnTo>
                      <a:lnTo>
                        <a:pt x="429" y="550"/>
                      </a:lnTo>
                      <a:lnTo>
                        <a:pt x="428" y="550"/>
                      </a:lnTo>
                      <a:lnTo>
                        <a:pt x="428" y="549"/>
                      </a:lnTo>
                      <a:lnTo>
                        <a:pt x="426" y="550"/>
                      </a:lnTo>
                      <a:lnTo>
                        <a:pt x="424" y="550"/>
                      </a:lnTo>
                      <a:lnTo>
                        <a:pt x="423" y="550"/>
                      </a:lnTo>
                      <a:lnTo>
                        <a:pt x="423" y="552"/>
                      </a:lnTo>
                      <a:lnTo>
                        <a:pt x="421" y="552"/>
                      </a:lnTo>
                      <a:lnTo>
                        <a:pt x="419" y="550"/>
                      </a:lnTo>
                      <a:lnTo>
                        <a:pt x="419" y="549"/>
                      </a:lnTo>
                      <a:lnTo>
                        <a:pt x="418" y="549"/>
                      </a:lnTo>
                      <a:lnTo>
                        <a:pt x="416" y="549"/>
                      </a:lnTo>
                      <a:lnTo>
                        <a:pt x="416" y="547"/>
                      </a:lnTo>
                      <a:lnTo>
                        <a:pt x="414" y="547"/>
                      </a:lnTo>
                      <a:lnTo>
                        <a:pt x="413" y="547"/>
                      </a:lnTo>
                      <a:lnTo>
                        <a:pt x="413" y="545"/>
                      </a:lnTo>
                      <a:lnTo>
                        <a:pt x="411" y="545"/>
                      </a:lnTo>
                      <a:lnTo>
                        <a:pt x="409" y="547"/>
                      </a:lnTo>
                      <a:lnTo>
                        <a:pt x="407" y="547"/>
                      </a:lnTo>
                      <a:lnTo>
                        <a:pt x="407" y="549"/>
                      </a:lnTo>
                      <a:lnTo>
                        <a:pt x="406" y="549"/>
                      </a:lnTo>
                      <a:lnTo>
                        <a:pt x="406" y="550"/>
                      </a:lnTo>
                      <a:lnTo>
                        <a:pt x="404" y="550"/>
                      </a:lnTo>
                      <a:lnTo>
                        <a:pt x="404" y="552"/>
                      </a:lnTo>
                      <a:lnTo>
                        <a:pt x="402" y="552"/>
                      </a:lnTo>
                      <a:lnTo>
                        <a:pt x="401" y="552"/>
                      </a:lnTo>
                      <a:lnTo>
                        <a:pt x="399" y="552"/>
                      </a:lnTo>
                      <a:lnTo>
                        <a:pt x="401" y="552"/>
                      </a:lnTo>
                      <a:lnTo>
                        <a:pt x="399" y="554"/>
                      </a:lnTo>
                      <a:lnTo>
                        <a:pt x="399" y="555"/>
                      </a:lnTo>
                      <a:lnTo>
                        <a:pt x="397" y="555"/>
                      </a:lnTo>
                      <a:lnTo>
                        <a:pt x="396" y="555"/>
                      </a:lnTo>
                      <a:lnTo>
                        <a:pt x="394" y="555"/>
                      </a:lnTo>
                      <a:lnTo>
                        <a:pt x="394" y="554"/>
                      </a:lnTo>
                      <a:lnTo>
                        <a:pt x="392" y="554"/>
                      </a:lnTo>
                      <a:lnTo>
                        <a:pt x="391" y="554"/>
                      </a:lnTo>
                      <a:lnTo>
                        <a:pt x="389" y="555"/>
                      </a:lnTo>
                      <a:lnTo>
                        <a:pt x="387" y="555"/>
                      </a:lnTo>
                      <a:lnTo>
                        <a:pt x="387" y="557"/>
                      </a:lnTo>
                      <a:lnTo>
                        <a:pt x="386" y="555"/>
                      </a:lnTo>
                      <a:lnTo>
                        <a:pt x="384" y="555"/>
                      </a:lnTo>
                      <a:lnTo>
                        <a:pt x="384" y="557"/>
                      </a:lnTo>
                      <a:lnTo>
                        <a:pt x="386" y="557"/>
                      </a:lnTo>
                      <a:lnTo>
                        <a:pt x="386" y="559"/>
                      </a:lnTo>
                      <a:lnTo>
                        <a:pt x="386" y="560"/>
                      </a:lnTo>
                      <a:lnTo>
                        <a:pt x="384" y="560"/>
                      </a:lnTo>
                      <a:lnTo>
                        <a:pt x="382" y="562"/>
                      </a:lnTo>
                      <a:lnTo>
                        <a:pt x="382" y="563"/>
                      </a:lnTo>
                      <a:lnTo>
                        <a:pt x="380" y="565"/>
                      </a:lnTo>
                      <a:lnTo>
                        <a:pt x="380" y="567"/>
                      </a:lnTo>
                      <a:lnTo>
                        <a:pt x="379" y="567"/>
                      </a:lnTo>
                      <a:lnTo>
                        <a:pt x="377" y="567"/>
                      </a:lnTo>
                      <a:lnTo>
                        <a:pt x="377" y="568"/>
                      </a:lnTo>
                      <a:lnTo>
                        <a:pt x="377" y="570"/>
                      </a:lnTo>
                      <a:lnTo>
                        <a:pt x="375" y="570"/>
                      </a:lnTo>
                      <a:lnTo>
                        <a:pt x="374" y="570"/>
                      </a:lnTo>
                      <a:lnTo>
                        <a:pt x="372" y="570"/>
                      </a:lnTo>
                      <a:lnTo>
                        <a:pt x="372" y="572"/>
                      </a:lnTo>
                      <a:lnTo>
                        <a:pt x="372" y="573"/>
                      </a:lnTo>
                      <a:lnTo>
                        <a:pt x="370" y="573"/>
                      </a:lnTo>
                      <a:lnTo>
                        <a:pt x="369" y="575"/>
                      </a:lnTo>
                      <a:lnTo>
                        <a:pt x="369" y="577"/>
                      </a:lnTo>
                      <a:lnTo>
                        <a:pt x="367" y="577"/>
                      </a:lnTo>
                      <a:lnTo>
                        <a:pt x="365" y="577"/>
                      </a:lnTo>
                      <a:lnTo>
                        <a:pt x="364" y="577"/>
                      </a:lnTo>
                      <a:lnTo>
                        <a:pt x="364" y="573"/>
                      </a:lnTo>
                      <a:lnTo>
                        <a:pt x="362" y="573"/>
                      </a:lnTo>
                      <a:lnTo>
                        <a:pt x="362" y="572"/>
                      </a:lnTo>
                      <a:lnTo>
                        <a:pt x="360" y="572"/>
                      </a:lnTo>
                      <a:lnTo>
                        <a:pt x="359" y="570"/>
                      </a:lnTo>
                      <a:lnTo>
                        <a:pt x="359" y="568"/>
                      </a:lnTo>
                      <a:lnTo>
                        <a:pt x="359" y="567"/>
                      </a:lnTo>
                      <a:lnTo>
                        <a:pt x="359" y="565"/>
                      </a:lnTo>
                      <a:lnTo>
                        <a:pt x="359" y="563"/>
                      </a:lnTo>
                      <a:lnTo>
                        <a:pt x="357" y="563"/>
                      </a:lnTo>
                      <a:lnTo>
                        <a:pt x="355" y="563"/>
                      </a:lnTo>
                      <a:lnTo>
                        <a:pt x="353" y="563"/>
                      </a:lnTo>
                      <a:lnTo>
                        <a:pt x="352" y="563"/>
                      </a:lnTo>
                      <a:lnTo>
                        <a:pt x="352" y="565"/>
                      </a:lnTo>
                      <a:lnTo>
                        <a:pt x="353" y="567"/>
                      </a:lnTo>
                      <a:lnTo>
                        <a:pt x="352" y="567"/>
                      </a:lnTo>
                      <a:lnTo>
                        <a:pt x="352" y="568"/>
                      </a:lnTo>
                      <a:lnTo>
                        <a:pt x="350" y="568"/>
                      </a:lnTo>
                      <a:lnTo>
                        <a:pt x="348" y="568"/>
                      </a:lnTo>
                      <a:lnTo>
                        <a:pt x="347" y="568"/>
                      </a:lnTo>
                      <a:lnTo>
                        <a:pt x="343" y="568"/>
                      </a:lnTo>
                      <a:lnTo>
                        <a:pt x="342" y="570"/>
                      </a:lnTo>
                      <a:lnTo>
                        <a:pt x="343" y="572"/>
                      </a:lnTo>
                      <a:lnTo>
                        <a:pt x="343" y="573"/>
                      </a:lnTo>
                      <a:lnTo>
                        <a:pt x="342" y="573"/>
                      </a:lnTo>
                      <a:lnTo>
                        <a:pt x="342" y="572"/>
                      </a:lnTo>
                      <a:lnTo>
                        <a:pt x="340" y="572"/>
                      </a:lnTo>
                      <a:lnTo>
                        <a:pt x="338" y="572"/>
                      </a:lnTo>
                      <a:lnTo>
                        <a:pt x="337" y="573"/>
                      </a:lnTo>
                      <a:lnTo>
                        <a:pt x="335" y="573"/>
                      </a:lnTo>
                      <a:lnTo>
                        <a:pt x="335" y="575"/>
                      </a:lnTo>
                      <a:lnTo>
                        <a:pt x="333" y="575"/>
                      </a:lnTo>
                      <a:lnTo>
                        <a:pt x="331" y="573"/>
                      </a:lnTo>
                      <a:lnTo>
                        <a:pt x="331" y="575"/>
                      </a:lnTo>
                      <a:lnTo>
                        <a:pt x="330" y="575"/>
                      </a:lnTo>
                      <a:lnTo>
                        <a:pt x="330" y="577"/>
                      </a:lnTo>
                      <a:lnTo>
                        <a:pt x="328" y="577"/>
                      </a:lnTo>
                      <a:lnTo>
                        <a:pt x="326" y="577"/>
                      </a:lnTo>
                      <a:lnTo>
                        <a:pt x="325" y="577"/>
                      </a:lnTo>
                      <a:lnTo>
                        <a:pt x="323" y="575"/>
                      </a:lnTo>
                      <a:lnTo>
                        <a:pt x="321" y="575"/>
                      </a:lnTo>
                      <a:lnTo>
                        <a:pt x="321" y="573"/>
                      </a:lnTo>
                      <a:lnTo>
                        <a:pt x="320" y="573"/>
                      </a:lnTo>
                      <a:lnTo>
                        <a:pt x="320" y="575"/>
                      </a:lnTo>
                      <a:lnTo>
                        <a:pt x="318" y="575"/>
                      </a:lnTo>
                      <a:lnTo>
                        <a:pt x="316" y="575"/>
                      </a:lnTo>
                      <a:lnTo>
                        <a:pt x="315" y="575"/>
                      </a:lnTo>
                      <a:lnTo>
                        <a:pt x="313" y="575"/>
                      </a:lnTo>
                      <a:lnTo>
                        <a:pt x="311" y="575"/>
                      </a:lnTo>
                      <a:lnTo>
                        <a:pt x="311" y="573"/>
                      </a:lnTo>
                      <a:lnTo>
                        <a:pt x="310" y="573"/>
                      </a:lnTo>
                      <a:lnTo>
                        <a:pt x="308" y="573"/>
                      </a:lnTo>
                      <a:lnTo>
                        <a:pt x="306" y="573"/>
                      </a:lnTo>
                      <a:lnTo>
                        <a:pt x="306" y="575"/>
                      </a:lnTo>
                      <a:lnTo>
                        <a:pt x="304" y="575"/>
                      </a:lnTo>
                      <a:lnTo>
                        <a:pt x="304" y="577"/>
                      </a:lnTo>
                      <a:lnTo>
                        <a:pt x="303" y="578"/>
                      </a:lnTo>
                      <a:lnTo>
                        <a:pt x="301" y="580"/>
                      </a:lnTo>
                      <a:lnTo>
                        <a:pt x="299" y="580"/>
                      </a:lnTo>
                      <a:lnTo>
                        <a:pt x="298" y="580"/>
                      </a:lnTo>
                      <a:lnTo>
                        <a:pt x="294" y="578"/>
                      </a:lnTo>
                      <a:lnTo>
                        <a:pt x="293" y="580"/>
                      </a:lnTo>
                      <a:lnTo>
                        <a:pt x="291" y="580"/>
                      </a:lnTo>
                      <a:lnTo>
                        <a:pt x="289" y="580"/>
                      </a:lnTo>
                      <a:lnTo>
                        <a:pt x="288" y="580"/>
                      </a:lnTo>
                      <a:lnTo>
                        <a:pt x="286" y="580"/>
                      </a:lnTo>
                      <a:lnTo>
                        <a:pt x="284" y="580"/>
                      </a:lnTo>
                      <a:lnTo>
                        <a:pt x="284" y="582"/>
                      </a:lnTo>
                      <a:lnTo>
                        <a:pt x="283" y="582"/>
                      </a:lnTo>
                      <a:lnTo>
                        <a:pt x="281" y="582"/>
                      </a:lnTo>
                      <a:lnTo>
                        <a:pt x="279" y="582"/>
                      </a:lnTo>
                      <a:lnTo>
                        <a:pt x="279" y="583"/>
                      </a:lnTo>
                      <a:lnTo>
                        <a:pt x="277" y="585"/>
                      </a:lnTo>
                      <a:lnTo>
                        <a:pt x="276" y="586"/>
                      </a:lnTo>
                      <a:lnTo>
                        <a:pt x="276" y="588"/>
                      </a:lnTo>
                      <a:lnTo>
                        <a:pt x="276" y="590"/>
                      </a:lnTo>
                      <a:lnTo>
                        <a:pt x="274" y="591"/>
                      </a:lnTo>
                      <a:lnTo>
                        <a:pt x="274" y="593"/>
                      </a:lnTo>
                      <a:lnTo>
                        <a:pt x="272" y="593"/>
                      </a:lnTo>
                      <a:lnTo>
                        <a:pt x="271" y="593"/>
                      </a:lnTo>
                      <a:lnTo>
                        <a:pt x="269" y="595"/>
                      </a:lnTo>
                      <a:lnTo>
                        <a:pt x="267" y="598"/>
                      </a:lnTo>
                      <a:lnTo>
                        <a:pt x="267" y="600"/>
                      </a:lnTo>
                      <a:lnTo>
                        <a:pt x="267" y="601"/>
                      </a:lnTo>
                      <a:lnTo>
                        <a:pt x="266" y="601"/>
                      </a:lnTo>
                      <a:lnTo>
                        <a:pt x="266" y="603"/>
                      </a:lnTo>
                      <a:lnTo>
                        <a:pt x="264" y="603"/>
                      </a:lnTo>
                      <a:lnTo>
                        <a:pt x="262" y="603"/>
                      </a:lnTo>
                      <a:lnTo>
                        <a:pt x="261" y="605"/>
                      </a:lnTo>
                      <a:lnTo>
                        <a:pt x="261" y="606"/>
                      </a:lnTo>
                      <a:lnTo>
                        <a:pt x="261" y="608"/>
                      </a:lnTo>
                      <a:lnTo>
                        <a:pt x="262" y="608"/>
                      </a:lnTo>
                      <a:lnTo>
                        <a:pt x="262" y="609"/>
                      </a:lnTo>
                      <a:lnTo>
                        <a:pt x="262" y="611"/>
                      </a:lnTo>
                      <a:lnTo>
                        <a:pt x="262" y="613"/>
                      </a:lnTo>
                      <a:lnTo>
                        <a:pt x="261" y="614"/>
                      </a:lnTo>
                      <a:lnTo>
                        <a:pt x="261" y="616"/>
                      </a:lnTo>
                      <a:lnTo>
                        <a:pt x="259" y="618"/>
                      </a:lnTo>
                      <a:lnTo>
                        <a:pt x="259" y="619"/>
                      </a:lnTo>
                      <a:lnTo>
                        <a:pt x="257" y="619"/>
                      </a:lnTo>
                      <a:lnTo>
                        <a:pt x="257" y="621"/>
                      </a:lnTo>
                      <a:lnTo>
                        <a:pt x="255" y="621"/>
                      </a:lnTo>
                      <a:lnTo>
                        <a:pt x="254" y="623"/>
                      </a:lnTo>
                      <a:lnTo>
                        <a:pt x="252" y="623"/>
                      </a:lnTo>
                      <a:lnTo>
                        <a:pt x="250" y="623"/>
                      </a:lnTo>
                      <a:lnTo>
                        <a:pt x="249" y="623"/>
                      </a:lnTo>
                      <a:lnTo>
                        <a:pt x="247" y="623"/>
                      </a:lnTo>
                      <a:lnTo>
                        <a:pt x="245" y="623"/>
                      </a:lnTo>
                      <a:lnTo>
                        <a:pt x="245" y="624"/>
                      </a:lnTo>
                      <a:lnTo>
                        <a:pt x="245" y="626"/>
                      </a:lnTo>
                      <a:lnTo>
                        <a:pt x="244" y="626"/>
                      </a:lnTo>
                      <a:lnTo>
                        <a:pt x="242" y="626"/>
                      </a:lnTo>
                      <a:lnTo>
                        <a:pt x="242" y="628"/>
                      </a:lnTo>
                      <a:lnTo>
                        <a:pt x="240" y="628"/>
                      </a:lnTo>
                      <a:lnTo>
                        <a:pt x="239" y="628"/>
                      </a:lnTo>
                      <a:lnTo>
                        <a:pt x="239" y="629"/>
                      </a:lnTo>
                      <a:lnTo>
                        <a:pt x="239" y="631"/>
                      </a:lnTo>
                      <a:lnTo>
                        <a:pt x="239" y="632"/>
                      </a:lnTo>
                      <a:lnTo>
                        <a:pt x="237" y="632"/>
                      </a:lnTo>
                      <a:lnTo>
                        <a:pt x="237" y="634"/>
                      </a:lnTo>
                      <a:lnTo>
                        <a:pt x="235" y="634"/>
                      </a:lnTo>
                      <a:lnTo>
                        <a:pt x="234" y="634"/>
                      </a:lnTo>
                      <a:lnTo>
                        <a:pt x="234" y="636"/>
                      </a:lnTo>
                      <a:lnTo>
                        <a:pt x="232" y="636"/>
                      </a:lnTo>
                      <a:lnTo>
                        <a:pt x="232" y="637"/>
                      </a:lnTo>
                      <a:lnTo>
                        <a:pt x="230" y="637"/>
                      </a:lnTo>
                      <a:lnTo>
                        <a:pt x="230" y="639"/>
                      </a:lnTo>
                      <a:lnTo>
                        <a:pt x="230" y="641"/>
                      </a:lnTo>
                      <a:lnTo>
                        <a:pt x="230" y="642"/>
                      </a:lnTo>
                      <a:lnTo>
                        <a:pt x="228" y="644"/>
                      </a:lnTo>
                      <a:lnTo>
                        <a:pt x="227" y="646"/>
                      </a:lnTo>
                      <a:lnTo>
                        <a:pt x="227" y="647"/>
                      </a:lnTo>
                      <a:lnTo>
                        <a:pt x="227" y="649"/>
                      </a:lnTo>
                      <a:lnTo>
                        <a:pt x="227" y="650"/>
                      </a:lnTo>
                      <a:lnTo>
                        <a:pt x="230" y="652"/>
                      </a:lnTo>
                      <a:lnTo>
                        <a:pt x="230" y="654"/>
                      </a:lnTo>
                      <a:lnTo>
                        <a:pt x="232" y="654"/>
                      </a:lnTo>
                      <a:lnTo>
                        <a:pt x="230" y="655"/>
                      </a:lnTo>
                      <a:lnTo>
                        <a:pt x="228" y="655"/>
                      </a:lnTo>
                      <a:lnTo>
                        <a:pt x="225" y="654"/>
                      </a:lnTo>
                      <a:lnTo>
                        <a:pt x="223" y="654"/>
                      </a:lnTo>
                      <a:lnTo>
                        <a:pt x="222" y="654"/>
                      </a:lnTo>
                      <a:lnTo>
                        <a:pt x="220" y="654"/>
                      </a:lnTo>
                      <a:lnTo>
                        <a:pt x="220" y="652"/>
                      </a:lnTo>
                      <a:lnTo>
                        <a:pt x="218" y="650"/>
                      </a:lnTo>
                      <a:lnTo>
                        <a:pt x="217" y="650"/>
                      </a:lnTo>
                      <a:lnTo>
                        <a:pt x="215" y="649"/>
                      </a:lnTo>
                      <a:lnTo>
                        <a:pt x="217" y="649"/>
                      </a:lnTo>
                      <a:lnTo>
                        <a:pt x="217" y="647"/>
                      </a:lnTo>
                      <a:lnTo>
                        <a:pt x="215" y="647"/>
                      </a:lnTo>
                      <a:lnTo>
                        <a:pt x="213" y="647"/>
                      </a:lnTo>
                      <a:lnTo>
                        <a:pt x="215" y="647"/>
                      </a:lnTo>
                      <a:lnTo>
                        <a:pt x="213" y="647"/>
                      </a:lnTo>
                      <a:lnTo>
                        <a:pt x="212" y="647"/>
                      </a:lnTo>
                      <a:lnTo>
                        <a:pt x="212" y="646"/>
                      </a:lnTo>
                      <a:lnTo>
                        <a:pt x="213" y="646"/>
                      </a:lnTo>
                      <a:lnTo>
                        <a:pt x="212" y="646"/>
                      </a:lnTo>
                      <a:lnTo>
                        <a:pt x="212" y="644"/>
                      </a:lnTo>
                      <a:lnTo>
                        <a:pt x="212" y="642"/>
                      </a:lnTo>
                      <a:lnTo>
                        <a:pt x="210" y="644"/>
                      </a:lnTo>
                      <a:lnTo>
                        <a:pt x="210" y="642"/>
                      </a:lnTo>
                      <a:lnTo>
                        <a:pt x="210" y="641"/>
                      </a:lnTo>
                      <a:lnTo>
                        <a:pt x="208" y="641"/>
                      </a:lnTo>
                      <a:lnTo>
                        <a:pt x="208" y="639"/>
                      </a:lnTo>
                      <a:lnTo>
                        <a:pt x="207" y="639"/>
                      </a:lnTo>
                      <a:lnTo>
                        <a:pt x="205" y="637"/>
                      </a:lnTo>
                      <a:lnTo>
                        <a:pt x="205" y="639"/>
                      </a:lnTo>
                      <a:lnTo>
                        <a:pt x="203" y="637"/>
                      </a:lnTo>
                      <a:lnTo>
                        <a:pt x="201" y="637"/>
                      </a:lnTo>
                      <a:lnTo>
                        <a:pt x="201" y="636"/>
                      </a:lnTo>
                      <a:lnTo>
                        <a:pt x="200" y="636"/>
                      </a:lnTo>
                      <a:lnTo>
                        <a:pt x="198" y="636"/>
                      </a:lnTo>
                      <a:lnTo>
                        <a:pt x="196" y="636"/>
                      </a:lnTo>
                      <a:lnTo>
                        <a:pt x="196" y="634"/>
                      </a:lnTo>
                      <a:lnTo>
                        <a:pt x="195" y="634"/>
                      </a:lnTo>
                      <a:lnTo>
                        <a:pt x="193" y="634"/>
                      </a:lnTo>
                      <a:lnTo>
                        <a:pt x="191" y="634"/>
                      </a:lnTo>
                      <a:lnTo>
                        <a:pt x="191" y="636"/>
                      </a:lnTo>
                      <a:lnTo>
                        <a:pt x="190" y="634"/>
                      </a:lnTo>
                      <a:lnTo>
                        <a:pt x="188" y="634"/>
                      </a:lnTo>
                      <a:lnTo>
                        <a:pt x="188" y="632"/>
                      </a:lnTo>
                      <a:lnTo>
                        <a:pt x="186" y="632"/>
                      </a:lnTo>
                      <a:lnTo>
                        <a:pt x="185" y="632"/>
                      </a:lnTo>
                      <a:lnTo>
                        <a:pt x="185" y="631"/>
                      </a:lnTo>
                      <a:lnTo>
                        <a:pt x="186" y="631"/>
                      </a:lnTo>
                      <a:lnTo>
                        <a:pt x="185" y="631"/>
                      </a:lnTo>
                      <a:lnTo>
                        <a:pt x="183" y="631"/>
                      </a:lnTo>
                      <a:lnTo>
                        <a:pt x="181" y="629"/>
                      </a:lnTo>
                      <a:lnTo>
                        <a:pt x="181" y="631"/>
                      </a:lnTo>
                      <a:lnTo>
                        <a:pt x="179" y="631"/>
                      </a:lnTo>
                      <a:lnTo>
                        <a:pt x="179" y="629"/>
                      </a:lnTo>
                      <a:lnTo>
                        <a:pt x="179" y="628"/>
                      </a:lnTo>
                      <a:lnTo>
                        <a:pt x="178" y="628"/>
                      </a:lnTo>
                      <a:lnTo>
                        <a:pt x="176" y="628"/>
                      </a:lnTo>
                      <a:lnTo>
                        <a:pt x="176" y="626"/>
                      </a:lnTo>
                      <a:lnTo>
                        <a:pt x="174" y="626"/>
                      </a:lnTo>
                      <a:lnTo>
                        <a:pt x="173" y="626"/>
                      </a:lnTo>
                      <a:lnTo>
                        <a:pt x="173" y="624"/>
                      </a:lnTo>
                      <a:lnTo>
                        <a:pt x="171" y="624"/>
                      </a:lnTo>
                      <a:lnTo>
                        <a:pt x="171" y="626"/>
                      </a:lnTo>
                      <a:lnTo>
                        <a:pt x="171" y="624"/>
                      </a:lnTo>
                      <a:lnTo>
                        <a:pt x="169" y="624"/>
                      </a:lnTo>
                      <a:lnTo>
                        <a:pt x="168" y="624"/>
                      </a:lnTo>
                      <a:lnTo>
                        <a:pt x="166" y="624"/>
                      </a:lnTo>
                      <a:lnTo>
                        <a:pt x="168" y="624"/>
                      </a:lnTo>
                      <a:lnTo>
                        <a:pt x="166" y="624"/>
                      </a:lnTo>
                      <a:lnTo>
                        <a:pt x="164" y="623"/>
                      </a:lnTo>
                      <a:lnTo>
                        <a:pt x="163" y="623"/>
                      </a:lnTo>
                      <a:lnTo>
                        <a:pt x="161" y="623"/>
                      </a:lnTo>
                      <a:lnTo>
                        <a:pt x="159" y="623"/>
                      </a:lnTo>
                      <a:lnTo>
                        <a:pt x="159" y="621"/>
                      </a:lnTo>
                      <a:lnTo>
                        <a:pt x="159" y="623"/>
                      </a:lnTo>
                      <a:lnTo>
                        <a:pt x="159" y="621"/>
                      </a:lnTo>
                      <a:lnTo>
                        <a:pt x="158" y="621"/>
                      </a:lnTo>
                      <a:lnTo>
                        <a:pt x="158" y="623"/>
                      </a:lnTo>
                      <a:lnTo>
                        <a:pt x="156" y="623"/>
                      </a:lnTo>
                      <a:lnTo>
                        <a:pt x="154" y="621"/>
                      </a:lnTo>
                      <a:lnTo>
                        <a:pt x="154" y="623"/>
                      </a:lnTo>
                      <a:lnTo>
                        <a:pt x="152" y="623"/>
                      </a:lnTo>
                      <a:lnTo>
                        <a:pt x="151" y="623"/>
                      </a:lnTo>
                      <a:lnTo>
                        <a:pt x="151" y="621"/>
                      </a:lnTo>
                      <a:lnTo>
                        <a:pt x="149" y="621"/>
                      </a:lnTo>
                      <a:lnTo>
                        <a:pt x="147" y="621"/>
                      </a:lnTo>
                      <a:lnTo>
                        <a:pt x="147" y="619"/>
                      </a:lnTo>
                      <a:lnTo>
                        <a:pt x="146" y="619"/>
                      </a:lnTo>
                      <a:lnTo>
                        <a:pt x="144" y="619"/>
                      </a:lnTo>
                      <a:lnTo>
                        <a:pt x="144" y="618"/>
                      </a:lnTo>
                      <a:lnTo>
                        <a:pt x="142" y="618"/>
                      </a:lnTo>
                      <a:lnTo>
                        <a:pt x="141" y="618"/>
                      </a:lnTo>
                      <a:lnTo>
                        <a:pt x="139" y="618"/>
                      </a:lnTo>
                      <a:lnTo>
                        <a:pt x="139" y="616"/>
                      </a:lnTo>
                      <a:lnTo>
                        <a:pt x="137" y="616"/>
                      </a:lnTo>
                      <a:lnTo>
                        <a:pt x="137" y="614"/>
                      </a:lnTo>
                      <a:lnTo>
                        <a:pt x="136" y="614"/>
                      </a:lnTo>
                      <a:lnTo>
                        <a:pt x="134" y="614"/>
                      </a:lnTo>
                      <a:lnTo>
                        <a:pt x="136" y="614"/>
                      </a:lnTo>
                      <a:lnTo>
                        <a:pt x="134" y="614"/>
                      </a:lnTo>
                      <a:lnTo>
                        <a:pt x="132" y="614"/>
                      </a:lnTo>
                      <a:lnTo>
                        <a:pt x="132" y="613"/>
                      </a:lnTo>
                      <a:lnTo>
                        <a:pt x="131" y="613"/>
                      </a:lnTo>
                      <a:lnTo>
                        <a:pt x="131" y="611"/>
                      </a:lnTo>
                      <a:lnTo>
                        <a:pt x="129" y="609"/>
                      </a:lnTo>
                      <a:lnTo>
                        <a:pt x="127" y="609"/>
                      </a:lnTo>
                      <a:lnTo>
                        <a:pt x="127" y="608"/>
                      </a:lnTo>
                      <a:lnTo>
                        <a:pt x="125" y="608"/>
                      </a:lnTo>
                      <a:lnTo>
                        <a:pt x="125" y="606"/>
                      </a:lnTo>
                      <a:lnTo>
                        <a:pt x="125" y="608"/>
                      </a:lnTo>
                      <a:lnTo>
                        <a:pt x="124" y="608"/>
                      </a:lnTo>
                      <a:lnTo>
                        <a:pt x="124" y="606"/>
                      </a:lnTo>
                      <a:lnTo>
                        <a:pt x="122" y="606"/>
                      </a:lnTo>
                      <a:lnTo>
                        <a:pt x="122" y="608"/>
                      </a:lnTo>
                      <a:lnTo>
                        <a:pt x="122" y="606"/>
                      </a:lnTo>
                      <a:lnTo>
                        <a:pt x="122" y="608"/>
                      </a:lnTo>
                      <a:lnTo>
                        <a:pt x="120" y="608"/>
                      </a:lnTo>
                      <a:lnTo>
                        <a:pt x="120" y="606"/>
                      </a:lnTo>
                      <a:lnTo>
                        <a:pt x="119" y="608"/>
                      </a:lnTo>
                      <a:lnTo>
                        <a:pt x="117" y="608"/>
                      </a:lnTo>
                      <a:lnTo>
                        <a:pt x="119" y="608"/>
                      </a:lnTo>
                      <a:lnTo>
                        <a:pt x="117" y="606"/>
                      </a:lnTo>
                      <a:lnTo>
                        <a:pt x="115" y="606"/>
                      </a:lnTo>
                      <a:lnTo>
                        <a:pt x="115" y="605"/>
                      </a:lnTo>
                      <a:lnTo>
                        <a:pt x="115" y="606"/>
                      </a:lnTo>
                      <a:lnTo>
                        <a:pt x="114" y="605"/>
                      </a:lnTo>
                      <a:lnTo>
                        <a:pt x="114" y="606"/>
                      </a:lnTo>
                      <a:lnTo>
                        <a:pt x="112" y="606"/>
                      </a:lnTo>
                      <a:lnTo>
                        <a:pt x="112" y="605"/>
                      </a:lnTo>
                      <a:lnTo>
                        <a:pt x="112" y="606"/>
                      </a:lnTo>
                      <a:lnTo>
                        <a:pt x="112" y="605"/>
                      </a:lnTo>
                      <a:lnTo>
                        <a:pt x="110" y="605"/>
                      </a:lnTo>
                      <a:lnTo>
                        <a:pt x="112" y="605"/>
                      </a:lnTo>
                      <a:lnTo>
                        <a:pt x="110" y="605"/>
                      </a:lnTo>
                      <a:lnTo>
                        <a:pt x="110" y="603"/>
                      </a:lnTo>
                      <a:lnTo>
                        <a:pt x="109" y="603"/>
                      </a:lnTo>
                      <a:lnTo>
                        <a:pt x="110" y="603"/>
                      </a:lnTo>
                      <a:lnTo>
                        <a:pt x="110" y="601"/>
                      </a:lnTo>
                      <a:lnTo>
                        <a:pt x="109" y="601"/>
                      </a:lnTo>
                      <a:lnTo>
                        <a:pt x="109" y="600"/>
                      </a:lnTo>
                      <a:lnTo>
                        <a:pt x="107" y="600"/>
                      </a:lnTo>
                      <a:lnTo>
                        <a:pt x="107" y="601"/>
                      </a:lnTo>
                      <a:lnTo>
                        <a:pt x="107" y="600"/>
                      </a:lnTo>
                      <a:lnTo>
                        <a:pt x="107" y="601"/>
                      </a:lnTo>
                      <a:lnTo>
                        <a:pt x="107" y="600"/>
                      </a:lnTo>
                      <a:lnTo>
                        <a:pt x="105" y="600"/>
                      </a:lnTo>
                      <a:lnTo>
                        <a:pt x="105" y="598"/>
                      </a:lnTo>
                      <a:lnTo>
                        <a:pt x="103" y="598"/>
                      </a:lnTo>
                      <a:lnTo>
                        <a:pt x="105" y="598"/>
                      </a:lnTo>
                      <a:lnTo>
                        <a:pt x="103" y="598"/>
                      </a:lnTo>
                      <a:lnTo>
                        <a:pt x="103" y="596"/>
                      </a:lnTo>
                      <a:lnTo>
                        <a:pt x="102" y="596"/>
                      </a:lnTo>
                      <a:lnTo>
                        <a:pt x="100" y="596"/>
                      </a:lnTo>
                      <a:lnTo>
                        <a:pt x="98" y="595"/>
                      </a:lnTo>
                      <a:lnTo>
                        <a:pt x="97" y="595"/>
                      </a:lnTo>
                      <a:lnTo>
                        <a:pt x="95" y="595"/>
                      </a:lnTo>
                      <a:lnTo>
                        <a:pt x="93" y="595"/>
                      </a:lnTo>
                      <a:lnTo>
                        <a:pt x="92" y="595"/>
                      </a:lnTo>
                      <a:lnTo>
                        <a:pt x="90" y="595"/>
                      </a:lnTo>
                      <a:lnTo>
                        <a:pt x="88" y="595"/>
                      </a:lnTo>
                      <a:lnTo>
                        <a:pt x="88" y="593"/>
                      </a:lnTo>
                      <a:lnTo>
                        <a:pt x="87" y="593"/>
                      </a:lnTo>
                      <a:lnTo>
                        <a:pt x="87" y="591"/>
                      </a:lnTo>
                      <a:lnTo>
                        <a:pt x="85" y="591"/>
                      </a:lnTo>
                      <a:lnTo>
                        <a:pt x="83" y="591"/>
                      </a:lnTo>
                      <a:lnTo>
                        <a:pt x="83" y="590"/>
                      </a:lnTo>
                      <a:lnTo>
                        <a:pt x="82" y="588"/>
                      </a:lnTo>
                      <a:lnTo>
                        <a:pt x="82" y="586"/>
                      </a:lnTo>
                      <a:lnTo>
                        <a:pt x="80" y="586"/>
                      </a:lnTo>
                      <a:lnTo>
                        <a:pt x="80" y="585"/>
                      </a:lnTo>
                      <a:lnTo>
                        <a:pt x="78" y="585"/>
                      </a:lnTo>
                      <a:lnTo>
                        <a:pt x="78" y="583"/>
                      </a:lnTo>
                      <a:lnTo>
                        <a:pt x="78" y="582"/>
                      </a:lnTo>
                      <a:lnTo>
                        <a:pt x="76" y="582"/>
                      </a:lnTo>
                      <a:lnTo>
                        <a:pt x="75" y="582"/>
                      </a:lnTo>
                      <a:lnTo>
                        <a:pt x="73" y="580"/>
                      </a:lnTo>
                      <a:lnTo>
                        <a:pt x="71" y="580"/>
                      </a:lnTo>
                      <a:lnTo>
                        <a:pt x="70" y="580"/>
                      </a:lnTo>
                      <a:lnTo>
                        <a:pt x="70" y="578"/>
                      </a:lnTo>
                      <a:lnTo>
                        <a:pt x="68" y="578"/>
                      </a:lnTo>
                      <a:lnTo>
                        <a:pt x="66" y="578"/>
                      </a:lnTo>
                      <a:lnTo>
                        <a:pt x="65" y="580"/>
                      </a:lnTo>
                      <a:lnTo>
                        <a:pt x="63" y="582"/>
                      </a:lnTo>
                      <a:lnTo>
                        <a:pt x="61" y="582"/>
                      </a:lnTo>
                      <a:lnTo>
                        <a:pt x="60" y="582"/>
                      </a:lnTo>
                      <a:lnTo>
                        <a:pt x="58" y="582"/>
                      </a:lnTo>
                      <a:lnTo>
                        <a:pt x="56" y="580"/>
                      </a:lnTo>
                      <a:lnTo>
                        <a:pt x="55" y="580"/>
                      </a:lnTo>
                      <a:lnTo>
                        <a:pt x="53" y="580"/>
                      </a:lnTo>
                      <a:lnTo>
                        <a:pt x="53" y="582"/>
                      </a:lnTo>
                      <a:lnTo>
                        <a:pt x="51" y="582"/>
                      </a:lnTo>
                      <a:lnTo>
                        <a:pt x="49" y="582"/>
                      </a:lnTo>
                      <a:lnTo>
                        <a:pt x="48" y="582"/>
                      </a:lnTo>
                      <a:lnTo>
                        <a:pt x="48" y="580"/>
                      </a:lnTo>
                      <a:lnTo>
                        <a:pt x="46" y="580"/>
                      </a:lnTo>
                      <a:lnTo>
                        <a:pt x="44" y="580"/>
                      </a:lnTo>
                      <a:lnTo>
                        <a:pt x="43" y="580"/>
                      </a:lnTo>
                      <a:lnTo>
                        <a:pt x="41" y="580"/>
                      </a:lnTo>
                      <a:lnTo>
                        <a:pt x="39" y="580"/>
                      </a:lnTo>
                      <a:lnTo>
                        <a:pt x="39" y="578"/>
                      </a:lnTo>
                      <a:lnTo>
                        <a:pt x="38" y="578"/>
                      </a:lnTo>
                      <a:lnTo>
                        <a:pt x="36" y="577"/>
                      </a:lnTo>
                      <a:lnTo>
                        <a:pt x="34" y="577"/>
                      </a:lnTo>
                      <a:lnTo>
                        <a:pt x="33" y="577"/>
                      </a:lnTo>
                      <a:lnTo>
                        <a:pt x="33" y="575"/>
                      </a:lnTo>
                      <a:lnTo>
                        <a:pt x="31" y="575"/>
                      </a:lnTo>
                      <a:lnTo>
                        <a:pt x="31" y="573"/>
                      </a:lnTo>
                      <a:lnTo>
                        <a:pt x="31" y="572"/>
                      </a:lnTo>
                      <a:lnTo>
                        <a:pt x="29" y="572"/>
                      </a:lnTo>
                      <a:lnTo>
                        <a:pt x="29" y="570"/>
                      </a:lnTo>
                      <a:lnTo>
                        <a:pt x="27" y="568"/>
                      </a:lnTo>
                      <a:lnTo>
                        <a:pt x="27" y="567"/>
                      </a:lnTo>
                      <a:lnTo>
                        <a:pt x="29" y="567"/>
                      </a:lnTo>
                      <a:lnTo>
                        <a:pt x="29" y="565"/>
                      </a:lnTo>
                      <a:lnTo>
                        <a:pt x="31" y="565"/>
                      </a:lnTo>
                      <a:lnTo>
                        <a:pt x="33" y="565"/>
                      </a:lnTo>
                      <a:lnTo>
                        <a:pt x="33" y="563"/>
                      </a:lnTo>
                      <a:lnTo>
                        <a:pt x="34" y="562"/>
                      </a:lnTo>
                      <a:lnTo>
                        <a:pt x="36" y="560"/>
                      </a:lnTo>
                      <a:lnTo>
                        <a:pt x="36" y="559"/>
                      </a:lnTo>
                      <a:lnTo>
                        <a:pt x="36" y="557"/>
                      </a:lnTo>
                      <a:lnTo>
                        <a:pt x="38" y="557"/>
                      </a:lnTo>
                      <a:lnTo>
                        <a:pt x="39" y="557"/>
                      </a:lnTo>
                      <a:lnTo>
                        <a:pt x="41" y="557"/>
                      </a:lnTo>
                      <a:lnTo>
                        <a:pt x="43" y="557"/>
                      </a:lnTo>
                      <a:lnTo>
                        <a:pt x="44" y="555"/>
                      </a:lnTo>
                      <a:lnTo>
                        <a:pt x="44" y="554"/>
                      </a:lnTo>
                      <a:lnTo>
                        <a:pt x="46" y="554"/>
                      </a:lnTo>
                      <a:lnTo>
                        <a:pt x="46" y="552"/>
                      </a:lnTo>
                      <a:lnTo>
                        <a:pt x="48" y="552"/>
                      </a:lnTo>
                      <a:lnTo>
                        <a:pt x="48" y="550"/>
                      </a:lnTo>
                      <a:lnTo>
                        <a:pt x="46" y="549"/>
                      </a:lnTo>
                      <a:lnTo>
                        <a:pt x="44" y="547"/>
                      </a:lnTo>
                      <a:lnTo>
                        <a:pt x="43" y="547"/>
                      </a:lnTo>
                      <a:lnTo>
                        <a:pt x="41" y="547"/>
                      </a:lnTo>
                      <a:lnTo>
                        <a:pt x="39" y="547"/>
                      </a:lnTo>
                      <a:lnTo>
                        <a:pt x="38" y="547"/>
                      </a:lnTo>
                      <a:lnTo>
                        <a:pt x="33" y="545"/>
                      </a:lnTo>
                      <a:lnTo>
                        <a:pt x="31" y="545"/>
                      </a:lnTo>
                      <a:lnTo>
                        <a:pt x="29" y="545"/>
                      </a:lnTo>
                      <a:lnTo>
                        <a:pt x="27" y="545"/>
                      </a:lnTo>
                      <a:lnTo>
                        <a:pt x="26" y="545"/>
                      </a:lnTo>
                      <a:lnTo>
                        <a:pt x="24" y="547"/>
                      </a:lnTo>
                      <a:lnTo>
                        <a:pt x="22" y="549"/>
                      </a:lnTo>
                      <a:lnTo>
                        <a:pt x="22" y="550"/>
                      </a:lnTo>
                      <a:lnTo>
                        <a:pt x="21" y="550"/>
                      </a:lnTo>
                      <a:lnTo>
                        <a:pt x="21" y="549"/>
                      </a:lnTo>
                      <a:lnTo>
                        <a:pt x="19" y="549"/>
                      </a:lnTo>
                      <a:lnTo>
                        <a:pt x="17" y="549"/>
                      </a:lnTo>
                      <a:lnTo>
                        <a:pt x="17" y="547"/>
                      </a:lnTo>
                      <a:lnTo>
                        <a:pt x="16" y="547"/>
                      </a:lnTo>
                      <a:lnTo>
                        <a:pt x="16" y="545"/>
                      </a:lnTo>
                      <a:lnTo>
                        <a:pt x="16" y="544"/>
                      </a:lnTo>
                      <a:lnTo>
                        <a:pt x="16" y="542"/>
                      </a:lnTo>
                      <a:lnTo>
                        <a:pt x="14" y="542"/>
                      </a:lnTo>
                      <a:lnTo>
                        <a:pt x="14" y="540"/>
                      </a:lnTo>
                      <a:lnTo>
                        <a:pt x="14" y="539"/>
                      </a:lnTo>
                      <a:lnTo>
                        <a:pt x="14" y="537"/>
                      </a:lnTo>
                      <a:lnTo>
                        <a:pt x="12" y="532"/>
                      </a:lnTo>
                      <a:lnTo>
                        <a:pt x="12" y="531"/>
                      </a:lnTo>
                      <a:lnTo>
                        <a:pt x="12" y="529"/>
                      </a:lnTo>
                      <a:lnTo>
                        <a:pt x="11" y="526"/>
                      </a:lnTo>
                      <a:lnTo>
                        <a:pt x="11" y="524"/>
                      </a:lnTo>
                      <a:lnTo>
                        <a:pt x="12" y="524"/>
                      </a:lnTo>
                      <a:lnTo>
                        <a:pt x="12" y="522"/>
                      </a:lnTo>
                      <a:lnTo>
                        <a:pt x="14" y="522"/>
                      </a:lnTo>
                      <a:lnTo>
                        <a:pt x="16" y="522"/>
                      </a:lnTo>
                      <a:lnTo>
                        <a:pt x="17" y="522"/>
                      </a:lnTo>
                      <a:lnTo>
                        <a:pt x="17" y="521"/>
                      </a:lnTo>
                      <a:lnTo>
                        <a:pt x="17" y="519"/>
                      </a:lnTo>
                      <a:lnTo>
                        <a:pt x="17" y="517"/>
                      </a:lnTo>
                      <a:lnTo>
                        <a:pt x="17" y="516"/>
                      </a:lnTo>
                      <a:lnTo>
                        <a:pt x="17" y="514"/>
                      </a:lnTo>
                      <a:lnTo>
                        <a:pt x="16" y="513"/>
                      </a:lnTo>
                      <a:lnTo>
                        <a:pt x="16" y="511"/>
                      </a:lnTo>
                      <a:lnTo>
                        <a:pt x="14" y="511"/>
                      </a:lnTo>
                      <a:lnTo>
                        <a:pt x="12" y="511"/>
                      </a:lnTo>
                      <a:lnTo>
                        <a:pt x="12" y="509"/>
                      </a:lnTo>
                      <a:lnTo>
                        <a:pt x="12" y="508"/>
                      </a:lnTo>
                      <a:lnTo>
                        <a:pt x="12" y="506"/>
                      </a:lnTo>
                      <a:lnTo>
                        <a:pt x="11" y="506"/>
                      </a:lnTo>
                      <a:lnTo>
                        <a:pt x="12" y="504"/>
                      </a:lnTo>
                      <a:lnTo>
                        <a:pt x="11" y="504"/>
                      </a:lnTo>
                      <a:lnTo>
                        <a:pt x="12" y="504"/>
                      </a:lnTo>
                      <a:lnTo>
                        <a:pt x="12" y="503"/>
                      </a:lnTo>
                      <a:lnTo>
                        <a:pt x="11" y="503"/>
                      </a:lnTo>
                      <a:lnTo>
                        <a:pt x="11" y="501"/>
                      </a:lnTo>
                      <a:lnTo>
                        <a:pt x="11" y="499"/>
                      </a:lnTo>
                      <a:lnTo>
                        <a:pt x="9" y="499"/>
                      </a:lnTo>
                      <a:lnTo>
                        <a:pt x="9" y="498"/>
                      </a:lnTo>
                      <a:lnTo>
                        <a:pt x="9" y="496"/>
                      </a:lnTo>
                      <a:lnTo>
                        <a:pt x="7" y="496"/>
                      </a:lnTo>
                      <a:lnTo>
                        <a:pt x="7" y="494"/>
                      </a:lnTo>
                      <a:lnTo>
                        <a:pt x="6" y="494"/>
                      </a:lnTo>
                      <a:lnTo>
                        <a:pt x="6" y="493"/>
                      </a:lnTo>
                      <a:lnTo>
                        <a:pt x="4" y="493"/>
                      </a:lnTo>
                      <a:lnTo>
                        <a:pt x="4" y="491"/>
                      </a:lnTo>
                      <a:lnTo>
                        <a:pt x="4" y="493"/>
                      </a:lnTo>
                      <a:lnTo>
                        <a:pt x="4" y="491"/>
                      </a:lnTo>
                      <a:lnTo>
                        <a:pt x="2" y="491"/>
                      </a:lnTo>
                      <a:lnTo>
                        <a:pt x="2" y="490"/>
                      </a:lnTo>
                      <a:lnTo>
                        <a:pt x="2" y="488"/>
                      </a:lnTo>
                      <a:lnTo>
                        <a:pt x="2" y="486"/>
                      </a:lnTo>
                      <a:lnTo>
                        <a:pt x="0" y="486"/>
                      </a:lnTo>
                      <a:lnTo>
                        <a:pt x="2" y="486"/>
                      </a:lnTo>
                      <a:lnTo>
                        <a:pt x="0" y="486"/>
                      </a:lnTo>
                      <a:lnTo>
                        <a:pt x="0" y="485"/>
                      </a:lnTo>
                      <a:lnTo>
                        <a:pt x="0" y="483"/>
                      </a:lnTo>
                      <a:lnTo>
                        <a:pt x="2" y="483"/>
                      </a:lnTo>
                      <a:lnTo>
                        <a:pt x="0" y="483"/>
                      </a:lnTo>
                      <a:lnTo>
                        <a:pt x="2" y="483"/>
                      </a:lnTo>
                      <a:lnTo>
                        <a:pt x="0" y="483"/>
                      </a:lnTo>
                      <a:lnTo>
                        <a:pt x="2" y="483"/>
                      </a:lnTo>
                      <a:lnTo>
                        <a:pt x="2" y="481"/>
                      </a:lnTo>
                      <a:lnTo>
                        <a:pt x="0" y="481"/>
                      </a:lnTo>
                      <a:lnTo>
                        <a:pt x="2" y="481"/>
                      </a:lnTo>
                      <a:lnTo>
                        <a:pt x="2" y="480"/>
                      </a:lnTo>
                      <a:lnTo>
                        <a:pt x="2" y="478"/>
                      </a:lnTo>
                      <a:lnTo>
                        <a:pt x="0" y="478"/>
                      </a:lnTo>
                      <a:lnTo>
                        <a:pt x="2" y="476"/>
                      </a:lnTo>
                      <a:lnTo>
                        <a:pt x="0" y="476"/>
                      </a:lnTo>
                      <a:lnTo>
                        <a:pt x="2" y="476"/>
                      </a:lnTo>
                      <a:lnTo>
                        <a:pt x="2" y="475"/>
                      </a:lnTo>
                      <a:lnTo>
                        <a:pt x="2" y="473"/>
                      </a:lnTo>
                      <a:lnTo>
                        <a:pt x="2" y="471"/>
                      </a:lnTo>
                      <a:lnTo>
                        <a:pt x="2" y="470"/>
                      </a:lnTo>
                      <a:lnTo>
                        <a:pt x="4" y="468"/>
                      </a:lnTo>
                      <a:lnTo>
                        <a:pt x="4" y="467"/>
                      </a:lnTo>
                      <a:lnTo>
                        <a:pt x="2" y="467"/>
                      </a:lnTo>
                      <a:lnTo>
                        <a:pt x="4" y="467"/>
                      </a:lnTo>
                      <a:lnTo>
                        <a:pt x="2" y="467"/>
                      </a:lnTo>
                      <a:lnTo>
                        <a:pt x="2" y="465"/>
                      </a:lnTo>
                      <a:lnTo>
                        <a:pt x="4" y="465"/>
                      </a:lnTo>
                      <a:lnTo>
                        <a:pt x="2" y="465"/>
                      </a:lnTo>
                      <a:lnTo>
                        <a:pt x="4" y="465"/>
                      </a:lnTo>
                      <a:lnTo>
                        <a:pt x="4" y="463"/>
                      </a:lnTo>
                      <a:lnTo>
                        <a:pt x="6" y="463"/>
                      </a:lnTo>
                      <a:lnTo>
                        <a:pt x="6" y="462"/>
                      </a:lnTo>
                      <a:lnTo>
                        <a:pt x="4" y="462"/>
                      </a:lnTo>
                      <a:lnTo>
                        <a:pt x="6" y="462"/>
                      </a:lnTo>
                      <a:lnTo>
                        <a:pt x="6" y="460"/>
                      </a:lnTo>
                      <a:lnTo>
                        <a:pt x="6" y="462"/>
                      </a:lnTo>
                      <a:lnTo>
                        <a:pt x="6" y="460"/>
                      </a:lnTo>
                      <a:lnTo>
                        <a:pt x="6" y="458"/>
                      </a:lnTo>
                      <a:lnTo>
                        <a:pt x="6" y="457"/>
                      </a:lnTo>
                      <a:lnTo>
                        <a:pt x="4" y="455"/>
                      </a:lnTo>
                      <a:lnTo>
                        <a:pt x="6" y="455"/>
                      </a:lnTo>
                      <a:lnTo>
                        <a:pt x="4" y="455"/>
                      </a:lnTo>
                      <a:lnTo>
                        <a:pt x="4" y="453"/>
                      </a:lnTo>
                      <a:lnTo>
                        <a:pt x="6" y="455"/>
                      </a:lnTo>
                      <a:lnTo>
                        <a:pt x="6" y="453"/>
                      </a:lnTo>
                      <a:lnTo>
                        <a:pt x="4" y="453"/>
                      </a:lnTo>
                      <a:lnTo>
                        <a:pt x="4" y="452"/>
                      </a:lnTo>
                      <a:lnTo>
                        <a:pt x="6" y="452"/>
                      </a:lnTo>
                      <a:lnTo>
                        <a:pt x="6" y="450"/>
                      </a:lnTo>
                      <a:lnTo>
                        <a:pt x="7" y="448"/>
                      </a:lnTo>
                      <a:lnTo>
                        <a:pt x="7" y="450"/>
                      </a:lnTo>
                      <a:lnTo>
                        <a:pt x="7" y="448"/>
                      </a:lnTo>
                      <a:lnTo>
                        <a:pt x="9" y="448"/>
                      </a:lnTo>
                      <a:lnTo>
                        <a:pt x="9" y="447"/>
                      </a:lnTo>
                      <a:lnTo>
                        <a:pt x="9" y="445"/>
                      </a:lnTo>
                      <a:lnTo>
                        <a:pt x="9" y="444"/>
                      </a:lnTo>
                      <a:lnTo>
                        <a:pt x="11" y="444"/>
                      </a:lnTo>
                      <a:lnTo>
                        <a:pt x="11" y="442"/>
                      </a:lnTo>
                      <a:lnTo>
                        <a:pt x="9" y="442"/>
                      </a:lnTo>
                      <a:lnTo>
                        <a:pt x="11" y="442"/>
                      </a:lnTo>
                      <a:lnTo>
                        <a:pt x="11" y="440"/>
                      </a:lnTo>
                      <a:lnTo>
                        <a:pt x="11" y="442"/>
                      </a:lnTo>
                      <a:lnTo>
                        <a:pt x="11" y="440"/>
                      </a:lnTo>
                      <a:lnTo>
                        <a:pt x="12" y="440"/>
                      </a:lnTo>
                      <a:lnTo>
                        <a:pt x="12" y="439"/>
                      </a:lnTo>
                      <a:lnTo>
                        <a:pt x="14" y="439"/>
                      </a:lnTo>
                      <a:lnTo>
                        <a:pt x="14" y="437"/>
                      </a:lnTo>
                      <a:lnTo>
                        <a:pt x="14" y="435"/>
                      </a:lnTo>
                      <a:lnTo>
                        <a:pt x="16" y="435"/>
                      </a:lnTo>
                      <a:lnTo>
                        <a:pt x="16" y="434"/>
                      </a:lnTo>
                      <a:lnTo>
                        <a:pt x="16" y="435"/>
                      </a:lnTo>
                      <a:lnTo>
                        <a:pt x="16" y="434"/>
                      </a:lnTo>
                      <a:lnTo>
                        <a:pt x="17" y="434"/>
                      </a:lnTo>
                      <a:lnTo>
                        <a:pt x="16" y="434"/>
                      </a:lnTo>
                      <a:lnTo>
                        <a:pt x="17" y="434"/>
                      </a:lnTo>
                      <a:lnTo>
                        <a:pt x="17" y="432"/>
                      </a:lnTo>
                      <a:lnTo>
                        <a:pt x="17" y="434"/>
                      </a:lnTo>
                      <a:lnTo>
                        <a:pt x="17" y="432"/>
                      </a:lnTo>
                      <a:lnTo>
                        <a:pt x="19" y="432"/>
                      </a:lnTo>
                      <a:lnTo>
                        <a:pt x="19" y="430"/>
                      </a:lnTo>
                      <a:lnTo>
                        <a:pt x="17" y="430"/>
                      </a:lnTo>
                      <a:lnTo>
                        <a:pt x="17" y="429"/>
                      </a:lnTo>
                      <a:lnTo>
                        <a:pt x="19" y="429"/>
                      </a:lnTo>
                      <a:lnTo>
                        <a:pt x="17" y="429"/>
                      </a:lnTo>
                      <a:lnTo>
                        <a:pt x="19" y="429"/>
                      </a:lnTo>
                      <a:lnTo>
                        <a:pt x="19" y="427"/>
                      </a:lnTo>
                      <a:lnTo>
                        <a:pt x="19" y="426"/>
                      </a:lnTo>
                      <a:lnTo>
                        <a:pt x="21" y="426"/>
                      </a:lnTo>
                      <a:lnTo>
                        <a:pt x="19" y="424"/>
                      </a:lnTo>
                      <a:lnTo>
                        <a:pt x="19" y="422"/>
                      </a:lnTo>
                      <a:lnTo>
                        <a:pt x="21" y="422"/>
                      </a:lnTo>
                      <a:lnTo>
                        <a:pt x="21" y="421"/>
                      </a:lnTo>
                      <a:lnTo>
                        <a:pt x="21" y="419"/>
                      </a:lnTo>
                      <a:lnTo>
                        <a:pt x="22" y="419"/>
                      </a:lnTo>
                      <a:lnTo>
                        <a:pt x="21" y="419"/>
                      </a:lnTo>
                      <a:lnTo>
                        <a:pt x="21" y="417"/>
                      </a:lnTo>
                      <a:lnTo>
                        <a:pt x="22" y="417"/>
                      </a:lnTo>
                      <a:lnTo>
                        <a:pt x="22" y="416"/>
                      </a:lnTo>
                      <a:lnTo>
                        <a:pt x="24" y="414"/>
                      </a:lnTo>
                      <a:lnTo>
                        <a:pt x="22" y="414"/>
                      </a:lnTo>
                      <a:lnTo>
                        <a:pt x="24" y="414"/>
                      </a:lnTo>
                      <a:lnTo>
                        <a:pt x="24" y="412"/>
                      </a:lnTo>
                      <a:lnTo>
                        <a:pt x="26" y="412"/>
                      </a:lnTo>
                      <a:lnTo>
                        <a:pt x="26" y="414"/>
                      </a:lnTo>
                      <a:lnTo>
                        <a:pt x="26" y="412"/>
                      </a:lnTo>
                      <a:lnTo>
                        <a:pt x="27" y="412"/>
                      </a:lnTo>
                      <a:lnTo>
                        <a:pt x="27" y="414"/>
                      </a:lnTo>
                      <a:lnTo>
                        <a:pt x="29" y="412"/>
                      </a:lnTo>
                      <a:lnTo>
                        <a:pt x="27" y="412"/>
                      </a:lnTo>
                      <a:lnTo>
                        <a:pt x="29" y="412"/>
                      </a:lnTo>
                      <a:lnTo>
                        <a:pt x="31" y="412"/>
                      </a:lnTo>
                      <a:lnTo>
                        <a:pt x="29" y="411"/>
                      </a:lnTo>
                      <a:lnTo>
                        <a:pt x="31" y="411"/>
                      </a:lnTo>
                      <a:lnTo>
                        <a:pt x="31" y="409"/>
                      </a:lnTo>
                      <a:lnTo>
                        <a:pt x="31" y="407"/>
                      </a:lnTo>
                      <a:lnTo>
                        <a:pt x="33" y="407"/>
                      </a:lnTo>
                      <a:lnTo>
                        <a:pt x="33" y="409"/>
                      </a:lnTo>
                      <a:lnTo>
                        <a:pt x="31" y="409"/>
                      </a:lnTo>
                      <a:lnTo>
                        <a:pt x="33" y="409"/>
                      </a:lnTo>
                      <a:lnTo>
                        <a:pt x="33" y="407"/>
                      </a:lnTo>
                      <a:lnTo>
                        <a:pt x="34" y="407"/>
                      </a:lnTo>
                      <a:lnTo>
                        <a:pt x="34" y="406"/>
                      </a:lnTo>
                      <a:lnTo>
                        <a:pt x="36" y="406"/>
                      </a:lnTo>
                      <a:lnTo>
                        <a:pt x="34" y="406"/>
                      </a:lnTo>
                      <a:lnTo>
                        <a:pt x="36" y="406"/>
                      </a:lnTo>
                      <a:lnTo>
                        <a:pt x="36" y="404"/>
                      </a:lnTo>
                      <a:lnTo>
                        <a:pt x="36" y="406"/>
                      </a:lnTo>
                      <a:lnTo>
                        <a:pt x="38" y="406"/>
                      </a:lnTo>
                      <a:lnTo>
                        <a:pt x="38" y="404"/>
                      </a:lnTo>
                      <a:lnTo>
                        <a:pt x="39" y="404"/>
                      </a:lnTo>
                      <a:lnTo>
                        <a:pt x="41" y="404"/>
                      </a:lnTo>
                      <a:lnTo>
                        <a:pt x="41" y="403"/>
                      </a:lnTo>
                      <a:lnTo>
                        <a:pt x="43" y="403"/>
                      </a:lnTo>
                      <a:lnTo>
                        <a:pt x="43" y="401"/>
                      </a:lnTo>
                      <a:lnTo>
                        <a:pt x="43" y="403"/>
                      </a:lnTo>
                      <a:lnTo>
                        <a:pt x="44" y="403"/>
                      </a:lnTo>
                      <a:lnTo>
                        <a:pt x="44" y="401"/>
                      </a:lnTo>
                      <a:lnTo>
                        <a:pt x="44" y="399"/>
                      </a:lnTo>
                      <a:lnTo>
                        <a:pt x="46" y="399"/>
                      </a:lnTo>
                      <a:lnTo>
                        <a:pt x="46" y="398"/>
                      </a:lnTo>
                      <a:lnTo>
                        <a:pt x="48" y="399"/>
                      </a:lnTo>
                      <a:lnTo>
                        <a:pt x="48" y="398"/>
                      </a:lnTo>
                      <a:lnTo>
                        <a:pt x="48" y="396"/>
                      </a:lnTo>
                      <a:lnTo>
                        <a:pt x="48" y="394"/>
                      </a:lnTo>
                      <a:lnTo>
                        <a:pt x="46" y="396"/>
                      </a:lnTo>
                      <a:lnTo>
                        <a:pt x="46" y="394"/>
                      </a:lnTo>
                      <a:lnTo>
                        <a:pt x="48" y="394"/>
                      </a:lnTo>
                      <a:lnTo>
                        <a:pt x="49" y="394"/>
                      </a:lnTo>
                      <a:lnTo>
                        <a:pt x="49" y="393"/>
                      </a:lnTo>
                      <a:lnTo>
                        <a:pt x="49" y="391"/>
                      </a:lnTo>
                      <a:lnTo>
                        <a:pt x="51" y="393"/>
                      </a:lnTo>
                      <a:lnTo>
                        <a:pt x="51" y="391"/>
                      </a:lnTo>
                      <a:lnTo>
                        <a:pt x="51" y="389"/>
                      </a:lnTo>
                      <a:lnTo>
                        <a:pt x="49" y="389"/>
                      </a:lnTo>
                      <a:lnTo>
                        <a:pt x="49" y="388"/>
                      </a:lnTo>
                      <a:lnTo>
                        <a:pt x="51" y="388"/>
                      </a:lnTo>
                      <a:lnTo>
                        <a:pt x="53" y="388"/>
                      </a:lnTo>
                      <a:lnTo>
                        <a:pt x="53" y="386"/>
                      </a:lnTo>
                      <a:lnTo>
                        <a:pt x="55" y="386"/>
                      </a:lnTo>
                      <a:lnTo>
                        <a:pt x="55" y="388"/>
                      </a:lnTo>
                      <a:lnTo>
                        <a:pt x="56" y="388"/>
                      </a:lnTo>
                      <a:lnTo>
                        <a:pt x="56" y="386"/>
                      </a:lnTo>
                      <a:lnTo>
                        <a:pt x="56" y="384"/>
                      </a:lnTo>
                      <a:lnTo>
                        <a:pt x="58" y="384"/>
                      </a:lnTo>
                      <a:lnTo>
                        <a:pt x="58" y="383"/>
                      </a:lnTo>
                      <a:lnTo>
                        <a:pt x="58" y="384"/>
                      </a:lnTo>
                      <a:lnTo>
                        <a:pt x="60" y="384"/>
                      </a:lnTo>
                      <a:lnTo>
                        <a:pt x="60" y="383"/>
                      </a:lnTo>
                      <a:lnTo>
                        <a:pt x="60" y="381"/>
                      </a:lnTo>
                      <a:lnTo>
                        <a:pt x="60" y="380"/>
                      </a:lnTo>
                      <a:lnTo>
                        <a:pt x="61" y="380"/>
                      </a:lnTo>
                      <a:lnTo>
                        <a:pt x="63" y="378"/>
                      </a:lnTo>
                      <a:lnTo>
                        <a:pt x="61" y="378"/>
                      </a:lnTo>
                      <a:lnTo>
                        <a:pt x="63" y="378"/>
                      </a:lnTo>
                      <a:lnTo>
                        <a:pt x="61" y="378"/>
                      </a:lnTo>
                      <a:lnTo>
                        <a:pt x="61" y="376"/>
                      </a:lnTo>
                      <a:lnTo>
                        <a:pt x="63" y="376"/>
                      </a:lnTo>
                      <a:lnTo>
                        <a:pt x="61" y="376"/>
                      </a:lnTo>
                      <a:lnTo>
                        <a:pt x="61" y="375"/>
                      </a:lnTo>
                      <a:lnTo>
                        <a:pt x="60" y="375"/>
                      </a:lnTo>
                      <a:lnTo>
                        <a:pt x="60" y="373"/>
                      </a:lnTo>
                      <a:lnTo>
                        <a:pt x="58" y="373"/>
                      </a:lnTo>
                      <a:lnTo>
                        <a:pt x="60" y="371"/>
                      </a:lnTo>
                      <a:lnTo>
                        <a:pt x="58" y="371"/>
                      </a:lnTo>
                      <a:lnTo>
                        <a:pt x="56" y="371"/>
                      </a:lnTo>
                      <a:lnTo>
                        <a:pt x="55" y="370"/>
                      </a:lnTo>
                      <a:lnTo>
                        <a:pt x="55" y="368"/>
                      </a:lnTo>
                      <a:lnTo>
                        <a:pt x="55" y="366"/>
                      </a:lnTo>
                      <a:lnTo>
                        <a:pt x="55" y="365"/>
                      </a:lnTo>
                      <a:lnTo>
                        <a:pt x="55" y="363"/>
                      </a:lnTo>
                      <a:lnTo>
                        <a:pt x="55" y="361"/>
                      </a:lnTo>
                      <a:lnTo>
                        <a:pt x="56" y="361"/>
                      </a:lnTo>
                      <a:lnTo>
                        <a:pt x="56" y="360"/>
                      </a:lnTo>
                      <a:lnTo>
                        <a:pt x="58" y="360"/>
                      </a:lnTo>
                      <a:lnTo>
                        <a:pt x="60" y="360"/>
                      </a:lnTo>
                      <a:lnTo>
                        <a:pt x="61" y="360"/>
                      </a:lnTo>
                      <a:lnTo>
                        <a:pt x="61" y="358"/>
                      </a:lnTo>
                      <a:lnTo>
                        <a:pt x="63" y="358"/>
                      </a:lnTo>
                      <a:lnTo>
                        <a:pt x="65" y="358"/>
                      </a:lnTo>
                      <a:lnTo>
                        <a:pt x="65" y="357"/>
                      </a:lnTo>
                      <a:lnTo>
                        <a:pt x="66" y="358"/>
                      </a:lnTo>
                      <a:lnTo>
                        <a:pt x="68" y="358"/>
                      </a:lnTo>
                      <a:lnTo>
                        <a:pt x="68" y="357"/>
                      </a:lnTo>
                      <a:lnTo>
                        <a:pt x="66" y="357"/>
                      </a:lnTo>
                      <a:lnTo>
                        <a:pt x="66" y="355"/>
                      </a:lnTo>
                      <a:lnTo>
                        <a:pt x="66" y="353"/>
                      </a:lnTo>
                      <a:lnTo>
                        <a:pt x="68" y="355"/>
                      </a:lnTo>
                      <a:lnTo>
                        <a:pt x="68" y="353"/>
                      </a:lnTo>
                      <a:lnTo>
                        <a:pt x="68" y="352"/>
                      </a:lnTo>
                      <a:lnTo>
                        <a:pt x="68" y="350"/>
                      </a:lnTo>
                      <a:lnTo>
                        <a:pt x="68" y="348"/>
                      </a:lnTo>
                      <a:lnTo>
                        <a:pt x="70" y="348"/>
                      </a:lnTo>
                      <a:lnTo>
                        <a:pt x="70" y="347"/>
                      </a:lnTo>
                      <a:lnTo>
                        <a:pt x="70" y="345"/>
                      </a:lnTo>
                      <a:lnTo>
                        <a:pt x="71" y="345"/>
                      </a:lnTo>
                      <a:lnTo>
                        <a:pt x="71" y="347"/>
                      </a:lnTo>
                      <a:lnTo>
                        <a:pt x="73" y="347"/>
                      </a:lnTo>
                      <a:lnTo>
                        <a:pt x="73" y="345"/>
                      </a:lnTo>
                      <a:lnTo>
                        <a:pt x="75" y="345"/>
                      </a:lnTo>
                      <a:lnTo>
                        <a:pt x="76" y="345"/>
                      </a:lnTo>
                      <a:lnTo>
                        <a:pt x="76" y="343"/>
                      </a:lnTo>
                      <a:lnTo>
                        <a:pt x="78" y="343"/>
                      </a:lnTo>
                      <a:lnTo>
                        <a:pt x="80" y="343"/>
                      </a:lnTo>
                      <a:lnTo>
                        <a:pt x="80" y="342"/>
                      </a:lnTo>
                      <a:lnTo>
                        <a:pt x="82" y="342"/>
                      </a:lnTo>
                      <a:lnTo>
                        <a:pt x="83" y="342"/>
                      </a:lnTo>
                      <a:lnTo>
                        <a:pt x="85" y="342"/>
                      </a:lnTo>
                      <a:lnTo>
                        <a:pt x="85" y="340"/>
                      </a:lnTo>
                      <a:lnTo>
                        <a:pt x="87" y="342"/>
                      </a:lnTo>
                      <a:lnTo>
                        <a:pt x="87" y="340"/>
                      </a:lnTo>
                      <a:lnTo>
                        <a:pt x="88" y="340"/>
                      </a:lnTo>
                      <a:lnTo>
                        <a:pt x="88" y="338"/>
                      </a:lnTo>
                      <a:lnTo>
                        <a:pt x="90" y="337"/>
                      </a:lnTo>
                      <a:lnTo>
                        <a:pt x="88" y="337"/>
                      </a:lnTo>
                      <a:lnTo>
                        <a:pt x="90" y="337"/>
                      </a:lnTo>
                      <a:lnTo>
                        <a:pt x="90" y="335"/>
                      </a:lnTo>
                      <a:lnTo>
                        <a:pt x="90" y="334"/>
                      </a:lnTo>
                      <a:lnTo>
                        <a:pt x="92" y="334"/>
                      </a:lnTo>
                      <a:lnTo>
                        <a:pt x="92" y="332"/>
                      </a:lnTo>
                      <a:lnTo>
                        <a:pt x="92" y="330"/>
                      </a:lnTo>
                      <a:lnTo>
                        <a:pt x="93" y="329"/>
                      </a:lnTo>
                      <a:lnTo>
                        <a:pt x="95" y="329"/>
                      </a:lnTo>
                      <a:lnTo>
                        <a:pt x="95" y="327"/>
                      </a:lnTo>
                      <a:lnTo>
                        <a:pt x="95" y="325"/>
                      </a:lnTo>
                      <a:lnTo>
                        <a:pt x="95" y="324"/>
                      </a:lnTo>
                      <a:lnTo>
                        <a:pt x="97" y="324"/>
                      </a:lnTo>
                      <a:lnTo>
                        <a:pt x="98" y="324"/>
                      </a:lnTo>
                      <a:lnTo>
                        <a:pt x="100" y="324"/>
                      </a:lnTo>
                      <a:lnTo>
                        <a:pt x="100" y="322"/>
                      </a:lnTo>
                      <a:lnTo>
                        <a:pt x="102" y="322"/>
                      </a:lnTo>
                      <a:lnTo>
                        <a:pt x="103" y="324"/>
                      </a:lnTo>
                      <a:lnTo>
                        <a:pt x="105" y="324"/>
                      </a:lnTo>
                      <a:lnTo>
                        <a:pt x="107" y="324"/>
                      </a:lnTo>
                      <a:lnTo>
                        <a:pt x="109" y="322"/>
                      </a:lnTo>
                      <a:lnTo>
                        <a:pt x="110" y="322"/>
                      </a:lnTo>
                      <a:lnTo>
                        <a:pt x="110" y="324"/>
                      </a:lnTo>
                      <a:lnTo>
                        <a:pt x="110" y="322"/>
                      </a:lnTo>
                      <a:lnTo>
                        <a:pt x="112" y="322"/>
                      </a:lnTo>
                      <a:lnTo>
                        <a:pt x="114" y="322"/>
                      </a:lnTo>
                      <a:lnTo>
                        <a:pt x="114" y="324"/>
                      </a:lnTo>
                      <a:lnTo>
                        <a:pt x="115" y="324"/>
                      </a:lnTo>
                      <a:lnTo>
                        <a:pt x="117" y="322"/>
                      </a:lnTo>
                      <a:lnTo>
                        <a:pt x="117" y="324"/>
                      </a:lnTo>
                      <a:lnTo>
                        <a:pt x="119" y="322"/>
                      </a:lnTo>
                      <a:lnTo>
                        <a:pt x="120" y="322"/>
                      </a:lnTo>
                      <a:lnTo>
                        <a:pt x="120" y="320"/>
                      </a:lnTo>
                      <a:lnTo>
                        <a:pt x="120" y="319"/>
                      </a:lnTo>
                      <a:lnTo>
                        <a:pt x="122" y="319"/>
                      </a:lnTo>
                      <a:lnTo>
                        <a:pt x="124" y="319"/>
                      </a:lnTo>
                      <a:lnTo>
                        <a:pt x="124" y="317"/>
                      </a:lnTo>
                      <a:lnTo>
                        <a:pt x="124" y="315"/>
                      </a:lnTo>
                      <a:lnTo>
                        <a:pt x="125" y="315"/>
                      </a:lnTo>
                      <a:lnTo>
                        <a:pt x="127" y="315"/>
                      </a:lnTo>
                      <a:lnTo>
                        <a:pt x="129" y="317"/>
                      </a:lnTo>
                      <a:lnTo>
                        <a:pt x="131" y="317"/>
                      </a:lnTo>
                      <a:lnTo>
                        <a:pt x="131" y="315"/>
                      </a:lnTo>
                      <a:lnTo>
                        <a:pt x="132" y="315"/>
                      </a:lnTo>
                      <a:lnTo>
                        <a:pt x="132" y="314"/>
                      </a:lnTo>
                      <a:lnTo>
                        <a:pt x="134" y="312"/>
                      </a:lnTo>
                      <a:lnTo>
                        <a:pt x="136" y="311"/>
                      </a:lnTo>
                      <a:lnTo>
                        <a:pt x="137" y="309"/>
                      </a:lnTo>
                      <a:lnTo>
                        <a:pt x="139" y="307"/>
                      </a:lnTo>
                      <a:lnTo>
                        <a:pt x="137" y="307"/>
                      </a:lnTo>
                      <a:lnTo>
                        <a:pt x="139" y="307"/>
                      </a:lnTo>
                      <a:lnTo>
                        <a:pt x="139" y="306"/>
                      </a:lnTo>
                      <a:lnTo>
                        <a:pt x="142" y="301"/>
                      </a:lnTo>
                      <a:lnTo>
                        <a:pt x="142" y="299"/>
                      </a:lnTo>
                      <a:lnTo>
                        <a:pt x="142" y="297"/>
                      </a:lnTo>
                      <a:lnTo>
                        <a:pt x="141" y="292"/>
                      </a:lnTo>
                      <a:lnTo>
                        <a:pt x="141" y="291"/>
                      </a:lnTo>
                      <a:lnTo>
                        <a:pt x="142" y="291"/>
                      </a:lnTo>
                      <a:lnTo>
                        <a:pt x="142" y="292"/>
                      </a:lnTo>
                      <a:lnTo>
                        <a:pt x="144" y="292"/>
                      </a:lnTo>
                      <a:lnTo>
                        <a:pt x="146" y="292"/>
                      </a:lnTo>
                      <a:lnTo>
                        <a:pt x="146" y="291"/>
                      </a:lnTo>
                      <a:lnTo>
                        <a:pt x="144" y="289"/>
                      </a:lnTo>
                      <a:lnTo>
                        <a:pt x="144" y="288"/>
                      </a:lnTo>
                      <a:lnTo>
                        <a:pt x="146" y="288"/>
                      </a:lnTo>
                      <a:lnTo>
                        <a:pt x="147" y="288"/>
                      </a:lnTo>
                      <a:lnTo>
                        <a:pt x="147" y="286"/>
                      </a:lnTo>
                      <a:lnTo>
                        <a:pt x="147" y="284"/>
                      </a:lnTo>
                      <a:lnTo>
                        <a:pt x="147" y="283"/>
                      </a:lnTo>
                      <a:lnTo>
                        <a:pt x="149" y="281"/>
                      </a:lnTo>
                      <a:lnTo>
                        <a:pt x="147" y="279"/>
                      </a:lnTo>
                      <a:lnTo>
                        <a:pt x="149" y="279"/>
                      </a:lnTo>
                      <a:lnTo>
                        <a:pt x="149" y="278"/>
                      </a:lnTo>
                      <a:lnTo>
                        <a:pt x="151" y="276"/>
                      </a:lnTo>
                      <a:lnTo>
                        <a:pt x="151" y="274"/>
                      </a:lnTo>
                      <a:lnTo>
                        <a:pt x="149" y="273"/>
                      </a:lnTo>
                      <a:lnTo>
                        <a:pt x="149" y="271"/>
                      </a:lnTo>
                      <a:lnTo>
                        <a:pt x="149" y="269"/>
                      </a:lnTo>
                      <a:lnTo>
                        <a:pt x="149" y="268"/>
                      </a:lnTo>
                      <a:lnTo>
                        <a:pt x="151" y="268"/>
                      </a:lnTo>
                      <a:lnTo>
                        <a:pt x="152" y="266"/>
                      </a:lnTo>
                      <a:lnTo>
                        <a:pt x="152" y="265"/>
                      </a:lnTo>
                      <a:lnTo>
                        <a:pt x="151" y="265"/>
                      </a:lnTo>
                      <a:lnTo>
                        <a:pt x="151" y="263"/>
                      </a:lnTo>
                      <a:lnTo>
                        <a:pt x="152" y="261"/>
                      </a:lnTo>
                      <a:lnTo>
                        <a:pt x="152" y="260"/>
                      </a:lnTo>
                      <a:lnTo>
                        <a:pt x="152" y="258"/>
                      </a:lnTo>
                      <a:lnTo>
                        <a:pt x="154" y="256"/>
                      </a:lnTo>
                      <a:lnTo>
                        <a:pt x="156" y="256"/>
                      </a:lnTo>
                      <a:lnTo>
                        <a:pt x="158" y="256"/>
                      </a:lnTo>
                      <a:lnTo>
                        <a:pt x="158" y="255"/>
                      </a:lnTo>
                      <a:lnTo>
                        <a:pt x="159" y="255"/>
                      </a:lnTo>
                      <a:lnTo>
                        <a:pt x="159" y="253"/>
                      </a:lnTo>
                      <a:lnTo>
                        <a:pt x="159" y="251"/>
                      </a:lnTo>
                      <a:lnTo>
                        <a:pt x="161" y="251"/>
                      </a:lnTo>
                      <a:lnTo>
                        <a:pt x="163" y="251"/>
                      </a:lnTo>
                      <a:lnTo>
                        <a:pt x="163" y="250"/>
                      </a:lnTo>
                      <a:lnTo>
                        <a:pt x="163" y="248"/>
                      </a:lnTo>
                      <a:lnTo>
                        <a:pt x="164" y="248"/>
                      </a:lnTo>
                      <a:lnTo>
                        <a:pt x="164" y="246"/>
                      </a:lnTo>
                      <a:lnTo>
                        <a:pt x="166" y="246"/>
                      </a:lnTo>
                      <a:lnTo>
                        <a:pt x="168" y="246"/>
                      </a:lnTo>
                      <a:lnTo>
                        <a:pt x="169" y="246"/>
                      </a:lnTo>
                      <a:lnTo>
                        <a:pt x="171" y="245"/>
                      </a:lnTo>
                      <a:lnTo>
                        <a:pt x="173" y="243"/>
                      </a:lnTo>
                      <a:lnTo>
                        <a:pt x="173" y="242"/>
                      </a:lnTo>
                      <a:lnTo>
                        <a:pt x="174" y="242"/>
                      </a:lnTo>
                      <a:lnTo>
                        <a:pt x="176" y="242"/>
                      </a:lnTo>
                      <a:lnTo>
                        <a:pt x="178" y="242"/>
                      </a:lnTo>
                      <a:lnTo>
                        <a:pt x="179" y="242"/>
                      </a:lnTo>
                      <a:lnTo>
                        <a:pt x="181" y="242"/>
                      </a:lnTo>
                      <a:lnTo>
                        <a:pt x="181" y="240"/>
                      </a:lnTo>
                      <a:lnTo>
                        <a:pt x="183" y="238"/>
                      </a:lnTo>
                      <a:lnTo>
                        <a:pt x="185" y="238"/>
                      </a:lnTo>
                      <a:lnTo>
                        <a:pt x="185" y="240"/>
                      </a:lnTo>
                      <a:lnTo>
                        <a:pt x="186" y="240"/>
                      </a:lnTo>
                      <a:lnTo>
                        <a:pt x="186" y="242"/>
                      </a:lnTo>
                      <a:lnTo>
                        <a:pt x="186" y="243"/>
                      </a:lnTo>
                      <a:lnTo>
                        <a:pt x="186" y="245"/>
                      </a:lnTo>
                      <a:lnTo>
                        <a:pt x="188" y="245"/>
                      </a:lnTo>
                      <a:lnTo>
                        <a:pt x="191" y="245"/>
                      </a:lnTo>
                      <a:lnTo>
                        <a:pt x="193" y="243"/>
                      </a:lnTo>
                      <a:lnTo>
                        <a:pt x="195" y="242"/>
                      </a:lnTo>
                      <a:lnTo>
                        <a:pt x="196" y="242"/>
                      </a:lnTo>
                      <a:lnTo>
                        <a:pt x="198" y="240"/>
                      </a:lnTo>
                      <a:lnTo>
                        <a:pt x="200" y="240"/>
                      </a:lnTo>
                      <a:lnTo>
                        <a:pt x="200" y="238"/>
                      </a:lnTo>
                      <a:lnTo>
                        <a:pt x="200" y="237"/>
                      </a:lnTo>
                      <a:lnTo>
                        <a:pt x="201" y="235"/>
                      </a:lnTo>
                      <a:lnTo>
                        <a:pt x="203" y="235"/>
                      </a:lnTo>
                      <a:lnTo>
                        <a:pt x="205" y="235"/>
                      </a:lnTo>
                      <a:lnTo>
                        <a:pt x="205" y="233"/>
                      </a:lnTo>
                      <a:lnTo>
                        <a:pt x="207" y="233"/>
                      </a:lnTo>
                      <a:lnTo>
                        <a:pt x="207" y="232"/>
                      </a:lnTo>
                      <a:lnTo>
                        <a:pt x="207" y="230"/>
                      </a:lnTo>
                      <a:lnTo>
                        <a:pt x="207" y="228"/>
                      </a:lnTo>
                      <a:lnTo>
                        <a:pt x="207" y="227"/>
                      </a:lnTo>
                      <a:lnTo>
                        <a:pt x="207" y="225"/>
                      </a:lnTo>
                      <a:lnTo>
                        <a:pt x="208" y="224"/>
                      </a:lnTo>
                      <a:lnTo>
                        <a:pt x="210" y="222"/>
                      </a:lnTo>
                      <a:lnTo>
                        <a:pt x="210" y="220"/>
                      </a:lnTo>
                      <a:lnTo>
                        <a:pt x="210" y="219"/>
                      </a:lnTo>
                      <a:lnTo>
                        <a:pt x="210" y="217"/>
                      </a:lnTo>
                      <a:lnTo>
                        <a:pt x="210" y="215"/>
                      </a:lnTo>
                      <a:lnTo>
                        <a:pt x="212" y="215"/>
                      </a:lnTo>
                      <a:lnTo>
                        <a:pt x="212" y="214"/>
                      </a:lnTo>
                      <a:lnTo>
                        <a:pt x="212" y="212"/>
                      </a:lnTo>
                      <a:lnTo>
                        <a:pt x="212" y="210"/>
                      </a:lnTo>
                      <a:lnTo>
                        <a:pt x="213" y="210"/>
                      </a:lnTo>
                      <a:lnTo>
                        <a:pt x="213" y="209"/>
                      </a:lnTo>
                      <a:lnTo>
                        <a:pt x="213" y="207"/>
                      </a:lnTo>
                      <a:lnTo>
                        <a:pt x="215" y="207"/>
                      </a:lnTo>
                      <a:lnTo>
                        <a:pt x="215" y="205"/>
                      </a:lnTo>
                      <a:lnTo>
                        <a:pt x="215" y="204"/>
                      </a:lnTo>
                      <a:lnTo>
                        <a:pt x="215" y="202"/>
                      </a:lnTo>
                      <a:lnTo>
                        <a:pt x="215" y="201"/>
                      </a:lnTo>
                      <a:lnTo>
                        <a:pt x="217" y="199"/>
                      </a:lnTo>
                      <a:lnTo>
                        <a:pt x="218" y="197"/>
                      </a:lnTo>
                      <a:lnTo>
                        <a:pt x="217" y="196"/>
                      </a:lnTo>
                      <a:lnTo>
                        <a:pt x="217" y="194"/>
                      </a:lnTo>
                      <a:lnTo>
                        <a:pt x="217" y="192"/>
                      </a:lnTo>
                      <a:lnTo>
                        <a:pt x="217" y="191"/>
                      </a:lnTo>
                      <a:lnTo>
                        <a:pt x="215" y="191"/>
                      </a:lnTo>
                      <a:lnTo>
                        <a:pt x="215" y="189"/>
                      </a:lnTo>
                      <a:lnTo>
                        <a:pt x="215" y="187"/>
                      </a:lnTo>
                      <a:lnTo>
                        <a:pt x="215" y="186"/>
                      </a:lnTo>
                      <a:lnTo>
                        <a:pt x="215" y="184"/>
                      </a:lnTo>
                      <a:lnTo>
                        <a:pt x="215" y="182"/>
                      </a:lnTo>
                      <a:lnTo>
                        <a:pt x="217" y="182"/>
                      </a:lnTo>
                      <a:lnTo>
                        <a:pt x="217" y="181"/>
                      </a:lnTo>
                      <a:lnTo>
                        <a:pt x="217" y="179"/>
                      </a:lnTo>
                      <a:lnTo>
                        <a:pt x="217" y="178"/>
                      </a:lnTo>
                      <a:lnTo>
                        <a:pt x="217" y="176"/>
                      </a:lnTo>
                      <a:lnTo>
                        <a:pt x="217" y="174"/>
                      </a:lnTo>
                      <a:lnTo>
                        <a:pt x="218" y="173"/>
                      </a:lnTo>
                      <a:lnTo>
                        <a:pt x="218" y="171"/>
                      </a:lnTo>
                      <a:lnTo>
                        <a:pt x="220" y="169"/>
                      </a:lnTo>
                      <a:lnTo>
                        <a:pt x="220" y="168"/>
                      </a:lnTo>
                      <a:lnTo>
                        <a:pt x="222" y="168"/>
                      </a:lnTo>
                      <a:lnTo>
                        <a:pt x="220" y="166"/>
                      </a:lnTo>
                      <a:lnTo>
                        <a:pt x="222" y="166"/>
                      </a:lnTo>
                      <a:lnTo>
                        <a:pt x="222" y="164"/>
                      </a:lnTo>
                      <a:lnTo>
                        <a:pt x="223" y="164"/>
                      </a:lnTo>
                      <a:lnTo>
                        <a:pt x="223" y="163"/>
                      </a:lnTo>
                      <a:lnTo>
                        <a:pt x="222" y="161"/>
                      </a:lnTo>
                      <a:lnTo>
                        <a:pt x="222" y="159"/>
                      </a:lnTo>
                      <a:lnTo>
                        <a:pt x="223" y="159"/>
                      </a:lnTo>
                      <a:lnTo>
                        <a:pt x="225" y="161"/>
                      </a:lnTo>
                      <a:lnTo>
                        <a:pt x="227" y="161"/>
                      </a:lnTo>
                      <a:lnTo>
                        <a:pt x="228" y="159"/>
                      </a:lnTo>
                      <a:lnTo>
                        <a:pt x="230" y="158"/>
                      </a:lnTo>
                      <a:lnTo>
                        <a:pt x="230" y="156"/>
                      </a:lnTo>
                      <a:lnTo>
                        <a:pt x="230" y="155"/>
                      </a:lnTo>
                      <a:lnTo>
                        <a:pt x="228" y="153"/>
                      </a:lnTo>
                      <a:lnTo>
                        <a:pt x="228" y="151"/>
                      </a:lnTo>
                      <a:lnTo>
                        <a:pt x="228" y="150"/>
                      </a:lnTo>
                      <a:lnTo>
                        <a:pt x="228" y="148"/>
                      </a:lnTo>
                      <a:lnTo>
                        <a:pt x="227" y="148"/>
                      </a:lnTo>
                      <a:lnTo>
                        <a:pt x="227" y="146"/>
                      </a:lnTo>
                      <a:lnTo>
                        <a:pt x="227" y="145"/>
                      </a:lnTo>
                      <a:lnTo>
                        <a:pt x="228" y="145"/>
                      </a:lnTo>
                      <a:lnTo>
                        <a:pt x="228" y="143"/>
                      </a:lnTo>
                      <a:lnTo>
                        <a:pt x="230" y="141"/>
                      </a:lnTo>
                      <a:lnTo>
                        <a:pt x="228" y="140"/>
                      </a:lnTo>
                      <a:lnTo>
                        <a:pt x="230" y="138"/>
                      </a:lnTo>
                      <a:lnTo>
                        <a:pt x="230" y="136"/>
                      </a:lnTo>
                      <a:lnTo>
                        <a:pt x="228" y="135"/>
                      </a:lnTo>
                      <a:lnTo>
                        <a:pt x="228" y="133"/>
                      </a:lnTo>
                      <a:lnTo>
                        <a:pt x="228" y="132"/>
                      </a:lnTo>
                      <a:lnTo>
                        <a:pt x="228" y="130"/>
                      </a:lnTo>
                      <a:lnTo>
                        <a:pt x="228" y="128"/>
                      </a:lnTo>
                      <a:lnTo>
                        <a:pt x="228" y="127"/>
                      </a:lnTo>
                      <a:lnTo>
                        <a:pt x="227" y="127"/>
                      </a:lnTo>
                      <a:lnTo>
                        <a:pt x="227" y="125"/>
                      </a:lnTo>
                      <a:lnTo>
                        <a:pt x="227" y="123"/>
                      </a:lnTo>
                      <a:lnTo>
                        <a:pt x="228" y="123"/>
                      </a:lnTo>
                      <a:lnTo>
                        <a:pt x="230" y="122"/>
                      </a:lnTo>
                      <a:lnTo>
                        <a:pt x="232" y="122"/>
                      </a:lnTo>
                      <a:lnTo>
                        <a:pt x="234" y="120"/>
                      </a:lnTo>
                      <a:lnTo>
                        <a:pt x="234" y="118"/>
                      </a:lnTo>
                      <a:lnTo>
                        <a:pt x="235" y="117"/>
                      </a:lnTo>
                      <a:lnTo>
                        <a:pt x="235" y="113"/>
                      </a:lnTo>
                      <a:lnTo>
                        <a:pt x="237" y="112"/>
                      </a:lnTo>
                      <a:lnTo>
                        <a:pt x="237" y="110"/>
                      </a:lnTo>
                      <a:lnTo>
                        <a:pt x="237" y="109"/>
                      </a:lnTo>
                      <a:lnTo>
                        <a:pt x="237" y="107"/>
                      </a:lnTo>
                      <a:lnTo>
                        <a:pt x="237" y="105"/>
                      </a:lnTo>
                      <a:lnTo>
                        <a:pt x="239" y="104"/>
                      </a:lnTo>
                      <a:lnTo>
                        <a:pt x="240" y="104"/>
                      </a:lnTo>
                      <a:lnTo>
                        <a:pt x="240" y="102"/>
                      </a:lnTo>
                      <a:lnTo>
                        <a:pt x="242" y="102"/>
                      </a:lnTo>
                      <a:lnTo>
                        <a:pt x="242" y="100"/>
                      </a:lnTo>
                      <a:lnTo>
                        <a:pt x="244" y="100"/>
                      </a:lnTo>
                      <a:lnTo>
                        <a:pt x="244" y="99"/>
                      </a:lnTo>
                      <a:lnTo>
                        <a:pt x="244" y="97"/>
                      </a:lnTo>
                      <a:lnTo>
                        <a:pt x="245" y="97"/>
                      </a:lnTo>
                      <a:lnTo>
                        <a:pt x="247" y="97"/>
                      </a:lnTo>
                      <a:lnTo>
                        <a:pt x="247" y="95"/>
                      </a:lnTo>
                      <a:lnTo>
                        <a:pt x="245" y="94"/>
                      </a:lnTo>
                      <a:lnTo>
                        <a:pt x="245" y="92"/>
                      </a:lnTo>
                      <a:lnTo>
                        <a:pt x="247" y="90"/>
                      </a:lnTo>
                      <a:lnTo>
                        <a:pt x="249" y="89"/>
                      </a:lnTo>
                      <a:lnTo>
                        <a:pt x="250" y="87"/>
                      </a:lnTo>
                      <a:lnTo>
                        <a:pt x="250" y="86"/>
                      </a:lnTo>
                      <a:lnTo>
                        <a:pt x="252" y="86"/>
                      </a:lnTo>
                      <a:lnTo>
                        <a:pt x="252" y="84"/>
                      </a:lnTo>
                      <a:lnTo>
                        <a:pt x="252" y="82"/>
                      </a:lnTo>
                      <a:lnTo>
                        <a:pt x="252" y="81"/>
                      </a:lnTo>
                      <a:lnTo>
                        <a:pt x="254" y="81"/>
                      </a:lnTo>
                      <a:lnTo>
                        <a:pt x="254" y="79"/>
                      </a:lnTo>
                      <a:lnTo>
                        <a:pt x="254" y="77"/>
                      </a:lnTo>
                      <a:lnTo>
                        <a:pt x="254" y="76"/>
                      </a:lnTo>
                      <a:lnTo>
                        <a:pt x="252" y="76"/>
                      </a:lnTo>
                      <a:lnTo>
                        <a:pt x="252" y="74"/>
                      </a:lnTo>
                      <a:lnTo>
                        <a:pt x="252" y="72"/>
                      </a:lnTo>
                      <a:lnTo>
                        <a:pt x="252" y="71"/>
                      </a:lnTo>
                      <a:lnTo>
                        <a:pt x="252" y="69"/>
                      </a:lnTo>
                      <a:lnTo>
                        <a:pt x="254" y="67"/>
                      </a:lnTo>
                      <a:lnTo>
                        <a:pt x="252" y="66"/>
                      </a:lnTo>
                      <a:lnTo>
                        <a:pt x="252" y="64"/>
                      </a:lnTo>
                      <a:lnTo>
                        <a:pt x="252" y="63"/>
                      </a:lnTo>
                      <a:lnTo>
                        <a:pt x="250" y="63"/>
                      </a:lnTo>
                      <a:lnTo>
                        <a:pt x="252" y="63"/>
                      </a:lnTo>
                      <a:lnTo>
                        <a:pt x="252" y="61"/>
                      </a:lnTo>
                      <a:lnTo>
                        <a:pt x="254" y="61"/>
                      </a:lnTo>
                      <a:lnTo>
                        <a:pt x="255" y="61"/>
                      </a:lnTo>
                      <a:lnTo>
                        <a:pt x="255" y="59"/>
                      </a:lnTo>
                      <a:lnTo>
                        <a:pt x="254" y="59"/>
                      </a:lnTo>
                      <a:lnTo>
                        <a:pt x="254" y="58"/>
                      </a:lnTo>
                      <a:lnTo>
                        <a:pt x="254" y="56"/>
                      </a:lnTo>
                      <a:lnTo>
                        <a:pt x="255" y="56"/>
                      </a:lnTo>
                      <a:lnTo>
                        <a:pt x="255" y="58"/>
                      </a:lnTo>
                      <a:lnTo>
                        <a:pt x="257" y="58"/>
                      </a:lnTo>
                      <a:lnTo>
                        <a:pt x="257" y="56"/>
                      </a:lnTo>
                      <a:lnTo>
                        <a:pt x="257" y="54"/>
                      </a:lnTo>
                      <a:lnTo>
                        <a:pt x="259" y="54"/>
                      </a:lnTo>
                      <a:lnTo>
                        <a:pt x="259" y="51"/>
                      </a:lnTo>
                      <a:lnTo>
                        <a:pt x="261" y="49"/>
                      </a:lnTo>
                      <a:lnTo>
                        <a:pt x="261" y="48"/>
                      </a:lnTo>
                      <a:lnTo>
                        <a:pt x="261" y="46"/>
                      </a:lnTo>
                      <a:lnTo>
                        <a:pt x="262" y="46"/>
                      </a:lnTo>
                      <a:lnTo>
                        <a:pt x="262" y="44"/>
                      </a:lnTo>
                      <a:lnTo>
                        <a:pt x="261" y="44"/>
                      </a:lnTo>
                      <a:lnTo>
                        <a:pt x="261" y="43"/>
                      </a:lnTo>
                      <a:lnTo>
                        <a:pt x="262" y="43"/>
                      </a:lnTo>
                      <a:lnTo>
                        <a:pt x="262" y="41"/>
                      </a:lnTo>
                      <a:lnTo>
                        <a:pt x="262" y="40"/>
                      </a:lnTo>
                      <a:lnTo>
                        <a:pt x="264" y="40"/>
                      </a:lnTo>
                      <a:lnTo>
                        <a:pt x="262" y="38"/>
                      </a:lnTo>
                      <a:lnTo>
                        <a:pt x="262" y="36"/>
                      </a:lnTo>
                      <a:lnTo>
                        <a:pt x="264" y="36"/>
                      </a:lnTo>
                      <a:lnTo>
                        <a:pt x="264" y="35"/>
                      </a:lnTo>
                      <a:lnTo>
                        <a:pt x="266" y="35"/>
                      </a:lnTo>
                      <a:lnTo>
                        <a:pt x="264" y="33"/>
                      </a:lnTo>
                      <a:lnTo>
                        <a:pt x="264" y="35"/>
                      </a:lnTo>
                      <a:lnTo>
                        <a:pt x="264" y="33"/>
                      </a:lnTo>
                      <a:lnTo>
                        <a:pt x="266" y="33"/>
                      </a:lnTo>
                      <a:lnTo>
                        <a:pt x="266" y="31"/>
                      </a:lnTo>
                      <a:lnTo>
                        <a:pt x="264" y="30"/>
                      </a:lnTo>
                      <a:lnTo>
                        <a:pt x="266" y="30"/>
                      </a:lnTo>
                      <a:lnTo>
                        <a:pt x="266" y="28"/>
                      </a:lnTo>
                      <a:lnTo>
                        <a:pt x="267" y="28"/>
                      </a:lnTo>
                      <a:lnTo>
                        <a:pt x="269" y="28"/>
                      </a:lnTo>
                      <a:lnTo>
                        <a:pt x="267" y="28"/>
                      </a:lnTo>
                      <a:lnTo>
                        <a:pt x="267" y="26"/>
                      </a:lnTo>
                      <a:lnTo>
                        <a:pt x="269" y="26"/>
                      </a:lnTo>
                      <a:lnTo>
                        <a:pt x="267" y="26"/>
                      </a:lnTo>
                      <a:lnTo>
                        <a:pt x="267" y="25"/>
                      </a:lnTo>
                      <a:lnTo>
                        <a:pt x="269" y="25"/>
                      </a:lnTo>
                      <a:lnTo>
                        <a:pt x="267" y="25"/>
                      </a:lnTo>
                      <a:lnTo>
                        <a:pt x="269" y="23"/>
                      </a:lnTo>
                      <a:lnTo>
                        <a:pt x="269" y="25"/>
                      </a:lnTo>
                      <a:lnTo>
                        <a:pt x="271" y="25"/>
                      </a:lnTo>
                      <a:lnTo>
                        <a:pt x="269" y="23"/>
                      </a:lnTo>
                      <a:lnTo>
                        <a:pt x="269" y="22"/>
                      </a:lnTo>
                      <a:lnTo>
                        <a:pt x="271" y="22"/>
                      </a:lnTo>
                      <a:lnTo>
                        <a:pt x="272" y="22"/>
                      </a:lnTo>
                      <a:lnTo>
                        <a:pt x="272" y="20"/>
                      </a:lnTo>
                      <a:lnTo>
                        <a:pt x="271" y="20"/>
                      </a:lnTo>
                      <a:lnTo>
                        <a:pt x="272" y="18"/>
                      </a:lnTo>
                      <a:lnTo>
                        <a:pt x="274" y="18"/>
                      </a:lnTo>
                      <a:lnTo>
                        <a:pt x="274" y="17"/>
                      </a:lnTo>
                      <a:lnTo>
                        <a:pt x="274" y="15"/>
                      </a:lnTo>
                      <a:lnTo>
                        <a:pt x="276" y="15"/>
                      </a:lnTo>
                      <a:lnTo>
                        <a:pt x="274" y="15"/>
                      </a:lnTo>
                      <a:lnTo>
                        <a:pt x="276" y="15"/>
                      </a:lnTo>
                      <a:lnTo>
                        <a:pt x="276" y="13"/>
                      </a:lnTo>
                      <a:lnTo>
                        <a:pt x="277" y="13"/>
                      </a:lnTo>
                      <a:lnTo>
                        <a:pt x="277" y="12"/>
                      </a:lnTo>
                      <a:lnTo>
                        <a:pt x="279" y="12"/>
                      </a:lnTo>
                      <a:lnTo>
                        <a:pt x="279" y="13"/>
                      </a:lnTo>
                      <a:lnTo>
                        <a:pt x="279" y="12"/>
                      </a:lnTo>
                      <a:lnTo>
                        <a:pt x="279" y="10"/>
                      </a:lnTo>
                      <a:lnTo>
                        <a:pt x="281" y="10"/>
                      </a:lnTo>
                      <a:lnTo>
                        <a:pt x="283" y="10"/>
                      </a:lnTo>
                      <a:lnTo>
                        <a:pt x="283" y="8"/>
                      </a:lnTo>
                      <a:lnTo>
                        <a:pt x="284" y="8"/>
                      </a:lnTo>
                      <a:lnTo>
                        <a:pt x="286" y="7"/>
                      </a:lnTo>
                      <a:lnTo>
                        <a:pt x="288" y="7"/>
                      </a:lnTo>
                      <a:lnTo>
                        <a:pt x="288" y="5"/>
                      </a:lnTo>
                      <a:lnTo>
                        <a:pt x="289" y="7"/>
                      </a:lnTo>
                      <a:lnTo>
                        <a:pt x="289" y="5"/>
                      </a:lnTo>
                      <a:lnTo>
                        <a:pt x="291" y="5"/>
                      </a:lnTo>
                      <a:lnTo>
                        <a:pt x="293" y="3"/>
                      </a:lnTo>
                      <a:lnTo>
                        <a:pt x="291" y="3"/>
                      </a:lnTo>
                      <a:lnTo>
                        <a:pt x="291" y="2"/>
                      </a:lnTo>
                      <a:lnTo>
                        <a:pt x="291" y="3"/>
                      </a:lnTo>
                      <a:lnTo>
                        <a:pt x="293" y="3"/>
                      </a:lnTo>
                      <a:lnTo>
                        <a:pt x="293" y="2"/>
                      </a:lnTo>
                      <a:lnTo>
                        <a:pt x="294" y="2"/>
                      </a:lnTo>
                      <a:lnTo>
                        <a:pt x="296" y="0"/>
                      </a:lnTo>
                      <a:lnTo>
                        <a:pt x="294" y="2"/>
                      </a:lnTo>
                      <a:lnTo>
                        <a:pt x="294" y="3"/>
                      </a:lnTo>
                      <a:lnTo>
                        <a:pt x="294" y="5"/>
                      </a:lnTo>
                      <a:lnTo>
                        <a:pt x="293" y="5"/>
                      </a:lnTo>
                      <a:lnTo>
                        <a:pt x="293" y="7"/>
                      </a:lnTo>
                      <a:lnTo>
                        <a:pt x="291" y="7"/>
                      </a:lnTo>
                      <a:lnTo>
                        <a:pt x="289" y="7"/>
                      </a:lnTo>
                      <a:lnTo>
                        <a:pt x="289" y="8"/>
                      </a:lnTo>
                      <a:lnTo>
                        <a:pt x="289" y="10"/>
                      </a:lnTo>
                      <a:lnTo>
                        <a:pt x="289" y="12"/>
                      </a:lnTo>
                      <a:lnTo>
                        <a:pt x="288" y="12"/>
                      </a:lnTo>
                      <a:lnTo>
                        <a:pt x="288" y="13"/>
                      </a:lnTo>
                      <a:lnTo>
                        <a:pt x="288" y="15"/>
                      </a:lnTo>
                      <a:lnTo>
                        <a:pt x="289" y="15"/>
                      </a:lnTo>
                      <a:lnTo>
                        <a:pt x="289" y="17"/>
                      </a:lnTo>
                      <a:lnTo>
                        <a:pt x="289" y="15"/>
                      </a:lnTo>
                      <a:lnTo>
                        <a:pt x="291" y="15"/>
                      </a:lnTo>
                      <a:lnTo>
                        <a:pt x="291" y="17"/>
                      </a:lnTo>
                      <a:lnTo>
                        <a:pt x="289" y="17"/>
                      </a:lnTo>
                      <a:lnTo>
                        <a:pt x="289" y="18"/>
                      </a:lnTo>
                      <a:lnTo>
                        <a:pt x="288" y="18"/>
                      </a:lnTo>
                      <a:lnTo>
                        <a:pt x="286" y="18"/>
                      </a:lnTo>
                      <a:lnTo>
                        <a:pt x="286" y="20"/>
                      </a:lnTo>
                      <a:lnTo>
                        <a:pt x="286" y="22"/>
                      </a:lnTo>
                      <a:lnTo>
                        <a:pt x="288" y="22"/>
                      </a:lnTo>
                      <a:lnTo>
                        <a:pt x="286" y="22"/>
                      </a:lnTo>
                      <a:lnTo>
                        <a:pt x="286" y="23"/>
                      </a:lnTo>
                      <a:lnTo>
                        <a:pt x="286" y="22"/>
                      </a:lnTo>
                      <a:lnTo>
                        <a:pt x="284" y="22"/>
                      </a:lnTo>
                      <a:lnTo>
                        <a:pt x="284" y="23"/>
                      </a:lnTo>
                      <a:lnTo>
                        <a:pt x="284" y="25"/>
                      </a:lnTo>
                      <a:lnTo>
                        <a:pt x="284" y="26"/>
                      </a:lnTo>
                      <a:lnTo>
                        <a:pt x="284" y="28"/>
                      </a:lnTo>
                      <a:lnTo>
                        <a:pt x="283" y="28"/>
                      </a:lnTo>
                      <a:lnTo>
                        <a:pt x="283" y="26"/>
                      </a:lnTo>
                      <a:lnTo>
                        <a:pt x="283" y="28"/>
                      </a:lnTo>
                      <a:lnTo>
                        <a:pt x="281" y="28"/>
                      </a:lnTo>
                      <a:lnTo>
                        <a:pt x="281" y="26"/>
                      </a:lnTo>
                      <a:lnTo>
                        <a:pt x="281" y="28"/>
                      </a:lnTo>
                      <a:lnTo>
                        <a:pt x="281" y="30"/>
                      </a:lnTo>
                      <a:lnTo>
                        <a:pt x="283" y="30"/>
                      </a:lnTo>
                      <a:lnTo>
                        <a:pt x="283" y="31"/>
                      </a:lnTo>
                      <a:lnTo>
                        <a:pt x="283" y="33"/>
                      </a:lnTo>
                      <a:lnTo>
                        <a:pt x="281" y="33"/>
                      </a:lnTo>
                      <a:lnTo>
                        <a:pt x="281" y="35"/>
                      </a:lnTo>
                      <a:lnTo>
                        <a:pt x="281" y="36"/>
                      </a:lnTo>
                      <a:lnTo>
                        <a:pt x="279" y="38"/>
                      </a:lnTo>
                      <a:lnTo>
                        <a:pt x="281" y="38"/>
                      </a:lnTo>
                      <a:lnTo>
                        <a:pt x="281" y="40"/>
                      </a:lnTo>
                      <a:lnTo>
                        <a:pt x="281" y="41"/>
                      </a:lnTo>
                      <a:lnTo>
                        <a:pt x="283" y="41"/>
                      </a:lnTo>
                      <a:lnTo>
                        <a:pt x="283" y="43"/>
                      </a:lnTo>
                      <a:lnTo>
                        <a:pt x="283" y="41"/>
                      </a:lnTo>
                      <a:lnTo>
                        <a:pt x="283" y="43"/>
                      </a:lnTo>
                      <a:lnTo>
                        <a:pt x="284" y="41"/>
                      </a:lnTo>
                      <a:lnTo>
                        <a:pt x="284" y="43"/>
                      </a:lnTo>
                      <a:lnTo>
                        <a:pt x="286" y="43"/>
                      </a:lnTo>
                      <a:lnTo>
                        <a:pt x="288" y="43"/>
                      </a:lnTo>
                      <a:lnTo>
                        <a:pt x="288" y="44"/>
                      </a:lnTo>
                      <a:lnTo>
                        <a:pt x="289" y="44"/>
                      </a:lnTo>
                      <a:lnTo>
                        <a:pt x="289" y="46"/>
                      </a:lnTo>
                      <a:lnTo>
                        <a:pt x="289" y="44"/>
                      </a:lnTo>
                      <a:lnTo>
                        <a:pt x="289" y="46"/>
                      </a:lnTo>
                      <a:lnTo>
                        <a:pt x="291" y="46"/>
                      </a:lnTo>
                      <a:lnTo>
                        <a:pt x="293" y="48"/>
                      </a:lnTo>
                      <a:lnTo>
                        <a:pt x="293" y="46"/>
                      </a:lnTo>
                      <a:lnTo>
                        <a:pt x="293" y="48"/>
                      </a:lnTo>
                      <a:lnTo>
                        <a:pt x="293" y="46"/>
                      </a:lnTo>
                      <a:lnTo>
                        <a:pt x="294" y="46"/>
                      </a:lnTo>
                      <a:lnTo>
                        <a:pt x="294" y="48"/>
                      </a:lnTo>
                      <a:lnTo>
                        <a:pt x="296" y="48"/>
                      </a:lnTo>
                      <a:lnTo>
                        <a:pt x="298" y="48"/>
                      </a:lnTo>
                      <a:lnTo>
                        <a:pt x="299" y="48"/>
                      </a:lnTo>
                      <a:lnTo>
                        <a:pt x="301" y="48"/>
                      </a:lnTo>
                      <a:lnTo>
                        <a:pt x="303" y="48"/>
                      </a:lnTo>
                      <a:lnTo>
                        <a:pt x="303" y="49"/>
                      </a:lnTo>
                      <a:lnTo>
                        <a:pt x="304" y="49"/>
                      </a:lnTo>
                      <a:lnTo>
                        <a:pt x="304" y="51"/>
                      </a:lnTo>
                      <a:lnTo>
                        <a:pt x="306" y="51"/>
                      </a:lnTo>
                      <a:lnTo>
                        <a:pt x="308" y="49"/>
                      </a:lnTo>
                      <a:lnTo>
                        <a:pt x="308" y="51"/>
                      </a:lnTo>
                      <a:lnTo>
                        <a:pt x="310" y="51"/>
                      </a:lnTo>
                      <a:lnTo>
                        <a:pt x="311" y="51"/>
                      </a:lnTo>
                      <a:lnTo>
                        <a:pt x="313" y="53"/>
                      </a:lnTo>
                      <a:lnTo>
                        <a:pt x="315" y="53"/>
                      </a:lnTo>
                      <a:lnTo>
                        <a:pt x="316" y="53"/>
                      </a:lnTo>
                      <a:lnTo>
                        <a:pt x="318" y="53"/>
                      </a:lnTo>
                      <a:lnTo>
                        <a:pt x="318" y="54"/>
                      </a:lnTo>
                      <a:lnTo>
                        <a:pt x="357" y="76"/>
                      </a:lnTo>
                      <a:lnTo>
                        <a:pt x="369" y="82"/>
                      </a:lnTo>
                      <a:lnTo>
                        <a:pt x="370" y="81"/>
                      </a:lnTo>
                      <a:lnTo>
                        <a:pt x="372" y="81"/>
                      </a:lnTo>
                      <a:lnTo>
                        <a:pt x="372" y="79"/>
                      </a:lnTo>
                      <a:lnTo>
                        <a:pt x="372" y="77"/>
                      </a:lnTo>
                      <a:lnTo>
                        <a:pt x="370" y="76"/>
                      </a:lnTo>
                      <a:lnTo>
                        <a:pt x="372" y="76"/>
                      </a:lnTo>
                      <a:lnTo>
                        <a:pt x="370" y="74"/>
                      </a:lnTo>
                      <a:lnTo>
                        <a:pt x="372" y="74"/>
                      </a:lnTo>
                      <a:lnTo>
                        <a:pt x="372" y="72"/>
                      </a:lnTo>
                      <a:lnTo>
                        <a:pt x="370" y="72"/>
                      </a:lnTo>
                      <a:lnTo>
                        <a:pt x="370" y="71"/>
                      </a:lnTo>
                      <a:lnTo>
                        <a:pt x="370" y="69"/>
                      </a:lnTo>
                      <a:lnTo>
                        <a:pt x="372" y="69"/>
                      </a:lnTo>
                      <a:lnTo>
                        <a:pt x="372" y="67"/>
                      </a:lnTo>
                      <a:lnTo>
                        <a:pt x="370" y="67"/>
                      </a:lnTo>
                      <a:lnTo>
                        <a:pt x="370" y="66"/>
                      </a:lnTo>
                      <a:lnTo>
                        <a:pt x="370" y="64"/>
                      </a:lnTo>
                      <a:lnTo>
                        <a:pt x="372" y="64"/>
                      </a:lnTo>
                      <a:lnTo>
                        <a:pt x="372" y="63"/>
                      </a:lnTo>
                      <a:lnTo>
                        <a:pt x="374" y="63"/>
                      </a:lnTo>
                      <a:lnTo>
                        <a:pt x="374" y="61"/>
                      </a:lnTo>
                      <a:lnTo>
                        <a:pt x="374" y="59"/>
                      </a:lnTo>
                      <a:lnTo>
                        <a:pt x="375" y="59"/>
                      </a:lnTo>
                      <a:lnTo>
                        <a:pt x="375" y="58"/>
                      </a:lnTo>
                      <a:lnTo>
                        <a:pt x="377" y="58"/>
                      </a:lnTo>
                      <a:lnTo>
                        <a:pt x="377" y="56"/>
                      </a:lnTo>
                      <a:lnTo>
                        <a:pt x="377" y="54"/>
                      </a:lnTo>
                      <a:lnTo>
                        <a:pt x="379" y="53"/>
                      </a:lnTo>
                      <a:lnTo>
                        <a:pt x="379" y="51"/>
                      </a:lnTo>
                      <a:lnTo>
                        <a:pt x="380" y="51"/>
                      </a:lnTo>
                      <a:lnTo>
                        <a:pt x="380" y="49"/>
                      </a:lnTo>
                      <a:lnTo>
                        <a:pt x="380" y="48"/>
                      </a:lnTo>
                      <a:lnTo>
                        <a:pt x="382" y="46"/>
                      </a:lnTo>
                      <a:lnTo>
                        <a:pt x="382" y="44"/>
                      </a:lnTo>
                      <a:lnTo>
                        <a:pt x="384" y="46"/>
                      </a:lnTo>
                      <a:lnTo>
                        <a:pt x="384" y="44"/>
                      </a:lnTo>
                      <a:lnTo>
                        <a:pt x="386" y="44"/>
                      </a:lnTo>
                      <a:lnTo>
                        <a:pt x="386" y="43"/>
                      </a:lnTo>
                      <a:lnTo>
                        <a:pt x="387" y="43"/>
                      </a:lnTo>
                      <a:lnTo>
                        <a:pt x="389" y="41"/>
                      </a:lnTo>
                      <a:lnTo>
                        <a:pt x="389" y="40"/>
                      </a:lnTo>
                      <a:lnTo>
                        <a:pt x="391" y="40"/>
                      </a:lnTo>
                      <a:lnTo>
                        <a:pt x="391" y="38"/>
                      </a:lnTo>
                      <a:lnTo>
                        <a:pt x="392" y="38"/>
                      </a:lnTo>
                      <a:lnTo>
                        <a:pt x="394" y="41"/>
                      </a:lnTo>
                      <a:lnTo>
                        <a:pt x="396" y="41"/>
                      </a:lnTo>
                      <a:lnTo>
                        <a:pt x="396" y="43"/>
                      </a:lnTo>
                      <a:lnTo>
                        <a:pt x="397" y="43"/>
                      </a:lnTo>
                      <a:lnTo>
                        <a:pt x="397" y="44"/>
                      </a:lnTo>
                      <a:lnTo>
                        <a:pt x="396" y="44"/>
                      </a:lnTo>
                      <a:lnTo>
                        <a:pt x="396" y="46"/>
                      </a:lnTo>
                      <a:lnTo>
                        <a:pt x="396" y="48"/>
                      </a:lnTo>
                      <a:lnTo>
                        <a:pt x="397" y="48"/>
                      </a:lnTo>
                      <a:lnTo>
                        <a:pt x="399" y="48"/>
                      </a:lnTo>
                      <a:lnTo>
                        <a:pt x="399" y="49"/>
                      </a:lnTo>
                      <a:lnTo>
                        <a:pt x="399" y="48"/>
                      </a:lnTo>
                      <a:lnTo>
                        <a:pt x="401" y="48"/>
                      </a:lnTo>
                      <a:lnTo>
                        <a:pt x="402" y="48"/>
                      </a:lnTo>
                      <a:lnTo>
                        <a:pt x="402" y="49"/>
                      </a:lnTo>
                      <a:lnTo>
                        <a:pt x="404" y="49"/>
                      </a:lnTo>
                      <a:lnTo>
                        <a:pt x="404" y="51"/>
                      </a:lnTo>
                      <a:lnTo>
                        <a:pt x="406" y="51"/>
                      </a:lnTo>
                      <a:lnTo>
                        <a:pt x="406" y="53"/>
                      </a:lnTo>
                      <a:lnTo>
                        <a:pt x="416" y="40"/>
                      </a:lnTo>
                      <a:lnTo>
                        <a:pt x="416" y="38"/>
                      </a:lnTo>
                      <a:lnTo>
                        <a:pt x="416" y="40"/>
                      </a:lnTo>
                      <a:lnTo>
                        <a:pt x="418" y="40"/>
                      </a:lnTo>
                      <a:lnTo>
                        <a:pt x="418" y="38"/>
                      </a:lnTo>
                      <a:lnTo>
                        <a:pt x="418" y="40"/>
                      </a:lnTo>
                      <a:lnTo>
                        <a:pt x="418" y="38"/>
                      </a:lnTo>
                      <a:lnTo>
                        <a:pt x="418" y="40"/>
                      </a:lnTo>
                      <a:lnTo>
                        <a:pt x="419" y="40"/>
                      </a:lnTo>
                      <a:lnTo>
                        <a:pt x="419" y="41"/>
                      </a:lnTo>
                      <a:lnTo>
                        <a:pt x="419" y="43"/>
                      </a:lnTo>
                      <a:lnTo>
                        <a:pt x="421" y="43"/>
                      </a:lnTo>
                      <a:lnTo>
                        <a:pt x="423" y="43"/>
                      </a:lnTo>
                      <a:lnTo>
                        <a:pt x="423" y="44"/>
                      </a:lnTo>
                      <a:lnTo>
                        <a:pt x="421" y="44"/>
                      </a:lnTo>
                      <a:lnTo>
                        <a:pt x="423" y="44"/>
                      </a:lnTo>
                      <a:lnTo>
                        <a:pt x="423" y="46"/>
                      </a:lnTo>
                      <a:lnTo>
                        <a:pt x="423" y="44"/>
                      </a:lnTo>
                      <a:lnTo>
                        <a:pt x="424" y="46"/>
                      </a:lnTo>
                      <a:lnTo>
                        <a:pt x="426" y="46"/>
                      </a:lnTo>
                      <a:lnTo>
                        <a:pt x="426" y="48"/>
                      </a:lnTo>
                      <a:lnTo>
                        <a:pt x="428" y="48"/>
                      </a:lnTo>
                      <a:lnTo>
                        <a:pt x="428" y="49"/>
                      </a:lnTo>
                      <a:lnTo>
                        <a:pt x="429" y="49"/>
                      </a:lnTo>
                      <a:lnTo>
                        <a:pt x="429" y="51"/>
                      </a:lnTo>
                      <a:lnTo>
                        <a:pt x="429" y="53"/>
                      </a:lnTo>
                      <a:lnTo>
                        <a:pt x="429" y="54"/>
                      </a:lnTo>
                      <a:lnTo>
                        <a:pt x="429" y="56"/>
                      </a:lnTo>
                      <a:lnTo>
                        <a:pt x="431" y="56"/>
                      </a:lnTo>
                      <a:lnTo>
                        <a:pt x="431" y="58"/>
                      </a:lnTo>
                      <a:lnTo>
                        <a:pt x="431" y="56"/>
                      </a:lnTo>
                      <a:lnTo>
                        <a:pt x="431" y="58"/>
                      </a:lnTo>
                      <a:lnTo>
                        <a:pt x="433" y="56"/>
                      </a:lnTo>
                      <a:lnTo>
                        <a:pt x="433" y="58"/>
                      </a:lnTo>
                      <a:lnTo>
                        <a:pt x="435" y="58"/>
                      </a:lnTo>
                      <a:lnTo>
                        <a:pt x="435" y="56"/>
                      </a:lnTo>
                      <a:lnTo>
                        <a:pt x="436" y="56"/>
                      </a:lnTo>
                      <a:lnTo>
                        <a:pt x="436" y="58"/>
                      </a:lnTo>
                      <a:lnTo>
                        <a:pt x="436" y="56"/>
                      </a:lnTo>
                      <a:lnTo>
                        <a:pt x="436" y="58"/>
                      </a:lnTo>
                      <a:lnTo>
                        <a:pt x="438" y="58"/>
                      </a:lnTo>
                      <a:lnTo>
                        <a:pt x="438" y="59"/>
                      </a:lnTo>
                      <a:lnTo>
                        <a:pt x="438" y="61"/>
                      </a:lnTo>
                      <a:lnTo>
                        <a:pt x="440" y="61"/>
                      </a:lnTo>
                      <a:lnTo>
                        <a:pt x="438" y="61"/>
                      </a:lnTo>
                      <a:lnTo>
                        <a:pt x="440" y="61"/>
                      </a:lnTo>
                      <a:lnTo>
                        <a:pt x="441" y="63"/>
                      </a:lnTo>
                      <a:lnTo>
                        <a:pt x="441" y="64"/>
                      </a:lnTo>
                      <a:lnTo>
                        <a:pt x="443" y="64"/>
                      </a:lnTo>
                      <a:lnTo>
                        <a:pt x="441" y="64"/>
                      </a:lnTo>
                      <a:lnTo>
                        <a:pt x="443" y="64"/>
                      </a:lnTo>
                      <a:lnTo>
                        <a:pt x="443" y="66"/>
                      </a:lnTo>
                      <a:lnTo>
                        <a:pt x="443" y="67"/>
                      </a:lnTo>
                      <a:lnTo>
                        <a:pt x="445" y="67"/>
                      </a:lnTo>
                      <a:lnTo>
                        <a:pt x="445" y="69"/>
                      </a:lnTo>
                      <a:lnTo>
                        <a:pt x="443" y="69"/>
                      </a:lnTo>
                      <a:lnTo>
                        <a:pt x="443" y="71"/>
                      </a:lnTo>
                      <a:lnTo>
                        <a:pt x="443" y="72"/>
                      </a:lnTo>
                      <a:lnTo>
                        <a:pt x="445" y="72"/>
                      </a:lnTo>
                      <a:lnTo>
                        <a:pt x="443" y="72"/>
                      </a:lnTo>
                      <a:lnTo>
                        <a:pt x="443" y="74"/>
                      </a:lnTo>
                      <a:lnTo>
                        <a:pt x="445" y="74"/>
                      </a:lnTo>
                      <a:lnTo>
                        <a:pt x="443" y="76"/>
                      </a:lnTo>
                      <a:lnTo>
                        <a:pt x="445" y="76"/>
                      </a:lnTo>
                      <a:lnTo>
                        <a:pt x="443" y="76"/>
                      </a:lnTo>
                      <a:lnTo>
                        <a:pt x="443" y="77"/>
                      </a:lnTo>
                      <a:lnTo>
                        <a:pt x="443" y="79"/>
                      </a:lnTo>
                      <a:lnTo>
                        <a:pt x="441" y="79"/>
                      </a:lnTo>
                      <a:lnTo>
                        <a:pt x="443" y="79"/>
                      </a:lnTo>
                      <a:lnTo>
                        <a:pt x="443" y="81"/>
                      </a:lnTo>
                      <a:lnTo>
                        <a:pt x="443" y="82"/>
                      </a:lnTo>
                      <a:lnTo>
                        <a:pt x="441" y="84"/>
                      </a:lnTo>
                      <a:lnTo>
                        <a:pt x="443" y="84"/>
                      </a:lnTo>
                      <a:lnTo>
                        <a:pt x="443" y="86"/>
                      </a:lnTo>
                      <a:lnTo>
                        <a:pt x="445" y="86"/>
                      </a:lnTo>
                      <a:lnTo>
                        <a:pt x="446" y="84"/>
                      </a:lnTo>
                      <a:lnTo>
                        <a:pt x="446" y="82"/>
                      </a:lnTo>
                      <a:lnTo>
                        <a:pt x="446" y="81"/>
                      </a:lnTo>
                      <a:lnTo>
                        <a:pt x="446" y="79"/>
                      </a:lnTo>
                      <a:lnTo>
                        <a:pt x="446" y="77"/>
                      </a:lnTo>
                      <a:lnTo>
                        <a:pt x="446" y="76"/>
                      </a:lnTo>
                      <a:lnTo>
                        <a:pt x="446" y="74"/>
                      </a:lnTo>
                      <a:lnTo>
                        <a:pt x="448" y="74"/>
                      </a:lnTo>
                      <a:lnTo>
                        <a:pt x="450" y="72"/>
                      </a:lnTo>
                      <a:lnTo>
                        <a:pt x="450" y="71"/>
                      </a:lnTo>
                      <a:lnTo>
                        <a:pt x="450" y="69"/>
                      </a:lnTo>
                      <a:lnTo>
                        <a:pt x="451" y="69"/>
                      </a:lnTo>
                      <a:lnTo>
                        <a:pt x="453" y="69"/>
                      </a:lnTo>
                      <a:lnTo>
                        <a:pt x="455" y="69"/>
                      </a:lnTo>
                      <a:lnTo>
                        <a:pt x="455" y="71"/>
                      </a:lnTo>
                      <a:lnTo>
                        <a:pt x="455" y="72"/>
                      </a:lnTo>
                      <a:lnTo>
                        <a:pt x="453" y="72"/>
                      </a:lnTo>
                      <a:lnTo>
                        <a:pt x="453" y="74"/>
                      </a:lnTo>
                      <a:lnTo>
                        <a:pt x="453" y="76"/>
                      </a:lnTo>
                      <a:lnTo>
                        <a:pt x="455" y="76"/>
                      </a:lnTo>
                      <a:lnTo>
                        <a:pt x="453" y="76"/>
                      </a:lnTo>
                      <a:lnTo>
                        <a:pt x="455" y="76"/>
                      </a:lnTo>
                      <a:lnTo>
                        <a:pt x="453" y="76"/>
                      </a:lnTo>
                      <a:lnTo>
                        <a:pt x="453" y="77"/>
                      </a:lnTo>
                      <a:lnTo>
                        <a:pt x="455" y="77"/>
                      </a:lnTo>
                      <a:lnTo>
                        <a:pt x="453" y="77"/>
                      </a:lnTo>
                      <a:lnTo>
                        <a:pt x="453" y="79"/>
                      </a:lnTo>
                      <a:lnTo>
                        <a:pt x="455" y="79"/>
                      </a:lnTo>
                      <a:lnTo>
                        <a:pt x="455" y="81"/>
                      </a:lnTo>
                      <a:lnTo>
                        <a:pt x="455" y="82"/>
                      </a:lnTo>
                      <a:lnTo>
                        <a:pt x="456" y="82"/>
                      </a:lnTo>
                      <a:lnTo>
                        <a:pt x="456" y="84"/>
                      </a:lnTo>
                      <a:lnTo>
                        <a:pt x="458" y="84"/>
                      </a:lnTo>
                      <a:lnTo>
                        <a:pt x="458" y="82"/>
                      </a:lnTo>
                      <a:lnTo>
                        <a:pt x="460" y="82"/>
                      </a:lnTo>
                      <a:lnTo>
                        <a:pt x="460" y="81"/>
                      </a:lnTo>
                      <a:lnTo>
                        <a:pt x="462" y="81"/>
                      </a:lnTo>
                      <a:lnTo>
                        <a:pt x="462" y="82"/>
                      </a:lnTo>
                      <a:lnTo>
                        <a:pt x="462" y="81"/>
                      </a:lnTo>
                      <a:lnTo>
                        <a:pt x="463" y="81"/>
                      </a:lnTo>
                      <a:lnTo>
                        <a:pt x="463" y="79"/>
                      </a:lnTo>
                      <a:lnTo>
                        <a:pt x="465" y="79"/>
                      </a:lnTo>
                      <a:lnTo>
                        <a:pt x="467" y="79"/>
                      </a:lnTo>
                      <a:lnTo>
                        <a:pt x="465" y="79"/>
                      </a:lnTo>
                      <a:lnTo>
                        <a:pt x="467" y="79"/>
                      </a:lnTo>
                      <a:lnTo>
                        <a:pt x="467" y="77"/>
                      </a:lnTo>
                      <a:lnTo>
                        <a:pt x="468" y="77"/>
                      </a:lnTo>
                      <a:lnTo>
                        <a:pt x="468" y="79"/>
                      </a:lnTo>
                      <a:lnTo>
                        <a:pt x="470" y="79"/>
                      </a:lnTo>
                      <a:lnTo>
                        <a:pt x="470" y="77"/>
                      </a:lnTo>
                      <a:lnTo>
                        <a:pt x="472" y="77"/>
                      </a:lnTo>
                      <a:lnTo>
                        <a:pt x="472" y="76"/>
                      </a:lnTo>
                      <a:lnTo>
                        <a:pt x="472" y="77"/>
                      </a:lnTo>
                      <a:lnTo>
                        <a:pt x="472" y="76"/>
                      </a:lnTo>
                      <a:lnTo>
                        <a:pt x="473" y="76"/>
                      </a:lnTo>
                      <a:lnTo>
                        <a:pt x="472" y="76"/>
                      </a:lnTo>
                      <a:lnTo>
                        <a:pt x="473" y="76"/>
                      </a:lnTo>
                      <a:lnTo>
                        <a:pt x="473" y="74"/>
                      </a:lnTo>
                      <a:lnTo>
                        <a:pt x="473" y="76"/>
                      </a:lnTo>
                      <a:lnTo>
                        <a:pt x="475" y="74"/>
                      </a:lnTo>
                      <a:lnTo>
                        <a:pt x="477" y="74"/>
                      </a:lnTo>
                      <a:lnTo>
                        <a:pt x="477" y="72"/>
                      </a:lnTo>
                      <a:lnTo>
                        <a:pt x="478" y="72"/>
                      </a:lnTo>
                      <a:lnTo>
                        <a:pt x="480" y="72"/>
                      </a:lnTo>
                      <a:lnTo>
                        <a:pt x="480" y="71"/>
                      </a:lnTo>
                      <a:lnTo>
                        <a:pt x="482" y="71"/>
                      </a:lnTo>
                      <a:lnTo>
                        <a:pt x="480" y="71"/>
                      </a:lnTo>
                      <a:lnTo>
                        <a:pt x="482" y="71"/>
                      </a:lnTo>
                      <a:lnTo>
                        <a:pt x="483" y="71"/>
                      </a:lnTo>
                      <a:lnTo>
                        <a:pt x="485" y="71"/>
                      </a:lnTo>
                      <a:lnTo>
                        <a:pt x="483" y="72"/>
                      </a:lnTo>
                      <a:lnTo>
                        <a:pt x="483" y="74"/>
                      </a:lnTo>
                      <a:lnTo>
                        <a:pt x="483" y="76"/>
                      </a:lnTo>
                      <a:lnTo>
                        <a:pt x="483" y="77"/>
                      </a:lnTo>
                      <a:lnTo>
                        <a:pt x="483" y="79"/>
                      </a:lnTo>
                      <a:lnTo>
                        <a:pt x="483" y="81"/>
                      </a:lnTo>
                      <a:lnTo>
                        <a:pt x="483" y="82"/>
                      </a:lnTo>
                      <a:lnTo>
                        <a:pt x="483" y="84"/>
                      </a:lnTo>
                      <a:lnTo>
                        <a:pt x="483" y="86"/>
                      </a:lnTo>
                      <a:lnTo>
                        <a:pt x="483" y="84"/>
                      </a:lnTo>
                      <a:lnTo>
                        <a:pt x="483" y="86"/>
                      </a:lnTo>
                      <a:lnTo>
                        <a:pt x="483" y="84"/>
                      </a:lnTo>
                      <a:lnTo>
                        <a:pt x="485" y="86"/>
                      </a:lnTo>
                      <a:lnTo>
                        <a:pt x="485" y="84"/>
                      </a:lnTo>
                      <a:lnTo>
                        <a:pt x="487" y="84"/>
                      </a:lnTo>
                      <a:lnTo>
                        <a:pt x="489" y="84"/>
                      </a:lnTo>
                      <a:lnTo>
                        <a:pt x="490" y="84"/>
                      </a:lnTo>
                      <a:lnTo>
                        <a:pt x="490" y="82"/>
                      </a:lnTo>
                      <a:lnTo>
                        <a:pt x="490" y="84"/>
                      </a:lnTo>
                      <a:lnTo>
                        <a:pt x="490" y="82"/>
                      </a:lnTo>
                      <a:lnTo>
                        <a:pt x="490" y="84"/>
                      </a:lnTo>
                      <a:lnTo>
                        <a:pt x="490" y="82"/>
                      </a:lnTo>
                      <a:lnTo>
                        <a:pt x="492" y="82"/>
                      </a:lnTo>
                      <a:lnTo>
                        <a:pt x="492" y="81"/>
                      </a:lnTo>
                      <a:lnTo>
                        <a:pt x="492" y="79"/>
                      </a:lnTo>
                      <a:lnTo>
                        <a:pt x="494" y="79"/>
                      </a:lnTo>
                      <a:lnTo>
                        <a:pt x="494" y="81"/>
                      </a:lnTo>
                      <a:lnTo>
                        <a:pt x="495" y="81"/>
                      </a:lnTo>
                      <a:lnTo>
                        <a:pt x="495" y="82"/>
                      </a:lnTo>
                      <a:lnTo>
                        <a:pt x="497" y="82"/>
                      </a:lnTo>
                      <a:lnTo>
                        <a:pt x="499" y="82"/>
                      </a:lnTo>
                      <a:lnTo>
                        <a:pt x="500" y="82"/>
                      </a:lnTo>
                      <a:lnTo>
                        <a:pt x="500" y="84"/>
                      </a:lnTo>
                      <a:lnTo>
                        <a:pt x="502" y="84"/>
                      </a:lnTo>
                      <a:lnTo>
                        <a:pt x="502" y="86"/>
                      </a:lnTo>
                      <a:lnTo>
                        <a:pt x="504" y="86"/>
                      </a:lnTo>
                      <a:lnTo>
                        <a:pt x="504" y="84"/>
                      </a:lnTo>
                      <a:lnTo>
                        <a:pt x="505" y="84"/>
                      </a:lnTo>
                      <a:lnTo>
                        <a:pt x="504" y="84"/>
                      </a:lnTo>
                      <a:lnTo>
                        <a:pt x="505" y="84"/>
                      </a:lnTo>
                      <a:lnTo>
                        <a:pt x="507" y="84"/>
                      </a:lnTo>
                      <a:lnTo>
                        <a:pt x="509" y="84"/>
                      </a:lnTo>
                      <a:lnTo>
                        <a:pt x="507" y="86"/>
                      </a:lnTo>
                      <a:lnTo>
                        <a:pt x="509" y="86"/>
                      </a:lnTo>
                      <a:lnTo>
                        <a:pt x="511" y="86"/>
                      </a:lnTo>
                      <a:lnTo>
                        <a:pt x="512" y="86"/>
                      </a:lnTo>
                      <a:lnTo>
                        <a:pt x="514" y="86"/>
                      </a:lnTo>
                      <a:lnTo>
                        <a:pt x="516" y="86"/>
                      </a:lnTo>
                      <a:lnTo>
                        <a:pt x="517" y="86"/>
                      </a:lnTo>
                      <a:lnTo>
                        <a:pt x="517" y="87"/>
                      </a:lnTo>
                      <a:lnTo>
                        <a:pt x="529" y="100"/>
                      </a:lnTo>
                      <a:lnTo>
                        <a:pt x="529" y="99"/>
                      </a:lnTo>
                      <a:lnTo>
                        <a:pt x="531" y="97"/>
                      </a:lnTo>
                      <a:lnTo>
                        <a:pt x="531" y="95"/>
                      </a:lnTo>
                      <a:lnTo>
                        <a:pt x="532" y="94"/>
                      </a:lnTo>
                      <a:lnTo>
                        <a:pt x="532" y="92"/>
                      </a:lnTo>
                      <a:lnTo>
                        <a:pt x="534" y="92"/>
                      </a:lnTo>
                      <a:lnTo>
                        <a:pt x="534" y="90"/>
                      </a:lnTo>
                      <a:lnTo>
                        <a:pt x="532" y="90"/>
                      </a:lnTo>
                      <a:lnTo>
                        <a:pt x="532" y="89"/>
                      </a:lnTo>
                      <a:lnTo>
                        <a:pt x="532" y="87"/>
                      </a:lnTo>
                      <a:lnTo>
                        <a:pt x="531" y="86"/>
                      </a:lnTo>
                      <a:lnTo>
                        <a:pt x="532" y="86"/>
                      </a:lnTo>
                      <a:lnTo>
                        <a:pt x="531" y="86"/>
                      </a:lnTo>
                      <a:lnTo>
                        <a:pt x="531" y="84"/>
                      </a:lnTo>
                      <a:lnTo>
                        <a:pt x="531" y="82"/>
                      </a:lnTo>
                      <a:lnTo>
                        <a:pt x="532" y="82"/>
                      </a:lnTo>
                      <a:lnTo>
                        <a:pt x="532" y="81"/>
                      </a:lnTo>
                      <a:lnTo>
                        <a:pt x="532" y="79"/>
                      </a:lnTo>
                      <a:lnTo>
                        <a:pt x="531" y="79"/>
                      </a:lnTo>
                      <a:lnTo>
                        <a:pt x="531" y="77"/>
                      </a:lnTo>
                      <a:lnTo>
                        <a:pt x="532" y="77"/>
                      </a:lnTo>
                      <a:lnTo>
                        <a:pt x="531" y="77"/>
                      </a:lnTo>
                      <a:lnTo>
                        <a:pt x="531" y="76"/>
                      </a:lnTo>
                      <a:lnTo>
                        <a:pt x="531" y="74"/>
                      </a:lnTo>
                      <a:lnTo>
                        <a:pt x="531" y="72"/>
                      </a:lnTo>
                      <a:lnTo>
                        <a:pt x="531" y="71"/>
                      </a:lnTo>
                      <a:lnTo>
                        <a:pt x="532" y="71"/>
                      </a:lnTo>
                      <a:lnTo>
                        <a:pt x="532" y="69"/>
                      </a:lnTo>
                      <a:lnTo>
                        <a:pt x="532" y="67"/>
                      </a:lnTo>
                      <a:lnTo>
                        <a:pt x="534" y="67"/>
                      </a:lnTo>
                      <a:lnTo>
                        <a:pt x="534" y="66"/>
                      </a:lnTo>
                      <a:lnTo>
                        <a:pt x="534" y="67"/>
                      </a:lnTo>
                      <a:lnTo>
                        <a:pt x="534" y="66"/>
                      </a:lnTo>
                      <a:lnTo>
                        <a:pt x="536" y="66"/>
                      </a:lnTo>
                      <a:lnTo>
                        <a:pt x="536" y="67"/>
                      </a:lnTo>
                      <a:lnTo>
                        <a:pt x="538" y="67"/>
                      </a:lnTo>
                      <a:lnTo>
                        <a:pt x="539" y="67"/>
                      </a:lnTo>
                      <a:lnTo>
                        <a:pt x="541" y="67"/>
                      </a:lnTo>
                      <a:lnTo>
                        <a:pt x="541" y="69"/>
                      </a:lnTo>
                      <a:lnTo>
                        <a:pt x="539" y="69"/>
                      </a:lnTo>
                      <a:lnTo>
                        <a:pt x="539" y="71"/>
                      </a:lnTo>
                      <a:lnTo>
                        <a:pt x="541" y="71"/>
                      </a:lnTo>
                      <a:lnTo>
                        <a:pt x="539" y="72"/>
                      </a:lnTo>
                      <a:lnTo>
                        <a:pt x="541" y="74"/>
                      </a:lnTo>
                      <a:lnTo>
                        <a:pt x="543" y="74"/>
                      </a:lnTo>
                      <a:lnTo>
                        <a:pt x="544" y="74"/>
                      </a:lnTo>
                      <a:lnTo>
                        <a:pt x="546" y="74"/>
                      </a:lnTo>
                      <a:lnTo>
                        <a:pt x="548" y="74"/>
                      </a:lnTo>
                      <a:lnTo>
                        <a:pt x="548" y="76"/>
                      </a:lnTo>
                      <a:lnTo>
                        <a:pt x="548" y="77"/>
                      </a:lnTo>
                      <a:lnTo>
                        <a:pt x="549" y="77"/>
                      </a:lnTo>
                      <a:lnTo>
                        <a:pt x="551" y="77"/>
                      </a:lnTo>
                      <a:lnTo>
                        <a:pt x="553" y="77"/>
                      </a:lnTo>
                      <a:lnTo>
                        <a:pt x="553" y="79"/>
                      </a:lnTo>
                      <a:lnTo>
                        <a:pt x="551" y="79"/>
                      </a:lnTo>
                      <a:lnTo>
                        <a:pt x="551" y="81"/>
                      </a:lnTo>
                      <a:lnTo>
                        <a:pt x="553" y="81"/>
                      </a:lnTo>
                      <a:lnTo>
                        <a:pt x="553" y="82"/>
                      </a:lnTo>
                      <a:lnTo>
                        <a:pt x="553" y="84"/>
                      </a:lnTo>
                      <a:lnTo>
                        <a:pt x="554" y="84"/>
                      </a:lnTo>
                      <a:lnTo>
                        <a:pt x="554" y="82"/>
                      </a:lnTo>
                      <a:lnTo>
                        <a:pt x="556" y="81"/>
                      </a:lnTo>
                      <a:lnTo>
                        <a:pt x="556" y="79"/>
                      </a:lnTo>
                      <a:lnTo>
                        <a:pt x="558" y="79"/>
                      </a:lnTo>
                      <a:lnTo>
                        <a:pt x="558" y="77"/>
                      </a:lnTo>
                      <a:lnTo>
                        <a:pt x="559" y="79"/>
                      </a:lnTo>
                      <a:lnTo>
                        <a:pt x="561" y="79"/>
                      </a:lnTo>
                      <a:lnTo>
                        <a:pt x="563" y="79"/>
                      </a:lnTo>
                      <a:lnTo>
                        <a:pt x="563" y="81"/>
                      </a:lnTo>
                      <a:lnTo>
                        <a:pt x="565" y="79"/>
                      </a:lnTo>
                      <a:lnTo>
                        <a:pt x="566" y="79"/>
                      </a:lnTo>
                      <a:lnTo>
                        <a:pt x="566" y="81"/>
                      </a:lnTo>
                      <a:lnTo>
                        <a:pt x="568" y="81"/>
                      </a:lnTo>
                      <a:lnTo>
                        <a:pt x="568" y="79"/>
                      </a:lnTo>
                      <a:lnTo>
                        <a:pt x="570" y="79"/>
                      </a:lnTo>
                      <a:lnTo>
                        <a:pt x="570" y="77"/>
                      </a:lnTo>
                      <a:lnTo>
                        <a:pt x="570" y="76"/>
                      </a:lnTo>
                      <a:lnTo>
                        <a:pt x="571" y="76"/>
                      </a:lnTo>
                      <a:lnTo>
                        <a:pt x="571" y="74"/>
                      </a:lnTo>
                      <a:lnTo>
                        <a:pt x="573" y="74"/>
                      </a:lnTo>
                      <a:lnTo>
                        <a:pt x="575" y="74"/>
                      </a:lnTo>
                      <a:lnTo>
                        <a:pt x="576" y="74"/>
                      </a:lnTo>
                      <a:lnTo>
                        <a:pt x="576" y="76"/>
                      </a:lnTo>
                      <a:lnTo>
                        <a:pt x="578" y="76"/>
                      </a:lnTo>
                      <a:lnTo>
                        <a:pt x="580" y="76"/>
                      </a:lnTo>
                      <a:lnTo>
                        <a:pt x="581" y="76"/>
                      </a:lnTo>
                      <a:lnTo>
                        <a:pt x="581" y="74"/>
                      </a:lnTo>
                      <a:lnTo>
                        <a:pt x="580" y="74"/>
                      </a:lnTo>
                      <a:lnTo>
                        <a:pt x="581" y="72"/>
                      </a:lnTo>
                      <a:lnTo>
                        <a:pt x="583" y="72"/>
                      </a:lnTo>
                      <a:lnTo>
                        <a:pt x="583" y="74"/>
                      </a:lnTo>
                      <a:lnTo>
                        <a:pt x="583" y="72"/>
                      </a:lnTo>
                      <a:lnTo>
                        <a:pt x="585" y="72"/>
                      </a:lnTo>
                      <a:lnTo>
                        <a:pt x="585" y="74"/>
                      </a:lnTo>
                      <a:lnTo>
                        <a:pt x="585" y="72"/>
                      </a:lnTo>
                      <a:lnTo>
                        <a:pt x="587" y="72"/>
                      </a:lnTo>
                      <a:lnTo>
                        <a:pt x="585" y="72"/>
                      </a:lnTo>
                      <a:lnTo>
                        <a:pt x="587" y="72"/>
                      </a:lnTo>
                      <a:lnTo>
                        <a:pt x="587" y="71"/>
                      </a:lnTo>
                      <a:lnTo>
                        <a:pt x="588" y="71"/>
                      </a:lnTo>
                      <a:lnTo>
                        <a:pt x="590" y="71"/>
                      </a:lnTo>
                      <a:lnTo>
                        <a:pt x="592" y="71"/>
                      </a:lnTo>
                      <a:lnTo>
                        <a:pt x="592" y="69"/>
                      </a:lnTo>
                      <a:lnTo>
                        <a:pt x="592" y="71"/>
                      </a:lnTo>
                      <a:lnTo>
                        <a:pt x="592" y="69"/>
                      </a:lnTo>
                      <a:lnTo>
                        <a:pt x="593" y="69"/>
                      </a:lnTo>
                      <a:lnTo>
                        <a:pt x="593" y="67"/>
                      </a:lnTo>
                      <a:lnTo>
                        <a:pt x="595" y="67"/>
                      </a:lnTo>
                      <a:lnTo>
                        <a:pt x="595" y="69"/>
                      </a:lnTo>
                      <a:lnTo>
                        <a:pt x="597" y="67"/>
                      </a:lnTo>
                      <a:lnTo>
                        <a:pt x="595" y="67"/>
                      </a:lnTo>
                      <a:lnTo>
                        <a:pt x="597" y="67"/>
                      </a:lnTo>
                      <a:lnTo>
                        <a:pt x="598" y="67"/>
                      </a:lnTo>
                      <a:lnTo>
                        <a:pt x="598" y="66"/>
                      </a:lnTo>
                      <a:lnTo>
                        <a:pt x="600" y="66"/>
                      </a:lnTo>
                      <a:lnTo>
                        <a:pt x="600" y="64"/>
                      </a:lnTo>
                      <a:lnTo>
                        <a:pt x="602" y="64"/>
                      </a:lnTo>
                      <a:lnTo>
                        <a:pt x="602" y="63"/>
                      </a:lnTo>
                      <a:lnTo>
                        <a:pt x="603" y="63"/>
                      </a:lnTo>
                      <a:lnTo>
                        <a:pt x="603" y="61"/>
                      </a:lnTo>
                      <a:lnTo>
                        <a:pt x="605" y="61"/>
                      </a:lnTo>
                      <a:lnTo>
                        <a:pt x="605" y="63"/>
                      </a:lnTo>
                      <a:lnTo>
                        <a:pt x="607" y="63"/>
                      </a:lnTo>
                      <a:lnTo>
                        <a:pt x="605" y="63"/>
                      </a:lnTo>
                      <a:lnTo>
                        <a:pt x="607" y="63"/>
                      </a:lnTo>
                      <a:lnTo>
                        <a:pt x="608" y="61"/>
                      </a:lnTo>
                      <a:lnTo>
                        <a:pt x="608" y="59"/>
                      </a:lnTo>
                      <a:lnTo>
                        <a:pt x="610" y="59"/>
                      </a:lnTo>
                      <a:lnTo>
                        <a:pt x="610" y="58"/>
                      </a:lnTo>
                      <a:lnTo>
                        <a:pt x="612" y="56"/>
                      </a:lnTo>
                      <a:lnTo>
                        <a:pt x="630" y="51"/>
                      </a:lnTo>
                      <a:lnTo>
                        <a:pt x="632" y="53"/>
                      </a:lnTo>
                      <a:lnTo>
                        <a:pt x="644" y="53"/>
                      </a:lnTo>
                      <a:lnTo>
                        <a:pt x="646" y="49"/>
                      </a:lnTo>
                      <a:lnTo>
                        <a:pt x="649" y="40"/>
                      </a:lnTo>
                      <a:lnTo>
                        <a:pt x="649" y="41"/>
                      </a:lnTo>
                      <a:lnTo>
                        <a:pt x="651" y="41"/>
                      </a:lnTo>
                      <a:lnTo>
                        <a:pt x="649" y="43"/>
                      </a:lnTo>
                      <a:lnTo>
                        <a:pt x="651" y="43"/>
                      </a:lnTo>
                      <a:lnTo>
                        <a:pt x="652" y="43"/>
                      </a:lnTo>
                      <a:lnTo>
                        <a:pt x="652" y="44"/>
                      </a:lnTo>
                      <a:lnTo>
                        <a:pt x="654" y="44"/>
                      </a:lnTo>
                      <a:lnTo>
                        <a:pt x="654" y="46"/>
                      </a:lnTo>
                      <a:lnTo>
                        <a:pt x="654" y="48"/>
                      </a:lnTo>
                      <a:lnTo>
                        <a:pt x="654" y="49"/>
                      </a:lnTo>
                      <a:lnTo>
                        <a:pt x="654" y="51"/>
                      </a:lnTo>
                      <a:lnTo>
                        <a:pt x="652" y="51"/>
                      </a:lnTo>
                      <a:lnTo>
                        <a:pt x="654" y="53"/>
                      </a:lnTo>
                      <a:lnTo>
                        <a:pt x="652" y="53"/>
                      </a:lnTo>
                      <a:lnTo>
                        <a:pt x="654" y="54"/>
                      </a:lnTo>
                      <a:lnTo>
                        <a:pt x="652" y="54"/>
                      </a:lnTo>
                      <a:lnTo>
                        <a:pt x="654" y="54"/>
                      </a:lnTo>
                      <a:lnTo>
                        <a:pt x="652" y="56"/>
                      </a:lnTo>
                      <a:lnTo>
                        <a:pt x="654" y="56"/>
                      </a:lnTo>
                      <a:lnTo>
                        <a:pt x="656" y="56"/>
                      </a:lnTo>
                      <a:lnTo>
                        <a:pt x="656" y="54"/>
                      </a:lnTo>
                      <a:lnTo>
                        <a:pt x="657" y="54"/>
                      </a:lnTo>
                      <a:lnTo>
                        <a:pt x="659" y="54"/>
                      </a:lnTo>
                      <a:lnTo>
                        <a:pt x="661" y="54"/>
                      </a:lnTo>
                      <a:lnTo>
                        <a:pt x="663" y="54"/>
                      </a:lnTo>
                      <a:lnTo>
                        <a:pt x="664" y="53"/>
                      </a:lnTo>
                      <a:lnTo>
                        <a:pt x="666" y="53"/>
                      </a:lnTo>
                      <a:lnTo>
                        <a:pt x="668" y="53"/>
                      </a:lnTo>
                      <a:lnTo>
                        <a:pt x="669" y="53"/>
                      </a:lnTo>
                      <a:lnTo>
                        <a:pt x="671" y="53"/>
                      </a:lnTo>
                      <a:lnTo>
                        <a:pt x="671" y="51"/>
                      </a:lnTo>
                      <a:lnTo>
                        <a:pt x="673" y="51"/>
                      </a:lnTo>
                      <a:lnTo>
                        <a:pt x="674" y="51"/>
                      </a:lnTo>
                      <a:lnTo>
                        <a:pt x="676" y="51"/>
                      </a:lnTo>
                      <a:lnTo>
                        <a:pt x="676" y="49"/>
                      </a:lnTo>
                      <a:lnTo>
                        <a:pt x="678" y="49"/>
                      </a:lnTo>
                      <a:lnTo>
                        <a:pt x="678" y="51"/>
                      </a:lnTo>
                      <a:lnTo>
                        <a:pt x="676" y="53"/>
                      </a:lnTo>
                      <a:lnTo>
                        <a:pt x="678" y="53"/>
                      </a:lnTo>
                      <a:lnTo>
                        <a:pt x="676" y="53"/>
                      </a:lnTo>
                      <a:lnTo>
                        <a:pt x="674" y="54"/>
                      </a:lnTo>
                      <a:lnTo>
                        <a:pt x="673" y="54"/>
                      </a:lnTo>
                      <a:lnTo>
                        <a:pt x="671" y="56"/>
                      </a:lnTo>
                      <a:lnTo>
                        <a:pt x="669" y="56"/>
                      </a:lnTo>
                      <a:lnTo>
                        <a:pt x="668" y="58"/>
                      </a:lnTo>
                      <a:lnTo>
                        <a:pt x="668" y="56"/>
                      </a:lnTo>
                      <a:lnTo>
                        <a:pt x="666" y="56"/>
                      </a:lnTo>
                      <a:lnTo>
                        <a:pt x="664" y="56"/>
                      </a:lnTo>
                      <a:lnTo>
                        <a:pt x="664" y="58"/>
                      </a:lnTo>
                      <a:lnTo>
                        <a:pt x="663" y="58"/>
                      </a:lnTo>
                      <a:lnTo>
                        <a:pt x="663" y="59"/>
                      </a:lnTo>
                      <a:lnTo>
                        <a:pt x="663" y="61"/>
                      </a:lnTo>
                      <a:lnTo>
                        <a:pt x="661" y="61"/>
                      </a:lnTo>
                      <a:lnTo>
                        <a:pt x="661" y="63"/>
                      </a:lnTo>
                      <a:lnTo>
                        <a:pt x="659" y="64"/>
                      </a:lnTo>
                      <a:lnTo>
                        <a:pt x="659" y="66"/>
                      </a:lnTo>
                      <a:lnTo>
                        <a:pt x="657" y="66"/>
                      </a:lnTo>
                      <a:lnTo>
                        <a:pt x="659" y="66"/>
                      </a:lnTo>
                      <a:lnTo>
                        <a:pt x="659" y="67"/>
                      </a:lnTo>
                      <a:lnTo>
                        <a:pt x="661" y="67"/>
                      </a:lnTo>
                      <a:lnTo>
                        <a:pt x="661" y="69"/>
                      </a:lnTo>
                      <a:lnTo>
                        <a:pt x="661" y="71"/>
                      </a:lnTo>
                      <a:lnTo>
                        <a:pt x="659" y="71"/>
                      </a:lnTo>
                      <a:lnTo>
                        <a:pt x="659" y="72"/>
                      </a:lnTo>
                      <a:lnTo>
                        <a:pt x="659" y="74"/>
                      </a:lnTo>
                      <a:lnTo>
                        <a:pt x="659" y="76"/>
                      </a:lnTo>
                      <a:lnTo>
                        <a:pt x="659" y="77"/>
                      </a:lnTo>
                      <a:lnTo>
                        <a:pt x="657" y="77"/>
                      </a:lnTo>
                      <a:lnTo>
                        <a:pt x="657" y="79"/>
                      </a:lnTo>
                      <a:lnTo>
                        <a:pt x="657" y="81"/>
                      </a:lnTo>
                      <a:lnTo>
                        <a:pt x="659" y="81"/>
                      </a:lnTo>
                      <a:lnTo>
                        <a:pt x="661" y="81"/>
                      </a:lnTo>
                      <a:lnTo>
                        <a:pt x="659" y="81"/>
                      </a:lnTo>
                      <a:lnTo>
                        <a:pt x="661" y="82"/>
                      </a:lnTo>
                      <a:lnTo>
                        <a:pt x="659" y="84"/>
                      </a:lnTo>
                      <a:lnTo>
                        <a:pt x="659" y="86"/>
                      </a:lnTo>
                      <a:lnTo>
                        <a:pt x="661" y="86"/>
                      </a:lnTo>
                      <a:lnTo>
                        <a:pt x="661" y="87"/>
                      </a:lnTo>
                      <a:lnTo>
                        <a:pt x="663" y="87"/>
                      </a:lnTo>
                      <a:lnTo>
                        <a:pt x="663" y="89"/>
                      </a:lnTo>
                      <a:lnTo>
                        <a:pt x="664" y="89"/>
                      </a:lnTo>
                      <a:lnTo>
                        <a:pt x="666" y="87"/>
                      </a:lnTo>
                      <a:lnTo>
                        <a:pt x="668" y="86"/>
                      </a:lnTo>
                      <a:lnTo>
                        <a:pt x="669" y="86"/>
                      </a:lnTo>
                      <a:lnTo>
                        <a:pt x="671" y="86"/>
                      </a:lnTo>
                      <a:lnTo>
                        <a:pt x="673" y="86"/>
                      </a:lnTo>
                      <a:lnTo>
                        <a:pt x="674" y="84"/>
                      </a:lnTo>
                      <a:lnTo>
                        <a:pt x="676" y="84"/>
                      </a:lnTo>
                      <a:lnTo>
                        <a:pt x="676" y="82"/>
                      </a:lnTo>
                      <a:lnTo>
                        <a:pt x="678" y="82"/>
                      </a:lnTo>
                      <a:lnTo>
                        <a:pt x="679" y="82"/>
                      </a:lnTo>
                      <a:lnTo>
                        <a:pt x="681" y="82"/>
                      </a:lnTo>
                      <a:lnTo>
                        <a:pt x="681" y="81"/>
                      </a:lnTo>
                      <a:lnTo>
                        <a:pt x="683" y="81"/>
                      </a:lnTo>
                      <a:lnTo>
                        <a:pt x="684" y="82"/>
                      </a:lnTo>
                      <a:lnTo>
                        <a:pt x="684" y="84"/>
                      </a:lnTo>
                      <a:lnTo>
                        <a:pt x="684" y="86"/>
                      </a:lnTo>
                      <a:lnTo>
                        <a:pt x="683" y="86"/>
                      </a:lnTo>
                      <a:lnTo>
                        <a:pt x="681" y="87"/>
                      </a:lnTo>
                      <a:lnTo>
                        <a:pt x="679" y="87"/>
                      </a:lnTo>
                      <a:lnTo>
                        <a:pt x="679" y="89"/>
                      </a:lnTo>
                      <a:lnTo>
                        <a:pt x="678" y="90"/>
                      </a:lnTo>
                      <a:lnTo>
                        <a:pt x="676" y="90"/>
                      </a:lnTo>
                      <a:lnTo>
                        <a:pt x="676" y="92"/>
                      </a:lnTo>
                      <a:lnTo>
                        <a:pt x="674" y="92"/>
                      </a:lnTo>
                      <a:lnTo>
                        <a:pt x="673" y="92"/>
                      </a:lnTo>
                      <a:lnTo>
                        <a:pt x="671" y="92"/>
                      </a:lnTo>
                      <a:lnTo>
                        <a:pt x="669" y="94"/>
                      </a:lnTo>
                      <a:lnTo>
                        <a:pt x="668" y="94"/>
                      </a:lnTo>
                      <a:lnTo>
                        <a:pt x="668" y="95"/>
                      </a:lnTo>
                      <a:lnTo>
                        <a:pt x="666" y="95"/>
                      </a:lnTo>
                      <a:lnTo>
                        <a:pt x="666" y="97"/>
                      </a:lnTo>
                      <a:lnTo>
                        <a:pt x="668" y="97"/>
                      </a:lnTo>
                      <a:lnTo>
                        <a:pt x="668" y="99"/>
                      </a:lnTo>
                      <a:lnTo>
                        <a:pt x="669" y="99"/>
                      </a:lnTo>
                      <a:lnTo>
                        <a:pt x="669" y="100"/>
                      </a:lnTo>
                      <a:lnTo>
                        <a:pt x="668" y="100"/>
                      </a:lnTo>
                      <a:lnTo>
                        <a:pt x="666" y="100"/>
                      </a:lnTo>
                      <a:lnTo>
                        <a:pt x="668" y="102"/>
                      </a:lnTo>
                      <a:lnTo>
                        <a:pt x="668" y="104"/>
                      </a:lnTo>
                      <a:lnTo>
                        <a:pt x="666" y="105"/>
                      </a:lnTo>
                      <a:lnTo>
                        <a:pt x="666" y="107"/>
                      </a:lnTo>
                      <a:lnTo>
                        <a:pt x="666" y="109"/>
                      </a:lnTo>
                      <a:lnTo>
                        <a:pt x="668" y="109"/>
                      </a:lnTo>
                      <a:lnTo>
                        <a:pt x="668" y="110"/>
                      </a:lnTo>
                      <a:lnTo>
                        <a:pt x="669" y="109"/>
                      </a:lnTo>
                      <a:lnTo>
                        <a:pt x="671" y="109"/>
                      </a:lnTo>
                      <a:lnTo>
                        <a:pt x="673" y="110"/>
                      </a:lnTo>
                      <a:lnTo>
                        <a:pt x="673" y="112"/>
                      </a:lnTo>
                      <a:lnTo>
                        <a:pt x="671" y="113"/>
                      </a:lnTo>
                      <a:lnTo>
                        <a:pt x="669" y="113"/>
                      </a:lnTo>
                      <a:lnTo>
                        <a:pt x="668" y="115"/>
                      </a:lnTo>
                      <a:lnTo>
                        <a:pt x="668" y="117"/>
                      </a:lnTo>
                      <a:lnTo>
                        <a:pt x="666" y="117"/>
                      </a:lnTo>
                      <a:lnTo>
                        <a:pt x="666" y="118"/>
                      </a:lnTo>
                      <a:lnTo>
                        <a:pt x="664" y="118"/>
                      </a:lnTo>
                      <a:lnTo>
                        <a:pt x="664" y="120"/>
                      </a:lnTo>
                      <a:lnTo>
                        <a:pt x="666" y="122"/>
                      </a:lnTo>
                      <a:lnTo>
                        <a:pt x="666" y="123"/>
                      </a:lnTo>
                      <a:lnTo>
                        <a:pt x="664" y="123"/>
                      </a:lnTo>
                      <a:lnTo>
                        <a:pt x="664" y="125"/>
                      </a:lnTo>
                      <a:lnTo>
                        <a:pt x="663" y="125"/>
                      </a:lnTo>
                      <a:lnTo>
                        <a:pt x="664" y="125"/>
                      </a:lnTo>
                      <a:lnTo>
                        <a:pt x="666" y="125"/>
                      </a:lnTo>
                      <a:lnTo>
                        <a:pt x="666" y="127"/>
                      </a:lnTo>
                      <a:lnTo>
                        <a:pt x="668" y="127"/>
                      </a:lnTo>
                      <a:lnTo>
                        <a:pt x="668" y="128"/>
                      </a:lnTo>
                      <a:lnTo>
                        <a:pt x="666" y="128"/>
                      </a:lnTo>
                      <a:lnTo>
                        <a:pt x="664" y="128"/>
                      </a:lnTo>
                      <a:lnTo>
                        <a:pt x="663" y="130"/>
                      </a:lnTo>
                      <a:lnTo>
                        <a:pt x="664" y="132"/>
                      </a:lnTo>
                      <a:lnTo>
                        <a:pt x="663" y="132"/>
                      </a:lnTo>
                      <a:lnTo>
                        <a:pt x="663" y="133"/>
                      </a:lnTo>
                      <a:lnTo>
                        <a:pt x="664" y="133"/>
                      </a:lnTo>
                      <a:lnTo>
                        <a:pt x="666" y="133"/>
                      </a:lnTo>
                      <a:lnTo>
                        <a:pt x="666" y="135"/>
                      </a:lnTo>
                      <a:lnTo>
                        <a:pt x="666" y="136"/>
                      </a:lnTo>
                      <a:lnTo>
                        <a:pt x="664" y="138"/>
                      </a:lnTo>
                      <a:lnTo>
                        <a:pt x="664" y="140"/>
                      </a:lnTo>
                      <a:lnTo>
                        <a:pt x="664" y="143"/>
                      </a:lnTo>
                      <a:lnTo>
                        <a:pt x="663" y="143"/>
                      </a:lnTo>
                      <a:lnTo>
                        <a:pt x="663" y="145"/>
                      </a:lnTo>
                      <a:lnTo>
                        <a:pt x="664" y="145"/>
                      </a:lnTo>
                      <a:lnTo>
                        <a:pt x="666" y="146"/>
                      </a:lnTo>
                      <a:lnTo>
                        <a:pt x="668" y="146"/>
                      </a:lnTo>
                      <a:lnTo>
                        <a:pt x="668" y="148"/>
                      </a:lnTo>
                      <a:lnTo>
                        <a:pt x="668" y="150"/>
                      </a:lnTo>
                      <a:lnTo>
                        <a:pt x="669" y="150"/>
                      </a:lnTo>
                      <a:lnTo>
                        <a:pt x="669" y="151"/>
                      </a:lnTo>
                      <a:lnTo>
                        <a:pt x="668" y="151"/>
                      </a:lnTo>
                      <a:lnTo>
                        <a:pt x="668" y="153"/>
                      </a:lnTo>
                      <a:lnTo>
                        <a:pt x="666" y="153"/>
                      </a:lnTo>
                      <a:lnTo>
                        <a:pt x="664" y="155"/>
                      </a:lnTo>
                      <a:lnTo>
                        <a:pt x="666" y="155"/>
                      </a:lnTo>
                      <a:lnTo>
                        <a:pt x="668" y="155"/>
                      </a:lnTo>
                      <a:lnTo>
                        <a:pt x="668" y="156"/>
                      </a:lnTo>
                      <a:lnTo>
                        <a:pt x="666" y="156"/>
                      </a:lnTo>
                      <a:lnTo>
                        <a:pt x="666" y="158"/>
                      </a:lnTo>
                      <a:lnTo>
                        <a:pt x="664" y="158"/>
                      </a:lnTo>
                      <a:lnTo>
                        <a:pt x="664" y="156"/>
                      </a:lnTo>
                      <a:lnTo>
                        <a:pt x="664" y="158"/>
                      </a:lnTo>
                      <a:lnTo>
                        <a:pt x="663" y="158"/>
                      </a:lnTo>
                      <a:lnTo>
                        <a:pt x="664" y="158"/>
                      </a:lnTo>
                      <a:lnTo>
                        <a:pt x="666" y="159"/>
                      </a:lnTo>
                      <a:lnTo>
                        <a:pt x="668" y="159"/>
                      </a:lnTo>
                      <a:lnTo>
                        <a:pt x="669" y="159"/>
                      </a:lnTo>
                      <a:lnTo>
                        <a:pt x="669" y="161"/>
                      </a:lnTo>
                      <a:lnTo>
                        <a:pt x="669" y="163"/>
                      </a:lnTo>
                      <a:lnTo>
                        <a:pt x="671" y="163"/>
                      </a:lnTo>
                      <a:lnTo>
                        <a:pt x="674" y="164"/>
                      </a:lnTo>
                      <a:lnTo>
                        <a:pt x="674" y="163"/>
                      </a:lnTo>
                      <a:lnTo>
                        <a:pt x="676" y="163"/>
                      </a:lnTo>
                      <a:lnTo>
                        <a:pt x="678" y="164"/>
                      </a:lnTo>
                      <a:lnTo>
                        <a:pt x="678" y="166"/>
                      </a:lnTo>
                      <a:lnTo>
                        <a:pt x="679" y="166"/>
                      </a:lnTo>
                      <a:lnTo>
                        <a:pt x="679" y="168"/>
                      </a:lnTo>
                      <a:lnTo>
                        <a:pt x="681" y="168"/>
                      </a:lnTo>
                      <a:lnTo>
                        <a:pt x="683" y="166"/>
                      </a:lnTo>
                      <a:lnTo>
                        <a:pt x="683" y="168"/>
                      </a:lnTo>
                      <a:lnTo>
                        <a:pt x="683" y="169"/>
                      </a:lnTo>
                      <a:lnTo>
                        <a:pt x="683" y="171"/>
                      </a:lnTo>
                      <a:lnTo>
                        <a:pt x="684" y="171"/>
                      </a:lnTo>
                      <a:lnTo>
                        <a:pt x="686" y="171"/>
                      </a:lnTo>
                      <a:lnTo>
                        <a:pt x="686" y="173"/>
                      </a:lnTo>
                      <a:lnTo>
                        <a:pt x="688" y="173"/>
                      </a:lnTo>
                      <a:lnTo>
                        <a:pt x="690" y="173"/>
                      </a:lnTo>
                      <a:lnTo>
                        <a:pt x="690" y="174"/>
                      </a:lnTo>
                      <a:lnTo>
                        <a:pt x="691" y="174"/>
                      </a:lnTo>
                      <a:lnTo>
                        <a:pt x="691" y="176"/>
                      </a:lnTo>
                      <a:lnTo>
                        <a:pt x="693" y="176"/>
                      </a:lnTo>
                      <a:lnTo>
                        <a:pt x="693" y="178"/>
                      </a:lnTo>
                      <a:lnTo>
                        <a:pt x="693" y="179"/>
                      </a:lnTo>
                      <a:lnTo>
                        <a:pt x="693" y="181"/>
                      </a:lnTo>
                      <a:lnTo>
                        <a:pt x="695" y="181"/>
                      </a:lnTo>
                      <a:lnTo>
                        <a:pt x="696" y="181"/>
                      </a:lnTo>
                      <a:lnTo>
                        <a:pt x="698" y="181"/>
                      </a:lnTo>
                      <a:lnTo>
                        <a:pt x="698" y="182"/>
                      </a:lnTo>
                      <a:lnTo>
                        <a:pt x="696" y="182"/>
                      </a:lnTo>
                      <a:lnTo>
                        <a:pt x="696" y="184"/>
                      </a:lnTo>
                      <a:lnTo>
                        <a:pt x="696" y="186"/>
                      </a:lnTo>
                      <a:lnTo>
                        <a:pt x="695" y="187"/>
                      </a:lnTo>
                      <a:lnTo>
                        <a:pt x="693" y="187"/>
                      </a:lnTo>
                      <a:lnTo>
                        <a:pt x="693" y="189"/>
                      </a:lnTo>
                      <a:lnTo>
                        <a:pt x="691" y="189"/>
                      </a:lnTo>
                      <a:lnTo>
                        <a:pt x="690" y="189"/>
                      </a:lnTo>
                      <a:lnTo>
                        <a:pt x="688" y="189"/>
                      </a:lnTo>
                      <a:lnTo>
                        <a:pt x="688" y="187"/>
                      </a:lnTo>
                      <a:lnTo>
                        <a:pt x="688" y="186"/>
                      </a:lnTo>
                      <a:lnTo>
                        <a:pt x="688" y="187"/>
                      </a:lnTo>
                      <a:lnTo>
                        <a:pt x="686" y="187"/>
                      </a:lnTo>
                      <a:lnTo>
                        <a:pt x="688" y="187"/>
                      </a:lnTo>
                      <a:lnTo>
                        <a:pt x="688" y="189"/>
                      </a:lnTo>
                      <a:lnTo>
                        <a:pt x="688" y="191"/>
                      </a:lnTo>
                      <a:lnTo>
                        <a:pt x="686" y="192"/>
                      </a:lnTo>
                      <a:lnTo>
                        <a:pt x="688" y="192"/>
                      </a:lnTo>
                      <a:lnTo>
                        <a:pt x="688" y="194"/>
                      </a:lnTo>
                      <a:lnTo>
                        <a:pt x="690" y="194"/>
                      </a:lnTo>
                      <a:lnTo>
                        <a:pt x="690" y="196"/>
                      </a:lnTo>
                      <a:lnTo>
                        <a:pt x="688" y="196"/>
                      </a:lnTo>
                      <a:lnTo>
                        <a:pt x="688" y="197"/>
                      </a:lnTo>
                      <a:lnTo>
                        <a:pt x="690" y="197"/>
                      </a:lnTo>
                      <a:lnTo>
                        <a:pt x="691" y="199"/>
                      </a:lnTo>
                      <a:lnTo>
                        <a:pt x="690" y="199"/>
                      </a:lnTo>
                      <a:lnTo>
                        <a:pt x="690" y="201"/>
                      </a:lnTo>
                      <a:lnTo>
                        <a:pt x="690" y="202"/>
                      </a:lnTo>
                      <a:lnTo>
                        <a:pt x="690" y="204"/>
                      </a:lnTo>
                      <a:lnTo>
                        <a:pt x="688" y="204"/>
                      </a:lnTo>
                      <a:lnTo>
                        <a:pt x="688" y="205"/>
                      </a:lnTo>
                      <a:lnTo>
                        <a:pt x="690" y="205"/>
                      </a:lnTo>
                      <a:lnTo>
                        <a:pt x="690" y="207"/>
                      </a:lnTo>
                      <a:lnTo>
                        <a:pt x="690" y="209"/>
                      </a:lnTo>
                      <a:lnTo>
                        <a:pt x="690" y="210"/>
                      </a:lnTo>
                      <a:lnTo>
                        <a:pt x="688" y="210"/>
                      </a:lnTo>
                      <a:lnTo>
                        <a:pt x="688" y="209"/>
                      </a:lnTo>
                      <a:lnTo>
                        <a:pt x="688" y="210"/>
                      </a:lnTo>
                      <a:lnTo>
                        <a:pt x="686" y="210"/>
                      </a:lnTo>
                      <a:lnTo>
                        <a:pt x="686" y="212"/>
                      </a:lnTo>
                      <a:lnTo>
                        <a:pt x="688" y="214"/>
                      </a:lnTo>
                      <a:lnTo>
                        <a:pt x="688" y="215"/>
                      </a:lnTo>
                      <a:lnTo>
                        <a:pt x="688" y="217"/>
                      </a:lnTo>
                      <a:lnTo>
                        <a:pt x="688" y="219"/>
                      </a:lnTo>
                      <a:lnTo>
                        <a:pt x="688" y="220"/>
                      </a:lnTo>
                      <a:lnTo>
                        <a:pt x="688" y="222"/>
                      </a:lnTo>
                      <a:lnTo>
                        <a:pt x="686" y="224"/>
                      </a:lnTo>
                      <a:close/>
                    </a:path>
                  </a:pathLst>
                </a:custGeom>
                <a:solidFill>
                  <a:srgbClr val="FFFFE1"/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black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9" name="Freeform 29"/>
                <p:cNvSpPr>
                  <a:spLocks noChangeAspect="1"/>
                </p:cNvSpPr>
                <p:nvPr/>
              </p:nvSpPr>
              <p:spPr bwMode="auto">
                <a:xfrm>
                  <a:off x="4715186" y="2071240"/>
                  <a:ext cx="745674" cy="1280817"/>
                </a:xfrm>
                <a:custGeom>
                  <a:avLst/>
                  <a:gdLst>
                    <a:gd name="T0" fmla="*/ 2147483647 w 478"/>
                    <a:gd name="T1" fmla="*/ 2147483647 h 765"/>
                    <a:gd name="T2" fmla="*/ 2147483647 w 478"/>
                    <a:gd name="T3" fmla="*/ 2147483647 h 765"/>
                    <a:gd name="T4" fmla="*/ 2147483647 w 478"/>
                    <a:gd name="T5" fmla="*/ 2147483647 h 765"/>
                    <a:gd name="T6" fmla="*/ 2147483647 w 478"/>
                    <a:gd name="T7" fmla="*/ 2147483647 h 765"/>
                    <a:gd name="T8" fmla="*/ 2147483647 w 478"/>
                    <a:gd name="T9" fmla="*/ 2147483647 h 765"/>
                    <a:gd name="T10" fmla="*/ 2147483647 w 478"/>
                    <a:gd name="T11" fmla="*/ 2147483647 h 765"/>
                    <a:gd name="T12" fmla="*/ 2147483647 w 478"/>
                    <a:gd name="T13" fmla="*/ 2147483647 h 765"/>
                    <a:gd name="T14" fmla="*/ 2147483647 w 478"/>
                    <a:gd name="T15" fmla="*/ 2147483647 h 765"/>
                    <a:gd name="T16" fmla="*/ 2147483647 w 478"/>
                    <a:gd name="T17" fmla="*/ 2147483647 h 765"/>
                    <a:gd name="T18" fmla="*/ 2147483647 w 478"/>
                    <a:gd name="T19" fmla="*/ 2147483647 h 765"/>
                    <a:gd name="T20" fmla="*/ 2147483647 w 478"/>
                    <a:gd name="T21" fmla="*/ 2147483647 h 765"/>
                    <a:gd name="T22" fmla="*/ 2147483647 w 478"/>
                    <a:gd name="T23" fmla="*/ 2147483647 h 765"/>
                    <a:gd name="T24" fmla="*/ 2147483647 w 478"/>
                    <a:gd name="T25" fmla="*/ 2147483647 h 765"/>
                    <a:gd name="T26" fmla="*/ 2147483647 w 478"/>
                    <a:gd name="T27" fmla="*/ 2147483647 h 765"/>
                    <a:gd name="T28" fmla="*/ 2147483647 w 478"/>
                    <a:gd name="T29" fmla="*/ 2147483647 h 765"/>
                    <a:gd name="T30" fmla="*/ 2147483647 w 478"/>
                    <a:gd name="T31" fmla="*/ 2147483647 h 765"/>
                    <a:gd name="T32" fmla="*/ 2147483647 w 478"/>
                    <a:gd name="T33" fmla="*/ 2147483647 h 765"/>
                    <a:gd name="T34" fmla="*/ 2147483647 w 478"/>
                    <a:gd name="T35" fmla="*/ 2147483647 h 765"/>
                    <a:gd name="T36" fmla="*/ 2147483647 w 478"/>
                    <a:gd name="T37" fmla="*/ 2147483647 h 765"/>
                    <a:gd name="T38" fmla="*/ 2147483647 w 478"/>
                    <a:gd name="T39" fmla="*/ 2147483647 h 765"/>
                    <a:gd name="T40" fmla="*/ 2147483647 w 478"/>
                    <a:gd name="T41" fmla="*/ 2147483647 h 765"/>
                    <a:gd name="T42" fmla="*/ 2147483647 w 478"/>
                    <a:gd name="T43" fmla="*/ 2147483647 h 765"/>
                    <a:gd name="T44" fmla="*/ 2147483647 w 478"/>
                    <a:gd name="T45" fmla="*/ 2147483647 h 765"/>
                    <a:gd name="T46" fmla="*/ 2147483647 w 478"/>
                    <a:gd name="T47" fmla="*/ 2147483647 h 765"/>
                    <a:gd name="T48" fmla="*/ 2147483647 w 478"/>
                    <a:gd name="T49" fmla="*/ 2147483647 h 765"/>
                    <a:gd name="T50" fmla="*/ 2147483647 w 478"/>
                    <a:gd name="T51" fmla="*/ 2147483647 h 765"/>
                    <a:gd name="T52" fmla="*/ 2147483647 w 478"/>
                    <a:gd name="T53" fmla="*/ 2147483647 h 765"/>
                    <a:gd name="T54" fmla="*/ 2147483647 w 478"/>
                    <a:gd name="T55" fmla="*/ 2147483647 h 765"/>
                    <a:gd name="T56" fmla="*/ 2147483647 w 478"/>
                    <a:gd name="T57" fmla="*/ 2147483647 h 765"/>
                    <a:gd name="T58" fmla="*/ 2147483647 w 478"/>
                    <a:gd name="T59" fmla="*/ 2147483647 h 765"/>
                    <a:gd name="T60" fmla="*/ 2147483647 w 478"/>
                    <a:gd name="T61" fmla="*/ 2147483647 h 765"/>
                    <a:gd name="T62" fmla="*/ 2147483647 w 478"/>
                    <a:gd name="T63" fmla="*/ 2147483647 h 765"/>
                    <a:gd name="T64" fmla="*/ 2147483647 w 478"/>
                    <a:gd name="T65" fmla="*/ 2147483647 h 765"/>
                    <a:gd name="T66" fmla="*/ 2147483647 w 478"/>
                    <a:gd name="T67" fmla="*/ 2147483647 h 765"/>
                    <a:gd name="T68" fmla="*/ 2147483647 w 478"/>
                    <a:gd name="T69" fmla="*/ 2147483647 h 765"/>
                    <a:gd name="T70" fmla="*/ 2147483647 w 478"/>
                    <a:gd name="T71" fmla="*/ 2147483647 h 765"/>
                    <a:gd name="T72" fmla="*/ 2147483647 w 478"/>
                    <a:gd name="T73" fmla="*/ 2147483647 h 765"/>
                    <a:gd name="T74" fmla="*/ 2147483647 w 478"/>
                    <a:gd name="T75" fmla="*/ 2147483647 h 765"/>
                    <a:gd name="T76" fmla="*/ 2147483647 w 478"/>
                    <a:gd name="T77" fmla="*/ 2147483647 h 765"/>
                    <a:gd name="T78" fmla="*/ 2147483647 w 478"/>
                    <a:gd name="T79" fmla="*/ 2147483647 h 765"/>
                    <a:gd name="T80" fmla="*/ 2147483647 w 478"/>
                    <a:gd name="T81" fmla="*/ 2147483647 h 765"/>
                    <a:gd name="T82" fmla="*/ 2147483647 w 478"/>
                    <a:gd name="T83" fmla="*/ 2147483647 h 765"/>
                    <a:gd name="T84" fmla="*/ 2147483647 w 478"/>
                    <a:gd name="T85" fmla="*/ 2147483647 h 765"/>
                    <a:gd name="T86" fmla="*/ 2147483647 w 478"/>
                    <a:gd name="T87" fmla="*/ 2147483647 h 765"/>
                    <a:gd name="T88" fmla="*/ 2147483647 w 478"/>
                    <a:gd name="T89" fmla="*/ 2147483647 h 765"/>
                    <a:gd name="T90" fmla="*/ 2147483647 w 478"/>
                    <a:gd name="T91" fmla="*/ 2147483647 h 765"/>
                    <a:gd name="T92" fmla="*/ 2147483647 w 478"/>
                    <a:gd name="T93" fmla="*/ 2147483647 h 765"/>
                    <a:gd name="T94" fmla="*/ 2147483647 w 478"/>
                    <a:gd name="T95" fmla="*/ 2147483647 h 765"/>
                    <a:gd name="T96" fmla="*/ 2147483647 w 478"/>
                    <a:gd name="T97" fmla="*/ 2147483647 h 765"/>
                    <a:gd name="T98" fmla="*/ 2147483647 w 478"/>
                    <a:gd name="T99" fmla="*/ 2147483647 h 765"/>
                    <a:gd name="T100" fmla="*/ 2147483647 w 478"/>
                    <a:gd name="T101" fmla="*/ 2147483647 h 765"/>
                    <a:gd name="T102" fmla="*/ 2147483647 w 478"/>
                    <a:gd name="T103" fmla="*/ 2147483647 h 765"/>
                    <a:gd name="T104" fmla="*/ 2147483647 w 478"/>
                    <a:gd name="T105" fmla="*/ 2147483647 h 765"/>
                    <a:gd name="T106" fmla="*/ 2147483647 w 478"/>
                    <a:gd name="T107" fmla="*/ 2147483647 h 765"/>
                    <a:gd name="T108" fmla="*/ 2147483647 w 478"/>
                    <a:gd name="T109" fmla="*/ 2147483647 h 765"/>
                    <a:gd name="T110" fmla="*/ 2147483647 w 478"/>
                    <a:gd name="T111" fmla="*/ 2147483647 h 765"/>
                    <a:gd name="T112" fmla="*/ 2147483647 w 478"/>
                    <a:gd name="T113" fmla="*/ 2147483647 h 765"/>
                    <a:gd name="T114" fmla="*/ 2147483647 w 478"/>
                    <a:gd name="T115" fmla="*/ 2147483647 h 765"/>
                    <a:gd name="T116" fmla="*/ 2147483647 w 478"/>
                    <a:gd name="T117" fmla="*/ 2147483647 h 765"/>
                    <a:gd name="T118" fmla="*/ 2147483647 w 478"/>
                    <a:gd name="T119" fmla="*/ 2147483647 h 765"/>
                    <a:gd name="T120" fmla="*/ 2147483647 w 478"/>
                    <a:gd name="T121" fmla="*/ 2147483647 h 765"/>
                    <a:gd name="T122" fmla="*/ 2147483647 w 478"/>
                    <a:gd name="T123" fmla="*/ 2147483647 h 765"/>
                    <a:gd name="T124" fmla="*/ 2147483647 w 478"/>
                    <a:gd name="T125" fmla="*/ 2147483647 h 76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478"/>
                    <a:gd name="T190" fmla="*/ 0 h 765"/>
                    <a:gd name="T191" fmla="*/ 478 w 478"/>
                    <a:gd name="T192" fmla="*/ 765 h 76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478" h="765">
                      <a:moveTo>
                        <a:pt x="425" y="680"/>
                      </a:moveTo>
                      <a:lnTo>
                        <a:pt x="425" y="682"/>
                      </a:lnTo>
                      <a:lnTo>
                        <a:pt x="424" y="682"/>
                      </a:lnTo>
                      <a:lnTo>
                        <a:pt x="424" y="683"/>
                      </a:lnTo>
                      <a:lnTo>
                        <a:pt x="424" y="685"/>
                      </a:lnTo>
                      <a:lnTo>
                        <a:pt x="424" y="687"/>
                      </a:lnTo>
                      <a:lnTo>
                        <a:pt x="422" y="687"/>
                      </a:lnTo>
                      <a:lnTo>
                        <a:pt x="422" y="688"/>
                      </a:lnTo>
                      <a:lnTo>
                        <a:pt x="424" y="688"/>
                      </a:lnTo>
                      <a:lnTo>
                        <a:pt x="425" y="690"/>
                      </a:lnTo>
                      <a:lnTo>
                        <a:pt x="424" y="691"/>
                      </a:lnTo>
                      <a:lnTo>
                        <a:pt x="422" y="691"/>
                      </a:lnTo>
                      <a:lnTo>
                        <a:pt x="422" y="693"/>
                      </a:lnTo>
                      <a:lnTo>
                        <a:pt x="422" y="695"/>
                      </a:lnTo>
                      <a:lnTo>
                        <a:pt x="424" y="695"/>
                      </a:lnTo>
                      <a:lnTo>
                        <a:pt x="425" y="696"/>
                      </a:lnTo>
                      <a:lnTo>
                        <a:pt x="424" y="698"/>
                      </a:lnTo>
                      <a:lnTo>
                        <a:pt x="424" y="700"/>
                      </a:lnTo>
                      <a:lnTo>
                        <a:pt x="424" y="701"/>
                      </a:lnTo>
                      <a:lnTo>
                        <a:pt x="422" y="701"/>
                      </a:lnTo>
                      <a:lnTo>
                        <a:pt x="424" y="703"/>
                      </a:lnTo>
                      <a:lnTo>
                        <a:pt x="424" y="705"/>
                      </a:lnTo>
                      <a:lnTo>
                        <a:pt x="425" y="706"/>
                      </a:lnTo>
                      <a:lnTo>
                        <a:pt x="424" y="708"/>
                      </a:lnTo>
                      <a:lnTo>
                        <a:pt x="422" y="708"/>
                      </a:lnTo>
                      <a:lnTo>
                        <a:pt x="422" y="709"/>
                      </a:lnTo>
                      <a:lnTo>
                        <a:pt x="422" y="711"/>
                      </a:lnTo>
                      <a:lnTo>
                        <a:pt x="422" y="713"/>
                      </a:lnTo>
                      <a:lnTo>
                        <a:pt x="422" y="714"/>
                      </a:lnTo>
                      <a:lnTo>
                        <a:pt x="422" y="716"/>
                      </a:lnTo>
                      <a:lnTo>
                        <a:pt x="420" y="716"/>
                      </a:lnTo>
                      <a:lnTo>
                        <a:pt x="420" y="718"/>
                      </a:lnTo>
                      <a:lnTo>
                        <a:pt x="422" y="716"/>
                      </a:lnTo>
                      <a:lnTo>
                        <a:pt x="424" y="716"/>
                      </a:lnTo>
                      <a:lnTo>
                        <a:pt x="425" y="716"/>
                      </a:lnTo>
                      <a:lnTo>
                        <a:pt x="427" y="716"/>
                      </a:lnTo>
                      <a:lnTo>
                        <a:pt x="429" y="716"/>
                      </a:lnTo>
                      <a:lnTo>
                        <a:pt x="430" y="714"/>
                      </a:lnTo>
                      <a:lnTo>
                        <a:pt x="432" y="714"/>
                      </a:lnTo>
                      <a:lnTo>
                        <a:pt x="434" y="714"/>
                      </a:lnTo>
                      <a:lnTo>
                        <a:pt x="435" y="714"/>
                      </a:lnTo>
                      <a:lnTo>
                        <a:pt x="437" y="713"/>
                      </a:lnTo>
                      <a:lnTo>
                        <a:pt x="439" y="714"/>
                      </a:lnTo>
                      <a:lnTo>
                        <a:pt x="437" y="714"/>
                      </a:lnTo>
                      <a:lnTo>
                        <a:pt x="437" y="716"/>
                      </a:lnTo>
                      <a:lnTo>
                        <a:pt x="435" y="716"/>
                      </a:lnTo>
                      <a:lnTo>
                        <a:pt x="434" y="716"/>
                      </a:lnTo>
                      <a:lnTo>
                        <a:pt x="432" y="716"/>
                      </a:lnTo>
                      <a:lnTo>
                        <a:pt x="432" y="718"/>
                      </a:lnTo>
                      <a:lnTo>
                        <a:pt x="430" y="718"/>
                      </a:lnTo>
                      <a:lnTo>
                        <a:pt x="429" y="718"/>
                      </a:lnTo>
                      <a:lnTo>
                        <a:pt x="427" y="718"/>
                      </a:lnTo>
                      <a:lnTo>
                        <a:pt x="425" y="718"/>
                      </a:lnTo>
                      <a:lnTo>
                        <a:pt x="424" y="719"/>
                      </a:lnTo>
                      <a:lnTo>
                        <a:pt x="422" y="719"/>
                      </a:lnTo>
                      <a:lnTo>
                        <a:pt x="420" y="719"/>
                      </a:lnTo>
                      <a:lnTo>
                        <a:pt x="418" y="719"/>
                      </a:lnTo>
                      <a:lnTo>
                        <a:pt x="417" y="719"/>
                      </a:lnTo>
                      <a:lnTo>
                        <a:pt x="417" y="721"/>
                      </a:lnTo>
                      <a:lnTo>
                        <a:pt x="415" y="721"/>
                      </a:lnTo>
                      <a:lnTo>
                        <a:pt x="413" y="721"/>
                      </a:lnTo>
                      <a:lnTo>
                        <a:pt x="415" y="719"/>
                      </a:lnTo>
                      <a:lnTo>
                        <a:pt x="413" y="719"/>
                      </a:lnTo>
                      <a:lnTo>
                        <a:pt x="415" y="719"/>
                      </a:lnTo>
                      <a:lnTo>
                        <a:pt x="413" y="718"/>
                      </a:lnTo>
                      <a:lnTo>
                        <a:pt x="415" y="718"/>
                      </a:lnTo>
                      <a:lnTo>
                        <a:pt x="413" y="716"/>
                      </a:lnTo>
                      <a:lnTo>
                        <a:pt x="415" y="716"/>
                      </a:lnTo>
                      <a:lnTo>
                        <a:pt x="415" y="714"/>
                      </a:lnTo>
                      <a:lnTo>
                        <a:pt x="415" y="713"/>
                      </a:lnTo>
                      <a:lnTo>
                        <a:pt x="415" y="711"/>
                      </a:lnTo>
                      <a:lnTo>
                        <a:pt x="415" y="709"/>
                      </a:lnTo>
                      <a:lnTo>
                        <a:pt x="413" y="709"/>
                      </a:lnTo>
                      <a:lnTo>
                        <a:pt x="413" y="708"/>
                      </a:lnTo>
                      <a:lnTo>
                        <a:pt x="412" y="708"/>
                      </a:lnTo>
                      <a:lnTo>
                        <a:pt x="410" y="708"/>
                      </a:lnTo>
                      <a:lnTo>
                        <a:pt x="412" y="706"/>
                      </a:lnTo>
                      <a:lnTo>
                        <a:pt x="410" y="706"/>
                      </a:lnTo>
                      <a:lnTo>
                        <a:pt x="410" y="705"/>
                      </a:lnTo>
                      <a:lnTo>
                        <a:pt x="407" y="714"/>
                      </a:lnTo>
                      <a:lnTo>
                        <a:pt x="405" y="718"/>
                      </a:lnTo>
                      <a:lnTo>
                        <a:pt x="393" y="718"/>
                      </a:lnTo>
                      <a:lnTo>
                        <a:pt x="391" y="716"/>
                      </a:lnTo>
                      <a:lnTo>
                        <a:pt x="373" y="721"/>
                      </a:lnTo>
                      <a:lnTo>
                        <a:pt x="371" y="723"/>
                      </a:lnTo>
                      <a:lnTo>
                        <a:pt x="371" y="724"/>
                      </a:lnTo>
                      <a:lnTo>
                        <a:pt x="369" y="724"/>
                      </a:lnTo>
                      <a:lnTo>
                        <a:pt x="369" y="726"/>
                      </a:lnTo>
                      <a:lnTo>
                        <a:pt x="368" y="728"/>
                      </a:lnTo>
                      <a:lnTo>
                        <a:pt x="366" y="728"/>
                      </a:lnTo>
                      <a:lnTo>
                        <a:pt x="368" y="728"/>
                      </a:lnTo>
                      <a:lnTo>
                        <a:pt x="366" y="728"/>
                      </a:lnTo>
                      <a:lnTo>
                        <a:pt x="366" y="726"/>
                      </a:lnTo>
                      <a:lnTo>
                        <a:pt x="364" y="726"/>
                      </a:lnTo>
                      <a:lnTo>
                        <a:pt x="364" y="728"/>
                      </a:lnTo>
                      <a:lnTo>
                        <a:pt x="363" y="728"/>
                      </a:lnTo>
                      <a:lnTo>
                        <a:pt x="363" y="729"/>
                      </a:lnTo>
                      <a:lnTo>
                        <a:pt x="361" y="729"/>
                      </a:lnTo>
                      <a:lnTo>
                        <a:pt x="361" y="731"/>
                      </a:lnTo>
                      <a:lnTo>
                        <a:pt x="359" y="731"/>
                      </a:lnTo>
                      <a:lnTo>
                        <a:pt x="359" y="732"/>
                      </a:lnTo>
                      <a:lnTo>
                        <a:pt x="358" y="732"/>
                      </a:lnTo>
                      <a:lnTo>
                        <a:pt x="356" y="732"/>
                      </a:lnTo>
                      <a:lnTo>
                        <a:pt x="358" y="732"/>
                      </a:lnTo>
                      <a:lnTo>
                        <a:pt x="356" y="734"/>
                      </a:lnTo>
                      <a:lnTo>
                        <a:pt x="356" y="732"/>
                      </a:lnTo>
                      <a:lnTo>
                        <a:pt x="354" y="732"/>
                      </a:lnTo>
                      <a:lnTo>
                        <a:pt x="354" y="734"/>
                      </a:lnTo>
                      <a:lnTo>
                        <a:pt x="353" y="734"/>
                      </a:lnTo>
                      <a:lnTo>
                        <a:pt x="353" y="736"/>
                      </a:lnTo>
                      <a:lnTo>
                        <a:pt x="353" y="734"/>
                      </a:lnTo>
                      <a:lnTo>
                        <a:pt x="353" y="736"/>
                      </a:lnTo>
                      <a:lnTo>
                        <a:pt x="351" y="736"/>
                      </a:lnTo>
                      <a:lnTo>
                        <a:pt x="349" y="736"/>
                      </a:lnTo>
                      <a:lnTo>
                        <a:pt x="348" y="736"/>
                      </a:lnTo>
                      <a:lnTo>
                        <a:pt x="348" y="737"/>
                      </a:lnTo>
                      <a:lnTo>
                        <a:pt x="346" y="737"/>
                      </a:lnTo>
                      <a:lnTo>
                        <a:pt x="348" y="737"/>
                      </a:lnTo>
                      <a:lnTo>
                        <a:pt x="346" y="737"/>
                      </a:lnTo>
                      <a:lnTo>
                        <a:pt x="346" y="739"/>
                      </a:lnTo>
                      <a:lnTo>
                        <a:pt x="346" y="737"/>
                      </a:lnTo>
                      <a:lnTo>
                        <a:pt x="344" y="737"/>
                      </a:lnTo>
                      <a:lnTo>
                        <a:pt x="344" y="739"/>
                      </a:lnTo>
                      <a:lnTo>
                        <a:pt x="344" y="737"/>
                      </a:lnTo>
                      <a:lnTo>
                        <a:pt x="342" y="737"/>
                      </a:lnTo>
                      <a:lnTo>
                        <a:pt x="341" y="739"/>
                      </a:lnTo>
                      <a:lnTo>
                        <a:pt x="342" y="739"/>
                      </a:lnTo>
                      <a:lnTo>
                        <a:pt x="342" y="741"/>
                      </a:lnTo>
                      <a:lnTo>
                        <a:pt x="341" y="741"/>
                      </a:lnTo>
                      <a:lnTo>
                        <a:pt x="339" y="741"/>
                      </a:lnTo>
                      <a:lnTo>
                        <a:pt x="337" y="741"/>
                      </a:lnTo>
                      <a:lnTo>
                        <a:pt x="337" y="739"/>
                      </a:lnTo>
                      <a:lnTo>
                        <a:pt x="336" y="739"/>
                      </a:lnTo>
                      <a:lnTo>
                        <a:pt x="334" y="739"/>
                      </a:lnTo>
                      <a:lnTo>
                        <a:pt x="332" y="739"/>
                      </a:lnTo>
                      <a:lnTo>
                        <a:pt x="332" y="741"/>
                      </a:lnTo>
                      <a:lnTo>
                        <a:pt x="331" y="741"/>
                      </a:lnTo>
                      <a:lnTo>
                        <a:pt x="331" y="742"/>
                      </a:lnTo>
                      <a:lnTo>
                        <a:pt x="331" y="744"/>
                      </a:lnTo>
                      <a:lnTo>
                        <a:pt x="329" y="744"/>
                      </a:lnTo>
                      <a:lnTo>
                        <a:pt x="329" y="746"/>
                      </a:lnTo>
                      <a:lnTo>
                        <a:pt x="327" y="746"/>
                      </a:lnTo>
                      <a:lnTo>
                        <a:pt x="327" y="744"/>
                      </a:lnTo>
                      <a:lnTo>
                        <a:pt x="326" y="744"/>
                      </a:lnTo>
                      <a:lnTo>
                        <a:pt x="324" y="746"/>
                      </a:lnTo>
                      <a:lnTo>
                        <a:pt x="324" y="744"/>
                      </a:lnTo>
                      <a:lnTo>
                        <a:pt x="322" y="744"/>
                      </a:lnTo>
                      <a:lnTo>
                        <a:pt x="320" y="744"/>
                      </a:lnTo>
                      <a:lnTo>
                        <a:pt x="319" y="742"/>
                      </a:lnTo>
                      <a:lnTo>
                        <a:pt x="319" y="744"/>
                      </a:lnTo>
                      <a:lnTo>
                        <a:pt x="317" y="744"/>
                      </a:lnTo>
                      <a:lnTo>
                        <a:pt x="317" y="746"/>
                      </a:lnTo>
                      <a:lnTo>
                        <a:pt x="315" y="747"/>
                      </a:lnTo>
                      <a:lnTo>
                        <a:pt x="315" y="749"/>
                      </a:lnTo>
                      <a:lnTo>
                        <a:pt x="314" y="749"/>
                      </a:lnTo>
                      <a:lnTo>
                        <a:pt x="314" y="747"/>
                      </a:lnTo>
                      <a:lnTo>
                        <a:pt x="314" y="746"/>
                      </a:lnTo>
                      <a:lnTo>
                        <a:pt x="312" y="746"/>
                      </a:lnTo>
                      <a:lnTo>
                        <a:pt x="312" y="744"/>
                      </a:lnTo>
                      <a:lnTo>
                        <a:pt x="314" y="744"/>
                      </a:lnTo>
                      <a:lnTo>
                        <a:pt x="314" y="742"/>
                      </a:lnTo>
                      <a:lnTo>
                        <a:pt x="312" y="742"/>
                      </a:lnTo>
                      <a:lnTo>
                        <a:pt x="310" y="742"/>
                      </a:lnTo>
                      <a:lnTo>
                        <a:pt x="309" y="742"/>
                      </a:lnTo>
                      <a:lnTo>
                        <a:pt x="309" y="741"/>
                      </a:lnTo>
                      <a:lnTo>
                        <a:pt x="309" y="739"/>
                      </a:lnTo>
                      <a:lnTo>
                        <a:pt x="307" y="739"/>
                      </a:lnTo>
                      <a:lnTo>
                        <a:pt x="305" y="739"/>
                      </a:lnTo>
                      <a:lnTo>
                        <a:pt x="304" y="739"/>
                      </a:lnTo>
                      <a:lnTo>
                        <a:pt x="302" y="739"/>
                      </a:lnTo>
                      <a:lnTo>
                        <a:pt x="300" y="737"/>
                      </a:lnTo>
                      <a:lnTo>
                        <a:pt x="302" y="736"/>
                      </a:lnTo>
                      <a:lnTo>
                        <a:pt x="300" y="736"/>
                      </a:lnTo>
                      <a:lnTo>
                        <a:pt x="300" y="734"/>
                      </a:lnTo>
                      <a:lnTo>
                        <a:pt x="302" y="734"/>
                      </a:lnTo>
                      <a:lnTo>
                        <a:pt x="302" y="732"/>
                      </a:lnTo>
                      <a:lnTo>
                        <a:pt x="300" y="732"/>
                      </a:lnTo>
                      <a:lnTo>
                        <a:pt x="299" y="732"/>
                      </a:lnTo>
                      <a:lnTo>
                        <a:pt x="297" y="732"/>
                      </a:lnTo>
                      <a:lnTo>
                        <a:pt x="297" y="731"/>
                      </a:lnTo>
                      <a:lnTo>
                        <a:pt x="295" y="731"/>
                      </a:lnTo>
                      <a:lnTo>
                        <a:pt x="295" y="732"/>
                      </a:lnTo>
                      <a:lnTo>
                        <a:pt x="295" y="731"/>
                      </a:lnTo>
                      <a:lnTo>
                        <a:pt x="295" y="732"/>
                      </a:lnTo>
                      <a:lnTo>
                        <a:pt x="293" y="732"/>
                      </a:lnTo>
                      <a:lnTo>
                        <a:pt x="293" y="734"/>
                      </a:lnTo>
                      <a:lnTo>
                        <a:pt x="293" y="736"/>
                      </a:lnTo>
                      <a:lnTo>
                        <a:pt x="292" y="736"/>
                      </a:lnTo>
                      <a:lnTo>
                        <a:pt x="292" y="737"/>
                      </a:lnTo>
                      <a:lnTo>
                        <a:pt x="292" y="739"/>
                      </a:lnTo>
                      <a:lnTo>
                        <a:pt x="292" y="741"/>
                      </a:lnTo>
                      <a:lnTo>
                        <a:pt x="292" y="742"/>
                      </a:lnTo>
                      <a:lnTo>
                        <a:pt x="293" y="742"/>
                      </a:lnTo>
                      <a:lnTo>
                        <a:pt x="292" y="742"/>
                      </a:lnTo>
                      <a:lnTo>
                        <a:pt x="292" y="744"/>
                      </a:lnTo>
                      <a:lnTo>
                        <a:pt x="293" y="744"/>
                      </a:lnTo>
                      <a:lnTo>
                        <a:pt x="293" y="746"/>
                      </a:lnTo>
                      <a:lnTo>
                        <a:pt x="293" y="747"/>
                      </a:lnTo>
                      <a:lnTo>
                        <a:pt x="292" y="747"/>
                      </a:lnTo>
                      <a:lnTo>
                        <a:pt x="292" y="749"/>
                      </a:lnTo>
                      <a:lnTo>
                        <a:pt x="292" y="751"/>
                      </a:lnTo>
                      <a:lnTo>
                        <a:pt x="293" y="751"/>
                      </a:lnTo>
                      <a:lnTo>
                        <a:pt x="292" y="751"/>
                      </a:lnTo>
                      <a:lnTo>
                        <a:pt x="293" y="752"/>
                      </a:lnTo>
                      <a:lnTo>
                        <a:pt x="293" y="754"/>
                      </a:lnTo>
                      <a:lnTo>
                        <a:pt x="293" y="755"/>
                      </a:lnTo>
                      <a:lnTo>
                        <a:pt x="295" y="755"/>
                      </a:lnTo>
                      <a:lnTo>
                        <a:pt x="295" y="757"/>
                      </a:lnTo>
                      <a:lnTo>
                        <a:pt x="293" y="757"/>
                      </a:lnTo>
                      <a:lnTo>
                        <a:pt x="293" y="759"/>
                      </a:lnTo>
                      <a:lnTo>
                        <a:pt x="292" y="760"/>
                      </a:lnTo>
                      <a:lnTo>
                        <a:pt x="292" y="762"/>
                      </a:lnTo>
                      <a:lnTo>
                        <a:pt x="290" y="764"/>
                      </a:lnTo>
                      <a:lnTo>
                        <a:pt x="290" y="765"/>
                      </a:lnTo>
                      <a:lnTo>
                        <a:pt x="278" y="752"/>
                      </a:lnTo>
                      <a:lnTo>
                        <a:pt x="278" y="751"/>
                      </a:lnTo>
                      <a:lnTo>
                        <a:pt x="277" y="751"/>
                      </a:lnTo>
                      <a:lnTo>
                        <a:pt x="275" y="751"/>
                      </a:lnTo>
                      <a:lnTo>
                        <a:pt x="273" y="751"/>
                      </a:lnTo>
                      <a:lnTo>
                        <a:pt x="272" y="751"/>
                      </a:lnTo>
                      <a:lnTo>
                        <a:pt x="270" y="751"/>
                      </a:lnTo>
                      <a:lnTo>
                        <a:pt x="268" y="751"/>
                      </a:lnTo>
                      <a:lnTo>
                        <a:pt x="270" y="749"/>
                      </a:lnTo>
                      <a:lnTo>
                        <a:pt x="268" y="749"/>
                      </a:lnTo>
                      <a:lnTo>
                        <a:pt x="266" y="749"/>
                      </a:lnTo>
                      <a:lnTo>
                        <a:pt x="265" y="749"/>
                      </a:lnTo>
                      <a:lnTo>
                        <a:pt x="266" y="749"/>
                      </a:lnTo>
                      <a:lnTo>
                        <a:pt x="265" y="749"/>
                      </a:lnTo>
                      <a:lnTo>
                        <a:pt x="265" y="751"/>
                      </a:lnTo>
                      <a:lnTo>
                        <a:pt x="263" y="751"/>
                      </a:lnTo>
                      <a:lnTo>
                        <a:pt x="263" y="749"/>
                      </a:lnTo>
                      <a:lnTo>
                        <a:pt x="261" y="749"/>
                      </a:lnTo>
                      <a:lnTo>
                        <a:pt x="261" y="747"/>
                      </a:lnTo>
                      <a:lnTo>
                        <a:pt x="260" y="747"/>
                      </a:lnTo>
                      <a:lnTo>
                        <a:pt x="258" y="747"/>
                      </a:lnTo>
                      <a:lnTo>
                        <a:pt x="256" y="747"/>
                      </a:lnTo>
                      <a:lnTo>
                        <a:pt x="256" y="746"/>
                      </a:lnTo>
                      <a:lnTo>
                        <a:pt x="255" y="746"/>
                      </a:lnTo>
                      <a:lnTo>
                        <a:pt x="255" y="744"/>
                      </a:lnTo>
                      <a:lnTo>
                        <a:pt x="253" y="744"/>
                      </a:lnTo>
                      <a:lnTo>
                        <a:pt x="253" y="746"/>
                      </a:lnTo>
                      <a:lnTo>
                        <a:pt x="253" y="747"/>
                      </a:lnTo>
                      <a:lnTo>
                        <a:pt x="251" y="747"/>
                      </a:lnTo>
                      <a:lnTo>
                        <a:pt x="251" y="749"/>
                      </a:lnTo>
                      <a:lnTo>
                        <a:pt x="251" y="747"/>
                      </a:lnTo>
                      <a:lnTo>
                        <a:pt x="251" y="749"/>
                      </a:lnTo>
                      <a:lnTo>
                        <a:pt x="251" y="747"/>
                      </a:lnTo>
                      <a:lnTo>
                        <a:pt x="251" y="749"/>
                      </a:lnTo>
                      <a:lnTo>
                        <a:pt x="250" y="749"/>
                      </a:lnTo>
                      <a:lnTo>
                        <a:pt x="248" y="749"/>
                      </a:lnTo>
                      <a:lnTo>
                        <a:pt x="246" y="749"/>
                      </a:lnTo>
                      <a:lnTo>
                        <a:pt x="246" y="751"/>
                      </a:lnTo>
                      <a:lnTo>
                        <a:pt x="244" y="749"/>
                      </a:lnTo>
                      <a:lnTo>
                        <a:pt x="244" y="751"/>
                      </a:lnTo>
                      <a:lnTo>
                        <a:pt x="244" y="749"/>
                      </a:lnTo>
                      <a:lnTo>
                        <a:pt x="244" y="751"/>
                      </a:lnTo>
                      <a:lnTo>
                        <a:pt x="244" y="749"/>
                      </a:lnTo>
                      <a:lnTo>
                        <a:pt x="244" y="747"/>
                      </a:lnTo>
                      <a:lnTo>
                        <a:pt x="244" y="746"/>
                      </a:lnTo>
                      <a:lnTo>
                        <a:pt x="244" y="744"/>
                      </a:lnTo>
                      <a:lnTo>
                        <a:pt x="244" y="742"/>
                      </a:lnTo>
                      <a:lnTo>
                        <a:pt x="244" y="741"/>
                      </a:lnTo>
                      <a:lnTo>
                        <a:pt x="244" y="739"/>
                      </a:lnTo>
                      <a:lnTo>
                        <a:pt x="244" y="737"/>
                      </a:lnTo>
                      <a:lnTo>
                        <a:pt x="246" y="736"/>
                      </a:lnTo>
                      <a:lnTo>
                        <a:pt x="244" y="736"/>
                      </a:lnTo>
                      <a:lnTo>
                        <a:pt x="243" y="736"/>
                      </a:lnTo>
                      <a:lnTo>
                        <a:pt x="241" y="736"/>
                      </a:lnTo>
                      <a:lnTo>
                        <a:pt x="243" y="736"/>
                      </a:lnTo>
                      <a:lnTo>
                        <a:pt x="241" y="736"/>
                      </a:lnTo>
                      <a:lnTo>
                        <a:pt x="241" y="737"/>
                      </a:lnTo>
                      <a:lnTo>
                        <a:pt x="239" y="737"/>
                      </a:lnTo>
                      <a:lnTo>
                        <a:pt x="238" y="737"/>
                      </a:lnTo>
                      <a:lnTo>
                        <a:pt x="238" y="739"/>
                      </a:lnTo>
                      <a:lnTo>
                        <a:pt x="236" y="739"/>
                      </a:lnTo>
                      <a:lnTo>
                        <a:pt x="234" y="741"/>
                      </a:lnTo>
                      <a:lnTo>
                        <a:pt x="234" y="739"/>
                      </a:lnTo>
                      <a:lnTo>
                        <a:pt x="234" y="741"/>
                      </a:lnTo>
                      <a:lnTo>
                        <a:pt x="233" y="741"/>
                      </a:lnTo>
                      <a:lnTo>
                        <a:pt x="234" y="741"/>
                      </a:lnTo>
                      <a:lnTo>
                        <a:pt x="233" y="741"/>
                      </a:lnTo>
                      <a:lnTo>
                        <a:pt x="233" y="742"/>
                      </a:lnTo>
                      <a:lnTo>
                        <a:pt x="233" y="741"/>
                      </a:lnTo>
                      <a:lnTo>
                        <a:pt x="233" y="742"/>
                      </a:lnTo>
                      <a:lnTo>
                        <a:pt x="231" y="742"/>
                      </a:lnTo>
                      <a:lnTo>
                        <a:pt x="231" y="744"/>
                      </a:lnTo>
                      <a:lnTo>
                        <a:pt x="229" y="744"/>
                      </a:lnTo>
                      <a:lnTo>
                        <a:pt x="229" y="742"/>
                      </a:lnTo>
                      <a:lnTo>
                        <a:pt x="228" y="742"/>
                      </a:lnTo>
                      <a:lnTo>
                        <a:pt x="228" y="744"/>
                      </a:lnTo>
                      <a:lnTo>
                        <a:pt x="226" y="744"/>
                      </a:lnTo>
                      <a:lnTo>
                        <a:pt x="228" y="744"/>
                      </a:lnTo>
                      <a:lnTo>
                        <a:pt x="226" y="744"/>
                      </a:lnTo>
                      <a:lnTo>
                        <a:pt x="224" y="744"/>
                      </a:lnTo>
                      <a:lnTo>
                        <a:pt x="224" y="746"/>
                      </a:lnTo>
                      <a:lnTo>
                        <a:pt x="223" y="746"/>
                      </a:lnTo>
                      <a:lnTo>
                        <a:pt x="223" y="747"/>
                      </a:lnTo>
                      <a:lnTo>
                        <a:pt x="223" y="746"/>
                      </a:lnTo>
                      <a:lnTo>
                        <a:pt x="221" y="746"/>
                      </a:lnTo>
                      <a:lnTo>
                        <a:pt x="221" y="747"/>
                      </a:lnTo>
                      <a:lnTo>
                        <a:pt x="219" y="747"/>
                      </a:lnTo>
                      <a:lnTo>
                        <a:pt x="219" y="749"/>
                      </a:lnTo>
                      <a:lnTo>
                        <a:pt x="217" y="749"/>
                      </a:lnTo>
                      <a:lnTo>
                        <a:pt x="217" y="747"/>
                      </a:lnTo>
                      <a:lnTo>
                        <a:pt x="216" y="747"/>
                      </a:lnTo>
                      <a:lnTo>
                        <a:pt x="216" y="746"/>
                      </a:lnTo>
                      <a:lnTo>
                        <a:pt x="216" y="744"/>
                      </a:lnTo>
                      <a:lnTo>
                        <a:pt x="214" y="744"/>
                      </a:lnTo>
                      <a:lnTo>
                        <a:pt x="214" y="742"/>
                      </a:lnTo>
                      <a:lnTo>
                        <a:pt x="216" y="742"/>
                      </a:lnTo>
                      <a:lnTo>
                        <a:pt x="214" y="742"/>
                      </a:lnTo>
                      <a:lnTo>
                        <a:pt x="214" y="741"/>
                      </a:lnTo>
                      <a:lnTo>
                        <a:pt x="216" y="741"/>
                      </a:lnTo>
                      <a:lnTo>
                        <a:pt x="214" y="741"/>
                      </a:lnTo>
                      <a:lnTo>
                        <a:pt x="216" y="741"/>
                      </a:lnTo>
                      <a:lnTo>
                        <a:pt x="214" y="741"/>
                      </a:lnTo>
                      <a:lnTo>
                        <a:pt x="214" y="739"/>
                      </a:lnTo>
                      <a:lnTo>
                        <a:pt x="214" y="737"/>
                      </a:lnTo>
                      <a:lnTo>
                        <a:pt x="216" y="737"/>
                      </a:lnTo>
                      <a:lnTo>
                        <a:pt x="216" y="736"/>
                      </a:lnTo>
                      <a:lnTo>
                        <a:pt x="216" y="734"/>
                      </a:lnTo>
                      <a:lnTo>
                        <a:pt x="214" y="734"/>
                      </a:lnTo>
                      <a:lnTo>
                        <a:pt x="212" y="734"/>
                      </a:lnTo>
                      <a:lnTo>
                        <a:pt x="211" y="734"/>
                      </a:lnTo>
                      <a:lnTo>
                        <a:pt x="211" y="736"/>
                      </a:lnTo>
                      <a:lnTo>
                        <a:pt x="211" y="737"/>
                      </a:lnTo>
                      <a:lnTo>
                        <a:pt x="209" y="739"/>
                      </a:lnTo>
                      <a:lnTo>
                        <a:pt x="207" y="739"/>
                      </a:lnTo>
                      <a:lnTo>
                        <a:pt x="207" y="741"/>
                      </a:lnTo>
                      <a:lnTo>
                        <a:pt x="207" y="742"/>
                      </a:lnTo>
                      <a:lnTo>
                        <a:pt x="207" y="744"/>
                      </a:lnTo>
                      <a:lnTo>
                        <a:pt x="207" y="746"/>
                      </a:lnTo>
                      <a:lnTo>
                        <a:pt x="207" y="747"/>
                      </a:lnTo>
                      <a:lnTo>
                        <a:pt x="207" y="749"/>
                      </a:lnTo>
                      <a:lnTo>
                        <a:pt x="206" y="751"/>
                      </a:lnTo>
                      <a:lnTo>
                        <a:pt x="204" y="751"/>
                      </a:lnTo>
                      <a:lnTo>
                        <a:pt x="204" y="749"/>
                      </a:lnTo>
                      <a:lnTo>
                        <a:pt x="202" y="749"/>
                      </a:lnTo>
                      <a:lnTo>
                        <a:pt x="204" y="747"/>
                      </a:lnTo>
                      <a:lnTo>
                        <a:pt x="204" y="746"/>
                      </a:lnTo>
                      <a:lnTo>
                        <a:pt x="204" y="744"/>
                      </a:lnTo>
                      <a:lnTo>
                        <a:pt x="202" y="744"/>
                      </a:lnTo>
                      <a:lnTo>
                        <a:pt x="204" y="744"/>
                      </a:lnTo>
                      <a:lnTo>
                        <a:pt x="204" y="742"/>
                      </a:lnTo>
                      <a:lnTo>
                        <a:pt x="204" y="741"/>
                      </a:lnTo>
                      <a:lnTo>
                        <a:pt x="206" y="741"/>
                      </a:lnTo>
                      <a:lnTo>
                        <a:pt x="204" y="741"/>
                      </a:lnTo>
                      <a:lnTo>
                        <a:pt x="206" y="739"/>
                      </a:lnTo>
                      <a:lnTo>
                        <a:pt x="204" y="739"/>
                      </a:lnTo>
                      <a:lnTo>
                        <a:pt x="204" y="737"/>
                      </a:lnTo>
                      <a:lnTo>
                        <a:pt x="206" y="737"/>
                      </a:lnTo>
                      <a:lnTo>
                        <a:pt x="204" y="737"/>
                      </a:lnTo>
                      <a:lnTo>
                        <a:pt x="204" y="736"/>
                      </a:lnTo>
                      <a:lnTo>
                        <a:pt x="204" y="734"/>
                      </a:lnTo>
                      <a:lnTo>
                        <a:pt x="206" y="734"/>
                      </a:lnTo>
                      <a:lnTo>
                        <a:pt x="206" y="732"/>
                      </a:lnTo>
                      <a:lnTo>
                        <a:pt x="204" y="732"/>
                      </a:lnTo>
                      <a:lnTo>
                        <a:pt x="204" y="731"/>
                      </a:lnTo>
                      <a:lnTo>
                        <a:pt x="204" y="729"/>
                      </a:lnTo>
                      <a:lnTo>
                        <a:pt x="202" y="729"/>
                      </a:lnTo>
                      <a:lnTo>
                        <a:pt x="204" y="729"/>
                      </a:lnTo>
                      <a:lnTo>
                        <a:pt x="202" y="729"/>
                      </a:lnTo>
                      <a:lnTo>
                        <a:pt x="202" y="728"/>
                      </a:lnTo>
                      <a:lnTo>
                        <a:pt x="201" y="726"/>
                      </a:lnTo>
                      <a:lnTo>
                        <a:pt x="199" y="726"/>
                      </a:lnTo>
                      <a:lnTo>
                        <a:pt x="201" y="726"/>
                      </a:lnTo>
                      <a:lnTo>
                        <a:pt x="199" y="726"/>
                      </a:lnTo>
                      <a:lnTo>
                        <a:pt x="199" y="724"/>
                      </a:lnTo>
                      <a:lnTo>
                        <a:pt x="199" y="723"/>
                      </a:lnTo>
                      <a:lnTo>
                        <a:pt x="197" y="723"/>
                      </a:lnTo>
                      <a:lnTo>
                        <a:pt x="197" y="721"/>
                      </a:lnTo>
                      <a:lnTo>
                        <a:pt x="197" y="723"/>
                      </a:lnTo>
                      <a:lnTo>
                        <a:pt x="197" y="721"/>
                      </a:lnTo>
                      <a:lnTo>
                        <a:pt x="196" y="721"/>
                      </a:lnTo>
                      <a:lnTo>
                        <a:pt x="196" y="723"/>
                      </a:lnTo>
                      <a:lnTo>
                        <a:pt x="194" y="723"/>
                      </a:lnTo>
                      <a:lnTo>
                        <a:pt x="194" y="721"/>
                      </a:lnTo>
                      <a:lnTo>
                        <a:pt x="192" y="723"/>
                      </a:lnTo>
                      <a:lnTo>
                        <a:pt x="192" y="721"/>
                      </a:lnTo>
                      <a:lnTo>
                        <a:pt x="192" y="723"/>
                      </a:lnTo>
                      <a:lnTo>
                        <a:pt x="192" y="721"/>
                      </a:lnTo>
                      <a:lnTo>
                        <a:pt x="190" y="721"/>
                      </a:lnTo>
                      <a:lnTo>
                        <a:pt x="190" y="719"/>
                      </a:lnTo>
                      <a:lnTo>
                        <a:pt x="190" y="718"/>
                      </a:lnTo>
                      <a:lnTo>
                        <a:pt x="190" y="716"/>
                      </a:lnTo>
                      <a:lnTo>
                        <a:pt x="190" y="714"/>
                      </a:lnTo>
                      <a:lnTo>
                        <a:pt x="189" y="714"/>
                      </a:lnTo>
                      <a:lnTo>
                        <a:pt x="189" y="713"/>
                      </a:lnTo>
                      <a:lnTo>
                        <a:pt x="187" y="713"/>
                      </a:lnTo>
                      <a:lnTo>
                        <a:pt x="187" y="711"/>
                      </a:lnTo>
                      <a:lnTo>
                        <a:pt x="185" y="711"/>
                      </a:lnTo>
                      <a:lnTo>
                        <a:pt x="184" y="709"/>
                      </a:lnTo>
                      <a:lnTo>
                        <a:pt x="184" y="711"/>
                      </a:lnTo>
                      <a:lnTo>
                        <a:pt x="184" y="709"/>
                      </a:lnTo>
                      <a:lnTo>
                        <a:pt x="182" y="709"/>
                      </a:lnTo>
                      <a:lnTo>
                        <a:pt x="184" y="709"/>
                      </a:lnTo>
                      <a:lnTo>
                        <a:pt x="184" y="708"/>
                      </a:lnTo>
                      <a:lnTo>
                        <a:pt x="182" y="708"/>
                      </a:lnTo>
                      <a:lnTo>
                        <a:pt x="180" y="708"/>
                      </a:lnTo>
                      <a:lnTo>
                        <a:pt x="180" y="706"/>
                      </a:lnTo>
                      <a:lnTo>
                        <a:pt x="180" y="705"/>
                      </a:lnTo>
                      <a:lnTo>
                        <a:pt x="179" y="705"/>
                      </a:lnTo>
                      <a:lnTo>
                        <a:pt x="179" y="703"/>
                      </a:lnTo>
                      <a:lnTo>
                        <a:pt x="179" y="705"/>
                      </a:lnTo>
                      <a:lnTo>
                        <a:pt x="179" y="703"/>
                      </a:lnTo>
                      <a:lnTo>
                        <a:pt x="179" y="705"/>
                      </a:lnTo>
                      <a:lnTo>
                        <a:pt x="177" y="705"/>
                      </a:lnTo>
                      <a:lnTo>
                        <a:pt x="177" y="703"/>
                      </a:lnTo>
                      <a:lnTo>
                        <a:pt x="177" y="705"/>
                      </a:lnTo>
                      <a:lnTo>
                        <a:pt x="167" y="718"/>
                      </a:lnTo>
                      <a:lnTo>
                        <a:pt x="167" y="716"/>
                      </a:lnTo>
                      <a:lnTo>
                        <a:pt x="165" y="716"/>
                      </a:lnTo>
                      <a:lnTo>
                        <a:pt x="165" y="714"/>
                      </a:lnTo>
                      <a:lnTo>
                        <a:pt x="163" y="714"/>
                      </a:lnTo>
                      <a:lnTo>
                        <a:pt x="163" y="713"/>
                      </a:lnTo>
                      <a:lnTo>
                        <a:pt x="162" y="713"/>
                      </a:lnTo>
                      <a:lnTo>
                        <a:pt x="160" y="713"/>
                      </a:lnTo>
                      <a:lnTo>
                        <a:pt x="160" y="714"/>
                      </a:lnTo>
                      <a:lnTo>
                        <a:pt x="160" y="713"/>
                      </a:lnTo>
                      <a:lnTo>
                        <a:pt x="158" y="713"/>
                      </a:lnTo>
                      <a:lnTo>
                        <a:pt x="157" y="713"/>
                      </a:lnTo>
                      <a:lnTo>
                        <a:pt x="157" y="711"/>
                      </a:lnTo>
                      <a:lnTo>
                        <a:pt x="157" y="709"/>
                      </a:lnTo>
                      <a:lnTo>
                        <a:pt x="158" y="709"/>
                      </a:lnTo>
                      <a:lnTo>
                        <a:pt x="158" y="708"/>
                      </a:lnTo>
                      <a:lnTo>
                        <a:pt x="157" y="708"/>
                      </a:lnTo>
                      <a:lnTo>
                        <a:pt x="157" y="706"/>
                      </a:lnTo>
                      <a:lnTo>
                        <a:pt x="155" y="706"/>
                      </a:lnTo>
                      <a:lnTo>
                        <a:pt x="153" y="703"/>
                      </a:lnTo>
                      <a:lnTo>
                        <a:pt x="152" y="703"/>
                      </a:lnTo>
                      <a:lnTo>
                        <a:pt x="152" y="705"/>
                      </a:lnTo>
                      <a:lnTo>
                        <a:pt x="150" y="705"/>
                      </a:lnTo>
                      <a:lnTo>
                        <a:pt x="150" y="706"/>
                      </a:lnTo>
                      <a:lnTo>
                        <a:pt x="148" y="708"/>
                      </a:lnTo>
                      <a:lnTo>
                        <a:pt x="147" y="708"/>
                      </a:lnTo>
                      <a:lnTo>
                        <a:pt x="147" y="709"/>
                      </a:lnTo>
                      <a:lnTo>
                        <a:pt x="145" y="709"/>
                      </a:lnTo>
                      <a:lnTo>
                        <a:pt x="145" y="711"/>
                      </a:lnTo>
                      <a:lnTo>
                        <a:pt x="143" y="709"/>
                      </a:lnTo>
                      <a:lnTo>
                        <a:pt x="143" y="711"/>
                      </a:lnTo>
                      <a:lnTo>
                        <a:pt x="141" y="713"/>
                      </a:lnTo>
                      <a:lnTo>
                        <a:pt x="141" y="714"/>
                      </a:lnTo>
                      <a:lnTo>
                        <a:pt x="141" y="716"/>
                      </a:lnTo>
                      <a:lnTo>
                        <a:pt x="140" y="716"/>
                      </a:lnTo>
                      <a:lnTo>
                        <a:pt x="140" y="718"/>
                      </a:lnTo>
                      <a:lnTo>
                        <a:pt x="138" y="719"/>
                      </a:lnTo>
                      <a:lnTo>
                        <a:pt x="138" y="721"/>
                      </a:lnTo>
                      <a:lnTo>
                        <a:pt x="138" y="723"/>
                      </a:lnTo>
                      <a:lnTo>
                        <a:pt x="136" y="723"/>
                      </a:lnTo>
                      <a:lnTo>
                        <a:pt x="136" y="724"/>
                      </a:lnTo>
                      <a:lnTo>
                        <a:pt x="135" y="724"/>
                      </a:lnTo>
                      <a:lnTo>
                        <a:pt x="135" y="726"/>
                      </a:lnTo>
                      <a:lnTo>
                        <a:pt x="135" y="728"/>
                      </a:lnTo>
                      <a:lnTo>
                        <a:pt x="133" y="728"/>
                      </a:lnTo>
                      <a:lnTo>
                        <a:pt x="133" y="729"/>
                      </a:lnTo>
                      <a:lnTo>
                        <a:pt x="131" y="729"/>
                      </a:lnTo>
                      <a:lnTo>
                        <a:pt x="131" y="731"/>
                      </a:lnTo>
                      <a:lnTo>
                        <a:pt x="131" y="732"/>
                      </a:lnTo>
                      <a:lnTo>
                        <a:pt x="133" y="732"/>
                      </a:lnTo>
                      <a:lnTo>
                        <a:pt x="133" y="734"/>
                      </a:lnTo>
                      <a:lnTo>
                        <a:pt x="131" y="734"/>
                      </a:lnTo>
                      <a:lnTo>
                        <a:pt x="131" y="736"/>
                      </a:lnTo>
                      <a:lnTo>
                        <a:pt x="131" y="737"/>
                      </a:lnTo>
                      <a:lnTo>
                        <a:pt x="133" y="737"/>
                      </a:lnTo>
                      <a:lnTo>
                        <a:pt x="133" y="739"/>
                      </a:lnTo>
                      <a:lnTo>
                        <a:pt x="131" y="739"/>
                      </a:lnTo>
                      <a:lnTo>
                        <a:pt x="133" y="741"/>
                      </a:lnTo>
                      <a:lnTo>
                        <a:pt x="131" y="741"/>
                      </a:lnTo>
                      <a:lnTo>
                        <a:pt x="133" y="742"/>
                      </a:lnTo>
                      <a:lnTo>
                        <a:pt x="133" y="744"/>
                      </a:lnTo>
                      <a:lnTo>
                        <a:pt x="133" y="746"/>
                      </a:lnTo>
                      <a:lnTo>
                        <a:pt x="131" y="746"/>
                      </a:lnTo>
                      <a:lnTo>
                        <a:pt x="130" y="747"/>
                      </a:lnTo>
                      <a:lnTo>
                        <a:pt x="118" y="741"/>
                      </a:lnTo>
                      <a:lnTo>
                        <a:pt x="79" y="719"/>
                      </a:lnTo>
                      <a:lnTo>
                        <a:pt x="79" y="718"/>
                      </a:lnTo>
                      <a:lnTo>
                        <a:pt x="77" y="718"/>
                      </a:lnTo>
                      <a:lnTo>
                        <a:pt x="76" y="718"/>
                      </a:lnTo>
                      <a:lnTo>
                        <a:pt x="74" y="718"/>
                      </a:lnTo>
                      <a:lnTo>
                        <a:pt x="72" y="716"/>
                      </a:lnTo>
                      <a:lnTo>
                        <a:pt x="71" y="716"/>
                      </a:lnTo>
                      <a:lnTo>
                        <a:pt x="69" y="716"/>
                      </a:lnTo>
                      <a:lnTo>
                        <a:pt x="69" y="714"/>
                      </a:lnTo>
                      <a:lnTo>
                        <a:pt x="67" y="716"/>
                      </a:lnTo>
                      <a:lnTo>
                        <a:pt x="65" y="716"/>
                      </a:lnTo>
                      <a:lnTo>
                        <a:pt x="65" y="714"/>
                      </a:lnTo>
                      <a:lnTo>
                        <a:pt x="64" y="714"/>
                      </a:lnTo>
                      <a:lnTo>
                        <a:pt x="64" y="713"/>
                      </a:lnTo>
                      <a:lnTo>
                        <a:pt x="62" y="713"/>
                      </a:lnTo>
                      <a:lnTo>
                        <a:pt x="60" y="713"/>
                      </a:lnTo>
                      <a:lnTo>
                        <a:pt x="59" y="713"/>
                      </a:lnTo>
                      <a:lnTo>
                        <a:pt x="57" y="713"/>
                      </a:lnTo>
                      <a:lnTo>
                        <a:pt x="55" y="713"/>
                      </a:lnTo>
                      <a:lnTo>
                        <a:pt x="55" y="711"/>
                      </a:lnTo>
                      <a:lnTo>
                        <a:pt x="54" y="711"/>
                      </a:lnTo>
                      <a:lnTo>
                        <a:pt x="54" y="713"/>
                      </a:lnTo>
                      <a:lnTo>
                        <a:pt x="54" y="711"/>
                      </a:lnTo>
                      <a:lnTo>
                        <a:pt x="54" y="713"/>
                      </a:lnTo>
                      <a:lnTo>
                        <a:pt x="52" y="711"/>
                      </a:lnTo>
                      <a:lnTo>
                        <a:pt x="50" y="711"/>
                      </a:lnTo>
                      <a:lnTo>
                        <a:pt x="50" y="709"/>
                      </a:lnTo>
                      <a:lnTo>
                        <a:pt x="50" y="711"/>
                      </a:lnTo>
                      <a:lnTo>
                        <a:pt x="50" y="709"/>
                      </a:lnTo>
                      <a:lnTo>
                        <a:pt x="49" y="709"/>
                      </a:lnTo>
                      <a:lnTo>
                        <a:pt x="49" y="708"/>
                      </a:lnTo>
                      <a:lnTo>
                        <a:pt x="47" y="708"/>
                      </a:lnTo>
                      <a:lnTo>
                        <a:pt x="45" y="708"/>
                      </a:lnTo>
                      <a:lnTo>
                        <a:pt x="45" y="706"/>
                      </a:lnTo>
                      <a:lnTo>
                        <a:pt x="44" y="708"/>
                      </a:lnTo>
                      <a:lnTo>
                        <a:pt x="44" y="706"/>
                      </a:lnTo>
                      <a:lnTo>
                        <a:pt x="44" y="708"/>
                      </a:lnTo>
                      <a:lnTo>
                        <a:pt x="44" y="706"/>
                      </a:lnTo>
                      <a:lnTo>
                        <a:pt x="42" y="706"/>
                      </a:lnTo>
                      <a:lnTo>
                        <a:pt x="42" y="705"/>
                      </a:lnTo>
                      <a:lnTo>
                        <a:pt x="42" y="703"/>
                      </a:lnTo>
                      <a:lnTo>
                        <a:pt x="40" y="703"/>
                      </a:lnTo>
                      <a:lnTo>
                        <a:pt x="42" y="701"/>
                      </a:lnTo>
                      <a:lnTo>
                        <a:pt x="42" y="700"/>
                      </a:lnTo>
                      <a:lnTo>
                        <a:pt x="42" y="698"/>
                      </a:lnTo>
                      <a:lnTo>
                        <a:pt x="44" y="698"/>
                      </a:lnTo>
                      <a:lnTo>
                        <a:pt x="44" y="696"/>
                      </a:lnTo>
                      <a:lnTo>
                        <a:pt x="44" y="695"/>
                      </a:lnTo>
                      <a:lnTo>
                        <a:pt x="42" y="695"/>
                      </a:lnTo>
                      <a:lnTo>
                        <a:pt x="42" y="693"/>
                      </a:lnTo>
                      <a:lnTo>
                        <a:pt x="42" y="691"/>
                      </a:lnTo>
                      <a:lnTo>
                        <a:pt x="42" y="693"/>
                      </a:lnTo>
                      <a:lnTo>
                        <a:pt x="44" y="693"/>
                      </a:lnTo>
                      <a:lnTo>
                        <a:pt x="44" y="691"/>
                      </a:lnTo>
                      <a:lnTo>
                        <a:pt x="44" y="693"/>
                      </a:lnTo>
                      <a:lnTo>
                        <a:pt x="45" y="693"/>
                      </a:lnTo>
                      <a:lnTo>
                        <a:pt x="45" y="691"/>
                      </a:lnTo>
                      <a:lnTo>
                        <a:pt x="45" y="690"/>
                      </a:lnTo>
                      <a:lnTo>
                        <a:pt x="45" y="688"/>
                      </a:lnTo>
                      <a:lnTo>
                        <a:pt x="45" y="687"/>
                      </a:lnTo>
                      <a:lnTo>
                        <a:pt x="47" y="687"/>
                      </a:lnTo>
                      <a:lnTo>
                        <a:pt x="47" y="688"/>
                      </a:lnTo>
                      <a:lnTo>
                        <a:pt x="47" y="687"/>
                      </a:lnTo>
                      <a:lnTo>
                        <a:pt x="49" y="687"/>
                      </a:lnTo>
                      <a:lnTo>
                        <a:pt x="47" y="687"/>
                      </a:lnTo>
                      <a:lnTo>
                        <a:pt x="47" y="685"/>
                      </a:lnTo>
                      <a:lnTo>
                        <a:pt x="47" y="683"/>
                      </a:lnTo>
                      <a:lnTo>
                        <a:pt x="49" y="683"/>
                      </a:lnTo>
                      <a:lnTo>
                        <a:pt x="50" y="683"/>
                      </a:lnTo>
                      <a:lnTo>
                        <a:pt x="50" y="682"/>
                      </a:lnTo>
                      <a:lnTo>
                        <a:pt x="52" y="682"/>
                      </a:lnTo>
                      <a:lnTo>
                        <a:pt x="52" y="680"/>
                      </a:lnTo>
                      <a:lnTo>
                        <a:pt x="50" y="680"/>
                      </a:lnTo>
                      <a:lnTo>
                        <a:pt x="50" y="682"/>
                      </a:lnTo>
                      <a:lnTo>
                        <a:pt x="50" y="680"/>
                      </a:lnTo>
                      <a:lnTo>
                        <a:pt x="49" y="680"/>
                      </a:lnTo>
                      <a:lnTo>
                        <a:pt x="49" y="678"/>
                      </a:lnTo>
                      <a:lnTo>
                        <a:pt x="49" y="677"/>
                      </a:lnTo>
                      <a:lnTo>
                        <a:pt x="50" y="677"/>
                      </a:lnTo>
                      <a:lnTo>
                        <a:pt x="50" y="675"/>
                      </a:lnTo>
                      <a:lnTo>
                        <a:pt x="50" y="673"/>
                      </a:lnTo>
                      <a:lnTo>
                        <a:pt x="50" y="672"/>
                      </a:lnTo>
                      <a:lnTo>
                        <a:pt x="52" y="672"/>
                      </a:lnTo>
                      <a:lnTo>
                        <a:pt x="54" y="672"/>
                      </a:lnTo>
                      <a:lnTo>
                        <a:pt x="54" y="670"/>
                      </a:lnTo>
                      <a:lnTo>
                        <a:pt x="55" y="670"/>
                      </a:lnTo>
                      <a:lnTo>
                        <a:pt x="55" y="668"/>
                      </a:lnTo>
                      <a:lnTo>
                        <a:pt x="55" y="667"/>
                      </a:lnTo>
                      <a:lnTo>
                        <a:pt x="57" y="665"/>
                      </a:lnTo>
                      <a:lnTo>
                        <a:pt x="55" y="667"/>
                      </a:lnTo>
                      <a:lnTo>
                        <a:pt x="54" y="667"/>
                      </a:lnTo>
                      <a:lnTo>
                        <a:pt x="54" y="668"/>
                      </a:lnTo>
                      <a:lnTo>
                        <a:pt x="52" y="668"/>
                      </a:lnTo>
                      <a:lnTo>
                        <a:pt x="52" y="667"/>
                      </a:lnTo>
                      <a:lnTo>
                        <a:pt x="52" y="668"/>
                      </a:lnTo>
                      <a:lnTo>
                        <a:pt x="54" y="668"/>
                      </a:lnTo>
                      <a:lnTo>
                        <a:pt x="52" y="670"/>
                      </a:lnTo>
                      <a:lnTo>
                        <a:pt x="50" y="670"/>
                      </a:lnTo>
                      <a:lnTo>
                        <a:pt x="50" y="672"/>
                      </a:lnTo>
                      <a:lnTo>
                        <a:pt x="49" y="670"/>
                      </a:lnTo>
                      <a:lnTo>
                        <a:pt x="49" y="672"/>
                      </a:lnTo>
                      <a:lnTo>
                        <a:pt x="47" y="672"/>
                      </a:lnTo>
                      <a:lnTo>
                        <a:pt x="45" y="673"/>
                      </a:lnTo>
                      <a:lnTo>
                        <a:pt x="44" y="673"/>
                      </a:lnTo>
                      <a:lnTo>
                        <a:pt x="44" y="675"/>
                      </a:lnTo>
                      <a:lnTo>
                        <a:pt x="42" y="675"/>
                      </a:lnTo>
                      <a:lnTo>
                        <a:pt x="40" y="675"/>
                      </a:lnTo>
                      <a:lnTo>
                        <a:pt x="40" y="677"/>
                      </a:lnTo>
                      <a:lnTo>
                        <a:pt x="40" y="678"/>
                      </a:lnTo>
                      <a:lnTo>
                        <a:pt x="40" y="677"/>
                      </a:lnTo>
                      <a:lnTo>
                        <a:pt x="38" y="677"/>
                      </a:lnTo>
                      <a:lnTo>
                        <a:pt x="38" y="678"/>
                      </a:lnTo>
                      <a:lnTo>
                        <a:pt x="37" y="678"/>
                      </a:lnTo>
                      <a:lnTo>
                        <a:pt x="37" y="680"/>
                      </a:lnTo>
                      <a:lnTo>
                        <a:pt x="35" y="680"/>
                      </a:lnTo>
                      <a:lnTo>
                        <a:pt x="37" y="680"/>
                      </a:lnTo>
                      <a:lnTo>
                        <a:pt x="35" y="680"/>
                      </a:lnTo>
                      <a:lnTo>
                        <a:pt x="35" y="682"/>
                      </a:lnTo>
                      <a:lnTo>
                        <a:pt x="35" y="683"/>
                      </a:lnTo>
                      <a:lnTo>
                        <a:pt x="33" y="683"/>
                      </a:lnTo>
                      <a:lnTo>
                        <a:pt x="32" y="685"/>
                      </a:lnTo>
                      <a:lnTo>
                        <a:pt x="33" y="685"/>
                      </a:lnTo>
                      <a:lnTo>
                        <a:pt x="33" y="687"/>
                      </a:lnTo>
                      <a:lnTo>
                        <a:pt x="32" y="687"/>
                      </a:lnTo>
                      <a:lnTo>
                        <a:pt x="30" y="687"/>
                      </a:lnTo>
                      <a:lnTo>
                        <a:pt x="30" y="688"/>
                      </a:lnTo>
                      <a:lnTo>
                        <a:pt x="32" y="690"/>
                      </a:lnTo>
                      <a:lnTo>
                        <a:pt x="30" y="690"/>
                      </a:lnTo>
                      <a:lnTo>
                        <a:pt x="30" y="688"/>
                      </a:lnTo>
                      <a:lnTo>
                        <a:pt x="28" y="690"/>
                      </a:lnTo>
                      <a:lnTo>
                        <a:pt x="30" y="690"/>
                      </a:lnTo>
                      <a:lnTo>
                        <a:pt x="28" y="690"/>
                      </a:lnTo>
                      <a:lnTo>
                        <a:pt x="28" y="691"/>
                      </a:lnTo>
                      <a:lnTo>
                        <a:pt x="30" y="691"/>
                      </a:lnTo>
                      <a:lnTo>
                        <a:pt x="28" y="691"/>
                      </a:lnTo>
                      <a:lnTo>
                        <a:pt x="28" y="693"/>
                      </a:lnTo>
                      <a:lnTo>
                        <a:pt x="30" y="693"/>
                      </a:lnTo>
                      <a:lnTo>
                        <a:pt x="28" y="693"/>
                      </a:lnTo>
                      <a:lnTo>
                        <a:pt x="27" y="693"/>
                      </a:lnTo>
                      <a:lnTo>
                        <a:pt x="27" y="695"/>
                      </a:lnTo>
                      <a:lnTo>
                        <a:pt x="25" y="695"/>
                      </a:lnTo>
                      <a:lnTo>
                        <a:pt x="27" y="696"/>
                      </a:lnTo>
                      <a:lnTo>
                        <a:pt x="27" y="698"/>
                      </a:lnTo>
                      <a:lnTo>
                        <a:pt x="25" y="698"/>
                      </a:lnTo>
                      <a:lnTo>
                        <a:pt x="25" y="700"/>
                      </a:lnTo>
                      <a:lnTo>
                        <a:pt x="25" y="698"/>
                      </a:lnTo>
                      <a:lnTo>
                        <a:pt x="27" y="700"/>
                      </a:lnTo>
                      <a:lnTo>
                        <a:pt x="25" y="700"/>
                      </a:lnTo>
                      <a:lnTo>
                        <a:pt x="25" y="701"/>
                      </a:lnTo>
                      <a:lnTo>
                        <a:pt x="23" y="701"/>
                      </a:lnTo>
                      <a:lnTo>
                        <a:pt x="23" y="703"/>
                      </a:lnTo>
                      <a:lnTo>
                        <a:pt x="25" y="705"/>
                      </a:lnTo>
                      <a:lnTo>
                        <a:pt x="23" y="705"/>
                      </a:lnTo>
                      <a:lnTo>
                        <a:pt x="23" y="706"/>
                      </a:lnTo>
                      <a:lnTo>
                        <a:pt x="23" y="708"/>
                      </a:lnTo>
                      <a:lnTo>
                        <a:pt x="22" y="708"/>
                      </a:lnTo>
                      <a:lnTo>
                        <a:pt x="22" y="709"/>
                      </a:lnTo>
                      <a:lnTo>
                        <a:pt x="22" y="708"/>
                      </a:lnTo>
                      <a:lnTo>
                        <a:pt x="22" y="706"/>
                      </a:lnTo>
                      <a:lnTo>
                        <a:pt x="20" y="708"/>
                      </a:lnTo>
                      <a:lnTo>
                        <a:pt x="18" y="708"/>
                      </a:lnTo>
                      <a:lnTo>
                        <a:pt x="16" y="708"/>
                      </a:lnTo>
                      <a:lnTo>
                        <a:pt x="15" y="706"/>
                      </a:lnTo>
                      <a:lnTo>
                        <a:pt x="13" y="706"/>
                      </a:lnTo>
                      <a:lnTo>
                        <a:pt x="13" y="705"/>
                      </a:lnTo>
                      <a:lnTo>
                        <a:pt x="15" y="705"/>
                      </a:lnTo>
                      <a:lnTo>
                        <a:pt x="15" y="703"/>
                      </a:lnTo>
                      <a:lnTo>
                        <a:pt x="13" y="703"/>
                      </a:lnTo>
                      <a:lnTo>
                        <a:pt x="13" y="705"/>
                      </a:lnTo>
                      <a:lnTo>
                        <a:pt x="11" y="705"/>
                      </a:lnTo>
                      <a:lnTo>
                        <a:pt x="11" y="703"/>
                      </a:lnTo>
                      <a:lnTo>
                        <a:pt x="11" y="701"/>
                      </a:lnTo>
                      <a:lnTo>
                        <a:pt x="10" y="701"/>
                      </a:lnTo>
                      <a:lnTo>
                        <a:pt x="10" y="700"/>
                      </a:lnTo>
                      <a:lnTo>
                        <a:pt x="11" y="700"/>
                      </a:lnTo>
                      <a:lnTo>
                        <a:pt x="11" y="698"/>
                      </a:lnTo>
                      <a:lnTo>
                        <a:pt x="11" y="696"/>
                      </a:lnTo>
                      <a:lnTo>
                        <a:pt x="10" y="696"/>
                      </a:lnTo>
                      <a:lnTo>
                        <a:pt x="10" y="695"/>
                      </a:lnTo>
                      <a:lnTo>
                        <a:pt x="8" y="693"/>
                      </a:lnTo>
                      <a:lnTo>
                        <a:pt x="8" y="691"/>
                      </a:lnTo>
                      <a:lnTo>
                        <a:pt x="10" y="691"/>
                      </a:lnTo>
                      <a:lnTo>
                        <a:pt x="10" y="690"/>
                      </a:lnTo>
                      <a:lnTo>
                        <a:pt x="8" y="690"/>
                      </a:lnTo>
                      <a:lnTo>
                        <a:pt x="6" y="690"/>
                      </a:lnTo>
                      <a:lnTo>
                        <a:pt x="5" y="690"/>
                      </a:lnTo>
                      <a:lnTo>
                        <a:pt x="3" y="688"/>
                      </a:lnTo>
                      <a:lnTo>
                        <a:pt x="3" y="687"/>
                      </a:lnTo>
                      <a:lnTo>
                        <a:pt x="3" y="685"/>
                      </a:lnTo>
                      <a:lnTo>
                        <a:pt x="5" y="685"/>
                      </a:lnTo>
                      <a:lnTo>
                        <a:pt x="6" y="685"/>
                      </a:lnTo>
                      <a:lnTo>
                        <a:pt x="6" y="683"/>
                      </a:lnTo>
                      <a:lnTo>
                        <a:pt x="5" y="682"/>
                      </a:lnTo>
                      <a:lnTo>
                        <a:pt x="6" y="680"/>
                      </a:lnTo>
                      <a:lnTo>
                        <a:pt x="8" y="678"/>
                      </a:lnTo>
                      <a:lnTo>
                        <a:pt x="8" y="677"/>
                      </a:lnTo>
                      <a:lnTo>
                        <a:pt x="8" y="675"/>
                      </a:lnTo>
                      <a:lnTo>
                        <a:pt x="10" y="673"/>
                      </a:lnTo>
                      <a:lnTo>
                        <a:pt x="8" y="672"/>
                      </a:lnTo>
                      <a:lnTo>
                        <a:pt x="10" y="672"/>
                      </a:lnTo>
                      <a:lnTo>
                        <a:pt x="11" y="672"/>
                      </a:lnTo>
                      <a:lnTo>
                        <a:pt x="11" y="670"/>
                      </a:lnTo>
                      <a:lnTo>
                        <a:pt x="11" y="668"/>
                      </a:lnTo>
                      <a:lnTo>
                        <a:pt x="10" y="668"/>
                      </a:lnTo>
                      <a:lnTo>
                        <a:pt x="10" y="667"/>
                      </a:lnTo>
                      <a:lnTo>
                        <a:pt x="11" y="667"/>
                      </a:lnTo>
                      <a:lnTo>
                        <a:pt x="11" y="665"/>
                      </a:lnTo>
                      <a:lnTo>
                        <a:pt x="10" y="664"/>
                      </a:lnTo>
                      <a:lnTo>
                        <a:pt x="10" y="662"/>
                      </a:lnTo>
                      <a:lnTo>
                        <a:pt x="10" y="660"/>
                      </a:lnTo>
                      <a:lnTo>
                        <a:pt x="10" y="659"/>
                      </a:lnTo>
                      <a:lnTo>
                        <a:pt x="10" y="657"/>
                      </a:lnTo>
                      <a:lnTo>
                        <a:pt x="8" y="657"/>
                      </a:lnTo>
                      <a:lnTo>
                        <a:pt x="10" y="657"/>
                      </a:lnTo>
                      <a:lnTo>
                        <a:pt x="10" y="655"/>
                      </a:lnTo>
                      <a:lnTo>
                        <a:pt x="10" y="654"/>
                      </a:lnTo>
                      <a:lnTo>
                        <a:pt x="8" y="652"/>
                      </a:lnTo>
                      <a:lnTo>
                        <a:pt x="8" y="650"/>
                      </a:lnTo>
                      <a:lnTo>
                        <a:pt x="10" y="650"/>
                      </a:lnTo>
                      <a:lnTo>
                        <a:pt x="8" y="650"/>
                      </a:lnTo>
                      <a:lnTo>
                        <a:pt x="6" y="650"/>
                      </a:lnTo>
                      <a:lnTo>
                        <a:pt x="6" y="649"/>
                      </a:lnTo>
                      <a:lnTo>
                        <a:pt x="5" y="649"/>
                      </a:lnTo>
                      <a:lnTo>
                        <a:pt x="6" y="647"/>
                      </a:lnTo>
                      <a:lnTo>
                        <a:pt x="6" y="645"/>
                      </a:lnTo>
                      <a:lnTo>
                        <a:pt x="6" y="644"/>
                      </a:lnTo>
                      <a:lnTo>
                        <a:pt x="6" y="642"/>
                      </a:lnTo>
                      <a:lnTo>
                        <a:pt x="6" y="641"/>
                      </a:lnTo>
                      <a:lnTo>
                        <a:pt x="6" y="639"/>
                      </a:lnTo>
                      <a:lnTo>
                        <a:pt x="6" y="637"/>
                      </a:lnTo>
                      <a:lnTo>
                        <a:pt x="6" y="636"/>
                      </a:lnTo>
                      <a:lnTo>
                        <a:pt x="6" y="634"/>
                      </a:lnTo>
                      <a:lnTo>
                        <a:pt x="5" y="634"/>
                      </a:lnTo>
                      <a:lnTo>
                        <a:pt x="5" y="632"/>
                      </a:lnTo>
                      <a:lnTo>
                        <a:pt x="6" y="632"/>
                      </a:lnTo>
                      <a:lnTo>
                        <a:pt x="6" y="631"/>
                      </a:lnTo>
                      <a:lnTo>
                        <a:pt x="5" y="631"/>
                      </a:lnTo>
                      <a:lnTo>
                        <a:pt x="5" y="629"/>
                      </a:lnTo>
                      <a:lnTo>
                        <a:pt x="6" y="629"/>
                      </a:lnTo>
                      <a:lnTo>
                        <a:pt x="6" y="627"/>
                      </a:lnTo>
                      <a:lnTo>
                        <a:pt x="8" y="627"/>
                      </a:lnTo>
                      <a:lnTo>
                        <a:pt x="8" y="626"/>
                      </a:lnTo>
                      <a:lnTo>
                        <a:pt x="8" y="624"/>
                      </a:lnTo>
                      <a:lnTo>
                        <a:pt x="6" y="622"/>
                      </a:lnTo>
                      <a:lnTo>
                        <a:pt x="8" y="621"/>
                      </a:lnTo>
                      <a:lnTo>
                        <a:pt x="10" y="621"/>
                      </a:lnTo>
                      <a:lnTo>
                        <a:pt x="10" y="619"/>
                      </a:lnTo>
                      <a:lnTo>
                        <a:pt x="10" y="618"/>
                      </a:lnTo>
                      <a:lnTo>
                        <a:pt x="8" y="618"/>
                      </a:lnTo>
                      <a:lnTo>
                        <a:pt x="6" y="618"/>
                      </a:lnTo>
                      <a:lnTo>
                        <a:pt x="5" y="618"/>
                      </a:lnTo>
                      <a:lnTo>
                        <a:pt x="5" y="616"/>
                      </a:lnTo>
                      <a:lnTo>
                        <a:pt x="5" y="614"/>
                      </a:lnTo>
                      <a:lnTo>
                        <a:pt x="5" y="613"/>
                      </a:lnTo>
                      <a:lnTo>
                        <a:pt x="3" y="611"/>
                      </a:lnTo>
                      <a:lnTo>
                        <a:pt x="3" y="608"/>
                      </a:lnTo>
                      <a:lnTo>
                        <a:pt x="3" y="606"/>
                      </a:lnTo>
                      <a:lnTo>
                        <a:pt x="1" y="606"/>
                      </a:lnTo>
                      <a:lnTo>
                        <a:pt x="1" y="604"/>
                      </a:lnTo>
                      <a:lnTo>
                        <a:pt x="3" y="604"/>
                      </a:lnTo>
                      <a:lnTo>
                        <a:pt x="3" y="603"/>
                      </a:lnTo>
                      <a:lnTo>
                        <a:pt x="5" y="603"/>
                      </a:lnTo>
                      <a:lnTo>
                        <a:pt x="5" y="601"/>
                      </a:lnTo>
                      <a:lnTo>
                        <a:pt x="6" y="601"/>
                      </a:lnTo>
                      <a:lnTo>
                        <a:pt x="8" y="599"/>
                      </a:lnTo>
                      <a:lnTo>
                        <a:pt x="8" y="598"/>
                      </a:lnTo>
                      <a:lnTo>
                        <a:pt x="8" y="596"/>
                      </a:lnTo>
                      <a:lnTo>
                        <a:pt x="8" y="595"/>
                      </a:lnTo>
                      <a:lnTo>
                        <a:pt x="6" y="595"/>
                      </a:lnTo>
                      <a:lnTo>
                        <a:pt x="8" y="595"/>
                      </a:lnTo>
                      <a:lnTo>
                        <a:pt x="8" y="593"/>
                      </a:lnTo>
                      <a:lnTo>
                        <a:pt x="8" y="591"/>
                      </a:lnTo>
                      <a:lnTo>
                        <a:pt x="6" y="591"/>
                      </a:lnTo>
                      <a:lnTo>
                        <a:pt x="5" y="591"/>
                      </a:lnTo>
                      <a:lnTo>
                        <a:pt x="3" y="591"/>
                      </a:lnTo>
                      <a:lnTo>
                        <a:pt x="1" y="590"/>
                      </a:lnTo>
                      <a:lnTo>
                        <a:pt x="1" y="588"/>
                      </a:lnTo>
                      <a:lnTo>
                        <a:pt x="0" y="588"/>
                      </a:lnTo>
                      <a:lnTo>
                        <a:pt x="0" y="586"/>
                      </a:lnTo>
                      <a:lnTo>
                        <a:pt x="1" y="585"/>
                      </a:lnTo>
                      <a:lnTo>
                        <a:pt x="0" y="583"/>
                      </a:lnTo>
                      <a:lnTo>
                        <a:pt x="0" y="581"/>
                      </a:lnTo>
                      <a:lnTo>
                        <a:pt x="0" y="580"/>
                      </a:lnTo>
                      <a:lnTo>
                        <a:pt x="0" y="578"/>
                      </a:lnTo>
                      <a:lnTo>
                        <a:pt x="1" y="576"/>
                      </a:lnTo>
                      <a:lnTo>
                        <a:pt x="1" y="575"/>
                      </a:lnTo>
                      <a:lnTo>
                        <a:pt x="1" y="573"/>
                      </a:lnTo>
                      <a:lnTo>
                        <a:pt x="3" y="572"/>
                      </a:lnTo>
                      <a:lnTo>
                        <a:pt x="3" y="570"/>
                      </a:lnTo>
                      <a:lnTo>
                        <a:pt x="3" y="568"/>
                      </a:lnTo>
                      <a:lnTo>
                        <a:pt x="5" y="567"/>
                      </a:lnTo>
                      <a:lnTo>
                        <a:pt x="5" y="565"/>
                      </a:lnTo>
                      <a:lnTo>
                        <a:pt x="6" y="565"/>
                      </a:lnTo>
                      <a:lnTo>
                        <a:pt x="6" y="563"/>
                      </a:lnTo>
                      <a:lnTo>
                        <a:pt x="6" y="562"/>
                      </a:lnTo>
                      <a:lnTo>
                        <a:pt x="8" y="560"/>
                      </a:lnTo>
                      <a:lnTo>
                        <a:pt x="8" y="557"/>
                      </a:lnTo>
                      <a:lnTo>
                        <a:pt x="8" y="555"/>
                      </a:lnTo>
                      <a:lnTo>
                        <a:pt x="6" y="552"/>
                      </a:lnTo>
                      <a:lnTo>
                        <a:pt x="8" y="552"/>
                      </a:lnTo>
                      <a:lnTo>
                        <a:pt x="8" y="550"/>
                      </a:lnTo>
                      <a:lnTo>
                        <a:pt x="8" y="549"/>
                      </a:lnTo>
                      <a:lnTo>
                        <a:pt x="10" y="549"/>
                      </a:lnTo>
                      <a:lnTo>
                        <a:pt x="10" y="547"/>
                      </a:lnTo>
                      <a:lnTo>
                        <a:pt x="10" y="545"/>
                      </a:lnTo>
                      <a:lnTo>
                        <a:pt x="11" y="545"/>
                      </a:lnTo>
                      <a:lnTo>
                        <a:pt x="11" y="544"/>
                      </a:lnTo>
                      <a:lnTo>
                        <a:pt x="13" y="544"/>
                      </a:lnTo>
                      <a:lnTo>
                        <a:pt x="11" y="542"/>
                      </a:lnTo>
                      <a:lnTo>
                        <a:pt x="11" y="540"/>
                      </a:lnTo>
                      <a:lnTo>
                        <a:pt x="11" y="539"/>
                      </a:lnTo>
                      <a:lnTo>
                        <a:pt x="11" y="537"/>
                      </a:lnTo>
                      <a:lnTo>
                        <a:pt x="11" y="535"/>
                      </a:lnTo>
                      <a:lnTo>
                        <a:pt x="11" y="534"/>
                      </a:lnTo>
                      <a:lnTo>
                        <a:pt x="11" y="532"/>
                      </a:lnTo>
                      <a:lnTo>
                        <a:pt x="10" y="532"/>
                      </a:lnTo>
                      <a:lnTo>
                        <a:pt x="10" y="530"/>
                      </a:lnTo>
                      <a:lnTo>
                        <a:pt x="11" y="529"/>
                      </a:lnTo>
                      <a:lnTo>
                        <a:pt x="13" y="529"/>
                      </a:lnTo>
                      <a:lnTo>
                        <a:pt x="13" y="527"/>
                      </a:lnTo>
                      <a:lnTo>
                        <a:pt x="13" y="526"/>
                      </a:lnTo>
                      <a:lnTo>
                        <a:pt x="11" y="526"/>
                      </a:lnTo>
                      <a:lnTo>
                        <a:pt x="11" y="524"/>
                      </a:lnTo>
                      <a:lnTo>
                        <a:pt x="11" y="522"/>
                      </a:lnTo>
                      <a:lnTo>
                        <a:pt x="11" y="521"/>
                      </a:lnTo>
                      <a:lnTo>
                        <a:pt x="11" y="519"/>
                      </a:lnTo>
                      <a:lnTo>
                        <a:pt x="13" y="519"/>
                      </a:lnTo>
                      <a:lnTo>
                        <a:pt x="15" y="519"/>
                      </a:lnTo>
                      <a:lnTo>
                        <a:pt x="15" y="517"/>
                      </a:lnTo>
                      <a:lnTo>
                        <a:pt x="15" y="516"/>
                      </a:lnTo>
                      <a:lnTo>
                        <a:pt x="16" y="516"/>
                      </a:lnTo>
                      <a:lnTo>
                        <a:pt x="16" y="514"/>
                      </a:lnTo>
                      <a:lnTo>
                        <a:pt x="15" y="512"/>
                      </a:lnTo>
                      <a:lnTo>
                        <a:pt x="15" y="511"/>
                      </a:lnTo>
                      <a:lnTo>
                        <a:pt x="15" y="509"/>
                      </a:lnTo>
                      <a:lnTo>
                        <a:pt x="15" y="507"/>
                      </a:lnTo>
                      <a:lnTo>
                        <a:pt x="13" y="507"/>
                      </a:lnTo>
                      <a:lnTo>
                        <a:pt x="13" y="506"/>
                      </a:lnTo>
                      <a:lnTo>
                        <a:pt x="15" y="504"/>
                      </a:lnTo>
                      <a:lnTo>
                        <a:pt x="15" y="503"/>
                      </a:lnTo>
                      <a:lnTo>
                        <a:pt x="16" y="503"/>
                      </a:lnTo>
                      <a:lnTo>
                        <a:pt x="16" y="501"/>
                      </a:lnTo>
                      <a:lnTo>
                        <a:pt x="18" y="501"/>
                      </a:lnTo>
                      <a:lnTo>
                        <a:pt x="20" y="501"/>
                      </a:lnTo>
                      <a:lnTo>
                        <a:pt x="20" y="499"/>
                      </a:lnTo>
                      <a:lnTo>
                        <a:pt x="20" y="498"/>
                      </a:lnTo>
                      <a:lnTo>
                        <a:pt x="22" y="498"/>
                      </a:lnTo>
                      <a:lnTo>
                        <a:pt x="22" y="496"/>
                      </a:lnTo>
                      <a:lnTo>
                        <a:pt x="20" y="494"/>
                      </a:lnTo>
                      <a:lnTo>
                        <a:pt x="22" y="493"/>
                      </a:lnTo>
                      <a:lnTo>
                        <a:pt x="22" y="491"/>
                      </a:lnTo>
                      <a:lnTo>
                        <a:pt x="23" y="491"/>
                      </a:lnTo>
                      <a:lnTo>
                        <a:pt x="25" y="489"/>
                      </a:lnTo>
                      <a:lnTo>
                        <a:pt x="23" y="489"/>
                      </a:lnTo>
                      <a:lnTo>
                        <a:pt x="23" y="488"/>
                      </a:lnTo>
                      <a:lnTo>
                        <a:pt x="25" y="485"/>
                      </a:lnTo>
                      <a:lnTo>
                        <a:pt x="25" y="483"/>
                      </a:lnTo>
                      <a:lnTo>
                        <a:pt x="27" y="481"/>
                      </a:lnTo>
                      <a:lnTo>
                        <a:pt x="28" y="481"/>
                      </a:lnTo>
                      <a:lnTo>
                        <a:pt x="28" y="480"/>
                      </a:lnTo>
                      <a:lnTo>
                        <a:pt x="30" y="478"/>
                      </a:lnTo>
                      <a:lnTo>
                        <a:pt x="30" y="476"/>
                      </a:lnTo>
                      <a:lnTo>
                        <a:pt x="32" y="473"/>
                      </a:lnTo>
                      <a:lnTo>
                        <a:pt x="32" y="471"/>
                      </a:lnTo>
                      <a:lnTo>
                        <a:pt x="32" y="470"/>
                      </a:lnTo>
                      <a:lnTo>
                        <a:pt x="32" y="468"/>
                      </a:lnTo>
                      <a:lnTo>
                        <a:pt x="33" y="468"/>
                      </a:lnTo>
                      <a:lnTo>
                        <a:pt x="33" y="466"/>
                      </a:lnTo>
                      <a:lnTo>
                        <a:pt x="33" y="465"/>
                      </a:lnTo>
                      <a:lnTo>
                        <a:pt x="33" y="462"/>
                      </a:lnTo>
                      <a:lnTo>
                        <a:pt x="32" y="460"/>
                      </a:lnTo>
                      <a:lnTo>
                        <a:pt x="33" y="457"/>
                      </a:lnTo>
                      <a:lnTo>
                        <a:pt x="35" y="455"/>
                      </a:lnTo>
                      <a:lnTo>
                        <a:pt x="37" y="453"/>
                      </a:lnTo>
                      <a:lnTo>
                        <a:pt x="37" y="452"/>
                      </a:lnTo>
                      <a:lnTo>
                        <a:pt x="38" y="450"/>
                      </a:lnTo>
                      <a:lnTo>
                        <a:pt x="40" y="450"/>
                      </a:lnTo>
                      <a:lnTo>
                        <a:pt x="42" y="448"/>
                      </a:lnTo>
                      <a:lnTo>
                        <a:pt x="42" y="447"/>
                      </a:lnTo>
                      <a:lnTo>
                        <a:pt x="42" y="445"/>
                      </a:lnTo>
                      <a:lnTo>
                        <a:pt x="42" y="443"/>
                      </a:lnTo>
                      <a:lnTo>
                        <a:pt x="44" y="443"/>
                      </a:lnTo>
                      <a:lnTo>
                        <a:pt x="44" y="442"/>
                      </a:lnTo>
                      <a:lnTo>
                        <a:pt x="44" y="440"/>
                      </a:lnTo>
                      <a:lnTo>
                        <a:pt x="45" y="440"/>
                      </a:lnTo>
                      <a:lnTo>
                        <a:pt x="45" y="439"/>
                      </a:lnTo>
                      <a:lnTo>
                        <a:pt x="45" y="437"/>
                      </a:lnTo>
                      <a:lnTo>
                        <a:pt x="45" y="435"/>
                      </a:lnTo>
                      <a:lnTo>
                        <a:pt x="47" y="434"/>
                      </a:lnTo>
                      <a:lnTo>
                        <a:pt x="47" y="432"/>
                      </a:lnTo>
                      <a:lnTo>
                        <a:pt x="49" y="432"/>
                      </a:lnTo>
                      <a:lnTo>
                        <a:pt x="49" y="430"/>
                      </a:lnTo>
                      <a:lnTo>
                        <a:pt x="50" y="430"/>
                      </a:lnTo>
                      <a:lnTo>
                        <a:pt x="50" y="429"/>
                      </a:lnTo>
                      <a:lnTo>
                        <a:pt x="50" y="427"/>
                      </a:lnTo>
                      <a:lnTo>
                        <a:pt x="50" y="425"/>
                      </a:lnTo>
                      <a:lnTo>
                        <a:pt x="52" y="424"/>
                      </a:lnTo>
                      <a:lnTo>
                        <a:pt x="52" y="422"/>
                      </a:lnTo>
                      <a:lnTo>
                        <a:pt x="54" y="420"/>
                      </a:lnTo>
                      <a:lnTo>
                        <a:pt x="55" y="419"/>
                      </a:lnTo>
                      <a:lnTo>
                        <a:pt x="55" y="417"/>
                      </a:lnTo>
                      <a:lnTo>
                        <a:pt x="55" y="416"/>
                      </a:lnTo>
                      <a:lnTo>
                        <a:pt x="57" y="414"/>
                      </a:lnTo>
                      <a:lnTo>
                        <a:pt x="57" y="412"/>
                      </a:lnTo>
                      <a:lnTo>
                        <a:pt x="57" y="411"/>
                      </a:lnTo>
                      <a:lnTo>
                        <a:pt x="59" y="411"/>
                      </a:lnTo>
                      <a:lnTo>
                        <a:pt x="59" y="409"/>
                      </a:lnTo>
                      <a:lnTo>
                        <a:pt x="60" y="407"/>
                      </a:lnTo>
                      <a:lnTo>
                        <a:pt x="60" y="406"/>
                      </a:lnTo>
                      <a:lnTo>
                        <a:pt x="60" y="404"/>
                      </a:lnTo>
                      <a:lnTo>
                        <a:pt x="62" y="404"/>
                      </a:lnTo>
                      <a:lnTo>
                        <a:pt x="62" y="402"/>
                      </a:lnTo>
                      <a:lnTo>
                        <a:pt x="62" y="401"/>
                      </a:lnTo>
                      <a:lnTo>
                        <a:pt x="60" y="399"/>
                      </a:lnTo>
                      <a:lnTo>
                        <a:pt x="60" y="397"/>
                      </a:lnTo>
                      <a:lnTo>
                        <a:pt x="60" y="394"/>
                      </a:lnTo>
                      <a:lnTo>
                        <a:pt x="62" y="394"/>
                      </a:lnTo>
                      <a:lnTo>
                        <a:pt x="62" y="393"/>
                      </a:lnTo>
                      <a:lnTo>
                        <a:pt x="62" y="391"/>
                      </a:lnTo>
                      <a:lnTo>
                        <a:pt x="64" y="391"/>
                      </a:lnTo>
                      <a:lnTo>
                        <a:pt x="64" y="389"/>
                      </a:lnTo>
                      <a:lnTo>
                        <a:pt x="65" y="388"/>
                      </a:lnTo>
                      <a:lnTo>
                        <a:pt x="65" y="386"/>
                      </a:lnTo>
                      <a:lnTo>
                        <a:pt x="65" y="384"/>
                      </a:lnTo>
                      <a:lnTo>
                        <a:pt x="65" y="381"/>
                      </a:lnTo>
                      <a:lnTo>
                        <a:pt x="67" y="379"/>
                      </a:lnTo>
                      <a:lnTo>
                        <a:pt x="69" y="379"/>
                      </a:lnTo>
                      <a:lnTo>
                        <a:pt x="69" y="378"/>
                      </a:lnTo>
                      <a:lnTo>
                        <a:pt x="71" y="378"/>
                      </a:lnTo>
                      <a:lnTo>
                        <a:pt x="71" y="376"/>
                      </a:lnTo>
                      <a:lnTo>
                        <a:pt x="71" y="374"/>
                      </a:lnTo>
                      <a:lnTo>
                        <a:pt x="72" y="374"/>
                      </a:lnTo>
                      <a:lnTo>
                        <a:pt x="74" y="374"/>
                      </a:lnTo>
                      <a:lnTo>
                        <a:pt x="74" y="373"/>
                      </a:lnTo>
                      <a:lnTo>
                        <a:pt x="76" y="371"/>
                      </a:lnTo>
                      <a:lnTo>
                        <a:pt x="77" y="370"/>
                      </a:lnTo>
                      <a:lnTo>
                        <a:pt x="79" y="370"/>
                      </a:lnTo>
                      <a:lnTo>
                        <a:pt x="79" y="368"/>
                      </a:lnTo>
                      <a:lnTo>
                        <a:pt x="79" y="366"/>
                      </a:lnTo>
                      <a:lnTo>
                        <a:pt x="81" y="366"/>
                      </a:lnTo>
                      <a:lnTo>
                        <a:pt x="81" y="365"/>
                      </a:lnTo>
                      <a:lnTo>
                        <a:pt x="82" y="363"/>
                      </a:lnTo>
                      <a:lnTo>
                        <a:pt x="82" y="361"/>
                      </a:lnTo>
                      <a:lnTo>
                        <a:pt x="84" y="361"/>
                      </a:lnTo>
                      <a:lnTo>
                        <a:pt x="84" y="360"/>
                      </a:lnTo>
                      <a:lnTo>
                        <a:pt x="84" y="358"/>
                      </a:lnTo>
                      <a:lnTo>
                        <a:pt x="84" y="356"/>
                      </a:lnTo>
                      <a:lnTo>
                        <a:pt x="86" y="355"/>
                      </a:lnTo>
                      <a:lnTo>
                        <a:pt x="87" y="353"/>
                      </a:lnTo>
                      <a:lnTo>
                        <a:pt x="89" y="351"/>
                      </a:lnTo>
                      <a:lnTo>
                        <a:pt x="91" y="350"/>
                      </a:lnTo>
                      <a:lnTo>
                        <a:pt x="92" y="348"/>
                      </a:lnTo>
                      <a:lnTo>
                        <a:pt x="92" y="347"/>
                      </a:lnTo>
                      <a:lnTo>
                        <a:pt x="94" y="345"/>
                      </a:lnTo>
                      <a:lnTo>
                        <a:pt x="96" y="343"/>
                      </a:lnTo>
                      <a:lnTo>
                        <a:pt x="98" y="342"/>
                      </a:lnTo>
                      <a:lnTo>
                        <a:pt x="99" y="342"/>
                      </a:lnTo>
                      <a:lnTo>
                        <a:pt x="101" y="340"/>
                      </a:lnTo>
                      <a:lnTo>
                        <a:pt x="104" y="338"/>
                      </a:lnTo>
                      <a:lnTo>
                        <a:pt x="106" y="338"/>
                      </a:lnTo>
                      <a:lnTo>
                        <a:pt x="108" y="338"/>
                      </a:lnTo>
                      <a:lnTo>
                        <a:pt x="109" y="338"/>
                      </a:lnTo>
                      <a:lnTo>
                        <a:pt x="109" y="337"/>
                      </a:lnTo>
                      <a:lnTo>
                        <a:pt x="111" y="335"/>
                      </a:lnTo>
                      <a:lnTo>
                        <a:pt x="111" y="333"/>
                      </a:lnTo>
                      <a:lnTo>
                        <a:pt x="113" y="332"/>
                      </a:lnTo>
                      <a:lnTo>
                        <a:pt x="113" y="330"/>
                      </a:lnTo>
                      <a:lnTo>
                        <a:pt x="114" y="330"/>
                      </a:lnTo>
                      <a:lnTo>
                        <a:pt x="116" y="327"/>
                      </a:lnTo>
                      <a:lnTo>
                        <a:pt x="118" y="325"/>
                      </a:lnTo>
                      <a:lnTo>
                        <a:pt x="120" y="324"/>
                      </a:lnTo>
                      <a:lnTo>
                        <a:pt x="120" y="322"/>
                      </a:lnTo>
                      <a:lnTo>
                        <a:pt x="120" y="320"/>
                      </a:lnTo>
                      <a:lnTo>
                        <a:pt x="121" y="320"/>
                      </a:lnTo>
                      <a:lnTo>
                        <a:pt x="121" y="319"/>
                      </a:lnTo>
                      <a:lnTo>
                        <a:pt x="121" y="317"/>
                      </a:lnTo>
                      <a:lnTo>
                        <a:pt x="125" y="315"/>
                      </a:lnTo>
                      <a:lnTo>
                        <a:pt x="126" y="314"/>
                      </a:lnTo>
                      <a:lnTo>
                        <a:pt x="126" y="312"/>
                      </a:lnTo>
                      <a:lnTo>
                        <a:pt x="128" y="312"/>
                      </a:lnTo>
                      <a:lnTo>
                        <a:pt x="128" y="310"/>
                      </a:lnTo>
                      <a:lnTo>
                        <a:pt x="128" y="309"/>
                      </a:lnTo>
                      <a:lnTo>
                        <a:pt x="128" y="307"/>
                      </a:lnTo>
                      <a:lnTo>
                        <a:pt x="128" y="305"/>
                      </a:lnTo>
                      <a:lnTo>
                        <a:pt x="130" y="302"/>
                      </a:lnTo>
                      <a:lnTo>
                        <a:pt x="131" y="299"/>
                      </a:lnTo>
                      <a:lnTo>
                        <a:pt x="133" y="299"/>
                      </a:lnTo>
                      <a:lnTo>
                        <a:pt x="135" y="297"/>
                      </a:lnTo>
                      <a:lnTo>
                        <a:pt x="136" y="297"/>
                      </a:lnTo>
                      <a:lnTo>
                        <a:pt x="138" y="296"/>
                      </a:lnTo>
                      <a:lnTo>
                        <a:pt x="138" y="294"/>
                      </a:lnTo>
                      <a:lnTo>
                        <a:pt x="140" y="291"/>
                      </a:lnTo>
                      <a:lnTo>
                        <a:pt x="140" y="289"/>
                      </a:lnTo>
                      <a:lnTo>
                        <a:pt x="141" y="287"/>
                      </a:lnTo>
                      <a:lnTo>
                        <a:pt x="141" y="286"/>
                      </a:lnTo>
                      <a:lnTo>
                        <a:pt x="141" y="284"/>
                      </a:lnTo>
                      <a:lnTo>
                        <a:pt x="143" y="282"/>
                      </a:lnTo>
                      <a:lnTo>
                        <a:pt x="143" y="281"/>
                      </a:lnTo>
                      <a:lnTo>
                        <a:pt x="143" y="279"/>
                      </a:lnTo>
                      <a:lnTo>
                        <a:pt x="145" y="279"/>
                      </a:lnTo>
                      <a:lnTo>
                        <a:pt x="145" y="278"/>
                      </a:lnTo>
                      <a:lnTo>
                        <a:pt x="147" y="274"/>
                      </a:lnTo>
                      <a:lnTo>
                        <a:pt x="145" y="273"/>
                      </a:lnTo>
                      <a:lnTo>
                        <a:pt x="147" y="271"/>
                      </a:lnTo>
                      <a:lnTo>
                        <a:pt x="147" y="269"/>
                      </a:lnTo>
                      <a:lnTo>
                        <a:pt x="147" y="268"/>
                      </a:lnTo>
                      <a:lnTo>
                        <a:pt x="148" y="268"/>
                      </a:lnTo>
                      <a:lnTo>
                        <a:pt x="148" y="266"/>
                      </a:lnTo>
                      <a:lnTo>
                        <a:pt x="148" y="264"/>
                      </a:lnTo>
                      <a:lnTo>
                        <a:pt x="148" y="263"/>
                      </a:lnTo>
                      <a:lnTo>
                        <a:pt x="148" y="261"/>
                      </a:lnTo>
                      <a:lnTo>
                        <a:pt x="148" y="260"/>
                      </a:lnTo>
                      <a:lnTo>
                        <a:pt x="148" y="258"/>
                      </a:lnTo>
                      <a:lnTo>
                        <a:pt x="148" y="256"/>
                      </a:lnTo>
                      <a:lnTo>
                        <a:pt x="150" y="256"/>
                      </a:lnTo>
                      <a:lnTo>
                        <a:pt x="150" y="253"/>
                      </a:lnTo>
                      <a:lnTo>
                        <a:pt x="150" y="251"/>
                      </a:lnTo>
                      <a:lnTo>
                        <a:pt x="150" y="250"/>
                      </a:lnTo>
                      <a:lnTo>
                        <a:pt x="150" y="248"/>
                      </a:lnTo>
                      <a:lnTo>
                        <a:pt x="150" y="246"/>
                      </a:lnTo>
                      <a:lnTo>
                        <a:pt x="150" y="245"/>
                      </a:lnTo>
                      <a:lnTo>
                        <a:pt x="152" y="243"/>
                      </a:lnTo>
                      <a:lnTo>
                        <a:pt x="150" y="241"/>
                      </a:lnTo>
                      <a:lnTo>
                        <a:pt x="148" y="241"/>
                      </a:lnTo>
                      <a:lnTo>
                        <a:pt x="147" y="240"/>
                      </a:lnTo>
                      <a:lnTo>
                        <a:pt x="145" y="238"/>
                      </a:lnTo>
                      <a:lnTo>
                        <a:pt x="143" y="238"/>
                      </a:lnTo>
                      <a:lnTo>
                        <a:pt x="143" y="237"/>
                      </a:lnTo>
                      <a:lnTo>
                        <a:pt x="141" y="237"/>
                      </a:lnTo>
                      <a:lnTo>
                        <a:pt x="140" y="235"/>
                      </a:lnTo>
                      <a:lnTo>
                        <a:pt x="138" y="233"/>
                      </a:lnTo>
                      <a:lnTo>
                        <a:pt x="136" y="233"/>
                      </a:lnTo>
                      <a:lnTo>
                        <a:pt x="135" y="232"/>
                      </a:lnTo>
                      <a:lnTo>
                        <a:pt x="133" y="230"/>
                      </a:lnTo>
                      <a:lnTo>
                        <a:pt x="133" y="228"/>
                      </a:lnTo>
                      <a:lnTo>
                        <a:pt x="131" y="227"/>
                      </a:lnTo>
                      <a:lnTo>
                        <a:pt x="131" y="225"/>
                      </a:lnTo>
                      <a:lnTo>
                        <a:pt x="130" y="223"/>
                      </a:lnTo>
                      <a:lnTo>
                        <a:pt x="130" y="220"/>
                      </a:lnTo>
                      <a:lnTo>
                        <a:pt x="128" y="220"/>
                      </a:lnTo>
                      <a:lnTo>
                        <a:pt x="128" y="218"/>
                      </a:lnTo>
                      <a:lnTo>
                        <a:pt x="130" y="215"/>
                      </a:lnTo>
                      <a:lnTo>
                        <a:pt x="130" y="214"/>
                      </a:lnTo>
                      <a:lnTo>
                        <a:pt x="133" y="209"/>
                      </a:lnTo>
                      <a:lnTo>
                        <a:pt x="135" y="209"/>
                      </a:lnTo>
                      <a:lnTo>
                        <a:pt x="135" y="207"/>
                      </a:lnTo>
                      <a:lnTo>
                        <a:pt x="136" y="207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40" y="204"/>
                      </a:lnTo>
                      <a:lnTo>
                        <a:pt x="140" y="202"/>
                      </a:lnTo>
                      <a:lnTo>
                        <a:pt x="141" y="200"/>
                      </a:lnTo>
                      <a:lnTo>
                        <a:pt x="141" y="199"/>
                      </a:lnTo>
                      <a:lnTo>
                        <a:pt x="143" y="199"/>
                      </a:lnTo>
                      <a:lnTo>
                        <a:pt x="145" y="195"/>
                      </a:lnTo>
                      <a:lnTo>
                        <a:pt x="145" y="194"/>
                      </a:lnTo>
                      <a:lnTo>
                        <a:pt x="147" y="191"/>
                      </a:lnTo>
                      <a:lnTo>
                        <a:pt x="148" y="191"/>
                      </a:lnTo>
                      <a:lnTo>
                        <a:pt x="148" y="189"/>
                      </a:lnTo>
                      <a:lnTo>
                        <a:pt x="147" y="186"/>
                      </a:lnTo>
                      <a:lnTo>
                        <a:pt x="147" y="181"/>
                      </a:lnTo>
                      <a:lnTo>
                        <a:pt x="147" y="177"/>
                      </a:lnTo>
                      <a:lnTo>
                        <a:pt x="147" y="176"/>
                      </a:lnTo>
                      <a:lnTo>
                        <a:pt x="147" y="174"/>
                      </a:lnTo>
                      <a:lnTo>
                        <a:pt x="147" y="172"/>
                      </a:lnTo>
                      <a:lnTo>
                        <a:pt x="147" y="171"/>
                      </a:lnTo>
                      <a:lnTo>
                        <a:pt x="147" y="169"/>
                      </a:lnTo>
                      <a:lnTo>
                        <a:pt x="145" y="168"/>
                      </a:lnTo>
                      <a:lnTo>
                        <a:pt x="145" y="166"/>
                      </a:lnTo>
                      <a:lnTo>
                        <a:pt x="145" y="164"/>
                      </a:lnTo>
                      <a:lnTo>
                        <a:pt x="145" y="163"/>
                      </a:lnTo>
                      <a:lnTo>
                        <a:pt x="145" y="161"/>
                      </a:lnTo>
                      <a:lnTo>
                        <a:pt x="147" y="161"/>
                      </a:lnTo>
                      <a:lnTo>
                        <a:pt x="148" y="159"/>
                      </a:lnTo>
                      <a:lnTo>
                        <a:pt x="150" y="158"/>
                      </a:lnTo>
                      <a:lnTo>
                        <a:pt x="152" y="158"/>
                      </a:lnTo>
                      <a:lnTo>
                        <a:pt x="153" y="156"/>
                      </a:lnTo>
                      <a:lnTo>
                        <a:pt x="155" y="156"/>
                      </a:lnTo>
                      <a:lnTo>
                        <a:pt x="157" y="154"/>
                      </a:lnTo>
                      <a:lnTo>
                        <a:pt x="158" y="153"/>
                      </a:lnTo>
                      <a:lnTo>
                        <a:pt x="160" y="151"/>
                      </a:lnTo>
                      <a:lnTo>
                        <a:pt x="162" y="149"/>
                      </a:lnTo>
                      <a:lnTo>
                        <a:pt x="163" y="149"/>
                      </a:lnTo>
                      <a:lnTo>
                        <a:pt x="163" y="148"/>
                      </a:lnTo>
                      <a:lnTo>
                        <a:pt x="165" y="148"/>
                      </a:lnTo>
                      <a:lnTo>
                        <a:pt x="167" y="148"/>
                      </a:lnTo>
                      <a:lnTo>
                        <a:pt x="168" y="148"/>
                      </a:lnTo>
                      <a:lnTo>
                        <a:pt x="170" y="148"/>
                      </a:lnTo>
                      <a:lnTo>
                        <a:pt x="170" y="146"/>
                      </a:lnTo>
                      <a:lnTo>
                        <a:pt x="172" y="146"/>
                      </a:lnTo>
                      <a:lnTo>
                        <a:pt x="174" y="146"/>
                      </a:lnTo>
                      <a:lnTo>
                        <a:pt x="175" y="146"/>
                      </a:lnTo>
                      <a:lnTo>
                        <a:pt x="179" y="145"/>
                      </a:lnTo>
                      <a:lnTo>
                        <a:pt x="180" y="145"/>
                      </a:lnTo>
                      <a:lnTo>
                        <a:pt x="180" y="146"/>
                      </a:lnTo>
                      <a:lnTo>
                        <a:pt x="182" y="146"/>
                      </a:lnTo>
                      <a:lnTo>
                        <a:pt x="185" y="145"/>
                      </a:lnTo>
                      <a:lnTo>
                        <a:pt x="187" y="145"/>
                      </a:lnTo>
                      <a:lnTo>
                        <a:pt x="187" y="143"/>
                      </a:lnTo>
                      <a:lnTo>
                        <a:pt x="189" y="143"/>
                      </a:lnTo>
                      <a:lnTo>
                        <a:pt x="189" y="141"/>
                      </a:lnTo>
                      <a:lnTo>
                        <a:pt x="190" y="140"/>
                      </a:lnTo>
                      <a:lnTo>
                        <a:pt x="194" y="140"/>
                      </a:lnTo>
                      <a:lnTo>
                        <a:pt x="196" y="140"/>
                      </a:lnTo>
                      <a:lnTo>
                        <a:pt x="196" y="138"/>
                      </a:lnTo>
                      <a:lnTo>
                        <a:pt x="197" y="138"/>
                      </a:lnTo>
                      <a:lnTo>
                        <a:pt x="197" y="136"/>
                      </a:lnTo>
                      <a:lnTo>
                        <a:pt x="197" y="135"/>
                      </a:lnTo>
                      <a:lnTo>
                        <a:pt x="197" y="133"/>
                      </a:lnTo>
                      <a:lnTo>
                        <a:pt x="197" y="131"/>
                      </a:lnTo>
                      <a:lnTo>
                        <a:pt x="197" y="130"/>
                      </a:lnTo>
                      <a:lnTo>
                        <a:pt x="197" y="128"/>
                      </a:lnTo>
                      <a:lnTo>
                        <a:pt x="197" y="126"/>
                      </a:lnTo>
                      <a:lnTo>
                        <a:pt x="199" y="125"/>
                      </a:lnTo>
                      <a:lnTo>
                        <a:pt x="199" y="123"/>
                      </a:lnTo>
                      <a:lnTo>
                        <a:pt x="199" y="122"/>
                      </a:lnTo>
                      <a:lnTo>
                        <a:pt x="201" y="122"/>
                      </a:lnTo>
                      <a:lnTo>
                        <a:pt x="201" y="120"/>
                      </a:lnTo>
                      <a:lnTo>
                        <a:pt x="201" y="118"/>
                      </a:lnTo>
                      <a:lnTo>
                        <a:pt x="202" y="118"/>
                      </a:lnTo>
                      <a:lnTo>
                        <a:pt x="202" y="117"/>
                      </a:lnTo>
                      <a:lnTo>
                        <a:pt x="204" y="117"/>
                      </a:lnTo>
                      <a:lnTo>
                        <a:pt x="206" y="115"/>
                      </a:lnTo>
                      <a:lnTo>
                        <a:pt x="207" y="113"/>
                      </a:lnTo>
                      <a:lnTo>
                        <a:pt x="209" y="113"/>
                      </a:lnTo>
                      <a:lnTo>
                        <a:pt x="209" y="112"/>
                      </a:lnTo>
                      <a:lnTo>
                        <a:pt x="211" y="110"/>
                      </a:lnTo>
                      <a:lnTo>
                        <a:pt x="211" y="108"/>
                      </a:lnTo>
                      <a:lnTo>
                        <a:pt x="212" y="108"/>
                      </a:lnTo>
                      <a:lnTo>
                        <a:pt x="216" y="108"/>
                      </a:lnTo>
                      <a:lnTo>
                        <a:pt x="217" y="108"/>
                      </a:lnTo>
                      <a:lnTo>
                        <a:pt x="219" y="108"/>
                      </a:lnTo>
                      <a:lnTo>
                        <a:pt x="223" y="110"/>
                      </a:lnTo>
                      <a:lnTo>
                        <a:pt x="223" y="112"/>
                      </a:lnTo>
                      <a:lnTo>
                        <a:pt x="224" y="112"/>
                      </a:lnTo>
                      <a:lnTo>
                        <a:pt x="224" y="110"/>
                      </a:lnTo>
                      <a:lnTo>
                        <a:pt x="224" y="108"/>
                      </a:lnTo>
                      <a:lnTo>
                        <a:pt x="224" y="107"/>
                      </a:lnTo>
                      <a:lnTo>
                        <a:pt x="223" y="105"/>
                      </a:lnTo>
                      <a:lnTo>
                        <a:pt x="221" y="105"/>
                      </a:lnTo>
                      <a:lnTo>
                        <a:pt x="221" y="103"/>
                      </a:lnTo>
                      <a:lnTo>
                        <a:pt x="221" y="102"/>
                      </a:lnTo>
                      <a:lnTo>
                        <a:pt x="221" y="100"/>
                      </a:lnTo>
                      <a:lnTo>
                        <a:pt x="219" y="99"/>
                      </a:lnTo>
                      <a:lnTo>
                        <a:pt x="219" y="95"/>
                      </a:lnTo>
                      <a:lnTo>
                        <a:pt x="219" y="94"/>
                      </a:lnTo>
                      <a:lnTo>
                        <a:pt x="219" y="92"/>
                      </a:lnTo>
                      <a:lnTo>
                        <a:pt x="221" y="92"/>
                      </a:lnTo>
                      <a:lnTo>
                        <a:pt x="221" y="90"/>
                      </a:lnTo>
                      <a:lnTo>
                        <a:pt x="223" y="90"/>
                      </a:lnTo>
                      <a:lnTo>
                        <a:pt x="224" y="90"/>
                      </a:lnTo>
                      <a:lnTo>
                        <a:pt x="226" y="90"/>
                      </a:lnTo>
                      <a:lnTo>
                        <a:pt x="228" y="89"/>
                      </a:lnTo>
                      <a:lnTo>
                        <a:pt x="229" y="89"/>
                      </a:lnTo>
                      <a:lnTo>
                        <a:pt x="231" y="87"/>
                      </a:lnTo>
                      <a:lnTo>
                        <a:pt x="233" y="85"/>
                      </a:lnTo>
                      <a:lnTo>
                        <a:pt x="233" y="84"/>
                      </a:lnTo>
                      <a:lnTo>
                        <a:pt x="233" y="82"/>
                      </a:lnTo>
                      <a:lnTo>
                        <a:pt x="231" y="80"/>
                      </a:lnTo>
                      <a:lnTo>
                        <a:pt x="229" y="80"/>
                      </a:lnTo>
                      <a:lnTo>
                        <a:pt x="228" y="80"/>
                      </a:lnTo>
                      <a:lnTo>
                        <a:pt x="228" y="79"/>
                      </a:lnTo>
                      <a:lnTo>
                        <a:pt x="228" y="77"/>
                      </a:lnTo>
                      <a:lnTo>
                        <a:pt x="229" y="76"/>
                      </a:lnTo>
                      <a:lnTo>
                        <a:pt x="231" y="74"/>
                      </a:lnTo>
                      <a:lnTo>
                        <a:pt x="233" y="74"/>
                      </a:lnTo>
                      <a:lnTo>
                        <a:pt x="234" y="72"/>
                      </a:lnTo>
                      <a:lnTo>
                        <a:pt x="236" y="72"/>
                      </a:lnTo>
                      <a:lnTo>
                        <a:pt x="238" y="72"/>
                      </a:lnTo>
                      <a:lnTo>
                        <a:pt x="238" y="71"/>
                      </a:lnTo>
                      <a:lnTo>
                        <a:pt x="238" y="69"/>
                      </a:lnTo>
                      <a:lnTo>
                        <a:pt x="238" y="67"/>
                      </a:lnTo>
                      <a:lnTo>
                        <a:pt x="236" y="66"/>
                      </a:lnTo>
                      <a:lnTo>
                        <a:pt x="234" y="64"/>
                      </a:lnTo>
                      <a:lnTo>
                        <a:pt x="233" y="64"/>
                      </a:lnTo>
                      <a:lnTo>
                        <a:pt x="233" y="62"/>
                      </a:lnTo>
                      <a:lnTo>
                        <a:pt x="233" y="61"/>
                      </a:lnTo>
                      <a:lnTo>
                        <a:pt x="231" y="59"/>
                      </a:lnTo>
                      <a:lnTo>
                        <a:pt x="231" y="58"/>
                      </a:lnTo>
                      <a:lnTo>
                        <a:pt x="231" y="56"/>
                      </a:lnTo>
                      <a:lnTo>
                        <a:pt x="231" y="54"/>
                      </a:lnTo>
                      <a:lnTo>
                        <a:pt x="233" y="53"/>
                      </a:lnTo>
                      <a:lnTo>
                        <a:pt x="233" y="51"/>
                      </a:lnTo>
                      <a:lnTo>
                        <a:pt x="234" y="51"/>
                      </a:lnTo>
                      <a:lnTo>
                        <a:pt x="236" y="51"/>
                      </a:lnTo>
                      <a:lnTo>
                        <a:pt x="238" y="51"/>
                      </a:lnTo>
                      <a:lnTo>
                        <a:pt x="239" y="51"/>
                      </a:lnTo>
                      <a:lnTo>
                        <a:pt x="241" y="51"/>
                      </a:lnTo>
                      <a:lnTo>
                        <a:pt x="243" y="49"/>
                      </a:lnTo>
                      <a:lnTo>
                        <a:pt x="244" y="49"/>
                      </a:lnTo>
                      <a:lnTo>
                        <a:pt x="244" y="48"/>
                      </a:lnTo>
                      <a:lnTo>
                        <a:pt x="244" y="46"/>
                      </a:lnTo>
                      <a:lnTo>
                        <a:pt x="246" y="44"/>
                      </a:lnTo>
                      <a:lnTo>
                        <a:pt x="246" y="43"/>
                      </a:lnTo>
                      <a:lnTo>
                        <a:pt x="246" y="41"/>
                      </a:lnTo>
                      <a:lnTo>
                        <a:pt x="244" y="39"/>
                      </a:lnTo>
                      <a:lnTo>
                        <a:pt x="243" y="38"/>
                      </a:lnTo>
                      <a:lnTo>
                        <a:pt x="241" y="36"/>
                      </a:lnTo>
                      <a:lnTo>
                        <a:pt x="239" y="36"/>
                      </a:lnTo>
                      <a:lnTo>
                        <a:pt x="238" y="35"/>
                      </a:lnTo>
                      <a:lnTo>
                        <a:pt x="234" y="35"/>
                      </a:lnTo>
                      <a:lnTo>
                        <a:pt x="233" y="35"/>
                      </a:lnTo>
                      <a:lnTo>
                        <a:pt x="231" y="33"/>
                      </a:lnTo>
                      <a:lnTo>
                        <a:pt x="229" y="30"/>
                      </a:lnTo>
                      <a:lnTo>
                        <a:pt x="229" y="28"/>
                      </a:lnTo>
                      <a:lnTo>
                        <a:pt x="228" y="28"/>
                      </a:lnTo>
                      <a:lnTo>
                        <a:pt x="228" y="26"/>
                      </a:lnTo>
                      <a:lnTo>
                        <a:pt x="228" y="25"/>
                      </a:lnTo>
                      <a:lnTo>
                        <a:pt x="226" y="23"/>
                      </a:lnTo>
                      <a:lnTo>
                        <a:pt x="224" y="23"/>
                      </a:lnTo>
                      <a:lnTo>
                        <a:pt x="223" y="23"/>
                      </a:lnTo>
                      <a:lnTo>
                        <a:pt x="223" y="21"/>
                      </a:lnTo>
                      <a:lnTo>
                        <a:pt x="219" y="21"/>
                      </a:lnTo>
                      <a:lnTo>
                        <a:pt x="217" y="21"/>
                      </a:lnTo>
                      <a:lnTo>
                        <a:pt x="217" y="20"/>
                      </a:lnTo>
                      <a:lnTo>
                        <a:pt x="216" y="21"/>
                      </a:lnTo>
                      <a:lnTo>
                        <a:pt x="212" y="21"/>
                      </a:lnTo>
                      <a:lnTo>
                        <a:pt x="206" y="23"/>
                      </a:lnTo>
                      <a:lnTo>
                        <a:pt x="204" y="23"/>
                      </a:lnTo>
                      <a:lnTo>
                        <a:pt x="202" y="23"/>
                      </a:lnTo>
                      <a:lnTo>
                        <a:pt x="201" y="21"/>
                      </a:lnTo>
                      <a:lnTo>
                        <a:pt x="199" y="20"/>
                      </a:lnTo>
                      <a:lnTo>
                        <a:pt x="196" y="20"/>
                      </a:lnTo>
                      <a:lnTo>
                        <a:pt x="194" y="20"/>
                      </a:lnTo>
                      <a:lnTo>
                        <a:pt x="194" y="18"/>
                      </a:lnTo>
                      <a:lnTo>
                        <a:pt x="192" y="18"/>
                      </a:lnTo>
                      <a:lnTo>
                        <a:pt x="190" y="18"/>
                      </a:lnTo>
                      <a:lnTo>
                        <a:pt x="189" y="18"/>
                      </a:lnTo>
                      <a:lnTo>
                        <a:pt x="189" y="16"/>
                      </a:lnTo>
                      <a:lnTo>
                        <a:pt x="190" y="16"/>
                      </a:lnTo>
                      <a:lnTo>
                        <a:pt x="192" y="16"/>
                      </a:lnTo>
                      <a:lnTo>
                        <a:pt x="194" y="16"/>
                      </a:lnTo>
                      <a:lnTo>
                        <a:pt x="194" y="15"/>
                      </a:lnTo>
                      <a:lnTo>
                        <a:pt x="194" y="13"/>
                      </a:lnTo>
                      <a:lnTo>
                        <a:pt x="196" y="12"/>
                      </a:lnTo>
                      <a:lnTo>
                        <a:pt x="197" y="12"/>
                      </a:lnTo>
                      <a:lnTo>
                        <a:pt x="199" y="13"/>
                      </a:lnTo>
                      <a:lnTo>
                        <a:pt x="201" y="15"/>
                      </a:lnTo>
                      <a:lnTo>
                        <a:pt x="202" y="15"/>
                      </a:lnTo>
                      <a:lnTo>
                        <a:pt x="204" y="13"/>
                      </a:lnTo>
                      <a:lnTo>
                        <a:pt x="206" y="10"/>
                      </a:lnTo>
                      <a:lnTo>
                        <a:pt x="206" y="8"/>
                      </a:lnTo>
                      <a:lnTo>
                        <a:pt x="207" y="7"/>
                      </a:lnTo>
                      <a:lnTo>
                        <a:pt x="207" y="5"/>
                      </a:lnTo>
                      <a:lnTo>
                        <a:pt x="207" y="3"/>
                      </a:lnTo>
                      <a:lnTo>
                        <a:pt x="209" y="3"/>
                      </a:lnTo>
                      <a:lnTo>
                        <a:pt x="209" y="2"/>
                      </a:lnTo>
                      <a:lnTo>
                        <a:pt x="211" y="2"/>
                      </a:lnTo>
                      <a:lnTo>
                        <a:pt x="212" y="2"/>
                      </a:lnTo>
                      <a:lnTo>
                        <a:pt x="214" y="2"/>
                      </a:lnTo>
                      <a:lnTo>
                        <a:pt x="216" y="2"/>
                      </a:lnTo>
                      <a:lnTo>
                        <a:pt x="217" y="2"/>
                      </a:lnTo>
                      <a:lnTo>
                        <a:pt x="221" y="0"/>
                      </a:lnTo>
                      <a:lnTo>
                        <a:pt x="223" y="0"/>
                      </a:lnTo>
                      <a:lnTo>
                        <a:pt x="224" y="0"/>
                      </a:lnTo>
                      <a:lnTo>
                        <a:pt x="226" y="0"/>
                      </a:lnTo>
                      <a:lnTo>
                        <a:pt x="228" y="2"/>
                      </a:lnTo>
                      <a:lnTo>
                        <a:pt x="229" y="2"/>
                      </a:lnTo>
                      <a:lnTo>
                        <a:pt x="229" y="3"/>
                      </a:lnTo>
                      <a:lnTo>
                        <a:pt x="231" y="3"/>
                      </a:lnTo>
                      <a:lnTo>
                        <a:pt x="233" y="3"/>
                      </a:lnTo>
                      <a:lnTo>
                        <a:pt x="234" y="3"/>
                      </a:lnTo>
                      <a:lnTo>
                        <a:pt x="236" y="5"/>
                      </a:lnTo>
                      <a:lnTo>
                        <a:pt x="238" y="5"/>
                      </a:lnTo>
                      <a:lnTo>
                        <a:pt x="239" y="7"/>
                      </a:lnTo>
                      <a:lnTo>
                        <a:pt x="241" y="7"/>
                      </a:lnTo>
                      <a:lnTo>
                        <a:pt x="243" y="8"/>
                      </a:lnTo>
                      <a:lnTo>
                        <a:pt x="246" y="8"/>
                      </a:lnTo>
                      <a:lnTo>
                        <a:pt x="250" y="8"/>
                      </a:lnTo>
                      <a:lnTo>
                        <a:pt x="251" y="10"/>
                      </a:lnTo>
                      <a:lnTo>
                        <a:pt x="253" y="10"/>
                      </a:lnTo>
                      <a:lnTo>
                        <a:pt x="255" y="8"/>
                      </a:lnTo>
                      <a:lnTo>
                        <a:pt x="256" y="8"/>
                      </a:lnTo>
                      <a:lnTo>
                        <a:pt x="256" y="7"/>
                      </a:lnTo>
                      <a:lnTo>
                        <a:pt x="258" y="7"/>
                      </a:lnTo>
                      <a:lnTo>
                        <a:pt x="260" y="5"/>
                      </a:lnTo>
                      <a:lnTo>
                        <a:pt x="261" y="5"/>
                      </a:lnTo>
                      <a:lnTo>
                        <a:pt x="263" y="7"/>
                      </a:lnTo>
                      <a:lnTo>
                        <a:pt x="265" y="7"/>
                      </a:lnTo>
                      <a:lnTo>
                        <a:pt x="266" y="7"/>
                      </a:lnTo>
                      <a:lnTo>
                        <a:pt x="268" y="7"/>
                      </a:lnTo>
                      <a:lnTo>
                        <a:pt x="272" y="8"/>
                      </a:lnTo>
                      <a:lnTo>
                        <a:pt x="272" y="10"/>
                      </a:lnTo>
                      <a:lnTo>
                        <a:pt x="273" y="12"/>
                      </a:lnTo>
                      <a:lnTo>
                        <a:pt x="273" y="13"/>
                      </a:lnTo>
                      <a:lnTo>
                        <a:pt x="272" y="15"/>
                      </a:lnTo>
                      <a:lnTo>
                        <a:pt x="273" y="15"/>
                      </a:lnTo>
                      <a:lnTo>
                        <a:pt x="273" y="16"/>
                      </a:lnTo>
                      <a:lnTo>
                        <a:pt x="275" y="18"/>
                      </a:lnTo>
                      <a:lnTo>
                        <a:pt x="275" y="20"/>
                      </a:lnTo>
                      <a:lnTo>
                        <a:pt x="277" y="20"/>
                      </a:lnTo>
                      <a:lnTo>
                        <a:pt x="278" y="20"/>
                      </a:lnTo>
                      <a:lnTo>
                        <a:pt x="280" y="20"/>
                      </a:lnTo>
                      <a:lnTo>
                        <a:pt x="282" y="20"/>
                      </a:lnTo>
                      <a:lnTo>
                        <a:pt x="282" y="18"/>
                      </a:lnTo>
                      <a:lnTo>
                        <a:pt x="283" y="18"/>
                      </a:lnTo>
                      <a:lnTo>
                        <a:pt x="283" y="20"/>
                      </a:lnTo>
                      <a:lnTo>
                        <a:pt x="285" y="20"/>
                      </a:lnTo>
                      <a:lnTo>
                        <a:pt x="287" y="20"/>
                      </a:lnTo>
                      <a:lnTo>
                        <a:pt x="290" y="21"/>
                      </a:lnTo>
                      <a:lnTo>
                        <a:pt x="290" y="23"/>
                      </a:lnTo>
                      <a:lnTo>
                        <a:pt x="292" y="23"/>
                      </a:lnTo>
                      <a:lnTo>
                        <a:pt x="293" y="25"/>
                      </a:lnTo>
                      <a:lnTo>
                        <a:pt x="295" y="26"/>
                      </a:lnTo>
                      <a:lnTo>
                        <a:pt x="297" y="26"/>
                      </a:lnTo>
                      <a:lnTo>
                        <a:pt x="299" y="26"/>
                      </a:lnTo>
                      <a:lnTo>
                        <a:pt x="300" y="28"/>
                      </a:lnTo>
                      <a:lnTo>
                        <a:pt x="300" y="26"/>
                      </a:lnTo>
                      <a:lnTo>
                        <a:pt x="302" y="26"/>
                      </a:lnTo>
                      <a:lnTo>
                        <a:pt x="302" y="28"/>
                      </a:lnTo>
                      <a:lnTo>
                        <a:pt x="304" y="28"/>
                      </a:lnTo>
                      <a:lnTo>
                        <a:pt x="305" y="30"/>
                      </a:lnTo>
                      <a:lnTo>
                        <a:pt x="305" y="31"/>
                      </a:lnTo>
                      <a:lnTo>
                        <a:pt x="307" y="33"/>
                      </a:lnTo>
                      <a:lnTo>
                        <a:pt x="309" y="35"/>
                      </a:lnTo>
                      <a:lnTo>
                        <a:pt x="309" y="36"/>
                      </a:lnTo>
                      <a:lnTo>
                        <a:pt x="309" y="38"/>
                      </a:lnTo>
                      <a:lnTo>
                        <a:pt x="309" y="39"/>
                      </a:lnTo>
                      <a:lnTo>
                        <a:pt x="309" y="41"/>
                      </a:lnTo>
                      <a:lnTo>
                        <a:pt x="309" y="43"/>
                      </a:lnTo>
                      <a:lnTo>
                        <a:pt x="310" y="44"/>
                      </a:lnTo>
                      <a:lnTo>
                        <a:pt x="309" y="48"/>
                      </a:lnTo>
                      <a:lnTo>
                        <a:pt x="309" y="49"/>
                      </a:lnTo>
                      <a:lnTo>
                        <a:pt x="307" y="51"/>
                      </a:lnTo>
                      <a:lnTo>
                        <a:pt x="307" y="53"/>
                      </a:lnTo>
                      <a:lnTo>
                        <a:pt x="309" y="53"/>
                      </a:lnTo>
                      <a:lnTo>
                        <a:pt x="309" y="54"/>
                      </a:lnTo>
                      <a:lnTo>
                        <a:pt x="310" y="54"/>
                      </a:lnTo>
                      <a:lnTo>
                        <a:pt x="310" y="56"/>
                      </a:lnTo>
                      <a:lnTo>
                        <a:pt x="312" y="58"/>
                      </a:lnTo>
                      <a:lnTo>
                        <a:pt x="312" y="59"/>
                      </a:lnTo>
                      <a:lnTo>
                        <a:pt x="312" y="61"/>
                      </a:lnTo>
                      <a:lnTo>
                        <a:pt x="314" y="62"/>
                      </a:lnTo>
                      <a:lnTo>
                        <a:pt x="314" y="64"/>
                      </a:lnTo>
                      <a:lnTo>
                        <a:pt x="314" y="66"/>
                      </a:lnTo>
                      <a:lnTo>
                        <a:pt x="314" y="69"/>
                      </a:lnTo>
                      <a:lnTo>
                        <a:pt x="314" y="71"/>
                      </a:lnTo>
                      <a:lnTo>
                        <a:pt x="314" y="72"/>
                      </a:lnTo>
                      <a:lnTo>
                        <a:pt x="314" y="74"/>
                      </a:lnTo>
                      <a:lnTo>
                        <a:pt x="312" y="74"/>
                      </a:lnTo>
                      <a:lnTo>
                        <a:pt x="312" y="76"/>
                      </a:lnTo>
                      <a:lnTo>
                        <a:pt x="314" y="77"/>
                      </a:lnTo>
                      <a:lnTo>
                        <a:pt x="314" y="79"/>
                      </a:lnTo>
                      <a:lnTo>
                        <a:pt x="314" y="80"/>
                      </a:lnTo>
                      <a:lnTo>
                        <a:pt x="314" y="82"/>
                      </a:lnTo>
                      <a:lnTo>
                        <a:pt x="314" y="84"/>
                      </a:lnTo>
                      <a:lnTo>
                        <a:pt x="314" y="85"/>
                      </a:lnTo>
                      <a:lnTo>
                        <a:pt x="314" y="89"/>
                      </a:lnTo>
                      <a:lnTo>
                        <a:pt x="314" y="90"/>
                      </a:lnTo>
                      <a:lnTo>
                        <a:pt x="315" y="92"/>
                      </a:lnTo>
                      <a:lnTo>
                        <a:pt x="317" y="95"/>
                      </a:lnTo>
                      <a:lnTo>
                        <a:pt x="317" y="97"/>
                      </a:lnTo>
                      <a:lnTo>
                        <a:pt x="319" y="97"/>
                      </a:lnTo>
                      <a:lnTo>
                        <a:pt x="319" y="99"/>
                      </a:lnTo>
                      <a:lnTo>
                        <a:pt x="319" y="100"/>
                      </a:lnTo>
                      <a:lnTo>
                        <a:pt x="319" y="102"/>
                      </a:lnTo>
                      <a:lnTo>
                        <a:pt x="317" y="105"/>
                      </a:lnTo>
                      <a:lnTo>
                        <a:pt x="315" y="107"/>
                      </a:lnTo>
                      <a:lnTo>
                        <a:pt x="315" y="108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5" y="113"/>
                      </a:lnTo>
                      <a:lnTo>
                        <a:pt x="314" y="117"/>
                      </a:lnTo>
                      <a:lnTo>
                        <a:pt x="315" y="120"/>
                      </a:lnTo>
                      <a:lnTo>
                        <a:pt x="315" y="122"/>
                      </a:lnTo>
                      <a:lnTo>
                        <a:pt x="314" y="122"/>
                      </a:lnTo>
                      <a:lnTo>
                        <a:pt x="314" y="123"/>
                      </a:lnTo>
                      <a:lnTo>
                        <a:pt x="312" y="123"/>
                      </a:lnTo>
                      <a:lnTo>
                        <a:pt x="312" y="126"/>
                      </a:lnTo>
                      <a:lnTo>
                        <a:pt x="312" y="128"/>
                      </a:lnTo>
                      <a:lnTo>
                        <a:pt x="310" y="128"/>
                      </a:lnTo>
                      <a:lnTo>
                        <a:pt x="310" y="130"/>
                      </a:lnTo>
                      <a:lnTo>
                        <a:pt x="310" y="131"/>
                      </a:lnTo>
                      <a:lnTo>
                        <a:pt x="310" y="133"/>
                      </a:lnTo>
                      <a:lnTo>
                        <a:pt x="310" y="135"/>
                      </a:lnTo>
                      <a:lnTo>
                        <a:pt x="309" y="136"/>
                      </a:lnTo>
                      <a:lnTo>
                        <a:pt x="307" y="138"/>
                      </a:lnTo>
                      <a:lnTo>
                        <a:pt x="309" y="140"/>
                      </a:lnTo>
                      <a:lnTo>
                        <a:pt x="307" y="141"/>
                      </a:lnTo>
                      <a:lnTo>
                        <a:pt x="307" y="143"/>
                      </a:lnTo>
                      <a:lnTo>
                        <a:pt x="307" y="145"/>
                      </a:lnTo>
                      <a:lnTo>
                        <a:pt x="309" y="145"/>
                      </a:lnTo>
                      <a:lnTo>
                        <a:pt x="309" y="146"/>
                      </a:lnTo>
                      <a:lnTo>
                        <a:pt x="307" y="146"/>
                      </a:lnTo>
                      <a:lnTo>
                        <a:pt x="305" y="149"/>
                      </a:lnTo>
                      <a:lnTo>
                        <a:pt x="305" y="151"/>
                      </a:lnTo>
                      <a:lnTo>
                        <a:pt x="305" y="153"/>
                      </a:lnTo>
                      <a:lnTo>
                        <a:pt x="305" y="154"/>
                      </a:lnTo>
                      <a:lnTo>
                        <a:pt x="307" y="156"/>
                      </a:lnTo>
                      <a:lnTo>
                        <a:pt x="307" y="158"/>
                      </a:lnTo>
                      <a:lnTo>
                        <a:pt x="307" y="159"/>
                      </a:lnTo>
                      <a:lnTo>
                        <a:pt x="305" y="161"/>
                      </a:lnTo>
                      <a:lnTo>
                        <a:pt x="305" y="163"/>
                      </a:lnTo>
                      <a:lnTo>
                        <a:pt x="305" y="164"/>
                      </a:lnTo>
                      <a:lnTo>
                        <a:pt x="304" y="164"/>
                      </a:lnTo>
                      <a:lnTo>
                        <a:pt x="305" y="166"/>
                      </a:lnTo>
                      <a:lnTo>
                        <a:pt x="304" y="166"/>
                      </a:lnTo>
                      <a:lnTo>
                        <a:pt x="304" y="168"/>
                      </a:lnTo>
                      <a:lnTo>
                        <a:pt x="302" y="169"/>
                      </a:lnTo>
                      <a:lnTo>
                        <a:pt x="300" y="169"/>
                      </a:lnTo>
                      <a:lnTo>
                        <a:pt x="300" y="171"/>
                      </a:lnTo>
                      <a:lnTo>
                        <a:pt x="299" y="171"/>
                      </a:lnTo>
                      <a:lnTo>
                        <a:pt x="299" y="172"/>
                      </a:lnTo>
                      <a:lnTo>
                        <a:pt x="299" y="174"/>
                      </a:lnTo>
                      <a:lnTo>
                        <a:pt x="297" y="176"/>
                      </a:lnTo>
                      <a:lnTo>
                        <a:pt x="297" y="177"/>
                      </a:lnTo>
                      <a:lnTo>
                        <a:pt x="295" y="179"/>
                      </a:lnTo>
                      <a:lnTo>
                        <a:pt x="295" y="181"/>
                      </a:lnTo>
                      <a:lnTo>
                        <a:pt x="293" y="181"/>
                      </a:lnTo>
                      <a:lnTo>
                        <a:pt x="293" y="182"/>
                      </a:lnTo>
                      <a:lnTo>
                        <a:pt x="292" y="182"/>
                      </a:lnTo>
                      <a:lnTo>
                        <a:pt x="290" y="182"/>
                      </a:lnTo>
                      <a:lnTo>
                        <a:pt x="288" y="181"/>
                      </a:lnTo>
                      <a:lnTo>
                        <a:pt x="287" y="181"/>
                      </a:lnTo>
                      <a:lnTo>
                        <a:pt x="285" y="182"/>
                      </a:lnTo>
                      <a:lnTo>
                        <a:pt x="283" y="184"/>
                      </a:lnTo>
                      <a:lnTo>
                        <a:pt x="283" y="186"/>
                      </a:lnTo>
                      <a:lnTo>
                        <a:pt x="283" y="187"/>
                      </a:lnTo>
                      <a:lnTo>
                        <a:pt x="285" y="189"/>
                      </a:lnTo>
                      <a:lnTo>
                        <a:pt x="287" y="189"/>
                      </a:lnTo>
                      <a:lnTo>
                        <a:pt x="288" y="191"/>
                      </a:lnTo>
                      <a:lnTo>
                        <a:pt x="290" y="192"/>
                      </a:lnTo>
                      <a:lnTo>
                        <a:pt x="292" y="194"/>
                      </a:lnTo>
                      <a:lnTo>
                        <a:pt x="292" y="195"/>
                      </a:lnTo>
                      <a:lnTo>
                        <a:pt x="293" y="195"/>
                      </a:lnTo>
                      <a:lnTo>
                        <a:pt x="293" y="197"/>
                      </a:lnTo>
                      <a:lnTo>
                        <a:pt x="295" y="197"/>
                      </a:lnTo>
                      <a:lnTo>
                        <a:pt x="295" y="195"/>
                      </a:lnTo>
                      <a:lnTo>
                        <a:pt x="297" y="195"/>
                      </a:lnTo>
                      <a:lnTo>
                        <a:pt x="297" y="194"/>
                      </a:lnTo>
                      <a:lnTo>
                        <a:pt x="299" y="194"/>
                      </a:lnTo>
                      <a:lnTo>
                        <a:pt x="299" y="192"/>
                      </a:lnTo>
                      <a:lnTo>
                        <a:pt x="300" y="192"/>
                      </a:lnTo>
                      <a:lnTo>
                        <a:pt x="302" y="192"/>
                      </a:lnTo>
                      <a:lnTo>
                        <a:pt x="304" y="192"/>
                      </a:lnTo>
                      <a:lnTo>
                        <a:pt x="304" y="194"/>
                      </a:lnTo>
                      <a:lnTo>
                        <a:pt x="305" y="194"/>
                      </a:lnTo>
                      <a:lnTo>
                        <a:pt x="307" y="195"/>
                      </a:lnTo>
                      <a:lnTo>
                        <a:pt x="309" y="197"/>
                      </a:lnTo>
                      <a:lnTo>
                        <a:pt x="309" y="199"/>
                      </a:lnTo>
                      <a:lnTo>
                        <a:pt x="309" y="200"/>
                      </a:lnTo>
                      <a:lnTo>
                        <a:pt x="309" y="202"/>
                      </a:lnTo>
                      <a:lnTo>
                        <a:pt x="307" y="204"/>
                      </a:lnTo>
                      <a:lnTo>
                        <a:pt x="305" y="205"/>
                      </a:lnTo>
                      <a:lnTo>
                        <a:pt x="304" y="205"/>
                      </a:lnTo>
                      <a:lnTo>
                        <a:pt x="302" y="205"/>
                      </a:lnTo>
                      <a:lnTo>
                        <a:pt x="300" y="207"/>
                      </a:lnTo>
                      <a:lnTo>
                        <a:pt x="299" y="207"/>
                      </a:lnTo>
                      <a:lnTo>
                        <a:pt x="299" y="209"/>
                      </a:lnTo>
                      <a:lnTo>
                        <a:pt x="300" y="209"/>
                      </a:lnTo>
                      <a:lnTo>
                        <a:pt x="300" y="210"/>
                      </a:lnTo>
                      <a:lnTo>
                        <a:pt x="302" y="210"/>
                      </a:lnTo>
                      <a:lnTo>
                        <a:pt x="302" y="209"/>
                      </a:lnTo>
                      <a:lnTo>
                        <a:pt x="304" y="209"/>
                      </a:lnTo>
                      <a:lnTo>
                        <a:pt x="305" y="209"/>
                      </a:lnTo>
                      <a:lnTo>
                        <a:pt x="307" y="209"/>
                      </a:lnTo>
                      <a:lnTo>
                        <a:pt x="307" y="210"/>
                      </a:lnTo>
                      <a:lnTo>
                        <a:pt x="307" y="212"/>
                      </a:lnTo>
                      <a:lnTo>
                        <a:pt x="307" y="214"/>
                      </a:lnTo>
                      <a:lnTo>
                        <a:pt x="309" y="214"/>
                      </a:lnTo>
                      <a:lnTo>
                        <a:pt x="309" y="215"/>
                      </a:lnTo>
                      <a:lnTo>
                        <a:pt x="309" y="217"/>
                      </a:lnTo>
                      <a:lnTo>
                        <a:pt x="310" y="217"/>
                      </a:lnTo>
                      <a:lnTo>
                        <a:pt x="310" y="218"/>
                      </a:lnTo>
                      <a:lnTo>
                        <a:pt x="310" y="217"/>
                      </a:lnTo>
                      <a:lnTo>
                        <a:pt x="312" y="217"/>
                      </a:lnTo>
                      <a:lnTo>
                        <a:pt x="314" y="217"/>
                      </a:lnTo>
                      <a:lnTo>
                        <a:pt x="314" y="218"/>
                      </a:lnTo>
                      <a:lnTo>
                        <a:pt x="314" y="220"/>
                      </a:lnTo>
                      <a:lnTo>
                        <a:pt x="315" y="220"/>
                      </a:lnTo>
                      <a:lnTo>
                        <a:pt x="317" y="220"/>
                      </a:lnTo>
                      <a:lnTo>
                        <a:pt x="317" y="222"/>
                      </a:lnTo>
                      <a:lnTo>
                        <a:pt x="317" y="223"/>
                      </a:lnTo>
                      <a:lnTo>
                        <a:pt x="319" y="223"/>
                      </a:lnTo>
                      <a:lnTo>
                        <a:pt x="319" y="225"/>
                      </a:lnTo>
                      <a:lnTo>
                        <a:pt x="319" y="227"/>
                      </a:lnTo>
                      <a:lnTo>
                        <a:pt x="319" y="228"/>
                      </a:lnTo>
                      <a:lnTo>
                        <a:pt x="320" y="228"/>
                      </a:lnTo>
                      <a:lnTo>
                        <a:pt x="322" y="228"/>
                      </a:lnTo>
                      <a:lnTo>
                        <a:pt x="320" y="228"/>
                      </a:lnTo>
                      <a:lnTo>
                        <a:pt x="320" y="227"/>
                      </a:lnTo>
                      <a:lnTo>
                        <a:pt x="319" y="227"/>
                      </a:lnTo>
                      <a:lnTo>
                        <a:pt x="319" y="225"/>
                      </a:lnTo>
                      <a:lnTo>
                        <a:pt x="320" y="225"/>
                      </a:lnTo>
                      <a:lnTo>
                        <a:pt x="322" y="225"/>
                      </a:lnTo>
                      <a:lnTo>
                        <a:pt x="322" y="227"/>
                      </a:lnTo>
                      <a:lnTo>
                        <a:pt x="324" y="228"/>
                      </a:lnTo>
                      <a:lnTo>
                        <a:pt x="324" y="230"/>
                      </a:lnTo>
                      <a:lnTo>
                        <a:pt x="326" y="230"/>
                      </a:lnTo>
                      <a:lnTo>
                        <a:pt x="324" y="230"/>
                      </a:lnTo>
                      <a:lnTo>
                        <a:pt x="322" y="230"/>
                      </a:lnTo>
                      <a:lnTo>
                        <a:pt x="324" y="230"/>
                      </a:lnTo>
                      <a:lnTo>
                        <a:pt x="324" y="232"/>
                      </a:lnTo>
                      <a:lnTo>
                        <a:pt x="326" y="232"/>
                      </a:lnTo>
                      <a:lnTo>
                        <a:pt x="326" y="233"/>
                      </a:lnTo>
                      <a:lnTo>
                        <a:pt x="326" y="235"/>
                      </a:lnTo>
                      <a:lnTo>
                        <a:pt x="326" y="237"/>
                      </a:lnTo>
                      <a:lnTo>
                        <a:pt x="327" y="237"/>
                      </a:lnTo>
                      <a:lnTo>
                        <a:pt x="327" y="235"/>
                      </a:lnTo>
                      <a:lnTo>
                        <a:pt x="327" y="237"/>
                      </a:lnTo>
                      <a:lnTo>
                        <a:pt x="329" y="237"/>
                      </a:lnTo>
                      <a:lnTo>
                        <a:pt x="331" y="237"/>
                      </a:lnTo>
                      <a:lnTo>
                        <a:pt x="331" y="238"/>
                      </a:lnTo>
                      <a:lnTo>
                        <a:pt x="329" y="238"/>
                      </a:lnTo>
                      <a:lnTo>
                        <a:pt x="331" y="238"/>
                      </a:lnTo>
                      <a:lnTo>
                        <a:pt x="331" y="240"/>
                      </a:lnTo>
                      <a:lnTo>
                        <a:pt x="331" y="241"/>
                      </a:lnTo>
                      <a:lnTo>
                        <a:pt x="332" y="241"/>
                      </a:lnTo>
                      <a:lnTo>
                        <a:pt x="331" y="241"/>
                      </a:lnTo>
                      <a:lnTo>
                        <a:pt x="331" y="243"/>
                      </a:lnTo>
                      <a:lnTo>
                        <a:pt x="332" y="243"/>
                      </a:lnTo>
                      <a:lnTo>
                        <a:pt x="331" y="243"/>
                      </a:lnTo>
                      <a:lnTo>
                        <a:pt x="332" y="243"/>
                      </a:lnTo>
                      <a:lnTo>
                        <a:pt x="332" y="245"/>
                      </a:lnTo>
                      <a:lnTo>
                        <a:pt x="332" y="243"/>
                      </a:lnTo>
                      <a:lnTo>
                        <a:pt x="332" y="245"/>
                      </a:lnTo>
                      <a:lnTo>
                        <a:pt x="334" y="245"/>
                      </a:lnTo>
                      <a:lnTo>
                        <a:pt x="336" y="245"/>
                      </a:lnTo>
                      <a:lnTo>
                        <a:pt x="336" y="246"/>
                      </a:lnTo>
                      <a:lnTo>
                        <a:pt x="337" y="246"/>
                      </a:lnTo>
                      <a:lnTo>
                        <a:pt x="337" y="248"/>
                      </a:lnTo>
                      <a:lnTo>
                        <a:pt x="339" y="250"/>
                      </a:lnTo>
                      <a:lnTo>
                        <a:pt x="339" y="251"/>
                      </a:lnTo>
                      <a:lnTo>
                        <a:pt x="341" y="251"/>
                      </a:lnTo>
                      <a:lnTo>
                        <a:pt x="341" y="253"/>
                      </a:lnTo>
                      <a:lnTo>
                        <a:pt x="342" y="253"/>
                      </a:lnTo>
                      <a:lnTo>
                        <a:pt x="342" y="255"/>
                      </a:lnTo>
                      <a:lnTo>
                        <a:pt x="344" y="255"/>
                      </a:lnTo>
                      <a:lnTo>
                        <a:pt x="344" y="256"/>
                      </a:lnTo>
                      <a:lnTo>
                        <a:pt x="346" y="256"/>
                      </a:lnTo>
                      <a:lnTo>
                        <a:pt x="344" y="256"/>
                      </a:lnTo>
                      <a:lnTo>
                        <a:pt x="344" y="258"/>
                      </a:lnTo>
                      <a:lnTo>
                        <a:pt x="346" y="258"/>
                      </a:lnTo>
                      <a:lnTo>
                        <a:pt x="344" y="258"/>
                      </a:lnTo>
                      <a:lnTo>
                        <a:pt x="346" y="258"/>
                      </a:lnTo>
                      <a:lnTo>
                        <a:pt x="346" y="260"/>
                      </a:lnTo>
                      <a:lnTo>
                        <a:pt x="344" y="260"/>
                      </a:lnTo>
                      <a:lnTo>
                        <a:pt x="346" y="260"/>
                      </a:lnTo>
                      <a:lnTo>
                        <a:pt x="348" y="260"/>
                      </a:lnTo>
                      <a:lnTo>
                        <a:pt x="348" y="261"/>
                      </a:lnTo>
                      <a:lnTo>
                        <a:pt x="349" y="261"/>
                      </a:lnTo>
                      <a:lnTo>
                        <a:pt x="349" y="263"/>
                      </a:lnTo>
                      <a:lnTo>
                        <a:pt x="349" y="264"/>
                      </a:lnTo>
                      <a:lnTo>
                        <a:pt x="351" y="264"/>
                      </a:lnTo>
                      <a:lnTo>
                        <a:pt x="351" y="266"/>
                      </a:lnTo>
                      <a:lnTo>
                        <a:pt x="353" y="266"/>
                      </a:lnTo>
                      <a:lnTo>
                        <a:pt x="354" y="266"/>
                      </a:lnTo>
                      <a:lnTo>
                        <a:pt x="356" y="266"/>
                      </a:lnTo>
                      <a:lnTo>
                        <a:pt x="354" y="266"/>
                      </a:lnTo>
                      <a:lnTo>
                        <a:pt x="356" y="266"/>
                      </a:lnTo>
                      <a:lnTo>
                        <a:pt x="356" y="264"/>
                      </a:lnTo>
                      <a:lnTo>
                        <a:pt x="356" y="266"/>
                      </a:lnTo>
                      <a:lnTo>
                        <a:pt x="356" y="264"/>
                      </a:lnTo>
                      <a:lnTo>
                        <a:pt x="358" y="264"/>
                      </a:lnTo>
                      <a:lnTo>
                        <a:pt x="358" y="263"/>
                      </a:lnTo>
                      <a:lnTo>
                        <a:pt x="359" y="263"/>
                      </a:lnTo>
                      <a:lnTo>
                        <a:pt x="359" y="261"/>
                      </a:lnTo>
                      <a:lnTo>
                        <a:pt x="361" y="261"/>
                      </a:lnTo>
                      <a:lnTo>
                        <a:pt x="361" y="260"/>
                      </a:lnTo>
                      <a:lnTo>
                        <a:pt x="363" y="260"/>
                      </a:lnTo>
                      <a:lnTo>
                        <a:pt x="364" y="260"/>
                      </a:lnTo>
                      <a:lnTo>
                        <a:pt x="364" y="258"/>
                      </a:lnTo>
                      <a:lnTo>
                        <a:pt x="366" y="258"/>
                      </a:lnTo>
                      <a:lnTo>
                        <a:pt x="366" y="256"/>
                      </a:lnTo>
                      <a:lnTo>
                        <a:pt x="368" y="256"/>
                      </a:lnTo>
                      <a:lnTo>
                        <a:pt x="366" y="258"/>
                      </a:lnTo>
                      <a:lnTo>
                        <a:pt x="368" y="258"/>
                      </a:lnTo>
                      <a:lnTo>
                        <a:pt x="368" y="256"/>
                      </a:lnTo>
                      <a:lnTo>
                        <a:pt x="369" y="256"/>
                      </a:lnTo>
                      <a:lnTo>
                        <a:pt x="369" y="258"/>
                      </a:lnTo>
                      <a:lnTo>
                        <a:pt x="369" y="256"/>
                      </a:lnTo>
                      <a:lnTo>
                        <a:pt x="371" y="258"/>
                      </a:lnTo>
                      <a:lnTo>
                        <a:pt x="371" y="256"/>
                      </a:lnTo>
                      <a:lnTo>
                        <a:pt x="373" y="256"/>
                      </a:lnTo>
                      <a:lnTo>
                        <a:pt x="375" y="256"/>
                      </a:lnTo>
                      <a:lnTo>
                        <a:pt x="376" y="256"/>
                      </a:lnTo>
                      <a:lnTo>
                        <a:pt x="376" y="255"/>
                      </a:lnTo>
                      <a:lnTo>
                        <a:pt x="378" y="255"/>
                      </a:lnTo>
                      <a:lnTo>
                        <a:pt x="378" y="253"/>
                      </a:lnTo>
                      <a:lnTo>
                        <a:pt x="378" y="255"/>
                      </a:lnTo>
                      <a:lnTo>
                        <a:pt x="380" y="255"/>
                      </a:lnTo>
                      <a:lnTo>
                        <a:pt x="380" y="253"/>
                      </a:lnTo>
                      <a:lnTo>
                        <a:pt x="381" y="253"/>
                      </a:lnTo>
                      <a:lnTo>
                        <a:pt x="383" y="253"/>
                      </a:lnTo>
                      <a:lnTo>
                        <a:pt x="385" y="253"/>
                      </a:lnTo>
                      <a:lnTo>
                        <a:pt x="386" y="253"/>
                      </a:lnTo>
                      <a:lnTo>
                        <a:pt x="386" y="251"/>
                      </a:lnTo>
                      <a:lnTo>
                        <a:pt x="388" y="251"/>
                      </a:lnTo>
                      <a:lnTo>
                        <a:pt x="388" y="253"/>
                      </a:lnTo>
                      <a:lnTo>
                        <a:pt x="388" y="251"/>
                      </a:lnTo>
                      <a:lnTo>
                        <a:pt x="390" y="251"/>
                      </a:lnTo>
                      <a:lnTo>
                        <a:pt x="391" y="251"/>
                      </a:lnTo>
                      <a:lnTo>
                        <a:pt x="393" y="251"/>
                      </a:lnTo>
                      <a:lnTo>
                        <a:pt x="395" y="251"/>
                      </a:lnTo>
                      <a:lnTo>
                        <a:pt x="395" y="253"/>
                      </a:lnTo>
                      <a:lnTo>
                        <a:pt x="396" y="253"/>
                      </a:lnTo>
                      <a:lnTo>
                        <a:pt x="396" y="255"/>
                      </a:lnTo>
                      <a:lnTo>
                        <a:pt x="398" y="256"/>
                      </a:lnTo>
                      <a:lnTo>
                        <a:pt x="400" y="256"/>
                      </a:lnTo>
                      <a:lnTo>
                        <a:pt x="400" y="258"/>
                      </a:lnTo>
                      <a:lnTo>
                        <a:pt x="402" y="258"/>
                      </a:lnTo>
                      <a:lnTo>
                        <a:pt x="403" y="260"/>
                      </a:lnTo>
                      <a:lnTo>
                        <a:pt x="403" y="261"/>
                      </a:lnTo>
                      <a:lnTo>
                        <a:pt x="405" y="261"/>
                      </a:lnTo>
                      <a:lnTo>
                        <a:pt x="405" y="263"/>
                      </a:lnTo>
                      <a:lnTo>
                        <a:pt x="405" y="264"/>
                      </a:lnTo>
                      <a:lnTo>
                        <a:pt x="403" y="264"/>
                      </a:lnTo>
                      <a:lnTo>
                        <a:pt x="405" y="264"/>
                      </a:lnTo>
                      <a:lnTo>
                        <a:pt x="405" y="266"/>
                      </a:lnTo>
                      <a:lnTo>
                        <a:pt x="405" y="268"/>
                      </a:lnTo>
                      <a:lnTo>
                        <a:pt x="405" y="269"/>
                      </a:lnTo>
                      <a:lnTo>
                        <a:pt x="403" y="269"/>
                      </a:lnTo>
                      <a:lnTo>
                        <a:pt x="403" y="271"/>
                      </a:lnTo>
                      <a:lnTo>
                        <a:pt x="403" y="273"/>
                      </a:lnTo>
                      <a:lnTo>
                        <a:pt x="402" y="273"/>
                      </a:lnTo>
                      <a:lnTo>
                        <a:pt x="402" y="274"/>
                      </a:lnTo>
                      <a:lnTo>
                        <a:pt x="402" y="276"/>
                      </a:lnTo>
                      <a:lnTo>
                        <a:pt x="400" y="276"/>
                      </a:lnTo>
                      <a:lnTo>
                        <a:pt x="400" y="278"/>
                      </a:lnTo>
                      <a:lnTo>
                        <a:pt x="402" y="278"/>
                      </a:lnTo>
                      <a:lnTo>
                        <a:pt x="403" y="279"/>
                      </a:lnTo>
                      <a:lnTo>
                        <a:pt x="402" y="281"/>
                      </a:lnTo>
                      <a:lnTo>
                        <a:pt x="402" y="282"/>
                      </a:lnTo>
                      <a:lnTo>
                        <a:pt x="402" y="284"/>
                      </a:lnTo>
                      <a:lnTo>
                        <a:pt x="402" y="286"/>
                      </a:lnTo>
                      <a:lnTo>
                        <a:pt x="402" y="287"/>
                      </a:lnTo>
                      <a:lnTo>
                        <a:pt x="400" y="287"/>
                      </a:lnTo>
                      <a:lnTo>
                        <a:pt x="398" y="289"/>
                      </a:lnTo>
                      <a:lnTo>
                        <a:pt x="398" y="291"/>
                      </a:lnTo>
                      <a:lnTo>
                        <a:pt x="396" y="291"/>
                      </a:lnTo>
                      <a:lnTo>
                        <a:pt x="395" y="291"/>
                      </a:lnTo>
                      <a:lnTo>
                        <a:pt x="393" y="291"/>
                      </a:lnTo>
                      <a:lnTo>
                        <a:pt x="391" y="291"/>
                      </a:lnTo>
                      <a:lnTo>
                        <a:pt x="390" y="291"/>
                      </a:lnTo>
                      <a:lnTo>
                        <a:pt x="388" y="291"/>
                      </a:lnTo>
                      <a:lnTo>
                        <a:pt x="386" y="291"/>
                      </a:lnTo>
                      <a:lnTo>
                        <a:pt x="385" y="292"/>
                      </a:lnTo>
                      <a:lnTo>
                        <a:pt x="383" y="292"/>
                      </a:lnTo>
                      <a:lnTo>
                        <a:pt x="381" y="294"/>
                      </a:lnTo>
                      <a:lnTo>
                        <a:pt x="381" y="296"/>
                      </a:lnTo>
                      <a:lnTo>
                        <a:pt x="380" y="296"/>
                      </a:lnTo>
                      <a:lnTo>
                        <a:pt x="378" y="296"/>
                      </a:lnTo>
                      <a:lnTo>
                        <a:pt x="376" y="296"/>
                      </a:lnTo>
                      <a:lnTo>
                        <a:pt x="376" y="294"/>
                      </a:lnTo>
                      <a:lnTo>
                        <a:pt x="375" y="294"/>
                      </a:lnTo>
                      <a:lnTo>
                        <a:pt x="375" y="296"/>
                      </a:lnTo>
                      <a:lnTo>
                        <a:pt x="375" y="297"/>
                      </a:lnTo>
                      <a:lnTo>
                        <a:pt x="373" y="297"/>
                      </a:lnTo>
                      <a:lnTo>
                        <a:pt x="373" y="299"/>
                      </a:lnTo>
                      <a:lnTo>
                        <a:pt x="375" y="299"/>
                      </a:lnTo>
                      <a:lnTo>
                        <a:pt x="373" y="299"/>
                      </a:lnTo>
                      <a:lnTo>
                        <a:pt x="375" y="301"/>
                      </a:lnTo>
                      <a:lnTo>
                        <a:pt x="373" y="301"/>
                      </a:lnTo>
                      <a:lnTo>
                        <a:pt x="373" y="302"/>
                      </a:lnTo>
                      <a:lnTo>
                        <a:pt x="375" y="302"/>
                      </a:lnTo>
                      <a:lnTo>
                        <a:pt x="373" y="302"/>
                      </a:lnTo>
                      <a:lnTo>
                        <a:pt x="373" y="304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69" y="307"/>
                      </a:lnTo>
                      <a:lnTo>
                        <a:pt x="369" y="309"/>
                      </a:lnTo>
                      <a:lnTo>
                        <a:pt x="369" y="310"/>
                      </a:lnTo>
                      <a:lnTo>
                        <a:pt x="368" y="310"/>
                      </a:lnTo>
                      <a:lnTo>
                        <a:pt x="368" y="312"/>
                      </a:lnTo>
                      <a:lnTo>
                        <a:pt x="366" y="312"/>
                      </a:lnTo>
                      <a:lnTo>
                        <a:pt x="366" y="314"/>
                      </a:lnTo>
                      <a:lnTo>
                        <a:pt x="366" y="312"/>
                      </a:lnTo>
                      <a:lnTo>
                        <a:pt x="366" y="314"/>
                      </a:lnTo>
                      <a:lnTo>
                        <a:pt x="364" y="314"/>
                      </a:lnTo>
                      <a:lnTo>
                        <a:pt x="364" y="315"/>
                      </a:lnTo>
                      <a:lnTo>
                        <a:pt x="363" y="315"/>
                      </a:lnTo>
                      <a:lnTo>
                        <a:pt x="364" y="315"/>
                      </a:lnTo>
                      <a:lnTo>
                        <a:pt x="364" y="317"/>
                      </a:lnTo>
                      <a:lnTo>
                        <a:pt x="363" y="317"/>
                      </a:lnTo>
                      <a:lnTo>
                        <a:pt x="363" y="319"/>
                      </a:lnTo>
                      <a:lnTo>
                        <a:pt x="363" y="317"/>
                      </a:lnTo>
                      <a:lnTo>
                        <a:pt x="363" y="319"/>
                      </a:lnTo>
                      <a:lnTo>
                        <a:pt x="363" y="320"/>
                      </a:lnTo>
                      <a:lnTo>
                        <a:pt x="364" y="320"/>
                      </a:lnTo>
                      <a:lnTo>
                        <a:pt x="364" y="322"/>
                      </a:lnTo>
                      <a:lnTo>
                        <a:pt x="364" y="324"/>
                      </a:lnTo>
                      <a:lnTo>
                        <a:pt x="366" y="324"/>
                      </a:lnTo>
                      <a:lnTo>
                        <a:pt x="364" y="324"/>
                      </a:lnTo>
                      <a:lnTo>
                        <a:pt x="364" y="325"/>
                      </a:lnTo>
                      <a:lnTo>
                        <a:pt x="363" y="325"/>
                      </a:lnTo>
                      <a:lnTo>
                        <a:pt x="363" y="327"/>
                      </a:lnTo>
                      <a:lnTo>
                        <a:pt x="363" y="328"/>
                      </a:lnTo>
                      <a:lnTo>
                        <a:pt x="361" y="327"/>
                      </a:lnTo>
                      <a:lnTo>
                        <a:pt x="361" y="328"/>
                      </a:lnTo>
                      <a:lnTo>
                        <a:pt x="363" y="330"/>
                      </a:lnTo>
                      <a:lnTo>
                        <a:pt x="363" y="332"/>
                      </a:lnTo>
                      <a:lnTo>
                        <a:pt x="364" y="332"/>
                      </a:lnTo>
                      <a:lnTo>
                        <a:pt x="364" y="333"/>
                      </a:lnTo>
                      <a:lnTo>
                        <a:pt x="363" y="333"/>
                      </a:lnTo>
                      <a:lnTo>
                        <a:pt x="364" y="333"/>
                      </a:lnTo>
                      <a:lnTo>
                        <a:pt x="364" y="335"/>
                      </a:lnTo>
                      <a:lnTo>
                        <a:pt x="364" y="337"/>
                      </a:lnTo>
                      <a:lnTo>
                        <a:pt x="363" y="337"/>
                      </a:lnTo>
                      <a:lnTo>
                        <a:pt x="363" y="338"/>
                      </a:lnTo>
                      <a:lnTo>
                        <a:pt x="363" y="340"/>
                      </a:lnTo>
                      <a:lnTo>
                        <a:pt x="361" y="340"/>
                      </a:lnTo>
                      <a:lnTo>
                        <a:pt x="359" y="340"/>
                      </a:lnTo>
                      <a:lnTo>
                        <a:pt x="359" y="342"/>
                      </a:lnTo>
                      <a:lnTo>
                        <a:pt x="358" y="340"/>
                      </a:lnTo>
                      <a:lnTo>
                        <a:pt x="356" y="340"/>
                      </a:lnTo>
                      <a:lnTo>
                        <a:pt x="356" y="342"/>
                      </a:lnTo>
                      <a:lnTo>
                        <a:pt x="356" y="343"/>
                      </a:lnTo>
                      <a:lnTo>
                        <a:pt x="358" y="343"/>
                      </a:lnTo>
                      <a:lnTo>
                        <a:pt x="358" y="345"/>
                      </a:lnTo>
                      <a:lnTo>
                        <a:pt x="356" y="345"/>
                      </a:lnTo>
                      <a:lnTo>
                        <a:pt x="356" y="347"/>
                      </a:lnTo>
                      <a:lnTo>
                        <a:pt x="354" y="347"/>
                      </a:lnTo>
                      <a:lnTo>
                        <a:pt x="356" y="348"/>
                      </a:lnTo>
                      <a:lnTo>
                        <a:pt x="354" y="348"/>
                      </a:lnTo>
                      <a:lnTo>
                        <a:pt x="353" y="348"/>
                      </a:lnTo>
                      <a:lnTo>
                        <a:pt x="354" y="348"/>
                      </a:lnTo>
                      <a:lnTo>
                        <a:pt x="353" y="348"/>
                      </a:lnTo>
                      <a:lnTo>
                        <a:pt x="353" y="350"/>
                      </a:lnTo>
                      <a:lnTo>
                        <a:pt x="354" y="350"/>
                      </a:lnTo>
                      <a:lnTo>
                        <a:pt x="353" y="350"/>
                      </a:lnTo>
                      <a:lnTo>
                        <a:pt x="353" y="351"/>
                      </a:lnTo>
                      <a:lnTo>
                        <a:pt x="351" y="351"/>
                      </a:lnTo>
                      <a:lnTo>
                        <a:pt x="353" y="351"/>
                      </a:lnTo>
                      <a:lnTo>
                        <a:pt x="351" y="351"/>
                      </a:lnTo>
                      <a:lnTo>
                        <a:pt x="351" y="353"/>
                      </a:lnTo>
                      <a:lnTo>
                        <a:pt x="349" y="353"/>
                      </a:lnTo>
                      <a:lnTo>
                        <a:pt x="348" y="353"/>
                      </a:lnTo>
                      <a:lnTo>
                        <a:pt x="348" y="355"/>
                      </a:lnTo>
                      <a:lnTo>
                        <a:pt x="349" y="355"/>
                      </a:lnTo>
                      <a:lnTo>
                        <a:pt x="351" y="355"/>
                      </a:lnTo>
                      <a:lnTo>
                        <a:pt x="351" y="356"/>
                      </a:lnTo>
                      <a:lnTo>
                        <a:pt x="349" y="356"/>
                      </a:lnTo>
                      <a:lnTo>
                        <a:pt x="349" y="358"/>
                      </a:lnTo>
                      <a:lnTo>
                        <a:pt x="349" y="356"/>
                      </a:lnTo>
                      <a:lnTo>
                        <a:pt x="349" y="358"/>
                      </a:lnTo>
                      <a:lnTo>
                        <a:pt x="348" y="358"/>
                      </a:lnTo>
                      <a:lnTo>
                        <a:pt x="349" y="358"/>
                      </a:lnTo>
                      <a:lnTo>
                        <a:pt x="349" y="360"/>
                      </a:lnTo>
                      <a:lnTo>
                        <a:pt x="351" y="360"/>
                      </a:lnTo>
                      <a:lnTo>
                        <a:pt x="353" y="360"/>
                      </a:lnTo>
                      <a:lnTo>
                        <a:pt x="354" y="360"/>
                      </a:lnTo>
                      <a:lnTo>
                        <a:pt x="353" y="360"/>
                      </a:lnTo>
                      <a:lnTo>
                        <a:pt x="354" y="360"/>
                      </a:lnTo>
                      <a:lnTo>
                        <a:pt x="356" y="360"/>
                      </a:lnTo>
                      <a:lnTo>
                        <a:pt x="358" y="360"/>
                      </a:lnTo>
                      <a:lnTo>
                        <a:pt x="359" y="360"/>
                      </a:lnTo>
                      <a:lnTo>
                        <a:pt x="359" y="358"/>
                      </a:lnTo>
                      <a:lnTo>
                        <a:pt x="361" y="358"/>
                      </a:lnTo>
                      <a:lnTo>
                        <a:pt x="361" y="360"/>
                      </a:lnTo>
                      <a:lnTo>
                        <a:pt x="361" y="358"/>
                      </a:lnTo>
                      <a:lnTo>
                        <a:pt x="363" y="360"/>
                      </a:lnTo>
                      <a:lnTo>
                        <a:pt x="363" y="361"/>
                      </a:lnTo>
                      <a:lnTo>
                        <a:pt x="361" y="361"/>
                      </a:lnTo>
                      <a:lnTo>
                        <a:pt x="363" y="361"/>
                      </a:lnTo>
                      <a:lnTo>
                        <a:pt x="361" y="361"/>
                      </a:lnTo>
                      <a:lnTo>
                        <a:pt x="361" y="363"/>
                      </a:lnTo>
                      <a:lnTo>
                        <a:pt x="361" y="365"/>
                      </a:lnTo>
                      <a:lnTo>
                        <a:pt x="363" y="365"/>
                      </a:lnTo>
                      <a:lnTo>
                        <a:pt x="364" y="365"/>
                      </a:lnTo>
                      <a:lnTo>
                        <a:pt x="364" y="366"/>
                      </a:lnTo>
                      <a:lnTo>
                        <a:pt x="366" y="366"/>
                      </a:lnTo>
                      <a:lnTo>
                        <a:pt x="368" y="366"/>
                      </a:lnTo>
                      <a:lnTo>
                        <a:pt x="369" y="366"/>
                      </a:lnTo>
                      <a:lnTo>
                        <a:pt x="369" y="368"/>
                      </a:lnTo>
                      <a:lnTo>
                        <a:pt x="369" y="370"/>
                      </a:lnTo>
                      <a:lnTo>
                        <a:pt x="369" y="371"/>
                      </a:lnTo>
                      <a:lnTo>
                        <a:pt x="371" y="371"/>
                      </a:lnTo>
                      <a:lnTo>
                        <a:pt x="371" y="373"/>
                      </a:lnTo>
                      <a:lnTo>
                        <a:pt x="371" y="374"/>
                      </a:lnTo>
                      <a:lnTo>
                        <a:pt x="371" y="376"/>
                      </a:lnTo>
                      <a:lnTo>
                        <a:pt x="371" y="378"/>
                      </a:lnTo>
                      <a:lnTo>
                        <a:pt x="371" y="379"/>
                      </a:lnTo>
                      <a:lnTo>
                        <a:pt x="369" y="379"/>
                      </a:lnTo>
                      <a:lnTo>
                        <a:pt x="369" y="381"/>
                      </a:lnTo>
                      <a:lnTo>
                        <a:pt x="371" y="381"/>
                      </a:lnTo>
                      <a:lnTo>
                        <a:pt x="373" y="381"/>
                      </a:lnTo>
                      <a:lnTo>
                        <a:pt x="373" y="383"/>
                      </a:lnTo>
                      <a:lnTo>
                        <a:pt x="375" y="384"/>
                      </a:lnTo>
                      <a:lnTo>
                        <a:pt x="375" y="386"/>
                      </a:lnTo>
                      <a:lnTo>
                        <a:pt x="376" y="386"/>
                      </a:lnTo>
                      <a:lnTo>
                        <a:pt x="378" y="388"/>
                      </a:lnTo>
                      <a:lnTo>
                        <a:pt x="378" y="389"/>
                      </a:lnTo>
                      <a:lnTo>
                        <a:pt x="376" y="389"/>
                      </a:lnTo>
                      <a:lnTo>
                        <a:pt x="376" y="391"/>
                      </a:lnTo>
                      <a:lnTo>
                        <a:pt x="378" y="391"/>
                      </a:lnTo>
                      <a:lnTo>
                        <a:pt x="380" y="391"/>
                      </a:lnTo>
                      <a:lnTo>
                        <a:pt x="380" y="389"/>
                      </a:lnTo>
                      <a:lnTo>
                        <a:pt x="381" y="389"/>
                      </a:lnTo>
                      <a:lnTo>
                        <a:pt x="383" y="389"/>
                      </a:lnTo>
                      <a:lnTo>
                        <a:pt x="385" y="389"/>
                      </a:lnTo>
                      <a:lnTo>
                        <a:pt x="386" y="389"/>
                      </a:lnTo>
                      <a:lnTo>
                        <a:pt x="388" y="391"/>
                      </a:lnTo>
                      <a:lnTo>
                        <a:pt x="390" y="391"/>
                      </a:lnTo>
                      <a:lnTo>
                        <a:pt x="388" y="391"/>
                      </a:lnTo>
                      <a:lnTo>
                        <a:pt x="388" y="393"/>
                      </a:lnTo>
                      <a:lnTo>
                        <a:pt x="388" y="394"/>
                      </a:lnTo>
                      <a:lnTo>
                        <a:pt x="388" y="396"/>
                      </a:lnTo>
                      <a:lnTo>
                        <a:pt x="390" y="396"/>
                      </a:lnTo>
                      <a:lnTo>
                        <a:pt x="391" y="396"/>
                      </a:lnTo>
                      <a:lnTo>
                        <a:pt x="393" y="396"/>
                      </a:lnTo>
                      <a:lnTo>
                        <a:pt x="393" y="397"/>
                      </a:lnTo>
                      <a:lnTo>
                        <a:pt x="395" y="397"/>
                      </a:lnTo>
                      <a:lnTo>
                        <a:pt x="396" y="397"/>
                      </a:lnTo>
                      <a:lnTo>
                        <a:pt x="396" y="399"/>
                      </a:lnTo>
                      <a:lnTo>
                        <a:pt x="395" y="399"/>
                      </a:lnTo>
                      <a:lnTo>
                        <a:pt x="395" y="401"/>
                      </a:lnTo>
                      <a:lnTo>
                        <a:pt x="396" y="402"/>
                      </a:lnTo>
                      <a:lnTo>
                        <a:pt x="398" y="404"/>
                      </a:lnTo>
                      <a:lnTo>
                        <a:pt x="396" y="406"/>
                      </a:lnTo>
                      <a:lnTo>
                        <a:pt x="395" y="406"/>
                      </a:lnTo>
                      <a:lnTo>
                        <a:pt x="395" y="407"/>
                      </a:lnTo>
                      <a:lnTo>
                        <a:pt x="393" y="407"/>
                      </a:lnTo>
                      <a:lnTo>
                        <a:pt x="393" y="409"/>
                      </a:lnTo>
                      <a:lnTo>
                        <a:pt x="391" y="411"/>
                      </a:lnTo>
                      <a:lnTo>
                        <a:pt x="391" y="412"/>
                      </a:lnTo>
                      <a:lnTo>
                        <a:pt x="391" y="414"/>
                      </a:lnTo>
                      <a:lnTo>
                        <a:pt x="390" y="416"/>
                      </a:lnTo>
                      <a:lnTo>
                        <a:pt x="388" y="417"/>
                      </a:lnTo>
                      <a:lnTo>
                        <a:pt x="388" y="419"/>
                      </a:lnTo>
                      <a:lnTo>
                        <a:pt x="388" y="420"/>
                      </a:lnTo>
                      <a:lnTo>
                        <a:pt x="388" y="422"/>
                      </a:lnTo>
                      <a:lnTo>
                        <a:pt x="390" y="422"/>
                      </a:lnTo>
                      <a:lnTo>
                        <a:pt x="391" y="422"/>
                      </a:lnTo>
                      <a:lnTo>
                        <a:pt x="393" y="422"/>
                      </a:lnTo>
                      <a:lnTo>
                        <a:pt x="395" y="422"/>
                      </a:lnTo>
                      <a:lnTo>
                        <a:pt x="395" y="424"/>
                      </a:lnTo>
                      <a:lnTo>
                        <a:pt x="395" y="425"/>
                      </a:lnTo>
                      <a:lnTo>
                        <a:pt x="395" y="427"/>
                      </a:lnTo>
                      <a:lnTo>
                        <a:pt x="396" y="427"/>
                      </a:lnTo>
                      <a:lnTo>
                        <a:pt x="398" y="427"/>
                      </a:lnTo>
                      <a:lnTo>
                        <a:pt x="400" y="427"/>
                      </a:lnTo>
                      <a:lnTo>
                        <a:pt x="402" y="427"/>
                      </a:lnTo>
                      <a:lnTo>
                        <a:pt x="402" y="429"/>
                      </a:lnTo>
                      <a:lnTo>
                        <a:pt x="403" y="429"/>
                      </a:lnTo>
                      <a:lnTo>
                        <a:pt x="403" y="430"/>
                      </a:lnTo>
                      <a:lnTo>
                        <a:pt x="402" y="430"/>
                      </a:lnTo>
                      <a:lnTo>
                        <a:pt x="403" y="430"/>
                      </a:lnTo>
                      <a:lnTo>
                        <a:pt x="403" y="432"/>
                      </a:lnTo>
                      <a:lnTo>
                        <a:pt x="403" y="434"/>
                      </a:lnTo>
                      <a:lnTo>
                        <a:pt x="405" y="434"/>
                      </a:lnTo>
                      <a:lnTo>
                        <a:pt x="405" y="435"/>
                      </a:lnTo>
                      <a:lnTo>
                        <a:pt x="405" y="437"/>
                      </a:lnTo>
                      <a:lnTo>
                        <a:pt x="405" y="439"/>
                      </a:lnTo>
                      <a:lnTo>
                        <a:pt x="405" y="440"/>
                      </a:lnTo>
                      <a:lnTo>
                        <a:pt x="405" y="442"/>
                      </a:lnTo>
                      <a:lnTo>
                        <a:pt x="405" y="443"/>
                      </a:lnTo>
                      <a:lnTo>
                        <a:pt x="405" y="445"/>
                      </a:lnTo>
                      <a:lnTo>
                        <a:pt x="405" y="447"/>
                      </a:lnTo>
                      <a:lnTo>
                        <a:pt x="407" y="447"/>
                      </a:lnTo>
                      <a:lnTo>
                        <a:pt x="407" y="448"/>
                      </a:lnTo>
                      <a:lnTo>
                        <a:pt x="407" y="450"/>
                      </a:lnTo>
                      <a:lnTo>
                        <a:pt x="407" y="452"/>
                      </a:lnTo>
                      <a:lnTo>
                        <a:pt x="408" y="452"/>
                      </a:lnTo>
                      <a:lnTo>
                        <a:pt x="410" y="453"/>
                      </a:lnTo>
                      <a:lnTo>
                        <a:pt x="412" y="455"/>
                      </a:lnTo>
                      <a:lnTo>
                        <a:pt x="413" y="457"/>
                      </a:lnTo>
                      <a:lnTo>
                        <a:pt x="413" y="458"/>
                      </a:lnTo>
                      <a:lnTo>
                        <a:pt x="415" y="460"/>
                      </a:lnTo>
                      <a:lnTo>
                        <a:pt x="415" y="462"/>
                      </a:lnTo>
                      <a:lnTo>
                        <a:pt x="417" y="462"/>
                      </a:lnTo>
                      <a:lnTo>
                        <a:pt x="418" y="462"/>
                      </a:lnTo>
                      <a:lnTo>
                        <a:pt x="420" y="462"/>
                      </a:lnTo>
                      <a:lnTo>
                        <a:pt x="422" y="462"/>
                      </a:lnTo>
                      <a:lnTo>
                        <a:pt x="424" y="462"/>
                      </a:lnTo>
                      <a:lnTo>
                        <a:pt x="427" y="462"/>
                      </a:lnTo>
                      <a:lnTo>
                        <a:pt x="430" y="460"/>
                      </a:lnTo>
                      <a:lnTo>
                        <a:pt x="430" y="462"/>
                      </a:lnTo>
                      <a:lnTo>
                        <a:pt x="432" y="463"/>
                      </a:lnTo>
                      <a:lnTo>
                        <a:pt x="434" y="465"/>
                      </a:lnTo>
                      <a:lnTo>
                        <a:pt x="435" y="465"/>
                      </a:lnTo>
                      <a:lnTo>
                        <a:pt x="437" y="465"/>
                      </a:lnTo>
                      <a:lnTo>
                        <a:pt x="439" y="465"/>
                      </a:lnTo>
                      <a:lnTo>
                        <a:pt x="440" y="465"/>
                      </a:lnTo>
                      <a:lnTo>
                        <a:pt x="442" y="463"/>
                      </a:lnTo>
                      <a:lnTo>
                        <a:pt x="444" y="462"/>
                      </a:lnTo>
                      <a:lnTo>
                        <a:pt x="445" y="462"/>
                      </a:lnTo>
                      <a:lnTo>
                        <a:pt x="447" y="462"/>
                      </a:lnTo>
                      <a:lnTo>
                        <a:pt x="447" y="463"/>
                      </a:lnTo>
                      <a:lnTo>
                        <a:pt x="447" y="465"/>
                      </a:lnTo>
                      <a:lnTo>
                        <a:pt x="447" y="466"/>
                      </a:lnTo>
                      <a:lnTo>
                        <a:pt x="449" y="468"/>
                      </a:lnTo>
                      <a:lnTo>
                        <a:pt x="449" y="470"/>
                      </a:lnTo>
                      <a:lnTo>
                        <a:pt x="449" y="468"/>
                      </a:lnTo>
                      <a:lnTo>
                        <a:pt x="451" y="468"/>
                      </a:lnTo>
                      <a:lnTo>
                        <a:pt x="452" y="468"/>
                      </a:lnTo>
                      <a:lnTo>
                        <a:pt x="454" y="468"/>
                      </a:lnTo>
                      <a:lnTo>
                        <a:pt x="456" y="468"/>
                      </a:lnTo>
                      <a:lnTo>
                        <a:pt x="457" y="468"/>
                      </a:lnTo>
                      <a:lnTo>
                        <a:pt x="459" y="468"/>
                      </a:lnTo>
                      <a:lnTo>
                        <a:pt x="461" y="466"/>
                      </a:lnTo>
                      <a:lnTo>
                        <a:pt x="462" y="468"/>
                      </a:lnTo>
                      <a:lnTo>
                        <a:pt x="464" y="468"/>
                      </a:lnTo>
                      <a:lnTo>
                        <a:pt x="464" y="470"/>
                      </a:lnTo>
                      <a:lnTo>
                        <a:pt x="469" y="470"/>
                      </a:lnTo>
                      <a:lnTo>
                        <a:pt x="473" y="468"/>
                      </a:lnTo>
                      <a:lnTo>
                        <a:pt x="474" y="468"/>
                      </a:lnTo>
                      <a:lnTo>
                        <a:pt x="474" y="466"/>
                      </a:lnTo>
                      <a:lnTo>
                        <a:pt x="476" y="465"/>
                      </a:lnTo>
                      <a:lnTo>
                        <a:pt x="476" y="463"/>
                      </a:lnTo>
                      <a:lnTo>
                        <a:pt x="474" y="463"/>
                      </a:lnTo>
                      <a:lnTo>
                        <a:pt x="474" y="462"/>
                      </a:lnTo>
                      <a:lnTo>
                        <a:pt x="476" y="460"/>
                      </a:lnTo>
                      <a:lnTo>
                        <a:pt x="478" y="460"/>
                      </a:lnTo>
                      <a:lnTo>
                        <a:pt x="478" y="462"/>
                      </a:lnTo>
                      <a:lnTo>
                        <a:pt x="478" y="463"/>
                      </a:lnTo>
                      <a:lnTo>
                        <a:pt x="478" y="465"/>
                      </a:lnTo>
                      <a:lnTo>
                        <a:pt x="478" y="466"/>
                      </a:lnTo>
                      <a:lnTo>
                        <a:pt x="478" y="468"/>
                      </a:lnTo>
                      <a:lnTo>
                        <a:pt x="478" y="470"/>
                      </a:lnTo>
                      <a:lnTo>
                        <a:pt x="476" y="471"/>
                      </a:lnTo>
                      <a:lnTo>
                        <a:pt x="476" y="473"/>
                      </a:lnTo>
                      <a:lnTo>
                        <a:pt x="476" y="475"/>
                      </a:lnTo>
                      <a:lnTo>
                        <a:pt x="474" y="476"/>
                      </a:lnTo>
                      <a:lnTo>
                        <a:pt x="473" y="478"/>
                      </a:lnTo>
                      <a:lnTo>
                        <a:pt x="471" y="478"/>
                      </a:lnTo>
                      <a:lnTo>
                        <a:pt x="469" y="478"/>
                      </a:lnTo>
                      <a:lnTo>
                        <a:pt x="467" y="478"/>
                      </a:lnTo>
                      <a:lnTo>
                        <a:pt x="466" y="478"/>
                      </a:lnTo>
                      <a:lnTo>
                        <a:pt x="466" y="480"/>
                      </a:lnTo>
                      <a:lnTo>
                        <a:pt x="466" y="481"/>
                      </a:lnTo>
                      <a:lnTo>
                        <a:pt x="466" y="483"/>
                      </a:lnTo>
                      <a:lnTo>
                        <a:pt x="467" y="483"/>
                      </a:lnTo>
                      <a:lnTo>
                        <a:pt x="466" y="483"/>
                      </a:lnTo>
                      <a:lnTo>
                        <a:pt x="466" y="485"/>
                      </a:lnTo>
                      <a:lnTo>
                        <a:pt x="466" y="486"/>
                      </a:lnTo>
                      <a:lnTo>
                        <a:pt x="464" y="486"/>
                      </a:lnTo>
                      <a:lnTo>
                        <a:pt x="462" y="486"/>
                      </a:lnTo>
                      <a:lnTo>
                        <a:pt x="461" y="486"/>
                      </a:lnTo>
                      <a:lnTo>
                        <a:pt x="459" y="488"/>
                      </a:lnTo>
                      <a:lnTo>
                        <a:pt x="459" y="489"/>
                      </a:lnTo>
                      <a:lnTo>
                        <a:pt x="456" y="491"/>
                      </a:lnTo>
                      <a:lnTo>
                        <a:pt x="454" y="491"/>
                      </a:lnTo>
                      <a:lnTo>
                        <a:pt x="454" y="493"/>
                      </a:lnTo>
                      <a:lnTo>
                        <a:pt x="452" y="493"/>
                      </a:lnTo>
                      <a:lnTo>
                        <a:pt x="452" y="494"/>
                      </a:lnTo>
                      <a:lnTo>
                        <a:pt x="451" y="494"/>
                      </a:lnTo>
                      <a:lnTo>
                        <a:pt x="449" y="494"/>
                      </a:lnTo>
                      <a:lnTo>
                        <a:pt x="447" y="494"/>
                      </a:lnTo>
                      <a:lnTo>
                        <a:pt x="447" y="496"/>
                      </a:lnTo>
                      <a:lnTo>
                        <a:pt x="447" y="498"/>
                      </a:lnTo>
                      <a:lnTo>
                        <a:pt x="445" y="498"/>
                      </a:lnTo>
                      <a:lnTo>
                        <a:pt x="444" y="498"/>
                      </a:lnTo>
                      <a:lnTo>
                        <a:pt x="444" y="499"/>
                      </a:lnTo>
                      <a:lnTo>
                        <a:pt x="444" y="501"/>
                      </a:lnTo>
                      <a:lnTo>
                        <a:pt x="442" y="501"/>
                      </a:lnTo>
                      <a:lnTo>
                        <a:pt x="440" y="501"/>
                      </a:lnTo>
                      <a:lnTo>
                        <a:pt x="439" y="501"/>
                      </a:lnTo>
                      <a:lnTo>
                        <a:pt x="439" y="503"/>
                      </a:lnTo>
                      <a:lnTo>
                        <a:pt x="437" y="503"/>
                      </a:lnTo>
                      <a:lnTo>
                        <a:pt x="435" y="503"/>
                      </a:lnTo>
                      <a:lnTo>
                        <a:pt x="434" y="503"/>
                      </a:lnTo>
                      <a:lnTo>
                        <a:pt x="432" y="503"/>
                      </a:lnTo>
                      <a:lnTo>
                        <a:pt x="430" y="504"/>
                      </a:lnTo>
                      <a:lnTo>
                        <a:pt x="429" y="506"/>
                      </a:lnTo>
                      <a:lnTo>
                        <a:pt x="430" y="506"/>
                      </a:lnTo>
                      <a:lnTo>
                        <a:pt x="430" y="507"/>
                      </a:lnTo>
                      <a:lnTo>
                        <a:pt x="432" y="507"/>
                      </a:lnTo>
                      <a:lnTo>
                        <a:pt x="432" y="509"/>
                      </a:lnTo>
                      <a:lnTo>
                        <a:pt x="430" y="511"/>
                      </a:lnTo>
                      <a:lnTo>
                        <a:pt x="429" y="512"/>
                      </a:lnTo>
                      <a:lnTo>
                        <a:pt x="427" y="512"/>
                      </a:lnTo>
                      <a:lnTo>
                        <a:pt x="425" y="514"/>
                      </a:lnTo>
                      <a:lnTo>
                        <a:pt x="424" y="514"/>
                      </a:lnTo>
                      <a:lnTo>
                        <a:pt x="424" y="516"/>
                      </a:lnTo>
                      <a:lnTo>
                        <a:pt x="425" y="516"/>
                      </a:lnTo>
                      <a:lnTo>
                        <a:pt x="425" y="517"/>
                      </a:lnTo>
                      <a:lnTo>
                        <a:pt x="427" y="517"/>
                      </a:lnTo>
                      <a:lnTo>
                        <a:pt x="429" y="517"/>
                      </a:lnTo>
                      <a:lnTo>
                        <a:pt x="427" y="519"/>
                      </a:lnTo>
                      <a:lnTo>
                        <a:pt x="425" y="521"/>
                      </a:lnTo>
                      <a:lnTo>
                        <a:pt x="424" y="521"/>
                      </a:lnTo>
                      <a:lnTo>
                        <a:pt x="422" y="521"/>
                      </a:lnTo>
                      <a:lnTo>
                        <a:pt x="422" y="522"/>
                      </a:lnTo>
                      <a:lnTo>
                        <a:pt x="420" y="524"/>
                      </a:lnTo>
                      <a:lnTo>
                        <a:pt x="420" y="526"/>
                      </a:lnTo>
                      <a:lnTo>
                        <a:pt x="420" y="527"/>
                      </a:lnTo>
                      <a:lnTo>
                        <a:pt x="422" y="527"/>
                      </a:lnTo>
                      <a:lnTo>
                        <a:pt x="422" y="529"/>
                      </a:lnTo>
                      <a:lnTo>
                        <a:pt x="420" y="529"/>
                      </a:lnTo>
                      <a:lnTo>
                        <a:pt x="420" y="530"/>
                      </a:lnTo>
                      <a:lnTo>
                        <a:pt x="418" y="530"/>
                      </a:lnTo>
                      <a:lnTo>
                        <a:pt x="417" y="530"/>
                      </a:lnTo>
                      <a:lnTo>
                        <a:pt x="415" y="530"/>
                      </a:lnTo>
                      <a:lnTo>
                        <a:pt x="413" y="532"/>
                      </a:lnTo>
                      <a:lnTo>
                        <a:pt x="412" y="532"/>
                      </a:lnTo>
                      <a:lnTo>
                        <a:pt x="412" y="534"/>
                      </a:lnTo>
                      <a:lnTo>
                        <a:pt x="410" y="534"/>
                      </a:lnTo>
                      <a:lnTo>
                        <a:pt x="410" y="535"/>
                      </a:lnTo>
                      <a:lnTo>
                        <a:pt x="408" y="535"/>
                      </a:lnTo>
                      <a:lnTo>
                        <a:pt x="407" y="535"/>
                      </a:lnTo>
                      <a:lnTo>
                        <a:pt x="407" y="537"/>
                      </a:lnTo>
                      <a:lnTo>
                        <a:pt x="407" y="535"/>
                      </a:lnTo>
                      <a:lnTo>
                        <a:pt x="407" y="537"/>
                      </a:lnTo>
                      <a:lnTo>
                        <a:pt x="405" y="537"/>
                      </a:lnTo>
                      <a:lnTo>
                        <a:pt x="405" y="539"/>
                      </a:lnTo>
                      <a:lnTo>
                        <a:pt x="403" y="539"/>
                      </a:lnTo>
                      <a:lnTo>
                        <a:pt x="403" y="540"/>
                      </a:lnTo>
                      <a:lnTo>
                        <a:pt x="402" y="540"/>
                      </a:lnTo>
                      <a:lnTo>
                        <a:pt x="402" y="542"/>
                      </a:lnTo>
                      <a:lnTo>
                        <a:pt x="402" y="544"/>
                      </a:lnTo>
                      <a:lnTo>
                        <a:pt x="402" y="545"/>
                      </a:lnTo>
                      <a:lnTo>
                        <a:pt x="403" y="545"/>
                      </a:lnTo>
                      <a:lnTo>
                        <a:pt x="403" y="547"/>
                      </a:lnTo>
                      <a:lnTo>
                        <a:pt x="403" y="549"/>
                      </a:lnTo>
                      <a:lnTo>
                        <a:pt x="403" y="550"/>
                      </a:lnTo>
                      <a:lnTo>
                        <a:pt x="402" y="552"/>
                      </a:lnTo>
                      <a:lnTo>
                        <a:pt x="400" y="553"/>
                      </a:lnTo>
                      <a:lnTo>
                        <a:pt x="398" y="553"/>
                      </a:lnTo>
                      <a:lnTo>
                        <a:pt x="398" y="555"/>
                      </a:lnTo>
                      <a:lnTo>
                        <a:pt x="396" y="555"/>
                      </a:lnTo>
                      <a:lnTo>
                        <a:pt x="396" y="557"/>
                      </a:lnTo>
                      <a:lnTo>
                        <a:pt x="395" y="558"/>
                      </a:lnTo>
                      <a:lnTo>
                        <a:pt x="393" y="558"/>
                      </a:lnTo>
                      <a:lnTo>
                        <a:pt x="393" y="560"/>
                      </a:lnTo>
                      <a:lnTo>
                        <a:pt x="391" y="560"/>
                      </a:lnTo>
                      <a:lnTo>
                        <a:pt x="391" y="562"/>
                      </a:lnTo>
                      <a:lnTo>
                        <a:pt x="391" y="563"/>
                      </a:lnTo>
                      <a:lnTo>
                        <a:pt x="390" y="563"/>
                      </a:lnTo>
                      <a:lnTo>
                        <a:pt x="390" y="565"/>
                      </a:lnTo>
                      <a:lnTo>
                        <a:pt x="391" y="567"/>
                      </a:lnTo>
                      <a:lnTo>
                        <a:pt x="391" y="568"/>
                      </a:lnTo>
                      <a:lnTo>
                        <a:pt x="393" y="570"/>
                      </a:lnTo>
                      <a:lnTo>
                        <a:pt x="395" y="572"/>
                      </a:lnTo>
                      <a:lnTo>
                        <a:pt x="396" y="572"/>
                      </a:lnTo>
                      <a:lnTo>
                        <a:pt x="398" y="572"/>
                      </a:lnTo>
                      <a:lnTo>
                        <a:pt x="398" y="573"/>
                      </a:lnTo>
                      <a:lnTo>
                        <a:pt x="398" y="575"/>
                      </a:lnTo>
                      <a:lnTo>
                        <a:pt x="398" y="576"/>
                      </a:lnTo>
                      <a:lnTo>
                        <a:pt x="400" y="576"/>
                      </a:lnTo>
                      <a:lnTo>
                        <a:pt x="400" y="578"/>
                      </a:lnTo>
                      <a:lnTo>
                        <a:pt x="400" y="580"/>
                      </a:lnTo>
                      <a:lnTo>
                        <a:pt x="400" y="581"/>
                      </a:lnTo>
                      <a:lnTo>
                        <a:pt x="402" y="583"/>
                      </a:lnTo>
                      <a:lnTo>
                        <a:pt x="403" y="583"/>
                      </a:lnTo>
                      <a:lnTo>
                        <a:pt x="403" y="585"/>
                      </a:lnTo>
                      <a:lnTo>
                        <a:pt x="405" y="585"/>
                      </a:lnTo>
                      <a:lnTo>
                        <a:pt x="407" y="585"/>
                      </a:lnTo>
                      <a:lnTo>
                        <a:pt x="408" y="585"/>
                      </a:lnTo>
                      <a:lnTo>
                        <a:pt x="408" y="586"/>
                      </a:lnTo>
                      <a:lnTo>
                        <a:pt x="410" y="586"/>
                      </a:lnTo>
                      <a:lnTo>
                        <a:pt x="410" y="588"/>
                      </a:lnTo>
                      <a:lnTo>
                        <a:pt x="412" y="588"/>
                      </a:lnTo>
                      <a:lnTo>
                        <a:pt x="412" y="586"/>
                      </a:lnTo>
                      <a:lnTo>
                        <a:pt x="413" y="586"/>
                      </a:lnTo>
                      <a:lnTo>
                        <a:pt x="415" y="586"/>
                      </a:lnTo>
                      <a:lnTo>
                        <a:pt x="417" y="588"/>
                      </a:lnTo>
                      <a:lnTo>
                        <a:pt x="418" y="586"/>
                      </a:lnTo>
                      <a:lnTo>
                        <a:pt x="420" y="586"/>
                      </a:lnTo>
                      <a:lnTo>
                        <a:pt x="420" y="588"/>
                      </a:lnTo>
                      <a:lnTo>
                        <a:pt x="422" y="588"/>
                      </a:lnTo>
                      <a:lnTo>
                        <a:pt x="424" y="588"/>
                      </a:lnTo>
                      <a:lnTo>
                        <a:pt x="425" y="588"/>
                      </a:lnTo>
                      <a:lnTo>
                        <a:pt x="427" y="590"/>
                      </a:lnTo>
                      <a:lnTo>
                        <a:pt x="429" y="590"/>
                      </a:lnTo>
                      <a:lnTo>
                        <a:pt x="429" y="591"/>
                      </a:lnTo>
                      <a:lnTo>
                        <a:pt x="429" y="593"/>
                      </a:lnTo>
                      <a:lnTo>
                        <a:pt x="430" y="593"/>
                      </a:lnTo>
                      <a:lnTo>
                        <a:pt x="432" y="593"/>
                      </a:lnTo>
                      <a:lnTo>
                        <a:pt x="434" y="593"/>
                      </a:lnTo>
                      <a:lnTo>
                        <a:pt x="435" y="593"/>
                      </a:lnTo>
                      <a:lnTo>
                        <a:pt x="437" y="593"/>
                      </a:lnTo>
                      <a:lnTo>
                        <a:pt x="439" y="593"/>
                      </a:lnTo>
                      <a:lnTo>
                        <a:pt x="440" y="593"/>
                      </a:lnTo>
                      <a:lnTo>
                        <a:pt x="440" y="595"/>
                      </a:lnTo>
                      <a:lnTo>
                        <a:pt x="442" y="595"/>
                      </a:lnTo>
                      <a:lnTo>
                        <a:pt x="440" y="595"/>
                      </a:lnTo>
                      <a:lnTo>
                        <a:pt x="442" y="596"/>
                      </a:lnTo>
                      <a:lnTo>
                        <a:pt x="440" y="596"/>
                      </a:lnTo>
                      <a:lnTo>
                        <a:pt x="439" y="596"/>
                      </a:lnTo>
                      <a:lnTo>
                        <a:pt x="437" y="596"/>
                      </a:lnTo>
                      <a:lnTo>
                        <a:pt x="435" y="598"/>
                      </a:lnTo>
                      <a:lnTo>
                        <a:pt x="434" y="598"/>
                      </a:lnTo>
                      <a:lnTo>
                        <a:pt x="432" y="598"/>
                      </a:lnTo>
                      <a:lnTo>
                        <a:pt x="430" y="598"/>
                      </a:lnTo>
                      <a:lnTo>
                        <a:pt x="429" y="596"/>
                      </a:lnTo>
                      <a:lnTo>
                        <a:pt x="425" y="595"/>
                      </a:lnTo>
                      <a:lnTo>
                        <a:pt x="424" y="595"/>
                      </a:lnTo>
                      <a:lnTo>
                        <a:pt x="422" y="595"/>
                      </a:lnTo>
                      <a:lnTo>
                        <a:pt x="420" y="595"/>
                      </a:lnTo>
                      <a:lnTo>
                        <a:pt x="420" y="596"/>
                      </a:lnTo>
                      <a:lnTo>
                        <a:pt x="420" y="598"/>
                      </a:lnTo>
                      <a:lnTo>
                        <a:pt x="422" y="599"/>
                      </a:lnTo>
                      <a:lnTo>
                        <a:pt x="422" y="601"/>
                      </a:lnTo>
                      <a:lnTo>
                        <a:pt x="420" y="603"/>
                      </a:lnTo>
                      <a:lnTo>
                        <a:pt x="418" y="604"/>
                      </a:lnTo>
                      <a:lnTo>
                        <a:pt x="418" y="606"/>
                      </a:lnTo>
                      <a:lnTo>
                        <a:pt x="415" y="606"/>
                      </a:lnTo>
                      <a:lnTo>
                        <a:pt x="413" y="606"/>
                      </a:lnTo>
                      <a:lnTo>
                        <a:pt x="415" y="608"/>
                      </a:lnTo>
                      <a:lnTo>
                        <a:pt x="417" y="606"/>
                      </a:lnTo>
                      <a:lnTo>
                        <a:pt x="417" y="608"/>
                      </a:lnTo>
                      <a:lnTo>
                        <a:pt x="418" y="608"/>
                      </a:lnTo>
                      <a:lnTo>
                        <a:pt x="418" y="609"/>
                      </a:lnTo>
                      <a:lnTo>
                        <a:pt x="418" y="611"/>
                      </a:lnTo>
                      <a:lnTo>
                        <a:pt x="418" y="613"/>
                      </a:lnTo>
                      <a:lnTo>
                        <a:pt x="417" y="613"/>
                      </a:lnTo>
                      <a:lnTo>
                        <a:pt x="417" y="614"/>
                      </a:lnTo>
                      <a:lnTo>
                        <a:pt x="415" y="614"/>
                      </a:lnTo>
                      <a:lnTo>
                        <a:pt x="413" y="614"/>
                      </a:lnTo>
                      <a:lnTo>
                        <a:pt x="415" y="616"/>
                      </a:lnTo>
                      <a:lnTo>
                        <a:pt x="413" y="618"/>
                      </a:lnTo>
                      <a:lnTo>
                        <a:pt x="415" y="619"/>
                      </a:lnTo>
                      <a:lnTo>
                        <a:pt x="417" y="619"/>
                      </a:lnTo>
                      <a:lnTo>
                        <a:pt x="418" y="619"/>
                      </a:lnTo>
                      <a:lnTo>
                        <a:pt x="418" y="621"/>
                      </a:lnTo>
                      <a:lnTo>
                        <a:pt x="420" y="621"/>
                      </a:lnTo>
                      <a:lnTo>
                        <a:pt x="420" y="619"/>
                      </a:lnTo>
                      <a:lnTo>
                        <a:pt x="422" y="619"/>
                      </a:lnTo>
                      <a:lnTo>
                        <a:pt x="424" y="619"/>
                      </a:lnTo>
                      <a:lnTo>
                        <a:pt x="425" y="621"/>
                      </a:lnTo>
                      <a:lnTo>
                        <a:pt x="427" y="621"/>
                      </a:lnTo>
                      <a:lnTo>
                        <a:pt x="429" y="621"/>
                      </a:lnTo>
                      <a:lnTo>
                        <a:pt x="430" y="619"/>
                      </a:lnTo>
                      <a:lnTo>
                        <a:pt x="432" y="619"/>
                      </a:lnTo>
                      <a:lnTo>
                        <a:pt x="434" y="619"/>
                      </a:lnTo>
                      <a:lnTo>
                        <a:pt x="434" y="621"/>
                      </a:lnTo>
                      <a:lnTo>
                        <a:pt x="432" y="621"/>
                      </a:lnTo>
                      <a:lnTo>
                        <a:pt x="432" y="622"/>
                      </a:lnTo>
                      <a:lnTo>
                        <a:pt x="430" y="622"/>
                      </a:lnTo>
                      <a:lnTo>
                        <a:pt x="429" y="624"/>
                      </a:lnTo>
                      <a:lnTo>
                        <a:pt x="427" y="624"/>
                      </a:lnTo>
                      <a:lnTo>
                        <a:pt x="425" y="624"/>
                      </a:lnTo>
                      <a:lnTo>
                        <a:pt x="424" y="624"/>
                      </a:lnTo>
                      <a:lnTo>
                        <a:pt x="422" y="624"/>
                      </a:lnTo>
                      <a:lnTo>
                        <a:pt x="420" y="626"/>
                      </a:lnTo>
                      <a:lnTo>
                        <a:pt x="418" y="626"/>
                      </a:lnTo>
                      <a:lnTo>
                        <a:pt x="417" y="627"/>
                      </a:lnTo>
                      <a:lnTo>
                        <a:pt x="415" y="627"/>
                      </a:lnTo>
                      <a:lnTo>
                        <a:pt x="415" y="629"/>
                      </a:lnTo>
                      <a:lnTo>
                        <a:pt x="413" y="631"/>
                      </a:lnTo>
                      <a:lnTo>
                        <a:pt x="412" y="632"/>
                      </a:lnTo>
                      <a:lnTo>
                        <a:pt x="412" y="634"/>
                      </a:lnTo>
                      <a:lnTo>
                        <a:pt x="413" y="634"/>
                      </a:lnTo>
                      <a:lnTo>
                        <a:pt x="413" y="636"/>
                      </a:lnTo>
                      <a:lnTo>
                        <a:pt x="413" y="637"/>
                      </a:lnTo>
                      <a:lnTo>
                        <a:pt x="413" y="639"/>
                      </a:lnTo>
                      <a:lnTo>
                        <a:pt x="415" y="639"/>
                      </a:lnTo>
                      <a:lnTo>
                        <a:pt x="415" y="641"/>
                      </a:lnTo>
                      <a:lnTo>
                        <a:pt x="415" y="642"/>
                      </a:lnTo>
                      <a:lnTo>
                        <a:pt x="413" y="642"/>
                      </a:lnTo>
                      <a:lnTo>
                        <a:pt x="413" y="644"/>
                      </a:lnTo>
                      <a:lnTo>
                        <a:pt x="413" y="645"/>
                      </a:lnTo>
                      <a:lnTo>
                        <a:pt x="412" y="645"/>
                      </a:lnTo>
                      <a:lnTo>
                        <a:pt x="413" y="645"/>
                      </a:lnTo>
                      <a:lnTo>
                        <a:pt x="413" y="647"/>
                      </a:lnTo>
                      <a:lnTo>
                        <a:pt x="412" y="647"/>
                      </a:lnTo>
                      <a:lnTo>
                        <a:pt x="413" y="647"/>
                      </a:lnTo>
                      <a:lnTo>
                        <a:pt x="415" y="647"/>
                      </a:lnTo>
                      <a:lnTo>
                        <a:pt x="415" y="649"/>
                      </a:lnTo>
                      <a:lnTo>
                        <a:pt x="415" y="650"/>
                      </a:lnTo>
                      <a:lnTo>
                        <a:pt x="415" y="652"/>
                      </a:lnTo>
                      <a:lnTo>
                        <a:pt x="413" y="652"/>
                      </a:lnTo>
                      <a:lnTo>
                        <a:pt x="413" y="654"/>
                      </a:lnTo>
                      <a:lnTo>
                        <a:pt x="415" y="654"/>
                      </a:lnTo>
                      <a:lnTo>
                        <a:pt x="415" y="655"/>
                      </a:lnTo>
                      <a:lnTo>
                        <a:pt x="413" y="655"/>
                      </a:lnTo>
                      <a:lnTo>
                        <a:pt x="413" y="657"/>
                      </a:lnTo>
                      <a:lnTo>
                        <a:pt x="415" y="657"/>
                      </a:lnTo>
                      <a:lnTo>
                        <a:pt x="417" y="657"/>
                      </a:lnTo>
                      <a:lnTo>
                        <a:pt x="418" y="657"/>
                      </a:lnTo>
                      <a:lnTo>
                        <a:pt x="418" y="659"/>
                      </a:lnTo>
                      <a:lnTo>
                        <a:pt x="417" y="659"/>
                      </a:lnTo>
                      <a:lnTo>
                        <a:pt x="417" y="660"/>
                      </a:lnTo>
                      <a:lnTo>
                        <a:pt x="418" y="660"/>
                      </a:lnTo>
                      <a:lnTo>
                        <a:pt x="418" y="662"/>
                      </a:lnTo>
                      <a:lnTo>
                        <a:pt x="420" y="662"/>
                      </a:lnTo>
                      <a:lnTo>
                        <a:pt x="422" y="664"/>
                      </a:lnTo>
                      <a:lnTo>
                        <a:pt x="422" y="665"/>
                      </a:lnTo>
                      <a:lnTo>
                        <a:pt x="422" y="667"/>
                      </a:lnTo>
                      <a:lnTo>
                        <a:pt x="420" y="667"/>
                      </a:lnTo>
                      <a:lnTo>
                        <a:pt x="420" y="668"/>
                      </a:lnTo>
                      <a:lnTo>
                        <a:pt x="422" y="668"/>
                      </a:lnTo>
                      <a:lnTo>
                        <a:pt x="422" y="667"/>
                      </a:lnTo>
                      <a:lnTo>
                        <a:pt x="424" y="668"/>
                      </a:lnTo>
                      <a:lnTo>
                        <a:pt x="425" y="667"/>
                      </a:lnTo>
                      <a:lnTo>
                        <a:pt x="425" y="668"/>
                      </a:lnTo>
                      <a:lnTo>
                        <a:pt x="425" y="670"/>
                      </a:lnTo>
                      <a:lnTo>
                        <a:pt x="425" y="672"/>
                      </a:lnTo>
                      <a:lnTo>
                        <a:pt x="425" y="673"/>
                      </a:lnTo>
                      <a:lnTo>
                        <a:pt x="425" y="675"/>
                      </a:lnTo>
                      <a:lnTo>
                        <a:pt x="427" y="675"/>
                      </a:lnTo>
                      <a:lnTo>
                        <a:pt x="429" y="675"/>
                      </a:lnTo>
                      <a:lnTo>
                        <a:pt x="430" y="675"/>
                      </a:lnTo>
                      <a:lnTo>
                        <a:pt x="430" y="673"/>
                      </a:lnTo>
                      <a:lnTo>
                        <a:pt x="432" y="673"/>
                      </a:lnTo>
                      <a:lnTo>
                        <a:pt x="434" y="673"/>
                      </a:lnTo>
                      <a:lnTo>
                        <a:pt x="435" y="673"/>
                      </a:lnTo>
                      <a:lnTo>
                        <a:pt x="435" y="675"/>
                      </a:lnTo>
                      <a:lnTo>
                        <a:pt x="434" y="675"/>
                      </a:lnTo>
                      <a:lnTo>
                        <a:pt x="435" y="675"/>
                      </a:lnTo>
                      <a:lnTo>
                        <a:pt x="435" y="677"/>
                      </a:lnTo>
                      <a:lnTo>
                        <a:pt x="435" y="678"/>
                      </a:lnTo>
                      <a:lnTo>
                        <a:pt x="434" y="678"/>
                      </a:lnTo>
                      <a:lnTo>
                        <a:pt x="432" y="678"/>
                      </a:lnTo>
                      <a:lnTo>
                        <a:pt x="430" y="678"/>
                      </a:lnTo>
                      <a:lnTo>
                        <a:pt x="429" y="678"/>
                      </a:lnTo>
                      <a:lnTo>
                        <a:pt x="427" y="680"/>
                      </a:lnTo>
                      <a:lnTo>
                        <a:pt x="425" y="680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40" name="Freeform 10"/>
                <p:cNvSpPr>
                  <a:spLocks noChangeAspect="1" noEditPoints="1"/>
                </p:cNvSpPr>
                <p:nvPr/>
              </p:nvSpPr>
              <p:spPr bwMode="auto">
                <a:xfrm>
                  <a:off x="6029311" y="4035601"/>
                  <a:ext cx="327696" cy="527591"/>
                </a:xfrm>
                <a:custGeom>
                  <a:avLst/>
                  <a:gdLst>
                    <a:gd name="T0" fmla="*/ 2147483647 w 209"/>
                    <a:gd name="T1" fmla="*/ 2147483647 h 315"/>
                    <a:gd name="T2" fmla="*/ 2147483647 w 209"/>
                    <a:gd name="T3" fmla="*/ 2147483647 h 315"/>
                    <a:gd name="T4" fmla="*/ 2147483647 w 209"/>
                    <a:gd name="T5" fmla="*/ 2147483647 h 315"/>
                    <a:gd name="T6" fmla="*/ 2147483647 w 209"/>
                    <a:gd name="T7" fmla="*/ 2147483647 h 315"/>
                    <a:gd name="T8" fmla="*/ 2147483647 w 209"/>
                    <a:gd name="T9" fmla="*/ 2147483647 h 315"/>
                    <a:gd name="T10" fmla="*/ 2147483647 w 209"/>
                    <a:gd name="T11" fmla="*/ 2147483647 h 315"/>
                    <a:gd name="T12" fmla="*/ 2147483647 w 209"/>
                    <a:gd name="T13" fmla="*/ 2147483647 h 315"/>
                    <a:gd name="T14" fmla="*/ 2147483647 w 209"/>
                    <a:gd name="T15" fmla="*/ 2147483647 h 315"/>
                    <a:gd name="T16" fmla="*/ 2147483647 w 209"/>
                    <a:gd name="T17" fmla="*/ 2147483647 h 315"/>
                    <a:gd name="T18" fmla="*/ 2147483647 w 209"/>
                    <a:gd name="T19" fmla="*/ 2147483647 h 315"/>
                    <a:gd name="T20" fmla="*/ 2147483647 w 209"/>
                    <a:gd name="T21" fmla="*/ 2147483647 h 315"/>
                    <a:gd name="T22" fmla="*/ 2147483647 w 209"/>
                    <a:gd name="T23" fmla="*/ 2147483647 h 315"/>
                    <a:gd name="T24" fmla="*/ 2147483647 w 209"/>
                    <a:gd name="T25" fmla="*/ 2147483647 h 315"/>
                    <a:gd name="T26" fmla="*/ 2147483647 w 209"/>
                    <a:gd name="T27" fmla="*/ 2147483647 h 315"/>
                    <a:gd name="T28" fmla="*/ 2147483647 w 209"/>
                    <a:gd name="T29" fmla="*/ 2147483647 h 315"/>
                    <a:gd name="T30" fmla="*/ 2147483647 w 209"/>
                    <a:gd name="T31" fmla="*/ 2147483647 h 315"/>
                    <a:gd name="T32" fmla="*/ 2147483647 w 209"/>
                    <a:gd name="T33" fmla="*/ 2147483647 h 315"/>
                    <a:gd name="T34" fmla="*/ 2147483647 w 209"/>
                    <a:gd name="T35" fmla="*/ 2147483647 h 315"/>
                    <a:gd name="T36" fmla="*/ 2147483647 w 209"/>
                    <a:gd name="T37" fmla="*/ 2147483647 h 315"/>
                    <a:gd name="T38" fmla="*/ 2147483647 w 209"/>
                    <a:gd name="T39" fmla="*/ 2147483647 h 315"/>
                    <a:gd name="T40" fmla="*/ 2147483647 w 209"/>
                    <a:gd name="T41" fmla="*/ 2147483647 h 315"/>
                    <a:gd name="T42" fmla="*/ 2147483647 w 209"/>
                    <a:gd name="T43" fmla="*/ 2147483647 h 315"/>
                    <a:gd name="T44" fmla="*/ 2147483647 w 209"/>
                    <a:gd name="T45" fmla="*/ 2147483647 h 315"/>
                    <a:gd name="T46" fmla="*/ 2147483647 w 209"/>
                    <a:gd name="T47" fmla="*/ 2147483647 h 315"/>
                    <a:gd name="T48" fmla="*/ 2147483647 w 209"/>
                    <a:gd name="T49" fmla="*/ 2147483647 h 315"/>
                    <a:gd name="T50" fmla="*/ 2147483647 w 209"/>
                    <a:gd name="T51" fmla="*/ 2147483647 h 315"/>
                    <a:gd name="T52" fmla="*/ 2147483647 w 209"/>
                    <a:gd name="T53" fmla="*/ 2147483647 h 315"/>
                    <a:gd name="T54" fmla="*/ 2147483647 w 209"/>
                    <a:gd name="T55" fmla="*/ 2147483647 h 315"/>
                    <a:gd name="T56" fmla="*/ 2147483647 w 209"/>
                    <a:gd name="T57" fmla="*/ 2147483647 h 315"/>
                    <a:gd name="T58" fmla="*/ 0 w 209"/>
                    <a:gd name="T59" fmla="*/ 2147483647 h 315"/>
                    <a:gd name="T60" fmla="*/ 2147483647 w 209"/>
                    <a:gd name="T61" fmla="*/ 2147483647 h 315"/>
                    <a:gd name="T62" fmla="*/ 2147483647 w 209"/>
                    <a:gd name="T63" fmla="*/ 2147483647 h 315"/>
                    <a:gd name="T64" fmla="*/ 2147483647 w 209"/>
                    <a:gd name="T65" fmla="*/ 2147483647 h 315"/>
                    <a:gd name="T66" fmla="*/ 2147483647 w 209"/>
                    <a:gd name="T67" fmla="*/ 2147483647 h 315"/>
                    <a:gd name="T68" fmla="*/ 2147483647 w 209"/>
                    <a:gd name="T69" fmla="*/ 2147483647 h 315"/>
                    <a:gd name="T70" fmla="*/ 2147483647 w 209"/>
                    <a:gd name="T71" fmla="*/ 2147483647 h 315"/>
                    <a:gd name="T72" fmla="*/ 2147483647 w 209"/>
                    <a:gd name="T73" fmla="*/ 2147483647 h 315"/>
                    <a:gd name="T74" fmla="*/ 2147483647 w 209"/>
                    <a:gd name="T75" fmla="*/ 2147483647 h 315"/>
                    <a:gd name="T76" fmla="*/ 2147483647 w 209"/>
                    <a:gd name="T77" fmla="*/ 2147483647 h 315"/>
                    <a:gd name="T78" fmla="*/ 2147483647 w 209"/>
                    <a:gd name="T79" fmla="*/ 2147483647 h 315"/>
                    <a:gd name="T80" fmla="*/ 2147483647 w 209"/>
                    <a:gd name="T81" fmla="*/ 2147483647 h 315"/>
                    <a:gd name="T82" fmla="*/ 2147483647 w 209"/>
                    <a:gd name="T83" fmla="*/ 2147483647 h 315"/>
                    <a:gd name="T84" fmla="*/ 2147483647 w 209"/>
                    <a:gd name="T85" fmla="*/ 2147483647 h 315"/>
                    <a:gd name="T86" fmla="*/ 2147483647 w 209"/>
                    <a:gd name="T87" fmla="*/ 2147483647 h 315"/>
                    <a:gd name="T88" fmla="*/ 2147483647 w 209"/>
                    <a:gd name="T89" fmla="*/ 2147483647 h 315"/>
                    <a:gd name="T90" fmla="*/ 2147483647 w 209"/>
                    <a:gd name="T91" fmla="*/ 2147483647 h 315"/>
                    <a:gd name="T92" fmla="*/ 2147483647 w 209"/>
                    <a:gd name="T93" fmla="*/ 2147483647 h 315"/>
                    <a:gd name="T94" fmla="*/ 2147483647 w 209"/>
                    <a:gd name="T95" fmla="*/ 2147483647 h 315"/>
                    <a:gd name="T96" fmla="*/ 2147483647 w 209"/>
                    <a:gd name="T97" fmla="*/ 2147483647 h 315"/>
                    <a:gd name="T98" fmla="*/ 2147483647 w 209"/>
                    <a:gd name="T99" fmla="*/ 2147483647 h 315"/>
                    <a:gd name="T100" fmla="*/ 2147483647 w 209"/>
                    <a:gd name="T101" fmla="*/ 2147483647 h 315"/>
                    <a:gd name="T102" fmla="*/ 2147483647 w 209"/>
                    <a:gd name="T103" fmla="*/ 2147483647 h 315"/>
                    <a:gd name="T104" fmla="*/ 2147483647 w 209"/>
                    <a:gd name="T105" fmla="*/ 2147483647 h 315"/>
                    <a:gd name="T106" fmla="*/ 2147483647 w 209"/>
                    <a:gd name="T107" fmla="*/ 2147483647 h 315"/>
                    <a:gd name="T108" fmla="*/ 2147483647 w 209"/>
                    <a:gd name="T109" fmla="*/ 2147483647 h 315"/>
                    <a:gd name="T110" fmla="*/ 2147483647 w 209"/>
                    <a:gd name="T111" fmla="*/ 2147483647 h 315"/>
                    <a:gd name="T112" fmla="*/ 2147483647 w 209"/>
                    <a:gd name="T113" fmla="*/ 2147483647 h 315"/>
                    <a:gd name="T114" fmla="*/ 2147483647 w 209"/>
                    <a:gd name="T115" fmla="*/ 2147483647 h 315"/>
                    <a:gd name="T116" fmla="*/ 2147483647 w 209"/>
                    <a:gd name="T117" fmla="*/ 2147483647 h 315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9"/>
                    <a:gd name="T178" fmla="*/ 0 h 315"/>
                    <a:gd name="T179" fmla="*/ 209 w 209"/>
                    <a:gd name="T180" fmla="*/ 315 h 315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9" h="315">
                      <a:moveTo>
                        <a:pt x="157" y="8"/>
                      </a:moveTo>
                      <a:lnTo>
                        <a:pt x="194" y="31"/>
                      </a:lnTo>
                      <a:lnTo>
                        <a:pt x="207" y="39"/>
                      </a:lnTo>
                      <a:lnTo>
                        <a:pt x="209" y="39"/>
                      </a:lnTo>
                      <a:lnTo>
                        <a:pt x="209" y="41"/>
                      </a:lnTo>
                      <a:lnTo>
                        <a:pt x="209" y="42"/>
                      </a:lnTo>
                      <a:lnTo>
                        <a:pt x="207" y="44"/>
                      </a:lnTo>
                      <a:lnTo>
                        <a:pt x="207" y="46"/>
                      </a:lnTo>
                      <a:lnTo>
                        <a:pt x="206" y="47"/>
                      </a:lnTo>
                      <a:lnTo>
                        <a:pt x="206" y="49"/>
                      </a:lnTo>
                      <a:lnTo>
                        <a:pt x="204" y="52"/>
                      </a:lnTo>
                      <a:lnTo>
                        <a:pt x="204" y="54"/>
                      </a:lnTo>
                      <a:lnTo>
                        <a:pt x="204" y="55"/>
                      </a:lnTo>
                      <a:lnTo>
                        <a:pt x="202" y="55"/>
                      </a:lnTo>
                      <a:lnTo>
                        <a:pt x="202" y="59"/>
                      </a:lnTo>
                      <a:lnTo>
                        <a:pt x="202" y="60"/>
                      </a:lnTo>
                      <a:lnTo>
                        <a:pt x="202" y="62"/>
                      </a:lnTo>
                      <a:lnTo>
                        <a:pt x="202" y="64"/>
                      </a:lnTo>
                      <a:lnTo>
                        <a:pt x="204" y="65"/>
                      </a:lnTo>
                      <a:lnTo>
                        <a:pt x="202" y="65"/>
                      </a:lnTo>
                      <a:lnTo>
                        <a:pt x="202" y="64"/>
                      </a:lnTo>
                      <a:lnTo>
                        <a:pt x="201" y="64"/>
                      </a:lnTo>
                      <a:lnTo>
                        <a:pt x="201" y="65"/>
                      </a:lnTo>
                      <a:lnTo>
                        <a:pt x="202" y="65"/>
                      </a:lnTo>
                      <a:lnTo>
                        <a:pt x="202" y="67"/>
                      </a:lnTo>
                      <a:lnTo>
                        <a:pt x="202" y="69"/>
                      </a:lnTo>
                      <a:lnTo>
                        <a:pt x="202" y="70"/>
                      </a:lnTo>
                      <a:lnTo>
                        <a:pt x="201" y="75"/>
                      </a:lnTo>
                      <a:lnTo>
                        <a:pt x="201" y="77"/>
                      </a:lnTo>
                      <a:lnTo>
                        <a:pt x="201" y="78"/>
                      </a:lnTo>
                      <a:lnTo>
                        <a:pt x="201" y="82"/>
                      </a:lnTo>
                      <a:lnTo>
                        <a:pt x="201" y="83"/>
                      </a:lnTo>
                      <a:lnTo>
                        <a:pt x="201" y="85"/>
                      </a:lnTo>
                      <a:lnTo>
                        <a:pt x="201" y="87"/>
                      </a:lnTo>
                      <a:lnTo>
                        <a:pt x="201" y="88"/>
                      </a:lnTo>
                      <a:lnTo>
                        <a:pt x="202" y="92"/>
                      </a:lnTo>
                      <a:lnTo>
                        <a:pt x="202" y="97"/>
                      </a:lnTo>
                      <a:lnTo>
                        <a:pt x="202" y="98"/>
                      </a:lnTo>
                      <a:lnTo>
                        <a:pt x="202" y="97"/>
                      </a:lnTo>
                      <a:lnTo>
                        <a:pt x="202" y="98"/>
                      </a:lnTo>
                      <a:lnTo>
                        <a:pt x="202" y="100"/>
                      </a:lnTo>
                      <a:lnTo>
                        <a:pt x="202" y="101"/>
                      </a:lnTo>
                      <a:lnTo>
                        <a:pt x="202" y="103"/>
                      </a:lnTo>
                      <a:lnTo>
                        <a:pt x="204" y="105"/>
                      </a:lnTo>
                      <a:lnTo>
                        <a:pt x="204" y="106"/>
                      </a:lnTo>
                      <a:lnTo>
                        <a:pt x="204" y="108"/>
                      </a:lnTo>
                      <a:lnTo>
                        <a:pt x="204" y="110"/>
                      </a:lnTo>
                      <a:lnTo>
                        <a:pt x="204" y="111"/>
                      </a:lnTo>
                      <a:lnTo>
                        <a:pt x="204" y="113"/>
                      </a:lnTo>
                      <a:lnTo>
                        <a:pt x="204" y="115"/>
                      </a:lnTo>
                      <a:lnTo>
                        <a:pt x="206" y="120"/>
                      </a:lnTo>
                      <a:lnTo>
                        <a:pt x="206" y="123"/>
                      </a:lnTo>
                      <a:lnTo>
                        <a:pt x="207" y="126"/>
                      </a:lnTo>
                      <a:lnTo>
                        <a:pt x="206" y="126"/>
                      </a:lnTo>
                      <a:lnTo>
                        <a:pt x="207" y="128"/>
                      </a:lnTo>
                      <a:lnTo>
                        <a:pt x="207" y="131"/>
                      </a:lnTo>
                      <a:lnTo>
                        <a:pt x="206" y="134"/>
                      </a:lnTo>
                      <a:lnTo>
                        <a:pt x="206" y="138"/>
                      </a:lnTo>
                      <a:lnTo>
                        <a:pt x="206" y="139"/>
                      </a:lnTo>
                      <a:lnTo>
                        <a:pt x="204" y="141"/>
                      </a:lnTo>
                      <a:lnTo>
                        <a:pt x="204" y="142"/>
                      </a:lnTo>
                      <a:lnTo>
                        <a:pt x="202" y="146"/>
                      </a:lnTo>
                      <a:lnTo>
                        <a:pt x="201" y="149"/>
                      </a:lnTo>
                      <a:lnTo>
                        <a:pt x="199" y="154"/>
                      </a:lnTo>
                      <a:lnTo>
                        <a:pt x="197" y="157"/>
                      </a:lnTo>
                      <a:lnTo>
                        <a:pt x="196" y="159"/>
                      </a:lnTo>
                      <a:lnTo>
                        <a:pt x="196" y="161"/>
                      </a:lnTo>
                      <a:lnTo>
                        <a:pt x="196" y="162"/>
                      </a:lnTo>
                      <a:lnTo>
                        <a:pt x="196" y="161"/>
                      </a:lnTo>
                      <a:lnTo>
                        <a:pt x="196" y="159"/>
                      </a:lnTo>
                      <a:lnTo>
                        <a:pt x="196" y="157"/>
                      </a:lnTo>
                      <a:lnTo>
                        <a:pt x="197" y="157"/>
                      </a:lnTo>
                      <a:lnTo>
                        <a:pt x="197" y="156"/>
                      </a:lnTo>
                      <a:lnTo>
                        <a:pt x="196" y="157"/>
                      </a:lnTo>
                      <a:lnTo>
                        <a:pt x="196" y="159"/>
                      </a:lnTo>
                      <a:lnTo>
                        <a:pt x="194" y="159"/>
                      </a:lnTo>
                      <a:lnTo>
                        <a:pt x="194" y="161"/>
                      </a:lnTo>
                      <a:lnTo>
                        <a:pt x="194" y="162"/>
                      </a:lnTo>
                      <a:lnTo>
                        <a:pt x="196" y="162"/>
                      </a:lnTo>
                      <a:lnTo>
                        <a:pt x="194" y="162"/>
                      </a:lnTo>
                      <a:lnTo>
                        <a:pt x="192" y="162"/>
                      </a:lnTo>
                      <a:lnTo>
                        <a:pt x="189" y="164"/>
                      </a:lnTo>
                      <a:lnTo>
                        <a:pt x="187" y="164"/>
                      </a:lnTo>
                      <a:lnTo>
                        <a:pt x="185" y="165"/>
                      </a:lnTo>
                      <a:lnTo>
                        <a:pt x="182" y="167"/>
                      </a:lnTo>
                      <a:lnTo>
                        <a:pt x="177" y="172"/>
                      </a:lnTo>
                      <a:lnTo>
                        <a:pt x="174" y="175"/>
                      </a:lnTo>
                      <a:lnTo>
                        <a:pt x="172" y="177"/>
                      </a:lnTo>
                      <a:lnTo>
                        <a:pt x="172" y="179"/>
                      </a:lnTo>
                      <a:lnTo>
                        <a:pt x="172" y="180"/>
                      </a:lnTo>
                      <a:lnTo>
                        <a:pt x="170" y="182"/>
                      </a:lnTo>
                      <a:lnTo>
                        <a:pt x="170" y="184"/>
                      </a:lnTo>
                      <a:lnTo>
                        <a:pt x="169" y="184"/>
                      </a:lnTo>
                      <a:lnTo>
                        <a:pt x="169" y="185"/>
                      </a:lnTo>
                      <a:lnTo>
                        <a:pt x="169" y="187"/>
                      </a:lnTo>
                      <a:lnTo>
                        <a:pt x="167" y="187"/>
                      </a:lnTo>
                      <a:lnTo>
                        <a:pt x="167" y="188"/>
                      </a:lnTo>
                      <a:lnTo>
                        <a:pt x="165" y="188"/>
                      </a:lnTo>
                      <a:lnTo>
                        <a:pt x="164" y="188"/>
                      </a:lnTo>
                      <a:lnTo>
                        <a:pt x="164" y="190"/>
                      </a:lnTo>
                      <a:lnTo>
                        <a:pt x="162" y="190"/>
                      </a:lnTo>
                      <a:lnTo>
                        <a:pt x="162" y="188"/>
                      </a:lnTo>
                      <a:lnTo>
                        <a:pt x="160" y="188"/>
                      </a:lnTo>
                      <a:lnTo>
                        <a:pt x="160" y="190"/>
                      </a:lnTo>
                      <a:lnTo>
                        <a:pt x="162" y="190"/>
                      </a:lnTo>
                      <a:lnTo>
                        <a:pt x="164" y="190"/>
                      </a:lnTo>
                      <a:lnTo>
                        <a:pt x="165" y="190"/>
                      </a:lnTo>
                      <a:lnTo>
                        <a:pt x="165" y="192"/>
                      </a:lnTo>
                      <a:lnTo>
                        <a:pt x="164" y="192"/>
                      </a:lnTo>
                      <a:lnTo>
                        <a:pt x="164" y="193"/>
                      </a:lnTo>
                      <a:lnTo>
                        <a:pt x="164" y="195"/>
                      </a:lnTo>
                      <a:lnTo>
                        <a:pt x="162" y="195"/>
                      </a:lnTo>
                      <a:lnTo>
                        <a:pt x="162" y="197"/>
                      </a:lnTo>
                      <a:lnTo>
                        <a:pt x="162" y="198"/>
                      </a:lnTo>
                      <a:lnTo>
                        <a:pt x="162" y="197"/>
                      </a:lnTo>
                      <a:lnTo>
                        <a:pt x="162" y="198"/>
                      </a:lnTo>
                      <a:lnTo>
                        <a:pt x="160" y="197"/>
                      </a:lnTo>
                      <a:lnTo>
                        <a:pt x="160" y="198"/>
                      </a:lnTo>
                      <a:lnTo>
                        <a:pt x="160" y="200"/>
                      </a:lnTo>
                      <a:lnTo>
                        <a:pt x="162" y="202"/>
                      </a:lnTo>
                      <a:lnTo>
                        <a:pt x="160" y="202"/>
                      </a:lnTo>
                      <a:lnTo>
                        <a:pt x="162" y="203"/>
                      </a:lnTo>
                      <a:lnTo>
                        <a:pt x="162" y="205"/>
                      </a:lnTo>
                      <a:lnTo>
                        <a:pt x="160" y="205"/>
                      </a:lnTo>
                      <a:lnTo>
                        <a:pt x="160" y="207"/>
                      </a:lnTo>
                      <a:lnTo>
                        <a:pt x="160" y="208"/>
                      </a:lnTo>
                      <a:lnTo>
                        <a:pt x="160" y="210"/>
                      </a:lnTo>
                      <a:lnTo>
                        <a:pt x="160" y="211"/>
                      </a:lnTo>
                      <a:lnTo>
                        <a:pt x="158" y="213"/>
                      </a:lnTo>
                      <a:lnTo>
                        <a:pt x="158" y="215"/>
                      </a:lnTo>
                      <a:lnTo>
                        <a:pt x="157" y="215"/>
                      </a:lnTo>
                      <a:lnTo>
                        <a:pt x="157" y="216"/>
                      </a:lnTo>
                      <a:lnTo>
                        <a:pt x="157" y="218"/>
                      </a:lnTo>
                      <a:lnTo>
                        <a:pt x="155" y="218"/>
                      </a:lnTo>
                      <a:lnTo>
                        <a:pt x="155" y="220"/>
                      </a:lnTo>
                      <a:lnTo>
                        <a:pt x="155" y="221"/>
                      </a:lnTo>
                      <a:lnTo>
                        <a:pt x="153" y="220"/>
                      </a:lnTo>
                      <a:lnTo>
                        <a:pt x="153" y="218"/>
                      </a:lnTo>
                      <a:lnTo>
                        <a:pt x="152" y="218"/>
                      </a:lnTo>
                      <a:lnTo>
                        <a:pt x="152" y="220"/>
                      </a:lnTo>
                      <a:lnTo>
                        <a:pt x="150" y="220"/>
                      </a:lnTo>
                      <a:lnTo>
                        <a:pt x="150" y="221"/>
                      </a:lnTo>
                      <a:lnTo>
                        <a:pt x="150" y="223"/>
                      </a:lnTo>
                      <a:lnTo>
                        <a:pt x="152" y="223"/>
                      </a:lnTo>
                      <a:lnTo>
                        <a:pt x="150" y="223"/>
                      </a:lnTo>
                      <a:lnTo>
                        <a:pt x="148" y="223"/>
                      </a:lnTo>
                      <a:lnTo>
                        <a:pt x="150" y="223"/>
                      </a:lnTo>
                      <a:lnTo>
                        <a:pt x="152" y="223"/>
                      </a:lnTo>
                      <a:lnTo>
                        <a:pt x="150" y="223"/>
                      </a:lnTo>
                      <a:lnTo>
                        <a:pt x="150" y="221"/>
                      </a:lnTo>
                      <a:lnTo>
                        <a:pt x="150" y="220"/>
                      </a:lnTo>
                      <a:lnTo>
                        <a:pt x="152" y="220"/>
                      </a:lnTo>
                      <a:lnTo>
                        <a:pt x="152" y="221"/>
                      </a:lnTo>
                      <a:lnTo>
                        <a:pt x="152" y="223"/>
                      </a:lnTo>
                      <a:lnTo>
                        <a:pt x="150" y="225"/>
                      </a:lnTo>
                      <a:lnTo>
                        <a:pt x="148" y="225"/>
                      </a:lnTo>
                      <a:lnTo>
                        <a:pt x="147" y="225"/>
                      </a:lnTo>
                      <a:lnTo>
                        <a:pt x="145" y="225"/>
                      </a:lnTo>
                      <a:lnTo>
                        <a:pt x="143" y="225"/>
                      </a:lnTo>
                      <a:lnTo>
                        <a:pt x="143" y="223"/>
                      </a:lnTo>
                      <a:lnTo>
                        <a:pt x="143" y="221"/>
                      </a:lnTo>
                      <a:lnTo>
                        <a:pt x="143" y="220"/>
                      </a:lnTo>
                      <a:lnTo>
                        <a:pt x="142" y="220"/>
                      </a:lnTo>
                      <a:lnTo>
                        <a:pt x="143" y="220"/>
                      </a:lnTo>
                      <a:lnTo>
                        <a:pt x="145" y="220"/>
                      </a:lnTo>
                      <a:lnTo>
                        <a:pt x="145" y="218"/>
                      </a:lnTo>
                      <a:lnTo>
                        <a:pt x="145" y="220"/>
                      </a:lnTo>
                      <a:lnTo>
                        <a:pt x="143" y="220"/>
                      </a:lnTo>
                      <a:lnTo>
                        <a:pt x="142" y="220"/>
                      </a:lnTo>
                      <a:lnTo>
                        <a:pt x="143" y="220"/>
                      </a:lnTo>
                      <a:lnTo>
                        <a:pt x="143" y="221"/>
                      </a:lnTo>
                      <a:lnTo>
                        <a:pt x="143" y="223"/>
                      </a:lnTo>
                      <a:lnTo>
                        <a:pt x="143" y="225"/>
                      </a:lnTo>
                      <a:lnTo>
                        <a:pt x="145" y="225"/>
                      </a:lnTo>
                      <a:lnTo>
                        <a:pt x="147" y="225"/>
                      </a:lnTo>
                      <a:lnTo>
                        <a:pt x="148" y="225"/>
                      </a:lnTo>
                      <a:lnTo>
                        <a:pt x="150" y="225"/>
                      </a:lnTo>
                      <a:lnTo>
                        <a:pt x="152" y="223"/>
                      </a:lnTo>
                      <a:lnTo>
                        <a:pt x="152" y="225"/>
                      </a:lnTo>
                      <a:lnTo>
                        <a:pt x="150" y="225"/>
                      </a:lnTo>
                      <a:lnTo>
                        <a:pt x="150" y="226"/>
                      </a:lnTo>
                      <a:lnTo>
                        <a:pt x="150" y="228"/>
                      </a:lnTo>
                      <a:lnTo>
                        <a:pt x="148" y="228"/>
                      </a:lnTo>
                      <a:lnTo>
                        <a:pt x="148" y="230"/>
                      </a:lnTo>
                      <a:lnTo>
                        <a:pt x="148" y="231"/>
                      </a:lnTo>
                      <a:lnTo>
                        <a:pt x="147" y="233"/>
                      </a:lnTo>
                      <a:lnTo>
                        <a:pt x="147" y="234"/>
                      </a:lnTo>
                      <a:lnTo>
                        <a:pt x="147" y="236"/>
                      </a:lnTo>
                      <a:lnTo>
                        <a:pt x="145" y="236"/>
                      </a:lnTo>
                      <a:lnTo>
                        <a:pt x="145" y="238"/>
                      </a:lnTo>
                      <a:lnTo>
                        <a:pt x="145" y="239"/>
                      </a:lnTo>
                      <a:lnTo>
                        <a:pt x="143" y="239"/>
                      </a:lnTo>
                      <a:lnTo>
                        <a:pt x="145" y="239"/>
                      </a:lnTo>
                      <a:lnTo>
                        <a:pt x="143" y="239"/>
                      </a:lnTo>
                      <a:lnTo>
                        <a:pt x="143" y="241"/>
                      </a:lnTo>
                      <a:lnTo>
                        <a:pt x="143" y="243"/>
                      </a:lnTo>
                      <a:lnTo>
                        <a:pt x="142" y="243"/>
                      </a:lnTo>
                      <a:lnTo>
                        <a:pt x="142" y="244"/>
                      </a:lnTo>
                      <a:lnTo>
                        <a:pt x="140" y="246"/>
                      </a:lnTo>
                      <a:lnTo>
                        <a:pt x="140" y="248"/>
                      </a:lnTo>
                      <a:lnTo>
                        <a:pt x="140" y="249"/>
                      </a:lnTo>
                      <a:lnTo>
                        <a:pt x="138" y="249"/>
                      </a:lnTo>
                      <a:lnTo>
                        <a:pt x="138" y="251"/>
                      </a:lnTo>
                      <a:lnTo>
                        <a:pt x="136" y="253"/>
                      </a:lnTo>
                      <a:lnTo>
                        <a:pt x="135" y="253"/>
                      </a:lnTo>
                      <a:lnTo>
                        <a:pt x="135" y="251"/>
                      </a:lnTo>
                      <a:lnTo>
                        <a:pt x="133" y="251"/>
                      </a:lnTo>
                      <a:lnTo>
                        <a:pt x="133" y="253"/>
                      </a:lnTo>
                      <a:lnTo>
                        <a:pt x="133" y="251"/>
                      </a:lnTo>
                      <a:lnTo>
                        <a:pt x="133" y="253"/>
                      </a:lnTo>
                      <a:lnTo>
                        <a:pt x="133" y="251"/>
                      </a:lnTo>
                      <a:lnTo>
                        <a:pt x="133" y="253"/>
                      </a:lnTo>
                      <a:lnTo>
                        <a:pt x="133" y="254"/>
                      </a:lnTo>
                      <a:lnTo>
                        <a:pt x="133" y="256"/>
                      </a:lnTo>
                      <a:lnTo>
                        <a:pt x="133" y="254"/>
                      </a:lnTo>
                      <a:lnTo>
                        <a:pt x="133" y="256"/>
                      </a:lnTo>
                      <a:lnTo>
                        <a:pt x="133" y="254"/>
                      </a:lnTo>
                      <a:lnTo>
                        <a:pt x="131" y="254"/>
                      </a:lnTo>
                      <a:lnTo>
                        <a:pt x="130" y="256"/>
                      </a:lnTo>
                      <a:lnTo>
                        <a:pt x="128" y="256"/>
                      </a:lnTo>
                      <a:lnTo>
                        <a:pt x="128" y="254"/>
                      </a:lnTo>
                      <a:lnTo>
                        <a:pt x="128" y="256"/>
                      </a:lnTo>
                      <a:lnTo>
                        <a:pt x="126" y="256"/>
                      </a:lnTo>
                      <a:lnTo>
                        <a:pt x="128" y="256"/>
                      </a:lnTo>
                      <a:lnTo>
                        <a:pt x="126" y="256"/>
                      </a:lnTo>
                      <a:lnTo>
                        <a:pt x="126" y="257"/>
                      </a:lnTo>
                      <a:lnTo>
                        <a:pt x="126" y="256"/>
                      </a:lnTo>
                      <a:lnTo>
                        <a:pt x="128" y="256"/>
                      </a:lnTo>
                      <a:lnTo>
                        <a:pt x="126" y="257"/>
                      </a:lnTo>
                      <a:lnTo>
                        <a:pt x="128" y="257"/>
                      </a:lnTo>
                      <a:lnTo>
                        <a:pt x="126" y="257"/>
                      </a:lnTo>
                      <a:lnTo>
                        <a:pt x="128" y="257"/>
                      </a:lnTo>
                      <a:lnTo>
                        <a:pt x="128" y="256"/>
                      </a:lnTo>
                      <a:lnTo>
                        <a:pt x="130" y="256"/>
                      </a:lnTo>
                      <a:lnTo>
                        <a:pt x="131" y="256"/>
                      </a:lnTo>
                      <a:lnTo>
                        <a:pt x="130" y="256"/>
                      </a:lnTo>
                      <a:lnTo>
                        <a:pt x="130" y="257"/>
                      </a:lnTo>
                      <a:lnTo>
                        <a:pt x="128" y="259"/>
                      </a:lnTo>
                      <a:lnTo>
                        <a:pt x="128" y="261"/>
                      </a:lnTo>
                      <a:lnTo>
                        <a:pt x="128" y="262"/>
                      </a:lnTo>
                      <a:lnTo>
                        <a:pt x="126" y="262"/>
                      </a:lnTo>
                      <a:lnTo>
                        <a:pt x="125" y="262"/>
                      </a:lnTo>
                      <a:lnTo>
                        <a:pt x="125" y="264"/>
                      </a:lnTo>
                      <a:lnTo>
                        <a:pt x="123" y="264"/>
                      </a:lnTo>
                      <a:lnTo>
                        <a:pt x="123" y="266"/>
                      </a:lnTo>
                      <a:lnTo>
                        <a:pt x="123" y="267"/>
                      </a:lnTo>
                      <a:lnTo>
                        <a:pt x="123" y="269"/>
                      </a:lnTo>
                      <a:lnTo>
                        <a:pt x="123" y="267"/>
                      </a:lnTo>
                      <a:lnTo>
                        <a:pt x="121" y="267"/>
                      </a:lnTo>
                      <a:lnTo>
                        <a:pt x="121" y="269"/>
                      </a:lnTo>
                      <a:lnTo>
                        <a:pt x="121" y="267"/>
                      </a:lnTo>
                      <a:lnTo>
                        <a:pt x="121" y="269"/>
                      </a:lnTo>
                      <a:lnTo>
                        <a:pt x="120" y="269"/>
                      </a:lnTo>
                      <a:lnTo>
                        <a:pt x="120" y="271"/>
                      </a:lnTo>
                      <a:lnTo>
                        <a:pt x="118" y="271"/>
                      </a:lnTo>
                      <a:lnTo>
                        <a:pt x="118" y="272"/>
                      </a:lnTo>
                      <a:lnTo>
                        <a:pt x="118" y="271"/>
                      </a:lnTo>
                      <a:lnTo>
                        <a:pt x="118" y="269"/>
                      </a:lnTo>
                      <a:lnTo>
                        <a:pt x="116" y="269"/>
                      </a:lnTo>
                      <a:lnTo>
                        <a:pt x="115" y="269"/>
                      </a:lnTo>
                      <a:lnTo>
                        <a:pt x="116" y="267"/>
                      </a:lnTo>
                      <a:lnTo>
                        <a:pt x="116" y="266"/>
                      </a:lnTo>
                      <a:lnTo>
                        <a:pt x="116" y="267"/>
                      </a:lnTo>
                      <a:lnTo>
                        <a:pt x="115" y="267"/>
                      </a:lnTo>
                      <a:lnTo>
                        <a:pt x="115" y="269"/>
                      </a:lnTo>
                      <a:lnTo>
                        <a:pt x="113" y="271"/>
                      </a:lnTo>
                      <a:lnTo>
                        <a:pt x="113" y="269"/>
                      </a:lnTo>
                      <a:lnTo>
                        <a:pt x="113" y="271"/>
                      </a:lnTo>
                      <a:lnTo>
                        <a:pt x="111" y="271"/>
                      </a:lnTo>
                      <a:lnTo>
                        <a:pt x="109" y="272"/>
                      </a:lnTo>
                      <a:lnTo>
                        <a:pt x="109" y="271"/>
                      </a:lnTo>
                      <a:lnTo>
                        <a:pt x="108" y="271"/>
                      </a:lnTo>
                      <a:lnTo>
                        <a:pt x="109" y="271"/>
                      </a:lnTo>
                      <a:lnTo>
                        <a:pt x="109" y="272"/>
                      </a:lnTo>
                      <a:lnTo>
                        <a:pt x="108" y="272"/>
                      </a:lnTo>
                      <a:lnTo>
                        <a:pt x="106" y="272"/>
                      </a:lnTo>
                      <a:lnTo>
                        <a:pt x="106" y="274"/>
                      </a:lnTo>
                      <a:lnTo>
                        <a:pt x="104" y="276"/>
                      </a:lnTo>
                      <a:lnTo>
                        <a:pt x="106" y="276"/>
                      </a:lnTo>
                      <a:lnTo>
                        <a:pt x="104" y="276"/>
                      </a:lnTo>
                      <a:lnTo>
                        <a:pt x="104" y="277"/>
                      </a:lnTo>
                      <a:lnTo>
                        <a:pt x="104" y="276"/>
                      </a:lnTo>
                      <a:lnTo>
                        <a:pt x="104" y="277"/>
                      </a:lnTo>
                      <a:lnTo>
                        <a:pt x="103" y="277"/>
                      </a:lnTo>
                      <a:lnTo>
                        <a:pt x="103" y="279"/>
                      </a:lnTo>
                      <a:lnTo>
                        <a:pt x="101" y="280"/>
                      </a:lnTo>
                      <a:lnTo>
                        <a:pt x="101" y="284"/>
                      </a:lnTo>
                      <a:lnTo>
                        <a:pt x="101" y="285"/>
                      </a:lnTo>
                      <a:lnTo>
                        <a:pt x="101" y="287"/>
                      </a:lnTo>
                      <a:lnTo>
                        <a:pt x="101" y="289"/>
                      </a:lnTo>
                      <a:lnTo>
                        <a:pt x="99" y="290"/>
                      </a:lnTo>
                      <a:lnTo>
                        <a:pt x="98" y="292"/>
                      </a:lnTo>
                      <a:lnTo>
                        <a:pt x="98" y="294"/>
                      </a:lnTo>
                      <a:lnTo>
                        <a:pt x="96" y="297"/>
                      </a:lnTo>
                      <a:lnTo>
                        <a:pt x="96" y="299"/>
                      </a:lnTo>
                      <a:lnTo>
                        <a:pt x="94" y="300"/>
                      </a:lnTo>
                      <a:lnTo>
                        <a:pt x="93" y="300"/>
                      </a:lnTo>
                      <a:lnTo>
                        <a:pt x="91" y="302"/>
                      </a:lnTo>
                      <a:lnTo>
                        <a:pt x="91" y="303"/>
                      </a:lnTo>
                      <a:lnTo>
                        <a:pt x="89" y="303"/>
                      </a:lnTo>
                      <a:lnTo>
                        <a:pt x="89" y="305"/>
                      </a:lnTo>
                      <a:lnTo>
                        <a:pt x="88" y="307"/>
                      </a:lnTo>
                      <a:lnTo>
                        <a:pt x="88" y="308"/>
                      </a:lnTo>
                      <a:lnTo>
                        <a:pt x="86" y="310"/>
                      </a:lnTo>
                      <a:lnTo>
                        <a:pt x="86" y="312"/>
                      </a:lnTo>
                      <a:lnTo>
                        <a:pt x="86" y="313"/>
                      </a:lnTo>
                      <a:lnTo>
                        <a:pt x="84" y="313"/>
                      </a:lnTo>
                      <a:lnTo>
                        <a:pt x="84" y="312"/>
                      </a:lnTo>
                      <a:lnTo>
                        <a:pt x="84" y="313"/>
                      </a:lnTo>
                      <a:lnTo>
                        <a:pt x="82" y="313"/>
                      </a:lnTo>
                      <a:lnTo>
                        <a:pt x="82" y="312"/>
                      </a:lnTo>
                      <a:lnTo>
                        <a:pt x="82" y="310"/>
                      </a:lnTo>
                      <a:lnTo>
                        <a:pt x="81" y="310"/>
                      </a:lnTo>
                      <a:lnTo>
                        <a:pt x="81" y="308"/>
                      </a:lnTo>
                      <a:lnTo>
                        <a:pt x="81" y="310"/>
                      </a:lnTo>
                      <a:lnTo>
                        <a:pt x="81" y="308"/>
                      </a:lnTo>
                      <a:lnTo>
                        <a:pt x="79" y="310"/>
                      </a:lnTo>
                      <a:lnTo>
                        <a:pt x="77" y="310"/>
                      </a:lnTo>
                      <a:lnTo>
                        <a:pt x="79" y="308"/>
                      </a:lnTo>
                      <a:lnTo>
                        <a:pt x="77" y="308"/>
                      </a:lnTo>
                      <a:lnTo>
                        <a:pt x="76" y="307"/>
                      </a:lnTo>
                      <a:lnTo>
                        <a:pt x="76" y="308"/>
                      </a:lnTo>
                      <a:lnTo>
                        <a:pt x="76" y="307"/>
                      </a:lnTo>
                      <a:lnTo>
                        <a:pt x="74" y="307"/>
                      </a:lnTo>
                      <a:lnTo>
                        <a:pt x="72" y="307"/>
                      </a:lnTo>
                      <a:lnTo>
                        <a:pt x="71" y="307"/>
                      </a:lnTo>
                      <a:lnTo>
                        <a:pt x="69" y="307"/>
                      </a:lnTo>
                      <a:lnTo>
                        <a:pt x="69" y="308"/>
                      </a:lnTo>
                      <a:lnTo>
                        <a:pt x="67" y="308"/>
                      </a:lnTo>
                      <a:lnTo>
                        <a:pt x="66" y="308"/>
                      </a:lnTo>
                      <a:lnTo>
                        <a:pt x="64" y="310"/>
                      </a:lnTo>
                      <a:lnTo>
                        <a:pt x="64" y="308"/>
                      </a:lnTo>
                      <a:lnTo>
                        <a:pt x="62" y="308"/>
                      </a:lnTo>
                      <a:lnTo>
                        <a:pt x="62" y="307"/>
                      </a:lnTo>
                      <a:lnTo>
                        <a:pt x="60" y="308"/>
                      </a:lnTo>
                      <a:lnTo>
                        <a:pt x="62" y="307"/>
                      </a:lnTo>
                      <a:lnTo>
                        <a:pt x="60" y="307"/>
                      </a:lnTo>
                      <a:lnTo>
                        <a:pt x="60" y="308"/>
                      </a:lnTo>
                      <a:lnTo>
                        <a:pt x="60" y="307"/>
                      </a:lnTo>
                      <a:lnTo>
                        <a:pt x="59" y="307"/>
                      </a:lnTo>
                      <a:lnTo>
                        <a:pt x="57" y="308"/>
                      </a:lnTo>
                      <a:lnTo>
                        <a:pt x="55" y="308"/>
                      </a:lnTo>
                      <a:lnTo>
                        <a:pt x="54" y="308"/>
                      </a:lnTo>
                      <a:lnTo>
                        <a:pt x="54" y="307"/>
                      </a:lnTo>
                      <a:lnTo>
                        <a:pt x="52" y="307"/>
                      </a:lnTo>
                      <a:lnTo>
                        <a:pt x="50" y="307"/>
                      </a:lnTo>
                      <a:lnTo>
                        <a:pt x="50" y="305"/>
                      </a:lnTo>
                      <a:lnTo>
                        <a:pt x="49" y="305"/>
                      </a:lnTo>
                      <a:lnTo>
                        <a:pt x="47" y="305"/>
                      </a:lnTo>
                      <a:lnTo>
                        <a:pt x="45" y="305"/>
                      </a:lnTo>
                      <a:lnTo>
                        <a:pt x="44" y="305"/>
                      </a:lnTo>
                      <a:lnTo>
                        <a:pt x="42" y="305"/>
                      </a:lnTo>
                      <a:lnTo>
                        <a:pt x="42" y="307"/>
                      </a:lnTo>
                      <a:lnTo>
                        <a:pt x="40" y="307"/>
                      </a:lnTo>
                      <a:lnTo>
                        <a:pt x="40" y="305"/>
                      </a:lnTo>
                      <a:lnTo>
                        <a:pt x="39" y="305"/>
                      </a:lnTo>
                      <a:lnTo>
                        <a:pt x="39" y="307"/>
                      </a:lnTo>
                      <a:lnTo>
                        <a:pt x="37" y="308"/>
                      </a:lnTo>
                      <a:lnTo>
                        <a:pt x="35" y="308"/>
                      </a:lnTo>
                      <a:lnTo>
                        <a:pt x="35" y="310"/>
                      </a:lnTo>
                      <a:lnTo>
                        <a:pt x="33" y="310"/>
                      </a:lnTo>
                      <a:lnTo>
                        <a:pt x="33" y="312"/>
                      </a:lnTo>
                      <a:lnTo>
                        <a:pt x="32" y="312"/>
                      </a:lnTo>
                      <a:lnTo>
                        <a:pt x="30" y="313"/>
                      </a:lnTo>
                      <a:lnTo>
                        <a:pt x="28" y="315"/>
                      </a:lnTo>
                      <a:lnTo>
                        <a:pt x="27" y="315"/>
                      </a:lnTo>
                      <a:lnTo>
                        <a:pt x="25" y="313"/>
                      </a:lnTo>
                      <a:lnTo>
                        <a:pt x="25" y="312"/>
                      </a:lnTo>
                      <a:lnTo>
                        <a:pt x="23" y="312"/>
                      </a:lnTo>
                      <a:lnTo>
                        <a:pt x="23" y="310"/>
                      </a:lnTo>
                      <a:lnTo>
                        <a:pt x="22" y="310"/>
                      </a:lnTo>
                      <a:lnTo>
                        <a:pt x="23" y="310"/>
                      </a:lnTo>
                      <a:lnTo>
                        <a:pt x="22" y="310"/>
                      </a:lnTo>
                      <a:lnTo>
                        <a:pt x="22" y="308"/>
                      </a:lnTo>
                      <a:lnTo>
                        <a:pt x="20" y="308"/>
                      </a:lnTo>
                      <a:lnTo>
                        <a:pt x="18" y="310"/>
                      </a:lnTo>
                      <a:lnTo>
                        <a:pt x="17" y="308"/>
                      </a:lnTo>
                      <a:lnTo>
                        <a:pt x="17" y="307"/>
                      </a:lnTo>
                      <a:lnTo>
                        <a:pt x="15" y="307"/>
                      </a:lnTo>
                      <a:lnTo>
                        <a:pt x="13" y="307"/>
                      </a:lnTo>
                      <a:lnTo>
                        <a:pt x="15" y="305"/>
                      </a:lnTo>
                      <a:lnTo>
                        <a:pt x="13" y="305"/>
                      </a:lnTo>
                      <a:lnTo>
                        <a:pt x="15" y="303"/>
                      </a:lnTo>
                      <a:lnTo>
                        <a:pt x="13" y="303"/>
                      </a:lnTo>
                      <a:lnTo>
                        <a:pt x="13" y="302"/>
                      </a:lnTo>
                      <a:lnTo>
                        <a:pt x="12" y="302"/>
                      </a:lnTo>
                      <a:lnTo>
                        <a:pt x="10" y="303"/>
                      </a:lnTo>
                      <a:lnTo>
                        <a:pt x="10" y="302"/>
                      </a:lnTo>
                      <a:lnTo>
                        <a:pt x="10" y="300"/>
                      </a:lnTo>
                      <a:lnTo>
                        <a:pt x="8" y="300"/>
                      </a:lnTo>
                      <a:lnTo>
                        <a:pt x="6" y="300"/>
                      </a:lnTo>
                      <a:lnTo>
                        <a:pt x="6" y="299"/>
                      </a:lnTo>
                      <a:lnTo>
                        <a:pt x="6" y="297"/>
                      </a:lnTo>
                      <a:lnTo>
                        <a:pt x="5" y="297"/>
                      </a:lnTo>
                      <a:lnTo>
                        <a:pt x="3" y="297"/>
                      </a:lnTo>
                      <a:lnTo>
                        <a:pt x="5" y="297"/>
                      </a:lnTo>
                      <a:lnTo>
                        <a:pt x="5" y="295"/>
                      </a:lnTo>
                      <a:lnTo>
                        <a:pt x="3" y="295"/>
                      </a:lnTo>
                      <a:lnTo>
                        <a:pt x="3" y="294"/>
                      </a:lnTo>
                      <a:lnTo>
                        <a:pt x="3" y="292"/>
                      </a:lnTo>
                      <a:lnTo>
                        <a:pt x="1" y="294"/>
                      </a:lnTo>
                      <a:lnTo>
                        <a:pt x="1" y="292"/>
                      </a:lnTo>
                      <a:lnTo>
                        <a:pt x="3" y="292"/>
                      </a:lnTo>
                      <a:lnTo>
                        <a:pt x="1" y="292"/>
                      </a:lnTo>
                      <a:lnTo>
                        <a:pt x="3" y="292"/>
                      </a:lnTo>
                      <a:lnTo>
                        <a:pt x="3" y="290"/>
                      </a:lnTo>
                      <a:lnTo>
                        <a:pt x="5" y="290"/>
                      </a:lnTo>
                      <a:lnTo>
                        <a:pt x="5" y="289"/>
                      </a:lnTo>
                      <a:lnTo>
                        <a:pt x="5" y="287"/>
                      </a:lnTo>
                      <a:lnTo>
                        <a:pt x="6" y="287"/>
                      </a:lnTo>
                      <a:lnTo>
                        <a:pt x="6" y="285"/>
                      </a:lnTo>
                      <a:lnTo>
                        <a:pt x="6" y="284"/>
                      </a:lnTo>
                      <a:lnTo>
                        <a:pt x="8" y="284"/>
                      </a:lnTo>
                      <a:lnTo>
                        <a:pt x="8" y="282"/>
                      </a:lnTo>
                      <a:lnTo>
                        <a:pt x="6" y="282"/>
                      </a:lnTo>
                      <a:lnTo>
                        <a:pt x="5" y="280"/>
                      </a:lnTo>
                      <a:lnTo>
                        <a:pt x="6" y="280"/>
                      </a:lnTo>
                      <a:lnTo>
                        <a:pt x="6" y="279"/>
                      </a:lnTo>
                      <a:lnTo>
                        <a:pt x="8" y="279"/>
                      </a:lnTo>
                      <a:lnTo>
                        <a:pt x="8" y="277"/>
                      </a:lnTo>
                      <a:lnTo>
                        <a:pt x="10" y="277"/>
                      </a:lnTo>
                      <a:lnTo>
                        <a:pt x="10" y="276"/>
                      </a:lnTo>
                      <a:lnTo>
                        <a:pt x="12" y="276"/>
                      </a:lnTo>
                      <a:lnTo>
                        <a:pt x="12" y="274"/>
                      </a:lnTo>
                      <a:lnTo>
                        <a:pt x="13" y="274"/>
                      </a:lnTo>
                      <a:lnTo>
                        <a:pt x="12" y="274"/>
                      </a:lnTo>
                      <a:lnTo>
                        <a:pt x="13" y="274"/>
                      </a:lnTo>
                      <a:lnTo>
                        <a:pt x="12" y="274"/>
                      </a:lnTo>
                      <a:lnTo>
                        <a:pt x="12" y="272"/>
                      </a:lnTo>
                      <a:lnTo>
                        <a:pt x="13" y="272"/>
                      </a:lnTo>
                      <a:lnTo>
                        <a:pt x="12" y="272"/>
                      </a:lnTo>
                      <a:lnTo>
                        <a:pt x="13" y="271"/>
                      </a:lnTo>
                      <a:lnTo>
                        <a:pt x="12" y="271"/>
                      </a:lnTo>
                      <a:lnTo>
                        <a:pt x="13" y="271"/>
                      </a:lnTo>
                      <a:lnTo>
                        <a:pt x="12" y="271"/>
                      </a:lnTo>
                      <a:lnTo>
                        <a:pt x="13" y="269"/>
                      </a:lnTo>
                      <a:lnTo>
                        <a:pt x="12" y="269"/>
                      </a:lnTo>
                      <a:lnTo>
                        <a:pt x="10" y="269"/>
                      </a:lnTo>
                      <a:lnTo>
                        <a:pt x="10" y="267"/>
                      </a:lnTo>
                      <a:lnTo>
                        <a:pt x="8" y="267"/>
                      </a:lnTo>
                      <a:lnTo>
                        <a:pt x="6" y="269"/>
                      </a:lnTo>
                      <a:lnTo>
                        <a:pt x="6" y="267"/>
                      </a:lnTo>
                      <a:lnTo>
                        <a:pt x="5" y="269"/>
                      </a:lnTo>
                      <a:lnTo>
                        <a:pt x="5" y="267"/>
                      </a:lnTo>
                      <a:lnTo>
                        <a:pt x="6" y="267"/>
                      </a:lnTo>
                      <a:lnTo>
                        <a:pt x="5" y="267"/>
                      </a:lnTo>
                      <a:lnTo>
                        <a:pt x="3" y="266"/>
                      </a:lnTo>
                      <a:lnTo>
                        <a:pt x="1" y="266"/>
                      </a:lnTo>
                      <a:lnTo>
                        <a:pt x="1" y="264"/>
                      </a:lnTo>
                      <a:lnTo>
                        <a:pt x="0" y="264"/>
                      </a:lnTo>
                      <a:lnTo>
                        <a:pt x="0" y="262"/>
                      </a:lnTo>
                      <a:lnTo>
                        <a:pt x="1" y="262"/>
                      </a:lnTo>
                      <a:lnTo>
                        <a:pt x="1" y="261"/>
                      </a:lnTo>
                      <a:lnTo>
                        <a:pt x="1" y="259"/>
                      </a:lnTo>
                      <a:lnTo>
                        <a:pt x="1" y="257"/>
                      </a:lnTo>
                      <a:lnTo>
                        <a:pt x="3" y="257"/>
                      </a:lnTo>
                      <a:lnTo>
                        <a:pt x="3" y="256"/>
                      </a:lnTo>
                      <a:lnTo>
                        <a:pt x="5" y="256"/>
                      </a:lnTo>
                      <a:lnTo>
                        <a:pt x="5" y="254"/>
                      </a:lnTo>
                      <a:lnTo>
                        <a:pt x="6" y="254"/>
                      </a:lnTo>
                      <a:lnTo>
                        <a:pt x="6" y="253"/>
                      </a:lnTo>
                      <a:lnTo>
                        <a:pt x="5" y="253"/>
                      </a:lnTo>
                      <a:lnTo>
                        <a:pt x="5" y="251"/>
                      </a:lnTo>
                      <a:lnTo>
                        <a:pt x="3" y="251"/>
                      </a:lnTo>
                      <a:lnTo>
                        <a:pt x="1" y="251"/>
                      </a:lnTo>
                      <a:lnTo>
                        <a:pt x="3" y="249"/>
                      </a:lnTo>
                      <a:lnTo>
                        <a:pt x="3" y="248"/>
                      </a:lnTo>
                      <a:lnTo>
                        <a:pt x="3" y="246"/>
                      </a:lnTo>
                      <a:lnTo>
                        <a:pt x="5" y="246"/>
                      </a:lnTo>
                      <a:lnTo>
                        <a:pt x="5" y="244"/>
                      </a:lnTo>
                      <a:lnTo>
                        <a:pt x="5" y="246"/>
                      </a:lnTo>
                      <a:lnTo>
                        <a:pt x="5" y="244"/>
                      </a:lnTo>
                      <a:lnTo>
                        <a:pt x="6" y="244"/>
                      </a:lnTo>
                      <a:lnTo>
                        <a:pt x="6" y="243"/>
                      </a:lnTo>
                      <a:lnTo>
                        <a:pt x="6" y="241"/>
                      </a:lnTo>
                      <a:lnTo>
                        <a:pt x="6" y="239"/>
                      </a:lnTo>
                      <a:lnTo>
                        <a:pt x="6" y="238"/>
                      </a:lnTo>
                      <a:lnTo>
                        <a:pt x="6" y="236"/>
                      </a:lnTo>
                      <a:lnTo>
                        <a:pt x="6" y="234"/>
                      </a:lnTo>
                      <a:lnTo>
                        <a:pt x="6" y="233"/>
                      </a:lnTo>
                      <a:lnTo>
                        <a:pt x="5" y="233"/>
                      </a:lnTo>
                      <a:lnTo>
                        <a:pt x="3" y="233"/>
                      </a:lnTo>
                      <a:lnTo>
                        <a:pt x="3" y="231"/>
                      </a:lnTo>
                      <a:lnTo>
                        <a:pt x="3" y="230"/>
                      </a:lnTo>
                      <a:lnTo>
                        <a:pt x="1" y="228"/>
                      </a:lnTo>
                      <a:lnTo>
                        <a:pt x="1" y="226"/>
                      </a:lnTo>
                      <a:lnTo>
                        <a:pt x="3" y="226"/>
                      </a:lnTo>
                      <a:lnTo>
                        <a:pt x="3" y="225"/>
                      </a:lnTo>
                      <a:lnTo>
                        <a:pt x="1" y="225"/>
                      </a:lnTo>
                      <a:lnTo>
                        <a:pt x="3" y="225"/>
                      </a:lnTo>
                      <a:lnTo>
                        <a:pt x="5" y="225"/>
                      </a:lnTo>
                      <a:lnTo>
                        <a:pt x="5" y="223"/>
                      </a:lnTo>
                      <a:lnTo>
                        <a:pt x="6" y="223"/>
                      </a:lnTo>
                      <a:lnTo>
                        <a:pt x="6" y="221"/>
                      </a:lnTo>
                      <a:lnTo>
                        <a:pt x="8" y="221"/>
                      </a:lnTo>
                      <a:lnTo>
                        <a:pt x="10" y="220"/>
                      </a:lnTo>
                      <a:lnTo>
                        <a:pt x="8" y="220"/>
                      </a:lnTo>
                      <a:lnTo>
                        <a:pt x="10" y="218"/>
                      </a:lnTo>
                      <a:lnTo>
                        <a:pt x="10" y="216"/>
                      </a:lnTo>
                      <a:lnTo>
                        <a:pt x="10" y="215"/>
                      </a:lnTo>
                      <a:lnTo>
                        <a:pt x="10" y="213"/>
                      </a:lnTo>
                      <a:lnTo>
                        <a:pt x="12" y="213"/>
                      </a:lnTo>
                      <a:lnTo>
                        <a:pt x="20" y="213"/>
                      </a:lnTo>
                      <a:lnTo>
                        <a:pt x="44" y="213"/>
                      </a:lnTo>
                      <a:lnTo>
                        <a:pt x="44" y="211"/>
                      </a:lnTo>
                      <a:lnTo>
                        <a:pt x="45" y="213"/>
                      </a:lnTo>
                      <a:lnTo>
                        <a:pt x="45" y="211"/>
                      </a:lnTo>
                      <a:lnTo>
                        <a:pt x="47" y="211"/>
                      </a:lnTo>
                      <a:lnTo>
                        <a:pt x="47" y="210"/>
                      </a:lnTo>
                      <a:lnTo>
                        <a:pt x="47" y="208"/>
                      </a:lnTo>
                      <a:lnTo>
                        <a:pt x="49" y="208"/>
                      </a:lnTo>
                      <a:lnTo>
                        <a:pt x="49" y="207"/>
                      </a:lnTo>
                      <a:lnTo>
                        <a:pt x="49" y="205"/>
                      </a:lnTo>
                      <a:lnTo>
                        <a:pt x="50" y="205"/>
                      </a:lnTo>
                      <a:lnTo>
                        <a:pt x="49" y="205"/>
                      </a:lnTo>
                      <a:lnTo>
                        <a:pt x="50" y="205"/>
                      </a:lnTo>
                      <a:lnTo>
                        <a:pt x="50" y="203"/>
                      </a:lnTo>
                      <a:lnTo>
                        <a:pt x="50" y="202"/>
                      </a:lnTo>
                      <a:lnTo>
                        <a:pt x="50" y="200"/>
                      </a:lnTo>
                      <a:lnTo>
                        <a:pt x="52" y="198"/>
                      </a:lnTo>
                      <a:lnTo>
                        <a:pt x="52" y="197"/>
                      </a:lnTo>
                      <a:lnTo>
                        <a:pt x="54" y="197"/>
                      </a:lnTo>
                      <a:lnTo>
                        <a:pt x="52" y="197"/>
                      </a:lnTo>
                      <a:lnTo>
                        <a:pt x="54" y="195"/>
                      </a:lnTo>
                      <a:lnTo>
                        <a:pt x="54" y="193"/>
                      </a:lnTo>
                      <a:lnTo>
                        <a:pt x="52" y="192"/>
                      </a:lnTo>
                      <a:lnTo>
                        <a:pt x="54" y="192"/>
                      </a:lnTo>
                      <a:lnTo>
                        <a:pt x="54" y="190"/>
                      </a:lnTo>
                      <a:lnTo>
                        <a:pt x="54" y="188"/>
                      </a:lnTo>
                      <a:lnTo>
                        <a:pt x="55" y="188"/>
                      </a:lnTo>
                      <a:lnTo>
                        <a:pt x="57" y="188"/>
                      </a:lnTo>
                      <a:lnTo>
                        <a:pt x="59" y="188"/>
                      </a:lnTo>
                      <a:lnTo>
                        <a:pt x="60" y="188"/>
                      </a:lnTo>
                      <a:lnTo>
                        <a:pt x="60" y="187"/>
                      </a:lnTo>
                      <a:lnTo>
                        <a:pt x="60" y="185"/>
                      </a:lnTo>
                      <a:lnTo>
                        <a:pt x="62" y="185"/>
                      </a:lnTo>
                      <a:lnTo>
                        <a:pt x="64" y="185"/>
                      </a:lnTo>
                      <a:lnTo>
                        <a:pt x="64" y="184"/>
                      </a:lnTo>
                      <a:lnTo>
                        <a:pt x="66" y="184"/>
                      </a:lnTo>
                      <a:lnTo>
                        <a:pt x="66" y="182"/>
                      </a:lnTo>
                      <a:lnTo>
                        <a:pt x="66" y="180"/>
                      </a:lnTo>
                      <a:lnTo>
                        <a:pt x="66" y="179"/>
                      </a:lnTo>
                      <a:lnTo>
                        <a:pt x="66" y="177"/>
                      </a:lnTo>
                      <a:lnTo>
                        <a:pt x="67" y="177"/>
                      </a:lnTo>
                      <a:lnTo>
                        <a:pt x="67" y="175"/>
                      </a:lnTo>
                      <a:lnTo>
                        <a:pt x="66" y="174"/>
                      </a:lnTo>
                      <a:lnTo>
                        <a:pt x="66" y="172"/>
                      </a:lnTo>
                      <a:lnTo>
                        <a:pt x="64" y="170"/>
                      </a:lnTo>
                      <a:lnTo>
                        <a:pt x="66" y="170"/>
                      </a:lnTo>
                      <a:lnTo>
                        <a:pt x="66" y="169"/>
                      </a:lnTo>
                      <a:lnTo>
                        <a:pt x="66" y="167"/>
                      </a:lnTo>
                      <a:lnTo>
                        <a:pt x="66" y="165"/>
                      </a:lnTo>
                      <a:lnTo>
                        <a:pt x="67" y="164"/>
                      </a:lnTo>
                      <a:lnTo>
                        <a:pt x="67" y="162"/>
                      </a:lnTo>
                      <a:lnTo>
                        <a:pt x="69" y="164"/>
                      </a:lnTo>
                      <a:lnTo>
                        <a:pt x="69" y="162"/>
                      </a:lnTo>
                      <a:lnTo>
                        <a:pt x="71" y="162"/>
                      </a:lnTo>
                      <a:lnTo>
                        <a:pt x="71" y="161"/>
                      </a:lnTo>
                      <a:lnTo>
                        <a:pt x="72" y="161"/>
                      </a:lnTo>
                      <a:lnTo>
                        <a:pt x="72" y="159"/>
                      </a:lnTo>
                      <a:lnTo>
                        <a:pt x="72" y="157"/>
                      </a:lnTo>
                      <a:lnTo>
                        <a:pt x="74" y="157"/>
                      </a:lnTo>
                      <a:lnTo>
                        <a:pt x="76" y="157"/>
                      </a:lnTo>
                      <a:lnTo>
                        <a:pt x="76" y="156"/>
                      </a:lnTo>
                      <a:lnTo>
                        <a:pt x="77" y="156"/>
                      </a:lnTo>
                      <a:lnTo>
                        <a:pt x="79" y="154"/>
                      </a:lnTo>
                      <a:lnTo>
                        <a:pt x="79" y="152"/>
                      </a:lnTo>
                      <a:lnTo>
                        <a:pt x="79" y="151"/>
                      </a:lnTo>
                      <a:lnTo>
                        <a:pt x="79" y="149"/>
                      </a:lnTo>
                      <a:lnTo>
                        <a:pt x="77" y="149"/>
                      </a:lnTo>
                      <a:lnTo>
                        <a:pt x="77" y="147"/>
                      </a:lnTo>
                      <a:lnTo>
                        <a:pt x="79" y="147"/>
                      </a:lnTo>
                      <a:lnTo>
                        <a:pt x="81" y="149"/>
                      </a:lnTo>
                      <a:lnTo>
                        <a:pt x="82" y="149"/>
                      </a:lnTo>
                      <a:lnTo>
                        <a:pt x="84" y="149"/>
                      </a:lnTo>
                      <a:lnTo>
                        <a:pt x="86" y="147"/>
                      </a:lnTo>
                      <a:lnTo>
                        <a:pt x="86" y="146"/>
                      </a:lnTo>
                      <a:lnTo>
                        <a:pt x="88" y="146"/>
                      </a:lnTo>
                      <a:lnTo>
                        <a:pt x="88" y="144"/>
                      </a:lnTo>
                      <a:lnTo>
                        <a:pt x="86" y="144"/>
                      </a:lnTo>
                      <a:lnTo>
                        <a:pt x="86" y="142"/>
                      </a:lnTo>
                      <a:lnTo>
                        <a:pt x="86" y="141"/>
                      </a:lnTo>
                      <a:lnTo>
                        <a:pt x="86" y="139"/>
                      </a:lnTo>
                      <a:lnTo>
                        <a:pt x="88" y="138"/>
                      </a:lnTo>
                      <a:lnTo>
                        <a:pt x="89" y="138"/>
                      </a:lnTo>
                      <a:lnTo>
                        <a:pt x="89" y="136"/>
                      </a:lnTo>
                      <a:lnTo>
                        <a:pt x="89" y="134"/>
                      </a:lnTo>
                      <a:lnTo>
                        <a:pt x="88" y="134"/>
                      </a:lnTo>
                      <a:lnTo>
                        <a:pt x="89" y="134"/>
                      </a:lnTo>
                      <a:lnTo>
                        <a:pt x="89" y="133"/>
                      </a:lnTo>
                      <a:lnTo>
                        <a:pt x="91" y="133"/>
                      </a:lnTo>
                      <a:lnTo>
                        <a:pt x="89" y="131"/>
                      </a:lnTo>
                      <a:lnTo>
                        <a:pt x="91" y="131"/>
                      </a:lnTo>
                      <a:lnTo>
                        <a:pt x="91" y="129"/>
                      </a:lnTo>
                      <a:lnTo>
                        <a:pt x="89" y="129"/>
                      </a:lnTo>
                      <a:lnTo>
                        <a:pt x="89" y="128"/>
                      </a:lnTo>
                      <a:lnTo>
                        <a:pt x="88" y="128"/>
                      </a:lnTo>
                      <a:lnTo>
                        <a:pt x="89" y="128"/>
                      </a:lnTo>
                      <a:lnTo>
                        <a:pt x="89" y="126"/>
                      </a:lnTo>
                      <a:lnTo>
                        <a:pt x="89" y="128"/>
                      </a:lnTo>
                      <a:lnTo>
                        <a:pt x="91" y="128"/>
                      </a:lnTo>
                      <a:lnTo>
                        <a:pt x="89" y="126"/>
                      </a:lnTo>
                      <a:lnTo>
                        <a:pt x="91" y="126"/>
                      </a:lnTo>
                      <a:lnTo>
                        <a:pt x="91" y="124"/>
                      </a:lnTo>
                      <a:lnTo>
                        <a:pt x="89" y="124"/>
                      </a:lnTo>
                      <a:lnTo>
                        <a:pt x="88" y="124"/>
                      </a:lnTo>
                      <a:lnTo>
                        <a:pt x="88" y="123"/>
                      </a:lnTo>
                      <a:lnTo>
                        <a:pt x="89" y="123"/>
                      </a:lnTo>
                      <a:lnTo>
                        <a:pt x="89" y="121"/>
                      </a:lnTo>
                      <a:lnTo>
                        <a:pt x="89" y="120"/>
                      </a:lnTo>
                      <a:lnTo>
                        <a:pt x="89" y="118"/>
                      </a:lnTo>
                      <a:lnTo>
                        <a:pt x="89" y="120"/>
                      </a:lnTo>
                      <a:lnTo>
                        <a:pt x="88" y="118"/>
                      </a:lnTo>
                      <a:lnTo>
                        <a:pt x="88" y="116"/>
                      </a:lnTo>
                      <a:lnTo>
                        <a:pt x="88" y="115"/>
                      </a:lnTo>
                      <a:lnTo>
                        <a:pt x="86" y="115"/>
                      </a:lnTo>
                      <a:lnTo>
                        <a:pt x="88" y="115"/>
                      </a:lnTo>
                      <a:lnTo>
                        <a:pt x="86" y="113"/>
                      </a:lnTo>
                      <a:lnTo>
                        <a:pt x="84" y="113"/>
                      </a:lnTo>
                      <a:lnTo>
                        <a:pt x="84" y="111"/>
                      </a:lnTo>
                      <a:lnTo>
                        <a:pt x="82" y="111"/>
                      </a:lnTo>
                      <a:lnTo>
                        <a:pt x="82" y="110"/>
                      </a:lnTo>
                      <a:lnTo>
                        <a:pt x="81" y="110"/>
                      </a:lnTo>
                      <a:lnTo>
                        <a:pt x="81" y="108"/>
                      </a:lnTo>
                      <a:lnTo>
                        <a:pt x="81" y="110"/>
                      </a:lnTo>
                      <a:lnTo>
                        <a:pt x="81" y="108"/>
                      </a:lnTo>
                      <a:lnTo>
                        <a:pt x="79" y="108"/>
                      </a:lnTo>
                      <a:lnTo>
                        <a:pt x="77" y="108"/>
                      </a:lnTo>
                      <a:lnTo>
                        <a:pt x="77" y="106"/>
                      </a:lnTo>
                      <a:lnTo>
                        <a:pt x="76" y="106"/>
                      </a:lnTo>
                      <a:lnTo>
                        <a:pt x="77" y="106"/>
                      </a:lnTo>
                      <a:lnTo>
                        <a:pt x="77" y="105"/>
                      </a:lnTo>
                      <a:lnTo>
                        <a:pt x="76" y="105"/>
                      </a:lnTo>
                      <a:lnTo>
                        <a:pt x="76" y="103"/>
                      </a:lnTo>
                      <a:lnTo>
                        <a:pt x="77" y="103"/>
                      </a:lnTo>
                      <a:lnTo>
                        <a:pt x="77" y="101"/>
                      </a:lnTo>
                      <a:lnTo>
                        <a:pt x="79" y="101"/>
                      </a:lnTo>
                      <a:lnTo>
                        <a:pt x="81" y="100"/>
                      </a:lnTo>
                      <a:lnTo>
                        <a:pt x="79" y="100"/>
                      </a:lnTo>
                      <a:lnTo>
                        <a:pt x="77" y="100"/>
                      </a:lnTo>
                      <a:lnTo>
                        <a:pt x="77" y="98"/>
                      </a:lnTo>
                      <a:lnTo>
                        <a:pt x="76" y="98"/>
                      </a:lnTo>
                      <a:lnTo>
                        <a:pt x="76" y="97"/>
                      </a:lnTo>
                      <a:lnTo>
                        <a:pt x="74" y="97"/>
                      </a:lnTo>
                      <a:lnTo>
                        <a:pt x="72" y="97"/>
                      </a:lnTo>
                      <a:lnTo>
                        <a:pt x="72" y="95"/>
                      </a:lnTo>
                      <a:lnTo>
                        <a:pt x="71" y="95"/>
                      </a:lnTo>
                      <a:lnTo>
                        <a:pt x="72" y="95"/>
                      </a:lnTo>
                      <a:lnTo>
                        <a:pt x="72" y="93"/>
                      </a:lnTo>
                      <a:lnTo>
                        <a:pt x="71" y="93"/>
                      </a:lnTo>
                      <a:lnTo>
                        <a:pt x="71" y="92"/>
                      </a:lnTo>
                      <a:lnTo>
                        <a:pt x="69" y="92"/>
                      </a:lnTo>
                      <a:lnTo>
                        <a:pt x="67" y="92"/>
                      </a:lnTo>
                      <a:lnTo>
                        <a:pt x="67" y="90"/>
                      </a:lnTo>
                      <a:lnTo>
                        <a:pt x="67" y="88"/>
                      </a:lnTo>
                      <a:lnTo>
                        <a:pt x="66" y="90"/>
                      </a:lnTo>
                      <a:lnTo>
                        <a:pt x="66" y="88"/>
                      </a:lnTo>
                      <a:lnTo>
                        <a:pt x="66" y="90"/>
                      </a:lnTo>
                      <a:lnTo>
                        <a:pt x="64" y="90"/>
                      </a:lnTo>
                      <a:lnTo>
                        <a:pt x="64" y="88"/>
                      </a:lnTo>
                      <a:lnTo>
                        <a:pt x="62" y="88"/>
                      </a:lnTo>
                      <a:lnTo>
                        <a:pt x="62" y="90"/>
                      </a:lnTo>
                      <a:lnTo>
                        <a:pt x="60" y="90"/>
                      </a:lnTo>
                      <a:lnTo>
                        <a:pt x="60" y="88"/>
                      </a:lnTo>
                      <a:lnTo>
                        <a:pt x="59" y="88"/>
                      </a:lnTo>
                      <a:lnTo>
                        <a:pt x="60" y="88"/>
                      </a:lnTo>
                      <a:lnTo>
                        <a:pt x="59" y="88"/>
                      </a:lnTo>
                      <a:lnTo>
                        <a:pt x="59" y="87"/>
                      </a:lnTo>
                      <a:lnTo>
                        <a:pt x="60" y="87"/>
                      </a:lnTo>
                      <a:lnTo>
                        <a:pt x="59" y="85"/>
                      </a:lnTo>
                      <a:lnTo>
                        <a:pt x="60" y="85"/>
                      </a:lnTo>
                      <a:lnTo>
                        <a:pt x="60" y="83"/>
                      </a:lnTo>
                      <a:lnTo>
                        <a:pt x="69" y="83"/>
                      </a:lnTo>
                      <a:lnTo>
                        <a:pt x="71" y="83"/>
                      </a:lnTo>
                      <a:lnTo>
                        <a:pt x="71" y="85"/>
                      </a:lnTo>
                      <a:lnTo>
                        <a:pt x="72" y="85"/>
                      </a:lnTo>
                      <a:lnTo>
                        <a:pt x="72" y="87"/>
                      </a:lnTo>
                      <a:lnTo>
                        <a:pt x="74" y="87"/>
                      </a:lnTo>
                      <a:lnTo>
                        <a:pt x="81" y="87"/>
                      </a:lnTo>
                      <a:lnTo>
                        <a:pt x="82" y="87"/>
                      </a:lnTo>
                      <a:lnTo>
                        <a:pt x="86" y="87"/>
                      </a:lnTo>
                      <a:lnTo>
                        <a:pt x="88" y="87"/>
                      </a:lnTo>
                      <a:lnTo>
                        <a:pt x="88" y="85"/>
                      </a:lnTo>
                      <a:lnTo>
                        <a:pt x="88" y="87"/>
                      </a:lnTo>
                      <a:lnTo>
                        <a:pt x="89" y="87"/>
                      </a:lnTo>
                      <a:lnTo>
                        <a:pt x="89" y="85"/>
                      </a:lnTo>
                      <a:lnTo>
                        <a:pt x="91" y="85"/>
                      </a:lnTo>
                      <a:lnTo>
                        <a:pt x="91" y="83"/>
                      </a:lnTo>
                      <a:lnTo>
                        <a:pt x="89" y="83"/>
                      </a:lnTo>
                      <a:lnTo>
                        <a:pt x="89" y="82"/>
                      </a:lnTo>
                      <a:lnTo>
                        <a:pt x="88" y="80"/>
                      </a:lnTo>
                      <a:lnTo>
                        <a:pt x="88" y="77"/>
                      </a:lnTo>
                      <a:lnTo>
                        <a:pt x="88" y="74"/>
                      </a:lnTo>
                      <a:lnTo>
                        <a:pt x="88" y="72"/>
                      </a:lnTo>
                      <a:lnTo>
                        <a:pt x="86" y="72"/>
                      </a:lnTo>
                      <a:lnTo>
                        <a:pt x="84" y="72"/>
                      </a:lnTo>
                      <a:lnTo>
                        <a:pt x="82" y="70"/>
                      </a:lnTo>
                      <a:lnTo>
                        <a:pt x="81" y="70"/>
                      </a:lnTo>
                      <a:lnTo>
                        <a:pt x="79" y="70"/>
                      </a:lnTo>
                      <a:lnTo>
                        <a:pt x="79" y="69"/>
                      </a:lnTo>
                      <a:lnTo>
                        <a:pt x="79" y="70"/>
                      </a:lnTo>
                      <a:lnTo>
                        <a:pt x="79" y="69"/>
                      </a:lnTo>
                      <a:lnTo>
                        <a:pt x="77" y="69"/>
                      </a:lnTo>
                      <a:lnTo>
                        <a:pt x="77" y="67"/>
                      </a:lnTo>
                      <a:lnTo>
                        <a:pt x="79" y="67"/>
                      </a:lnTo>
                      <a:lnTo>
                        <a:pt x="79" y="65"/>
                      </a:lnTo>
                      <a:lnTo>
                        <a:pt x="81" y="54"/>
                      </a:lnTo>
                      <a:lnTo>
                        <a:pt x="81" y="52"/>
                      </a:lnTo>
                      <a:lnTo>
                        <a:pt x="66" y="51"/>
                      </a:lnTo>
                      <a:lnTo>
                        <a:pt x="66" y="49"/>
                      </a:lnTo>
                      <a:lnTo>
                        <a:pt x="67" y="47"/>
                      </a:lnTo>
                      <a:lnTo>
                        <a:pt x="69" y="47"/>
                      </a:lnTo>
                      <a:lnTo>
                        <a:pt x="67" y="47"/>
                      </a:lnTo>
                      <a:lnTo>
                        <a:pt x="67" y="46"/>
                      </a:lnTo>
                      <a:lnTo>
                        <a:pt x="67" y="44"/>
                      </a:lnTo>
                      <a:lnTo>
                        <a:pt x="67" y="46"/>
                      </a:lnTo>
                      <a:lnTo>
                        <a:pt x="69" y="44"/>
                      </a:lnTo>
                      <a:lnTo>
                        <a:pt x="69" y="42"/>
                      </a:lnTo>
                      <a:lnTo>
                        <a:pt x="69" y="41"/>
                      </a:lnTo>
                      <a:lnTo>
                        <a:pt x="67" y="41"/>
                      </a:lnTo>
                      <a:lnTo>
                        <a:pt x="67" y="39"/>
                      </a:lnTo>
                      <a:lnTo>
                        <a:pt x="67" y="37"/>
                      </a:lnTo>
                      <a:lnTo>
                        <a:pt x="69" y="37"/>
                      </a:lnTo>
                      <a:lnTo>
                        <a:pt x="69" y="36"/>
                      </a:lnTo>
                      <a:lnTo>
                        <a:pt x="71" y="36"/>
                      </a:lnTo>
                      <a:lnTo>
                        <a:pt x="72" y="34"/>
                      </a:lnTo>
                      <a:lnTo>
                        <a:pt x="74" y="32"/>
                      </a:lnTo>
                      <a:lnTo>
                        <a:pt x="72" y="32"/>
                      </a:lnTo>
                      <a:lnTo>
                        <a:pt x="74" y="32"/>
                      </a:lnTo>
                      <a:lnTo>
                        <a:pt x="72" y="31"/>
                      </a:lnTo>
                      <a:lnTo>
                        <a:pt x="74" y="31"/>
                      </a:lnTo>
                      <a:lnTo>
                        <a:pt x="72" y="29"/>
                      </a:lnTo>
                      <a:lnTo>
                        <a:pt x="74" y="29"/>
                      </a:lnTo>
                      <a:lnTo>
                        <a:pt x="74" y="28"/>
                      </a:lnTo>
                      <a:lnTo>
                        <a:pt x="76" y="26"/>
                      </a:lnTo>
                      <a:lnTo>
                        <a:pt x="77" y="26"/>
                      </a:lnTo>
                      <a:lnTo>
                        <a:pt x="77" y="24"/>
                      </a:lnTo>
                      <a:lnTo>
                        <a:pt x="77" y="26"/>
                      </a:lnTo>
                      <a:lnTo>
                        <a:pt x="77" y="24"/>
                      </a:lnTo>
                      <a:lnTo>
                        <a:pt x="79" y="24"/>
                      </a:lnTo>
                      <a:lnTo>
                        <a:pt x="79" y="26"/>
                      </a:lnTo>
                      <a:lnTo>
                        <a:pt x="81" y="24"/>
                      </a:lnTo>
                      <a:lnTo>
                        <a:pt x="82" y="26"/>
                      </a:lnTo>
                      <a:lnTo>
                        <a:pt x="82" y="24"/>
                      </a:lnTo>
                      <a:lnTo>
                        <a:pt x="84" y="26"/>
                      </a:lnTo>
                      <a:lnTo>
                        <a:pt x="84" y="24"/>
                      </a:lnTo>
                      <a:lnTo>
                        <a:pt x="84" y="23"/>
                      </a:lnTo>
                      <a:lnTo>
                        <a:pt x="86" y="23"/>
                      </a:lnTo>
                      <a:lnTo>
                        <a:pt x="86" y="24"/>
                      </a:lnTo>
                      <a:lnTo>
                        <a:pt x="88" y="24"/>
                      </a:lnTo>
                      <a:lnTo>
                        <a:pt x="88" y="23"/>
                      </a:lnTo>
                      <a:lnTo>
                        <a:pt x="88" y="21"/>
                      </a:lnTo>
                      <a:lnTo>
                        <a:pt x="88" y="23"/>
                      </a:lnTo>
                      <a:lnTo>
                        <a:pt x="89" y="23"/>
                      </a:lnTo>
                      <a:lnTo>
                        <a:pt x="89" y="21"/>
                      </a:lnTo>
                      <a:lnTo>
                        <a:pt x="91" y="21"/>
                      </a:lnTo>
                      <a:lnTo>
                        <a:pt x="93" y="21"/>
                      </a:lnTo>
                      <a:lnTo>
                        <a:pt x="93" y="19"/>
                      </a:lnTo>
                      <a:lnTo>
                        <a:pt x="93" y="21"/>
                      </a:lnTo>
                      <a:lnTo>
                        <a:pt x="94" y="21"/>
                      </a:lnTo>
                      <a:lnTo>
                        <a:pt x="96" y="21"/>
                      </a:lnTo>
                      <a:lnTo>
                        <a:pt x="96" y="23"/>
                      </a:lnTo>
                      <a:lnTo>
                        <a:pt x="98" y="23"/>
                      </a:lnTo>
                      <a:lnTo>
                        <a:pt x="98" y="24"/>
                      </a:lnTo>
                      <a:lnTo>
                        <a:pt x="98" y="23"/>
                      </a:lnTo>
                      <a:lnTo>
                        <a:pt x="99" y="24"/>
                      </a:lnTo>
                      <a:lnTo>
                        <a:pt x="101" y="24"/>
                      </a:lnTo>
                      <a:lnTo>
                        <a:pt x="103" y="24"/>
                      </a:lnTo>
                      <a:lnTo>
                        <a:pt x="104" y="24"/>
                      </a:lnTo>
                      <a:lnTo>
                        <a:pt x="104" y="23"/>
                      </a:lnTo>
                      <a:lnTo>
                        <a:pt x="104" y="21"/>
                      </a:lnTo>
                      <a:lnTo>
                        <a:pt x="104" y="19"/>
                      </a:lnTo>
                      <a:lnTo>
                        <a:pt x="93" y="9"/>
                      </a:lnTo>
                      <a:lnTo>
                        <a:pt x="93" y="8"/>
                      </a:lnTo>
                      <a:lnTo>
                        <a:pt x="94" y="6"/>
                      </a:lnTo>
                      <a:lnTo>
                        <a:pt x="94" y="8"/>
                      </a:lnTo>
                      <a:lnTo>
                        <a:pt x="96" y="8"/>
                      </a:lnTo>
                      <a:lnTo>
                        <a:pt x="98" y="8"/>
                      </a:lnTo>
                      <a:lnTo>
                        <a:pt x="98" y="6"/>
                      </a:lnTo>
                      <a:lnTo>
                        <a:pt x="99" y="6"/>
                      </a:lnTo>
                      <a:lnTo>
                        <a:pt x="101" y="6"/>
                      </a:lnTo>
                      <a:lnTo>
                        <a:pt x="101" y="5"/>
                      </a:lnTo>
                      <a:lnTo>
                        <a:pt x="101" y="6"/>
                      </a:lnTo>
                      <a:lnTo>
                        <a:pt x="103" y="6"/>
                      </a:lnTo>
                      <a:lnTo>
                        <a:pt x="103" y="8"/>
                      </a:lnTo>
                      <a:lnTo>
                        <a:pt x="104" y="8"/>
                      </a:lnTo>
                      <a:lnTo>
                        <a:pt x="106" y="8"/>
                      </a:lnTo>
                      <a:lnTo>
                        <a:pt x="104" y="9"/>
                      </a:lnTo>
                      <a:lnTo>
                        <a:pt x="106" y="9"/>
                      </a:lnTo>
                      <a:lnTo>
                        <a:pt x="106" y="11"/>
                      </a:lnTo>
                      <a:lnTo>
                        <a:pt x="106" y="9"/>
                      </a:lnTo>
                      <a:lnTo>
                        <a:pt x="108" y="9"/>
                      </a:lnTo>
                      <a:lnTo>
                        <a:pt x="109" y="9"/>
                      </a:lnTo>
                      <a:lnTo>
                        <a:pt x="109" y="11"/>
                      </a:lnTo>
                      <a:lnTo>
                        <a:pt x="111" y="11"/>
                      </a:lnTo>
                      <a:lnTo>
                        <a:pt x="109" y="11"/>
                      </a:lnTo>
                      <a:lnTo>
                        <a:pt x="111" y="11"/>
                      </a:lnTo>
                      <a:lnTo>
                        <a:pt x="113" y="11"/>
                      </a:lnTo>
                      <a:lnTo>
                        <a:pt x="115" y="11"/>
                      </a:lnTo>
                      <a:lnTo>
                        <a:pt x="116" y="11"/>
                      </a:lnTo>
                      <a:lnTo>
                        <a:pt x="116" y="9"/>
                      </a:lnTo>
                      <a:lnTo>
                        <a:pt x="118" y="9"/>
                      </a:lnTo>
                      <a:lnTo>
                        <a:pt x="118" y="8"/>
                      </a:lnTo>
                      <a:lnTo>
                        <a:pt x="118" y="6"/>
                      </a:lnTo>
                      <a:lnTo>
                        <a:pt x="120" y="6"/>
                      </a:lnTo>
                      <a:lnTo>
                        <a:pt x="118" y="6"/>
                      </a:lnTo>
                      <a:lnTo>
                        <a:pt x="120" y="6"/>
                      </a:lnTo>
                      <a:lnTo>
                        <a:pt x="120" y="5"/>
                      </a:lnTo>
                      <a:lnTo>
                        <a:pt x="121" y="3"/>
                      </a:lnTo>
                      <a:lnTo>
                        <a:pt x="121" y="5"/>
                      </a:lnTo>
                      <a:lnTo>
                        <a:pt x="121" y="3"/>
                      </a:lnTo>
                      <a:lnTo>
                        <a:pt x="121" y="1"/>
                      </a:lnTo>
                      <a:lnTo>
                        <a:pt x="123" y="1"/>
                      </a:lnTo>
                      <a:lnTo>
                        <a:pt x="125" y="1"/>
                      </a:lnTo>
                      <a:lnTo>
                        <a:pt x="126" y="1"/>
                      </a:lnTo>
                      <a:lnTo>
                        <a:pt x="126" y="0"/>
                      </a:lnTo>
                      <a:lnTo>
                        <a:pt x="128" y="0"/>
                      </a:lnTo>
                      <a:lnTo>
                        <a:pt x="130" y="1"/>
                      </a:lnTo>
                      <a:lnTo>
                        <a:pt x="131" y="1"/>
                      </a:lnTo>
                      <a:lnTo>
                        <a:pt x="131" y="3"/>
                      </a:lnTo>
                      <a:lnTo>
                        <a:pt x="133" y="3"/>
                      </a:lnTo>
                      <a:lnTo>
                        <a:pt x="135" y="3"/>
                      </a:lnTo>
                      <a:lnTo>
                        <a:pt x="136" y="3"/>
                      </a:lnTo>
                      <a:lnTo>
                        <a:pt x="138" y="3"/>
                      </a:lnTo>
                      <a:lnTo>
                        <a:pt x="140" y="3"/>
                      </a:lnTo>
                      <a:lnTo>
                        <a:pt x="142" y="3"/>
                      </a:lnTo>
                      <a:lnTo>
                        <a:pt x="143" y="3"/>
                      </a:lnTo>
                      <a:lnTo>
                        <a:pt x="145" y="3"/>
                      </a:lnTo>
                      <a:lnTo>
                        <a:pt x="147" y="3"/>
                      </a:lnTo>
                      <a:lnTo>
                        <a:pt x="147" y="5"/>
                      </a:lnTo>
                      <a:lnTo>
                        <a:pt x="148" y="5"/>
                      </a:lnTo>
                      <a:lnTo>
                        <a:pt x="150" y="5"/>
                      </a:lnTo>
                      <a:lnTo>
                        <a:pt x="150" y="6"/>
                      </a:lnTo>
                      <a:lnTo>
                        <a:pt x="152" y="6"/>
                      </a:lnTo>
                      <a:lnTo>
                        <a:pt x="153" y="6"/>
                      </a:lnTo>
                      <a:lnTo>
                        <a:pt x="153" y="8"/>
                      </a:lnTo>
                      <a:lnTo>
                        <a:pt x="155" y="8"/>
                      </a:lnTo>
                      <a:lnTo>
                        <a:pt x="157" y="8"/>
                      </a:lnTo>
                      <a:close/>
                      <a:moveTo>
                        <a:pt x="106" y="280"/>
                      </a:moveTo>
                      <a:lnTo>
                        <a:pt x="106" y="279"/>
                      </a:lnTo>
                      <a:lnTo>
                        <a:pt x="106" y="280"/>
                      </a:lnTo>
                      <a:close/>
                      <a:moveTo>
                        <a:pt x="108" y="272"/>
                      </a:moveTo>
                      <a:lnTo>
                        <a:pt x="109" y="272"/>
                      </a:lnTo>
                      <a:lnTo>
                        <a:pt x="108" y="272"/>
                      </a:lnTo>
                      <a:close/>
                      <a:moveTo>
                        <a:pt x="135" y="253"/>
                      </a:moveTo>
                      <a:lnTo>
                        <a:pt x="136" y="253"/>
                      </a:lnTo>
                      <a:lnTo>
                        <a:pt x="135" y="253"/>
                      </a:lnTo>
                      <a:close/>
                      <a:moveTo>
                        <a:pt x="135" y="253"/>
                      </a:moveTo>
                      <a:lnTo>
                        <a:pt x="136" y="253"/>
                      </a:lnTo>
                      <a:lnTo>
                        <a:pt x="135" y="253"/>
                      </a:lnTo>
                      <a:close/>
                      <a:moveTo>
                        <a:pt x="152" y="225"/>
                      </a:moveTo>
                      <a:lnTo>
                        <a:pt x="152" y="223"/>
                      </a:lnTo>
                      <a:lnTo>
                        <a:pt x="152" y="225"/>
                      </a:lnTo>
                      <a:close/>
                      <a:moveTo>
                        <a:pt x="150" y="228"/>
                      </a:moveTo>
                      <a:lnTo>
                        <a:pt x="152" y="228"/>
                      </a:lnTo>
                      <a:lnTo>
                        <a:pt x="150" y="228"/>
                      </a:lnTo>
                      <a:close/>
                      <a:moveTo>
                        <a:pt x="150" y="230"/>
                      </a:moveTo>
                      <a:lnTo>
                        <a:pt x="148" y="230"/>
                      </a:lnTo>
                      <a:lnTo>
                        <a:pt x="150" y="230"/>
                      </a:lnTo>
                      <a:close/>
                      <a:moveTo>
                        <a:pt x="147" y="216"/>
                      </a:moveTo>
                      <a:lnTo>
                        <a:pt x="148" y="216"/>
                      </a:lnTo>
                      <a:lnTo>
                        <a:pt x="147" y="216"/>
                      </a:lnTo>
                      <a:lnTo>
                        <a:pt x="147" y="218"/>
                      </a:lnTo>
                      <a:lnTo>
                        <a:pt x="147" y="220"/>
                      </a:lnTo>
                      <a:lnTo>
                        <a:pt x="145" y="220"/>
                      </a:lnTo>
                      <a:lnTo>
                        <a:pt x="145" y="221"/>
                      </a:lnTo>
                      <a:lnTo>
                        <a:pt x="143" y="223"/>
                      </a:lnTo>
                      <a:lnTo>
                        <a:pt x="145" y="221"/>
                      </a:lnTo>
                      <a:lnTo>
                        <a:pt x="145" y="220"/>
                      </a:lnTo>
                      <a:lnTo>
                        <a:pt x="147" y="220"/>
                      </a:lnTo>
                      <a:lnTo>
                        <a:pt x="147" y="218"/>
                      </a:lnTo>
                      <a:lnTo>
                        <a:pt x="147" y="216"/>
                      </a:lnTo>
                      <a:lnTo>
                        <a:pt x="148" y="216"/>
                      </a:lnTo>
                      <a:lnTo>
                        <a:pt x="147" y="216"/>
                      </a:lnTo>
                      <a:close/>
                      <a:moveTo>
                        <a:pt x="147" y="216"/>
                      </a:moveTo>
                      <a:lnTo>
                        <a:pt x="145" y="216"/>
                      </a:lnTo>
                      <a:lnTo>
                        <a:pt x="147" y="216"/>
                      </a:lnTo>
                      <a:lnTo>
                        <a:pt x="147" y="218"/>
                      </a:lnTo>
                      <a:lnTo>
                        <a:pt x="145" y="218"/>
                      </a:lnTo>
                      <a:lnTo>
                        <a:pt x="147" y="218"/>
                      </a:lnTo>
                      <a:lnTo>
                        <a:pt x="147" y="216"/>
                      </a:lnTo>
                      <a:lnTo>
                        <a:pt x="145" y="216"/>
                      </a:lnTo>
                      <a:lnTo>
                        <a:pt x="147" y="216"/>
                      </a:lnTo>
                      <a:close/>
                      <a:moveTo>
                        <a:pt x="148" y="223"/>
                      </a:moveTo>
                      <a:lnTo>
                        <a:pt x="147" y="223"/>
                      </a:lnTo>
                      <a:lnTo>
                        <a:pt x="145" y="223"/>
                      </a:lnTo>
                      <a:lnTo>
                        <a:pt x="145" y="225"/>
                      </a:lnTo>
                      <a:lnTo>
                        <a:pt x="143" y="223"/>
                      </a:lnTo>
                      <a:lnTo>
                        <a:pt x="145" y="225"/>
                      </a:lnTo>
                      <a:lnTo>
                        <a:pt x="145" y="223"/>
                      </a:lnTo>
                      <a:lnTo>
                        <a:pt x="147" y="223"/>
                      </a:lnTo>
                      <a:lnTo>
                        <a:pt x="148" y="223"/>
                      </a:lnTo>
                      <a:close/>
                      <a:moveTo>
                        <a:pt x="143" y="223"/>
                      </a:moveTo>
                      <a:lnTo>
                        <a:pt x="143" y="221"/>
                      </a:lnTo>
                      <a:lnTo>
                        <a:pt x="143" y="223"/>
                      </a:lnTo>
                      <a:close/>
                      <a:moveTo>
                        <a:pt x="143" y="223"/>
                      </a:moveTo>
                      <a:lnTo>
                        <a:pt x="143" y="221"/>
                      </a:lnTo>
                      <a:lnTo>
                        <a:pt x="143" y="223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41" name="Freeform 11"/>
                <p:cNvSpPr>
                  <a:spLocks noChangeAspect="1" noEditPoints="1"/>
                </p:cNvSpPr>
                <p:nvPr/>
              </p:nvSpPr>
              <p:spPr bwMode="auto">
                <a:xfrm>
                  <a:off x="5577895" y="4480237"/>
                  <a:ext cx="581827" cy="404818"/>
                </a:xfrm>
                <a:custGeom>
                  <a:avLst/>
                  <a:gdLst>
                    <a:gd name="T0" fmla="*/ 2147483647 w 374"/>
                    <a:gd name="T1" fmla="*/ 2147483647 h 241"/>
                    <a:gd name="T2" fmla="*/ 2147483647 w 374"/>
                    <a:gd name="T3" fmla="*/ 2147483647 h 241"/>
                    <a:gd name="T4" fmla="*/ 2147483647 w 374"/>
                    <a:gd name="T5" fmla="*/ 2147483647 h 241"/>
                    <a:gd name="T6" fmla="*/ 2147483647 w 374"/>
                    <a:gd name="T7" fmla="*/ 2147483647 h 241"/>
                    <a:gd name="T8" fmla="*/ 2147483647 w 374"/>
                    <a:gd name="T9" fmla="*/ 2147483647 h 241"/>
                    <a:gd name="T10" fmla="*/ 2147483647 w 374"/>
                    <a:gd name="T11" fmla="*/ 2147483647 h 241"/>
                    <a:gd name="T12" fmla="*/ 2147483647 w 374"/>
                    <a:gd name="T13" fmla="*/ 2147483647 h 241"/>
                    <a:gd name="T14" fmla="*/ 2147483647 w 374"/>
                    <a:gd name="T15" fmla="*/ 2147483647 h 241"/>
                    <a:gd name="T16" fmla="*/ 2147483647 w 374"/>
                    <a:gd name="T17" fmla="*/ 2147483647 h 241"/>
                    <a:gd name="T18" fmla="*/ 2147483647 w 374"/>
                    <a:gd name="T19" fmla="*/ 2147483647 h 241"/>
                    <a:gd name="T20" fmla="*/ 2147483647 w 374"/>
                    <a:gd name="T21" fmla="*/ 2147483647 h 241"/>
                    <a:gd name="T22" fmla="*/ 2147483647 w 374"/>
                    <a:gd name="T23" fmla="*/ 2147483647 h 241"/>
                    <a:gd name="T24" fmla="*/ 2147483647 w 374"/>
                    <a:gd name="T25" fmla="*/ 2147483647 h 241"/>
                    <a:gd name="T26" fmla="*/ 2147483647 w 374"/>
                    <a:gd name="T27" fmla="*/ 2147483647 h 241"/>
                    <a:gd name="T28" fmla="*/ 2147483647 w 374"/>
                    <a:gd name="T29" fmla="*/ 2147483647 h 241"/>
                    <a:gd name="T30" fmla="*/ 2147483647 w 374"/>
                    <a:gd name="T31" fmla="*/ 2147483647 h 241"/>
                    <a:gd name="T32" fmla="*/ 2147483647 w 374"/>
                    <a:gd name="T33" fmla="*/ 2147483647 h 241"/>
                    <a:gd name="T34" fmla="*/ 2147483647 w 374"/>
                    <a:gd name="T35" fmla="*/ 2147483647 h 241"/>
                    <a:gd name="T36" fmla="*/ 2147483647 w 374"/>
                    <a:gd name="T37" fmla="*/ 2147483647 h 241"/>
                    <a:gd name="T38" fmla="*/ 2147483647 w 374"/>
                    <a:gd name="T39" fmla="*/ 2147483647 h 241"/>
                    <a:gd name="T40" fmla="*/ 2147483647 w 374"/>
                    <a:gd name="T41" fmla="*/ 2147483647 h 241"/>
                    <a:gd name="T42" fmla="*/ 2147483647 w 374"/>
                    <a:gd name="T43" fmla="*/ 2147483647 h 241"/>
                    <a:gd name="T44" fmla="*/ 2147483647 w 374"/>
                    <a:gd name="T45" fmla="*/ 2147483647 h 241"/>
                    <a:gd name="T46" fmla="*/ 2147483647 w 374"/>
                    <a:gd name="T47" fmla="*/ 2147483647 h 241"/>
                    <a:gd name="T48" fmla="*/ 2147483647 w 374"/>
                    <a:gd name="T49" fmla="*/ 2147483647 h 241"/>
                    <a:gd name="T50" fmla="*/ 2147483647 w 374"/>
                    <a:gd name="T51" fmla="*/ 2147483647 h 241"/>
                    <a:gd name="T52" fmla="*/ 2147483647 w 374"/>
                    <a:gd name="T53" fmla="*/ 2147483647 h 241"/>
                    <a:gd name="T54" fmla="*/ 2147483647 w 374"/>
                    <a:gd name="T55" fmla="*/ 2147483647 h 241"/>
                    <a:gd name="T56" fmla="*/ 2147483647 w 374"/>
                    <a:gd name="T57" fmla="*/ 2147483647 h 241"/>
                    <a:gd name="T58" fmla="*/ 2147483647 w 374"/>
                    <a:gd name="T59" fmla="*/ 2147483647 h 241"/>
                    <a:gd name="T60" fmla="*/ 2147483647 w 374"/>
                    <a:gd name="T61" fmla="*/ 2147483647 h 241"/>
                    <a:gd name="T62" fmla="*/ 2147483647 w 374"/>
                    <a:gd name="T63" fmla="*/ 2147483647 h 241"/>
                    <a:gd name="T64" fmla="*/ 2147483647 w 374"/>
                    <a:gd name="T65" fmla="*/ 2147483647 h 241"/>
                    <a:gd name="T66" fmla="*/ 2147483647 w 374"/>
                    <a:gd name="T67" fmla="*/ 2147483647 h 241"/>
                    <a:gd name="T68" fmla="*/ 2147483647 w 374"/>
                    <a:gd name="T69" fmla="*/ 2147483647 h 241"/>
                    <a:gd name="T70" fmla="*/ 2147483647 w 374"/>
                    <a:gd name="T71" fmla="*/ 2147483647 h 241"/>
                    <a:gd name="T72" fmla="*/ 2147483647 w 374"/>
                    <a:gd name="T73" fmla="*/ 2147483647 h 241"/>
                    <a:gd name="T74" fmla="*/ 2147483647 w 374"/>
                    <a:gd name="T75" fmla="*/ 2147483647 h 241"/>
                    <a:gd name="T76" fmla="*/ 2147483647 w 374"/>
                    <a:gd name="T77" fmla="*/ 2147483647 h 241"/>
                    <a:gd name="T78" fmla="*/ 2147483647 w 374"/>
                    <a:gd name="T79" fmla="*/ 2147483647 h 241"/>
                    <a:gd name="T80" fmla="*/ 2147483647 w 374"/>
                    <a:gd name="T81" fmla="*/ 2147483647 h 241"/>
                    <a:gd name="T82" fmla="*/ 2147483647 w 374"/>
                    <a:gd name="T83" fmla="*/ 2147483647 h 241"/>
                    <a:gd name="T84" fmla="*/ 2147483647 w 374"/>
                    <a:gd name="T85" fmla="*/ 2147483647 h 241"/>
                    <a:gd name="T86" fmla="*/ 2147483647 w 374"/>
                    <a:gd name="T87" fmla="*/ 2147483647 h 241"/>
                    <a:gd name="T88" fmla="*/ 2147483647 w 374"/>
                    <a:gd name="T89" fmla="*/ 2147483647 h 241"/>
                    <a:gd name="T90" fmla="*/ 2147483647 w 374"/>
                    <a:gd name="T91" fmla="*/ 2147483647 h 241"/>
                    <a:gd name="T92" fmla="*/ 2147483647 w 374"/>
                    <a:gd name="T93" fmla="*/ 2147483647 h 241"/>
                    <a:gd name="T94" fmla="*/ 2147483647 w 374"/>
                    <a:gd name="T95" fmla="*/ 2147483647 h 241"/>
                    <a:gd name="T96" fmla="*/ 2147483647 w 374"/>
                    <a:gd name="T97" fmla="*/ 2147483647 h 241"/>
                    <a:gd name="T98" fmla="*/ 2147483647 w 374"/>
                    <a:gd name="T99" fmla="*/ 2147483647 h 241"/>
                    <a:gd name="T100" fmla="*/ 2147483647 w 374"/>
                    <a:gd name="T101" fmla="*/ 2147483647 h 241"/>
                    <a:gd name="T102" fmla="*/ 2147483647 w 374"/>
                    <a:gd name="T103" fmla="*/ 2147483647 h 241"/>
                    <a:gd name="T104" fmla="*/ 2147483647 w 374"/>
                    <a:gd name="T105" fmla="*/ 2147483647 h 241"/>
                    <a:gd name="T106" fmla="*/ 2147483647 w 374"/>
                    <a:gd name="T107" fmla="*/ 2147483647 h 241"/>
                    <a:gd name="T108" fmla="*/ 2147483647 w 374"/>
                    <a:gd name="T109" fmla="*/ 2147483647 h 241"/>
                    <a:gd name="T110" fmla="*/ 2147483647 w 374"/>
                    <a:gd name="T111" fmla="*/ 2147483647 h 241"/>
                    <a:gd name="T112" fmla="*/ 2147483647 w 374"/>
                    <a:gd name="T113" fmla="*/ 2147483647 h 241"/>
                    <a:gd name="T114" fmla="*/ 2147483647 w 374"/>
                    <a:gd name="T115" fmla="*/ 2147483647 h 241"/>
                    <a:gd name="T116" fmla="*/ 2147483647 w 374"/>
                    <a:gd name="T117" fmla="*/ 2147483647 h 241"/>
                    <a:gd name="T118" fmla="*/ 2147483647 w 374"/>
                    <a:gd name="T119" fmla="*/ 2147483647 h 241"/>
                    <a:gd name="T120" fmla="*/ 2147483647 w 374"/>
                    <a:gd name="T121" fmla="*/ 2147483647 h 241"/>
                    <a:gd name="T122" fmla="*/ 2147483647 w 374"/>
                    <a:gd name="T123" fmla="*/ 2147483647 h 24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74"/>
                    <a:gd name="T187" fmla="*/ 0 h 241"/>
                    <a:gd name="T188" fmla="*/ 374 w 374"/>
                    <a:gd name="T189" fmla="*/ 241 h 24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74" h="241">
                      <a:moveTo>
                        <a:pt x="325" y="41"/>
                      </a:moveTo>
                      <a:lnTo>
                        <a:pt x="326" y="41"/>
                      </a:lnTo>
                      <a:lnTo>
                        <a:pt x="326" y="43"/>
                      </a:lnTo>
                      <a:lnTo>
                        <a:pt x="328" y="43"/>
                      </a:lnTo>
                      <a:lnTo>
                        <a:pt x="328" y="41"/>
                      </a:lnTo>
                      <a:lnTo>
                        <a:pt x="330" y="41"/>
                      </a:lnTo>
                      <a:lnTo>
                        <a:pt x="331" y="41"/>
                      </a:lnTo>
                      <a:lnTo>
                        <a:pt x="333" y="41"/>
                      </a:lnTo>
                      <a:lnTo>
                        <a:pt x="335" y="41"/>
                      </a:lnTo>
                      <a:lnTo>
                        <a:pt x="336" y="41"/>
                      </a:lnTo>
                      <a:lnTo>
                        <a:pt x="336" y="43"/>
                      </a:lnTo>
                      <a:lnTo>
                        <a:pt x="338" y="43"/>
                      </a:lnTo>
                      <a:lnTo>
                        <a:pt x="340" y="43"/>
                      </a:lnTo>
                      <a:lnTo>
                        <a:pt x="340" y="44"/>
                      </a:lnTo>
                      <a:lnTo>
                        <a:pt x="341" y="44"/>
                      </a:lnTo>
                      <a:lnTo>
                        <a:pt x="343" y="44"/>
                      </a:lnTo>
                      <a:lnTo>
                        <a:pt x="345" y="43"/>
                      </a:lnTo>
                      <a:lnTo>
                        <a:pt x="346" y="43"/>
                      </a:lnTo>
                      <a:lnTo>
                        <a:pt x="346" y="44"/>
                      </a:lnTo>
                      <a:lnTo>
                        <a:pt x="346" y="43"/>
                      </a:lnTo>
                      <a:lnTo>
                        <a:pt x="348" y="43"/>
                      </a:lnTo>
                      <a:lnTo>
                        <a:pt x="346" y="44"/>
                      </a:lnTo>
                      <a:lnTo>
                        <a:pt x="348" y="43"/>
                      </a:lnTo>
                      <a:lnTo>
                        <a:pt x="348" y="44"/>
                      </a:lnTo>
                      <a:lnTo>
                        <a:pt x="350" y="44"/>
                      </a:lnTo>
                      <a:lnTo>
                        <a:pt x="350" y="46"/>
                      </a:lnTo>
                      <a:lnTo>
                        <a:pt x="352" y="44"/>
                      </a:lnTo>
                      <a:lnTo>
                        <a:pt x="353" y="44"/>
                      </a:lnTo>
                      <a:lnTo>
                        <a:pt x="355" y="44"/>
                      </a:lnTo>
                      <a:lnTo>
                        <a:pt x="355" y="43"/>
                      </a:lnTo>
                      <a:lnTo>
                        <a:pt x="357" y="43"/>
                      </a:lnTo>
                      <a:lnTo>
                        <a:pt x="358" y="43"/>
                      </a:lnTo>
                      <a:lnTo>
                        <a:pt x="360" y="43"/>
                      </a:lnTo>
                      <a:lnTo>
                        <a:pt x="362" y="43"/>
                      </a:lnTo>
                      <a:lnTo>
                        <a:pt x="362" y="44"/>
                      </a:lnTo>
                      <a:lnTo>
                        <a:pt x="362" y="43"/>
                      </a:lnTo>
                      <a:lnTo>
                        <a:pt x="363" y="44"/>
                      </a:lnTo>
                      <a:lnTo>
                        <a:pt x="365" y="44"/>
                      </a:lnTo>
                      <a:lnTo>
                        <a:pt x="363" y="46"/>
                      </a:lnTo>
                      <a:lnTo>
                        <a:pt x="365" y="46"/>
                      </a:lnTo>
                      <a:lnTo>
                        <a:pt x="367" y="44"/>
                      </a:lnTo>
                      <a:lnTo>
                        <a:pt x="367" y="46"/>
                      </a:lnTo>
                      <a:lnTo>
                        <a:pt x="367" y="44"/>
                      </a:lnTo>
                      <a:lnTo>
                        <a:pt x="367" y="46"/>
                      </a:lnTo>
                      <a:lnTo>
                        <a:pt x="368" y="46"/>
                      </a:lnTo>
                      <a:lnTo>
                        <a:pt x="368" y="48"/>
                      </a:lnTo>
                      <a:lnTo>
                        <a:pt x="368" y="49"/>
                      </a:lnTo>
                      <a:lnTo>
                        <a:pt x="370" y="49"/>
                      </a:lnTo>
                      <a:lnTo>
                        <a:pt x="370" y="48"/>
                      </a:lnTo>
                      <a:lnTo>
                        <a:pt x="370" y="49"/>
                      </a:lnTo>
                      <a:lnTo>
                        <a:pt x="372" y="49"/>
                      </a:lnTo>
                      <a:lnTo>
                        <a:pt x="374" y="51"/>
                      </a:lnTo>
                      <a:lnTo>
                        <a:pt x="372" y="51"/>
                      </a:lnTo>
                      <a:lnTo>
                        <a:pt x="372" y="53"/>
                      </a:lnTo>
                      <a:lnTo>
                        <a:pt x="372" y="54"/>
                      </a:lnTo>
                      <a:lnTo>
                        <a:pt x="372" y="56"/>
                      </a:lnTo>
                      <a:lnTo>
                        <a:pt x="372" y="58"/>
                      </a:lnTo>
                      <a:lnTo>
                        <a:pt x="370" y="58"/>
                      </a:lnTo>
                      <a:lnTo>
                        <a:pt x="370" y="59"/>
                      </a:lnTo>
                      <a:lnTo>
                        <a:pt x="368" y="59"/>
                      </a:lnTo>
                      <a:lnTo>
                        <a:pt x="368" y="61"/>
                      </a:lnTo>
                      <a:lnTo>
                        <a:pt x="367" y="62"/>
                      </a:lnTo>
                      <a:lnTo>
                        <a:pt x="367" y="64"/>
                      </a:lnTo>
                      <a:lnTo>
                        <a:pt x="365" y="64"/>
                      </a:lnTo>
                      <a:lnTo>
                        <a:pt x="365" y="66"/>
                      </a:lnTo>
                      <a:lnTo>
                        <a:pt x="363" y="66"/>
                      </a:lnTo>
                      <a:lnTo>
                        <a:pt x="363" y="67"/>
                      </a:lnTo>
                      <a:lnTo>
                        <a:pt x="362" y="67"/>
                      </a:lnTo>
                      <a:lnTo>
                        <a:pt x="362" y="69"/>
                      </a:lnTo>
                      <a:lnTo>
                        <a:pt x="362" y="71"/>
                      </a:lnTo>
                      <a:lnTo>
                        <a:pt x="362" y="72"/>
                      </a:lnTo>
                      <a:lnTo>
                        <a:pt x="362" y="74"/>
                      </a:lnTo>
                      <a:lnTo>
                        <a:pt x="363" y="74"/>
                      </a:lnTo>
                      <a:lnTo>
                        <a:pt x="363" y="76"/>
                      </a:lnTo>
                      <a:lnTo>
                        <a:pt x="363" y="77"/>
                      </a:lnTo>
                      <a:lnTo>
                        <a:pt x="365" y="77"/>
                      </a:lnTo>
                      <a:lnTo>
                        <a:pt x="365" y="79"/>
                      </a:lnTo>
                      <a:lnTo>
                        <a:pt x="367" y="79"/>
                      </a:lnTo>
                      <a:lnTo>
                        <a:pt x="367" y="77"/>
                      </a:lnTo>
                      <a:lnTo>
                        <a:pt x="367" y="79"/>
                      </a:lnTo>
                      <a:lnTo>
                        <a:pt x="368" y="79"/>
                      </a:lnTo>
                      <a:lnTo>
                        <a:pt x="367" y="80"/>
                      </a:lnTo>
                      <a:lnTo>
                        <a:pt x="367" y="82"/>
                      </a:lnTo>
                      <a:lnTo>
                        <a:pt x="367" y="85"/>
                      </a:lnTo>
                      <a:lnTo>
                        <a:pt x="367" y="89"/>
                      </a:lnTo>
                      <a:lnTo>
                        <a:pt x="367" y="90"/>
                      </a:lnTo>
                      <a:lnTo>
                        <a:pt x="367" y="92"/>
                      </a:lnTo>
                      <a:lnTo>
                        <a:pt x="367" y="94"/>
                      </a:lnTo>
                      <a:lnTo>
                        <a:pt x="367" y="95"/>
                      </a:lnTo>
                      <a:lnTo>
                        <a:pt x="368" y="95"/>
                      </a:lnTo>
                      <a:lnTo>
                        <a:pt x="368" y="100"/>
                      </a:lnTo>
                      <a:lnTo>
                        <a:pt x="368" y="102"/>
                      </a:lnTo>
                      <a:lnTo>
                        <a:pt x="370" y="103"/>
                      </a:lnTo>
                      <a:lnTo>
                        <a:pt x="370" y="105"/>
                      </a:lnTo>
                      <a:lnTo>
                        <a:pt x="370" y="107"/>
                      </a:lnTo>
                      <a:lnTo>
                        <a:pt x="370" y="108"/>
                      </a:lnTo>
                      <a:lnTo>
                        <a:pt x="372" y="110"/>
                      </a:lnTo>
                      <a:lnTo>
                        <a:pt x="372" y="112"/>
                      </a:lnTo>
                      <a:lnTo>
                        <a:pt x="370" y="113"/>
                      </a:lnTo>
                      <a:lnTo>
                        <a:pt x="370" y="115"/>
                      </a:lnTo>
                      <a:lnTo>
                        <a:pt x="368" y="117"/>
                      </a:lnTo>
                      <a:lnTo>
                        <a:pt x="367" y="117"/>
                      </a:lnTo>
                      <a:lnTo>
                        <a:pt x="362" y="120"/>
                      </a:lnTo>
                      <a:lnTo>
                        <a:pt x="358" y="122"/>
                      </a:lnTo>
                      <a:lnTo>
                        <a:pt x="357" y="123"/>
                      </a:lnTo>
                      <a:lnTo>
                        <a:pt x="353" y="125"/>
                      </a:lnTo>
                      <a:lnTo>
                        <a:pt x="350" y="126"/>
                      </a:lnTo>
                      <a:lnTo>
                        <a:pt x="346" y="128"/>
                      </a:lnTo>
                      <a:lnTo>
                        <a:pt x="345" y="128"/>
                      </a:lnTo>
                      <a:lnTo>
                        <a:pt x="343" y="128"/>
                      </a:lnTo>
                      <a:lnTo>
                        <a:pt x="341" y="130"/>
                      </a:lnTo>
                      <a:lnTo>
                        <a:pt x="340" y="130"/>
                      </a:lnTo>
                      <a:lnTo>
                        <a:pt x="338" y="130"/>
                      </a:lnTo>
                      <a:lnTo>
                        <a:pt x="335" y="131"/>
                      </a:lnTo>
                      <a:lnTo>
                        <a:pt x="333" y="131"/>
                      </a:lnTo>
                      <a:lnTo>
                        <a:pt x="331" y="131"/>
                      </a:lnTo>
                      <a:lnTo>
                        <a:pt x="330" y="133"/>
                      </a:lnTo>
                      <a:lnTo>
                        <a:pt x="328" y="133"/>
                      </a:lnTo>
                      <a:lnTo>
                        <a:pt x="326" y="133"/>
                      </a:lnTo>
                      <a:lnTo>
                        <a:pt x="325" y="133"/>
                      </a:lnTo>
                      <a:lnTo>
                        <a:pt x="321" y="135"/>
                      </a:lnTo>
                      <a:lnTo>
                        <a:pt x="318" y="136"/>
                      </a:lnTo>
                      <a:lnTo>
                        <a:pt x="316" y="136"/>
                      </a:lnTo>
                      <a:lnTo>
                        <a:pt x="314" y="138"/>
                      </a:lnTo>
                      <a:lnTo>
                        <a:pt x="313" y="138"/>
                      </a:lnTo>
                      <a:lnTo>
                        <a:pt x="309" y="140"/>
                      </a:lnTo>
                      <a:lnTo>
                        <a:pt x="304" y="141"/>
                      </a:lnTo>
                      <a:lnTo>
                        <a:pt x="303" y="143"/>
                      </a:lnTo>
                      <a:lnTo>
                        <a:pt x="301" y="143"/>
                      </a:lnTo>
                      <a:lnTo>
                        <a:pt x="299" y="145"/>
                      </a:lnTo>
                      <a:lnTo>
                        <a:pt x="299" y="146"/>
                      </a:lnTo>
                      <a:lnTo>
                        <a:pt x="298" y="146"/>
                      </a:lnTo>
                      <a:lnTo>
                        <a:pt x="296" y="146"/>
                      </a:lnTo>
                      <a:lnTo>
                        <a:pt x="296" y="148"/>
                      </a:lnTo>
                      <a:lnTo>
                        <a:pt x="296" y="149"/>
                      </a:lnTo>
                      <a:lnTo>
                        <a:pt x="296" y="151"/>
                      </a:lnTo>
                      <a:lnTo>
                        <a:pt x="294" y="151"/>
                      </a:lnTo>
                      <a:lnTo>
                        <a:pt x="292" y="151"/>
                      </a:lnTo>
                      <a:lnTo>
                        <a:pt x="291" y="153"/>
                      </a:lnTo>
                      <a:lnTo>
                        <a:pt x="291" y="154"/>
                      </a:lnTo>
                      <a:lnTo>
                        <a:pt x="289" y="154"/>
                      </a:lnTo>
                      <a:lnTo>
                        <a:pt x="287" y="156"/>
                      </a:lnTo>
                      <a:lnTo>
                        <a:pt x="287" y="158"/>
                      </a:lnTo>
                      <a:lnTo>
                        <a:pt x="287" y="159"/>
                      </a:lnTo>
                      <a:lnTo>
                        <a:pt x="287" y="158"/>
                      </a:lnTo>
                      <a:lnTo>
                        <a:pt x="287" y="159"/>
                      </a:lnTo>
                      <a:lnTo>
                        <a:pt x="286" y="159"/>
                      </a:lnTo>
                      <a:lnTo>
                        <a:pt x="284" y="159"/>
                      </a:lnTo>
                      <a:lnTo>
                        <a:pt x="284" y="161"/>
                      </a:lnTo>
                      <a:lnTo>
                        <a:pt x="282" y="161"/>
                      </a:lnTo>
                      <a:lnTo>
                        <a:pt x="282" y="163"/>
                      </a:lnTo>
                      <a:lnTo>
                        <a:pt x="281" y="163"/>
                      </a:lnTo>
                      <a:lnTo>
                        <a:pt x="281" y="164"/>
                      </a:lnTo>
                      <a:lnTo>
                        <a:pt x="279" y="164"/>
                      </a:lnTo>
                      <a:lnTo>
                        <a:pt x="279" y="163"/>
                      </a:lnTo>
                      <a:lnTo>
                        <a:pt x="277" y="164"/>
                      </a:lnTo>
                      <a:lnTo>
                        <a:pt x="276" y="166"/>
                      </a:lnTo>
                      <a:lnTo>
                        <a:pt x="276" y="168"/>
                      </a:lnTo>
                      <a:lnTo>
                        <a:pt x="276" y="169"/>
                      </a:lnTo>
                      <a:lnTo>
                        <a:pt x="274" y="169"/>
                      </a:lnTo>
                      <a:lnTo>
                        <a:pt x="274" y="171"/>
                      </a:lnTo>
                      <a:lnTo>
                        <a:pt x="274" y="174"/>
                      </a:lnTo>
                      <a:lnTo>
                        <a:pt x="274" y="176"/>
                      </a:lnTo>
                      <a:lnTo>
                        <a:pt x="274" y="177"/>
                      </a:lnTo>
                      <a:lnTo>
                        <a:pt x="276" y="179"/>
                      </a:lnTo>
                      <a:lnTo>
                        <a:pt x="276" y="181"/>
                      </a:lnTo>
                      <a:lnTo>
                        <a:pt x="276" y="182"/>
                      </a:lnTo>
                      <a:lnTo>
                        <a:pt x="277" y="182"/>
                      </a:lnTo>
                      <a:lnTo>
                        <a:pt x="279" y="182"/>
                      </a:lnTo>
                      <a:lnTo>
                        <a:pt x="279" y="184"/>
                      </a:lnTo>
                      <a:lnTo>
                        <a:pt x="281" y="186"/>
                      </a:lnTo>
                      <a:lnTo>
                        <a:pt x="282" y="186"/>
                      </a:lnTo>
                      <a:lnTo>
                        <a:pt x="282" y="184"/>
                      </a:lnTo>
                      <a:lnTo>
                        <a:pt x="284" y="184"/>
                      </a:lnTo>
                      <a:lnTo>
                        <a:pt x="286" y="184"/>
                      </a:lnTo>
                      <a:lnTo>
                        <a:pt x="284" y="182"/>
                      </a:lnTo>
                      <a:lnTo>
                        <a:pt x="286" y="182"/>
                      </a:lnTo>
                      <a:lnTo>
                        <a:pt x="286" y="184"/>
                      </a:lnTo>
                      <a:lnTo>
                        <a:pt x="287" y="184"/>
                      </a:lnTo>
                      <a:lnTo>
                        <a:pt x="286" y="184"/>
                      </a:lnTo>
                      <a:lnTo>
                        <a:pt x="286" y="186"/>
                      </a:lnTo>
                      <a:lnTo>
                        <a:pt x="286" y="184"/>
                      </a:lnTo>
                      <a:lnTo>
                        <a:pt x="286" y="186"/>
                      </a:lnTo>
                      <a:lnTo>
                        <a:pt x="286" y="184"/>
                      </a:lnTo>
                      <a:lnTo>
                        <a:pt x="286" y="186"/>
                      </a:lnTo>
                      <a:lnTo>
                        <a:pt x="284" y="186"/>
                      </a:lnTo>
                      <a:lnTo>
                        <a:pt x="286" y="186"/>
                      </a:lnTo>
                      <a:lnTo>
                        <a:pt x="286" y="187"/>
                      </a:lnTo>
                      <a:lnTo>
                        <a:pt x="284" y="187"/>
                      </a:lnTo>
                      <a:lnTo>
                        <a:pt x="284" y="186"/>
                      </a:lnTo>
                      <a:lnTo>
                        <a:pt x="284" y="187"/>
                      </a:lnTo>
                      <a:lnTo>
                        <a:pt x="282" y="187"/>
                      </a:lnTo>
                      <a:lnTo>
                        <a:pt x="282" y="186"/>
                      </a:lnTo>
                      <a:lnTo>
                        <a:pt x="282" y="187"/>
                      </a:lnTo>
                      <a:lnTo>
                        <a:pt x="281" y="187"/>
                      </a:lnTo>
                      <a:lnTo>
                        <a:pt x="281" y="189"/>
                      </a:lnTo>
                      <a:lnTo>
                        <a:pt x="279" y="189"/>
                      </a:lnTo>
                      <a:lnTo>
                        <a:pt x="277" y="189"/>
                      </a:lnTo>
                      <a:lnTo>
                        <a:pt x="277" y="191"/>
                      </a:lnTo>
                      <a:lnTo>
                        <a:pt x="276" y="191"/>
                      </a:lnTo>
                      <a:lnTo>
                        <a:pt x="276" y="192"/>
                      </a:lnTo>
                      <a:lnTo>
                        <a:pt x="276" y="194"/>
                      </a:lnTo>
                      <a:lnTo>
                        <a:pt x="276" y="195"/>
                      </a:lnTo>
                      <a:lnTo>
                        <a:pt x="274" y="195"/>
                      </a:lnTo>
                      <a:lnTo>
                        <a:pt x="274" y="197"/>
                      </a:lnTo>
                      <a:lnTo>
                        <a:pt x="274" y="195"/>
                      </a:lnTo>
                      <a:lnTo>
                        <a:pt x="272" y="195"/>
                      </a:lnTo>
                      <a:lnTo>
                        <a:pt x="272" y="197"/>
                      </a:lnTo>
                      <a:lnTo>
                        <a:pt x="270" y="197"/>
                      </a:lnTo>
                      <a:lnTo>
                        <a:pt x="270" y="199"/>
                      </a:lnTo>
                      <a:lnTo>
                        <a:pt x="270" y="200"/>
                      </a:lnTo>
                      <a:lnTo>
                        <a:pt x="270" y="202"/>
                      </a:lnTo>
                      <a:lnTo>
                        <a:pt x="272" y="202"/>
                      </a:lnTo>
                      <a:lnTo>
                        <a:pt x="272" y="204"/>
                      </a:lnTo>
                      <a:lnTo>
                        <a:pt x="272" y="202"/>
                      </a:lnTo>
                      <a:lnTo>
                        <a:pt x="274" y="202"/>
                      </a:lnTo>
                      <a:lnTo>
                        <a:pt x="274" y="204"/>
                      </a:lnTo>
                      <a:lnTo>
                        <a:pt x="272" y="204"/>
                      </a:lnTo>
                      <a:lnTo>
                        <a:pt x="274" y="204"/>
                      </a:lnTo>
                      <a:lnTo>
                        <a:pt x="272" y="204"/>
                      </a:lnTo>
                      <a:lnTo>
                        <a:pt x="272" y="205"/>
                      </a:lnTo>
                      <a:lnTo>
                        <a:pt x="274" y="205"/>
                      </a:lnTo>
                      <a:lnTo>
                        <a:pt x="272" y="205"/>
                      </a:lnTo>
                      <a:lnTo>
                        <a:pt x="272" y="207"/>
                      </a:lnTo>
                      <a:lnTo>
                        <a:pt x="272" y="205"/>
                      </a:lnTo>
                      <a:lnTo>
                        <a:pt x="270" y="205"/>
                      </a:lnTo>
                      <a:lnTo>
                        <a:pt x="270" y="204"/>
                      </a:lnTo>
                      <a:lnTo>
                        <a:pt x="269" y="204"/>
                      </a:lnTo>
                      <a:lnTo>
                        <a:pt x="267" y="202"/>
                      </a:lnTo>
                      <a:lnTo>
                        <a:pt x="262" y="202"/>
                      </a:lnTo>
                      <a:lnTo>
                        <a:pt x="260" y="202"/>
                      </a:lnTo>
                      <a:lnTo>
                        <a:pt x="259" y="202"/>
                      </a:lnTo>
                      <a:lnTo>
                        <a:pt x="255" y="202"/>
                      </a:lnTo>
                      <a:lnTo>
                        <a:pt x="252" y="202"/>
                      </a:lnTo>
                      <a:lnTo>
                        <a:pt x="250" y="202"/>
                      </a:lnTo>
                      <a:lnTo>
                        <a:pt x="247" y="200"/>
                      </a:lnTo>
                      <a:lnTo>
                        <a:pt x="242" y="200"/>
                      </a:lnTo>
                      <a:lnTo>
                        <a:pt x="238" y="200"/>
                      </a:lnTo>
                      <a:lnTo>
                        <a:pt x="237" y="200"/>
                      </a:lnTo>
                      <a:lnTo>
                        <a:pt x="235" y="200"/>
                      </a:lnTo>
                      <a:lnTo>
                        <a:pt x="230" y="200"/>
                      </a:lnTo>
                      <a:lnTo>
                        <a:pt x="228" y="200"/>
                      </a:lnTo>
                      <a:lnTo>
                        <a:pt x="227" y="200"/>
                      </a:lnTo>
                      <a:lnTo>
                        <a:pt x="225" y="200"/>
                      </a:lnTo>
                      <a:lnTo>
                        <a:pt x="220" y="200"/>
                      </a:lnTo>
                      <a:lnTo>
                        <a:pt x="216" y="200"/>
                      </a:lnTo>
                      <a:lnTo>
                        <a:pt x="213" y="200"/>
                      </a:lnTo>
                      <a:lnTo>
                        <a:pt x="210" y="202"/>
                      </a:lnTo>
                      <a:lnTo>
                        <a:pt x="208" y="204"/>
                      </a:lnTo>
                      <a:lnTo>
                        <a:pt x="208" y="202"/>
                      </a:lnTo>
                      <a:lnTo>
                        <a:pt x="206" y="202"/>
                      </a:lnTo>
                      <a:lnTo>
                        <a:pt x="205" y="202"/>
                      </a:lnTo>
                      <a:lnTo>
                        <a:pt x="203" y="202"/>
                      </a:lnTo>
                      <a:lnTo>
                        <a:pt x="203" y="204"/>
                      </a:lnTo>
                      <a:lnTo>
                        <a:pt x="201" y="204"/>
                      </a:lnTo>
                      <a:lnTo>
                        <a:pt x="200" y="204"/>
                      </a:lnTo>
                      <a:lnTo>
                        <a:pt x="194" y="204"/>
                      </a:lnTo>
                      <a:lnTo>
                        <a:pt x="193" y="204"/>
                      </a:lnTo>
                      <a:lnTo>
                        <a:pt x="189" y="204"/>
                      </a:lnTo>
                      <a:lnTo>
                        <a:pt x="188" y="204"/>
                      </a:lnTo>
                      <a:lnTo>
                        <a:pt x="186" y="204"/>
                      </a:lnTo>
                      <a:lnTo>
                        <a:pt x="183" y="204"/>
                      </a:lnTo>
                      <a:lnTo>
                        <a:pt x="179" y="204"/>
                      </a:lnTo>
                      <a:lnTo>
                        <a:pt x="178" y="204"/>
                      </a:lnTo>
                      <a:lnTo>
                        <a:pt x="178" y="205"/>
                      </a:lnTo>
                      <a:lnTo>
                        <a:pt x="176" y="204"/>
                      </a:lnTo>
                      <a:lnTo>
                        <a:pt x="176" y="205"/>
                      </a:lnTo>
                      <a:lnTo>
                        <a:pt x="176" y="204"/>
                      </a:lnTo>
                      <a:lnTo>
                        <a:pt x="176" y="205"/>
                      </a:lnTo>
                      <a:lnTo>
                        <a:pt x="176" y="204"/>
                      </a:lnTo>
                      <a:lnTo>
                        <a:pt x="174" y="205"/>
                      </a:lnTo>
                      <a:lnTo>
                        <a:pt x="174" y="204"/>
                      </a:lnTo>
                      <a:lnTo>
                        <a:pt x="173" y="204"/>
                      </a:lnTo>
                      <a:lnTo>
                        <a:pt x="173" y="202"/>
                      </a:lnTo>
                      <a:lnTo>
                        <a:pt x="173" y="204"/>
                      </a:lnTo>
                      <a:lnTo>
                        <a:pt x="173" y="202"/>
                      </a:lnTo>
                      <a:lnTo>
                        <a:pt x="171" y="202"/>
                      </a:lnTo>
                      <a:lnTo>
                        <a:pt x="169" y="202"/>
                      </a:lnTo>
                      <a:lnTo>
                        <a:pt x="167" y="202"/>
                      </a:lnTo>
                      <a:lnTo>
                        <a:pt x="167" y="200"/>
                      </a:lnTo>
                      <a:lnTo>
                        <a:pt x="166" y="200"/>
                      </a:lnTo>
                      <a:lnTo>
                        <a:pt x="167" y="200"/>
                      </a:lnTo>
                      <a:lnTo>
                        <a:pt x="169" y="200"/>
                      </a:lnTo>
                      <a:lnTo>
                        <a:pt x="171" y="199"/>
                      </a:lnTo>
                      <a:lnTo>
                        <a:pt x="169" y="199"/>
                      </a:lnTo>
                      <a:lnTo>
                        <a:pt x="167" y="199"/>
                      </a:lnTo>
                      <a:lnTo>
                        <a:pt x="166" y="199"/>
                      </a:lnTo>
                      <a:lnTo>
                        <a:pt x="166" y="197"/>
                      </a:lnTo>
                      <a:lnTo>
                        <a:pt x="167" y="197"/>
                      </a:lnTo>
                      <a:lnTo>
                        <a:pt x="167" y="195"/>
                      </a:lnTo>
                      <a:lnTo>
                        <a:pt x="166" y="195"/>
                      </a:lnTo>
                      <a:lnTo>
                        <a:pt x="167" y="195"/>
                      </a:lnTo>
                      <a:lnTo>
                        <a:pt x="169" y="195"/>
                      </a:lnTo>
                      <a:lnTo>
                        <a:pt x="169" y="194"/>
                      </a:lnTo>
                      <a:lnTo>
                        <a:pt x="169" y="192"/>
                      </a:lnTo>
                      <a:lnTo>
                        <a:pt x="171" y="192"/>
                      </a:lnTo>
                      <a:lnTo>
                        <a:pt x="169" y="192"/>
                      </a:lnTo>
                      <a:lnTo>
                        <a:pt x="169" y="191"/>
                      </a:lnTo>
                      <a:lnTo>
                        <a:pt x="171" y="191"/>
                      </a:lnTo>
                      <a:lnTo>
                        <a:pt x="171" y="189"/>
                      </a:lnTo>
                      <a:lnTo>
                        <a:pt x="173" y="189"/>
                      </a:lnTo>
                      <a:lnTo>
                        <a:pt x="171" y="189"/>
                      </a:lnTo>
                      <a:lnTo>
                        <a:pt x="171" y="187"/>
                      </a:lnTo>
                      <a:lnTo>
                        <a:pt x="173" y="186"/>
                      </a:lnTo>
                      <a:lnTo>
                        <a:pt x="174" y="184"/>
                      </a:lnTo>
                      <a:lnTo>
                        <a:pt x="176" y="184"/>
                      </a:lnTo>
                      <a:lnTo>
                        <a:pt x="176" y="182"/>
                      </a:lnTo>
                      <a:lnTo>
                        <a:pt x="176" y="181"/>
                      </a:lnTo>
                      <a:lnTo>
                        <a:pt x="176" y="179"/>
                      </a:lnTo>
                      <a:lnTo>
                        <a:pt x="176" y="177"/>
                      </a:lnTo>
                      <a:lnTo>
                        <a:pt x="176" y="179"/>
                      </a:lnTo>
                      <a:lnTo>
                        <a:pt x="176" y="177"/>
                      </a:lnTo>
                      <a:lnTo>
                        <a:pt x="176" y="179"/>
                      </a:lnTo>
                      <a:lnTo>
                        <a:pt x="174" y="177"/>
                      </a:lnTo>
                      <a:lnTo>
                        <a:pt x="173" y="177"/>
                      </a:lnTo>
                      <a:lnTo>
                        <a:pt x="171" y="177"/>
                      </a:lnTo>
                      <a:lnTo>
                        <a:pt x="169" y="177"/>
                      </a:lnTo>
                      <a:lnTo>
                        <a:pt x="169" y="179"/>
                      </a:lnTo>
                      <a:lnTo>
                        <a:pt x="167" y="177"/>
                      </a:lnTo>
                      <a:lnTo>
                        <a:pt x="169" y="179"/>
                      </a:lnTo>
                      <a:lnTo>
                        <a:pt x="167" y="179"/>
                      </a:lnTo>
                      <a:lnTo>
                        <a:pt x="167" y="181"/>
                      </a:lnTo>
                      <a:lnTo>
                        <a:pt x="166" y="181"/>
                      </a:lnTo>
                      <a:lnTo>
                        <a:pt x="166" y="179"/>
                      </a:lnTo>
                      <a:lnTo>
                        <a:pt x="164" y="179"/>
                      </a:lnTo>
                      <a:lnTo>
                        <a:pt x="164" y="181"/>
                      </a:lnTo>
                      <a:lnTo>
                        <a:pt x="162" y="181"/>
                      </a:lnTo>
                      <a:lnTo>
                        <a:pt x="161" y="181"/>
                      </a:lnTo>
                      <a:lnTo>
                        <a:pt x="159" y="181"/>
                      </a:lnTo>
                      <a:lnTo>
                        <a:pt x="159" y="182"/>
                      </a:lnTo>
                      <a:lnTo>
                        <a:pt x="157" y="182"/>
                      </a:lnTo>
                      <a:lnTo>
                        <a:pt x="156" y="182"/>
                      </a:lnTo>
                      <a:lnTo>
                        <a:pt x="156" y="184"/>
                      </a:lnTo>
                      <a:lnTo>
                        <a:pt x="154" y="184"/>
                      </a:lnTo>
                      <a:lnTo>
                        <a:pt x="156" y="184"/>
                      </a:lnTo>
                      <a:lnTo>
                        <a:pt x="154" y="184"/>
                      </a:lnTo>
                      <a:lnTo>
                        <a:pt x="154" y="186"/>
                      </a:lnTo>
                      <a:lnTo>
                        <a:pt x="152" y="186"/>
                      </a:lnTo>
                      <a:lnTo>
                        <a:pt x="152" y="187"/>
                      </a:lnTo>
                      <a:lnTo>
                        <a:pt x="152" y="189"/>
                      </a:lnTo>
                      <a:lnTo>
                        <a:pt x="152" y="191"/>
                      </a:lnTo>
                      <a:lnTo>
                        <a:pt x="152" y="189"/>
                      </a:lnTo>
                      <a:lnTo>
                        <a:pt x="152" y="191"/>
                      </a:lnTo>
                      <a:lnTo>
                        <a:pt x="154" y="191"/>
                      </a:lnTo>
                      <a:lnTo>
                        <a:pt x="154" y="192"/>
                      </a:lnTo>
                      <a:lnTo>
                        <a:pt x="156" y="192"/>
                      </a:lnTo>
                      <a:lnTo>
                        <a:pt x="156" y="194"/>
                      </a:lnTo>
                      <a:lnTo>
                        <a:pt x="156" y="195"/>
                      </a:lnTo>
                      <a:lnTo>
                        <a:pt x="157" y="195"/>
                      </a:lnTo>
                      <a:lnTo>
                        <a:pt x="159" y="195"/>
                      </a:lnTo>
                      <a:lnTo>
                        <a:pt x="159" y="194"/>
                      </a:lnTo>
                      <a:lnTo>
                        <a:pt x="159" y="195"/>
                      </a:lnTo>
                      <a:lnTo>
                        <a:pt x="159" y="197"/>
                      </a:lnTo>
                      <a:lnTo>
                        <a:pt x="161" y="197"/>
                      </a:lnTo>
                      <a:lnTo>
                        <a:pt x="162" y="197"/>
                      </a:lnTo>
                      <a:lnTo>
                        <a:pt x="162" y="199"/>
                      </a:lnTo>
                      <a:lnTo>
                        <a:pt x="164" y="197"/>
                      </a:lnTo>
                      <a:lnTo>
                        <a:pt x="164" y="199"/>
                      </a:lnTo>
                      <a:lnTo>
                        <a:pt x="162" y="199"/>
                      </a:lnTo>
                      <a:lnTo>
                        <a:pt x="162" y="200"/>
                      </a:lnTo>
                      <a:lnTo>
                        <a:pt x="162" y="202"/>
                      </a:lnTo>
                      <a:lnTo>
                        <a:pt x="164" y="202"/>
                      </a:lnTo>
                      <a:lnTo>
                        <a:pt x="164" y="200"/>
                      </a:lnTo>
                      <a:lnTo>
                        <a:pt x="164" y="202"/>
                      </a:lnTo>
                      <a:lnTo>
                        <a:pt x="164" y="204"/>
                      </a:lnTo>
                      <a:lnTo>
                        <a:pt x="162" y="204"/>
                      </a:lnTo>
                      <a:lnTo>
                        <a:pt x="161" y="204"/>
                      </a:lnTo>
                      <a:lnTo>
                        <a:pt x="161" y="205"/>
                      </a:lnTo>
                      <a:lnTo>
                        <a:pt x="159" y="205"/>
                      </a:lnTo>
                      <a:lnTo>
                        <a:pt x="157" y="205"/>
                      </a:lnTo>
                      <a:lnTo>
                        <a:pt x="157" y="207"/>
                      </a:lnTo>
                      <a:lnTo>
                        <a:pt x="156" y="207"/>
                      </a:lnTo>
                      <a:lnTo>
                        <a:pt x="154" y="207"/>
                      </a:lnTo>
                      <a:lnTo>
                        <a:pt x="152" y="207"/>
                      </a:lnTo>
                      <a:lnTo>
                        <a:pt x="152" y="209"/>
                      </a:lnTo>
                      <a:lnTo>
                        <a:pt x="151" y="209"/>
                      </a:lnTo>
                      <a:lnTo>
                        <a:pt x="151" y="207"/>
                      </a:lnTo>
                      <a:lnTo>
                        <a:pt x="149" y="207"/>
                      </a:lnTo>
                      <a:lnTo>
                        <a:pt x="149" y="205"/>
                      </a:lnTo>
                      <a:lnTo>
                        <a:pt x="147" y="205"/>
                      </a:lnTo>
                      <a:lnTo>
                        <a:pt x="146" y="205"/>
                      </a:lnTo>
                      <a:lnTo>
                        <a:pt x="146" y="204"/>
                      </a:lnTo>
                      <a:lnTo>
                        <a:pt x="144" y="204"/>
                      </a:lnTo>
                      <a:lnTo>
                        <a:pt x="144" y="205"/>
                      </a:lnTo>
                      <a:lnTo>
                        <a:pt x="144" y="204"/>
                      </a:lnTo>
                      <a:lnTo>
                        <a:pt x="144" y="205"/>
                      </a:lnTo>
                      <a:lnTo>
                        <a:pt x="142" y="204"/>
                      </a:lnTo>
                      <a:lnTo>
                        <a:pt x="142" y="205"/>
                      </a:lnTo>
                      <a:lnTo>
                        <a:pt x="140" y="205"/>
                      </a:lnTo>
                      <a:lnTo>
                        <a:pt x="140" y="204"/>
                      </a:lnTo>
                      <a:lnTo>
                        <a:pt x="140" y="205"/>
                      </a:lnTo>
                      <a:lnTo>
                        <a:pt x="139" y="205"/>
                      </a:lnTo>
                      <a:lnTo>
                        <a:pt x="140" y="205"/>
                      </a:lnTo>
                      <a:lnTo>
                        <a:pt x="142" y="205"/>
                      </a:lnTo>
                      <a:lnTo>
                        <a:pt x="142" y="207"/>
                      </a:lnTo>
                      <a:lnTo>
                        <a:pt x="142" y="205"/>
                      </a:lnTo>
                      <a:lnTo>
                        <a:pt x="144" y="205"/>
                      </a:lnTo>
                      <a:lnTo>
                        <a:pt x="146" y="205"/>
                      </a:lnTo>
                      <a:lnTo>
                        <a:pt x="146" y="207"/>
                      </a:lnTo>
                      <a:lnTo>
                        <a:pt x="146" y="205"/>
                      </a:lnTo>
                      <a:lnTo>
                        <a:pt x="146" y="207"/>
                      </a:lnTo>
                      <a:lnTo>
                        <a:pt x="147" y="207"/>
                      </a:lnTo>
                      <a:lnTo>
                        <a:pt x="149" y="207"/>
                      </a:lnTo>
                      <a:lnTo>
                        <a:pt x="151" y="207"/>
                      </a:lnTo>
                      <a:lnTo>
                        <a:pt x="151" y="209"/>
                      </a:lnTo>
                      <a:lnTo>
                        <a:pt x="149" y="209"/>
                      </a:lnTo>
                      <a:lnTo>
                        <a:pt x="147" y="207"/>
                      </a:lnTo>
                      <a:lnTo>
                        <a:pt x="144" y="207"/>
                      </a:lnTo>
                      <a:lnTo>
                        <a:pt x="140" y="209"/>
                      </a:lnTo>
                      <a:lnTo>
                        <a:pt x="139" y="209"/>
                      </a:lnTo>
                      <a:lnTo>
                        <a:pt x="135" y="209"/>
                      </a:lnTo>
                      <a:lnTo>
                        <a:pt x="134" y="210"/>
                      </a:lnTo>
                      <a:lnTo>
                        <a:pt x="135" y="210"/>
                      </a:lnTo>
                      <a:lnTo>
                        <a:pt x="134" y="210"/>
                      </a:lnTo>
                      <a:lnTo>
                        <a:pt x="132" y="210"/>
                      </a:lnTo>
                      <a:lnTo>
                        <a:pt x="130" y="210"/>
                      </a:lnTo>
                      <a:lnTo>
                        <a:pt x="130" y="212"/>
                      </a:lnTo>
                      <a:lnTo>
                        <a:pt x="129" y="212"/>
                      </a:lnTo>
                      <a:lnTo>
                        <a:pt x="127" y="212"/>
                      </a:lnTo>
                      <a:lnTo>
                        <a:pt x="127" y="214"/>
                      </a:lnTo>
                      <a:lnTo>
                        <a:pt x="125" y="214"/>
                      </a:lnTo>
                      <a:lnTo>
                        <a:pt x="125" y="212"/>
                      </a:lnTo>
                      <a:lnTo>
                        <a:pt x="127" y="212"/>
                      </a:lnTo>
                      <a:lnTo>
                        <a:pt x="125" y="212"/>
                      </a:lnTo>
                      <a:lnTo>
                        <a:pt x="125" y="210"/>
                      </a:lnTo>
                      <a:lnTo>
                        <a:pt x="125" y="212"/>
                      </a:lnTo>
                      <a:lnTo>
                        <a:pt x="124" y="210"/>
                      </a:lnTo>
                      <a:lnTo>
                        <a:pt x="122" y="210"/>
                      </a:lnTo>
                      <a:lnTo>
                        <a:pt x="122" y="209"/>
                      </a:lnTo>
                      <a:lnTo>
                        <a:pt x="120" y="209"/>
                      </a:lnTo>
                      <a:lnTo>
                        <a:pt x="120" y="207"/>
                      </a:lnTo>
                      <a:lnTo>
                        <a:pt x="118" y="207"/>
                      </a:lnTo>
                      <a:lnTo>
                        <a:pt x="117" y="207"/>
                      </a:lnTo>
                      <a:lnTo>
                        <a:pt x="117" y="205"/>
                      </a:lnTo>
                      <a:lnTo>
                        <a:pt x="115" y="205"/>
                      </a:lnTo>
                      <a:lnTo>
                        <a:pt x="113" y="205"/>
                      </a:lnTo>
                      <a:lnTo>
                        <a:pt x="112" y="205"/>
                      </a:lnTo>
                      <a:lnTo>
                        <a:pt x="112" y="204"/>
                      </a:lnTo>
                      <a:lnTo>
                        <a:pt x="110" y="204"/>
                      </a:lnTo>
                      <a:lnTo>
                        <a:pt x="110" y="202"/>
                      </a:lnTo>
                      <a:lnTo>
                        <a:pt x="108" y="202"/>
                      </a:lnTo>
                      <a:lnTo>
                        <a:pt x="107" y="200"/>
                      </a:lnTo>
                      <a:lnTo>
                        <a:pt x="105" y="200"/>
                      </a:lnTo>
                      <a:lnTo>
                        <a:pt x="105" y="199"/>
                      </a:lnTo>
                      <a:lnTo>
                        <a:pt x="105" y="200"/>
                      </a:lnTo>
                      <a:lnTo>
                        <a:pt x="103" y="199"/>
                      </a:lnTo>
                      <a:lnTo>
                        <a:pt x="102" y="199"/>
                      </a:lnTo>
                      <a:lnTo>
                        <a:pt x="102" y="200"/>
                      </a:lnTo>
                      <a:lnTo>
                        <a:pt x="100" y="200"/>
                      </a:lnTo>
                      <a:lnTo>
                        <a:pt x="98" y="200"/>
                      </a:lnTo>
                      <a:lnTo>
                        <a:pt x="98" y="199"/>
                      </a:lnTo>
                      <a:lnTo>
                        <a:pt x="100" y="199"/>
                      </a:lnTo>
                      <a:lnTo>
                        <a:pt x="100" y="197"/>
                      </a:lnTo>
                      <a:lnTo>
                        <a:pt x="98" y="197"/>
                      </a:lnTo>
                      <a:lnTo>
                        <a:pt x="97" y="197"/>
                      </a:lnTo>
                      <a:lnTo>
                        <a:pt x="97" y="199"/>
                      </a:lnTo>
                      <a:lnTo>
                        <a:pt x="95" y="199"/>
                      </a:lnTo>
                      <a:lnTo>
                        <a:pt x="93" y="200"/>
                      </a:lnTo>
                      <a:lnTo>
                        <a:pt x="91" y="200"/>
                      </a:lnTo>
                      <a:lnTo>
                        <a:pt x="90" y="200"/>
                      </a:lnTo>
                      <a:lnTo>
                        <a:pt x="88" y="200"/>
                      </a:lnTo>
                      <a:lnTo>
                        <a:pt x="86" y="200"/>
                      </a:lnTo>
                      <a:lnTo>
                        <a:pt x="85" y="200"/>
                      </a:lnTo>
                      <a:lnTo>
                        <a:pt x="85" y="202"/>
                      </a:lnTo>
                      <a:lnTo>
                        <a:pt x="83" y="200"/>
                      </a:lnTo>
                      <a:lnTo>
                        <a:pt x="85" y="202"/>
                      </a:lnTo>
                      <a:lnTo>
                        <a:pt x="83" y="202"/>
                      </a:lnTo>
                      <a:lnTo>
                        <a:pt x="81" y="202"/>
                      </a:lnTo>
                      <a:lnTo>
                        <a:pt x="81" y="204"/>
                      </a:lnTo>
                      <a:lnTo>
                        <a:pt x="83" y="204"/>
                      </a:lnTo>
                      <a:lnTo>
                        <a:pt x="81" y="204"/>
                      </a:lnTo>
                      <a:lnTo>
                        <a:pt x="81" y="205"/>
                      </a:lnTo>
                      <a:lnTo>
                        <a:pt x="80" y="205"/>
                      </a:lnTo>
                      <a:lnTo>
                        <a:pt x="80" y="204"/>
                      </a:lnTo>
                      <a:lnTo>
                        <a:pt x="80" y="202"/>
                      </a:lnTo>
                      <a:lnTo>
                        <a:pt x="80" y="200"/>
                      </a:lnTo>
                      <a:lnTo>
                        <a:pt x="80" y="202"/>
                      </a:lnTo>
                      <a:lnTo>
                        <a:pt x="78" y="202"/>
                      </a:lnTo>
                      <a:lnTo>
                        <a:pt x="76" y="202"/>
                      </a:lnTo>
                      <a:lnTo>
                        <a:pt x="76" y="204"/>
                      </a:lnTo>
                      <a:lnTo>
                        <a:pt x="76" y="202"/>
                      </a:lnTo>
                      <a:lnTo>
                        <a:pt x="76" y="204"/>
                      </a:lnTo>
                      <a:lnTo>
                        <a:pt x="76" y="205"/>
                      </a:lnTo>
                      <a:lnTo>
                        <a:pt x="76" y="207"/>
                      </a:lnTo>
                      <a:lnTo>
                        <a:pt x="75" y="207"/>
                      </a:lnTo>
                      <a:lnTo>
                        <a:pt x="75" y="209"/>
                      </a:lnTo>
                      <a:lnTo>
                        <a:pt x="73" y="209"/>
                      </a:lnTo>
                      <a:lnTo>
                        <a:pt x="73" y="210"/>
                      </a:lnTo>
                      <a:lnTo>
                        <a:pt x="71" y="210"/>
                      </a:lnTo>
                      <a:lnTo>
                        <a:pt x="70" y="210"/>
                      </a:lnTo>
                      <a:lnTo>
                        <a:pt x="68" y="210"/>
                      </a:lnTo>
                      <a:lnTo>
                        <a:pt x="68" y="212"/>
                      </a:lnTo>
                      <a:lnTo>
                        <a:pt x="66" y="210"/>
                      </a:lnTo>
                      <a:lnTo>
                        <a:pt x="66" y="212"/>
                      </a:lnTo>
                      <a:lnTo>
                        <a:pt x="66" y="210"/>
                      </a:lnTo>
                      <a:lnTo>
                        <a:pt x="64" y="210"/>
                      </a:lnTo>
                      <a:lnTo>
                        <a:pt x="63" y="212"/>
                      </a:lnTo>
                      <a:lnTo>
                        <a:pt x="61" y="212"/>
                      </a:lnTo>
                      <a:lnTo>
                        <a:pt x="61" y="210"/>
                      </a:lnTo>
                      <a:lnTo>
                        <a:pt x="61" y="209"/>
                      </a:lnTo>
                      <a:lnTo>
                        <a:pt x="63" y="209"/>
                      </a:lnTo>
                      <a:lnTo>
                        <a:pt x="63" y="207"/>
                      </a:lnTo>
                      <a:lnTo>
                        <a:pt x="63" y="209"/>
                      </a:lnTo>
                      <a:lnTo>
                        <a:pt x="61" y="207"/>
                      </a:lnTo>
                      <a:lnTo>
                        <a:pt x="59" y="207"/>
                      </a:lnTo>
                      <a:lnTo>
                        <a:pt x="58" y="207"/>
                      </a:lnTo>
                      <a:lnTo>
                        <a:pt x="58" y="209"/>
                      </a:lnTo>
                      <a:lnTo>
                        <a:pt x="56" y="209"/>
                      </a:lnTo>
                      <a:lnTo>
                        <a:pt x="54" y="209"/>
                      </a:lnTo>
                      <a:lnTo>
                        <a:pt x="56" y="209"/>
                      </a:lnTo>
                      <a:lnTo>
                        <a:pt x="56" y="207"/>
                      </a:lnTo>
                      <a:lnTo>
                        <a:pt x="54" y="207"/>
                      </a:lnTo>
                      <a:lnTo>
                        <a:pt x="54" y="209"/>
                      </a:lnTo>
                      <a:lnTo>
                        <a:pt x="54" y="207"/>
                      </a:lnTo>
                      <a:lnTo>
                        <a:pt x="54" y="209"/>
                      </a:lnTo>
                      <a:lnTo>
                        <a:pt x="53" y="209"/>
                      </a:lnTo>
                      <a:lnTo>
                        <a:pt x="51" y="209"/>
                      </a:lnTo>
                      <a:lnTo>
                        <a:pt x="51" y="210"/>
                      </a:lnTo>
                      <a:lnTo>
                        <a:pt x="51" y="209"/>
                      </a:lnTo>
                      <a:lnTo>
                        <a:pt x="49" y="209"/>
                      </a:lnTo>
                      <a:lnTo>
                        <a:pt x="49" y="207"/>
                      </a:lnTo>
                      <a:lnTo>
                        <a:pt x="51" y="207"/>
                      </a:lnTo>
                      <a:lnTo>
                        <a:pt x="51" y="205"/>
                      </a:lnTo>
                      <a:lnTo>
                        <a:pt x="53" y="205"/>
                      </a:lnTo>
                      <a:lnTo>
                        <a:pt x="53" y="207"/>
                      </a:lnTo>
                      <a:lnTo>
                        <a:pt x="53" y="205"/>
                      </a:lnTo>
                      <a:lnTo>
                        <a:pt x="54" y="205"/>
                      </a:lnTo>
                      <a:lnTo>
                        <a:pt x="54" y="204"/>
                      </a:lnTo>
                      <a:lnTo>
                        <a:pt x="56" y="204"/>
                      </a:lnTo>
                      <a:lnTo>
                        <a:pt x="56" y="202"/>
                      </a:lnTo>
                      <a:lnTo>
                        <a:pt x="54" y="202"/>
                      </a:lnTo>
                      <a:lnTo>
                        <a:pt x="54" y="204"/>
                      </a:lnTo>
                      <a:lnTo>
                        <a:pt x="54" y="202"/>
                      </a:lnTo>
                      <a:lnTo>
                        <a:pt x="53" y="204"/>
                      </a:lnTo>
                      <a:lnTo>
                        <a:pt x="53" y="202"/>
                      </a:lnTo>
                      <a:lnTo>
                        <a:pt x="54" y="202"/>
                      </a:lnTo>
                      <a:lnTo>
                        <a:pt x="54" y="200"/>
                      </a:lnTo>
                      <a:lnTo>
                        <a:pt x="53" y="200"/>
                      </a:lnTo>
                      <a:lnTo>
                        <a:pt x="54" y="200"/>
                      </a:lnTo>
                      <a:lnTo>
                        <a:pt x="53" y="200"/>
                      </a:lnTo>
                      <a:lnTo>
                        <a:pt x="53" y="199"/>
                      </a:lnTo>
                      <a:lnTo>
                        <a:pt x="51" y="200"/>
                      </a:lnTo>
                      <a:lnTo>
                        <a:pt x="51" y="199"/>
                      </a:lnTo>
                      <a:lnTo>
                        <a:pt x="51" y="200"/>
                      </a:lnTo>
                      <a:lnTo>
                        <a:pt x="51" y="199"/>
                      </a:lnTo>
                      <a:lnTo>
                        <a:pt x="51" y="200"/>
                      </a:lnTo>
                      <a:lnTo>
                        <a:pt x="49" y="200"/>
                      </a:lnTo>
                      <a:lnTo>
                        <a:pt x="49" y="202"/>
                      </a:lnTo>
                      <a:lnTo>
                        <a:pt x="49" y="200"/>
                      </a:lnTo>
                      <a:lnTo>
                        <a:pt x="49" y="202"/>
                      </a:lnTo>
                      <a:lnTo>
                        <a:pt x="51" y="202"/>
                      </a:lnTo>
                      <a:lnTo>
                        <a:pt x="49" y="202"/>
                      </a:lnTo>
                      <a:lnTo>
                        <a:pt x="49" y="204"/>
                      </a:lnTo>
                      <a:lnTo>
                        <a:pt x="49" y="202"/>
                      </a:lnTo>
                      <a:lnTo>
                        <a:pt x="49" y="204"/>
                      </a:lnTo>
                      <a:lnTo>
                        <a:pt x="48" y="204"/>
                      </a:lnTo>
                      <a:lnTo>
                        <a:pt x="48" y="202"/>
                      </a:lnTo>
                      <a:lnTo>
                        <a:pt x="46" y="202"/>
                      </a:lnTo>
                      <a:lnTo>
                        <a:pt x="44" y="202"/>
                      </a:lnTo>
                      <a:lnTo>
                        <a:pt x="44" y="204"/>
                      </a:lnTo>
                      <a:lnTo>
                        <a:pt x="44" y="202"/>
                      </a:lnTo>
                      <a:lnTo>
                        <a:pt x="44" y="204"/>
                      </a:lnTo>
                      <a:lnTo>
                        <a:pt x="42" y="204"/>
                      </a:lnTo>
                      <a:lnTo>
                        <a:pt x="42" y="205"/>
                      </a:lnTo>
                      <a:lnTo>
                        <a:pt x="42" y="207"/>
                      </a:lnTo>
                      <a:lnTo>
                        <a:pt x="44" y="205"/>
                      </a:lnTo>
                      <a:lnTo>
                        <a:pt x="44" y="207"/>
                      </a:lnTo>
                      <a:lnTo>
                        <a:pt x="42" y="207"/>
                      </a:lnTo>
                      <a:lnTo>
                        <a:pt x="42" y="209"/>
                      </a:lnTo>
                      <a:lnTo>
                        <a:pt x="41" y="209"/>
                      </a:lnTo>
                      <a:lnTo>
                        <a:pt x="41" y="207"/>
                      </a:lnTo>
                      <a:lnTo>
                        <a:pt x="39" y="207"/>
                      </a:lnTo>
                      <a:lnTo>
                        <a:pt x="37" y="207"/>
                      </a:lnTo>
                      <a:lnTo>
                        <a:pt x="37" y="209"/>
                      </a:lnTo>
                      <a:lnTo>
                        <a:pt x="36" y="210"/>
                      </a:lnTo>
                      <a:lnTo>
                        <a:pt x="36" y="209"/>
                      </a:lnTo>
                      <a:lnTo>
                        <a:pt x="34" y="209"/>
                      </a:lnTo>
                      <a:lnTo>
                        <a:pt x="32" y="210"/>
                      </a:lnTo>
                      <a:lnTo>
                        <a:pt x="31" y="210"/>
                      </a:lnTo>
                      <a:lnTo>
                        <a:pt x="31" y="212"/>
                      </a:lnTo>
                      <a:lnTo>
                        <a:pt x="29" y="212"/>
                      </a:lnTo>
                      <a:lnTo>
                        <a:pt x="27" y="212"/>
                      </a:lnTo>
                      <a:lnTo>
                        <a:pt x="27" y="210"/>
                      </a:lnTo>
                      <a:lnTo>
                        <a:pt x="27" y="212"/>
                      </a:lnTo>
                      <a:lnTo>
                        <a:pt x="26" y="212"/>
                      </a:lnTo>
                      <a:lnTo>
                        <a:pt x="26" y="210"/>
                      </a:lnTo>
                      <a:lnTo>
                        <a:pt x="24" y="212"/>
                      </a:lnTo>
                      <a:lnTo>
                        <a:pt x="22" y="210"/>
                      </a:lnTo>
                      <a:lnTo>
                        <a:pt x="22" y="212"/>
                      </a:lnTo>
                      <a:lnTo>
                        <a:pt x="21" y="212"/>
                      </a:lnTo>
                      <a:lnTo>
                        <a:pt x="21" y="214"/>
                      </a:lnTo>
                      <a:lnTo>
                        <a:pt x="19" y="214"/>
                      </a:lnTo>
                      <a:lnTo>
                        <a:pt x="19" y="215"/>
                      </a:lnTo>
                      <a:lnTo>
                        <a:pt x="19" y="217"/>
                      </a:lnTo>
                      <a:lnTo>
                        <a:pt x="17" y="218"/>
                      </a:lnTo>
                      <a:lnTo>
                        <a:pt x="19" y="218"/>
                      </a:lnTo>
                      <a:lnTo>
                        <a:pt x="17" y="218"/>
                      </a:lnTo>
                      <a:lnTo>
                        <a:pt x="17" y="220"/>
                      </a:lnTo>
                      <a:lnTo>
                        <a:pt x="19" y="220"/>
                      </a:lnTo>
                      <a:lnTo>
                        <a:pt x="17" y="220"/>
                      </a:lnTo>
                      <a:lnTo>
                        <a:pt x="19" y="222"/>
                      </a:lnTo>
                      <a:lnTo>
                        <a:pt x="17" y="222"/>
                      </a:lnTo>
                      <a:lnTo>
                        <a:pt x="17" y="223"/>
                      </a:lnTo>
                      <a:lnTo>
                        <a:pt x="15" y="223"/>
                      </a:lnTo>
                      <a:lnTo>
                        <a:pt x="17" y="223"/>
                      </a:lnTo>
                      <a:lnTo>
                        <a:pt x="17" y="225"/>
                      </a:lnTo>
                      <a:lnTo>
                        <a:pt x="15" y="225"/>
                      </a:lnTo>
                      <a:lnTo>
                        <a:pt x="15" y="227"/>
                      </a:lnTo>
                      <a:lnTo>
                        <a:pt x="17" y="227"/>
                      </a:lnTo>
                      <a:lnTo>
                        <a:pt x="17" y="228"/>
                      </a:lnTo>
                      <a:lnTo>
                        <a:pt x="19" y="228"/>
                      </a:lnTo>
                      <a:lnTo>
                        <a:pt x="19" y="227"/>
                      </a:lnTo>
                      <a:lnTo>
                        <a:pt x="21" y="227"/>
                      </a:lnTo>
                      <a:lnTo>
                        <a:pt x="21" y="225"/>
                      </a:lnTo>
                      <a:lnTo>
                        <a:pt x="21" y="227"/>
                      </a:lnTo>
                      <a:lnTo>
                        <a:pt x="21" y="225"/>
                      </a:lnTo>
                      <a:lnTo>
                        <a:pt x="22" y="227"/>
                      </a:lnTo>
                      <a:lnTo>
                        <a:pt x="22" y="225"/>
                      </a:lnTo>
                      <a:lnTo>
                        <a:pt x="22" y="223"/>
                      </a:lnTo>
                      <a:lnTo>
                        <a:pt x="24" y="223"/>
                      </a:lnTo>
                      <a:lnTo>
                        <a:pt x="22" y="225"/>
                      </a:lnTo>
                      <a:lnTo>
                        <a:pt x="24" y="225"/>
                      </a:lnTo>
                      <a:lnTo>
                        <a:pt x="26" y="225"/>
                      </a:lnTo>
                      <a:lnTo>
                        <a:pt x="24" y="225"/>
                      </a:lnTo>
                      <a:lnTo>
                        <a:pt x="26" y="225"/>
                      </a:lnTo>
                      <a:lnTo>
                        <a:pt x="26" y="227"/>
                      </a:lnTo>
                      <a:lnTo>
                        <a:pt x="24" y="227"/>
                      </a:lnTo>
                      <a:lnTo>
                        <a:pt x="26" y="227"/>
                      </a:lnTo>
                      <a:lnTo>
                        <a:pt x="24" y="227"/>
                      </a:lnTo>
                      <a:lnTo>
                        <a:pt x="22" y="227"/>
                      </a:lnTo>
                      <a:lnTo>
                        <a:pt x="21" y="227"/>
                      </a:lnTo>
                      <a:lnTo>
                        <a:pt x="22" y="227"/>
                      </a:lnTo>
                      <a:lnTo>
                        <a:pt x="21" y="227"/>
                      </a:lnTo>
                      <a:lnTo>
                        <a:pt x="21" y="228"/>
                      </a:lnTo>
                      <a:lnTo>
                        <a:pt x="22" y="228"/>
                      </a:lnTo>
                      <a:lnTo>
                        <a:pt x="22" y="227"/>
                      </a:lnTo>
                      <a:lnTo>
                        <a:pt x="22" y="228"/>
                      </a:lnTo>
                      <a:lnTo>
                        <a:pt x="21" y="228"/>
                      </a:lnTo>
                      <a:lnTo>
                        <a:pt x="19" y="228"/>
                      </a:lnTo>
                      <a:lnTo>
                        <a:pt x="21" y="230"/>
                      </a:lnTo>
                      <a:lnTo>
                        <a:pt x="19" y="230"/>
                      </a:lnTo>
                      <a:lnTo>
                        <a:pt x="21" y="230"/>
                      </a:lnTo>
                      <a:lnTo>
                        <a:pt x="22" y="228"/>
                      </a:lnTo>
                      <a:lnTo>
                        <a:pt x="24" y="228"/>
                      </a:lnTo>
                      <a:lnTo>
                        <a:pt x="26" y="228"/>
                      </a:lnTo>
                      <a:lnTo>
                        <a:pt x="26" y="230"/>
                      </a:lnTo>
                      <a:lnTo>
                        <a:pt x="24" y="230"/>
                      </a:lnTo>
                      <a:lnTo>
                        <a:pt x="24" y="232"/>
                      </a:lnTo>
                      <a:lnTo>
                        <a:pt x="22" y="233"/>
                      </a:lnTo>
                      <a:lnTo>
                        <a:pt x="22" y="235"/>
                      </a:lnTo>
                      <a:lnTo>
                        <a:pt x="24" y="235"/>
                      </a:lnTo>
                      <a:lnTo>
                        <a:pt x="22" y="233"/>
                      </a:lnTo>
                      <a:lnTo>
                        <a:pt x="24" y="233"/>
                      </a:lnTo>
                      <a:lnTo>
                        <a:pt x="26" y="232"/>
                      </a:lnTo>
                      <a:lnTo>
                        <a:pt x="26" y="230"/>
                      </a:lnTo>
                      <a:lnTo>
                        <a:pt x="27" y="230"/>
                      </a:lnTo>
                      <a:lnTo>
                        <a:pt x="27" y="228"/>
                      </a:lnTo>
                      <a:lnTo>
                        <a:pt x="29" y="228"/>
                      </a:lnTo>
                      <a:lnTo>
                        <a:pt x="31" y="228"/>
                      </a:lnTo>
                      <a:lnTo>
                        <a:pt x="29" y="230"/>
                      </a:lnTo>
                      <a:lnTo>
                        <a:pt x="29" y="232"/>
                      </a:lnTo>
                      <a:lnTo>
                        <a:pt x="31" y="232"/>
                      </a:lnTo>
                      <a:lnTo>
                        <a:pt x="32" y="232"/>
                      </a:lnTo>
                      <a:lnTo>
                        <a:pt x="34" y="232"/>
                      </a:lnTo>
                      <a:lnTo>
                        <a:pt x="34" y="233"/>
                      </a:lnTo>
                      <a:lnTo>
                        <a:pt x="36" y="233"/>
                      </a:lnTo>
                      <a:lnTo>
                        <a:pt x="34" y="233"/>
                      </a:lnTo>
                      <a:lnTo>
                        <a:pt x="36" y="233"/>
                      </a:lnTo>
                      <a:lnTo>
                        <a:pt x="36" y="235"/>
                      </a:lnTo>
                      <a:lnTo>
                        <a:pt x="36" y="233"/>
                      </a:lnTo>
                      <a:lnTo>
                        <a:pt x="36" y="235"/>
                      </a:lnTo>
                      <a:lnTo>
                        <a:pt x="36" y="233"/>
                      </a:lnTo>
                      <a:lnTo>
                        <a:pt x="34" y="233"/>
                      </a:lnTo>
                      <a:lnTo>
                        <a:pt x="32" y="235"/>
                      </a:lnTo>
                      <a:lnTo>
                        <a:pt x="31" y="235"/>
                      </a:lnTo>
                      <a:lnTo>
                        <a:pt x="31" y="237"/>
                      </a:lnTo>
                      <a:lnTo>
                        <a:pt x="31" y="238"/>
                      </a:lnTo>
                      <a:lnTo>
                        <a:pt x="29" y="238"/>
                      </a:lnTo>
                      <a:lnTo>
                        <a:pt x="29" y="240"/>
                      </a:lnTo>
                      <a:lnTo>
                        <a:pt x="27" y="240"/>
                      </a:lnTo>
                      <a:lnTo>
                        <a:pt x="26" y="240"/>
                      </a:lnTo>
                      <a:lnTo>
                        <a:pt x="27" y="238"/>
                      </a:lnTo>
                      <a:lnTo>
                        <a:pt x="26" y="238"/>
                      </a:lnTo>
                      <a:lnTo>
                        <a:pt x="26" y="240"/>
                      </a:lnTo>
                      <a:lnTo>
                        <a:pt x="26" y="238"/>
                      </a:lnTo>
                      <a:lnTo>
                        <a:pt x="24" y="240"/>
                      </a:lnTo>
                      <a:lnTo>
                        <a:pt x="24" y="238"/>
                      </a:lnTo>
                      <a:lnTo>
                        <a:pt x="22" y="238"/>
                      </a:lnTo>
                      <a:lnTo>
                        <a:pt x="21" y="238"/>
                      </a:lnTo>
                      <a:lnTo>
                        <a:pt x="22" y="238"/>
                      </a:lnTo>
                      <a:lnTo>
                        <a:pt x="21" y="238"/>
                      </a:lnTo>
                      <a:lnTo>
                        <a:pt x="19" y="238"/>
                      </a:lnTo>
                      <a:lnTo>
                        <a:pt x="19" y="240"/>
                      </a:lnTo>
                      <a:lnTo>
                        <a:pt x="19" y="238"/>
                      </a:lnTo>
                      <a:lnTo>
                        <a:pt x="17" y="238"/>
                      </a:lnTo>
                      <a:lnTo>
                        <a:pt x="15" y="238"/>
                      </a:lnTo>
                      <a:lnTo>
                        <a:pt x="15" y="240"/>
                      </a:lnTo>
                      <a:lnTo>
                        <a:pt x="15" y="241"/>
                      </a:lnTo>
                      <a:lnTo>
                        <a:pt x="14" y="240"/>
                      </a:lnTo>
                      <a:lnTo>
                        <a:pt x="12" y="240"/>
                      </a:lnTo>
                      <a:lnTo>
                        <a:pt x="12" y="238"/>
                      </a:lnTo>
                      <a:lnTo>
                        <a:pt x="10" y="238"/>
                      </a:lnTo>
                      <a:lnTo>
                        <a:pt x="10" y="237"/>
                      </a:lnTo>
                      <a:lnTo>
                        <a:pt x="10" y="235"/>
                      </a:lnTo>
                      <a:lnTo>
                        <a:pt x="9" y="235"/>
                      </a:lnTo>
                      <a:lnTo>
                        <a:pt x="10" y="235"/>
                      </a:lnTo>
                      <a:lnTo>
                        <a:pt x="7" y="233"/>
                      </a:lnTo>
                      <a:lnTo>
                        <a:pt x="5" y="233"/>
                      </a:lnTo>
                      <a:lnTo>
                        <a:pt x="5" y="232"/>
                      </a:lnTo>
                      <a:lnTo>
                        <a:pt x="5" y="230"/>
                      </a:lnTo>
                      <a:lnTo>
                        <a:pt x="4" y="230"/>
                      </a:lnTo>
                      <a:lnTo>
                        <a:pt x="2" y="230"/>
                      </a:lnTo>
                      <a:lnTo>
                        <a:pt x="0" y="230"/>
                      </a:lnTo>
                      <a:lnTo>
                        <a:pt x="0" y="228"/>
                      </a:lnTo>
                      <a:lnTo>
                        <a:pt x="0" y="227"/>
                      </a:lnTo>
                      <a:lnTo>
                        <a:pt x="0" y="225"/>
                      </a:lnTo>
                      <a:lnTo>
                        <a:pt x="2" y="223"/>
                      </a:lnTo>
                      <a:lnTo>
                        <a:pt x="4" y="223"/>
                      </a:lnTo>
                      <a:lnTo>
                        <a:pt x="4" y="222"/>
                      </a:lnTo>
                      <a:lnTo>
                        <a:pt x="5" y="222"/>
                      </a:lnTo>
                      <a:lnTo>
                        <a:pt x="5" y="220"/>
                      </a:lnTo>
                      <a:lnTo>
                        <a:pt x="7" y="220"/>
                      </a:lnTo>
                      <a:lnTo>
                        <a:pt x="7" y="218"/>
                      </a:lnTo>
                      <a:lnTo>
                        <a:pt x="7" y="217"/>
                      </a:lnTo>
                      <a:lnTo>
                        <a:pt x="7" y="215"/>
                      </a:lnTo>
                      <a:lnTo>
                        <a:pt x="7" y="214"/>
                      </a:lnTo>
                      <a:lnTo>
                        <a:pt x="7" y="212"/>
                      </a:lnTo>
                      <a:lnTo>
                        <a:pt x="9" y="212"/>
                      </a:lnTo>
                      <a:lnTo>
                        <a:pt x="9" y="210"/>
                      </a:lnTo>
                      <a:lnTo>
                        <a:pt x="9" y="209"/>
                      </a:lnTo>
                      <a:lnTo>
                        <a:pt x="9" y="207"/>
                      </a:lnTo>
                      <a:lnTo>
                        <a:pt x="9" y="205"/>
                      </a:lnTo>
                      <a:lnTo>
                        <a:pt x="10" y="205"/>
                      </a:lnTo>
                      <a:lnTo>
                        <a:pt x="12" y="205"/>
                      </a:lnTo>
                      <a:lnTo>
                        <a:pt x="12" y="204"/>
                      </a:lnTo>
                      <a:lnTo>
                        <a:pt x="14" y="204"/>
                      </a:lnTo>
                      <a:lnTo>
                        <a:pt x="12" y="204"/>
                      </a:lnTo>
                      <a:lnTo>
                        <a:pt x="14" y="204"/>
                      </a:lnTo>
                      <a:lnTo>
                        <a:pt x="14" y="202"/>
                      </a:lnTo>
                      <a:lnTo>
                        <a:pt x="15" y="202"/>
                      </a:lnTo>
                      <a:lnTo>
                        <a:pt x="15" y="200"/>
                      </a:lnTo>
                      <a:lnTo>
                        <a:pt x="17" y="200"/>
                      </a:lnTo>
                      <a:lnTo>
                        <a:pt x="19" y="200"/>
                      </a:lnTo>
                      <a:lnTo>
                        <a:pt x="21" y="200"/>
                      </a:lnTo>
                      <a:lnTo>
                        <a:pt x="21" y="199"/>
                      </a:lnTo>
                      <a:lnTo>
                        <a:pt x="21" y="200"/>
                      </a:lnTo>
                      <a:lnTo>
                        <a:pt x="22" y="200"/>
                      </a:lnTo>
                      <a:lnTo>
                        <a:pt x="22" y="199"/>
                      </a:lnTo>
                      <a:lnTo>
                        <a:pt x="24" y="199"/>
                      </a:lnTo>
                      <a:lnTo>
                        <a:pt x="24" y="197"/>
                      </a:lnTo>
                      <a:lnTo>
                        <a:pt x="26" y="197"/>
                      </a:lnTo>
                      <a:lnTo>
                        <a:pt x="27" y="195"/>
                      </a:lnTo>
                      <a:lnTo>
                        <a:pt x="27" y="197"/>
                      </a:lnTo>
                      <a:lnTo>
                        <a:pt x="27" y="195"/>
                      </a:lnTo>
                      <a:lnTo>
                        <a:pt x="29" y="195"/>
                      </a:lnTo>
                      <a:lnTo>
                        <a:pt x="31" y="195"/>
                      </a:lnTo>
                      <a:lnTo>
                        <a:pt x="31" y="197"/>
                      </a:lnTo>
                      <a:lnTo>
                        <a:pt x="32" y="197"/>
                      </a:lnTo>
                      <a:lnTo>
                        <a:pt x="32" y="195"/>
                      </a:lnTo>
                      <a:lnTo>
                        <a:pt x="34" y="194"/>
                      </a:lnTo>
                      <a:lnTo>
                        <a:pt x="36" y="194"/>
                      </a:lnTo>
                      <a:lnTo>
                        <a:pt x="37" y="192"/>
                      </a:lnTo>
                      <a:lnTo>
                        <a:pt x="39" y="192"/>
                      </a:lnTo>
                      <a:lnTo>
                        <a:pt x="39" y="194"/>
                      </a:lnTo>
                      <a:lnTo>
                        <a:pt x="39" y="195"/>
                      </a:lnTo>
                      <a:lnTo>
                        <a:pt x="41" y="195"/>
                      </a:lnTo>
                      <a:lnTo>
                        <a:pt x="42" y="195"/>
                      </a:lnTo>
                      <a:lnTo>
                        <a:pt x="42" y="194"/>
                      </a:lnTo>
                      <a:lnTo>
                        <a:pt x="44" y="194"/>
                      </a:lnTo>
                      <a:lnTo>
                        <a:pt x="44" y="192"/>
                      </a:lnTo>
                      <a:lnTo>
                        <a:pt x="46" y="192"/>
                      </a:lnTo>
                      <a:lnTo>
                        <a:pt x="46" y="194"/>
                      </a:lnTo>
                      <a:lnTo>
                        <a:pt x="48" y="194"/>
                      </a:lnTo>
                      <a:lnTo>
                        <a:pt x="49" y="194"/>
                      </a:lnTo>
                      <a:lnTo>
                        <a:pt x="51" y="192"/>
                      </a:lnTo>
                      <a:lnTo>
                        <a:pt x="53" y="192"/>
                      </a:lnTo>
                      <a:lnTo>
                        <a:pt x="54" y="192"/>
                      </a:lnTo>
                      <a:lnTo>
                        <a:pt x="53" y="192"/>
                      </a:lnTo>
                      <a:lnTo>
                        <a:pt x="54" y="192"/>
                      </a:lnTo>
                      <a:lnTo>
                        <a:pt x="54" y="191"/>
                      </a:lnTo>
                      <a:lnTo>
                        <a:pt x="56" y="191"/>
                      </a:lnTo>
                      <a:lnTo>
                        <a:pt x="58" y="191"/>
                      </a:lnTo>
                      <a:lnTo>
                        <a:pt x="58" y="192"/>
                      </a:lnTo>
                      <a:lnTo>
                        <a:pt x="59" y="191"/>
                      </a:lnTo>
                      <a:lnTo>
                        <a:pt x="59" y="189"/>
                      </a:lnTo>
                      <a:lnTo>
                        <a:pt x="61" y="189"/>
                      </a:lnTo>
                      <a:lnTo>
                        <a:pt x="61" y="187"/>
                      </a:lnTo>
                      <a:lnTo>
                        <a:pt x="59" y="187"/>
                      </a:lnTo>
                      <a:lnTo>
                        <a:pt x="59" y="186"/>
                      </a:lnTo>
                      <a:lnTo>
                        <a:pt x="61" y="184"/>
                      </a:lnTo>
                      <a:lnTo>
                        <a:pt x="63" y="182"/>
                      </a:lnTo>
                      <a:lnTo>
                        <a:pt x="64" y="182"/>
                      </a:lnTo>
                      <a:lnTo>
                        <a:pt x="66" y="181"/>
                      </a:lnTo>
                      <a:lnTo>
                        <a:pt x="64" y="181"/>
                      </a:lnTo>
                      <a:lnTo>
                        <a:pt x="66" y="181"/>
                      </a:lnTo>
                      <a:lnTo>
                        <a:pt x="68" y="179"/>
                      </a:lnTo>
                      <a:lnTo>
                        <a:pt x="68" y="177"/>
                      </a:lnTo>
                      <a:lnTo>
                        <a:pt x="70" y="177"/>
                      </a:lnTo>
                      <a:lnTo>
                        <a:pt x="68" y="177"/>
                      </a:lnTo>
                      <a:lnTo>
                        <a:pt x="68" y="176"/>
                      </a:lnTo>
                      <a:lnTo>
                        <a:pt x="66" y="174"/>
                      </a:lnTo>
                      <a:lnTo>
                        <a:pt x="66" y="172"/>
                      </a:lnTo>
                      <a:lnTo>
                        <a:pt x="64" y="172"/>
                      </a:lnTo>
                      <a:lnTo>
                        <a:pt x="64" y="171"/>
                      </a:lnTo>
                      <a:lnTo>
                        <a:pt x="63" y="171"/>
                      </a:lnTo>
                      <a:lnTo>
                        <a:pt x="61" y="171"/>
                      </a:lnTo>
                      <a:lnTo>
                        <a:pt x="59" y="171"/>
                      </a:lnTo>
                      <a:lnTo>
                        <a:pt x="59" y="169"/>
                      </a:lnTo>
                      <a:lnTo>
                        <a:pt x="58" y="169"/>
                      </a:lnTo>
                      <a:lnTo>
                        <a:pt x="58" y="171"/>
                      </a:lnTo>
                      <a:lnTo>
                        <a:pt x="56" y="171"/>
                      </a:lnTo>
                      <a:lnTo>
                        <a:pt x="56" y="169"/>
                      </a:lnTo>
                      <a:lnTo>
                        <a:pt x="54" y="169"/>
                      </a:lnTo>
                      <a:lnTo>
                        <a:pt x="53" y="169"/>
                      </a:lnTo>
                      <a:lnTo>
                        <a:pt x="51" y="169"/>
                      </a:lnTo>
                      <a:lnTo>
                        <a:pt x="51" y="171"/>
                      </a:lnTo>
                      <a:lnTo>
                        <a:pt x="49" y="171"/>
                      </a:lnTo>
                      <a:lnTo>
                        <a:pt x="49" y="169"/>
                      </a:lnTo>
                      <a:lnTo>
                        <a:pt x="49" y="168"/>
                      </a:lnTo>
                      <a:lnTo>
                        <a:pt x="48" y="168"/>
                      </a:lnTo>
                      <a:lnTo>
                        <a:pt x="46" y="168"/>
                      </a:lnTo>
                      <a:lnTo>
                        <a:pt x="46" y="169"/>
                      </a:lnTo>
                      <a:lnTo>
                        <a:pt x="46" y="171"/>
                      </a:lnTo>
                      <a:lnTo>
                        <a:pt x="44" y="169"/>
                      </a:lnTo>
                      <a:lnTo>
                        <a:pt x="42" y="169"/>
                      </a:lnTo>
                      <a:lnTo>
                        <a:pt x="42" y="171"/>
                      </a:lnTo>
                      <a:lnTo>
                        <a:pt x="41" y="171"/>
                      </a:lnTo>
                      <a:lnTo>
                        <a:pt x="39" y="171"/>
                      </a:lnTo>
                      <a:lnTo>
                        <a:pt x="37" y="171"/>
                      </a:lnTo>
                      <a:lnTo>
                        <a:pt x="37" y="172"/>
                      </a:lnTo>
                      <a:lnTo>
                        <a:pt x="36" y="174"/>
                      </a:lnTo>
                      <a:lnTo>
                        <a:pt x="36" y="172"/>
                      </a:lnTo>
                      <a:lnTo>
                        <a:pt x="34" y="172"/>
                      </a:lnTo>
                      <a:lnTo>
                        <a:pt x="34" y="174"/>
                      </a:lnTo>
                      <a:lnTo>
                        <a:pt x="34" y="172"/>
                      </a:lnTo>
                      <a:lnTo>
                        <a:pt x="34" y="171"/>
                      </a:lnTo>
                      <a:lnTo>
                        <a:pt x="32" y="171"/>
                      </a:lnTo>
                      <a:lnTo>
                        <a:pt x="31" y="171"/>
                      </a:lnTo>
                      <a:lnTo>
                        <a:pt x="31" y="169"/>
                      </a:lnTo>
                      <a:lnTo>
                        <a:pt x="29" y="171"/>
                      </a:lnTo>
                      <a:lnTo>
                        <a:pt x="29" y="172"/>
                      </a:lnTo>
                      <a:lnTo>
                        <a:pt x="27" y="172"/>
                      </a:lnTo>
                      <a:lnTo>
                        <a:pt x="27" y="171"/>
                      </a:lnTo>
                      <a:lnTo>
                        <a:pt x="26" y="171"/>
                      </a:lnTo>
                      <a:lnTo>
                        <a:pt x="24" y="171"/>
                      </a:lnTo>
                      <a:lnTo>
                        <a:pt x="22" y="171"/>
                      </a:lnTo>
                      <a:lnTo>
                        <a:pt x="22" y="169"/>
                      </a:lnTo>
                      <a:lnTo>
                        <a:pt x="24" y="169"/>
                      </a:lnTo>
                      <a:lnTo>
                        <a:pt x="22" y="169"/>
                      </a:lnTo>
                      <a:lnTo>
                        <a:pt x="22" y="168"/>
                      </a:lnTo>
                      <a:lnTo>
                        <a:pt x="24" y="168"/>
                      </a:lnTo>
                      <a:lnTo>
                        <a:pt x="24" y="166"/>
                      </a:lnTo>
                      <a:lnTo>
                        <a:pt x="22" y="166"/>
                      </a:lnTo>
                      <a:lnTo>
                        <a:pt x="21" y="166"/>
                      </a:lnTo>
                      <a:lnTo>
                        <a:pt x="21" y="164"/>
                      </a:lnTo>
                      <a:lnTo>
                        <a:pt x="19" y="163"/>
                      </a:lnTo>
                      <a:lnTo>
                        <a:pt x="17" y="161"/>
                      </a:lnTo>
                      <a:lnTo>
                        <a:pt x="17" y="163"/>
                      </a:lnTo>
                      <a:lnTo>
                        <a:pt x="15" y="161"/>
                      </a:lnTo>
                      <a:lnTo>
                        <a:pt x="17" y="161"/>
                      </a:lnTo>
                      <a:lnTo>
                        <a:pt x="17" y="159"/>
                      </a:lnTo>
                      <a:lnTo>
                        <a:pt x="15" y="159"/>
                      </a:lnTo>
                      <a:lnTo>
                        <a:pt x="15" y="158"/>
                      </a:lnTo>
                      <a:lnTo>
                        <a:pt x="15" y="156"/>
                      </a:lnTo>
                      <a:lnTo>
                        <a:pt x="15" y="154"/>
                      </a:lnTo>
                      <a:lnTo>
                        <a:pt x="14" y="154"/>
                      </a:lnTo>
                      <a:lnTo>
                        <a:pt x="15" y="154"/>
                      </a:lnTo>
                      <a:lnTo>
                        <a:pt x="14" y="154"/>
                      </a:lnTo>
                      <a:lnTo>
                        <a:pt x="14" y="153"/>
                      </a:lnTo>
                      <a:lnTo>
                        <a:pt x="12" y="153"/>
                      </a:lnTo>
                      <a:lnTo>
                        <a:pt x="10" y="153"/>
                      </a:lnTo>
                      <a:lnTo>
                        <a:pt x="9" y="153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9" y="151"/>
                      </a:lnTo>
                      <a:lnTo>
                        <a:pt x="9" y="149"/>
                      </a:lnTo>
                      <a:lnTo>
                        <a:pt x="10" y="149"/>
                      </a:lnTo>
                      <a:lnTo>
                        <a:pt x="12" y="149"/>
                      </a:lnTo>
                      <a:lnTo>
                        <a:pt x="14" y="149"/>
                      </a:lnTo>
                      <a:lnTo>
                        <a:pt x="15" y="148"/>
                      </a:lnTo>
                      <a:lnTo>
                        <a:pt x="17" y="148"/>
                      </a:lnTo>
                      <a:lnTo>
                        <a:pt x="17" y="149"/>
                      </a:lnTo>
                      <a:lnTo>
                        <a:pt x="17" y="148"/>
                      </a:lnTo>
                      <a:lnTo>
                        <a:pt x="19" y="149"/>
                      </a:lnTo>
                      <a:lnTo>
                        <a:pt x="19" y="148"/>
                      </a:lnTo>
                      <a:lnTo>
                        <a:pt x="19" y="149"/>
                      </a:lnTo>
                      <a:lnTo>
                        <a:pt x="21" y="149"/>
                      </a:lnTo>
                      <a:lnTo>
                        <a:pt x="22" y="149"/>
                      </a:lnTo>
                      <a:lnTo>
                        <a:pt x="22" y="148"/>
                      </a:lnTo>
                      <a:lnTo>
                        <a:pt x="24" y="148"/>
                      </a:lnTo>
                      <a:lnTo>
                        <a:pt x="24" y="146"/>
                      </a:lnTo>
                      <a:lnTo>
                        <a:pt x="26" y="146"/>
                      </a:lnTo>
                      <a:lnTo>
                        <a:pt x="26" y="145"/>
                      </a:lnTo>
                      <a:lnTo>
                        <a:pt x="27" y="145"/>
                      </a:lnTo>
                      <a:lnTo>
                        <a:pt x="29" y="145"/>
                      </a:lnTo>
                      <a:lnTo>
                        <a:pt x="31" y="145"/>
                      </a:lnTo>
                      <a:lnTo>
                        <a:pt x="32" y="145"/>
                      </a:lnTo>
                      <a:lnTo>
                        <a:pt x="34" y="145"/>
                      </a:lnTo>
                      <a:lnTo>
                        <a:pt x="36" y="143"/>
                      </a:lnTo>
                      <a:lnTo>
                        <a:pt x="37" y="143"/>
                      </a:lnTo>
                      <a:lnTo>
                        <a:pt x="37" y="141"/>
                      </a:lnTo>
                      <a:lnTo>
                        <a:pt x="39" y="141"/>
                      </a:lnTo>
                      <a:lnTo>
                        <a:pt x="39" y="140"/>
                      </a:lnTo>
                      <a:lnTo>
                        <a:pt x="41" y="140"/>
                      </a:lnTo>
                      <a:lnTo>
                        <a:pt x="41" y="138"/>
                      </a:lnTo>
                      <a:lnTo>
                        <a:pt x="42" y="138"/>
                      </a:lnTo>
                      <a:lnTo>
                        <a:pt x="44" y="138"/>
                      </a:lnTo>
                      <a:lnTo>
                        <a:pt x="46" y="138"/>
                      </a:lnTo>
                      <a:lnTo>
                        <a:pt x="48" y="138"/>
                      </a:lnTo>
                      <a:lnTo>
                        <a:pt x="48" y="140"/>
                      </a:lnTo>
                      <a:lnTo>
                        <a:pt x="49" y="140"/>
                      </a:lnTo>
                      <a:lnTo>
                        <a:pt x="49" y="138"/>
                      </a:lnTo>
                      <a:lnTo>
                        <a:pt x="51" y="138"/>
                      </a:lnTo>
                      <a:lnTo>
                        <a:pt x="53" y="138"/>
                      </a:lnTo>
                      <a:lnTo>
                        <a:pt x="54" y="138"/>
                      </a:lnTo>
                      <a:lnTo>
                        <a:pt x="56" y="138"/>
                      </a:lnTo>
                      <a:lnTo>
                        <a:pt x="56" y="136"/>
                      </a:lnTo>
                      <a:lnTo>
                        <a:pt x="56" y="138"/>
                      </a:lnTo>
                      <a:lnTo>
                        <a:pt x="58" y="136"/>
                      </a:lnTo>
                      <a:lnTo>
                        <a:pt x="59" y="136"/>
                      </a:lnTo>
                      <a:lnTo>
                        <a:pt x="59" y="138"/>
                      </a:lnTo>
                      <a:lnTo>
                        <a:pt x="59" y="136"/>
                      </a:lnTo>
                      <a:lnTo>
                        <a:pt x="59" y="138"/>
                      </a:lnTo>
                      <a:lnTo>
                        <a:pt x="59" y="140"/>
                      </a:lnTo>
                      <a:lnTo>
                        <a:pt x="61" y="138"/>
                      </a:lnTo>
                      <a:lnTo>
                        <a:pt x="61" y="140"/>
                      </a:lnTo>
                      <a:lnTo>
                        <a:pt x="61" y="138"/>
                      </a:lnTo>
                      <a:lnTo>
                        <a:pt x="61" y="140"/>
                      </a:lnTo>
                      <a:lnTo>
                        <a:pt x="63" y="138"/>
                      </a:lnTo>
                      <a:lnTo>
                        <a:pt x="64" y="138"/>
                      </a:lnTo>
                      <a:lnTo>
                        <a:pt x="66" y="136"/>
                      </a:lnTo>
                      <a:lnTo>
                        <a:pt x="68" y="136"/>
                      </a:lnTo>
                      <a:lnTo>
                        <a:pt x="66" y="136"/>
                      </a:lnTo>
                      <a:lnTo>
                        <a:pt x="68" y="135"/>
                      </a:lnTo>
                      <a:lnTo>
                        <a:pt x="68" y="136"/>
                      </a:lnTo>
                      <a:lnTo>
                        <a:pt x="68" y="135"/>
                      </a:lnTo>
                      <a:lnTo>
                        <a:pt x="68" y="136"/>
                      </a:lnTo>
                      <a:lnTo>
                        <a:pt x="70" y="136"/>
                      </a:lnTo>
                      <a:lnTo>
                        <a:pt x="70" y="135"/>
                      </a:lnTo>
                      <a:lnTo>
                        <a:pt x="71" y="135"/>
                      </a:lnTo>
                      <a:lnTo>
                        <a:pt x="71" y="133"/>
                      </a:lnTo>
                      <a:lnTo>
                        <a:pt x="73" y="135"/>
                      </a:lnTo>
                      <a:lnTo>
                        <a:pt x="73" y="133"/>
                      </a:lnTo>
                      <a:lnTo>
                        <a:pt x="73" y="131"/>
                      </a:lnTo>
                      <a:lnTo>
                        <a:pt x="75" y="131"/>
                      </a:lnTo>
                      <a:lnTo>
                        <a:pt x="75" y="130"/>
                      </a:lnTo>
                      <a:lnTo>
                        <a:pt x="75" y="131"/>
                      </a:lnTo>
                      <a:lnTo>
                        <a:pt x="76" y="131"/>
                      </a:lnTo>
                      <a:lnTo>
                        <a:pt x="76" y="130"/>
                      </a:lnTo>
                      <a:lnTo>
                        <a:pt x="78" y="130"/>
                      </a:lnTo>
                      <a:lnTo>
                        <a:pt x="80" y="130"/>
                      </a:lnTo>
                      <a:lnTo>
                        <a:pt x="80" y="128"/>
                      </a:lnTo>
                      <a:lnTo>
                        <a:pt x="81" y="128"/>
                      </a:lnTo>
                      <a:lnTo>
                        <a:pt x="83" y="128"/>
                      </a:lnTo>
                      <a:lnTo>
                        <a:pt x="83" y="130"/>
                      </a:lnTo>
                      <a:lnTo>
                        <a:pt x="85" y="130"/>
                      </a:lnTo>
                      <a:lnTo>
                        <a:pt x="85" y="128"/>
                      </a:lnTo>
                      <a:lnTo>
                        <a:pt x="85" y="130"/>
                      </a:lnTo>
                      <a:lnTo>
                        <a:pt x="85" y="128"/>
                      </a:lnTo>
                      <a:lnTo>
                        <a:pt x="86" y="128"/>
                      </a:lnTo>
                      <a:lnTo>
                        <a:pt x="88" y="128"/>
                      </a:lnTo>
                      <a:lnTo>
                        <a:pt x="90" y="126"/>
                      </a:lnTo>
                      <a:lnTo>
                        <a:pt x="91" y="126"/>
                      </a:lnTo>
                      <a:lnTo>
                        <a:pt x="93" y="125"/>
                      </a:lnTo>
                      <a:lnTo>
                        <a:pt x="95" y="125"/>
                      </a:lnTo>
                      <a:lnTo>
                        <a:pt x="95" y="123"/>
                      </a:lnTo>
                      <a:lnTo>
                        <a:pt x="97" y="123"/>
                      </a:lnTo>
                      <a:lnTo>
                        <a:pt x="97" y="125"/>
                      </a:lnTo>
                      <a:lnTo>
                        <a:pt x="97" y="123"/>
                      </a:lnTo>
                      <a:lnTo>
                        <a:pt x="98" y="123"/>
                      </a:lnTo>
                      <a:lnTo>
                        <a:pt x="100" y="123"/>
                      </a:lnTo>
                      <a:lnTo>
                        <a:pt x="102" y="123"/>
                      </a:lnTo>
                      <a:lnTo>
                        <a:pt x="102" y="122"/>
                      </a:lnTo>
                      <a:lnTo>
                        <a:pt x="103" y="122"/>
                      </a:lnTo>
                      <a:lnTo>
                        <a:pt x="105" y="122"/>
                      </a:lnTo>
                      <a:lnTo>
                        <a:pt x="105" y="120"/>
                      </a:lnTo>
                      <a:lnTo>
                        <a:pt x="107" y="122"/>
                      </a:lnTo>
                      <a:lnTo>
                        <a:pt x="107" y="120"/>
                      </a:lnTo>
                      <a:lnTo>
                        <a:pt x="107" y="122"/>
                      </a:lnTo>
                      <a:lnTo>
                        <a:pt x="108" y="123"/>
                      </a:lnTo>
                      <a:lnTo>
                        <a:pt x="110" y="123"/>
                      </a:lnTo>
                      <a:lnTo>
                        <a:pt x="110" y="122"/>
                      </a:lnTo>
                      <a:lnTo>
                        <a:pt x="112" y="122"/>
                      </a:lnTo>
                      <a:lnTo>
                        <a:pt x="113" y="122"/>
                      </a:lnTo>
                      <a:lnTo>
                        <a:pt x="115" y="122"/>
                      </a:lnTo>
                      <a:lnTo>
                        <a:pt x="115" y="123"/>
                      </a:lnTo>
                      <a:lnTo>
                        <a:pt x="115" y="122"/>
                      </a:lnTo>
                      <a:lnTo>
                        <a:pt x="117" y="122"/>
                      </a:lnTo>
                      <a:lnTo>
                        <a:pt x="117" y="120"/>
                      </a:lnTo>
                      <a:lnTo>
                        <a:pt x="118" y="120"/>
                      </a:lnTo>
                      <a:lnTo>
                        <a:pt x="118" y="122"/>
                      </a:lnTo>
                      <a:lnTo>
                        <a:pt x="120" y="122"/>
                      </a:lnTo>
                      <a:lnTo>
                        <a:pt x="122" y="122"/>
                      </a:lnTo>
                      <a:lnTo>
                        <a:pt x="122" y="120"/>
                      </a:lnTo>
                      <a:lnTo>
                        <a:pt x="124" y="120"/>
                      </a:lnTo>
                      <a:lnTo>
                        <a:pt x="124" y="122"/>
                      </a:lnTo>
                      <a:lnTo>
                        <a:pt x="125" y="122"/>
                      </a:lnTo>
                      <a:lnTo>
                        <a:pt x="125" y="123"/>
                      </a:lnTo>
                      <a:lnTo>
                        <a:pt x="125" y="122"/>
                      </a:lnTo>
                      <a:lnTo>
                        <a:pt x="127" y="122"/>
                      </a:lnTo>
                      <a:lnTo>
                        <a:pt x="129" y="122"/>
                      </a:lnTo>
                      <a:lnTo>
                        <a:pt x="130" y="120"/>
                      </a:lnTo>
                      <a:lnTo>
                        <a:pt x="130" y="122"/>
                      </a:lnTo>
                      <a:lnTo>
                        <a:pt x="132" y="122"/>
                      </a:lnTo>
                      <a:lnTo>
                        <a:pt x="134" y="122"/>
                      </a:lnTo>
                      <a:lnTo>
                        <a:pt x="135" y="122"/>
                      </a:lnTo>
                      <a:lnTo>
                        <a:pt x="135" y="120"/>
                      </a:lnTo>
                      <a:lnTo>
                        <a:pt x="137" y="120"/>
                      </a:lnTo>
                      <a:lnTo>
                        <a:pt x="139" y="120"/>
                      </a:lnTo>
                      <a:lnTo>
                        <a:pt x="139" y="118"/>
                      </a:lnTo>
                      <a:lnTo>
                        <a:pt x="140" y="118"/>
                      </a:lnTo>
                      <a:lnTo>
                        <a:pt x="142" y="118"/>
                      </a:lnTo>
                      <a:lnTo>
                        <a:pt x="144" y="117"/>
                      </a:lnTo>
                      <a:lnTo>
                        <a:pt x="144" y="115"/>
                      </a:lnTo>
                      <a:lnTo>
                        <a:pt x="146" y="115"/>
                      </a:lnTo>
                      <a:lnTo>
                        <a:pt x="147" y="115"/>
                      </a:lnTo>
                      <a:lnTo>
                        <a:pt x="149" y="115"/>
                      </a:lnTo>
                      <a:lnTo>
                        <a:pt x="149" y="117"/>
                      </a:lnTo>
                      <a:lnTo>
                        <a:pt x="151" y="117"/>
                      </a:lnTo>
                      <a:lnTo>
                        <a:pt x="152" y="115"/>
                      </a:lnTo>
                      <a:lnTo>
                        <a:pt x="154" y="115"/>
                      </a:lnTo>
                      <a:lnTo>
                        <a:pt x="156" y="115"/>
                      </a:lnTo>
                      <a:lnTo>
                        <a:pt x="157" y="115"/>
                      </a:lnTo>
                      <a:lnTo>
                        <a:pt x="157" y="117"/>
                      </a:lnTo>
                      <a:lnTo>
                        <a:pt x="157" y="118"/>
                      </a:lnTo>
                      <a:lnTo>
                        <a:pt x="159" y="117"/>
                      </a:lnTo>
                      <a:lnTo>
                        <a:pt x="159" y="118"/>
                      </a:lnTo>
                      <a:lnTo>
                        <a:pt x="161" y="118"/>
                      </a:lnTo>
                      <a:lnTo>
                        <a:pt x="161" y="117"/>
                      </a:lnTo>
                      <a:lnTo>
                        <a:pt x="162" y="117"/>
                      </a:lnTo>
                      <a:lnTo>
                        <a:pt x="164" y="117"/>
                      </a:lnTo>
                      <a:lnTo>
                        <a:pt x="164" y="118"/>
                      </a:lnTo>
                      <a:lnTo>
                        <a:pt x="166" y="117"/>
                      </a:lnTo>
                      <a:lnTo>
                        <a:pt x="166" y="118"/>
                      </a:lnTo>
                      <a:lnTo>
                        <a:pt x="166" y="117"/>
                      </a:lnTo>
                      <a:lnTo>
                        <a:pt x="167" y="117"/>
                      </a:lnTo>
                      <a:lnTo>
                        <a:pt x="166" y="118"/>
                      </a:lnTo>
                      <a:lnTo>
                        <a:pt x="167" y="118"/>
                      </a:lnTo>
                      <a:lnTo>
                        <a:pt x="166" y="118"/>
                      </a:lnTo>
                      <a:lnTo>
                        <a:pt x="166" y="120"/>
                      </a:lnTo>
                      <a:lnTo>
                        <a:pt x="166" y="122"/>
                      </a:lnTo>
                      <a:lnTo>
                        <a:pt x="164" y="122"/>
                      </a:lnTo>
                      <a:lnTo>
                        <a:pt x="164" y="123"/>
                      </a:lnTo>
                      <a:lnTo>
                        <a:pt x="166" y="123"/>
                      </a:lnTo>
                      <a:lnTo>
                        <a:pt x="166" y="125"/>
                      </a:lnTo>
                      <a:lnTo>
                        <a:pt x="167" y="125"/>
                      </a:lnTo>
                      <a:lnTo>
                        <a:pt x="167" y="123"/>
                      </a:lnTo>
                      <a:lnTo>
                        <a:pt x="169" y="122"/>
                      </a:lnTo>
                      <a:lnTo>
                        <a:pt x="171" y="123"/>
                      </a:lnTo>
                      <a:lnTo>
                        <a:pt x="171" y="122"/>
                      </a:lnTo>
                      <a:lnTo>
                        <a:pt x="173" y="123"/>
                      </a:lnTo>
                      <a:lnTo>
                        <a:pt x="173" y="122"/>
                      </a:lnTo>
                      <a:lnTo>
                        <a:pt x="174" y="122"/>
                      </a:lnTo>
                      <a:lnTo>
                        <a:pt x="176" y="122"/>
                      </a:lnTo>
                      <a:lnTo>
                        <a:pt x="176" y="120"/>
                      </a:lnTo>
                      <a:lnTo>
                        <a:pt x="176" y="118"/>
                      </a:lnTo>
                      <a:lnTo>
                        <a:pt x="178" y="118"/>
                      </a:lnTo>
                      <a:lnTo>
                        <a:pt x="179" y="117"/>
                      </a:lnTo>
                      <a:lnTo>
                        <a:pt x="179" y="118"/>
                      </a:lnTo>
                      <a:lnTo>
                        <a:pt x="181" y="117"/>
                      </a:lnTo>
                      <a:lnTo>
                        <a:pt x="183" y="117"/>
                      </a:lnTo>
                      <a:lnTo>
                        <a:pt x="183" y="115"/>
                      </a:lnTo>
                      <a:lnTo>
                        <a:pt x="183" y="117"/>
                      </a:lnTo>
                      <a:lnTo>
                        <a:pt x="184" y="115"/>
                      </a:lnTo>
                      <a:lnTo>
                        <a:pt x="186" y="115"/>
                      </a:lnTo>
                      <a:lnTo>
                        <a:pt x="188" y="113"/>
                      </a:lnTo>
                      <a:lnTo>
                        <a:pt x="189" y="113"/>
                      </a:lnTo>
                      <a:lnTo>
                        <a:pt x="189" y="112"/>
                      </a:lnTo>
                      <a:lnTo>
                        <a:pt x="191" y="110"/>
                      </a:lnTo>
                      <a:lnTo>
                        <a:pt x="193" y="110"/>
                      </a:lnTo>
                      <a:lnTo>
                        <a:pt x="194" y="110"/>
                      </a:lnTo>
                      <a:lnTo>
                        <a:pt x="194" y="108"/>
                      </a:lnTo>
                      <a:lnTo>
                        <a:pt x="198" y="108"/>
                      </a:lnTo>
                      <a:lnTo>
                        <a:pt x="200" y="107"/>
                      </a:lnTo>
                      <a:lnTo>
                        <a:pt x="201" y="107"/>
                      </a:lnTo>
                      <a:lnTo>
                        <a:pt x="203" y="107"/>
                      </a:lnTo>
                      <a:lnTo>
                        <a:pt x="206" y="105"/>
                      </a:lnTo>
                      <a:lnTo>
                        <a:pt x="210" y="103"/>
                      </a:lnTo>
                      <a:lnTo>
                        <a:pt x="211" y="102"/>
                      </a:lnTo>
                      <a:lnTo>
                        <a:pt x="213" y="102"/>
                      </a:lnTo>
                      <a:lnTo>
                        <a:pt x="215" y="102"/>
                      </a:lnTo>
                      <a:lnTo>
                        <a:pt x="216" y="102"/>
                      </a:lnTo>
                      <a:lnTo>
                        <a:pt x="216" y="100"/>
                      </a:lnTo>
                      <a:lnTo>
                        <a:pt x="216" y="102"/>
                      </a:lnTo>
                      <a:lnTo>
                        <a:pt x="218" y="100"/>
                      </a:lnTo>
                      <a:lnTo>
                        <a:pt x="223" y="97"/>
                      </a:lnTo>
                      <a:lnTo>
                        <a:pt x="227" y="97"/>
                      </a:lnTo>
                      <a:lnTo>
                        <a:pt x="228" y="95"/>
                      </a:lnTo>
                      <a:lnTo>
                        <a:pt x="230" y="95"/>
                      </a:lnTo>
                      <a:lnTo>
                        <a:pt x="232" y="94"/>
                      </a:lnTo>
                      <a:lnTo>
                        <a:pt x="233" y="94"/>
                      </a:lnTo>
                      <a:lnTo>
                        <a:pt x="237" y="92"/>
                      </a:lnTo>
                      <a:lnTo>
                        <a:pt x="238" y="92"/>
                      </a:lnTo>
                      <a:lnTo>
                        <a:pt x="238" y="90"/>
                      </a:lnTo>
                      <a:lnTo>
                        <a:pt x="240" y="90"/>
                      </a:lnTo>
                      <a:lnTo>
                        <a:pt x="242" y="90"/>
                      </a:lnTo>
                      <a:lnTo>
                        <a:pt x="243" y="90"/>
                      </a:lnTo>
                      <a:lnTo>
                        <a:pt x="245" y="89"/>
                      </a:lnTo>
                      <a:lnTo>
                        <a:pt x="247" y="89"/>
                      </a:lnTo>
                      <a:lnTo>
                        <a:pt x="249" y="89"/>
                      </a:lnTo>
                      <a:lnTo>
                        <a:pt x="249" y="87"/>
                      </a:lnTo>
                      <a:lnTo>
                        <a:pt x="249" y="85"/>
                      </a:lnTo>
                      <a:lnTo>
                        <a:pt x="247" y="85"/>
                      </a:lnTo>
                      <a:lnTo>
                        <a:pt x="247" y="84"/>
                      </a:lnTo>
                      <a:lnTo>
                        <a:pt x="245" y="82"/>
                      </a:lnTo>
                      <a:lnTo>
                        <a:pt x="245" y="84"/>
                      </a:lnTo>
                      <a:lnTo>
                        <a:pt x="245" y="82"/>
                      </a:lnTo>
                      <a:lnTo>
                        <a:pt x="245" y="84"/>
                      </a:lnTo>
                      <a:lnTo>
                        <a:pt x="243" y="82"/>
                      </a:lnTo>
                      <a:lnTo>
                        <a:pt x="243" y="84"/>
                      </a:lnTo>
                      <a:lnTo>
                        <a:pt x="243" y="82"/>
                      </a:lnTo>
                      <a:lnTo>
                        <a:pt x="242" y="84"/>
                      </a:lnTo>
                      <a:lnTo>
                        <a:pt x="242" y="82"/>
                      </a:lnTo>
                      <a:lnTo>
                        <a:pt x="240" y="82"/>
                      </a:lnTo>
                      <a:lnTo>
                        <a:pt x="238" y="82"/>
                      </a:lnTo>
                      <a:lnTo>
                        <a:pt x="238" y="80"/>
                      </a:lnTo>
                      <a:lnTo>
                        <a:pt x="240" y="80"/>
                      </a:lnTo>
                      <a:lnTo>
                        <a:pt x="240" y="79"/>
                      </a:lnTo>
                      <a:lnTo>
                        <a:pt x="238" y="80"/>
                      </a:lnTo>
                      <a:lnTo>
                        <a:pt x="238" y="79"/>
                      </a:lnTo>
                      <a:lnTo>
                        <a:pt x="240" y="79"/>
                      </a:lnTo>
                      <a:lnTo>
                        <a:pt x="240" y="77"/>
                      </a:lnTo>
                      <a:lnTo>
                        <a:pt x="242" y="76"/>
                      </a:lnTo>
                      <a:lnTo>
                        <a:pt x="243" y="76"/>
                      </a:lnTo>
                      <a:lnTo>
                        <a:pt x="243" y="74"/>
                      </a:lnTo>
                      <a:lnTo>
                        <a:pt x="242" y="74"/>
                      </a:lnTo>
                      <a:lnTo>
                        <a:pt x="243" y="74"/>
                      </a:lnTo>
                      <a:lnTo>
                        <a:pt x="245" y="74"/>
                      </a:lnTo>
                      <a:lnTo>
                        <a:pt x="245" y="72"/>
                      </a:lnTo>
                      <a:lnTo>
                        <a:pt x="245" y="71"/>
                      </a:lnTo>
                      <a:lnTo>
                        <a:pt x="247" y="71"/>
                      </a:lnTo>
                      <a:lnTo>
                        <a:pt x="247" y="69"/>
                      </a:lnTo>
                      <a:lnTo>
                        <a:pt x="249" y="69"/>
                      </a:lnTo>
                      <a:lnTo>
                        <a:pt x="249" y="67"/>
                      </a:lnTo>
                      <a:lnTo>
                        <a:pt x="250" y="67"/>
                      </a:lnTo>
                      <a:lnTo>
                        <a:pt x="249" y="67"/>
                      </a:lnTo>
                      <a:lnTo>
                        <a:pt x="249" y="66"/>
                      </a:lnTo>
                      <a:lnTo>
                        <a:pt x="247" y="66"/>
                      </a:lnTo>
                      <a:lnTo>
                        <a:pt x="247" y="64"/>
                      </a:lnTo>
                      <a:lnTo>
                        <a:pt x="247" y="62"/>
                      </a:lnTo>
                      <a:lnTo>
                        <a:pt x="247" y="61"/>
                      </a:lnTo>
                      <a:lnTo>
                        <a:pt x="249" y="61"/>
                      </a:lnTo>
                      <a:lnTo>
                        <a:pt x="247" y="61"/>
                      </a:lnTo>
                      <a:lnTo>
                        <a:pt x="247" y="59"/>
                      </a:lnTo>
                      <a:lnTo>
                        <a:pt x="249" y="59"/>
                      </a:lnTo>
                      <a:lnTo>
                        <a:pt x="249" y="61"/>
                      </a:lnTo>
                      <a:lnTo>
                        <a:pt x="250" y="61"/>
                      </a:lnTo>
                      <a:lnTo>
                        <a:pt x="250" y="59"/>
                      </a:lnTo>
                      <a:lnTo>
                        <a:pt x="252" y="59"/>
                      </a:lnTo>
                      <a:lnTo>
                        <a:pt x="250" y="59"/>
                      </a:lnTo>
                      <a:lnTo>
                        <a:pt x="250" y="58"/>
                      </a:lnTo>
                      <a:lnTo>
                        <a:pt x="250" y="56"/>
                      </a:lnTo>
                      <a:lnTo>
                        <a:pt x="252" y="56"/>
                      </a:lnTo>
                      <a:lnTo>
                        <a:pt x="252" y="54"/>
                      </a:lnTo>
                      <a:lnTo>
                        <a:pt x="252" y="53"/>
                      </a:lnTo>
                      <a:lnTo>
                        <a:pt x="252" y="51"/>
                      </a:lnTo>
                      <a:lnTo>
                        <a:pt x="252" y="49"/>
                      </a:lnTo>
                      <a:lnTo>
                        <a:pt x="252" y="48"/>
                      </a:lnTo>
                      <a:lnTo>
                        <a:pt x="254" y="48"/>
                      </a:lnTo>
                      <a:lnTo>
                        <a:pt x="254" y="46"/>
                      </a:lnTo>
                      <a:lnTo>
                        <a:pt x="255" y="46"/>
                      </a:lnTo>
                      <a:lnTo>
                        <a:pt x="255" y="44"/>
                      </a:lnTo>
                      <a:lnTo>
                        <a:pt x="255" y="43"/>
                      </a:lnTo>
                      <a:lnTo>
                        <a:pt x="255" y="41"/>
                      </a:lnTo>
                      <a:lnTo>
                        <a:pt x="255" y="39"/>
                      </a:lnTo>
                      <a:lnTo>
                        <a:pt x="254" y="39"/>
                      </a:lnTo>
                      <a:lnTo>
                        <a:pt x="255" y="38"/>
                      </a:lnTo>
                      <a:lnTo>
                        <a:pt x="255" y="36"/>
                      </a:lnTo>
                      <a:lnTo>
                        <a:pt x="257" y="36"/>
                      </a:lnTo>
                      <a:lnTo>
                        <a:pt x="257" y="35"/>
                      </a:lnTo>
                      <a:lnTo>
                        <a:pt x="257" y="33"/>
                      </a:lnTo>
                      <a:lnTo>
                        <a:pt x="259" y="31"/>
                      </a:lnTo>
                      <a:lnTo>
                        <a:pt x="260" y="31"/>
                      </a:lnTo>
                      <a:lnTo>
                        <a:pt x="262" y="31"/>
                      </a:lnTo>
                      <a:lnTo>
                        <a:pt x="262" y="30"/>
                      </a:lnTo>
                      <a:lnTo>
                        <a:pt x="260" y="30"/>
                      </a:lnTo>
                      <a:lnTo>
                        <a:pt x="262" y="30"/>
                      </a:lnTo>
                      <a:lnTo>
                        <a:pt x="262" y="28"/>
                      </a:lnTo>
                      <a:lnTo>
                        <a:pt x="264" y="28"/>
                      </a:lnTo>
                      <a:lnTo>
                        <a:pt x="264" y="26"/>
                      </a:lnTo>
                      <a:lnTo>
                        <a:pt x="264" y="25"/>
                      </a:lnTo>
                      <a:lnTo>
                        <a:pt x="265" y="26"/>
                      </a:lnTo>
                      <a:lnTo>
                        <a:pt x="265" y="25"/>
                      </a:lnTo>
                      <a:lnTo>
                        <a:pt x="264" y="23"/>
                      </a:lnTo>
                      <a:lnTo>
                        <a:pt x="262" y="23"/>
                      </a:lnTo>
                      <a:lnTo>
                        <a:pt x="262" y="21"/>
                      </a:lnTo>
                      <a:lnTo>
                        <a:pt x="260" y="21"/>
                      </a:lnTo>
                      <a:lnTo>
                        <a:pt x="259" y="20"/>
                      </a:lnTo>
                      <a:lnTo>
                        <a:pt x="260" y="20"/>
                      </a:lnTo>
                      <a:lnTo>
                        <a:pt x="259" y="20"/>
                      </a:lnTo>
                      <a:lnTo>
                        <a:pt x="260" y="20"/>
                      </a:lnTo>
                      <a:lnTo>
                        <a:pt x="260" y="18"/>
                      </a:lnTo>
                      <a:lnTo>
                        <a:pt x="262" y="18"/>
                      </a:lnTo>
                      <a:lnTo>
                        <a:pt x="264" y="18"/>
                      </a:lnTo>
                      <a:lnTo>
                        <a:pt x="262" y="18"/>
                      </a:lnTo>
                      <a:lnTo>
                        <a:pt x="264" y="18"/>
                      </a:lnTo>
                      <a:lnTo>
                        <a:pt x="264" y="16"/>
                      </a:lnTo>
                      <a:lnTo>
                        <a:pt x="265" y="16"/>
                      </a:lnTo>
                      <a:lnTo>
                        <a:pt x="267" y="16"/>
                      </a:lnTo>
                      <a:lnTo>
                        <a:pt x="269" y="16"/>
                      </a:lnTo>
                      <a:lnTo>
                        <a:pt x="270" y="15"/>
                      </a:lnTo>
                      <a:lnTo>
                        <a:pt x="270" y="16"/>
                      </a:lnTo>
                      <a:lnTo>
                        <a:pt x="272" y="15"/>
                      </a:lnTo>
                      <a:lnTo>
                        <a:pt x="272" y="16"/>
                      </a:lnTo>
                      <a:lnTo>
                        <a:pt x="274" y="16"/>
                      </a:lnTo>
                      <a:lnTo>
                        <a:pt x="274" y="15"/>
                      </a:lnTo>
                      <a:lnTo>
                        <a:pt x="274" y="16"/>
                      </a:lnTo>
                      <a:lnTo>
                        <a:pt x="276" y="16"/>
                      </a:lnTo>
                      <a:lnTo>
                        <a:pt x="276" y="15"/>
                      </a:lnTo>
                      <a:lnTo>
                        <a:pt x="277" y="15"/>
                      </a:lnTo>
                      <a:lnTo>
                        <a:pt x="277" y="13"/>
                      </a:lnTo>
                      <a:lnTo>
                        <a:pt x="277" y="12"/>
                      </a:lnTo>
                      <a:lnTo>
                        <a:pt x="279" y="12"/>
                      </a:lnTo>
                      <a:lnTo>
                        <a:pt x="279" y="10"/>
                      </a:lnTo>
                      <a:lnTo>
                        <a:pt x="279" y="8"/>
                      </a:lnTo>
                      <a:lnTo>
                        <a:pt x="281" y="8"/>
                      </a:lnTo>
                      <a:lnTo>
                        <a:pt x="281" y="7"/>
                      </a:lnTo>
                      <a:lnTo>
                        <a:pt x="281" y="5"/>
                      </a:lnTo>
                      <a:lnTo>
                        <a:pt x="281" y="3"/>
                      </a:lnTo>
                      <a:lnTo>
                        <a:pt x="282" y="3"/>
                      </a:lnTo>
                      <a:lnTo>
                        <a:pt x="284" y="3"/>
                      </a:lnTo>
                      <a:lnTo>
                        <a:pt x="284" y="2"/>
                      </a:lnTo>
                      <a:lnTo>
                        <a:pt x="286" y="2"/>
                      </a:lnTo>
                      <a:lnTo>
                        <a:pt x="286" y="0"/>
                      </a:lnTo>
                      <a:lnTo>
                        <a:pt x="287" y="0"/>
                      </a:lnTo>
                      <a:lnTo>
                        <a:pt x="287" y="2"/>
                      </a:lnTo>
                      <a:lnTo>
                        <a:pt x="289" y="2"/>
                      </a:lnTo>
                      <a:lnTo>
                        <a:pt x="291" y="3"/>
                      </a:lnTo>
                      <a:lnTo>
                        <a:pt x="292" y="3"/>
                      </a:lnTo>
                      <a:lnTo>
                        <a:pt x="291" y="3"/>
                      </a:lnTo>
                      <a:lnTo>
                        <a:pt x="291" y="5"/>
                      </a:lnTo>
                      <a:lnTo>
                        <a:pt x="292" y="3"/>
                      </a:lnTo>
                      <a:lnTo>
                        <a:pt x="292" y="5"/>
                      </a:lnTo>
                      <a:lnTo>
                        <a:pt x="294" y="3"/>
                      </a:lnTo>
                      <a:lnTo>
                        <a:pt x="296" y="3"/>
                      </a:lnTo>
                      <a:lnTo>
                        <a:pt x="296" y="5"/>
                      </a:lnTo>
                      <a:lnTo>
                        <a:pt x="298" y="5"/>
                      </a:lnTo>
                      <a:lnTo>
                        <a:pt x="299" y="5"/>
                      </a:lnTo>
                      <a:lnTo>
                        <a:pt x="298" y="7"/>
                      </a:lnTo>
                      <a:lnTo>
                        <a:pt x="299" y="7"/>
                      </a:lnTo>
                      <a:lnTo>
                        <a:pt x="298" y="7"/>
                      </a:lnTo>
                      <a:lnTo>
                        <a:pt x="299" y="7"/>
                      </a:lnTo>
                      <a:lnTo>
                        <a:pt x="298" y="8"/>
                      </a:lnTo>
                      <a:lnTo>
                        <a:pt x="299" y="8"/>
                      </a:lnTo>
                      <a:lnTo>
                        <a:pt x="298" y="8"/>
                      </a:lnTo>
                      <a:lnTo>
                        <a:pt x="298" y="10"/>
                      </a:lnTo>
                      <a:lnTo>
                        <a:pt x="299" y="10"/>
                      </a:lnTo>
                      <a:lnTo>
                        <a:pt x="298" y="10"/>
                      </a:lnTo>
                      <a:lnTo>
                        <a:pt x="299" y="10"/>
                      </a:lnTo>
                      <a:lnTo>
                        <a:pt x="298" y="10"/>
                      </a:lnTo>
                      <a:lnTo>
                        <a:pt x="298" y="12"/>
                      </a:lnTo>
                      <a:lnTo>
                        <a:pt x="296" y="12"/>
                      </a:lnTo>
                      <a:lnTo>
                        <a:pt x="296" y="13"/>
                      </a:lnTo>
                      <a:lnTo>
                        <a:pt x="294" y="13"/>
                      </a:lnTo>
                      <a:lnTo>
                        <a:pt x="294" y="15"/>
                      </a:lnTo>
                      <a:lnTo>
                        <a:pt x="292" y="15"/>
                      </a:lnTo>
                      <a:lnTo>
                        <a:pt x="292" y="16"/>
                      </a:lnTo>
                      <a:lnTo>
                        <a:pt x="291" y="16"/>
                      </a:lnTo>
                      <a:lnTo>
                        <a:pt x="292" y="18"/>
                      </a:lnTo>
                      <a:lnTo>
                        <a:pt x="294" y="18"/>
                      </a:lnTo>
                      <a:lnTo>
                        <a:pt x="294" y="20"/>
                      </a:lnTo>
                      <a:lnTo>
                        <a:pt x="292" y="20"/>
                      </a:lnTo>
                      <a:lnTo>
                        <a:pt x="292" y="21"/>
                      </a:lnTo>
                      <a:lnTo>
                        <a:pt x="292" y="23"/>
                      </a:lnTo>
                      <a:lnTo>
                        <a:pt x="291" y="23"/>
                      </a:lnTo>
                      <a:lnTo>
                        <a:pt x="291" y="25"/>
                      </a:lnTo>
                      <a:lnTo>
                        <a:pt x="291" y="26"/>
                      </a:lnTo>
                      <a:lnTo>
                        <a:pt x="289" y="26"/>
                      </a:lnTo>
                      <a:lnTo>
                        <a:pt x="289" y="28"/>
                      </a:lnTo>
                      <a:lnTo>
                        <a:pt x="287" y="28"/>
                      </a:lnTo>
                      <a:lnTo>
                        <a:pt x="289" y="28"/>
                      </a:lnTo>
                      <a:lnTo>
                        <a:pt x="287" y="28"/>
                      </a:lnTo>
                      <a:lnTo>
                        <a:pt x="287" y="30"/>
                      </a:lnTo>
                      <a:lnTo>
                        <a:pt x="289" y="28"/>
                      </a:lnTo>
                      <a:lnTo>
                        <a:pt x="289" y="30"/>
                      </a:lnTo>
                      <a:lnTo>
                        <a:pt x="289" y="31"/>
                      </a:lnTo>
                      <a:lnTo>
                        <a:pt x="291" y="31"/>
                      </a:lnTo>
                      <a:lnTo>
                        <a:pt x="291" y="33"/>
                      </a:lnTo>
                      <a:lnTo>
                        <a:pt x="289" y="33"/>
                      </a:lnTo>
                      <a:lnTo>
                        <a:pt x="291" y="33"/>
                      </a:lnTo>
                      <a:lnTo>
                        <a:pt x="292" y="33"/>
                      </a:lnTo>
                      <a:lnTo>
                        <a:pt x="292" y="35"/>
                      </a:lnTo>
                      <a:lnTo>
                        <a:pt x="292" y="36"/>
                      </a:lnTo>
                      <a:lnTo>
                        <a:pt x="294" y="36"/>
                      </a:lnTo>
                      <a:lnTo>
                        <a:pt x="296" y="36"/>
                      </a:lnTo>
                      <a:lnTo>
                        <a:pt x="296" y="38"/>
                      </a:lnTo>
                      <a:lnTo>
                        <a:pt x="296" y="39"/>
                      </a:lnTo>
                      <a:lnTo>
                        <a:pt x="298" y="38"/>
                      </a:lnTo>
                      <a:lnTo>
                        <a:pt x="299" y="38"/>
                      </a:lnTo>
                      <a:lnTo>
                        <a:pt x="299" y="39"/>
                      </a:lnTo>
                      <a:lnTo>
                        <a:pt x="301" y="39"/>
                      </a:lnTo>
                      <a:lnTo>
                        <a:pt x="299" y="41"/>
                      </a:lnTo>
                      <a:lnTo>
                        <a:pt x="301" y="41"/>
                      </a:lnTo>
                      <a:lnTo>
                        <a:pt x="299" y="43"/>
                      </a:lnTo>
                      <a:lnTo>
                        <a:pt x="301" y="43"/>
                      </a:lnTo>
                      <a:lnTo>
                        <a:pt x="303" y="43"/>
                      </a:lnTo>
                      <a:lnTo>
                        <a:pt x="303" y="44"/>
                      </a:lnTo>
                      <a:lnTo>
                        <a:pt x="304" y="46"/>
                      </a:lnTo>
                      <a:lnTo>
                        <a:pt x="306" y="44"/>
                      </a:lnTo>
                      <a:lnTo>
                        <a:pt x="308" y="44"/>
                      </a:lnTo>
                      <a:lnTo>
                        <a:pt x="308" y="46"/>
                      </a:lnTo>
                      <a:lnTo>
                        <a:pt x="309" y="46"/>
                      </a:lnTo>
                      <a:lnTo>
                        <a:pt x="308" y="46"/>
                      </a:lnTo>
                      <a:lnTo>
                        <a:pt x="309" y="46"/>
                      </a:lnTo>
                      <a:lnTo>
                        <a:pt x="309" y="48"/>
                      </a:lnTo>
                      <a:lnTo>
                        <a:pt x="311" y="48"/>
                      </a:lnTo>
                      <a:lnTo>
                        <a:pt x="311" y="49"/>
                      </a:lnTo>
                      <a:lnTo>
                        <a:pt x="313" y="51"/>
                      </a:lnTo>
                      <a:lnTo>
                        <a:pt x="314" y="51"/>
                      </a:lnTo>
                      <a:lnTo>
                        <a:pt x="316" y="49"/>
                      </a:lnTo>
                      <a:lnTo>
                        <a:pt x="318" y="48"/>
                      </a:lnTo>
                      <a:lnTo>
                        <a:pt x="319" y="48"/>
                      </a:lnTo>
                      <a:lnTo>
                        <a:pt x="319" y="46"/>
                      </a:lnTo>
                      <a:lnTo>
                        <a:pt x="321" y="46"/>
                      </a:lnTo>
                      <a:lnTo>
                        <a:pt x="321" y="44"/>
                      </a:lnTo>
                      <a:lnTo>
                        <a:pt x="323" y="44"/>
                      </a:lnTo>
                      <a:lnTo>
                        <a:pt x="325" y="43"/>
                      </a:lnTo>
                      <a:lnTo>
                        <a:pt x="325" y="41"/>
                      </a:lnTo>
                      <a:close/>
                      <a:moveTo>
                        <a:pt x="34" y="210"/>
                      </a:moveTo>
                      <a:lnTo>
                        <a:pt x="36" y="210"/>
                      </a:lnTo>
                      <a:lnTo>
                        <a:pt x="34" y="210"/>
                      </a:lnTo>
                      <a:close/>
                      <a:moveTo>
                        <a:pt x="31" y="214"/>
                      </a:moveTo>
                      <a:lnTo>
                        <a:pt x="31" y="212"/>
                      </a:lnTo>
                      <a:lnTo>
                        <a:pt x="32" y="212"/>
                      </a:lnTo>
                      <a:lnTo>
                        <a:pt x="31" y="212"/>
                      </a:lnTo>
                      <a:lnTo>
                        <a:pt x="31" y="214"/>
                      </a:lnTo>
                      <a:close/>
                      <a:moveTo>
                        <a:pt x="26" y="212"/>
                      </a:moveTo>
                      <a:lnTo>
                        <a:pt x="27" y="212"/>
                      </a:lnTo>
                      <a:lnTo>
                        <a:pt x="26" y="212"/>
                      </a:lnTo>
                      <a:close/>
                      <a:moveTo>
                        <a:pt x="22" y="214"/>
                      </a:moveTo>
                      <a:lnTo>
                        <a:pt x="24" y="214"/>
                      </a:lnTo>
                      <a:lnTo>
                        <a:pt x="22" y="214"/>
                      </a:lnTo>
                      <a:close/>
                      <a:moveTo>
                        <a:pt x="21" y="217"/>
                      </a:moveTo>
                      <a:lnTo>
                        <a:pt x="19" y="217"/>
                      </a:lnTo>
                      <a:lnTo>
                        <a:pt x="21" y="217"/>
                      </a:lnTo>
                      <a:close/>
                      <a:moveTo>
                        <a:pt x="21" y="218"/>
                      </a:moveTo>
                      <a:lnTo>
                        <a:pt x="19" y="218"/>
                      </a:lnTo>
                      <a:lnTo>
                        <a:pt x="21" y="218"/>
                      </a:lnTo>
                      <a:close/>
                      <a:moveTo>
                        <a:pt x="19" y="222"/>
                      </a:moveTo>
                      <a:lnTo>
                        <a:pt x="19" y="220"/>
                      </a:lnTo>
                      <a:lnTo>
                        <a:pt x="19" y="222"/>
                      </a:lnTo>
                      <a:close/>
                      <a:moveTo>
                        <a:pt x="29" y="225"/>
                      </a:moveTo>
                      <a:lnTo>
                        <a:pt x="29" y="223"/>
                      </a:lnTo>
                      <a:lnTo>
                        <a:pt x="31" y="223"/>
                      </a:lnTo>
                      <a:lnTo>
                        <a:pt x="29" y="225"/>
                      </a:lnTo>
                      <a:close/>
                      <a:moveTo>
                        <a:pt x="26" y="227"/>
                      </a:moveTo>
                      <a:lnTo>
                        <a:pt x="27" y="227"/>
                      </a:lnTo>
                      <a:lnTo>
                        <a:pt x="27" y="225"/>
                      </a:lnTo>
                      <a:lnTo>
                        <a:pt x="29" y="225"/>
                      </a:lnTo>
                      <a:lnTo>
                        <a:pt x="29" y="227"/>
                      </a:lnTo>
                      <a:lnTo>
                        <a:pt x="27" y="227"/>
                      </a:lnTo>
                      <a:lnTo>
                        <a:pt x="26" y="227"/>
                      </a:lnTo>
                      <a:close/>
                      <a:moveTo>
                        <a:pt x="31" y="227"/>
                      </a:moveTo>
                      <a:lnTo>
                        <a:pt x="32" y="227"/>
                      </a:lnTo>
                      <a:lnTo>
                        <a:pt x="31" y="227"/>
                      </a:lnTo>
                      <a:close/>
                      <a:moveTo>
                        <a:pt x="22" y="228"/>
                      </a:moveTo>
                      <a:lnTo>
                        <a:pt x="24" y="228"/>
                      </a:lnTo>
                      <a:lnTo>
                        <a:pt x="24" y="227"/>
                      </a:lnTo>
                      <a:lnTo>
                        <a:pt x="24" y="228"/>
                      </a:lnTo>
                      <a:lnTo>
                        <a:pt x="22" y="228"/>
                      </a:lnTo>
                      <a:close/>
                      <a:moveTo>
                        <a:pt x="31" y="240"/>
                      </a:moveTo>
                      <a:lnTo>
                        <a:pt x="31" y="238"/>
                      </a:lnTo>
                      <a:lnTo>
                        <a:pt x="31" y="240"/>
                      </a:lnTo>
                      <a:close/>
                      <a:moveTo>
                        <a:pt x="53" y="200"/>
                      </a:moveTo>
                      <a:lnTo>
                        <a:pt x="54" y="200"/>
                      </a:lnTo>
                      <a:lnTo>
                        <a:pt x="53" y="200"/>
                      </a:lnTo>
                      <a:close/>
                      <a:moveTo>
                        <a:pt x="51" y="202"/>
                      </a:moveTo>
                      <a:lnTo>
                        <a:pt x="51" y="200"/>
                      </a:lnTo>
                      <a:lnTo>
                        <a:pt x="53" y="200"/>
                      </a:lnTo>
                      <a:lnTo>
                        <a:pt x="51" y="202"/>
                      </a:lnTo>
                      <a:close/>
                      <a:moveTo>
                        <a:pt x="49" y="202"/>
                      </a:moveTo>
                      <a:lnTo>
                        <a:pt x="49" y="200"/>
                      </a:lnTo>
                      <a:lnTo>
                        <a:pt x="49" y="202"/>
                      </a:lnTo>
                      <a:close/>
                      <a:moveTo>
                        <a:pt x="46" y="202"/>
                      </a:moveTo>
                      <a:lnTo>
                        <a:pt x="44" y="202"/>
                      </a:lnTo>
                      <a:lnTo>
                        <a:pt x="46" y="202"/>
                      </a:lnTo>
                      <a:close/>
                      <a:moveTo>
                        <a:pt x="46" y="204"/>
                      </a:moveTo>
                      <a:lnTo>
                        <a:pt x="46" y="202"/>
                      </a:lnTo>
                      <a:lnTo>
                        <a:pt x="46" y="204"/>
                      </a:lnTo>
                      <a:close/>
                      <a:moveTo>
                        <a:pt x="54" y="202"/>
                      </a:moveTo>
                      <a:lnTo>
                        <a:pt x="54" y="204"/>
                      </a:lnTo>
                      <a:lnTo>
                        <a:pt x="54" y="202"/>
                      </a:lnTo>
                      <a:close/>
                      <a:moveTo>
                        <a:pt x="51" y="205"/>
                      </a:moveTo>
                      <a:lnTo>
                        <a:pt x="51" y="204"/>
                      </a:lnTo>
                      <a:lnTo>
                        <a:pt x="51" y="205"/>
                      </a:lnTo>
                      <a:close/>
                      <a:moveTo>
                        <a:pt x="53" y="205"/>
                      </a:moveTo>
                      <a:lnTo>
                        <a:pt x="51" y="205"/>
                      </a:lnTo>
                      <a:lnTo>
                        <a:pt x="53" y="204"/>
                      </a:lnTo>
                      <a:lnTo>
                        <a:pt x="53" y="205"/>
                      </a:lnTo>
                      <a:close/>
                      <a:moveTo>
                        <a:pt x="46" y="205"/>
                      </a:moveTo>
                      <a:lnTo>
                        <a:pt x="46" y="204"/>
                      </a:lnTo>
                      <a:lnTo>
                        <a:pt x="46" y="205"/>
                      </a:lnTo>
                      <a:close/>
                      <a:moveTo>
                        <a:pt x="44" y="205"/>
                      </a:moveTo>
                      <a:lnTo>
                        <a:pt x="46" y="205"/>
                      </a:lnTo>
                      <a:lnTo>
                        <a:pt x="44" y="205"/>
                      </a:lnTo>
                      <a:close/>
                      <a:moveTo>
                        <a:pt x="46" y="207"/>
                      </a:moveTo>
                      <a:lnTo>
                        <a:pt x="46" y="205"/>
                      </a:lnTo>
                      <a:lnTo>
                        <a:pt x="46" y="207"/>
                      </a:lnTo>
                      <a:close/>
                      <a:moveTo>
                        <a:pt x="58" y="209"/>
                      </a:moveTo>
                      <a:lnTo>
                        <a:pt x="56" y="209"/>
                      </a:lnTo>
                      <a:lnTo>
                        <a:pt x="58" y="209"/>
                      </a:lnTo>
                      <a:close/>
                      <a:moveTo>
                        <a:pt x="46" y="210"/>
                      </a:moveTo>
                      <a:lnTo>
                        <a:pt x="46" y="209"/>
                      </a:lnTo>
                      <a:lnTo>
                        <a:pt x="46" y="210"/>
                      </a:lnTo>
                      <a:close/>
                      <a:moveTo>
                        <a:pt x="41" y="210"/>
                      </a:moveTo>
                      <a:lnTo>
                        <a:pt x="42" y="210"/>
                      </a:lnTo>
                      <a:lnTo>
                        <a:pt x="42" y="209"/>
                      </a:lnTo>
                      <a:lnTo>
                        <a:pt x="42" y="210"/>
                      </a:lnTo>
                      <a:lnTo>
                        <a:pt x="41" y="210"/>
                      </a:lnTo>
                      <a:close/>
                      <a:moveTo>
                        <a:pt x="49" y="214"/>
                      </a:moveTo>
                      <a:lnTo>
                        <a:pt x="51" y="214"/>
                      </a:lnTo>
                      <a:lnTo>
                        <a:pt x="51" y="212"/>
                      </a:lnTo>
                      <a:lnTo>
                        <a:pt x="49" y="212"/>
                      </a:lnTo>
                      <a:lnTo>
                        <a:pt x="49" y="210"/>
                      </a:lnTo>
                      <a:lnTo>
                        <a:pt x="48" y="210"/>
                      </a:lnTo>
                      <a:lnTo>
                        <a:pt x="49" y="210"/>
                      </a:lnTo>
                      <a:lnTo>
                        <a:pt x="51" y="210"/>
                      </a:lnTo>
                      <a:lnTo>
                        <a:pt x="51" y="212"/>
                      </a:lnTo>
                      <a:lnTo>
                        <a:pt x="51" y="214"/>
                      </a:lnTo>
                      <a:lnTo>
                        <a:pt x="51" y="212"/>
                      </a:lnTo>
                      <a:lnTo>
                        <a:pt x="51" y="214"/>
                      </a:lnTo>
                      <a:lnTo>
                        <a:pt x="49" y="214"/>
                      </a:lnTo>
                      <a:close/>
                      <a:moveTo>
                        <a:pt x="46" y="210"/>
                      </a:moveTo>
                      <a:lnTo>
                        <a:pt x="44" y="210"/>
                      </a:lnTo>
                      <a:lnTo>
                        <a:pt x="46" y="210"/>
                      </a:lnTo>
                      <a:close/>
                      <a:moveTo>
                        <a:pt x="51" y="210"/>
                      </a:moveTo>
                      <a:lnTo>
                        <a:pt x="53" y="210"/>
                      </a:lnTo>
                      <a:lnTo>
                        <a:pt x="51" y="210"/>
                      </a:lnTo>
                      <a:close/>
                      <a:moveTo>
                        <a:pt x="46" y="210"/>
                      </a:moveTo>
                      <a:lnTo>
                        <a:pt x="48" y="210"/>
                      </a:lnTo>
                      <a:lnTo>
                        <a:pt x="46" y="210"/>
                      </a:lnTo>
                      <a:close/>
                      <a:moveTo>
                        <a:pt x="37" y="212"/>
                      </a:moveTo>
                      <a:lnTo>
                        <a:pt x="37" y="210"/>
                      </a:lnTo>
                      <a:lnTo>
                        <a:pt x="37" y="212"/>
                      </a:lnTo>
                      <a:lnTo>
                        <a:pt x="37" y="210"/>
                      </a:lnTo>
                      <a:lnTo>
                        <a:pt x="39" y="210"/>
                      </a:lnTo>
                      <a:lnTo>
                        <a:pt x="37" y="210"/>
                      </a:lnTo>
                      <a:lnTo>
                        <a:pt x="37" y="212"/>
                      </a:lnTo>
                      <a:lnTo>
                        <a:pt x="36" y="212"/>
                      </a:lnTo>
                      <a:lnTo>
                        <a:pt x="37" y="212"/>
                      </a:lnTo>
                      <a:lnTo>
                        <a:pt x="36" y="212"/>
                      </a:lnTo>
                      <a:lnTo>
                        <a:pt x="37" y="212"/>
                      </a:lnTo>
                      <a:close/>
                      <a:moveTo>
                        <a:pt x="44" y="212"/>
                      </a:moveTo>
                      <a:lnTo>
                        <a:pt x="46" y="212"/>
                      </a:lnTo>
                      <a:lnTo>
                        <a:pt x="44" y="212"/>
                      </a:lnTo>
                      <a:close/>
                      <a:moveTo>
                        <a:pt x="48" y="214"/>
                      </a:moveTo>
                      <a:lnTo>
                        <a:pt x="46" y="214"/>
                      </a:lnTo>
                      <a:lnTo>
                        <a:pt x="48" y="214"/>
                      </a:lnTo>
                      <a:close/>
                      <a:moveTo>
                        <a:pt x="61" y="214"/>
                      </a:moveTo>
                      <a:lnTo>
                        <a:pt x="59" y="214"/>
                      </a:lnTo>
                      <a:lnTo>
                        <a:pt x="61" y="214"/>
                      </a:lnTo>
                      <a:close/>
                      <a:moveTo>
                        <a:pt x="61" y="215"/>
                      </a:moveTo>
                      <a:lnTo>
                        <a:pt x="61" y="214"/>
                      </a:lnTo>
                      <a:lnTo>
                        <a:pt x="63" y="214"/>
                      </a:lnTo>
                      <a:lnTo>
                        <a:pt x="61" y="215"/>
                      </a:lnTo>
                      <a:close/>
                      <a:moveTo>
                        <a:pt x="53" y="215"/>
                      </a:moveTo>
                      <a:lnTo>
                        <a:pt x="53" y="214"/>
                      </a:lnTo>
                      <a:lnTo>
                        <a:pt x="53" y="215"/>
                      </a:lnTo>
                      <a:close/>
                      <a:moveTo>
                        <a:pt x="61" y="217"/>
                      </a:moveTo>
                      <a:lnTo>
                        <a:pt x="61" y="215"/>
                      </a:lnTo>
                      <a:lnTo>
                        <a:pt x="59" y="217"/>
                      </a:lnTo>
                      <a:lnTo>
                        <a:pt x="59" y="215"/>
                      </a:lnTo>
                      <a:lnTo>
                        <a:pt x="61" y="215"/>
                      </a:lnTo>
                      <a:lnTo>
                        <a:pt x="63" y="215"/>
                      </a:lnTo>
                      <a:lnTo>
                        <a:pt x="61" y="215"/>
                      </a:lnTo>
                      <a:lnTo>
                        <a:pt x="63" y="215"/>
                      </a:lnTo>
                      <a:lnTo>
                        <a:pt x="64" y="215"/>
                      </a:lnTo>
                      <a:lnTo>
                        <a:pt x="66" y="215"/>
                      </a:lnTo>
                      <a:lnTo>
                        <a:pt x="66" y="217"/>
                      </a:lnTo>
                      <a:lnTo>
                        <a:pt x="64" y="217"/>
                      </a:lnTo>
                      <a:lnTo>
                        <a:pt x="63" y="217"/>
                      </a:lnTo>
                      <a:lnTo>
                        <a:pt x="64" y="217"/>
                      </a:lnTo>
                      <a:lnTo>
                        <a:pt x="64" y="218"/>
                      </a:lnTo>
                      <a:lnTo>
                        <a:pt x="66" y="218"/>
                      </a:lnTo>
                      <a:lnTo>
                        <a:pt x="68" y="217"/>
                      </a:lnTo>
                      <a:lnTo>
                        <a:pt x="68" y="218"/>
                      </a:lnTo>
                      <a:lnTo>
                        <a:pt x="68" y="220"/>
                      </a:lnTo>
                      <a:lnTo>
                        <a:pt x="70" y="220"/>
                      </a:lnTo>
                      <a:lnTo>
                        <a:pt x="70" y="218"/>
                      </a:lnTo>
                      <a:lnTo>
                        <a:pt x="71" y="218"/>
                      </a:lnTo>
                      <a:lnTo>
                        <a:pt x="73" y="218"/>
                      </a:lnTo>
                      <a:lnTo>
                        <a:pt x="71" y="218"/>
                      </a:lnTo>
                      <a:lnTo>
                        <a:pt x="71" y="220"/>
                      </a:lnTo>
                      <a:lnTo>
                        <a:pt x="71" y="222"/>
                      </a:lnTo>
                      <a:lnTo>
                        <a:pt x="73" y="222"/>
                      </a:lnTo>
                      <a:lnTo>
                        <a:pt x="73" y="220"/>
                      </a:lnTo>
                      <a:lnTo>
                        <a:pt x="73" y="222"/>
                      </a:lnTo>
                      <a:lnTo>
                        <a:pt x="75" y="222"/>
                      </a:lnTo>
                      <a:lnTo>
                        <a:pt x="76" y="222"/>
                      </a:lnTo>
                      <a:lnTo>
                        <a:pt x="75" y="222"/>
                      </a:lnTo>
                      <a:lnTo>
                        <a:pt x="75" y="223"/>
                      </a:lnTo>
                      <a:lnTo>
                        <a:pt x="73" y="223"/>
                      </a:lnTo>
                      <a:lnTo>
                        <a:pt x="71" y="223"/>
                      </a:lnTo>
                      <a:lnTo>
                        <a:pt x="73" y="223"/>
                      </a:lnTo>
                      <a:lnTo>
                        <a:pt x="71" y="222"/>
                      </a:lnTo>
                      <a:lnTo>
                        <a:pt x="70" y="222"/>
                      </a:lnTo>
                      <a:lnTo>
                        <a:pt x="70" y="223"/>
                      </a:lnTo>
                      <a:lnTo>
                        <a:pt x="68" y="223"/>
                      </a:lnTo>
                      <a:lnTo>
                        <a:pt x="66" y="223"/>
                      </a:lnTo>
                      <a:lnTo>
                        <a:pt x="66" y="225"/>
                      </a:lnTo>
                      <a:lnTo>
                        <a:pt x="64" y="225"/>
                      </a:lnTo>
                      <a:lnTo>
                        <a:pt x="63" y="225"/>
                      </a:lnTo>
                      <a:lnTo>
                        <a:pt x="61" y="225"/>
                      </a:lnTo>
                      <a:lnTo>
                        <a:pt x="59" y="225"/>
                      </a:lnTo>
                      <a:lnTo>
                        <a:pt x="61" y="225"/>
                      </a:lnTo>
                      <a:lnTo>
                        <a:pt x="59" y="225"/>
                      </a:lnTo>
                      <a:lnTo>
                        <a:pt x="59" y="223"/>
                      </a:lnTo>
                      <a:lnTo>
                        <a:pt x="59" y="225"/>
                      </a:lnTo>
                      <a:lnTo>
                        <a:pt x="58" y="225"/>
                      </a:lnTo>
                      <a:lnTo>
                        <a:pt x="59" y="225"/>
                      </a:lnTo>
                      <a:lnTo>
                        <a:pt x="59" y="223"/>
                      </a:lnTo>
                      <a:lnTo>
                        <a:pt x="58" y="223"/>
                      </a:lnTo>
                      <a:lnTo>
                        <a:pt x="56" y="223"/>
                      </a:lnTo>
                      <a:lnTo>
                        <a:pt x="54" y="223"/>
                      </a:lnTo>
                      <a:lnTo>
                        <a:pt x="54" y="225"/>
                      </a:lnTo>
                      <a:lnTo>
                        <a:pt x="53" y="225"/>
                      </a:lnTo>
                      <a:lnTo>
                        <a:pt x="53" y="227"/>
                      </a:lnTo>
                      <a:lnTo>
                        <a:pt x="51" y="228"/>
                      </a:lnTo>
                      <a:lnTo>
                        <a:pt x="51" y="227"/>
                      </a:lnTo>
                      <a:lnTo>
                        <a:pt x="53" y="227"/>
                      </a:lnTo>
                      <a:lnTo>
                        <a:pt x="51" y="227"/>
                      </a:lnTo>
                      <a:lnTo>
                        <a:pt x="51" y="225"/>
                      </a:lnTo>
                      <a:lnTo>
                        <a:pt x="53" y="225"/>
                      </a:lnTo>
                      <a:lnTo>
                        <a:pt x="53" y="223"/>
                      </a:lnTo>
                      <a:lnTo>
                        <a:pt x="51" y="223"/>
                      </a:lnTo>
                      <a:lnTo>
                        <a:pt x="53" y="223"/>
                      </a:lnTo>
                      <a:lnTo>
                        <a:pt x="51" y="223"/>
                      </a:lnTo>
                      <a:lnTo>
                        <a:pt x="51" y="225"/>
                      </a:lnTo>
                      <a:lnTo>
                        <a:pt x="49" y="223"/>
                      </a:lnTo>
                      <a:lnTo>
                        <a:pt x="48" y="223"/>
                      </a:lnTo>
                      <a:lnTo>
                        <a:pt x="48" y="222"/>
                      </a:lnTo>
                      <a:lnTo>
                        <a:pt x="49" y="222"/>
                      </a:lnTo>
                      <a:lnTo>
                        <a:pt x="51" y="222"/>
                      </a:lnTo>
                      <a:lnTo>
                        <a:pt x="53" y="220"/>
                      </a:lnTo>
                      <a:lnTo>
                        <a:pt x="53" y="222"/>
                      </a:lnTo>
                      <a:lnTo>
                        <a:pt x="54" y="220"/>
                      </a:lnTo>
                      <a:lnTo>
                        <a:pt x="53" y="220"/>
                      </a:lnTo>
                      <a:lnTo>
                        <a:pt x="54" y="220"/>
                      </a:lnTo>
                      <a:lnTo>
                        <a:pt x="54" y="218"/>
                      </a:lnTo>
                      <a:lnTo>
                        <a:pt x="54" y="220"/>
                      </a:lnTo>
                      <a:lnTo>
                        <a:pt x="54" y="218"/>
                      </a:lnTo>
                      <a:lnTo>
                        <a:pt x="56" y="217"/>
                      </a:lnTo>
                      <a:lnTo>
                        <a:pt x="56" y="218"/>
                      </a:lnTo>
                      <a:lnTo>
                        <a:pt x="56" y="220"/>
                      </a:lnTo>
                      <a:lnTo>
                        <a:pt x="58" y="218"/>
                      </a:lnTo>
                      <a:lnTo>
                        <a:pt x="58" y="220"/>
                      </a:lnTo>
                      <a:lnTo>
                        <a:pt x="58" y="218"/>
                      </a:lnTo>
                      <a:lnTo>
                        <a:pt x="58" y="217"/>
                      </a:lnTo>
                      <a:lnTo>
                        <a:pt x="59" y="217"/>
                      </a:lnTo>
                      <a:lnTo>
                        <a:pt x="61" y="217"/>
                      </a:lnTo>
                      <a:close/>
                      <a:moveTo>
                        <a:pt x="73" y="220"/>
                      </a:moveTo>
                      <a:lnTo>
                        <a:pt x="75" y="220"/>
                      </a:lnTo>
                      <a:lnTo>
                        <a:pt x="73" y="220"/>
                      </a:lnTo>
                      <a:close/>
                      <a:moveTo>
                        <a:pt x="49" y="227"/>
                      </a:moveTo>
                      <a:lnTo>
                        <a:pt x="51" y="227"/>
                      </a:lnTo>
                      <a:lnTo>
                        <a:pt x="49" y="227"/>
                      </a:lnTo>
                      <a:close/>
                      <a:moveTo>
                        <a:pt x="70" y="228"/>
                      </a:moveTo>
                      <a:lnTo>
                        <a:pt x="68" y="227"/>
                      </a:lnTo>
                      <a:lnTo>
                        <a:pt x="70" y="227"/>
                      </a:lnTo>
                      <a:lnTo>
                        <a:pt x="70" y="228"/>
                      </a:lnTo>
                      <a:close/>
                      <a:moveTo>
                        <a:pt x="282" y="194"/>
                      </a:moveTo>
                      <a:lnTo>
                        <a:pt x="282" y="192"/>
                      </a:lnTo>
                      <a:lnTo>
                        <a:pt x="282" y="194"/>
                      </a:lnTo>
                      <a:close/>
                      <a:moveTo>
                        <a:pt x="279" y="195"/>
                      </a:moveTo>
                      <a:lnTo>
                        <a:pt x="277" y="195"/>
                      </a:lnTo>
                      <a:lnTo>
                        <a:pt x="279" y="194"/>
                      </a:lnTo>
                      <a:lnTo>
                        <a:pt x="279" y="195"/>
                      </a:lnTo>
                      <a:close/>
                      <a:moveTo>
                        <a:pt x="115" y="212"/>
                      </a:moveTo>
                      <a:lnTo>
                        <a:pt x="113" y="212"/>
                      </a:lnTo>
                      <a:lnTo>
                        <a:pt x="108" y="212"/>
                      </a:lnTo>
                      <a:lnTo>
                        <a:pt x="105" y="212"/>
                      </a:lnTo>
                      <a:lnTo>
                        <a:pt x="102" y="214"/>
                      </a:lnTo>
                      <a:lnTo>
                        <a:pt x="98" y="214"/>
                      </a:lnTo>
                      <a:lnTo>
                        <a:pt x="95" y="214"/>
                      </a:lnTo>
                      <a:lnTo>
                        <a:pt x="88" y="215"/>
                      </a:lnTo>
                      <a:lnTo>
                        <a:pt x="86" y="215"/>
                      </a:lnTo>
                      <a:lnTo>
                        <a:pt x="85" y="217"/>
                      </a:lnTo>
                      <a:lnTo>
                        <a:pt x="85" y="215"/>
                      </a:lnTo>
                      <a:lnTo>
                        <a:pt x="83" y="215"/>
                      </a:lnTo>
                      <a:lnTo>
                        <a:pt x="83" y="214"/>
                      </a:lnTo>
                      <a:lnTo>
                        <a:pt x="85" y="214"/>
                      </a:lnTo>
                      <a:lnTo>
                        <a:pt x="85" y="212"/>
                      </a:lnTo>
                      <a:lnTo>
                        <a:pt x="86" y="212"/>
                      </a:lnTo>
                      <a:lnTo>
                        <a:pt x="86" y="210"/>
                      </a:lnTo>
                      <a:lnTo>
                        <a:pt x="88" y="210"/>
                      </a:lnTo>
                      <a:lnTo>
                        <a:pt x="90" y="212"/>
                      </a:lnTo>
                      <a:lnTo>
                        <a:pt x="91" y="212"/>
                      </a:lnTo>
                      <a:lnTo>
                        <a:pt x="93" y="212"/>
                      </a:lnTo>
                      <a:lnTo>
                        <a:pt x="93" y="214"/>
                      </a:lnTo>
                      <a:lnTo>
                        <a:pt x="95" y="214"/>
                      </a:lnTo>
                      <a:lnTo>
                        <a:pt x="95" y="212"/>
                      </a:lnTo>
                      <a:lnTo>
                        <a:pt x="97" y="212"/>
                      </a:lnTo>
                      <a:lnTo>
                        <a:pt x="95" y="210"/>
                      </a:lnTo>
                      <a:lnTo>
                        <a:pt x="93" y="209"/>
                      </a:lnTo>
                      <a:lnTo>
                        <a:pt x="95" y="210"/>
                      </a:lnTo>
                      <a:lnTo>
                        <a:pt x="98" y="212"/>
                      </a:lnTo>
                      <a:lnTo>
                        <a:pt x="100" y="212"/>
                      </a:lnTo>
                      <a:lnTo>
                        <a:pt x="102" y="212"/>
                      </a:lnTo>
                      <a:lnTo>
                        <a:pt x="103" y="212"/>
                      </a:lnTo>
                      <a:lnTo>
                        <a:pt x="110" y="212"/>
                      </a:lnTo>
                      <a:lnTo>
                        <a:pt x="112" y="212"/>
                      </a:lnTo>
                      <a:lnTo>
                        <a:pt x="115" y="210"/>
                      </a:lnTo>
                      <a:lnTo>
                        <a:pt x="115" y="209"/>
                      </a:lnTo>
                      <a:lnTo>
                        <a:pt x="113" y="209"/>
                      </a:lnTo>
                      <a:lnTo>
                        <a:pt x="110" y="207"/>
                      </a:lnTo>
                      <a:lnTo>
                        <a:pt x="108" y="207"/>
                      </a:lnTo>
                      <a:lnTo>
                        <a:pt x="108" y="205"/>
                      </a:lnTo>
                      <a:lnTo>
                        <a:pt x="107" y="204"/>
                      </a:lnTo>
                      <a:lnTo>
                        <a:pt x="105" y="202"/>
                      </a:lnTo>
                      <a:lnTo>
                        <a:pt x="103" y="200"/>
                      </a:lnTo>
                      <a:lnTo>
                        <a:pt x="103" y="199"/>
                      </a:lnTo>
                      <a:lnTo>
                        <a:pt x="105" y="200"/>
                      </a:lnTo>
                      <a:lnTo>
                        <a:pt x="105" y="199"/>
                      </a:lnTo>
                      <a:lnTo>
                        <a:pt x="105" y="200"/>
                      </a:lnTo>
                      <a:lnTo>
                        <a:pt x="107" y="200"/>
                      </a:lnTo>
                      <a:lnTo>
                        <a:pt x="108" y="202"/>
                      </a:lnTo>
                      <a:lnTo>
                        <a:pt x="110" y="202"/>
                      </a:lnTo>
                      <a:lnTo>
                        <a:pt x="110" y="204"/>
                      </a:lnTo>
                      <a:lnTo>
                        <a:pt x="112" y="204"/>
                      </a:lnTo>
                      <a:lnTo>
                        <a:pt x="112" y="205"/>
                      </a:lnTo>
                      <a:lnTo>
                        <a:pt x="113" y="205"/>
                      </a:lnTo>
                      <a:lnTo>
                        <a:pt x="115" y="205"/>
                      </a:lnTo>
                      <a:lnTo>
                        <a:pt x="117" y="205"/>
                      </a:lnTo>
                      <a:lnTo>
                        <a:pt x="117" y="207"/>
                      </a:lnTo>
                      <a:lnTo>
                        <a:pt x="118" y="207"/>
                      </a:lnTo>
                      <a:lnTo>
                        <a:pt x="120" y="207"/>
                      </a:lnTo>
                      <a:lnTo>
                        <a:pt x="120" y="209"/>
                      </a:lnTo>
                      <a:lnTo>
                        <a:pt x="122" y="209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lnTo>
                        <a:pt x="125" y="212"/>
                      </a:lnTo>
                      <a:lnTo>
                        <a:pt x="125" y="210"/>
                      </a:lnTo>
                      <a:lnTo>
                        <a:pt x="125" y="212"/>
                      </a:lnTo>
                      <a:lnTo>
                        <a:pt x="125" y="210"/>
                      </a:lnTo>
                      <a:lnTo>
                        <a:pt x="125" y="212"/>
                      </a:lnTo>
                      <a:lnTo>
                        <a:pt x="127" y="212"/>
                      </a:lnTo>
                      <a:lnTo>
                        <a:pt x="125" y="212"/>
                      </a:lnTo>
                      <a:lnTo>
                        <a:pt x="124" y="212"/>
                      </a:lnTo>
                      <a:lnTo>
                        <a:pt x="124" y="210"/>
                      </a:lnTo>
                      <a:lnTo>
                        <a:pt x="122" y="210"/>
                      </a:lnTo>
                      <a:lnTo>
                        <a:pt x="120" y="210"/>
                      </a:lnTo>
                      <a:lnTo>
                        <a:pt x="118" y="210"/>
                      </a:lnTo>
                      <a:lnTo>
                        <a:pt x="117" y="210"/>
                      </a:lnTo>
                      <a:lnTo>
                        <a:pt x="115" y="210"/>
                      </a:lnTo>
                      <a:lnTo>
                        <a:pt x="117" y="210"/>
                      </a:lnTo>
                      <a:lnTo>
                        <a:pt x="118" y="210"/>
                      </a:lnTo>
                      <a:lnTo>
                        <a:pt x="120" y="210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lnTo>
                        <a:pt x="124" y="212"/>
                      </a:lnTo>
                      <a:lnTo>
                        <a:pt x="125" y="212"/>
                      </a:lnTo>
                      <a:lnTo>
                        <a:pt x="124" y="212"/>
                      </a:lnTo>
                      <a:lnTo>
                        <a:pt x="122" y="212"/>
                      </a:lnTo>
                      <a:lnTo>
                        <a:pt x="120" y="212"/>
                      </a:lnTo>
                      <a:lnTo>
                        <a:pt x="115" y="212"/>
                      </a:lnTo>
                      <a:close/>
                      <a:moveTo>
                        <a:pt x="95" y="200"/>
                      </a:moveTo>
                      <a:lnTo>
                        <a:pt x="97" y="200"/>
                      </a:lnTo>
                      <a:lnTo>
                        <a:pt x="97" y="202"/>
                      </a:lnTo>
                      <a:lnTo>
                        <a:pt x="95" y="202"/>
                      </a:lnTo>
                      <a:lnTo>
                        <a:pt x="93" y="204"/>
                      </a:lnTo>
                      <a:lnTo>
                        <a:pt x="93" y="202"/>
                      </a:lnTo>
                      <a:lnTo>
                        <a:pt x="93" y="200"/>
                      </a:lnTo>
                      <a:lnTo>
                        <a:pt x="95" y="200"/>
                      </a:lnTo>
                      <a:close/>
                      <a:moveTo>
                        <a:pt x="98" y="202"/>
                      </a:moveTo>
                      <a:lnTo>
                        <a:pt x="97" y="202"/>
                      </a:lnTo>
                      <a:lnTo>
                        <a:pt x="98" y="202"/>
                      </a:lnTo>
                      <a:close/>
                      <a:moveTo>
                        <a:pt x="91" y="202"/>
                      </a:moveTo>
                      <a:lnTo>
                        <a:pt x="91" y="200"/>
                      </a:lnTo>
                      <a:lnTo>
                        <a:pt x="91" y="202"/>
                      </a:lnTo>
                      <a:close/>
                      <a:moveTo>
                        <a:pt x="86" y="202"/>
                      </a:moveTo>
                      <a:lnTo>
                        <a:pt x="88" y="202"/>
                      </a:lnTo>
                      <a:lnTo>
                        <a:pt x="86" y="202"/>
                      </a:lnTo>
                      <a:close/>
                      <a:moveTo>
                        <a:pt x="90" y="204"/>
                      </a:moveTo>
                      <a:lnTo>
                        <a:pt x="88" y="204"/>
                      </a:lnTo>
                      <a:lnTo>
                        <a:pt x="90" y="204"/>
                      </a:lnTo>
                      <a:close/>
                      <a:moveTo>
                        <a:pt x="93" y="205"/>
                      </a:moveTo>
                      <a:lnTo>
                        <a:pt x="91" y="205"/>
                      </a:lnTo>
                      <a:lnTo>
                        <a:pt x="93" y="205"/>
                      </a:lnTo>
                      <a:close/>
                      <a:moveTo>
                        <a:pt x="91" y="207"/>
                      </a:moveTo>
                      <a:lnTo>
                        <a:pt x="90" y="209"/>
                      </a:lnTo>
                      <a:lnTo>
                        <a:pt x="90" y="207"/>
                      </a:lnTo>
                      <a:lnTo>
                        <a:pt x="91" y="207"/>
                      </a:lnTo>
                      <a:lnTo>
                        <a:pt x="91" y="205"/>
                      </a:lnTo>
                      <a:lnTo>
                        <a:pt x="91" y="207"/>
                      </a:lnTo>
                      <a:close/>
                      <a:moveTo>
                        <a:pt x="93" y="207"/>
                      </a:moveTo>
                      <a:lnTo>
                        <a:pt x="93" y="205"/>
                      </a:lnTo>
                      <a:lnTo>
                        <a:pt x="93" y="207"/>
                      </a:lnTo>
                      <a:close/>
                      <a:moveTo>
                        <a:pt x="81" y="207"/>
                      </a:moveTo>
                      <a:lnTo>
                        <a:pt x="80" y="207"/>
                      </a:lnTo>
                      <a:lnTo>
                        <a:pt x="81" y="207"/>
                      </a:lnTo>
                      <a:close/>
                      <a:moveTo>
                        <a:pt x="88" y="207"/>
                      </a:moveTo>
                      <a:lnTo>
                        <a:pt x="90" y="207"/>
                      </a:lnTo>
                      <a:lnTo>
                        <a:pt x="88" y="207"/>
                      </a:lnTo>
                      <a:close/>
                      <a:moveTo>
                        <a:pt x="73" y="209"/>
                      </a:moveTo>
                      <a:lnTo>
                        <a:pt x="75" y="209"/>
                      </a:lnTo>
                      <a:lnTo>
                        <a:pt x="73" y="209"/>
                      </a:lnTo>
                      <a:close/>
                      <a:moveTo>
                        <a:pt x="71" y="210"/>
                      </a:moveTo>
                      <a:lnTo>
                        <a:pt x="73" y="210"/>
                      </a:lnTo>
                      <a:lnTo>
                        <a:pt x="71" y="210"/>
                      </a:lnTo>
                      <a:close/>
                      <a:moveTo>
                        <a:pt x="156" y="189"/>
                      </a:moveTo>
                      <a:lnTo>
                        <a:pt x="156" y="187"/>
                      </a:lnTo>
                      <a:lnTo>
                        <a:pt x="157" y="187"/>
                      </a:lnTo>
                      <a:lnTo>
                        <a:pt x="159" y="187"/>
                      </a:lnTo>
                      <a:lnTo>
                        <a:pt x="161" y="187"/>
                      </a:lnTo>
                      <a:lnTo>
                        <a:pt x="162" y="187"/>
                      </a:lnTo>
                      <a:lnTo>
                        <a:pt x="162" y="186"/>
                      </a:lnTo>
                      <a:lnTo>
                        <a:pt x="162" y="187"/>
                      </a:lnTo>
                      <a:lnTo>
                        <a:pt x="164" y="186"/>
                      </a:lnTo>
                      <a:lnTo>
                        <a:pt x="164" y="187"/>
                      </a:lnTo>
                      <a:lnTo>
                        <a:pt x="162" y="187"/>
                      </a:lnTo>
                      <a:lnTo>
                        <a:pt x="162" y="189"/>
                      </a:lnTo>
                      <a:lnTo>
                        <a:pt x="162" y="191"/>
                      </a:lnTo>
                      <a:lnTo>
                        <a:pt x="164" y="191"/>
                      </a:lnTo>
                      <a:lnTo>
                        <a:pt x="162" y="191"/>
                      </a:lnTo>
                      <a:lnTo>
                        <a:pt x="161" y="191"/>
                      </a:lnTo>
                      <a:lnTo>
                        <a:pt x="159" y="191"/>
                      </a:lnTo>
                      <a:lnTo>
                        <a:pt x="159" y="189"/>
                      </a:lnTo>
                      <a:lnTo>
                        <a:pt x="159" y="191"/>
                      </a:lnTo>
                      <a:lnTo>
                        <a:pt x="157" y="191"/>
                      </a:lnTo>
                      <a:lnTo>
                        <a:pt x="156" y="191"/>
                      </a:lnTo>
                      <a:lnTo>
                        <a:pt x="154" y="191"/>
                      </a:lnTo>
                      <a:lnTo>
                        <a:pt x="154" y="189"/>
                      </a:lnTo>
                      <a:lnTo>
                        <a:pt x="156" y="189"/>
                      </a:lnTo>
                      <a:close/>
                      <a:moveTo>
                        <a:pt x="159" y="195"/>
                      </a:moveTo>
                      <a:lnTo>
                        <a:pt x="157" y="195"/>
                      </a:lnTo>
                      <a:lnTo>
                        <a:pt x="157" y="194"/>
                      </a:lnTo>
                      <a:lnTo>
                        <a:pt x="156" y="194"/>
                      </a:lnTo>
                      <a:lnTo>
                        <a:pt x="157" y="194"/>
                      </a:lnTo>
                      <a:lnTo>
                        <a:pt x="156" y="192"/>
                      </a:lnTo>
                      <a:lnTo>
                        <a:pt x="157" y="192"/>
                      </a:lnTo>
                      <a:lnTo>
                        <a:pt x="157" y="194"/>
                      </a:lnTo>
                      <a:lnTo>
                        <a:pt x="159" y="194"/>
                      </a:lnTo>
                      <a:lnTo>
                        <a:pt x="157" y="194"/>
                      </a:lnTo>
                      <a:lnTo>
                        <a:pt x="159" y="194"/>
                      </a:lnTo>
                      <a:lnTo>
                        <a:pt x="159" y="195"/>
                      </a:lnTo>
                      <a:close/>
                      <a:moveTo>
                        <a:pt x="157" y="194"/>
                      </a:moveTo>
                      <a:lnTo>
                        <a:pt x="156" y="194"/>
                      </a:lnTo>
                      <a:lnTo>
                        <a:pt x="157" y="194"/>
                      </a:lnTo>
                      <a:close/>
                      <a:moveTo>
                        <a:pt x="122" y="210"/>
                      </a:moveTo>
                      <a:lnTo>
                        <a:pt x="120" y="210"/>
                      </a:lnTo>
                      <a:lnTo>
                        <a:pt x="122" y="210"/>
                      </a:lnTo>
                      <a:close/>
                      <a:moveTo>
                        <a:pt x="122" y="210"/>
                      </a:moveTo>
                      <a:lnTo>
                        <a:pt x="120" y="210"/>
                      </a:lnTo>
                      <a:lnTo>
                        <a:pt x="122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2" y="209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2" y="209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61" y="210"/>
                      </a:moveTo>
                      <a:lnTo>
                        <a:pt x="161" y="209"/>
                      </a:lnTo>
                      <a:lnTo>
                        <a:pt x="161" y="210"/>
                      </a:lnTo>
                      <a:close/>
                      <a:moveTo>
                        <a:pt x="152" y="210"/>
                      </a:moveTo>
                      <a:lnTo>
                        <a:pt x="152" y="209"/>
                      </a:lnTo>
                      <a:lnTo>
                        <a:pt x="152" y="210"/>
                      </a:lnTo>
                      <a:close/>
                      <a:moveTo>
                        <a:pt x="159" y="210"/>
                      </a:moveTo>
                      <a:lnTo>
                        <a:pt x="161" y="210"/>
                      </a:lnTo>
                      <a:lnTo>
                        <a:pt x="159" y="210"/>
                      </a:lnTo>
                      <a:close/>
                      <a:moveTo>
                        <a:pt x="125" y="212"/>
                      </a:moveTo>
                      <a:lnTo>
                        <a:pt x="125" y="210"/>
                      </a:lnTo>
                      <a:lnTo>
                        <a:pt x="125" y="212"/>
                      </a:lnTo>
                      <a:close/>
                      <a:moveTo>
                        <a:pt x="166" y="214"/>
                      </a:moveTo>
                      <a:lnTo>
                        <a:pt x="166" y="212"/>
                      </a:lnTo>
                      <a:lnTo>
                        <a:pt x="164" y="212"/>
                      </a:lnTo>
                      <a:lnTo>
                        <a:pt x="166" y="212"/>
                      </a:lnTo>
                      <a:lnTo>
                        <a:pt x="166" y="214"/>
                      </a:lnTo>
                      <a:close/>
                      <a:moveTo>
                        <a:pt x="130" y="214"/>
                      </a:moveTo>
                      <a:lnTo>
                        <a:pt x="130" y="212"/>
                      </a:lnTo>
                      <a:lnTo>
                        <a:pt x="130" y="214"/>
                      </a:lnTo>
                      <a:close/>
                      <a:moveTo>
                        <a:pt x="166" y="194"/>
                      </a:moveTo>
                      <a:lnTo>
                        <a:pt x="167" y="194"/>
                      </a:lnTo>
                      <a:lnTo>
                        <a:pt x="166" y="194"/>
                      </a:lnTo>
                      <a:close/>
                      <a:moveTo>
                        <a:pt x="167" y="195"/>
                      </a:moveTo>
                      <a:lnTo>
                        <a:pt x="167" y="194"/>
                      </a:lnTo>
                      <a:lnTo>
                        <a:pt x="167" y="195"/>
                      </a:lnTo>
                      <a:close/>
                      <a:moveTo>
                        <a:pt x="166" y="195"/>
                      </a:moveTo>
                      <a:lnTo>
                        <a:pt x="166" y="194"/>
                      </a:lnTo>
                      <a:lnTo>
                        <a:pt x="166" y="195"/>
                      </a:lnTo>
                      <a:close/>
                      <a:moveTo>
                        <a:pt x="186" y="209"/>
                      </a:moveTo>
                      <a:lnTo>
                        <a:pt x="188" y="207"/>
                      </a:lnTo>
                      <a:lnTo>
                        <a:pt x="186" y="209"/>
                      </a:lnTo>
                      <a:close/>
                      <a:moveTo>
                        <a:pt x="274" y="204"/>
                      </a:moveTo>
                      <a:lnTo>
                        <a:pt x="276" y="204"/>
                      </a:lnTo>
                      <a:lnTo>
                        <a:pt x="274" y="204"/>
                      </a:lnTo>
                      <a:close/>
                      <a:moveTo>
                        <a:pt x="274" y="205"/>
                      </a:moveTo>
                      <a:lnTo>
                        <a:pt x="276" y="205"/>
                      </a:lnTo>
                      <a:lnTo>
                        <a:pt x="276" y="207"/>
                      </a:lnTo>
                      <a:lnTo>
                        <a:pt x="274" y="207"/>
                      </a:lnTo>
                      <a:lnTo>
                        <a:pt x="272" y="207"/>
                      </a:lnTo>
                      <a:lnTo>
                        <a:pt x="274" y="207"/>
                      </a:lnTo>
                      <a:lnTo>
                        <a:pt x="274" y="205"/>
                      </a:lnTo>
                      <a:close/>
                      <a:moveTo>
                        <a:pt x="169" y="184"/>
                      </a:moveTo>
                      <a:lnTo>
                        <a:pt x="169" y="186"/>
                      </a:lnTo>
                      <a:lnTo>
                        <a:pt x="167" y="186"/>
                      </a:lnTo>
                      <a:lnTo>
                        <a:pt x="169" y="186"/>
                      </a:lnTo>
                      <a:lnTo>
                        <a:pt x="169" y="184"/>
                      </a:lnTo>
                      <a:close/>
                      <a:moveTo>
                        <a:pt x="169" y="191"/>
                      </a:moveTo>
                      <a:lnTo>
                        <a:pt x="171" y="191"/>
                      </a:lnTo>
                      <a:lnTo>
                        <a:pt x="169" y="191"/>
                      </a:lnTo>
                      <a:close/>
                      <a:moveTo>
                        <a:pt x="169" y="192"/>
                      </a:moveTo>
                      <a:lnTo>
                        <a:pt x="167" y="192"/>
                      </a:lnTo>
                      <a:lnTo>
                        <a:pt x="167" y="191"/>
                      </a:lnTo>
                      <a:lnTo>
                        <a:pt x="169" y="191"/>
                      </a:lnTo>
                      <a:lnTo>
                        <a:pt x="169" y="192"/>
                      </a:lnTo>
                      <a:close/>
                      <a:moveTo>
                        <a:pt x="169" y="194"/>
                      </a:moveTo>
                      <a:lnTo>
                        <a:pt x="169" y="192"/>
                      </a:lnTo>
                      <a:lnTo>
                        <a:pt x="169" y="194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  <p:grpSp>
            <p:nvGrpSpPr>
              <p:cNvPr id="11" name="Grupo 293"/>
              <p:cNvGrpSpPr/>
              <p:nvPr/>
            </p:nvGrpSpPr>
            <p:grpSpPr bwMode="auto">
              <a:xfrm>
                <a:off x="539762" y="1818500"/>
                <a:ext cx="2348518" cy="2430887"/>
                <a:chOff x="2123727" y="1203570"/>
                <a:chExt cx="4946801" cy="5081001"/>
              </a:xfrm>
              <a:solidFill>
                <a:srgbClr val="006600"/>
              </a:solidFill>
            </p:grpSpPr>
            <p:sp>
              <p:nvSpPr>
                <p:cNvPr id="12" name="Fluxograma: Conector 11"/>
                <p:cNvSpPr/>
                <p:nvPr/>
              </p:nvSpPr>
              <p:spPr>
                <a:xfrm>
                  <a:off x="2123727" y="269526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3" name="Fluxograma: Conector 12"/>
                <p:cNvSpPr/>
                <p:nvPr/>
              </p:nvSpPr>
              <p:spPr>
                <a:xfrm>
                  <a:off x="2548950" y="280671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4" name="Fluxograma: Conector 13"/>
                <p:cNvSpPr/>
                <p:nvPr/>
              </p:nvSpPr>
              <p:spPr>
                <a:xfrm>
                  <a:off x="2690758" y="249288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" name="Fluxograma: Conector 14"/>
                <p:cNvSpPr/>
                <p:nvPr/>
              </p:nvSpPr>
              <p:spPr>
                <a:xfrm>
                  <a:off x="2822030" y="2703884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" name="Fluxograma: Conector 15"/>
                <p:cNvSpPr/>
                <p:nvPr/>
              </p:nvSpPr>
              <p:spPr>
                <a:xfrm>
                  <a:off x="2994527" y="2966803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" name="Fluxograma: Conector 16"/>
                <p:cNvSpPr/>
                <p:nvPr/>
              </p:nvSpPr>
              <p:spPr>
                <a:xfrm>
                  <a:off x="2994510" y="284287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" name="Fluxograma: Conector 17"/>
                <p:cNvSpPr/>
                <p:nvPr/>
              </p:nvSpPr>
              <p:spPr>
                <a:xfrm>
                  <a:off x="3165207" y="1725928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" name="Fluxograma: Conector 18"/>
                <p:cNvSpPr/>
                <p:nvPr/>
              </p:nvSpPr>
              <p:spPr>
                <a:xfrm>
                  <a:off x="3269022" y="177281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" name="Fluxograma: Conector 19"/>
                <p:cNvSpPr/>
                <p:nvPr/>
              </p:nvSpPr>
              <p:spPr>
                <a:xfrm>
                  <a:off x="4057893" y="160367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" name="Fluxograma: Conector 20"/>
                <p:cNvSpPr/>
                <p:nvPr/>
              </p:nvSpPr>
              <p:spPr>
                <a:xfrm>
                  <a:off x="4422957" y="171587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" name="Fluxograma: Conector 21"/>
                <p:cNvSpPr/>
                <p:nvPr/>
              </p:nvSpPr>
              <p:spPr>
                <a:xfrm>
                  <a:off x="4501412" y="135093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" name="Fluxograma: Conector 22"/>
                <p:cNvSpPr/>
                <p:nvPr/>
              </p:nvSpPr>
              <p:spPr>
                <a:xfrm>
                  <a:off x="4630355" y="120357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" name="Fluxograma: Conector 23"/>
                <p:cNvSpPr/>
                <p:nvPr/>
              </p:nvSpPr>
              <p:spPr>
                <a:xfrm>
                  <a:off x="4654044" y="1427848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" name="Fluxograma: Conector 24"/>
                <p:cNvSpPr/>
                <p:nvPr/>
              </p:nvSpPr>
              <p:spPr>
                <a:xfrm>
                  <a:off x="4823180" y="155678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" name="Fluxograma: Conector 25"/>
                <p:cNvSpPr/>
                <p:nvPr/>
              </p:nvSpPr>
              <p:spPr>
                <a:xfrm>
                  <a:off x="4875091" y="202065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" name="Fluxograma: Conector 26"/>
                <p:cNvSpPr/>
                <p:nvPr/>
              </p:nvSpPr>
              <p:spPr>
                <a:xfrm>
                  <a:off x="5156451" y="204358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" name="Fluxograma: Conector 27"/>
                <p:cNvSpPr/>
                <p:nvPr/>
              </p:nvSpPr>
              <p:spPr>
                <a:xfrm>
                  <a:off x="4942621" y="147066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" name="Fluxograma: Conector 28"/>
                <p:cNvSpPr/>
                <p:nvPr/>
              </p:nvSpPr>
              <p:spPr>
                <a:xfrm>
                  <a:off x="5058387" y="1423363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" name="Fluxograma: Conector 29"/>
                <p:cNvSpPr/>
                <p:nvPr/>
              </p:nvSpPr>
              <p:spPr>
                <a:xfrm>
                  <a:off x="4986380" y="1430423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" name="Fluxograma: Conector 30"/>
                <p:cNvSpPr/>
                <p:nvPr/>
              </p:nvSpPr>
              <p:spPr>
                <a:xfrm>
                  <a:off x="5223598" y="140923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" name="Fluxograma: Conector 31"/>
                <p:cNvSpPr/>
                <p:nvPr/>
              </p:nvSpPr>
              <p:spPr>
                <a:xfrm>
                  <a:off x="5469258" y="1618208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" name="Fluxograma: Conector 32"/>
                <p:cNvSpPr/>
                <p:nvPr/>
              </p:nvSpPr>
              <p:spPr>
                <a:xfrm>
                  <a:off x="5597752" y="1614668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" name="Fluxograma: Conector 33"/>
                <p:cNvSpPr/>
                <p:nvPr/>
              </p:nvSpPr>
              <p:spPr>
                <a:xfrm>
                  <a:off x="5518684" y="185893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" name="Fluxograma: Conector 34"/>
                <p:cNvSpPr/>
                <p:nvPr/>
              </p:nvSpPr>
              <p:spPr>
                <a:xfrm>
                  <a:off x="5652114" y="188857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" name="Fluxograma: Conector 35"/>
                <p:cNvSpPr/>
                <p:nvPr/>
              </p:nvSpPr>
              <p:spPr>
                <a:xfrm>
                  <a:off x="5818637" y="199237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" name="Fluxograma: Conector 36"/>
                <p:cNvSpPr/>
                <p:nvPr/>
              </p:nvSpPr>
              <p:spPr>
                <a:xfrm>
                  <a:off x="5978101" y="1676091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8" name="Fluxograma: Conector 37"/>
                <p:cNvSpPr/>
                <p:nvPr/>
              </p:nvSpPr>
              <p:spPr>
                <a:xfrm>
                  <a:off x="6170286" y="1783401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9" name="Fluxograma: Conector 38"/>
                <p:cNvSpPr/>
                <p:nvPr/>
              </p:nvSpPr>
              <p:spPr>
                <a:xfrm>
                  <a:off x="6444193" y="180950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" name="Fluxograma: Conector 39"/>
                <p:cNvSpPr/>
                <p:nvPr/>
              </p:nvSpPr>
              <p:spPr>
                <a:xfrm>
                  <a:off x="6643991" y="199237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" name="Fluxograma: Conector 40"/>
                <p:cNvSpPr/>
                <p:nvPr/>
              </p:nvSpPr>
              <p:spPr>
                <a:xfrm>
                  <a:off x="6495261" y="226980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" name="Fluxograma: Conector 41"/>
                <p:cNvSpPr/>
                <p:nvPr/>
              </p:nvSpPr>
              <p:spPr>
                <a:xfrm>
                  <a:off x="6553138" y="223096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" name="Fluxograma: Conector 42"/>
                <p:cNvSpPr/>
                <p:nvPr/>
              </p:nvSpPr>
              <p:spPr>
                <a:xfrm>
                  <a:off x="6667518" y="226273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" name="Fluxograma: Conector 43"/>
                <p:cNvSpPr/>
                <p:nvPr/>
              </p:nvSpPr>
              <p:spPr>
                <a:xfrm>
                  <a:off x="6886842" y="2074964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" name="Fluxograma: Conector 44"/>
                <p:cNvSpPr/>
                <p:nvPr/>
              </p:nvSpPr>
              <p:spPr>
                <a:xfrm>
                  <a:off x="6937656" y="209400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" name="Fluxograma: Conector 45"/>
                <p:cNvSpPr/>
                <p:nvPr/>
              </p:nvSpPr>
              <p:spPr>
                <a:xfrm>
                  <a:off x="6869178" y="222168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" name="Fluxograma: Conector 46"/>
                <p:cNvSpPr/>
                <p:nvPr/>
              </p:nvSpPr>
              <p:spPr>
                <a:xfrm>
                  <a:off x="6828949" y="229451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" name="Fluxograma: Conector 47"/>
                <p:cNvSpPr/>
                <p:nvPr/>
              </p:nvSpPr>
              <p:spPr>
                <a:xfrm>
                  <a:off x="6998529" y="2301111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" name="Fluxograma: Conector 48"/>
                <p:cNvSpPr/>
                <p:nvPr/>
              </p:nvSpPr>
              <p:spPr>
                <a:xfrm>
                  <a:off x="6988001" y="2492894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" name="Fluxograma: Conector 49"/>
                <p:cNvSpPr/>
                <p:nvPr/>
              </p:nvSpPr>
              <p:spPr>
                <a:xfrm>
                  <a:off x="6874137" y="2753628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" name="Fluxograma: Conector 50"/>
                <p:cNvSpPr/>
                <p:nvPr/>
              </p:nvSpPr>
              <p:spPr>
                <a:xfrm>
                  <a:off x="6711514" y="289907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" name="Fluxograma: Conector 51"/>
                <p:cNvSpPr/>
                <p:nvPr/>
              </p:nvSpPr>
              <p:spPr>
                <a:xfrm>
                  <a:off x="6671285" y="291811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" name="Fluxograma: Conector 52"/>
                <p:cNvSpPr/>
                <p:nvPr/>
              </p:nvSpPr>
              <p:spPr>
                <a:xfrm>
                  <a:off x="6854339" y="272185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" name="Fluxograma: Conector 53"/>
                <p:cNvSpPr/>
                <p:nvPr/>
              </p:nvSpPr>
              <p:spPr>
                <a:xfrm>
                  <a:off x="6471495" y="3253914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" name="Fluxograma: Conector 54"/>
                <p:cNvSpPr/>
                <p:nvPr/>
              </p:nvSpPr>
              <p:spPr>
                <a:xfrm>
                  <a:off x="6344414" y="382997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" name="Fluxograma: Conector 55"/>
                <p:cNvSpPr/>
                <p:nvPr/>
              </p:nvSpPr>
              <p:spPr>
                <a:xfrm>
                  <a:off x="5666229" y="3734673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" name="Fluxograma: Conector 56"/>
                <p:cNvSpPr/>
                <p:nvPr/>
              </p:nvSpPr>
              <p:spPr>
                <a:xfrm>
                  <a:off x="5690946" y="392238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" name="Fluxograma: Conector 57"/>
                <p:cNvSpPr/>
                <p:nvPr/>
              </p:nvSpPr>
              <p:spPr>
                <a:xfrm>
                  <a:off x="5110171" y="366549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" name="Fluxograma: Conector 58"/>
                <p:cNvSpPr/>
                <p:nvPr/>
              </p:nvSpPr>
              <p:spPr>
                <a:xfrm>
                  <a:off x="4856489" y="373952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" name="Fluxograma: Conector 59"/>
                <p:cNvSpPr/>
                <p:nvPr/>
              </p:nvSpPr>
              <p:spPr>
                <a:xfrm>
                  <a:off x="4917904" y="3687381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" name="Fluxograma: Conector 60"/>
                <p:cNvSpPr/>
                <p:nvPr/>
              </p:nvSpPr>
              <p:spPr>
                <a:xfrm>
                  <a:off x="4849426" y="357300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" name="Fluxograma: Conector 61"/>
                <p:cNvSpPr/>
                <p:nvPr/>
              </p:nvSpPr>
              <p:spPr>
                <a:xfrm>
                  <a:off x="4496448" y="3915393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" name="Fluxograma: Conector 62"/>
                <p:cNvSpPr/>
                <p:nvPr/>
              </p:nvSpPr>
              <p:spPr>
                <a:xfrm>
                  <a:off x="4370087" y="3562408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" name="Fluxograma: Conector 63"/>
                <p:cNvSpPr/>
                <p:nvPr/>
              </p:nvSpPr>
              <p:spPr>
                <a:xfrm>
                  <a:off x="3941571" y="299694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" name="Fluxograma: Conector 64"/>
                <p:cNvSpPr/>
                <p:nvPr/>
              </p:nvSpPr>
              <p:spPr>
                <a:xfrm>
                  <a:off x="3862503" y="3544764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" name="Fluxograma: Conector 65"/>
                <p:cNvSpPr/>
                <p:nvPr/>
              </p:nvSpPr>
              <p:spPr>
                <a:xfrm>
                  <a:off x="4067940" y="3688778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" name="Fluxograma: Conector 66"/>
                <p:cNvSpPr/>
                <p:nvPr/>
              </p:nvSpPr>
              <p:spPr>
                <a:xfrm>
                  <a:off x="3691585" y="409825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8" name="Fluxograma: Conector 67"/>
                <p:cNvSpPr/>
                <p:nvPr/>
              </p:nvSpPr>
              <p:spPr>
                <a:xfrm>
                  <a:off x="3902738" y="428955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9" name="Fluxograma: Conector 68"/>
                <p:cNvSpPr/>
                <p:nvPr/>
              </p:nvSpPr>
              <p:spPr>
                <a:xfrm>
                  <a:off x="4067940" y="431779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0" name="Fluxograma: Conector 69"/>
                <p:cNvSpPr/>
                <p:nvPr/>
              </p:nvSpPr>
              <p:spPr>
                <a:xfrm>
                  <a:off x="4536686" y="4146921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1" name="Fluxograma: Conector 70"/>
                <p:cNvSpPr/>
                <p:nvPr/>
              </p:nvSpPr>
              <p:spPr>
                <a:xfrm>
                  <a:off x="4496448" y="436509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2" name="Fluxograma: Conector 71"/>
                <p:cNvSpPr/>
                <p:nvPr/>
              </p:nvSpPr>
              <p:spPr>
                <a:xfrm>
                  <a:off x="5058395" y="394363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3" name="Fluxograma: Conector 72"/>
                <p:cNvSpPr/>
                <p:nvPr/>
              </p:nvSpPr>
              <p:spPr>
                <a:xfrm>
                  <a:off x="5004035" y="406778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4" name="Fluxograma: Conector 73"/>
                <p:cNvSpPr/>
                <p:nvPr/>
              </p:nvSpPr>
              <p:spPr>
                <a:xfrm>
                  <a:off x="5058387" y="4189293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5" name="Fluxograma: Conector 74"/>
                <p:cNvSpPr/>
                <p:nvPr/>
              </p:nvSpPr>
              <p:spPr>
                <a:xfrm>
                  <a:off x="3913331" y="4639001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6" name="Fluxograma: Conector 75"/>
                <p:cNvSpPr/>
                <p:nvPr/>
              </p:nvSpPr>
              <p:spPr>
                <a:xfrm>
                  <a:off x="4044546" y="456698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7" name="Fluxograma: Conector 76"/>
                <p:cNvSpPr/>
                <p:nvPr/>
              </p:nvSpPr>
              <p:spPr>
                <a:xfrm>
                  <a:off x="4654596" y="479714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8" name="Fluxograma: Conector 77"/>
                <p:cNvSpPr/>
                <p:nvPr/>
              </p:nvSpPr>
              <p:spPr>
                <a:xfrm>
                  <a:off x="4394805" y="488591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79" name="Fluxograma: Conector 78"/>
                <p:cNvSpPr/>
                <p:nvPr/>
              </p:nvSpPr>
              <p:spPr>
                <a:xfrm>
                  <a:off x="4239252" y="490890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0" name="Fluxograma: Conector 79"/>
                <p:cNvSpPr/>
                <p:nvPr/>
              </p:nvSpPr>
              <p:spPr>
                <a:xfrm>
                  <a:off x="4165577" y="505740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1" name="Fluxograma: Conector 80"/>
                <p:cNvSpPr/>
                <p:nvPr/>
              </p:nvSpPr>
              <p:spPr>
                <a:xfrm>
                  <a:off x="4359504" y="5234041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2" name="Fluxograma: Conector 81"/>
                <p:cNvSpPr/>
                <p:nvPr/>
              </p:nvSpPr>
              <p:spPr>
                <a:xfrm>
                  <a:off x="4308673" y="514657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3" name="Fluxograma: Conector 82"/>
                <p:cNvSpPr/>
                <p:nvPr/>
              </p:nvSpPr>
              <p:spPr>
                <a:xfrm>
                  <a:off x="4733666" y="504493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4" name="Fluxograma: Conector 83"/>
                <p:cNvSpPr/>
                <p:nvPr/>
              </p:nvSpPr>
              <p:spPr>
                <a:xfrm>
                  <a:off x="4849426" y="511126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5" name="Fluxograma: Conector 84"/>
                <p:cNvSpPr/>
                <p:nvPr/>
              </p:nvSpPr>
              <p:spPr>
                <a:xfrm>
                  <a:off x="4868470" y="508869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6" name="Fluxograma: Conector 85"/>
                <p:cNvSpPr/>
                <p:nvPr/>
              </p:nvSpPr>
              <p:spPr>
                <a:xfrm>
                  <a:off x="4998402" y="517693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7" name="Fluxograma: Conector 86"/>
                <p:cNvSpPr/>
                <p:nvPr/>
              </p:nvSpPr>
              <p:spPr>
                <a:xfrm>
                  <a:off x="4254328" y="5424024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8" name="Fluxograma: Conector 87"/>
                <p:cNvSpPr/>
                <p:nvPr/>
              </p:nvSpPr>
              <p:spPr>
                <a:xfrm>
                  <a:off x="5011813" y="547460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89" name="Fluxograma: Conector 88"/>
                <p:cNvSpPr/>
                <p:nvPr/>
              </p:nvSpPr>
              <p:spPr>
                <a:xfrm>
                  <a:off x="4187232" y="581936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0" name="Fluxograma: Conector 89"/>
                <p:cNvSpPr/>
                <p:nvPr/>
              </p:nvSpPr>
              <p:spPr>
                <a:xfrm>
                  <a:off x="4548231" y="589138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1" name="Fluxograma: Conector 90"/>
                <p:cNvSpPr/>
                <p:nvPr/>
              </p:nvSpPr>
              <p:spPr>
                <a:xfrm>
                  <a:off x="4417380" y="6100343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2" name="Fluxograma: Conector 91"/>
                <p:cNvSpPr/>
                <p:nvPr/>
              </p:nvSpPr>
              <p:spPr>
                <a:xfrm>
                  <a:off x="4403262" y="617940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3" name="Fluxograma: Conector 92"/>
                <p:cNvSpPr/>
                <p:nvPr/>
              </p:nvSpPr>
              <p:spPr>
                <a:xfrm>
                  <a:off x="4435032" y="6212571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4" name="Fluxograma: Conector 93"/>
                <p:cNvSpPr/>
                <p:nvPr/>
              </p:nvSpPr>
              <p:spPr>
                <a:xfrm>
                  <a:off x="5067592" y="456699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5" name="Fluxograma: Conector 94"/>
                <p:cNvSpPr/>
                <p:nvPr/>
              </p:nvSpPr>
              <p:spPr>
                <a:xfrm>
                  <a:off x="5133926" y="461288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6" name="Fluxograma: Conector 95"/>
                <p:cNvSpPr/>
                <p:nvPr/>
              </p:nvSpPr>
              <p:spPr>
                <a:xfrm>
                  <a:off x="5248308" y="481618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7" name="Fluxograma: Conector 96"/>
                <p:cNvSpPr/>
                <p:nvPr/>
              </p:nvSpPr>
              <p:spPr>
                <a:xfrm>
                  <a:off x="5418362" y="462841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8" name="Fluxograma: Conector 97"/>
                <p:cNvSpPr/>
                <p:nvPr/>
              </p:nvSpPr>
              <p:spPr>
                <a:xfrm>
                  <a:off x="5353481" y="443709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99" name="Fluxograma: Conector 98"/>
                <p:cNvSpPr/>
                <p:nvPr/>
              </p:nvSpPr>
              <p:spPr>
                <a:xfrm>
                  <a:off x="5495289" y="441944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0" name="Fluxograma: Conector 99"/>
                <p:cNvSpPr/>
                <p:nvPr/>
              </p:nvSpPr>
              <p:spPr>
                <a:xfrm>
                  <a:off x="5625763" y="478349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1" name="Fluxograma: Conector 100"/>
                <p:cNvSpPr/>
                <p:nvPr/>
              </p:nvSpPr>
              <p:spPr>
                <a:xfrm>
                  <a:off x="5713290" y="471501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2" name="Fluxograma: Conector 101"/>
                <p:cNvSpPr/>
                <p:nvPr/>
              </p:nvSpPr>
              <p:spPr>
                <a:xfrm>
                  <a:off x="5766248" y="472560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3" name="Fluxograma: Conector 102"/>
                <p:cNvSpPr/>
                <p:nvPr/>
              </p:nvSpPr>
              <p:spPr>
                <a:xfrm>
                  <a:off x="5802954" y="476936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4" name="Fluxograma: Conector 103"/>
                <p:cNvSpPr/>
                <p:nvPr/>
              </p:nvSpPr>
              <p:spPr>
                <a:xfrm>
                  <a:off x="5727644" y="450557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5" name="Fluxograma: Conector 104"/>
                <p:cNvSpPr/>
                <p:nvPr/>
              </p:nvSpPr>
              <p:spPr>
                <a:xfrm>
                  <a:off x="5597754" y="4410997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6" name="Fluxograma: Conector 105"/>
                <p:cNvSpPr/>
                <p:nvPr/>
              </p:nvSpPr>
              <p:spPr>
                <a:xfrm>
                  <a:off x="5673293" y="4300148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7" name="Fluxograma: Conector 106"/>
                <p:cNvSpPr/>
                <p:nvPr/>
              </p:nvSpPr>
              <p:spPr>
                <a:xfrm>
                  <a:off x="5637983" y="4184384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8" name="Fluxograma: Conector 107"/>
                <p:cNvSpPr/>
                <p:nvPr/>
              </p:nvSpPr>
              <p:spPr>
                <a:xfrm>
                  <a:off x="5724123" y="4293090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09" name="Fluxograma: Conector 108"/>
                <p:cNvSpPr/>
                <p:nvPr/>
              </p:nvSpPr>
              <p:spPr>
                <a:xfrm>
                  <a:off x="5803183" y="4347442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10" name="Fluxograma: Conector 109"/>
                <p:cNvSpPr/>
                <p:nvPr/>
              </p:nvSpPr>
              <p:spPr>
                <a:xfrm>
                  <a:off x="6185801" y="4293086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11" name="Fluxograma: Conector 110"/>
                <p:cNvSpPr/>
                <p:nvPr/>
              </p:nvSpPr>
              <p:spPr>
                <a:xfrm>
                  <a:off x="5943664" y="4389813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12" name="Fluxograma: Conector 111"/>
                <p:cNvSpPr/>
                <p:nvPr/>
              </p:nvSpPr>
              <p:spPr>
                <a:xfrm>
                  <a:off x="5908350" y="4461821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13" name="Fluxograma: Conector 112"/>
                <p:cNvSpPr/>
                <p:nvPr/>
              </p:nvSpPr>
              <p:spPr>
                <a:xfrm>
                  <a:off x="6029791" y="4461815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14" name="Fluxograma: Conector 113"/>
                <p:cNvSpPr/>
                <p:nvPr/>
              </p:nvSpPr>
              <p:spPr>
                <a:xfrm>
                  <a:off x="6055919" y="4608549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15" name="Fluxograma: Conector 114"/>
                <p:cNvSpPr/>
                <p:nvPr/>
              </p:nvSpPr>
              <p:spPr>
                <a:xfrm>
                  <a:off x="6001568" y="4653143"/>
                  <a:ext cx="71999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9" name="Fluxograma: Conector 8"/>
            <p:cNvSpPr/>
            <p:nvPr/>
          </p:nvSpPr>
          <p:spPr bwMode="auto">
            <a:xfrm>
              <a:off x="1020763" y="1760587"/>
              <a:ext cx="34925" cy="34925"/>
            </a:xfrm>
            <a:prstGeom prst="flowChartConnector">
              <a:avLst/>
            </a:prstGeom>
            <a:solidFill>
              <a:srgbClr val="006600"/>
            </a:solidFill>
            <a:ln w="158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prstClr val="white"/>
                </a:solidFill>
                <a:latin typeface="Calibri"/>
                <a:cs typeface="Arial" pitchFamily="34" charset="0"/>
              </a:endParaRPr>
            </a:p>
          </p:txBody>
        </p:sp>
      </p:grpSp>
      <p:grpSp>
        <p:nvGrpSpPr>
          <p:cNvPr id="142" name="Grupo 809"/>
          <p:cNvGrpSpPr>
            <a:grpSpLocks/>
          </p:cNvGrpSpPr>
          <p:nvPr/>
        </p:nvGrpSpPr>
        <p:grpSpPr bwMode="auto">
          <a:xfrm>
            <a:off x="3111500" y="1554163"/>
            <a:ext cx="2921000" cy="2879725"/>
            <a:chOff x="3111500" y="1554212"/>
            <a:chExt cx="2921000" cy="2879725"/>
          </a:xfrm>
        </p:grpSpPr>
        <p:grpSp>
          <p:nvGrpSpPr>
            <p:cNvPr id="143" name="Grupo 681"/>
            <p:cNvGrpSpPr>
              <a:grpSpLocks/>
            </p:cNvGrpSpPr>
            <p:nvPr/>
          </p:nvGrpSpPr>
          <p:grpSpPr bwMode="auto">
            <a:xfrm>
              <a:off x="3111500" y="1554212"/>
              <a:ext cx="2921000" cy="2879725"/>
              <a:chOff x="3111500" y="1463675"/>
              <a:chExt cx="2921000" cy="2879725"/>
            </a:xfrm>
          </p:grpSpPr>
          <p:grpSp>
            <p:nvGrpSpPr>
              <p:cNvPr id="145" name="Grupo 292"/>
              <p:cNvGrpSpPr>
                <a:grpSpLocks/>
              </p:cNvGrpSpPr>
              <p:nvPr/>
            </p:nvGrpSpPr>
            <p:grpSpPr bwMode="auto">
              <a:xfrm>
                <a:off x="3111500" y="1463675"/>
                <a:ext cx="2921000" cy="2856468"/>
                <a:chOff x="1274379" y="461924"/>
                <a:chExt cx="6156000" cy="6019176"/>
              </a:xfrm>
            </p:grpSpPr>
            <p:sp>
              <p:nvSpPr>
                <p:cNvPr id="362" name="Freeform 26"/>
                <p:cNvSpPr>
                  <a:spLocks noChangeAspect="1"/>
                </p:cNvSpPr>
                <p:nvPr/>
              </p:nvSpPr>
              <p:spPr bwMode="auto">
                <a:xfrm>
                  <a:off x="3612991" y="3920855"/>
                  <a:ext cx="1073953" cy="1067116"/>
                </a:xfrm>
                <a:custGeom>
                  <a:avLst/>
                  <a:gdLst>
                    <a:gd name="T0" fmla="*/ 2147483647 w 688"/>
                    <a:gd name="T1" fmla="*/ 2147483647 h 637"/>
                    <a:gd name="T2" fmla="*/ 2147483647 w 688"/>
                    <a:gd name="T3" fmla="*/ 2147483647 h 637"/>
                    <a:gd name="T4" fmla="*/ 2147483647 w 688"/>
                    <a:gd name="T5" fmla="*/ 2147483647 h 637"/>
                    <a:gd name="T6" fmla="*/ 2147483647 w 688"/>
                    <a:gd name="T7" fmla="*/ 2147483647 h 637"/>
                    <a:gd name="T8" fmla="*/ 2147483647 w 688"/>
                    <a:gd name="T9" fmla="*/ 2147483647 h 637"/>
                    <a:gd name="T10" fmla="*/ 2147483647 w 688"/>
                    <a:gd name="T11" fmla="*/ 2147483647 h 637"/>
                    <a:gd name="T12" fmla="*/ 2147483647 w 688"/>
                    <a:gd name="T13" fmla="*/ 2147483647 h 637"/>
                    <a:gd name="T14" fmla="*/ 2147483647 w 688"/>
                    <a:gd name="T15" fmla="*/ 2147483647 h 637"/>
                    <a:gd name="T16" fmla="*/ 2147483647 w 688"/>
                    <a:gd name="T17" fmla="*/ 2147483647 h 637"/>
                    <a:gd name="T18" fmla="*/ 2147483647 w 688"/>
                    <a:gd name="T19" fmla="*/ 2147483647 h 637"/>
                    <a:gd name="T20" fmla="*/ 2147483647 w 688"/>
                    <a:gd name="T21" fmla="*/ 2147483647 h 637"/>
                    <a:gd name="T22" fmla="*/ 2147483647 w 688"/>
                    <a:gd name="T23" fmla="*/ 2147483647 h 637"/>
                    <a:gd name="T24" fmla="*/ 2147483647 w 688"/>
                    <a:gd name="T25" fmla="*/ 2147483647 h 637"/>
                    <a:gd name="T26" fmla="*/ 2147483647 w 688"/>
                    <a:gd name="T27" fmla="*/ 2147483647 h 637"/>
                    <a:gd name="T28" fmla="*/ 2147483647 w 688"/>
                    <a:gd name="T29" fmla="*/ 2147483647 h 637"/>
                    <a:gd name="T30" fmla="*/ 2147483647 w 688"/>
                    <a:gd name="T31" fmla="*/ 2147483647 h 637"/>
                    <a:gd name="T32" fmla="*/ 2147483647 w 688"/>
                    <a:gd name="T33" fmla="*/ 2147483647 h 637"/>
                    <a:gd name="T34" fmla="*/ 2147483647 w 688"/>
                    <a:gd name="T35" fmla="*/ 2147483647 h 637"/>
                    <a:gd name="T36" fmla="*/ 2147483647 w 688"/>
                    <a:gd name="T37" fmla="*/ 2147483647 h 637"/>
                    <a:gd name="T38" fmla="*/ 2147483647 w 688"/>
                    <a:gd name="T39" fmla="*/ 2147483647 h 637"/>
                    <a:gd name="T40" fmla="*/ 2147483647 w 688"/>
                    <a:gd name="T41" fmla="*/ 2147483647 h 637"/>
                    <a:gd name="T42" fmla="*/ 2147483647 w 688"/>
                    <a:gd name="T43" fmla="*/ 2147483647 h 637"/>
                    <a:gd name="T44" fmla="*/ 2147483647 w 688"/>
                    <a:gd name="T45" fmla="*/ 2147483647 h 637"/>
                    <a:gd name="T46" fmla="*/ 2147483647 w 688"/>
                    <a:gd name="T47" fmla="*/ 2147483647 h 637"/>
                    <a:gd name="T48" fmla="*/ 2147483647 w 688"/>
                    <a:gd name="T49" fmla="*/ 2147483647 h 637"/>
                    <a:gd name="T50" fmla="*/ 2147483647 w 688"/>
                    <a:gd name="T51" fmla="*/ 2147483647 h 637"/>
                    <a:gd name="T52" fmla="*/ 2147483647 w 688"/>
                    <a:gd name="T53" fmla="*/ 2147483647 h 637"/>
                    <a:gd name="T54" fmla="*/ 2147483647 w 688"/>
                    <a:gd name="T55" fmla="*/ 2147483647 h 637"/>
                    <a:gd name="T56" fmla="*/ 2147483647 w 688"/>
                    <a:gd name="T57" fmla="*/ 2147483647 h 637"/>
                    <a:gd name="T58" fmla="*/ 2147483647 w 688"/>
                    <a:gd name="T59" fmla="*/ 2147483647 h 637"/>
                    <a:gd name="T60" fmla="*/ 2147483647 w 688"/>
                    <a:gd name="T61" fmla="*/ 2147483647 h 637"/>
                    <a:gd name="T62" fmla="*/ 2147483647 w 688"/>
                    <a:gd name="T63" fmla="*/ 2147483647 h 637"/>
                    <a:gd name="T64" fmla="*/ 2147483647 w 688"/>
                    <a:gd name="T65" fmla="*/ 2147483647 h 637"/>
                    <a:gd name="T66" fmla="*/ 2147483647 w 688"/>
                    <a:gd name="T67" fmla="*/ 2147483647 h 637"/>
                    <a:gd name="T68" fmla="*/ 2147483647 w 688"/>
                    <a:gd name="T69" fmla="*/ 2147483647 h 637"/>
                    <a:gd name="T70" fmla="*/ 2147483647 w 688"/>
                    <a:gd name="T71" fmla="*/ 2147483647 h 637"/>
                    <a:gd name="T72" fmla="*/ 2147483647 w 688"/>
                    <a:gd name="T73" fmla="*/ 2147483647 h 637"/>
                    <a:gd name="T74" fmla="*/ 2147483647 w 688"/>
                    <a:gd name="T75" fmla="*/ 2147483647 h 637"/>
                    <a:gd name="T76" fmla="*/ 2147483647 w 688"/>
                    <a:gd name="T77" fmla="*/ 2147483647 h 637"/>
                    <a:gd name="T78" fmla="*/ 2147483647 w 688"/>
                    <a:gd name="T79" fmla="*/ 2147483647 h 637"/>
                    <a:gd name="T80" fmla="*/ 2147483647 w 688"/>
                    <a:gd name="T81" fmla="*/ 2147483647 h 637"/>
                    <a:gd name="T82" fmla="*/ 2147483647 w 688"/>
                    <a:gd name="T83" fmla="*/ 2147483647 h 637"/>
                    <a:gd name="T84" fmla="*/ 2147483647 w 688"/>
                    <a:gd name="T85" fmla="*/ 2147483647 h 637"/>
                    <a:gd name="T86" fmla="*/ 2147483647 w 688"/>
                    <a:gd name="T87" fmla="*/ 2147483647 h 637"/>
                    <a:gd name="T88" fmla="*/ 2147483647 w 688"/>
                    <a:gd name="T89" fmla="*/ 2147483647 h 637"/>
                    <a:gd name="T90" fmla="*/ 2147483647 w 688"/>
                    <a:gd name="T91" fmla="*/ 2147483647 h 637"/>
                    <a:gd name="T92" fmla="*/ 2147483647 w 688"/>
                    <a:gd name="T93" fmla="*/ 2147483647 h 637"/>
                    <a:gd name="T94" fmla="*/ 2147483647 w 688"/>
                    <a:gd name="T95" fmla="*/ 2147483647 h 637"/>
                    <a:gd name="T96" fmla="*/ 2147483647 w 688"/>
                    <a:gd name="T97" fmla="*/ 2147483647 h 637"/>
                    <a:gd name="T98" fmla="*/ 2147483647 w 688"/>
                    <a:gd name="T99" fmla="*/ 2147483647 h 637"/>
                    <a:gd name="T100" fmla="*/ 2147483647 w 688"/>
                    <a:gd name="T101" fmla="*/ 2147483647 h 637"/>
                    <a:gd name="T102" fmla="*/ 2147483647 w 688"/>
                    <a:gd name="T103" fmla="*/ 2147483647 h 637"/>
                    <a:gd name="T104" fmla="*/ 2147483647 w 688"/>
                    <a:gd name="T105" fmla="*/ 2147483647 h 637"/>
                    <a:gd name="T106" fmla="*/ 2147483647 w 688"/>
                    <a:gd name="T107" fmla="*/ 2147483647 h 637"/>
                    <a:gd name="T108" fmla="*/ 2147483647 w 688"/>
                    <a:gd name="T109" fmla="*/ 2147483647 h 637"/>
                    <a:gd name="T110" fmla="*/ 2147483647 w 688"/>
                    <a:gd name="T111" fmla="*/ 2147483647 h 637"/>
                    <a:gd name="T112" fmla="*/ 2147483647 w 688"/>
                    <a:gd name="T113" fmla="*/ 2147483647 h 637"/>
                    <a:gd name="T114" fmla="*/ 2147483647 w 688"/>
                    <a:gd name="T115" fmla="*/ 2147483647 h 637"/>
                    <a:gd name="T116" fmla="*/ 2147483647 w 688"/>
                    <a:gd name="T117" fmla="*/ 2147483647 h 637"/>
                    <a:gd name="T118" fmla="*/ 2147483647 w 688"/>
                    <a:gd name="T119" fmla="*/ 2147483647 h 637"/>
                    <a:gd name="T120" fmla="*/ 2147483647 w 688"/>
                    <a:gd name="T121" fmla="*/ 2147483647 h 637"/>
                    <a:gd name="T122" fmla="*/ 2147483647 w 688"/>
                    <a:gd name="T123" fmla="*/ 2147483647 h 637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688"/>
                    <a:gd name="T187" fmla="*/ 0 h 637"/>
                    <a:gd name="T188" fmla="*/ 688 w 688"/>
                    <a:gd name="T189" fmla="*/ 637 h 637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688" h="637">
                      <a:moveTo>
                        <a:pt x="629" y="183"/>
                      </a:moveTo>
                      <a:lnTo>
                        <a:pt x="630" y="183"/>
                      </a:lnTo>
                      <a:lnTo>
                        <a:pt x="632" y="184"/>
                      </a:lnTo>
                      <a:lnTo>
                        <a:pt x="634" y="184"/>
                      </a:lnTo>
                      <a:lnTo>
                        <a:pt x="632" y="184"/>
                      </a:lnTo>
                      <a:lnTo>
                        <a:pt x="634" y="184"/>
                      </a:lnTo>
                      <a:lnTo>
                        <a:pt x="635" y="184"/>
                      </a:lnTo>
                      <a:lnTo>
                        <a:pt x="637" y="184"/>
                      </a:lnTo>
                      <a:lnTo>
                        <a:pt x="637" y="186"/>
                      </a:lnTo>
                      <a:lnTo>
                        <a:pt x="637" y="184"/>
                      </a:lnTo>
                      <a:lnTo>
                        <a:pt x="639" y="184"/>
                      </a:lnTo>
                      <a:lnTo>
                        <a:pt x="639" y="186"/>
                      </a:lnTo>
                      <a:lnTo>
                        <a:pt x="640" y="186"/>
                      </a:lnTo>
                      <a:lnTo>
                        <a:pt x="642" y="186"/>
                      </a:lnTo>
                      <a:lnTo>
                        <a:pt x="642" y="188"/>
                      </a:lnTo>
                      <a:lnTo>
                        <a:pt x="644" y="188"/>
                      </a:lnTo>
                      <a:lnTo>
                        <a:pt x="645" y="188"/>
                      </a:lnTo>
                      <a:lnTo>
                        <a:pt x="645" y="189"/>
                      </a:lnTo>
                      <a:lnTo>
                        <a:pt x="645" y="191"/>
                      </a:lnTo>
                      <a:lnTo>
                        <a:pt x="647" y="191"/>
                      </a:lnTo>
                      <a:lnTo>
                        <a:pt x="647" y="189"/>
                      </a:lnTo>
                      <a:lnTo>
                        <a:pt x="649" y="191"/>
                      </a:lnTo>
                      <a:lnTo>
                        <a:pt x="651" y="191"/>
                      </a:lnTo>
                      <a:lnTo>
                        <a:pt x="652" y="191"/>
                      </a:lnTo>
                      <a:lnTo>
                        <a:pt x="651" y="191"/>
                      </a:lnTo>
                      <a:lnTo>
                        <a:pt x="651" y="192"/>
                      </a:lnTo>
                      <a:lnTo>
                        <a:pt x="652" y="192"/>
                      </a:lnTo>
                      <a:lnTo>
                        <a:pt x="654" y="192"/>
                      </a:lnTo>
                      <a:lnTo>
                        <a:pt x="654" y="194"/>
                      </a:lnTo>
                      <a:lnTo>
                        <a:pt x="656" y="194"/>
                      </a:lnTo>
                      <a:lnTo>
                        <a:pt x="657" y="196"/>
                      </a:lnTo>
                      <a:lnTo>
                        <a:pt x="657" y="194"/>
                      </a:lnTo>
                      <a:lnTo>
                        <a:pt x="659" y="194"/>
                      </a:lnTo>
                      <a:lnTo>
                        <a:pt x="661" y="194"/>
                      </a:lnTo>
                      <a:lnTo>
                        <a:pt x="662" y="194"/>
                      </a:lnTo>
                      <a:lnTo>
                        <a:pt x="662" y="196"/>
                      </a:lnTo>
                      <a:lnTo>
                        <a:pt x="664" y="196"/>
                      </a:lnTo>
                      <a:lnTo>
                        <a:pt x="666" y="196"/>
                      </a:lnTo>
                      <a:lnTo>
                        <a:pt x="667" y="196"/>
                      </a:lnTo>
                      <a:lnTo>
                        <a:pt x="667" y="197"/>
                      </a:lnTo>
                      <a:lnTo>
                        <a:pt x="669" y="197"/>
                      </a:lnTo>
                      <a:lnTo>
                        <a:pt x="671" y="199"/>
                      </a:lnTo>
                      <a:lnTo>
                        <a:pt x="671" y="197"/>
                      </a:lnTo>
                      <a:lnTo>
                        <a:pt x="673" y="199"/>
                      </a:lnTo>
                      <a:lnTo>
                        <a:pt x="674" y="199"/>
                      </a:lnTo>
                      <a:lnTo>
                        <a:pt x="674" y="201"/>
                      </a:lnTo>
                      <a:lnTo>
                        <a:pt x="676" y="201"/>
                      </a:lnTo>
                      <a:lnTo>
                        <a:pt x="676" y="202"/>
                      </a:lnTo>
                      <a:lnTo>
                        <a:pt x="676" y="204"/>
                      </a:lnTo>
                      <a:lnTo>
                        <a:pt x="678" y="202"/>
                      </a:lnTo>
                      <a:lnTo>
                        <a:pt x="678" y="204"/>
                      </a:lnTo>
                      <a:lnTo>
                        <a:pt x="678" y="206"/>
                      </a:lnTo>
                      <a:lnTo>
                        <a:pt x="679" y="206"/>
                      </a:lnTo>
                      <a:lnTo>
                        <a:pt x="678" y="206"/>
                      </a:lnTo>
                      <a:lnTo>
                        <a:pt x="678" y="207"/>
                      </a:lnTo>
                      <a:lnTo>
                        <a:pt x="679" y="207"/>
                      </a:lnTo>
                      <a:lnTo>
                        <a:pt x="681" y="207"/>
                      </a:lnTo>
                      <a:lnTo>
                        <a:pt x="679" y="207"/>
                      </a:lnTo>
                      <a:lnTo>
                        <a:pt x="681" y="207"/>
                      </a:lnTo>
                      <a:lnTo>
                        <a:pt x="683" y="207"/>
                      </a:lnTo>
                      <a:lnTo>
                        <a:pt x="683" y="209"/>
                      </a:lnTo>
                      <a:lnTo>
                        <a:pt x="681" y="209"/>
                      </a:lnTo>
                      <a:lnTo>
                        <a:pt x="683" y="210"/>
                      </a:lnTo>
                      <a:lnTo>
                        <a:pt x="684" y="210"/>
                      </a:lnTo>
                      <a:lnTo>
                        <a:pt x="686" y="212"/>
                      </a:lnTo>
                      <a:lnTo>
                        <a:pt x="686" y="214"/>
                      </a:lnTo>
                      <a:lnTo>
                        <a:pt x="684" y="214"/>
                      </a:lnTo>
                      <a:lnTo>
                        <a:pt x="684" y="215"/>
                      </a:lnTo>
                      <a:lnTo>
                        <a:pt x="686" y="219"/>
                      </a:lnTo>
                      <a:lnTo>
                        <a:pt x="688" y="220"/>
                      </a:lnTo>
                      <a:lnTo>
                        <a:pt x="688" y="222"/>
                      </a:lnTo>
                      <a:lnTo>
                        <a:pt x="688" y="224"/>
                      </a:lnTo>
                      <a:lnTo>
                        <a:pt x="686" y="224"/>
                      </a:lnTo>
                      <a:lnTo>
                        <a:pt x="686" y="225"/>
                      </a:lnTo>
                      <a:lnTo>
                        <a:pt x="686" y="224"/>
                      </a:lnTo>
                      <a:lnTo>
                        <a:pt x="684" y="224"/>
                      </a:lnTo>
                      <a:lnTo>
                        <a:pt x="683" y="224"/>
                      </a:lnTo>
                      <a:lnTo>
                        <a:pt x="681" y="224"/>
                      </a:lnTo>
                      <a:lnTo>
                        <a:pt x="681" y="225"/>
                      </a:lnTo>
                      <a:lnTo>
                        <a:pt x="681" y="227"/>
                      </a:lnTo>
                      <a:lnTo>
                        <a:pt x="679" y="229"/>
                      </a:lnTo>
                      <a:lnTo>
                        <a:pt x="679" y="230"/>
                      </a:lnTo>
                      <a:lnTo>
                        <a:pt x="679" y="232"/>
                      </a:lnTo>
                      <a:lnTo>
                        <a:pt x="678" y="233"/>
                      </a:lnTo>
                      <a:lnTo>
                        <a:pt x="676" y="235"/>
                      </a:lnTo>
                      <a:lnTo>
                        <a:pt x="678" y="237"/>
                      </a:lnTo>
                      <a:lnTo>
                        <a:pt x="676" y="237"/>
                      </a:lnTo>
                      <a:lnTo>
                        <a:pt x="676" y="238"/>
                      </a:lnTo>
                      <a:lnTo>
                        <a:pt x="678" y="240"/>
                      </a:lnTo>
                      <a:lnTo>
                        <a:pt x="678" y="242"/>
                      </a:lnTo>
                      <a:lnTo>
                        <a:pt x="678" y="243"/>
                      </a:lnTo>
                      <a:lnTo>
                        <a:pt x="678" y="245"/>
                      </a:lnTo>
                      <a:lnTo>
                        <a:pt x="679" y="247"/>
                      </a:lnTo>
                      <a:lnTo>
                        <a:pt x="679" y="250"/>
                      </a:lnTo>
                      <a:lnTo>
                        <a:pt x="679" y="252"/>
                      </a:lnTo>
                      <a:lnTo>
                        <a:pt x="679" y="253"/>
                      </a:lnTo>
                      <a:lnTo>
                        <a:pt x="681" y="253"/>
                      </a:lnTo>
                      <a:lnTo>
                        <a:pt x="681" y="255"/>
                      </a:lnTo>
                      <a:lnTo>
                        <a:pt x="679" y="256"/>
                      </a:lnTo>
                      <a:lnTo>
                        <a:pt x="679" y="258"/>
                      </a:lnTo>
                      <a:lnTo>
                        <a:pt x="678" y="258"/>
                      </a:lnTo>
                      <a:lnTo>
                        <a:pt x="679" y="260"/>
                      </a:lnTo>
                      <a:lnTo>
                        <a:pt x="679" y="261"/>
                      </a:lnTo>
                      <a:lnTo>
                        <a:pt x="679" y="263"/>
                      </a:lnTo>
                      <a:lnTo>
                        <a:pt x="679" y="265"/>
                      </a:lnTo>
                      <a:lnTo>
                        <a:pt x="679" y="266"/>
                      </a:lnTo>
                      <a:lnTo>
                        <a:pt x="679" y="268"/>
                      </a:lnTo>
                      <a:lnTo>
                        <a:pt x="679" y="270"/>
                      </a:lnTo>
                      <a:lnTo>
                        <a:pt x="681" y="270"/>
                      </a:lnTo>
                      <a:lnTo>
                        <a:pt x="681" y="271"/>
                      </a:lnTo>
                      <a:lnTo>
                        <a:pt x="679" y="271"/>
                      </a:lnTo>
                      <a:lnTo>
                        <a:pt x="679" y="273"/>
                      </a:lnTo>
                      <a:lnTo>
                        <a:pt x="678" y="276"/>
                      </a:lnTo>
                      <a:lnTo>
                        <a:pt x="678" y="278"/>
                      </a:lnTo>
                      <a:lnTo>
                        <a:pt x="676" y="281"/>
                      </a:lnTo>
                      <a:lnTo>
                        <a:pt x="676" y="283"/>
                      </a:lnTo>
                      <a:lnTo>
                        <a:pt x="674" y="284"/>
                      </a:lnTo>
                      <a:lnTo>
                        <a:pt x="674" y="286"/>
                      </a:lnTo>
                      <a:lnTo>
                        <a:pt x="671" y="288"/>
                      </a:lnTo>
                      <a:lnTo>
                        <a:pt x="669" y="289"/>
                      </a:lnTo>
                      <a:lnTo>
                        <a:pt x="667" y="289"/>
                      </a:lnTo>
                      <a:lnTo>
                        <a:pt x="666" y="291"/>
                      </a:lnTo>
                      <a:lnTo>
                        <a:pt x="664" y="291"/>
                      </a:lnTo>
                      <a:lnTo>
                        <a:pt x="662" y="291"/>
                      </a:lnTo>
                      <a:lnTo>
                        <a:pt x="657" y="291"/>
                      </a:lnTo>
                      <a:lnTo>
                        <a:pt x="652" y="293"/>
                      </a:lnTo>
                      <a:lnTo>
                        <a:pt x="651" y="293"/>
                      </a:lnTo>
                      <a:lnTo>
                        <a:pt x="647" y="294"/>
                      </a:lnTo>
                      <a:lnTo>
                        <a:pt x="647" y="296"/>
                      </a:lnTo>
                      <a:lnTo>
                        <a:pt x="645" y="298"/>
                      </a:lnTo>
                      <a:lnTo>
                        <a:pt x="645" y="299"/>
                      </a:lnTo>
                      <a:lnTo>
                        <a:pt x="642" y="304"/>
                      </a:lnTo>
                      <a:lnTo>
                        <a:pt x="640" y="306"/>
                      </a:lnTo>
                      <a:lnTo>
                        <a:pt x="639" y="306"/>
                      </a:lnTo>
                      <a:lnTo>
                        <a:pt x="637" y="307"/>
                      </a:lnTo>
                      <a:lnTo>
                        <a:pt x="637" y="309"/>
                      </a:lnTo>
                      <a:lnTo>
                        <a:pt x="635" y="309"/>
                      </a:lnTo>
                      <a:lnTo>
                        <a:pt x="634" y="312"/>
                      </a:lnTo>
                      <a:lnTo>
                        <a:pt x="634" y="314"/>
                      </a:lnTo>
                      <a:lnTo>
                        <a:pt x="632" y="316"/>
                      </a:lnTo>
                      <a:lnTo>
                        <a:pt x="630" y="316"/>
                      </a:lnTo>
                      <a:lnTo>
                        <a:pt x="630" y="317"/>
                      </a:lnTo>
                      <a:lnTo>
                        <a:pt x="627" y="319"/>
                      </a:lnTo>
                      <a:lnTo>
                        <a:pt x="625" y="321"/>
                      </a:lnTo>
                      <a:lnTo>
                        <a:pt x="624" y="322"/>
                      </a:lnTo>
                      <a:lnTo>
                        <a:pt x="624" y="324"/>
                      </a:lnTo>
                      <a:lnTo>
                        <a:pt x="622" y="325"/>
                      </a:lnTo>
                      <a:lnTo>
                        <a:pt x="622" y="327"/>
                      </a:lnTo>
                      <a:lnTo>
                        <a:pt x="620" y="330"/>
                      </a:lnTo>
                      <a:lnTo>
                        <a:pt x="620" y="332"/>
                      </a:lnTo>
                      <a:lnTo>
                        <a:pt x="622" y="334"/>
                      </a:lnTo>
                      <a:lnTo>
                        <a:pt x="620" y="334"/>
                      </a:lnTo>
                      <a:lnTo>
                        <a:pt x="620" y="335"/>
                      </a:lnTo>
                      <a:lnTo>
                        <a:pt x="622" y="335"/>
                      </a:lnTo>
                      <a:lnTo>
                        <a:pt x="620" y="339"/>
                      </a:lnTo>
                      <a:lnTo>
                        <a:pt x="620" y="342"/>
                      </a:lnTo>
                      <a:lnTo>
                        <a:pt x="622" y="344"/>
                      </a:lnTo>
                      <a:lnTo>
                        <a:pt x="622" y="345"/>
                      </a:lnTo>
                      <a:lnTo>
                        <a:pt x="622" y="347"/>
                      </a:lnTo>
                      <a:lnTo>
                        <a:pt x="622" y="348"/>
                      </a:lnTo>
                      <a:lnTo>
                        <a:pt x="620" y="350"/>
                      </a:lnTo>
                      <a:lnTo>
                        <a:pt x="618" y="350"/>
                      </a:lnTo>
                      <a:lnTo>
                        <a:pt x="618" y="352"/>
                      </a:lnTo>
                      <a:lnTo>
                        <a:pt x="617" y="352"/>
                      </a:lnTo>
                      <a:lnTo>
                        <a:pt x="615" y="352"/>
                      </a:lnTo>
                      <a:lnTo>
                        <a:pt x="613" y="352"/>
                      </a:lnTo>
                      <a:lnTo>
                        <a:pt x="612" y="352"/>
                      </a:lnTo>
                      <a:lnTo>
                        <a:pt x="612" y="353"/>
                      </a:lnTo>
                      <a:lnTo>
                        <a:pt x="610" y="353"/>
                      </a:lnTo>
                      <a:lnTo>
                        <a:pt x="610" y="355"/>
                      </a:lnTo>
                      <a:lnTo>
                        <a:pt x="608" y="355"/>
                      </a:lnTo>
                      <a:lnTo>
                        <a:pt x="608" y="357"/>
                      </a:lnTo>
                      <a:lnTo>
                        <a:pt x="607" y="358"/>
                      </a:lnTo>
                      <a:lnTo>
                        <a:pt x="607" y="360"/>
                      </a:lnTo>
                      <a:lnTo>
                        <a:pt x="607" y="362"/>
                      </a:lnTo>
                      <a:lnTo>
                        <a:pt x="607" y="363"/>
                      </a:lnTo>
                      <a:lnTo>
                        <a:pt x="605" y="363"/>
                      </a:lnTo>
                      <a:lnTo>
                        <a:pt x="605" y="365"/>
                      </a:lnTo>
                      <a:lnTo>
                        <a:pt x="603" y="365"/>
                      </a:lnTo>
                      <a:lnTo>
                        <a:pt x="603" y="367"/>
                      </a:lnTo>
                      <a:lnTo>
                        <a:pt x="602" y="367"/>
                      </a:lnTo>
                      <a:lnTo>
                        <a:pt x="600" y="367"/>
                      </a:lnTo>
                      <a:lnTo>
                        <a:pt x="598" y="367"/>
                      </a:lnTo>
                      <a:lnTo>
                        <a:pt x="597" y="367"/>
                      </a:lnTo>
                      <a:lnTo>
                        <a:pt x="597" y="368"/>
                      </a:lnTo>
                      <a:lnTo>
                        <a:pt x="598" y="371"/>
                      </a:lnTo>
                      <a:lnTo>
                        <a:pt x="597" y="371"/>
                      </a:lnTo>
                      <a:lnTo>
                        <a:pt x="597" y="373"/>
                      </a:lnTo>
                      <a:lnTo>
                        <a:pt x="598" y="373"/>
                      </a:lnTo>
                      <a:lnTo>
                        <a:pt x="598" y="375"/>
                      </a:lnTo>
                      <a:lnTo>
                        <a:pt x="598" y="376"/>
                      </a:lnTo>
                      <a:lnTo>
                        <a:pt x="600" y="378"/>
                      </a:lnTo>
                      <a:lnTo>
                        <a:pt x="600" y="380"/>
                      </a:lnTo>
                      <a:lnTo>
                        <a:pt x="600" y="381"/>
                      </a:lnTo>
                      <a:lnTo>
                        <a:pt x="598" y="383"/>
                      </a:lnTo>
                      <a:lnTo>
                        <a:pt x="598" y="385"/>
                      </a:lnTo>
                      <a:lnTo>
                        <a:pt x="598" y="386"/>
                      </a:lnTo>
                      <a:lnTo>
                        <a:pt x="597" y="388"/>
                      </a:lnTo>
                      <a:lnTo>
                        <a:pt x="595" y="390"/>
                      </a:lnTo>
                      <a:lnTo>
                        <a:pt x="593" y="391"/>
                      </a:lnTo>
                      <a:lnTo>
                        <a:pt x="593" y="393"/>
                      </a:lnTo>
                      <a:lnTo>
                        <a:pt x="593" y="394"/>
                      </a:lnTo>
                      <a:lnTo>
                        <a:pt x="593" y="396"/>
                      </a:lnTo>
                      <a:lnTo>
                        <a:pt x="591" y="396"/>
                      </a:lnTo>
                      <a:lnTo>
                        <a:pt x="591" y="398"/>
                      </a:lnTo>
                      <a:lnTo>
                        <a:pt x="590" y="398"/>
                      </a:lnTo>
                      <a:lnTo>
                        <a:pt x="590" y="399"/>
                      </a:lnTo>
                      <a:lnTo>
                        <a:pt x="588" y="401"/>
                      </a:lnTo>
                      <a:lnTo>
                        <a:pt x="586" y="401"/>
                      </a:lnTo>
                      <a:lnTo>
                        <a:pt x="586" y="403"/>
                      </a:lnTo>
                      <a:lnTo>
                        <a:pt x="585" y="401"/>
                      </a:lnTo>
                      <a:lnTo>
                        <a:pt x="581" y="401"/>
                      </a:lnTo>
                      <a:lnTo>
                        <a:pt x="580" y="401"/>
                      </a:lnTo>
                      <a:lnTo>
                        <a:pt x="578" y="401"/>
                      </a:lnTo>
                      <a:lnTo>
                        <a:pt x="578" y="403"/>
                      </a:lnTo>
                      <a:lnTo>
                        <a:pt x="576" y="404"/>
                      </a:lnTo>
                      <a:lnTo>
                        <a:pt x="576" y="406"/>
                      </a:lnTo>
                      <a:lnTo>
                        <a:pt x="576" y="408"/>
                      </a:lnTo>
                      <a:lnTo>
                        <a:pt x="578" y="408"/>
                      </a:lnTo>
                      <a:lnTo>
                        <a:pt x="578" y="409"/>
                      </a:lnTo>
                      <a:lnTo>
                        <a:pt x="580" y="409"/>
                      </a:lnTo>
                      <a:lnTo>
                        <a:pt x="580" y="411"/>
                      </a:lnTo>
                      <a:lnTo>
                        <a:pt x="580" y="412"/>
                      </a:lnTo>
                      <a:lnTo>
                        <a:pt x="581" y="412"/>
                      </a:lnTo>
                      <a:lnTo>
                        <a:pt x="581" y="414"/>
                      </a:lnTo>
                      <a:lnTo>
                        <a:pt x="581" y="416"/>
                      </a:lnTo>
                      <a:lnTo>
                        <a:pt x="580" y="417"/>
                      </a:lnTo>
                      <a:lnTo>
                        <a:pt x="580" y="419"/>
                      </a:lnTo>
                      <a:lnTo>
                        <a:pt x="578" y="421"/>
                      </a:lnTo>
                      <a:lnTo>
                        <a:pt x="576" y="422"/>
                      </a:lnTo>
                      <a:lnTo>
                        <a:pt x="575" y="424"/>
                      </a:lnTo>
                      <a:lnTo>
                        <a:pt x="573" y="424"/>
                      </a:lnTo>
                      <a:lnTo>
                        <a:pt x="571" y="424"/>
                      </a:lnTo>
                      <a:lnTo>
                        <a:pt x="569" y="426"/>
                      </a:lnTo>
                      <a:lnTo>
                        <a:pt x="569" y="427"/>
                      </a:lnTo>
                      <a:lnTo>
                        <a:pt x="568" y="429"/>
                      </a:lnTo>
                      <a:lnTo>
                        <a:pt x="568" y="431"/>
                      </a:lnTo>
                      <a:lnTo>
                        <a:pt x="568" y="432"/>
                      </a:lnTo>
                      <a:lnTo>
                        <a:pt x="566" y="434"/>
                      </a:lnTo>
                      <a:lnTo>
                        <a:pt x="564" y="435"/>
                      </a:lnTo>
                      <a:lnTo>
                        <a:pt x="563" y="435"/>
                      </a:lnTo>
                      <a:lnTo>
                        <a:pt x="563" y="437"/>
                      </a:lnTo>
                      <a:lnTo>
                        <a:pt x="561" y="437"/>
                      </a:lnTo>
                      <a:lnTo>
                        <a:pt x="561" y="439"/>
                      </a:lnTo>
                      <a:lnTo>
                        <a:pt x="559" y="439"/>
                      </a:lnTo>
                      <a:lnTo>
                        <a:pt x="558" y="440"/>
                      </a:lnTo>
                      <a:lnTo>
                        <a:pt x="556" y="442"/>
                      </a:lnTo>
                      <a:lnTo>
                        <a:pt x="556" y="444"/>
                      </a:lnTo>
                      <a:lnTo>
                        <a:pt x="554" y="445"/>
                      </a:lnTo>
                      <a:lnTo>
                        <a:pt x="554" y="447"/>
                      </a:lnTo>
                      <a:lnTo>
                        <a:pt x="554" y="449"/>
                      </a:lnTo>
                      <a:lnTo>
                        <a:pt x="553" y="450"/>
                      </a:lnTo>
                      <a:lnTo>
                        <a:pt x="553" y="452"/>
                      </a:lnTo>
                      <a:lnTo>
                        <a:pt x="553" y="454"/>
                      </a:lnTo>
                      <a:lnTo>
                        <a:pt x="551" y="455"/>
                      </a:lnTo>
                      <a:lnTo>
                        <a:pt x="549" y="457"/>
                      </a:lnTo>
                      <a:lnTo>
                        <a:pt x="548" y="457"/>
                      </a:lnTo>
                      <a:lnTo>
                        <a:pt x="548" y="458"/>
                      </a:lnTo>
                      <a:lnTo>
                        <a:pt x="548" y="460"/>
                      </a:lnTo>
                      <a:lnTo>
                        <a:pt x="546" y="460"/>
                      </a:lnTo>
                      <a:lnTo>
                        <a:pt x="544" y="462"/>
                      </a:lnTo>
                      <a:lnTo>
                        <a:pt x="544" y="463"/>
                      </a:lnTo>
                      <a:lnTo>
                        <a:pt x="542" y="463"/>
                      </a:lnTo>
                      <a:lnTo>
                        <a:pt x="541" y="465"/>
                      </a:lnTo>
                      <a:lnTo>
                        <a:pt x="539" y="467"/>
                      </a:lnTo>
                      <a:lnTo>
                        <a:pt x="537" y="467"/>
                      </a:lnTo>
                      <a:lnTo>
                        <a:pt x="536" y="468"/>
                      </a:lnTo>
                      <a:lnTo>
                        <a:pt x="534" y="468"/>
                      </a:lnTo>
                      <a:lnTo>
                        <a:pt x="531" y="470"/>
                      </a:lnTo>
                      <a:lnTo>
                        <a:pt x="529" y="472"/>
                      </a:lnTo>
                      <a:lnTo>
                        <a:pt x="527" y="472"/>
                      </a:lnTo>
                      <a:lnTo>
                        <a:pt x="526" y="472"/>
                      </a:lnTo>
                      <a:lnTo>
                        <a:pt x="526" y="473"/>
                      </a:lnTo>
                      <a:lnTo>
                        <a:pt x="524" y="473"/>
                      </a:lnTo>
                      <a:lnTo>
                        <a:pt x="524" y="475"/>
                      </a:lnTo>
                      <a:lnTo>
                        <a:pt x="522" y="475"/>
                      </a:lnTo>
                      <a:lnTo>
                        <a:pt x="521" y="475"/>
                      </a:lnTo>
                      <a:lnTo>
                        <a:pt x="519" y="477"/>
                      </a:lnTo>
                      <a:lnTo>
                        <a:pt x="517" y="477"/>
                      </a:lnTo>
                      <a:lnTo>
                        <a:pt x="515" y="478"/>
                      </a:lnTo>
                      <a:lnTo>
                        <a:pt x="514" y="480"/>
                      </a:lnTo>
                      <a:lnTo>
                        <a:pt x="512" y="480"/>
                      </a:lnTo>
                      <a:lnTo>
                        <a:pt x="510" y="481"/>
                      </a:lnTo>
                      <a:lnTo>
                        <a:pt x="509" y="481"/>
                      </a:lnTo>
                      <a:lnTo>
                        <a:pt x="509" y="483"/>
                      </a:lnTo>
                      <a:lnTo>
                        <a:pt x="507" y="483"/>
                      </a:lnTo>
                      <a:lnTo>
                        <a:pt x="507" y="485"/>
                      </a:lnTo>
                      <a:lnTo>
                        <a:pt x="505" y="485"/>
                      </a:lnTo>
                      <a:lnTo>
                        <a:pt x="505" y="486"/>
                      </a:lnTo>
                      <a:lnTo>
                        <a:pt x="504" y="488"/>
                      </a:lnTo>
                      <a:lnTo>
                        <a:pt x="502" y="488"/>
                      </a:lnTo>
                      <a:lnTo>
                        <a:pt x="500" y="490"/>
                      </a:lnTo>
                      <a:lnTo>
                        <a:pt x="499" y="490"/>
                      </a:lnTo>
                      <a:lnTo>
                        <a:pt x="495" y="490"/>
                      </a:lnTo>
                      <a:lnTo>
                        <a:pt x="492" y="491"/>
                      </a:lnTo>
                      <a:lnTo>
                        <a:pt x="490" y="491"/>
                      </a:lnTo>
                      <a:lnTo>
                        <a:pt x="490" y="495"/>
                      </a:lnTo>
                      <a:lnTo>
                        <a:pt x="488" y="495"/>
                      </a:lnTo>
                      <a:lnTo>
                        <a:pt x="487" y="495"/>
                      </a:lnTo>
                      <a:lnTo>
                        <a:pt x="485" y="496"/>
                      </a:lnTo>
                      <a:lnTo>
                        <a:pt x="483" y="498"/>
                      </a:lnTo>
                      <a:lnTo>
                        <a:pt x="482" y="498"/>
                      </a:lnTo>
                      <a:lnTo>
                        <a:pt x="482" y="500"/>
                      </a:lnTo>
                      <a:lnTo>
                        <a:pt x="480" y="501"/>
                      </a:lnTo>
                      <a:lnTo>
                        <a:pt x="480" y="503"/>
                      </a:lnTo>
                      <a:lnTo>
                        <a:pt x="480" y="504"/>
                      </a:lnTo>
                      <a:lnTo>
                        <a:pt x="478" y="508"/>
                      </a:lnTo>
                      <a:lnTo>
                        <a:pt x="477" y="508"/>
                      </a:lnTo>
                      <a:lnTo>
                        <a:pt x="477" y="509"/>
                      </a:lnTo>
                      <a:lnTo>
                        <a:pt x="475" y="509"/>
                      </a:lnTo>
                      <a:lnTo>
                        <a:pt x="475" y="511"/>
                      </a:lnTo>
                      <a:lnTo>
                        <a:pt x="473" y="513"/>
                      </a:lnTo>
                      <a:lnTo>
                        <a:pt x="472" y="514"/>
                      </a:lnTo>
                      <a:lnTo>
                        <a:pt x="470" y="514"/>
                      </a:lnTo>
                      <a:lnTo>
                        <a:pt x="468" y="514"/>
                      </a:lnTo>
                      <a:lnTo>
                        <a:pt x="466" y="514"/>
                      </a:lnTo>
                      <a:lnTo>
                        <a:pt x="463" y="516"/>
                      </a:lnTo>
                      <a:lnTo>
                        <a:pt x="460" y="518"/>
                      </a:lnTo>
                      <a:lnTo>
                        <a:pt x="458" y="518"/>
                      </a:lnTo>
                      <a:lnTo>
                        <a:pt x="456" y="518"/>
                      </a:lnTo>
                      <a:lnTo>
                        <a:pt x="456" y="519"/>
                      </a:lnTo>
                      <a:lnTo>
                        <a:pt x="455" y="521"/>
                      </a:lnTo>
                      <a:lnTo>
                        <a:pt x="453" y="521"/>
                      </a:lnTo>
                      <a:lnTo>
                        <a:pt x="451" y="521"/>
                      </a:lnTo>
                      <a:lnTo>
                        <a:pt x="451" y="523"/>
                      </a:lnTo>
                      <a:lnTo>
                        <a:pt x="450" y="524"/>
                      </a:lnTo>
                      <a:lnTo>
                        <a:pt x="448" y="524"/>
                      </a:lnTo>
                      <a:lnTo>
                        <a:pt x="446" y="526"/>
                      </a:lnTo>
                      <a:lnTo>
                        <a:pt x="444" y="526"/>
                      </a:lnTo>
                      <a:lnTo>
                        <a:pt x="443" y="527"/>
                      </a:lnTo>
                      <a:lnTo>
                        <a:pt x="441" y="527"/>
                      </a:lnTo>
                      <a:lnTo>
                        <a:pt x="439" y="529"/>
                      </a:lnTo>
                      <a:lnTo>
                        <a:pt x="439" y="531"/>
                      </a:lnTo>
                      <a:lnTo>
                        <a:pt x="438" y="531"/>
                      </a:lnTo>
                      <a:lnTo>
                        <a:pt x="436" y="534"/>
                      </a:lnTo>
                      <a:lnTo>
                        <a:pt x="434" y="534"/>
                      </a:lnTo>
                      <a:lnTo>
                        <a:pt x="433" y="536"/>
                      </a:lnTo>
                      <a:lnTo>
                        <a:pt x="431" y="539"/>
                      </a:lnTo>
                      <a:lnTo>
                        <a:pt x="431" y="541"/>
                      </a:lnTo>
                      <a:lnTo>
                        <a:pt x="431" y="542"/>
                      </a:lnTo>
                      <a:lnTo>
                        <a:pt x="431" y="546"/>
                      </a:lnTo>
                      <a:lnTo>
                        <a:pt x="431" y="549"/>
                      </a:lnTo>
                      <a:lnTo>
                        <a:pt x="431" y="550"/>
                      </a:lnTo>
                      <a:lnTo>
                        <a:pt x="429" y="550"/>
                      </a:lnTo>
                      <a:lnTo>
                        <a:pt x="429" y="552"/>
                      </a:lnTo>
                      <a:lnTo>
                        <a:pt x="428" y="552"/>
                      </a:lnTo>
                      <a:lnTo>
                        <a:pt x="428" y="554"/>
                      </a:lnTo>
                      <a:lnTo>
                        <a:pt x="428" y="555"/>
                      </a:lnTo>
                      <a:lnTo>
                        <a:pt x="426" y="555"/>
                      </a:lnTo>
                      <a:lnTo>
                        <a:pt x="426" y="557"/>
                      </a:lnTo>
                      <a:lnTo>
                        <a:pt x="424" y="559"/>
                      </a:lnTo>
                      <a:lnTo>
                        <a:pt x="424" y="562"/>
                      </a:lnTo>
                      <a:lnTo>
                        <a:pt x="424" y="564"/>
                      </a:lnTo>
                      <a:lnTo>
                        <a:pt x="423" y="565"/>
                      </a:lnTo>
                      <a:lnTo>
                        <a:pt x="421" y="569"/>
                      </a:lnTo>
                      <a:lnTo>
                        <a:pt x="419" y="570"/>
                      </a:lnTo>
                      <a:lnTo>
                        <a:pt x="419" y="572"/>
                      </a:lnTo>
                      <a:lnTo>
                        <a:pt x="417" y="572"/>
                      </a:lnTo>
                      <a:lnTo>
                        <a:pt x="417" y="573"/>
                      </a:lnTo>
                      <a:lnTo>
                        <a:pt x="416" y="573"/>
                      </a:lnTo>
                      <a:lnTo>
                        <a:pt x="414" y="573"/>
                      </a:lnTo>
                      <a:lnTo>
                        <a:pt x="412" y="575"/>
                      </a:lnTo>
                      <a:lnTo>
                        <a:pt x="409" y="577"/>
                      </a:lnTo>
                      <a:lnTo>
                        <a:pt x="407" y="577"/>
                      </a:lnTo>
                      <a:lnTo>
                        <a:pt x="406" y="578"/>
                      </a:lnTo>
                      <a:lnTo>
                        <a:pt x="404" y="578"/>
                      </a:lnTo>
                      <a:lnTo>
                        <a:pt x="402" y="580"/>
                      </a:lnTo>
                      <a:lnTo>
                        <a:pt x="401" y="580"/>
                      </a:lnTo>
                      <a:lnTo>
                        <a:pt x="399" y="580"/>
                      </a:lnTo>
                      <a:lnTo>
                        <a:pt x="397" y="582"/>
                      </a:lnTo>
                      <a:lnTo>
                        <a:pt x="397" y="583"/>
                      </a:lnTo>
                      <a:lnTo>
                        <a:pt x="396" y="585"/>
                      </a:lnTo>
                      <a:lnTo>
                        <a:pt x="396" y="587"/>
                      </a:lnTo>
                      <a:lnTo>
                        <a:pt x="396" y="590"/>
                      </a:lnTo>
                      <a:lnTo>
                        <a:pt x="394" y="592"/>
                      </a:lnTo>
                      <a:lnTo>
                        <a:pt x="394" y="593"/>
                      </a:lnTo>
                      <a:lnTo>
                        <a:pt x="394" y="595"/>
                      </a:lnTo>
                      <a:lnTo>
                        <a:pt x="394" y="596"/>
                      </a:lnTo>
                      <a:lnTo>
                        <a:pt x="394" y="598"/>
                      </a:lnTo>
                      <a:lnTo>
                        <a:pt x="392" y="598"/>
                      </a:lnTo>
                      <a:lnTo>
                        <a:pt x="392" y="600"/>
                      </a:lnTo>
                      <a:lnTo>
                        <a:pt x="390" y="601"/>
                      </a:lnTo>
                      <a:lnTo>
                        <a:pt x="390" y="605"/>
                      </a:lnTo>
                      <a:lnTo>
                        <a:pt x="390" y="606"/>
                      </a:lnTo>
                      <a:lnTo>
                        <a:pt x="390" y="608"/>
                      </a:lnTo>
                      <a:lnTo>
                        <a:pt x="389" y="608"/>
                      </a:lnTo>
                      <a:lnTo>
                        <a:pt x="389" y="610"/>
                      </a:lnTo>
                      <a:lnTo>
                        <a:pt x="389" y="611"/>
                      </a:lnTo>
                      <a:lnTo>
                        <a:pt x="389" y="613"/>
                      </a:lnTo>
                      <a:lnTo>
                        <a:pt x="387" y="614"/>
                      </a:lnTo>
                      <a:lnTo>
                        <a:pt x="389" y="614"/>
                      </a:lnTo>
                      <a:lnTo>
                        <a:pt x="389" y="616"/>
                      </a:lnTo>
                      <a:lnTo>
                        <a:pt x="387" y="616"/>
                      </a:lnTo>
                      <a:lnTo>
                        <a:pt x="387" y="618"/>
                      </a:lnTo>
                      <a:lnTo>
                        <a:pt x="389" y="618"/>
                      </a:lnTo>
                      <a:lnTo>
                        <a:pt x="389" y="619"/>
                      </a:lnTo>
                      <a:lnTo>
                        <a:pt x="389" y="621"/>
                      </a:lnTo>
                      <a:lnTo>
                        <a:pt x="387" y="623"/>
                      </a:lnTo>
                      <a:lnTo>
                        <a:pt x="387" y="626"/>
                      </a:lnTo>
                      <a:lnTo>
                        <a:pt x="385" y="628"/>
                      </a:lnTo>
                      <a:lnTo>
                        <a:pt x="384" y="629"/>
                      </a:lnTo>
                      <a:lnTo>
                        <a:pt x="382" y="629"/>
                      </a:lnTo>
                      <a:lnTo>
                        <a:pt x="379" y="631"/>
                      </a:lnTo>
                      <a:lnTo>
                        <a:pt x="377" y="633"/>
                      </a:lnTo>
                      <a:lnTo>
                        <a:pt x="375" y="634"/>
                      </a:lnTo>
                      <a:lnTo>
                        <a:pt x="374" y="636"/>
                      </a:lnTo>
                      <a:lnTo>
                        <a:pt x="372" y="636"/>
                      </a:lnTo>
                      <a:lnTo>
                        <a:pt x="370" y="636"/>
                      </a:lnTo>
                      <a:lnTo>
                        <a:pt x="370" y="637"/>
                      </a:lnTo>
                      <a:lnTo>
                        <a:pt x="368" y="637"/>
                      </a:lnTo>
                      <a:lnTo>
                        <a:pt x="368" y="636"/>
                      </a:lnTo>
                      <a:lnTo>
                        <a:pt x="367" y="636"/>
                      </a:lnTo>
                      <a:lnTo>
                        <a:pt x="367" y="634"/>
                      </a:lnTo>
                      <a:lnTo>
                        <a:pt x="365" y="634"/>
                      </a:lnTo>
                      <a:lnTo>
                        <a:pt x="365" y="633"/>
                      </a:lnTo>
                      <a:lnTo>
                        <a:pt x="365" y="631"/>
                      </a:lnTo>
                      <a:lnTo>
                        <a:pt x="363" y="631"/>
                      </a:lnTo>
                      <a:lnTo>
                        <a:pt x="362" y="631"/>
                      </a:lnTo>
                      <a:lnTo>
                        <a:pt x="360" y="631"/>
                      </a:lnTo>
                      <a:lnTo>
                        <a:pt x="360" y="629"/>
                      </a:lnTo>
                      <a:lnTo>
                        <a:pt x="358" y="628"/>
                      </a:lnTo>
                      <a:lnTo>
                        <a:pt x="357" y="628"/>
                      </a:lnTo>
                      <a:lnTo>
                        <a:pt x="357" y="626"/>
                      </a:lnTo>
                      <a:lnTo>
                        <a:pt x="355" y="624"/>
                      </a:lnTo>
                      <a:lnTo>
                        <a:pt x="355" y="623"/>
                      </a:lnTo>
                      <a:lnTo>
                        <a:pt x="353" y="621"/>
                      </a:lnTo>
                      <a:lnTo>
                        <a:pt x="352" y="621"/>
                      </a:lnTo>
                      <a:lnTo>
                        <a:pt x="350" y="621"/>
                      </a:lnTo>
                      <a:lnTo>
                        <a:pt x="348" y="619"/>
                      </a:lnTo>
                      <a:lnTo>
                        <a:pt x="348" y="621"/>
                      </a:lnTo>
                      <a:lnTo>
                        <a:pt x="348" y="619"/>
                      </a:lnTo>
                      <a:lnTo>
                        <a:pt x="347" y="621"/>
                      </a:lnTo>
                      <a:lnTo>
                        <a:pt x="347" y="619"/>
                      </a:lnTo>
                      <a:lnTo>
                        <a:pt x="345" y="619"/>
                      </a:lnTo>
                      <a:lnTo>
                        <a:pt x="343" y="619"/>
                      </a:lnTo>
                      <a:lnTo>
                        <a:pt x="341" y="619"/>
                      </a:lnTo>
                      <a:lnTo>
                        <a:pt x="341" y="618"/>
                      </a:lnTo>
                      <a:lnTo>
                        <a:pt x="341" y="616"/>
                      </a:lnTo>
                      <a:lnTo>
                        <a:pt x="340" y="616"/>
                      </a:lnTo>
                      <a:lnTo>
                        <a:pt x="338" y="618"/>
                      </a:lnTo>
                      <a:lnTo>
                        <a:pt x="338" y="616"/>
                      </a:lnTo>
                      <a:lnTo>
                        <a:pt x="336" y="616"/>
                      </a:lnTo>
                      <a:lnTo>
                        <a:pt x="336" y="614"/>
                      </a:lnTo>
                      <a:lnTo>
                        <a:pt x="335" y="614"/>
                      </a:lnTo>
                      <a:lnTo>
                        <a:pt x="335" y="616"/>
                      </a:lnTo>
                      <a:lnTo>
                        <a:pt x="335" y="614"/>
                      </a:lnTo>
                      <a:lnTo>
                        <a:pt x="333" y="614"/>
                      </a:lnTo>
                      <a:lnTo>
                        <a:pt x="333" y="613"/>
                      </a:lnTo>
                      <a:lnTo>
                        <a:pt x="331" y="614"/>
                      </a:lnTo>
                      <a:lnTo>
                        <a:pt x="331" y="616"/>
                      </a:lnTo>
                      <a:lnTo>
                        <a:pt x="330" y="616"/>
                      </a:lnTo>
                      <a:lnTo>
                        <a:pt x="330" y="618"/>
                      </a:lnTo>
                      <a:lnTo>
                        <a:pt x="328" y="618"/>
                      </a:lnTo>
                      <a:lnTo>
                        <a:pt x="326" y="619"/>
                      </a:lnTo>
                      <a:lnTo>
                        <a:pt x="326" y="618"/>
                      </a:lnTo>
                      <a:lnTo>
                        <a:pt x="325" y="619"/>
                      </a:lnTo>
                      <a:lnTo>
                        <a:pt x="325" y="618"/>
                      </a:lnTo>
                      <a:lnTo>
                        <a:pt x="323" y="618"/>
                      </a:lnTo>
                      <a:lnTo>
                        <a:pt x="321" y="619"/>
                      </a:lnTo>
                      <a:lnTo>
                        <a:pt x="320" y="619"/>
                      </a:lnTo>
                      <a:lnTo>
                        <a:pt x="320" y="621"/>
                      </a:lnTo>
                      <a:lnTo>
                        <a:pt x="318" y="621"/>
                      </a:lnTo>
                      <a:lnTo>
                        <a:pt x="318" y="619"/>
                      </a:lnTo>
                      <a:lnTo>
                        <a:pt x="316" y="619"/>
                      </a:lnTo>
                      <a:lnTo>
                        <a:pt x="316" y="621"/>
                      </a:lnTo>
                      <a:lnTo>
                        <a:pt x="316" y="623"/>
                      </a:lnTo>
                      <a:lnTo>
                        <a:pt x="314" y="623"/>
                      </a:lnTo>
                      <a:lnTo>
                        <a:pt x="313" y="623"/>
                      </a:lnTo>
                      <a:lnTo>
                        <a:pt x="313" y="621"/>
                      </a:lnTo>
                      <a:lnTo>
                        <a:pt x="311" y="621"/>
                      </a:lnTo>
                      <a:lnTo>
                        <a:pt x="311" y="623"/>
                      </a:lnTo>
                      <a:lnTo>
                        <a:pt x="309" y="623"/>
                      </a:lnTo>
                      <a:lnTo>
                        <a:pt x="309" y="624"/>
                      </a:lnTo>
                      <a:lnTo>
                        <a:pt x="308" y="624"/>
                      </a:lnTo>
                      <a:lnTo>
                        <a:pt x="309" y="624"/>
                      </a:lnTo>
                      <a:lnTo>
                        <a:pt x="308" y="626"/>
                      </a:lnTo>
                      <a:lnTo>
                        <a:pt x="308" y="628"/>
                      </a:lnTo>
                      <a:lnTo>
                        <a:pt x="306" y="628"/>
                      </a:lnTo>
                      <a:lnTo>
                        <a:pt x="304" y="628"/>
                      </a:lnTo>
                      <a:lnTo>
                        <a:pt x="303" y="628"/>
                      </a:lnTo>
                      <a:lnTo>
                        <a:pt x="301" y="628"/>
                      </a:lnTo>
                      <a:lnTo>
                        <a:pt x="299" y="628"/>
                      </a:lnTo>
                      <a:lnTo>
                        <a:pt x="298" y="628"/>
                      </a:lnTo>
                      <a:lnTo>
                        <a:pt x="298" y="629"/>
                      </a:lnTo>
                      <a:lnTo>
                        <a:pt x="296" y="629"/>
                      </a:lnTo>
                      <a:lnTo>
                        <a:pt x="296" y="631"/>
                      </a:lnTo>
                      <a:lnTo>
                        <a:pt x="294" y="629"/>
                      </a:lnTo>
                      <a:lnTo>
                        <a:pt x="292" y="629"/>
                      </a:lnTo>
                      <a:lnTo>
                        <a:pt x="292" y="628"/>
                      </a:lnTo>
                      <a:lnTo>
                        <a:pt x="291" y="628"/>
                      </a:lnTo>
                      <a:lnTo>
                        <a:pt x="289" y="629"/>
                      </a:lnTo>
                      <a:lnTo>
                        <a:pt x="287" y="629"/>
                      </a:lnTo>
                      <a:lnTo>
                        <a:pt x="286" y="629"/>
                      </a:lnTo>
                      <a:lnTo>
                        <a:pt x="284" y="631"/>
                      </a:lnTo>
                      <a:lnTo>
                        <a:pt x="284" y="629"/>
                      </a:lnTo>
                      <a:lnTo>
                        <a:pt x="282" y="629"/>
                      </a:lnTo>
                      <a:lnTo>
                        <a:pt x="282" y="631"/>
                      </a:lnTo>
                      <a:lnTo>
                        <a:pt x="277" y="631"/>
                      </a:lnTo>
                      <a:lnTo>
                        <a:pt x="276" y="631"/>
                      </a:lnTo>
                      <a:lnTo>
                        <a:pt x="276" y="629"/>
                      </a:lnTo>
                      <a:lnTo>
                        <a:pt x="274" y="629"/>
                      </a:lnTo>
                      <a:lnTo>
                        <a:pt x="274" y="628"/>
                      </a:lnTo>
                      <a:lnTo>
                        <a:pt x="272" y="628"/>
                      </a:lnTo>
                      <a:lnTo>
                        <a:pt x="271" y="628"/>
                      </a:lnTo>
                      <a:lnTo>
                        <a:pt x="271" y="629"/>
                      </a:lnTo>
                      <a:lnTo>
                        <a:pt x="269" y="631"/>
                      </a:lnTo>
                      <a:lnTo>
                        <a:pt x="267" y="629"/>
                      </a:lnTo>
                      <a:lnTo>
                        <a:pt x="265" y="629"/>
                      </a:lnTo>
                      <a:lnTo>
                        <a:pt x="265" y="628"/>
                      </a:lnTo>
                      <a:lnTo>
                        <a:pt x="264" y="628"/>
                      </a:lnTo>
                      <a:lnTo>
                        <a:pt x="264" y="629"/>
                      </a:lnTo>
                      <a:lnTo>
                        <a:pt x="264" y="628"/>
                      </a:lnTo>
                      <a:lnTo>
                        <a:pt x="262" y="628"/>
                      </a:lnTo>
                      <a:lnTo>
                        <a:pt x="262" y="626"/>
                      </a:lnTo>
                      <a:lnTo>
                        <a:pt x="260" y="626"/>
                      </a:lnTo>
                      <a:lnTo>
                        <a:pt x="260" y="624"/>
                      </a:lnTo>
                      <a:lnTo>
                        <a:pt x="259" y="624"/>
                      </a:lnTo>
                      <a:lnTo>
                        <a:pt x="259" y="623"/>
                      </a:lnTo>
                      <a:lnTo>
                        <a:pt x="260" y="619"/>
                      </a:lnTo>
                      <a:lnTo>
                        <a:pt x="259" y="618"/>
                      </a:lnTo>
                      <a:lnTo>
                        <a:pt x="260" y="618"/>
                      </a:lnTo>
                      <a:lnTo>
                        <a:pt x="259" y="618"/>
                      </a:lnTo>
                      <a:lnTo>
                        <a:pt x="259" y="614"/>
                      </a:lnTo>
                      <a:lnTo>
                        <a:pt x="259" y="613"/>
                      </a:lnTo>
                      <a:lnTo>
                        <a:pt x="260" y="613"/>
                      </a:lnTo>
                      <a:lnTo>
                        <a:pt x="260" y="611"/>
                      </a:lnTo>
                      <a:lnTo>
                        <a:pt x="260" y="610"/>
                      </a:lnTo>
                      <a:lnTo>
                        <a:pt x="259" y="610"/>
                      </a:lnTo>
                      <a:lnTo>
                        <a:pt x="259" y="608"/>
                      </a:lnTo>
                      <a:lnTo>
                        <a:pt x="259" y="606"/>
                      </a:lnTo>
                      <a:lnTo>
                        <a:pt x="260" y="605"/>
                      </a:lnTo>
                      <a:lnTo>
                        <a:pt x="259" y="605"/>
                      </a:lnTo>
                      <a:lnTo>
                        <a:pt x="257" y="605"/>
                      </a:lnTo>
                      <a:lnTo>
                        <a:pt x="257" y="603"/>
                      </a:lnTo>
                      <a:lnTo>
                        <a:pt x="257" y="601"/>
                      </a:lnTo>
                      <a:lnTo>
                        <a:pt x="255" y="601"/>
                      </a:lnTo>
                      <a:lnTo>
                        <a:pt x="257" y="601"/>
                      </a:lnTo>
                      <a:lnTo>
                        <a:pt x="257" y="600"/>
                      </a:lnTo>
                      <a:lnTo>
                        <a:pt x="257" y="598"/>
                      </a:lnTo>
                      <a:lnTo>
                        <a:pt x="255" y="598"/>
                      </a:lnTo>
                      <a:lnTo>
                        <a:pt x="254" y="598"/>
                      </a:lnTo>
                      <a:lnTo>
                        <a:pt x="254" y="596"/>
                      </a:lnTo>
                      <a:lnTo>
                        <a:pt x="250" y="596"/>
                      </a:lnTo>
                      <a:lnTo>
                        <a:pt x="250" y="595"/>
                      </a:lnTo>
                      <a:lnTo>
                        <a:pt x="250" y="593"/>
                      </a:lnTo>
                      <a:lnTo>
                        <a:pt x="252" y="592"/>
                      </a:lnTo>
                      <a:lnTo>
                        <a:pt x="250" y="592"/>
                      </a:lnTo>
                      <a:lnTo>
                        <a:pt x="252" y="592"/>
                      </a:lnTo>
                      <a:lnTo>
                        <a:pt x="250" y="590"/>
                      </a:lnTo>
                      <a:lnTo>
                        <a:pt x="250" y="588"/>
                      </a:lnTo>
                      <a:lnTo>
                        <a:pt x="250" y="587"/>
                      </a:lnTo>
                      <a:lnTo>
                        <a:pt x="249" y="585"/>
                      </a:lnTo>
                      <a:lnTo>
                        <a:pt x="249" y="583"/>
                      </a:lnTo>
                      <a:lnTo>
                        <a:pt x="249" y="582"/>
                      </a:lnTo>
                      <a:lnTo>
                        <a:pt x="250" y="580"/>
                      </a:lnTo>
                      <a:lnTo>
                        <a:pt x="249" y="580"/>
                      </a:lnTo>
                      <a:lnTo>
                        <a:pt x="250" y="578"/>
                      </a:lnTo>
                      <a:lnTo>
                        <a:pt x="252" y="577"/>
                      </a:lnTo>
                      <a:lnTo>
                        <a:pt x="252" y="575"/>
                      </a:lnTo>
                      <a:lnTo>
                        <a:pt x="254" y="573"/>
                      </a:lnTo>
                      <a:lnTo>
                        <a:pt x="252" y="572"/>
                      </a:lnTo>
                      <a:lnTo>
                        <a:pt x="252" y="570"/>
                      </a:lnTo>
                      <a:lnTo>
                        <a:pt x="250" y="570"/>
                      </a:lnTo>
                      <a:lnTo>
                        <a:pt x="250" y="569"/>
                      </a:lnTo>
                      <a:lnTo>
                        <a:pt x="249" y="569"/>
                      </a:lnTo>
                      <a:lnTo>
                        <a:pt x="249" y="567"/>
                      </a:lnTo>
                      <a:lnTo>
                        <a:pt x="249" y="565"/>
                      </a:lnTo>
                      <a:lnTo>
                        <a:pt x="249" y="564"/>
                      </a:lnTo>
                      <a:lnTo>
                        <a:pt x="250" y="564"/>
                      </a:lnTo>
                      <a:lnTo>
                        <a:pt x="252" y="562"/>
                      </a:lnTo>
                      <a:lnTo>
                        <a:pt x="250" y="562"/>
                      </a:lnTo>
                      <a:lnTo>
                        <a:pt x="250" y="560"/>
                      </a:lnTo>
                      <a:lnTo>
                        <a:pt x="250" y="559"/>
                      </a:lnTo>
                      <a:lnTo>
                        <a:pt x="249" y="559"/>
                      </a:lnTo>
                      <a:lnTo>
                        <a:pt x="250" y="559"/>
                      </a:lnTo>
                      <a:lnTo>
                        <a:pt x="252" y="557"/>
                      </a:lnTo>
                      <a:lnTo>
                        <a:pt x="250" y="557"/>
                      </a:lnTo>
                      <a:lnTo>
                        <a:pt x="250" y="555"/>
                      </a:lnTo>
                      <a:lnTo>
                        <a:pt x="250" y="554"/>
                      </a:lnTo>
                      <a:lnTo>
                        <a:pt x="249" y="554"/>
                      </a:lnTo>
                      <a:lnTo>
                        <a:pt x="249" y="552"/>
                      </a:lnTo>
                      <a:lnTo>
                        <a:pt x="247" y="552"/>
                      </a:lnTo>
                      <a:lnTo>
                        <a:pt x="245" y="552"/>
                      </a:lnTo>
                      <a:lnTo>
                        <a:pt x="245" y="550"/>
                      </a:lnTo>
                      <a:lnTo>
                        <a:pt x="244" y="550"/>
                      </a:lnTo>
                      <a:lnTo>
                        <a:pt x="245" y="550"/>
                      </a:lnTo>
                      <a:lnTo>
                        <a:pt x="244" y="549"/>
                      </a:lnTo>
                      <a:lnTo>
                        <a:pt x="244" y="547"/>
                      </a:lnTo>
                      <a:lnTo>
                        <a:pt x="242" y="546"/>
                      </a:lnTo>
                      <a:lnTo>
                        <a:pt x="244" y="546"/>
                      </a:lnTo>
                      <a:lnTo>
                        <a:pt x="244" y="544"/>
                      </a:lnTo>
                      <a:lnTo>
                        <a:pt x="244" y="542"/>
                      </a:lnTo>
                      <a:lnTo>
                        <a:pt x="242" y="542"/>
                      </a:lnTo>
                      <a:lnTo>
                        <a:pt x="240" y="541"/>
                      </a:lnTo>
                      <a:lnTo>
                        <a:pt x="242" y="539"/>
                      </a:lnTo>
                      <a:lnTo>
                        <a:pt x="242" y="537"/>
                      </a:lnTo>
                      <a:lnTo>
                        <a:pt x="242" y="536"/>
                      </a:lnTo>
                      <a:lnTo>
                        <a:pt x="240" y="536"/>
                      </a:lnTo>
                      <a:lnTo>
                        <a:pt x="240" y="534"/>
                      </a:lnTo>
                      <a:lnTo>
                        <a:pt x="240" y="532"/>
                      </a:lnTo>
                      <a:lnTo>
                        <a:pt x="240" y="531"/>
                      </a:lnTo>
                      <a:lnTo>
                        <a:pt x="240" y="529"/>
                      </a:lnTo>
                      <a:lnTo>
                        <a:pt x="238" y="527"/>
                      </a:lnTo>
                      <a:lnTo>
                        <a:pt x="238" y="526"/>
                      </a:lnTo>
                      <a:lnTo>
                        <a:pt x="238" y="524"/>
                      </a:lnTo>
                      <a:lnTo>
                        <a:pt x="238" y="523"/>
                      </a:lnTo>
                      <a:lnTo>
                        <a:pt x="238" y="521"/>
                      </a:lnTo>
                      <a:lnTo>
                        <a:pt x="240" y="521"/>
                      </a:lnTo>
                      <a:lnTo>
                        <a:pt x="240" y="519"/>
                      </a:lnTo>
                      <a:lnTo>
                        <a:pt x="238" y="519"/>
                      </a:lnTo>
                      <a:lnTo>
                        <a:pt x="240" y="519"/>
                      </a:lnTo>
                      <a:lnTo>
                        <a:pt x="240" y="518"/>
                      </a:lnTo>
                      <a:lnTo>
                        <a:pt x="242" y="518"/>
                      </a:lnTo>
                      <a:lnTo>
                        <a:pt x="242" y="516"/>
                      </a:lnTo>
                      <a:lnTo>
                        <a:pt x="242" y="514"/>
                      </a:lnTo>
                      <a:lnTo>
                        <a:pt x="244" y="514"/>
                      </a:lnTo>
                      <a:lnTo>
                        <a:pt x="244" y="513"/>
                      </a:lnTo>
                      <a:lnTo>
                        <a:pt x="244" y="511"/>
                      </a:lnTo>
                      <a:lnTo>
                        <a:pt x="244" y="509"/>
                      </a:lnTo>
                      <a:lnTo>
                        <a:pt x="242" y="509"/>
                      </a:lnTo>
                      <a:lnTo>
                        <a:pt x="242" y="508"/>
                      </a:lnTo>
                      <a:lnTo>
                        <a:pt x="244" y="508"/>
                      </a:lnTo>
                      <a:lnTo>
                        <a:pt x="244" y="506"/>
                      </a:lnTo>
                      <a:lnTo>
                        <a:pt x="242" y="506"/>
                      </a:lnTo>
                      <a:lnTo>
                        <a:pt x="242" y="504"/>
                      </a:lnTo>
                      <a:lnTo>
                        <a:pt x="240" y="503"/>
                      </a:lnTo>
                      <a:lnTo>
                        <a:pt x="238" y="501"/>
                      </a:lnTo>
                      <a:lnTo>
                        <a:pt x="237" y="501"/>
                      </a:lnTo>
                      <a:lnTo>
                        <a:pt x="237" y="500"/>
                      </a:lnTo>
                      <a:lnTo>
                        <a:pt x="235" y="500"/>
                      </a:lnTo>
                      <a:lnTo>
                        <a:pt x="235" y="498"/>
                      </a:lnTo>
                      <a:lnTo>
                        <a:pt x="233" y="498"/>
                      </a:lnTo>
                      <a:lnTo>
                        <a:pt x="232" y="496"/>
                      </a:lnTo>
                      <a:lnTo>
                        <a:pt x="232" y="495"/>
                      </a:lnTo>
                      <a:lnTo>
                        <a:pt x="230" y="493"/>
                      </a:lnTo>
                      <a:lnTo>
                        <a:pt x="230" y="491"/>
                      </a:lnTo>
                      <a:lnTo>
                        <a:pt x="230" y="490"/>
                      </a:lnTo>
                      <a:lnTo>
                        <a:pt x="232" y="490"/>
                      </a:lnTo>
                      <a:lnTo>
                        <a:pt x="232" y="488"/>
                      </a:lnTo>
                      <a:lnTo>
                        <a:pt x="232" y="486"/>
                      </a:lnTo>
                      <a:lnTo>
                        <a:pt x="232" y="485"/>
                      </a:lnTo>
                      <a:lnTo>
                        <a:pt x="230" y="483"/>
                      </a:lnTo>
                      <a:lnTo>
                        <a:pt x="232" y="483"/>
                      </a:lnTo>
                      <a:lnTo>
                        <a:pt x="230" y="483"/>
                      </a:lnTo>
                      <a:lnTo>
                        <a:pt x="230" y="481"/>
                      </a:lnTo>
                      <a:lnTo>
                        <a:pt x="228" y="481"/>
                      </a:lnTo>
                      <a:lnTo>
                        <a:pt x="227" y="481"/>
                      </a:lnTo>
                      <a:lnTo>
                        <a:pt x="225" y="481"/>
                      </a:lnTo>
                      <a:lnTo>
                        <a:pt x="225" y="480"/>
                      </a:lnTo>
                      <a:lnTo>
                        <a:pt x="225" y="478"/>
                      </a:lnTo>
                      <a:lnTo>
                        <a:pt x="223" y="478"/>
                      </a:lnTo>
                      <a:lnTo>
                        <a:pt x="222" y="477"/>
                      </a:lnTo>
                      <a:lnTo>
                        <a:pt x="222" y="475"/>
                      </a:lnTo>
                      <a:lnTo>
                        <a:pt x="222" y="473"/>
                      </a:lnTo>
                      <a:lnTo>
                        <a:pt x="220" y="473"/>
                      </a:lnTo>
                      <a:lnTo>
                        <a:pt x="220" y="472"/>
                      </a:lnTo>
                      <a:lnTo>
                        <a:pt x="220" y="473"/>
                      </a:lnTo>
                      <a:lnTo>
                        <a:pt x="216" y="473"/>
                      </a:lnTo>
                      <a:lnTo>
                        <a:pt x="215" y="473"/>
                      </a:lnTo>
                      <a:lnTo>
                        <a:pt x="215" y="472"/>
                      </a:lnTo>
                      <a:lnTo>
                        <a:pt x="213" y="472"/>
                      </a:lnTo>
                      <a:lnTo>
                        <a:pt x="211" y="473"/>
                      </a:lnTo>
                      <a:lnTo>
                        <a:pt x="210" y="473"/>
                      </a:lnTo>
                      <a:lnTo>
                        <a:pt x="208" y="473"/>
                      </a:lnTo>
                      <a:lnTo>
                        <a:pt x="208" y="472"/>
                      </a:lnTo>
                      <a:lnTo>
                        <a:pt x="206" y="472"/>
                      </a:lnTo>
                      <a:lnTo>
                        <a:pt x="206" y="473"/>
                      </a:lnTo>
                      <a:lnTo>
                        <a:pt x="205" y="473"/>
                      </a:lnTo>
                      <a:lnTo>
                        <a:pt x="203" y="473"/>
                      </a:lnTo>
                      <a:lnTo>
                        <a:pt x="201" y="472"/>
                      </a:lnTo>
                      <a:lnTo>
                        <a:pt x="200" y="472"/>
                      </a:lnTo>
                      <a:lnTo>
                        <a:pt x="200" y="473"/>
                      </a:lnTo>
                      <a:lnTo>
                        <a:pt x="198" y="473"/>
                      </a:lnTo>
                      <a:lnTo>
                        <a:pt x="196" y="473"/>
                      </a:lnTo>
                      <a:lnTo>
                        <a:pt x="196" y="472"/>
                      </a:lnTo>
                      <a:lnTo>
                        <a:pt x="195" y="472"/>
                      </a:lnTo>
                      <a:lnTo>
                        <a:pt x="195" y="473"/>
                      </a:lnTo>
                      <a:lnTo>
                        <a:pt x="193" y="473"/>
                      </a:lnTo>
                      <a:lnTo>
                        <a:pt x="191" y="473"/>
                      </a:lnTo>
                      <a:lnTo>
                        <a:pt x="189" y="473"/>
                      </a:lnTo>
                      <a:lnTo>
                        <a:pt x="189" y="472"/>
                      </a:lnTo>
                      <a:lnTo>
                        <a:pt x="188" y="473"/>
                      </a:lnTo>
                      <a:lnTo>
                        <a:pt x="188" y="472"/>
                      </a:lnTo>
                      <a:lnTo>
                        <a:pt x="186" y="472"/>
                      </a:lnTo>
                      <a:lnTo>
                        <a:pt x="184" y="470"/>
                      </a:lnTo>
                      <a:lnTo>
                        <a:pt x="184" y="468"/>
                      </a:lnTo>
                      <a:lnTo>
                        <a:pt x="183" y="468"/>
                      </a:lnTo>
                      <a:lnTo>
                        <a:pt x="181" y="468"/>
                      </a:lnTo>
                      <a:lnTo>
                        <a:pt x="179" y="468"/>
                      </a:lnTo>
                      <a:lnTo>
                        <a:pt x="179" y="467"/>
                      </a:lnTo>
                      <a:lnTo>
                        <a:pt x="178" y="467"/>
                      </a:lnTo>
                      <a:lnTo>
                        <a:pt x="176" y="467"/>
                      </a:lnTo>
                      <a:lnTo>
                        <a:pt x="176" y="465"/>
                      </a:lnTo>
                      <a:lnTo>
                        <a:pt x="174" y="465"/>
                      </a:lnTo>
                      <a:lnTo>
                        <a:pt x="174" y="463"/>
                      </a:lnTo>
                      <a:lnTo>
                        <a:pt x="173" y="463"/>
                      </a:lnTo>
                      <a:lnTo>
                        <a:pt x="173" y="462"/>
                      </a:lnTo>
                      <a:lnTo>
                        <a:pt x="173" y="463"/>
                      </a:lnTo>
                      <a:lnTo>
                        <a:pt x="173" y="462"/>
                      </a:lnTo>
                      <a:lnTo>
                        <a:pt x="171" y="462"/>
                      </a:lnTo>
                      <a:lnTo>
                        <a:pt x="171" y="460"/>
                      </a:lnTo>
                      <a:lnTo>
                        <a:pt x="171" y="458"/>
                      </a:lnTo>
                      <a:lnTo>
                        <a:pt x="171" y="457"/>
                      </a:lnTo>
                      <a:lnTo>
                        <a:pt x="169" y="457"/>
                      </a:lnTo>
                      <a:lnTo>
                        <a:pt x="171" y="457"/>
                      </a:lnTo>
                      <a:lnTo>
                        <a:pt x="169" y="457"/>
                      </a:lnTo>
                      <a:lnTo>
                        <a:pt x="169" y="455"/>
                      </a:lnTo>
                      <a:lnTo>
                        <a:pt x="169" y="454"/>
                      </a:lnTo>
                      <a:lnTo>
                        <a:pt x="168" y="454"/>
                      </a:lnTo>
                      <a:lnTo>
                        <a:pt x="166" y="454"/>
                      </a:lnTo>
                      <a:lnTo>
                        <a:pt x="166" y="455"/>
                      </a:lnTo>
                      <a:lnTo>
                        <a:pt x="164" y="454"/>
                      </a:lnTo>
                      <a:lnTo>
                        <a:pt x="162" y="454"/>
                      </a:lnTo>
                      <a:lnTo>
                        <a:pt x="161" y="454"/>
                      </a:lnTo>
                      <a:lnTo>
                        <a:pt x="161" y="455"/>
                      </a:lnTo>
                      <a:lnTo>
                        <a:pt x="159" y="455"/>
                      </a:lnTo>
                      <a:lnTo>
                        <a:pt x="157" y="455"/>
                      </a:lnTo>
                      <a:lnTo>
                        <a:pt x="157" y="457"/>
                      </a:lnTo>
                      <a:lnTo>
                        <a:pt x="157" y="458"/>
                      </a:lnTo>
                      <a:lnTo>
                        <a:pt x="156" y="458"/>
                      </a:lnTo>
                      <a:lnTo>
                        <a:pt x="157" y="458"/>
                      </a:lnTo>
                      <a:lnTo>
                        <a:pt x="157" y="460"/>
                      </a:lnTo>
                      <a:lnTo>
                        <a:pt x="156" y="460"/>
                      </a:lnTo>
                      <a:lnTo>
                        <a:pt x="156" y="462"/>
                      </a:lnTo>
                      <a:lnTo>
                        <a:pt x="156" y="460"/>
                      </a:lnTo>
                      <a:lnTo>
                        <a:pt x="156" y="462"/>
                      </a:lnTo>
                      <a:lnTo>
                        <a:pt x="154" y="462"/>
                      </a:lnTo>
                      <a:lnTo>
                        <a:pt x="154" y="463"/>
                      </a:lnTo>
                      <a:lnTo>
                        <a:pt x="154" y="465"/>
                      </a:lnTo>
                      <a:lnTo>
                        <a:pt x="152" y="465"/>
                      </a:lnTo>
                      <a:lnTo>
                        <a:pt x="151" y="465"/>
                      </a:lnTo>
                      <a:lnTo>
                        <a:pt x="151" y="467"/>
                      </a:lnTo>
                      <a:lnTo>
                        <a:pt x="149" y="467"/>
                      </a:lnTo>
                      <a:lnTo>
                        <a:pt x="149" y="468"/>
                      </a:lnTo>
                      <a:lnTo>
                        <a:pt x="147" y="468"/>
                      </a:lnTo>
                      <a:lnTo>
                        <a:pt x="147" y="470"/>
                      </a:lnTo>
                      <a:lnTo>
                        <a:pt x="147" y="468"/>
                      </a:lnTo>
                      <a:lnTo>
                        <a:pt x="146" y="468"/>
                      </a:lnTo>
                      <a:lnTo>
                        <a:pt x="146" y="470"/>
                      </a:lnTo>
                      <a:lnTo>
                        <a:pt x="146" y="472"/>
                      </a:lnTo>
                      <a:lnTo>
                        <a:pt x="146" y="470"/>
                      </a:lnTo>
                      <a:lnTo>
                        <a:pt x="144" y="470"/>
                      </a:lnTo>
                      <a:lnTo>
                        <a:pt x="142" y="470"/>
                      </a:lnTo>
                      <a:lnTo>
                        <a:pt x="142" y="468"/>
                      </a:lnTo>
                      <a:lnTo>
                        <a:pt x="142" y="467"/>
                      </a:lnTo>
                      <a:lnTo>
                        <a:pt x="140" y="467"/>
                      </a:lnTo>
                      <a:lnTo>
                        <a:pt x="139" y="467"/>
                      </a:lnTo>
                      <a:lnTo>
                        <a:pt x="140" y="467"/>
                      </a:lnTo>
                      <a:lnTo>
                        <a:pt x="140" y="468"/>
                      </a:lnTo>
                      <a:lnTo>
                        <a:pt x="139" y="468"/>
                      </a:lnTo>
                      <a:lnTo>
                        <a:pt x="140" y="468"/>
                      </a:lnTo>
                      <a:lnTo>
                        <a:pt x="139" y="468"/>
                      </a:lnTo>
                      <a:lnTo>
                        <a:pt x="139" y="470"/>
                      </a:lnTo>
                      <a:lnTo>
                        <a:pt x="137" y="470"/>
                      </a:lnTo>
                      <a:lnTo>
                        <a:pt x="137" y="468"/>
                      </a:lnTo>
                      <a:lnTo>
                        <a:pt x="135" y="468"/>
                      </a:lnTo>
                      <a:lnTo>
                        <a:pt x="135" y="470"/>
                      </a:lnTo>
                      <a:lnTo>
                        <a:pt x="134" y="468"/>
                      </a:lnTo>
                      <a:lnTo>
                        <a:pt x="134" y="470"/>
                      </a:lnTo>
                      <a:lnTo>
                        <a:pt x="132" y="470"/>
                      </a:lnTo>
                      <a:lnTo>
                        <a:pt x="132" y="468"/>
                      </a:lnTo>
                      <a:lnTo>
                        <a:pt x="130" y="468"/>
                      </a:lnTo>
                      <a:lnTo>
                        <a:pt x="130" y="470"/>
                      </a:lnTo>
                      <a:lnTo>
                        <a:pt x="130" y="472"/>
                      </a:lnTo>
                      <a:lnTo>
                        <a:pt x="130" y="473"/>
                      </a:lnTo>
                      <a:lnTo>
                        <a:pt x="129" y="473"/>
                      </a:lnTo>
                      <a:lnTo>
                        <a:pt x="127" y="475"/>
                      </a:lnTo>
                      <a:lnTo>
                        <a:pt x="125" y="473"/>
                      </a:lnTo>
                      <a:lnTo>
                        <a:pt x="124" y="473"/>
                      </a:lnTo>
                      <a:lnTo>
                        <a:pt x="124" y="472"/>
                      </a:lnTo>
                      <a:lnTo>
                        <a:pt x="124" y="470"/>
                      </a:lnTo>
                      <a:lnTo>
                        <a:pt x="122" y="470"/>
                      </a:lnTo>
                      <a:lnTo>
                        <a:pt x="120" y="470"/>
                      </a:lnTo>
                      <a:lnTo>
                        <a:pt x="120" y="472"/>
                      </a:lnTo>
                      <a:lnTo>
                        <a:pt x="120" y="470"/>
                      </a:lnTo>
                      <a:lnTo>
                        <a:pt x="119" y="470"/>
                      </a:lnTo>
                      <a:lnTo>
                        <a:pt x="120" y="470"/>
                      </a:lnTo>
                      <a:lnTo>
                        <a:pt x="119" y="470"/>
                      </a:lnTo>
                      <a:lnTo>
                        <a:pt x="117" y="470"/>
                      </a:lnTo>
                      <a:lnTo>
                        <a:pt x="115" y="470"/>
                      </a:lnTo>
                      <a:lnTo>
                        <a:pt x="115" y="468"/>
                      </a:lnTo>
                      <a:lnTo>
                        <a:pt x="113" y="468"/>
                      </a:lnTo>
                      <a:lnTo>
                        <a:pt x="112" y="468"/>
                      </a:lnTo>
                      <a:lnTo>
                        <a:pt x="112" y="467"/>
                      </a:lnTo>
                      <a:lnTo>
                        <a:pt x="112" y="468"/>
                      </a:lnTo>
                      <a:lnTo>
                        <a:pt x="110" y="468"/>
                      </a:lnTo>
                      <a:lnTo>
                        <a:pt x="108" y="468"/>
                      </a:lnTo>
                      <a:lnTo>
                        <a:pt x="107" y="468"/>
                      </a:lnTo>
                      <a:lnTo>
                        <a:pt x="105" y="468"/>
                      </a:lnTo>
                      <a:lnTo>
                        <a:pt x="107" y="468"/>
                      </a:lnTo>
                      <a:lnTo>
                        <a:pt x="105" y="468"/>
                      </a:lnTo>
                      <a:lnTo>
                        <a:pt x="105" y="470"/>
                      </a:lnTo>
                      <a:lnTo>
                        <a:pt x="103" y="468"/>
                      </a:lnTo>
                      <a:lnTo>
                        <a:pt x="103" y="470"/>
                      </a:lnTo>
                      <a:lnTo>
                        <a:pt x="103" y="468"/>
                      </a:lnTo>
                      <a:lnTo>
                        <a:pt x="103" y="470"/>
                      </a:lnTo>
                      <a:lnTo>
                        <a:pt x="102" y="470"/>
                      </a:lnTo>
                      <a:lnTo>
                        <a:pt x="102" y="468"/>
                      </a:lnTo>
                      <a:lnTo>
                        <a:pt x="102" y="467"/>
                      </a:lnTo>
                      <a:lnTo>
                        <a:pt x="100" y="468"/>
                      </a:lnTo>
                      <a:lnTo>
                        <a:pt x="100" y="467"/>
                      </a:lnTo>
                      <a:lnTo>
                        <a:pt x="98" y="467"/>
                      </a:lnTo>
                      <a:lnTo>
                        <a:pt x="98" y="468"/>
                      </a:lnTo>
                      <a:lnTo>
                        <a:pt x="97" y="468"/>
                      </a:lnTo>
                      <a:lnTo>
                        <a:pt x="97" y="467"/>
                      </a:lnTo>
                      <a:lnTo>
                        <a:pt x="97" y="468"/>
                      </a:lnTo>
                      <a:lnTo>
                        <a:pt x="95" y="468"/>
                      </a:lnTo>
                      <a:lnTo>
                        <a:pt x="95" y="467"/>
                      </a:lnTo>
                      <a:lnTo>
                        <a:pt x="95" y="468"/>
                      </a:lnTo>
                      <a:lnTo>
                        <a:pt x="93" y="467"/>
                      </a:lnTo>
                      <a:lnTo>
                        <a:pt x="92" y="467"/>
                      </a:lnTo>
                      <a:lnTo>
                        <a:pt x="92" y="468"/>
                      </a:lnTo>
                      <a:lnTo>
                        <a:pt x="92" y="467"/>
                      </a:lnTo>
                      <a:lnTo>
                        <a:pt x="92" y="468"/>
                      </a:lnTo>
                      <a:lnTo>
                        <a:pt x="90" y="468"/>
                      </a:lnTo>
                      <a:lnTo>
                        <a:pt x="90" y="470"/>
                      </a:lnTo>
                      <a:lnTo>
                        <a:pt x="88" y="470"/>
                      </a:lnTo>
                      <a:lnTo>
                        <a:pt x="88" y="468"/>
                      </a:lnTo>
                      <a:lnTo>
                        <a:pt x="86" y="468"/>
                      </a:lnTo>
                      <a:lnTo>
                        <a:pt x="85" y="468"/>
                      </a:lnTo>
                      <a:lnTo>
                        <a:pt x="85" y="467"/>
                      </a:lnTo>
                      <a:lnTo>
                        <a:pt x="83" y="467"/>
                      </a:lnTo>
                      <a:lnTo>
                        <a:pt x="83" y="468"/>
                      </a:lnTo>
                      <a:lnTo>
                        <a:pt x="81" y="467"/>
                      </a:lnTo>
                      <a:lnTo>
                        <a:pt x="81" y="468"/>
                      </a:lnTo>
                      <a:lnTo>
                        <a:pt x="80" y="468"/>
                      </a:lnTo>
                      <a:lnTo>
                        <a:pt x="78" y="468"/>
                      </a:lnTo>
                      <a:lnTo>
                        <a:pt x="78" y="467"/>
                      </a:lnTo>
                      <a:lnTo>
                        <a:pt x="78" y="468"/>
                      </a:lnTo>
                      <a:lnTo>
                        <a:pt x="76" y="468"/>
                      </a:lnTo>
                      <a:lnTo>
                        <a:pt x="76" y="467"/>
                      </a:lnTo>
                      <a:lnTo>
                        <a:pt x="76" y="468"/>
                      </a:lnTo>
                      <a:lnTo>
                        <a:pt x="76" y="467"/>
                      </a:lnTo>
                      <a:lnTo>
                        <a:pt x="75" y="467"/>
                      </a:lnTo>
                      <a:lnTo>
                        <a:pt x="76" y="467"/>
                      </a:lnTo>
                      <a:lnTo>
                        <a:pt x="75" y="467"/>
                      </a:lnTo>
                      <a:lnTo>
                        <a:pt x="75" y="465"/>
                      </a:lnTo>
                      <a:lnTo>
                        <a:pt x="73" y="465"/>
                      </a:lnTo>
                      <a:lnTo>
                        <a:pt x="75" y="465"/>
                      </a:lnTo>
                      <a:lnTo>
                        <a:pt x="73" y="465"/>
                      </a:lnTo>
                      <a:lnTo>
                        <a:pt x="71" y="465"/>
                      </a:lnTo>
                      <a:lnTo>
                        <a:pt x="70" y="465"/>
                      </a:lnTo>
                      <a:lnTo>
                        <a:pt x="70" y="463"/>
                      </a:lnTo>
                      <a:lnTo>
                        <a:pt x="68" y="463"/>
                      </a:lnTo>
                      <a:lnTo>
                        <a:pt x="68" y="465"/>
                      </a:lnTo>
                      <a:lnTo>
                        <a:pt x="68" y="463"/>
                      </a:lnTo>
                      <a:lnTo>
                        <a:pt x="66" y="463"/>
                      </a:lnTo>
                      <a:lnTo>
                        <a:pt x="64" y="463"/>
                      </a:lnTo>
                      <a:lnTo>
                        <a:pt x="63" y="463"/>
                      </a:lnTo>
                      <a:lnTo>
                        <a:pt x="63" y="462"/>
                      </a:lnTo>
                      <a:lnTo>
                        <a:pt x="61" y="462"/>
                      </a:lnTo>
                      <a:lnTo>
                        <a:pt x="61" y="463"/>
                      </a:lnTo>
                      <a:lnTo>
                        <a:pt x="59" y="463"/>
                      </a:lnTo>
                      <a:lnTo>
                        <a:pt x="58" y="463"/>
                      </a:lnTo>
                      <a:lnTo>
                        <a:pt x="56" y="463"/>
                      </a:lnTo>
                      <a:lnTo>
                        <a:pt x="56" y="462"/>
                      </a:lnTo>
                      <a:lnTo>
                        <a:pt x="56" y="460"/>
                      </a:lnTo>
                      <a:lnTo>
                        <a:pt x="54" y="460"/>
                      </a:lnTo>
                      <a:lnTo>
                        <a:pt x="56" y="458"/>
                      </a:lnTo>
                      <a:lnTo>
                        <a:pt x="54" y="458"/>
                      </a:lnTo>
                      <a:lnTo>
                        <a:pt x="54" y="460"/>
                      </a:lnTo>
                      <a:lnTo>
                        <a:pt x="54" y="458"/>
                      </a:lnTo>
                      <a:lnTo>
                        <a:pt x="53" y="458"/>
                      </a:lnTo>
                      <a:lnTo>
                        <a:pt x="54" y="457"/>
                      </a:lnTo>
                      <a:lnTo>
                        <a:pt x="53" y="457"/>
                      </a:lnTo>
                      <a:lnTo>
                        <a:pt x="54" y="455"/>
                      </a:lnTo>
                      <a:lnTo>
                        <a:pt x="53" y="455"/>
                      </a:lnTo>
                      <a:lnTo>
                        <a:pt x="51" y="457"/>
                      </a:lnTo>
                      <a:lnTo>
                        <a:pt x="49" y="457"/>
                      </a:lnTo>
                      <a:lnTo>
                        <a:pt x="48" y="455"/>
                      </a:lnTo>
                      <a:lnTo>
                        <a:pt x="46" y="455"/>
                      </a:lnTo>
                      <a:lnTo>
                        <a:pt x="44" y="455"/>
                      </a:lnTo>
                      <a:lnTo>
                        <a:pt x="44" y="457"/>
                      </a:lnTo>
                      <a:lnTo>
                        <a:pt x="43" y="457"/>
                      </a:lnTo>
                      <a:lnTo>
                        <a:pt x="43" y="455"/>
                      </a:lnTo>
                      <a:lnTo>
                        <a:pt x="41" y="457"/>
                      </a:lnTo>
                      <a:lnTo>
                        <a:pt x="43" y="457"/>
                      </a:lnTo>
                      <a:lnTo>
                        <a:pt x="43" y="458"/>
                      </a:lnTo>
                      <a:lnTo>
                        <a:pt x="41" y="458"/>
                      </a:lnTo>
                      <a:lnTo>
                        <a:pt x="39" y="458"/>
                      </a:lnTo>
                      <a:lnTo>
                        <a:pt x="37" y="458"/>
                      </a:lnTo>
                      <a:lnTo>
                        <a:pt x="36" y="458"/>
                      </a:lnTo>
                      <a:lnTo>
                        <a:pt x="36" y="460"/>
                      </a:lnTo>
                      <a:lnTo>
                        <a:pt x="34" y="460"/>
                      </a:lnTo>
                      <a:lnTo>
                        <a:pt x="34" y="458"/>
                      </a:lnTo>
                      <a:lnTo>
                        <a:pt x="32" y="457"/>
                      </a:lnTo>
                      <a:lnTo>
                        <a:pt x="31" y="458"/>
                      </a:lnTo>
                      <a:lnTo>
                        <a:pt x="29" y="458"/>
                      </a:lnTo>
                      <a:lnTo>
                        <a:pt x="31" y="458"/>
                      </a:lnTo>
                      <a:lnTo>
                        <a:pt x="29" y="458"/>
                      </a:lnTo>
                      <a:lnTo>
                        <a:pt x="27" y="458"/>
                      </a:lnTo>
                      <a:lnTo>
                        <a:pt x="26" y="458"/>
                      </a:lnTo>
                      <a:lnTo>
                        <a:pt x="24" y="458"/>
                      </a:lnTo>
                      <a:lnTo>
                        <a:pt x="24" y="457"/>
                      </a:lnTo>
                      <a:lnTo>
                        <a:pt x="22" y="457"/>
                      </a:lnTo>
                      <a:lnTo>
                        <a:pt x="22" y="455"/>
                      </a:lnTo>
                      <a:lnTo>
                        <a:pt x="22" y="454"/>
                      </a:lnTo>
                      <a:lnTo>
                        <a:pt x="21" y="455"/>
                      </a:lnTo>
                      <a:lnTo>
                        <a:pt x="21" y="454"/>
                      </a:lnTo>
                      <a:lnTo>
                        <a:pt x="21" y="455"/>
                      </a:lnTo>
                      <a:lnTo>
                        <a:pt x="19" y="455"/>
                      </a:lnTo>
                      <a:lnTo>
                        <a:pt x="17" y="455"/>
                      </a:lnTo>
                      <a:lnTo>
                        <a:pt x="17" y="454"/>
                      </a:lnTo>
                      <a:lnTo>
                        <a:pt x="19" y="454"/>
                      </a:lnTo>
                      <a:lnTo>
                        <a:pt x="17" y="452"/>
                      </a:lnTo>
                      <a:lnTo>
                        <a:pt x="16" y="452"/>
                      </a:lnTo>
                      <a:lnTo>
                        <a:pt x="16" y="450"/>
                      </a:lnTo>
                      <a:lnTo>
                        <a:pt x="16" y="449"/>
                      </a:lnTo>
                      <a:lnTo>
                        <a:pt x="17" y="449"/>
                      </a:lnTo>
                      <a:lnTo>
                        <a:pt x="19" y="449"/>
                      </a:lnTo>
                      <a:lnTo>
                        <a:pt x="19" y="447"/>
                      </a:lnTo>
                      <a:lnTo>
                        <a:pt x="21" y="447"/>
                      </a:lnTo>
                      <a:lnTo>
                        <a:pt x="21" y="445"/>
                      </a:lnTo>
                      <a:lnTo>
                        <a:pt x="21" y="444"/>
                      </a:lnTo>
                      <a:lnTo>
                        <a:pt x="22" y="442"/>
                      </a:lnTo>
                      <a:lnTo>
                        <a:pt x="22" y="440"/>
                      </a:lnTo>
                      <a:lnTo>
                        <a:pt x="22" y="439"/>
                      </a:lnTo>
                      <a:lnTo>
                        <a:pt x="22" y="437"/>
                      </a:lnTo>
                      <a:lnTo>
                        <a:pt x="24" y="435"/>
                      </a:lnTo>
                      <a:lnTo>
                        <a:pt x="26" y="435"/>
                      </a:lnTo>
                      <a:lnTo>
                        <a:pt x="24" y="435"/>
                      </a:lnTo>
                      <a:lnTo>
                        <a:pt x="22" y="434"/>
                      </a:lnTo>
                      <a:lnTo>
                        <a:pt x="21" y="434"/>
                      </a:lnTo>
                      <a:lnTo>
                        <a:pt x="19" y="432"/>
                      </a:lnTo>
                      <a:lnTo>
                        <a:pt x="21" y="432"/>
                      </a:lnTo>
                      <a:lnTo>
                        <a:pt x="22" y="431"/>
                      </a:lnTo>
                      <a:lnTo>
                        <a:pt x="24" y="429"/>
                      </a:lnTo>
                      <a:lnTo>
                        <a:pt x="24" y="427"/>
                      </a:lnTo>
                      <a:lnTo>
                        <a:pt x="26" y="426"/>
                      </a:lnTo>
                      <a:lnTo>
                        <a:pt x="24" y="426"/>
                      </a:lnTo>
                      <a:lnTo>
                        <a:pt x="22" y="424"/>
                      </a:lnTo>
                      <a:lnTo>
                        <a:pt x="22" y="422"/>
                      </a:lnTo>
                      <a:lnTo>
                        <a:pt x="24" y="421"/>
                      </a:lnTo>
                      <a:lnTo>
                        <a:pt x="26" y="421"/>
                      </a:lnTo>
                      <a:lnTo>
                        <a:pt x="26" y="419"/>
                      </a:lnTo>
                      <a:lnTo>
                        <a:pt x="27" y="419"/>
                      </a:lnTo>
                      <a:lnTo>
                        <a:pt x="27" y="417"/>
                      </a:lnTo>
                      <a:lnTo>
                        <a:pt x="26" y="417"/>
                      </a:lnTo>
                      <a:lnTo>
                        <a:pt x="26" y="416"/>
                      </a:lnTo>
                      <a:lnTo>
                        <a:pt x="24" y="416"/>
                      </a:lnTo>
                      <a:lnTo>
                        <a:pt x="22" y="414"/>
                      </a:lnTo>
                      <a:lnTo>
                        <a:pt x="22" y="412"/>
                      </a:lnTo>
                      <a:lnTo>
                        <a:pt x="22" y="411"/>
                      </a:lnTo>
                      <a:lnTo>
                        <a:pt x="24" y="409"/>
                      </a:lnTo>
                      <a:lnTo>
                        <a:pt x="26" y="409"/>
                      </a:lnTo>
                      <a:lnTo>
                        <a:pt x="24" y="409"/>
                      </a:lnTo>
                      <a:lnTo>
                        <a:pt x="24" y="408"/>
                      </a:lnTo>
                      <a:lnTo>
                        <a:pt x="22" y="408"/>
                      </a:lnTo>
                      <a:lnTo>
                        <a:pt x="21" y="408"/>
                      </a:lnTo>
                      <a:lnTo>
                        <a:pt x="21" y="406"/>
                      </a:lnTo>
                      <a:lnTo>
                        <a:pt x="19" y="404"/>
                      </a:lnTo>
                      <a:lnTo>
                        <a:pt x="21" y="403"/>
                      </a:lnTo>
                      <a:lnTo>
                        <a:pt x="21" y="401"/>
                      </a:lnTo>
                      <a:lnTo>
                        <a:pt x="22" y="401"/>
                      </a:lnTo>
                      <a:lnTo>
                        <a:pt x="22" y="399"/>
                      </a:lnTo>
                      <a:lnTo>
                        <a:pt x="24" y="399"/>
                      </a:lnTo>
                      <a:lnTo>
                        <a:pt x="24" y="398"/>
                      </a:lnTo>
                      <a:lnTo>
                        <a:pt x="24" y="396"/>
                      </a:lnTo>
                      <a:lnTo>
                        <a:pt x="26" y="393"/>
                      </a:lnTo>
                      <a:lnTo>
                        <a:pt x="26" y="391"/>
                      </a:lnTo>
                      <a:lnTo>
                        <a:pt x="27" y="390"/>
                      </a:lnTo>
                      <a:lnTo>
                        <a:pt x="29" y="388"/>
                      </a:lnTo>
                      <a:lnTo>
                        <a:pt x="29" y="386"/>
                      </a:lnTo>
                      <a:lnTo>
                        <a:pt x="31" y="386"/>
                      </a:lnTo>
                      <a:lnTo>
                        <a:pt x="31" y="385"/>
                      </a:lnTo>
                      <a:lnTo>
                        <a:pt x="31" y="383"/>
                      </a:lnTo>
                      <a:lnTo>
                        <a:pt x="29" y="383"/>
                      </a:lnTo>
                      <a:lnTo>
                        <a:pt x="27" y="383"/>
                      </a:lnTo>
                      <a:lnTo>
                        <a:pt x="26" y="383"/>
                      </a:lnTo>
                      <a:lnTo>
                        <a:pt x="26" y="381"/>
                      </a:lnTo>
                      <a:lnTo>
                        <a:pt x="24" y="381"/>
                      </a:lnTo>
                      <a:lnTo>
                        <a:pt x="24" y="380"/>
                      </a:lnTo>
                      <a:lnTo>
                        <a:pt x="26" y="380"/>
                      </a:lnTo>
                      <a:lnTo>
                        <a:pt x="27" y="378"/>
                      </a:lnTo>
                      <a:lnTo>
                        <a:pt x="29" y="378"/>
                      </a:lnTo>
                      <a:lnTo>
                        <a:pt x="29" y="376"/>
                      </a:lnTo>
                      <a:lnTo>
                        <a:pt x="31" y="376"/>
                      </a:lnTo>
                      <a:lnTo>
                        <a:pt x="31" y="375"/>
                      </a:lnTo>
                      <a:lnTo>
                        <a:pt x="31" y="373"/>
                      </a:lnTo>
                      <a:lnTo>
                        <a:pt x="31" y="371"/>
                      </a:lnTo>
                      <a:lnTo>
                        <a:pt x="31" y="370"/>
                      </a:lnTo>
                      <a:lnTo>
                        <a:pt x="29" y="367"/>
                      </a:lnTo>
                      <a:lnTo>
                        <a:pt x="31" y="365"/>
                      </a:lnTo>
                      <a:lnTo>
                        <a:pt x="31" y="363"/>
                      </a:lnTo>
                      <a:lnTo>
                        <a:pt x="31" y="362"/>
                      </a:lnTo>
                      <a:lnTo>
                        <a:pt x="29" y="362"/>
                      </a:lnTo>
                      <a:lnTo>
                        <a:pt x="29" y="360"/>
                      </a:lnTo>
                      <a:lnTo>
                        <a:pt x="29" y="358"/>
                      </a:lnTo>
                      <a:lnTo>
                        <a:pt x="31" y="357"/>
                      </a:lnTo>
                      <a:lnTo>
                        <a:pt x="32" y="355"/>
                      </a:lnTo>
                      <a:lnTo>
                        <a:pt x="32" y="353"/>
                      </a:lnTo>
                      <a:lnTo>
                        <a:pt x="34" y="352"/>
                      </a:lnTo>
                      <a:lnTo>
                        <a:pt x="34" y="350"/>
                      </a:lnTo>
                      <a:lnTo>
                        <a:pt x="34" y="348"/>
                      </a:lnTo>
                      <a:lnTo>
                        <a:pt x="32" y="348"/>
                      </a:lnTo>
                      <a:lnTo>
                        <a:pt x="31" y="350"/>
                      </a:lnTo>
                      <a:lnTo>
                        <a:pt x="29" y="350"/>
                      </a:lnTo>
                      <a:lnTo>
                        <a:pt x="29" y="348"/>
                      </a:lnTo>
                      <a:lnTo>
                        <a:pt x="27" y="347"/>
                      </a:lnTo>
                      <a:lnTo>
                        <a:pt x="27" y="345"/>
                      </a:lnTo>
                      <a:lnTo>
                        <a:pt x="26" y="345"/>
                      </a:lnTo>
                      <a:lnTo>
                        <a:pt x="24" y="345"/>
                      </a:lnTo>
                      <a:lnTo>
                        <a:pt x="24" y="344"/>
                      </a:lnTo>
                      <a:lnTo>
                        <a:pt x="26" y="344"/>
                      </a:lnTo>
                      <a:lnTo>
                        <a:pt x="27" y="342"/>
                      </a:lnTo>
                      <a:lnTo>
                        <a:pt x="29" y="340"/>
                      </a:lnTo>
                      <a:lnTo>
                        <a:pt x="31" y="339"/>
                      </a:lnTo>
                      <a:lnTo>
                        <a:pt x="29" y="339"/>
                      </a:lnTo>
                      <a:lnTo>
                        <a:pt x="29" y="337"/>
                      </a:lnTo>
                      <a:lnTo>
                        <a:pt x="27" y="335"/>
                      </a:lnTo>
                      <a:lnTo>
                        <a:pt x="26" y="335"/>
                      </a:lnTo>
                      <a:lnTo>
                        <a:pt x="24" y="335"/>
                      </a:lnTo>
                      <a:lnTo>
                        <a:pt x="22" y="335"/>
                      </a:lnTo>
                      <a:lnTo>
                        <a:pt x="21" y="335"/>
                      </a:lnTo>
                      <a:lnTo>
                        <a:pt x="22" y="332"/>
                      </a:lnTo>
                      <a:lnTo>
                        <a:pt x="22" y="330"/>
                      </a:lnTo>
                      <a:lnTo>
                        <a:pt x="24" y="330"/>
                      </a:lnTo>
                      <a:lnTo>
                        <a:pt x="26" y="330"/>
                      </a:lnTo>
                      <a:lnTo>
                        <a:pt x="29" y="332"/>
                      </a:lnTo>
                      <a:lnTo>
                        <a:pt x="29" y="330"/>
                      </a:lnTo>
                      <a:lnTo>
                        <a:pt x="29" y="329"/>
                      </a:lnTo>
                      <a:lnTo>
                        <a:pt x="29" y="327"/>
                      </a:lnTo>
                      <a:lnTo>
                        <a:pt x="27" y="327"/>
                      </a:lnTo>
                      <a:lnTo>
                        <a:pt x="26" y="325"/>
                      </a:lnTo>
                      <a:lnTo>
                        <a:pt x="26" y="324"/>
                      </a:lnTo>
                      <a:lnTo>
                        <a:pt x="24" y="324"/>
                      </a:lnTo>
                      <a:lnTo>
                        <a:pt x="22" y="324"/>
                      </a:lnTo>
                      <a:lnTo>
                        <a:pt x="21" y="327"/>
                      </a:lnTo>
                      <a:lnTo>
                        <a:pt x="19" y="327"/>
                      </a:lnTo>
                      <a:lnTo>
                        <a:pt x="17" y="327"/>
                      </a:lnTo>
                      <a:lnTo>
                        <a:pt x="17" y="325"/>
                      </a:lnTo>
                      <a:lnTo>
                        <a:pt x="19" y="324"/>
                      </a:lnTo>
                      <a:lnTo>
                        <a:pt x="19" y="322"/>
                      </a:lnTo>
                      <a:lnTo>
                        <a:pt x="19" y="321"/>
                      </a:lnTo>
                      <a:lnTo>
                        <a:pt x="17" y="321"/>
                      </a:lnTo>
                      <a:lnTo>
                        <a:pt x="16" y="319"/>
                      </a:lnTo>
                      <a:lnTo>
                        <a:pt x="16" y="317"/>
                      </a:lnTo>
                      <a:lnTo>
                        <a:pt x="16" y="316"/>
                      </a:lnTo>
                      <a:lnTo>
                        <a:pt x="17" y="316"/>
                      </a:lnTo>
                      <a:lnTo>
                        <a:pt x="17" y="314"/>
                      </a:lnTo>
                      <a:lnTo>
                        <a:pt x="16" y="314"/>
                      </a:lnTo>
                      <a:lnTo>
                        <a:pt x="16" y="311"/>
                      </a:lnTo>
                      <a:lnTo>
                        <a:pt x="16" y="309"/>
                      </a:lnTo>
                      <a:lnTo>
                        <a:pt x="16" y="307"/>
                      </a:lnTo>
                      <a:lnTo>
                        <a:pt x="17" y="304"/>
                      </a:lnTo>
                      <a:lnTo>
                        <a:pt x="17" y="302"/>
                      </a:lnTo>
                      <a:lnTo>
                        <a:pt x="16" y="301"/>
                      </a:lnTo>
                      <a:lnTo>
                        <a:pt x="14" y="299"/>
                      </a:lnTo>
                      <a:lnTo>
                        <a:pt x="12" y="299"/>
                      </a:lnTo>
                      <a:lnTo>
                        <a:pt x="10" y="298"/>
                      </a:lnTo>
                      <a:lnTo>
                        <a:pt x="9" y="298"/>
                      </a:lnTo>
                      <a:lnTo>
                        <a:pt x="9" y="296"/>
                      </a:lnTo>
                      <a:lnTo>
                        <a:pt x="7" y="293"/>
                      </a:lnTo>
                      <a:lnTo>
                        <a:pt x="7" y="291"/>
                      </a:lnTo>
                      <a:lnTo>
                        <a:pt x="7" y="289"/>
                      </a:lnTo>
                      <a:lnTo>
                        <a:pt x="9" y="288"/>
                      </a:lnTo>
                      <a:lnTo>
                        <a:pt x="9" y="286"/>
                      </a:lnTo>
                      <a:lnTo>
                        <a:pt x="7" y="286"/>
                      </a:lnTo>
                      <a:lnTo>
                        <a:pt x="7" y="284"/>
                      </a:lnTo>
                      <a:lnTo>
                        <a:pt x="5" y="284"/>
                      </a:lnTo>
                      <a:lnTo>
                        <a:pt x="5" y="286"/>
                      </a:lnTo>
                      <a:lnTo>
                        <a:pt x="4" y="286"/>
                      </a:lnTo>
                      <a:lnTo>
                        <a:pt x="4" y="288"/>
                      </a:lnTo>
                      <a:lnTo>
                        <a:pt x="2" y="288"/>
                      </a:lnTo>
                      <a:lnTo>
                        <a:pt x="2" y="286"/>
                      </a:lnTo>
                      <a:lnTo>
                        <a:pt x="0" y="286"/>
                      </a:lnTo>
                      <a:lnTo>
                        <a:pt x="0" y="284"/>
                      </a:lnTo>
                      <a:lnTo>
                        <a:pt x="0" y="283"/>
                      </a:lnTo>
                      <a:lnTo>
                        <a:pt x="2" y="283"/>
                      </a:lnTo>
                      <a:lnTo>
                        <a:pt x="2" y="281"/>
                      </a:lnTo>
                      <a:lnTo>
                        <a:pt x="4" y="281"/>
                      </a:lnTo>
                      <a:lnTo>
                        <a:pt x="5" y="281"/>
                      </a:lnTo>
                      <a:lnTo>
                        <a:pt x="5" y="279"/>
                      </a:lnTo>
                      <a:lnTo>
                        <a:pt x="4" y="279"/>
                      </a:lnTo>
                      <a:lnTo>
                        <a:pt x="4" y="278"/>
                      </a:lnTo>
                      <a:lnTo>
                        <a:pt x="2" y="279"/>
                      </a:lnTo>
                      <a:lnTo>
                        <a:pt x="0" y="278"/>
                      </a:lnTo>
                      <a:lnTo>
                        <a:pt x="2" y="278"/>
                      </a:lnTo>
                      <a:lnTo>
                        <a:pt x="2" y="276"/>
                      </a:lnTo>
                      <a:lnTo>
                        <a:pt x="4" y="276"/>
                      </a:lnTo>
                      <a:lnTo>
                        <a:pt x="5" y="276"/>
                      </a:lnTo>
                      <a:lnTo>
                        <a:pt x="5" y="275"/>
                      </a:lnTo>
                      <a:lnTo>
                        <a:pt x="7" y="275"/>
                      </a:lnTo>
                      <a:lnTo>
                        <a:pt x="7" y="273"/>
                      </a:lnTo>
                      <a:lnTo>
                        <a:pt x="9" y="271"/>
                      </a:lnTo>
                      <a:lnTo>
                        <a:pt x="10" y="271"/>
                      </a:lnTo>
                      <a:lnTo>
                        <a:pt x="12" y="271"/>
                      </a:lnTo>
                      <a:lnTo>
                        <a:pt x="12" y="270"/>
                      </a:lnTo>
                      <a:lnTo>
                        <a:pt x="14" y="268"/>
                      </a:lnTo>
                      <a:lnTo>
                        <a:pt x="16" y="268"/>
                      </a:lnTo>
                      <a:lnTo>
                        <a:pt x="17" y="268"/>
                      </a:lnTo>
                      <a:lnTo>
                        <a:pt x="19" y="268"/>
                      </a:lnTo>
                      <a:lnTo>
                        <a:pt x="19" y="266"/>
                      </a:lnTo>
                      <a:lnTo>
                        <a:pt x="21" y="265"/>
                      </a:lnTo>
                      <a:lnTo>
                        <a:pt x="22" y="263"/>
                      </a:lnTo>
                      <a:lnTo>
                        <a:pt x="22" y="265"/>
                      </a:lnTo>
                      <a:lnTo>
                        <a:pt x="24" y="265"/>
                      </a:lnTo>
                      <a:lnTo>
                        <a:pt x="26" y="266"/>
                      </a:lnTo>
                      <a:lnTo>
                        <a:pt x="27" y="263"/>
                      </a:lnTo>
                      <a:lnTo>
                        <a:pt x="29" y="261"/>
                      </a:lnTo>
                      <a:lnTo>
                        <a:pt x="31" y="260"/>
                      </a:lnTo>
                      <a:lnTo>
                        <a:pt x="4" y="240"/>
                      </a:lnTo>
                      <a:lnTo>
                        <a:pt x="16" y="215"/>
                      </a:lnTo>
                      <a:lnTo>
                        <a:pt x="37" y="173"/>
                      </a:lnTo>
                      <a:lnTo>
                        <a:pt x="44" y="173"/>
                      </a:lnTo>
                      <a:lnTo>
                        <a:pt x="46" y="171"/>
                      </a:lnTo>
                      <a:lnTo>
                        <a:pt x="46" y="169"/>
                      </a:lnTo>
                      <a:lnTo>
                        <a:pt x="44" y="169"/>
                      </a:lnTo>
                      <a:lnTo>
                        <a:pt x="44" y="168"/>
                      </a:lnTo>
                      <a:lnTo>
                        <a:pt x="43" y="168"/>
                      </a:lnTo>
                      <a:lnTo>
                        <a:pt x="43" y="161"/>
                      </a:lnTo>
                      <a:lnTo>
                        <a:pt x="39" y="161"/>
                      </a:lnTo>
                      <a:lnTo>
                        <a:pt x="58" y="100"/>
                      </a:lnTo>
                      <a:lnTo>
                        <a:pt x="64" y="99"/>
                      </a:lnTo>
                      <a:lnTo>
                        <a:pt x="68" y="99"/>
                      </a:lnTo>
                      <a:lnTo>
                        <a:pt x="66" y="97"/>
                      </a:lnTo>
                      <a:lnTo>
                        <a:pt x="66" y="96"/>
                      </a:lnTo>
                      <a:lnTo>
                        <a:pt x="64" y="96"/>
                      </a:lnTo>
                      <a:lnTo>
                        <a:pt x="63" y="96"/>
                      </a:lnTo>
                      <a:lnTo>
                        <a:pt x="58" y="91"/>
                      </a:lnTo>
                      <a:lnTo>
                        <a:pt x="54" y="82"/>
                      </a:lnTo>
                      <a:lnTo>
                        <a:pt x="53" y="77"/>
                      </a:lnTo>
                      <a:lnTo>
                        <a:pt x="51" y="76"/>
                      </a:lnTo>
                      <a:lnTo>
                        <a:pt x="43" y="61"/>
                      </a:lnTo>
                      <a:lnTo>
                        <a:pt x="46" y="61"/>
                      </a:lnTo>
                      <a:lnTo>
                        <a:pt x="46" y="59"/>
                      </a:lnTo>
                      <a:lnTo>
                        <a:pt x="43" y="56"/>
                      </a:lnTo>
                      <a:lnTo>
                        <a:pt x="44" y="53"/>
                      </a:lnTo>
                      <a:lnTo>
                        <a:pt x="43" y="51"/>
                      </a:lnTo>
                      <a:lnTo>
                        <a:pt x="41" y="50"/>
                      </a:lnTo>
                      <a:lnTo>
                        <a:pt x="39" y="48"/>
                      </a:lnTo>
                      <a:lnTo>
                        <a:pt x="39" y="46"/>
                      </a:lnTo>
                      <a:lnTo>
                        <a:pt x="37" y="46"/>
                      </a:lnTo>
                      <a:lnTo>
                        <a:pt x="37" y="45"/>
                      </a:lnTo>
                      <a:lnTo>
                        <a:pt x="37" y="43"/>
                      </a:lnTo>
                      <a:lnTo>
                        <a:pt x="37" y="41"/>
                      </a:lnTo>
                      <a:lnTo>
                        <a:pt x="37" y="43"/>
                      </a:lnTo>
                      <a:lnTo>
                        <a:pt x="37" y="41"/>
                      </a:lnTo>
                      <a:lnTo>
                        <a:pt x="37" y="40"/>
                      </a:lnTo>
                      <a:lnTo>
                        <a:pt x="36" y="40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6" y="36"/>
                      </a:lnTo>
                      <a:lnTo>
                        <a:pt x="37" y="36"/>
                      </a:lnTo>
                      <a:lnTo>
                        <a:pt x="39" y="36"/>
                      </a:lnTo>
                      <a:lnTo>
                        <a:pt x="39" y="38"/>
                      </a:lnTo>
                      <a:lnTo>
                        <a:pt x="41" y="38"/>
                      </a:lnTo>
                      <a:lnTo>
                        <a:pt x="41" y="36"/>
                      </a:lnTo>
                      <a:lnTo>
                        <a:pt x="41" y="35"/>
                      </a:lnTo>
                      <a:lnTo>
                        <a:pt x="43" y="35"/>
                      </a:lnTo>
                      <a:lnTo>
                        <a:pt x="44" y="35"/>
                      </a:lnTo>
                      <a:lnTo>
                        <a:pt x="44" y="36"/>
                      </a:lnTo>
                      <a:lnTo>
                        <a:pt x="44" y="38"/>
                      </a:lnTo>
                      <a:lnTo>
                        <a:pt x="44" y="40"/>
                      </a:lnTo>
                      <a:lnTo>
                        <a:pt x="46" y="41"/>
                      </a:lnTo>
                      <a:lnTo>
                        <a:pt x="44" y="41"/>
                      </a:lnTo>
                      <a:lnTo>
                        <a:pt x="46" y="41"/>
                      </a:lnTo>
                      <a:lnTo>
                        <a:pt x="46" y="43"/>
                      </a:lnTo>
                      <a:lnTo>
                        <a:pt x="46" y="45"/>
                      </a:lnTo>
                      <a:lnTo>
                        <a:pt x="48" y="45"/>
                      </a:lnTo>
                      <a:lnTo>
                        <a:pt x="46" y="45"/>
                      </a:lnTo>
                      <a:lnTo>
                        <a:pt x="48" y="46"/>
                      </a:lnTo>
                      <a:lnTo>
                        <a:pt x="48" y="48"/>
                      </a:lnTo>
                      <a:lnTo>
                        <a:pt x="46" y="50"/>
                      </a:lnTo>
                      <a:lnTo>
                        <a:pt x="48" y="51"/>
                      </a:lnTo>
                      <a:lnTo>
                        <a:pt x="46" y="51"/>
                      </a:lnTo>
                      <a:lnTo>
                        <a:pt x="48" y="51"/>
                      </a:lnTo>
                      <a:lnTo>
                        <a:pt x="48" y="53"/>
                      </a:lnTo>
                      <a:lnTo>
                        <a:pt x="49" y="53"/>
                      </a:lnTo>
                      <a:lnTo>
                        <a:pt x="51" y="53"/>
                      </a:lnTo>
                      <a:lnTo>
                        <a:pt x="51" y="51"/>
                      </a:lnTo>
                      <a:lnTo>
                        <a:pt x="53" y="53"/>
                      </a:lnTo>
                      <a:lnTo>
                        <a:pt x="53" y="54"/>
                      </a:lnTo>
                      <a:lnTo>
                        <a:pt x="53" y="56"/>
                      </a:lnTo>
                      <a:lnTo>
                        <a:pt x="54" y="56"/>
                      </a:lnTo>
                      <a:lnTo>
                        <a:pt x="54" y="58"/>
                      </a:lnTo>
                      <a:lnTo>
                        <a:pt x="53" y="58"/>
                      </a:lnTo>
                      <a:lnTo>
                        <a:pt x="54" y="58"/>
                      </a:lnTo>
                      <a:lnTo>
                        <a:pt x="54" y="59"/>
                      </a:lnTo>
                      <a:lnTo>
                        <a:pt x="56" y="59"/>
                      </a:lnTo>
                      <a:lnTo>
                        <a:pt x="58" y="59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59" y="63"/>
                      </a:lnTo>
                      <a:lnTo>
                        <a:pt x="61" y="63"/>
                      </a:lnTo>
                      <a:lnTo>
                        <a:pt x="61" y="64"/>
                      </a:lnTo>
                      <a:lnTo>
                        <a:pt x="63" y="64"/>
                      </a:lnTo>
                      <a:lnTo>
                        <a:pt x="64" y="64"/>
                      </a:lnTo>
                      <a:lnTo>
                        <a:pt x="66" y="64"/>
                      </a:lnTo>
                      <a:lnTo>
                        <a:pt x="66" y="66"/>
                      </a:lnTo>
                      <a:lnTo>
                        <a:pt x="66" y="68"/>
                      </a:lnTo>
                      <a:lnTo>
                        <a:pt x="68" y="68"/>
                      </a:lnTo>
                      <a:lnTo>
                        <a:pt x="68" y="69"/>
                      </a:lnTo>
                      <a:lnTo>
                        <a:pt x="70" y="68"/>
                      </a:lnTo>
                      <a:lnTo>
                        <a:pt x="70" y="66"/>
                      </a:lnTo>
                      <a:lnTo>
                        <a:pt x="71" y="64"/>
                      </a:lnTo>
                      <a:lnTo>
                        <a:pt x="73" y="64"/>
                      </a:lnTo>
                      <a:lnTo>
                        <a:pt x="73" y="63"/>
                      </a:lnTo>
                      <a:lnTo>
                        <a:pt x="75" y="63"/>
                      </a:lnTo>
                      <a:lnTo>
                        <a:pt x="75" y="61"/>
                      </a:lnTo>
                      <a:lnTo>
                        <a:pt x="76" y="61"/>
                      </a:lnTo>
                      <a:lnTo>
                        <a:pt x="76" y="63"/>
                      </a:lnTo>
                      <a:lnTo>
                        <a:pt x="78" y="63"/>
                      </a:lnTo>
                      <a:lnTo>
                        <a:pt x="80" y="63"/>
                      </a:lnTo>
                      <a:lnTo>
                        <a:pt x="81" y="63"/>
                      </a:lnTo>
                      <a:lnTo>
                        <a:pt x="81" y="61"/>
                      </a:lnTo>
                      <a:lnTo>
                        <a:pt x="83" y="59"/>
                      </a:lnTo>
                      <a:lnTo>
                        <a:pt x="83" y="61"/>
                      </a:lnTo>
                      <a:lnTo>
                        <a:pt x="85" y="61"/>
                      </a:lnTo>
                      <a:lnTo>
                        <a:pt x="83" y="61"/>
                      </a:lnTo>
                      <a:lnTo>
                        <a:pt x="85" y="61"/>
                      </a:lnTo>
                      <a:lnTo>
                        <a:pt x="86" y="61"/>
                      </a:lnTo>
                      <a:lnTo>
                        <a:pt x="88" y="61"/>
                      </a:lnTo>
                      <a:lnTo>
                        <a:pt x="88" y="59"/>
                      </a:lnTo>
                      <a:lnTo>
                        <a:pt x="90" y="61"/>
                      </a:lnTo>
                      <a:lnTo>
                        <a:pt x="90" y="59"/>
                      </a:lnTo>
                      <a:lnTo>
                        <a:pt x="88" y="59"/>
                      </a:lnTo>
                      <a:lnTo>
                        <a:pt x="88" y="58"/>
                      </a:lnTo>
                      <a:lnTo>
                        <a:pt x="88" y="59"/>
                      </a:lnTo>
                      <a:lnTo>
                        <a:pt x="90" y="58"/>
                      </a:lnTo>
                      <a:lnTo>
                        <a:pt x="92" y="58"/>
                      </a:lnTo>
                      <a:lnTo>
                        <a:pt x="93" y="58"/>
                      </a:lnTo>
                      <a:lnTo>
                        <a:pt x="95" y="58"/>
                      </a:lnTo>
                      <a:lnTo>
                        <a:pt x="97" y="58"/>
                      </a:lnTo>
                      <a:lnTo>
                        <a:pt x="98" y="56"/>
                      </a:lnTo>
                      <a:lnTo>
                        <a:pt x="100" y="56"/>
                      </a:lnTo>
                      <a:lnTo>
                        <a:pt x="100" y="58"/>
                      </a:lnTo>
                      <a:lnTo>
                        <a:pt x="100" y="56"/>
                      </a:lnTo>
                      <a:lnTo>
                        <a:pt x="102" y="56"/>
                      </a:lnTo>
                      <a:lnTo>
                        <a:pt x="103" y="54"/>
                      </a:lnTo>
                      <a:lnTo>
                        <a:pt x="105" y="53"/>
                      </a:lnTo>
                      <a:lnTo>
                        <a:pt x="107" y="53"/>
                      </a:lnTo>
                      <a:lnTo>
                        <a:pt x="108" y="51"/>
                      </a:lnTo>
                      <a:lnTo>
                        <a:pt x="108" y="50"/>
                      </a:lnTo>
                      <a:lnTo>
                        <a:pt x="110" y="50"/>
                      </a:lnTo>
                      <a:lnTo>
                        <a:pt x="110" y="48"/>
                      </a:lnTo>
                      <a:lnTo>
                        <a:pt x="112" y="48"/>
                      </a:lnTo>
                      <a:lnTo>
                        <a:pt x="112" y="46"/>
                      </a:lnTo>
                      <a:lnTo>
                        <a:pt x="113" y="46"/>
                      </a:lnTo>
                      <a:lnTo>
                        <a:pt x="113" y="45"/>
                      </a:lnTo>
                      <a:lnTo>
                        <a:pt x="113" y="43"/>
                      </a:lnTo>
                      <a:lnTo>
                        <a:pt x="115" y="43"/>
                      </a:lnTo>
                      <a:lnTo>
                        <a:pt x="115" y="41"/>
                      </a:lnTo>
                      <a:lnTo>
                        <a:pt x="113" y="41"/>
                      </a:lnTo>
                      <a:lnTo>
                        <a:pt x="113" y="40"/>
                      </a:lnTo>
                      <a:lnTo>
                        <a:pt x="113" y="38"/>
                      </a:lnTo>
                      <a:lnTo>
                        <a:pt x="115" y="38"/>
                      </a:lnTo>
                      <a:lnTo>
                        <a:pt x="117" y="38"/>
                      </a:lnTo>
                      <a:lnTo>
                        <a:pt x="117" y="36"/>
                      </a:lnTo>
                      <a:lnTo>
                        <a:pt x="119" y="36"/>
                      </a:lnTo>
                      <a:lnTo>
                        <a:pt x="119" y="35"/>
                      </a:lnTo>
                      <a:lnTo>
                        <a:pt x="120" y="35"/>
                      </a:lnTo>
                      <a:lnTo>
                        <a:pt x="122" y="35"/>
                      </a:lnTo>
                      <a:lnTo>
                        <a:pt x="124" y="35"/>
                      </a:lnTo>
                      <a:lnTo>
                        <a:pt x="124" y="33"/>
                      </a:lnTo>
                      <a:lnTo>
                        <a:pt x="125" y="31"/>
                      </a:lnTo>
                      <a:lnTo>
                        <a:pt x="124" y="31"/>
                      </a:lnTo>
                      <a:lnTo>
                        <a:pt x="124" y="30"/>
                      </a:lnTo>
                      <a:lnTo>
                        <a:pt x="125" y="30"/>
                      </a:lnTo>
                      <a:lnTo>
                        <a:pt x="125" y="28"/>
                      </a:lnTo>
                      <a:lnTo>
                        <a:pt x="127" y="28"/>
                      </a:lnTo>
                      <a:lnTo>
                        <a:pt x="129" y="28"/>
                      </a:lnTo>
                      <a:lnTo>
                        <a:pt x="129" y="27"/>
                      </a:lnTo>
                      <a:lnTo>
                        <a:pt x="127" y="27"/>
                      </a:lnTo>
                      <a:lnTo>
                        <a:pt x="127" y="25"/>
                      </a:lnTo>
                      <a:lnTo>
                        <a:pt x="129" y="27"/>
                      </a:lnTo>
                      <a:lnTo>
                        <a:pt x="129" y="25"/>
                      </a:lnTo>
                      <a:lnTo>
                        <a:pt x="127" y="25"/>
                      </a:lnTo>
                      <a:lnTo>
                        <a:pt x="127" y="23"/>
                      </a:lnTo>
                      <a:lnTo>
                        <a:pt x="127" y="22"/>
                      </a:lnTo>
                      <a:lnTo>
                        <a:pt x="129" y="22"/>
                      </a:lnTo>
                      <a:lnTo>
                        <a:pt x="130" y="22"/>
                      </a:lnTo>
                      <a:lnTo>
                        <a:pt x="132" y="22"/>
                      </a:lnTo>
                      <a:lnTo>
                        <a:pt x="132" y="20"/>
                      </a:lnTo>
                      <a:lnTo>
                        <a:pt x="134" y="18"/>
                      </a:lnTo>
                      <a:lnTo>
                        <a:pt x="134" y="17"/>
                      </a:lnTo>
                      <a:lnTo>
                        <a:pt x="134" y="15"/>
                      </a:lnTo>
                      <a:lnTo>
                        <a:pt x="135" y="15"/>
                      </a:lnTo>
                      <a:lnTo>
                        <a:pt x="137" y="15"/>
                      </a:lnTo>
                      <a:lnTo>
                        <a:pt x="137" y="13"/>
                      </a:lnTo>
                      <a:lnTo>
                        <a:pt x="139" y="13"/>
                      </a:lnTo>
                      <a:lnTo>
                        <a:pt x="139" y="15"/>
                      </a:lnTo>
                      <a:lnTo>
                        <a:pt x="140" y="15"/>
                      </a:lnTo>
                      <a:lnTo>
                        <a:pt x="142" y="15"/>
                      </a:lnTo>
                      <a:lnTo>
                        <a:pt x="142" y="17"/>
                      </a:lnTo>
                      <a:lnTo>
                        <a:pt x="144" y="17"/>
                      </a:lnTo>
                      <a:lnTo>
                        <a:pt x="144" y="15"/>
                      </a:lnTo>
                      <a:lnTo>
                        <a:pt x="146" y="17"/>
                      </a:lnTo>
                      <a:lnTo>
                        <a:pt x="146" y="15"/>
                      </a:lnTo>
                      <a:lnTo>
                        <a:pt x="144" y="15"/>
                      </a:lnTo>
                      <a:lnTo>
                        <a:pt x="146" y="15"/>
                      </a:lnTo>
                      <a:lnTo>
                        <a:pt x="147" y="17"/>
                      </a:lnTo>
                      <a:lnTo>
                        <a:pt x="147" y="15"/>
                      </a:lnTo>
                      <a:lnTo>
                        <a:pt x="149" y="17"/>
                      </a:lnTo>
                      <a:lnTo>
                        <a:pt x="149" y="15"/>
                      </a:lnTo>
                      <a:lnTo>
                        <a:pt x="149" y="17"/>
                      </a:lnTo>
                      <a:lnTo>
                        <a:pt x="151" y="15"/>
                      </a:lnTo>
                      <a:lnTo>
                        <a:pt x="152" y="17"/>
                      </a:lnTo>
                      <a:lnTo>
                        <a:pt x="152" y="15"/>
                      </a:lnTo>
                      <a:lnTo>
                        <a:pt x="151" y="15"/>
                      </a:lnTo>
                      <a:lnTo>
                        <a:pt x="152" y="15"/>
                      </a:lnTo>
                      <a:lnTo>
                        <a:pt x="154" y="15"/>
                      </a:lnTo>
                      <a:lnTo>
                        <a:pt x="156" y="15"/>
                      </a:lnTo>
                      <a:lnTo>
                        <a:pt x="157" y="15"/>
                      </a:lnTo>
                      <a:lnTo>
                        <a:pt x="157" y="13"/>
                      </a:lnTo>
                      <a:lnTo>
                        <a:pt x="157" y="15"/>
                      </a:lnTo>
                      <a:lnTo>
                        <a:pt x="157" y="13"/>
                      </a:lnTo>
                      <a:lnTo>
                        <a:pt x="159" y="13"/>
                      </a:lnTo>
                      <a:lnTo>
                        <a:pt x="157" y="13"/>
                      </a:lnTo>
                      <a:lnTo>
                        <a:pt x="157" y="12"/>
                      </a:lnTo>
                      <a:lnTo>
                        <a:pt x="157" y="13"/>
                      </a:lnTo>
                      <a:lnTo>
                        <a:pt x="159" y="12"/>
                      </a:lnTo>
                      <a:lnTo>
                        <a:pt x="159" y="13"/>
                      </a:lnTo>
                      <a:lnTo>
                        <a:pt x="161" y="13"/>
                      </a:lnTo>
                      <a:lnTo>
                        <a:pt x="162" y="13"/>
                      </a:lnTo>
                      <a:lnTo>
                        <a:pt x="162" y="15"/>
                      </a:lnTo>
                      <a:lnTo>
                        <a:pt x="162" y="13"/>
                      </a:lnTo>
                      <a:lnTo>
                        <a:pt x="164" y="13"/>
                      </a:lnTo>
                      <a:lnTo>
                        <a:pt x="164" y="15"/>
                      </a:lnTo>
                      <a:lnTo>
                        <a:pt x="164" y="17"/>
                      </a:lnTo>
                      <a:lnTo>
                        <a:pt x="166" y="15"/>
                      </a:lnTo>
                      <a:lnTo>
                        <a:pt x="168" y="13"/>
                      </a:lnTo>
                      <a:lnTo>
                        <a:pt x="168" y="15"/>
                      </a:lnTo>
                      <a:lnTo>
                        <a:pt x="168" y="13"/>
                      </a:lnTo>
                      <a:lnTo>
                        <a:pt x="169" y="13"/>
                      </a:lnTo>
                      <a:lnTo>
                        <a:pt x="169" y="12"/>
                      </a:lnTo>
                      <a:lnTo>
                        <a:pt x="171" y="12"/>
                      </a:lnTo>
                      <a:lnTo>
                        <a:pt x="173" y="12"/>
                      </a:lnTo>
                      <a:lnTo>
                        <a:pt x="173" y="10"/>
                      </a:lnTo>
                      <a:lnTo>
                        <a:pt x="174" y="10"/>
                      </a:lnTo>
                      <a:lnTo>
                        <a:pt x="173" y="10"/>
                      </a:lnTo>
                      <a:lnTo>
                        <a:pt x="173" y="12"/>
                      </a:lnTo>
                      <a:lnTo>
                        <a:pt x="174" y="12"/>
                      </a:lnTo>
                      <a:lnTo>
                        <a:pt x="176" y="12"/>
                      </a:lnTo>
                      <a:lnTo>
                        <a:pt x="176" y="10"/>
                      </a:lnTo>
                      <a:lnTo>
                        <a:pt x="178" y="10"/>
                      </a:lnTo>
                      <a:lnTo>
                        <a:pt x="178" y="12"/>
                      </a:lnTo>
                      <a:lnTo>
                        <a:pt x="178" y="10"/>
                      </a:lnTo>
                      <a:lnTo>
                        <a:pt x="179" y="10"/>
                      </a:lnTo>
                      <a:lnTo>
                        <a:pt x="179" y="8"/>
                      </a:lnTo>
                      <a:lnTo>
                        <a:pt x="181" y="8"/>
                      </a:lnTo>
                      <a:lnTo>
                        <a:pt x="181" y="7"/>
                      </a:lnTo>
                      <a:lnTo>
                        <a:pt x="181" y="8"/>
                      </a:lnTo>
                      <a:lnTo>
                        <a:pt x="183" y="8"/>
                      </a:lnTo>
                      <a:lnTo>
                        <a:pt x="181" y="7"/>
                      </a:lnTo>
                      <a:lnTo>
                        <a:pt x="183" y="7"/>
                      </a:lnTo>
                      <a:lnTo>
                        <a:pt x="183" y="5"/>
                      </a:lnTo>
                      <a:lnTo>
                        <a:pt x="184" y="5"/>
                      </a:lnTo>
                      <a:lnTo>
                        <a:pt x="184" y="7"/>
                      </a:lnTo>
                      <a:lnTo>
                        <a:pt x="186" y="7"/>
                      </a:lnTo>
                      <a:lnTo>
                        <a:pt x="184" y="5"/>
                      </a:lnTo>
                      <a:lnTo>
                        <a:pt x="186" y="5"/>
                      </a:lnTo>
                      <a:lnTo>
                        <a:pt x="186" y="7"/>
                      </a:lnTo>
                      <a:lnTo>
                        <a:pt x="186" y="5"/>
                      </a:lnTo>
                      <a:lnTo>
                        <a:pt x="188" y="5"/>
                      </a:lnTo>
                      <a:lnTo>
                        <a:pt x="188" y="4"/>
                      </a:lnTo>
                      <a:lnTo>
                        <a:pt x="189" y="4"/>
                      </a:lnTo>
                      <a:lnTo>
                        <a:pt x="188" y="4"/>
                      </a:lnTo>
                      <a:lnTo>
                        <a:pt x="189" y="4"/>
                      </a:lnTo>
                      <a:lnTo>
                        <a:pt x="191" y="4"/>
                      </a:lnTo>
                      <a:lnTo>
                        <a:pt x="191" y="2"/>
                      </a:lnTo>
                      <a:lnTo>
                        <a:pt x="193" y="2"/>
                      </a:lnTo>
                      <a:lnTo>
                        <a:pt x="193" y="4"/>
                      </a:lnTo>
                      <a:lnTo>
                        <a:pt x="193" y="2"/>
                      </a:lnTo>
                      <a:lnTo>
                        <a:pt x="195" y="2"/>
                      </a:lnTo>
                      <a:lnTo>
                        <a:pt x="195" y="0"/>
                      </a:lnTo>
                      <a:lnTo>
                        <a:pt x="196" y="0"/>
                      </a:lnTo>
                      <a:lnTo>
                        <a:pt x="196" y="2"/>
                      </a:lnTo>
                      <a:lnTo>
                        <a:pt x="198" y="2"/>
                      </a:lnTo>
                      <a:lnTo>
                        <a:pt x="200" y="2"/>
                      </a:lnTo>
                      <a:lnTo>
                        <a:pt x="201" y="2"/>
                      </a:lnTo>
                      <a:lnTo>
                        <a:pt x="203" y="2"/>
                      </a:lnTo>
                      <a:lnTo>
                        <a:pt x="205" y="4"/>
                      </a:lnTo>
                      <a:lnTo>
                        <a:pt x="206" y="4"/>
                      </a:lnTo>
                      <a:lnTo>
                        <a:pt x="206" y="5"/>
                      </a:lnTo>
                      <a:lnTo>
                        <a:pt x="205" y="5"/>
                      </a:lnTo>
                      <a:lnTo>
                        <a:pt x="205" y="7"/>
                      </a:lnTo>
                      <a:lnTo>
                        <a:pt x="206" y="7"/>
                      </a:lnTo>
                      <a:lnTo>
                        <a:pt x="206" y="8"/>
                      </a:lnTo>
                      <a:lnTo>
                        <a:pt x="206" y="7"/>
                      </a:lnTo>
                      <a:lnTo>
                        <a:pt x="208" y="8"/>
                      </a:lnTo>
                      <a:lnTo>
                        <a:pt x="206" y="8"/>
                      </a:lnTo>
                      <a:lnTo>
                        <a:pt x="208" y="8"/>
                      </a:lnTo>
                      <a:lnTo>
                        <a:pt x="210" y="8"/>
                      </a:lnTo>
                      <a:lnTo>
                        <a:pt x="211" y="8"/>
                      </a:lnTo>
                      <a:lnTo>
                        <a:pt x="210" y="8"/>
                      </a:lnTo>
                      <a:lnTo>
                        <a:pt x="211" y="10"/>
                      </a:lnTo>
                      <a:lnTo>
                        <a:pt x="211" y="12"/>
                      </a:lnTo>
                      <a:lnTo>
                        <a:pt x="213" y="10"/>
                      </a:lnTo>
                      <a:lnTo>
                        <a:pt x="213" y="8"/>
                      </a:lnTo>
                      <a:lnTo>
                        <a:pt x="213" y="10"/>
                      </a:lnTo>
                      <a:lnTo>
                        <a:pt x="215" y="10"/>
                      </a:lnTo>
                      <a:lnTo>
                        <a:pt x="216" y="10"/>
                      </a:lnTo>
                      <a:lnTo>
                        <a:pt x="215" y="10"/>
                      </a:lnTo>
                      <a:lnTo>
                        <a:pt x="216" y="12"/>
                      </a:lnTo>
                      <a:lnTo>
                        <a:pt x="216" y="10"/>
                      </a:lnTo>
                      <a:lnTo>
                        <a:pt x="216" y="12"/>
                      </a:lnTo>
                      <a:lnTo>
                        <a:pt x="218" y="12"/>
                      </a:lnTo>
                      <a:lnTo>
                        <a:pt x="218" y="10"/>
                      </a:lnTo>
                      <a:lnTo>
                        <a:pt x="220" y="12"/>
                      </a:lnTo>
                      <a:lnTo>
                        <a:pt x="222" y="12"/>
                      </a:lnTo>
                      <a:lnTo>
                        <a:pt x="222" y="13"/>
                      </a:lnTo>
                      <a:lnTo>
                        <a:pt x="222" y="12"/>
                      </a:lnTo>
                      <a:lnTo>
                        <a:pt x="223" y="12"/>
                      </a:lnTo>
                      <a:lnTo>
                        <a:pt x="223" y="13"/>
                      </a:lnTo>
                      <a:lnTo>
                        <a:pt x="222" y="13"/>
                      </a:lnTo>
                      <a:lnTo>
                        <a:pt x="223" y="13"/>
                      </a:lnTo>
                      <a:lnTo>
                        <a:pt x="225" y="13"/>
                      </a:lnTo>
                      <a:lnTo>
                        <a:pt x="225" y="15"/>
                      </a:lnTo>
                      <a:lnTo>
                        <a:pt x="227" y="15"/>
                      </a:lnTo>
                      <a:lnTo>
                        <a:pt x="227" y="17"/>
                      </a:lnTo>
                      <a:lnTo>
                        <a:pt x="227" y="15"/>
                      </a:lnTo>
                      <a:lnTo>
                        <a:pt x="228" y="17"/>
                      </a:lnTo>
                      <a:lnTo>
                        <a:pt x="228" y="15"/>
                      </a:lnTo>
                      <a:lnTo>
                        <a:pt x="230" y="17"/>
                      </a:lnTo>
                      <a:lnTo>
                        <a:pt x="232" y="17"/>
                      </a:lnTo>
                      <a:lnTo>
                        <a:pt x="233" y="18"/>
                      </a:lnTo>
                      <a:lnTo>
                        <a:pt x="233" y="17"/>
                      </a:lnTo>
                      <a:lnTo>
                        <a:pt x="235" y="18"/>
                      </a:lnTo>
                      <a:lnTo>
                        <a:pt x="235" y="17"/>
                      </a:lnTo>
                      <a:lnTo>
                        <a:pt x="237" y="18"/>
                      </a:lnTo>
                      <a:lnTo>
                        <a:pt x="237" y="17"/>
                      </a:lnTo>
                      <a:lnTo>
                        <a:pt x="237" y="18"/>
                      </a:lnTo>
                      <a:lnTo>
                        <a:pt x="238" y="18"/>
                      </a:lnTo>
                      <a:lnTo>
                        <a:pt x="238" y="17"/>
                      </a:lnTo>
                      <a:lnTo>
                        <a:pt x="238" y="18"/>
                      </a:lnTo>
                      <a:lnTo>
                        <a:pt x="240" y="18"/>
                      </a:lnTo>
                      <a:lnTo>
                        <a:pt x="240" y="17"/>
                      </a:lnTo>
                      <a:lnTo>
                        <a:pt x="240" y="18"/>
                      </a:lnTo>
                      <a:lnTo>
                        <a:pt x="242" y="18"/>
                      </a:lnTo>
                      <a:lnTo>
                        <a:pt x="242" y="20"/>
                      </a:lnTo>
                      <a:lnTo>
                        <a:pt x="244" y="20"/>
                      </a:lnTo>
                      <a:lnTo>
                        <a:pt x="244" y="18"/>
                      </a:lnTo>
                      <a:lnTo>
                        <a:pt x="244" y="20"/>
                      </a:lnTo>
                      <a:lnTo>
                        <a:pt x="245" y="20"/>
                      </a:lnTo>
                      <a:lnTo>
                        <a:pt x="245" y="22"/>
                      </a:lnTo>
                      <a:lnTo>
                        <a:pt x="247" y="22"/>
                      </a:lnTo>
                      <a:lnTo>
                        <a:pt x="245" y="23"/>
                      </a:lnTo>
                      <a:lnTo>
                        <a:pt x="245" y="25"/>
                      </a:lnTo>
                      <a:lnTo>
                        <a:pt x="247" y="23"/>
                      </a:lnTo>
                      <a:lnTo>
                        <a:pt x="247" y="25"/>
                      </a:lnTo>
                      <a:lnTo>
                        <a:pt x="247" y="27"/>
                      </a:lnTo>
                      <a:lnTo>
                        <a:pt x="249" y="27"/>
                      </a:lnTo>
                      <a:lnTo>
                        <a:pt x="250" y="28"/>
                      </a:lnTo>
                      <a:lnTo>
                        <a:pt x="252" y="28"/>
                      </a:lnTo>
                      <a:lnTo>
                        <a:pt x="252" y="30"/>
                      </a:lnTo>
                      <a:lnTo>
                        <a:pt x="254" y="30"/>
                      </a:lnTo>
                      <a:lnTo>
                        <a:pt x="255" y="30"/>
                      </a:lnTo>
                      <a:lnTo>
                        <a:pt x="257" y="30"/>
                      </a:lnTo>
                      <a:lnTo>
                        <a:pt x="257" y="31"/>
                      </a:lnTo>
                      <a:lnTo>
                        <a:pt x="259" y="31"/>
                      </a:lnTo>
                      <a:lnTo>
                        <a:pt x="259" y="33"/>
                      </a:lnTo>
                      <a:lnTo>
                        <a:pt x="259" y="31"/>
                      </a:lnTo>
                      <a:lnTo>
                        <a:pt x="259" y="33"/>
                      </a:lnTo>
                      <a:lnTo>
                        <a:pt x="260" y="33"/>
                      </a:lnTo>
                      <a:lnTo>
                        <a:pt x="262" y="33"/>
                      </a:lnTo>
                      <a:lnTo>
                        <a:pt x="264" y="33"/>
                      </a:lnTo>
                      <a:lnTo>
                        <a:pt x="265" y="33"/>
                      </a:lnTo>
                      <a:lnTo>
                        <a:pt x="267" y="35"/>
                      </a:lnTo>
                      <a:lnTo>
                        <a:pt x="267" y="36"/>
                      </a:lnTo>
                      <a:lnTo>
                        <a:pt x="269" y="36"/>
                      </a:lnTo>
                      <a:lnTo>
                        <a:pt x="271" y="36"/>
                      </a:lnTo>
                      <a:lnTo>
                        <a:pt x="271" y="35"/>
                      </a:lnTo>
                      <a:lnTo>
                        <a:pt x="271" y="36"/>
                      </a:lnTo>
                      <a:lnTo>
                        <a:pt x="272" y="36"/>
                      </a:lnTo>
                      <a:lnTo>
                        <a:pt x="272" y="35"/>
                      </a:lnTo>
                      <a:lnTo>
                        <a:pt x="274" y="35"/>
                      </a:lnTo>
                      <a:lnTo>
                        <a:pt x="274" y="36"/>
                      </a:lnTo>
                      <a:lnTo>
                        <a:pt x="272" y="36"/>
                      </a:lnTo>
                      <a:lnTo>
                        <a:pt x="274" y="36"/>
                      </a:lnTo>
                      <a:lnTo>
                        <a:pt x="274" y="38"/>
                      </a:lnTo>
                      <a:lnTo>
                        <a:pt x="276" y="38"/>
                      </a:lnTo>
                      <a:lnTo>
                        <a:pt x="276" y="36"/>
                      </a:lnTo>
                      <a:lnTo>
                        <a:pt x="276" y="38"/>
                      </a:lnTo>
                      <a:lnTo>
                        <a:pt x="277" y="38"/>
                      </a:lnTo>
                      <a:lnTo>
                        <a:pt x="277" y="40"/>
                      </a:lnTo>
                      <a:lnTo>
                        <a:pt x="277" y="41"/>
                      </a:lnTo>
                      <a:lnTo>
                        <a:pt x="277" y="40"/>
                      </a:lnTo>
                      <a:lnTo>
                        <a:pt x="279" y="40"/>
                      </a:lnTo>
                      <a:lnTo>
                        <a:pt x="279" y="41"/>
                      </a:lnTo>
                      <a:lnTo>
                        <a:pt x="279" y="40"/>
                      </a:lnTo>
                      <a:lnTo>
                        <a:pt x="279" y="41"/>
                      </a:lnTo>
                      <a:lnTo>
                        <a:pt x="279" y="40"/>
                      </a:lnTo>
                      <a:lnTo>
                        <a:pt x="279" y="41"/>
                      </a:lnTo>
                      <a:lnTo>
                        <a:pt x="281" y="41"/>
                      </a:lnTo>
                      <a:lnTo>
                        <a:pt x="279" y="41"/>
                      </a:lnTo>
                      <a:lnTo>
                        <a:pt x="281" y="43"/>
                      </a:lnTo>
                      <a:lnTo>
                        <a:pt x="282" y="41"/>
                      </a:lnTo>
                      <a:lnTo>
                        <a:pt x="282" y="43"/>
                      </a:lnTo>
                      <a:lnTo>
                        <a:pt x="284" y="43"/>
                      </a:lnTo>
                      <a:lnTo>
                        <a:pt x="284" y="45"/>
                      </a:lnTo>
                      <a:lnTo>
                        <a:pt x="286" y="45"/>
                      </a:lnTo>
                      <a:lnTo>
                        <a:pt x="284" y="45"/>
                      </a:lnTo>
                      <a:lnTo>
                        <a:pt x="286" y="45"/>
                      </a:lnTo>
                      <a:lnTo>
                        <a:pt x="287" y="45"/>
                      </a:lnTo>
                      <a:lnTo>
                        <a:pt x="289" y="46"/>
                      </a:lnTo>
                      <a:lnTo>
                        <a:pt x="289" y="45"/>
                      </a:lnTo>
                      <a:lnTo>
                        <a:pt x="291" y="45"/>
                      </a:lnTo>
                      <a:lnTo>
                        <a:pt x="291" y="43"/>
                      </a:lnTo>
                      <a:lnTo>
                        <a:pt x="292" y="43"/>
                      </a:lnTo>
                      <a:lnTo>
                        <a:pt x="292" y="45"/>
                      </a:lnTo>
                      <a:lnTo>
                        <a:pt x="292" y="43"/>
                      </a:lnTo>
                      <a:lnTo>
                        <a:pt x="294" y="45"/>
                      </a:lnTo>
                      <a:lnTo>
                        <a:pt x="294" y="43"/>
                      </a:lnTo>
                      <a:lnTo>
                        <a:pt x="294" y="45"/>
                      </a:lnTo>
                      <a:lnTo>
                        <a:pt x="296" y="45"/>
                      </a:lnTo>
                      <a:lnTo>
                        <a:pt x="298" y="45"/>
                      </a:lnTo>
                      <a:lnTo>
                        <a:pt x="299" y="45"/>
                      </a:lnTo>
                      <a:lnTo>
                        <a:pt x="299" y="43"/>
                      </a:lnTo>
                      <a:lnTo>
                        <a:pt x="299" y="45"/>
                      </a:lnTo>
                      <a:lnTo>
                        <a:pt x="299" y="43"/>
                      </a:lnTo>
                      <a:lnTo>
                        <a:pt x="299" y="45"/>
                      </a:lnTo>
                      <a:lnTo>
                        <a:pt x="299" y="43"/>
                      </a:lnTo>
                      <a:lnTo>
                        <a:pt x="301" y="43"/>
                      </a:lnTo>
                      <a:lnTo>
                        <a:pt x="301" y="45"/>
                      </a:lnTo>
                      <a:lnTo>
                        <a:pt x="301" y="43"/>
                      </a:lnTo>
                      <a:lnTo>
                        <a:pt x="301" y="45"/>
                      </a:lnTo>
                      <a:lnTo>
                        <a:pt x="303" y="45"/>
                      </a:lnTo>
                      <a:lnTo>
                        <a:pt x="301" y="45"/>
                      </a:lnTo>
                      <a:lnTo>
                        <a:pt x="303" y="45"/>
                      </a:lnTo>
                      <a:lnTo>
                        <a:pt x="303" y="43"/>
                      </a:lnTo>
                      <a:lnTo>
                        <a:pt x="304" y="43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8" y="41"/>
                      </a:lnTo>
                      <a:lnTo>
                        <a:pt x="309" y="41"/>
                      </a:lnTo>
                      <a:lnTo>
                        <a:pt x="311" y="41"/>
                      </a:lnTo>
                      <a:lnTo>
                        <a:pt x="311" y="43"/>
                      </a:lnTo>
                      <a:lnTo>
                        <a:pt x="313" y="43"/>
                      </a:lnTo>
                      <a:lnTo>
                        <a:pt x="314" y="43"/>
                      </a:lnTo>
                      <a:lnTo>
                        <a:pt x="314" y="41"/>
                      </a:lnTo>
                      <a:lnTo>
                        <a:pt x="316" y="41"/>
                      </a:lnTo>
                      <a:lnTo>
                        <a:pt x="318" y="41"/>
                      </a:lnTo>
                      <a:lnTo>
                        <a:pt x="320" y="40"/>
                      </a:lnTo>
                      <a:lnTo>
                        <a:pt x="321" y="40"/>
                      </a:lnTo>
                      <a:lnTo>
                        <a:pt x="321" y="38"/>
                      </a:lnTo>
                      <a:lnTo>
                        <a:pt x="323" y="38"/>
                      </a:lnTo>
                      <a:lnTo>
                        <a:pt x="325" y="38"/>
                      </a:lnTo>
                      <a:lnTo>
                        <a:pt x="325" y="36"/>
                      </a:lnTo>
                      <a:lnTo>
                        <a:pt x="323" y="36"/>
                      </a:lnTo>
                      <a:lnTo>
                        <a:pt x="325" y="36"/>
                      </a:lnTo>
                      <a:lnTo>
                        <a:pt x="325" y="35"/>
                      </a:lnTo>
                      <a:lnTo>
                        <a:pt x="325" y="33"/>
                      </a:lnTo>
                      <a:lnTo>
                        <a:pt x="326" y="33"/>
                      </a:lnTo>
                      <a:lnTo>
                        <a:pt x="328" y="33"/>
                      </a:lnTo>
                      <a:lnTo>
                        <a:pt x="330" y="33"/>
                      </a:lnTo>
                      <a:lnTo>
                        <a:pt x="330" y="31"/>
                      </a:lnTo>
                      <a:lnTo>
                        <a:pt x="331" y="31"/>
                      </a:lnTo>
                      <a:lnTo>
                        <a:pt x="333" y="31"/>
                      </a:lnTo>
                      <a:lnTo>
                        <a:pt x="333" y="30"/>
                      </a:lnTo>
                      <a:lnTo>
                        <a:pt x="335" y="30"/>
                      </a:lnTo>
                      <a:lnTo>
                        <a:pt x="335" y="31"/>
                      </a:lnTo>
                      <a:lnTo>
                        <a:pt x="336" y="31"/>
                      </a:lnTo>
                      <a:lnTo>
                        <a:pt x="336" y="30"/>
                      </a:lnTo>
                      <a:lnTo>
                        <a:pt x="338" y="31"/>
                      </a:lnTo>
                      <a:lnTo>
                        <a:pt x="338" y="30"/>
                      </a:lnTo>
                      <a:lnTo>
                        <a:pt x="340" y="30"/>
                      </a:lnTo>
                      <a:lnTo>
                        <a:pt x="340" y="28"/>
                      </a:lnTo>
                      <a:lnTo>
                        <a:pt x="341" y="28"/>
                      </a:lnTo>
                      <a:lnTo>
                        <a:pt x="341" y="30"/>
                      </a:lnTo>
                      <a:lnTo>
                        <a:pt x="343" y="30"/>
                      </a:lnTo>
                      <a:lnTo>
                        <a:pt x="345" y="30"/>
                      </a:lnTo>
                      <a:lnTo>
                        <a:pt x="347" y="30"/>
                      </a:lnTo>
                      <a:lnTo>
                        <a:pt x="348" y="30"/>
                      </a:lnTo>
                      <a:lnTo>
                        <a:pt x="350" y="30"/>
                      </a:lnTo>
                      <a:lnTo>
                        <a:pt x="350" y="31"/>
                      </a:lnTo>
                      <a:lnTo>
                        <a:pt x="352" y="31"/>
                      </a:lnTo>
                      <a:lnTo>
                        <a:pt x="350" y="31"/>
                      </a:lnTo>
                      <a:lnTo>
                        <a:pt x="350" y="33"/>
                      </a:lnTo>
                      <a:lnTo>
                        <a:pt x="352" y="33"/>
                      </a:lnTo>
                      <a:lnTo>
                        <a:pt x="350" y="33"/>
                      </a:lnTo>
                      <a:lnTo>
                        <a:pt x="352" y="33"/>
                      </a:lnTo>
                      <a:lnTo>
                        <a:pt x="352" y="35"/>
                      </a:lnTo>
                      <a:lnTo>
                        <a:pt x="353" y="35"/>
                      </a:lnTo>
                      <a:lnTo>
                        <a:pt x="355" y="35"/>
                      </a:lnTo>
                      <a:lnTo>
                        <a:pt x="357" y="35"/>
                      </a:lnTo>
                      <a:lnTo>
                        <a:pt x="357" y="36"/>
                      </a:lnTo>
                      <a:lnTo>
                        <a:pt x="357" y="38"/>
                      </a:lnTo>
                      <a:lnTo>
                        <a:pt x="358" y="38"/>
                      </a:lnTo>
                      <a:lnTo>
                        <a:pt x="360" y="38"/>
                      </a:lnTo>
                      <a:lnTo>
                        <a:pt x="360" y="40"/>
                      </a:lnTo>
                      <a:lnTo>
                        <a:pt x="360" y="38"/>
                      </a:lnTo>
                      <a:lnTo>
                        <a:pt x="360" y="40"/>
                      </a:lnTo>
                      <a:lnTo>
                        <a:pt x="360" y="41"/>
                      </a:lnTo>
                      <a:lnTo>
                        <a:pt x="360" y="43"/>
                      </a:lnTo>
                      <a:lnTo>
                        <a:pt x="358" y="43"/>
                      </a:lnTo>
                      <a:lnTo>
                        <a:pt x="360" y="45"/>
                      </a:lnTo>
                      <a:lnTo>
                        <a:pt x="362" y="45"/>
                      </a:lnTo>
                      <a:lnTo>
                        <a:pt x="362" y="46"/>
                      </a:lnTo>
                      <a:lnTo>
                        <a:pt x="362" y="45"/>
                      </a:lnTo>
                      <a:lnTo>
                        <a:pt x="362" y="46"/>
                      </a:lnTo>
                      <a:lnTo>
                        <a:pt x="363" y="46"/>
                      </a:lnTo>
                      <a:lnTo>
                        <a:pt x="365" y="46"/>
                      </a:lnTo>
                      <a:lnTo>
                        <a:pt x="367" y="46"/>
                      </a:lnTo>
                      <a:lnTo>
                        <a:pt x="368" y="46"/>
                      </a:lnTo>
                      <a:lnTo>
                        <a:pt x="370" y="46"/>
                      </a:lnTo>
                      <a:lnTo>
                        <a:pt x="370" y="45"/>
                      </a:lnTo>
                      <a:lnTo>
                        <a:pt x="372" y="45"/>
                      </a:lnTo>
                      <a:lnTo>
                        <a:pt x="372" y="43"/>
                      </a:lnTo>
                      <a:lnTo>
                        <a:pt x="374" y="43"/>
                      </a:lnTo>
                      <a:lnTo>
                        <a:pt x="375" y="43"/>
                      </a:lnTo>
                      <a:lnTo>
                        <a:pt x="377" y="43"/>
                      </a:lnTo>
                      <a:lnTo>
                        <a:pt x="377" y="41"/>
                      </a:lnTo>
                      <a:lnTo>
                        <a:pt x="379" y="41"/>
                      </a:lnTo>
                      <a:lnTo>
                        <a:pt x="380" y="41"/>
                      </a:lnTo>
                      <a:lnTo>
                        <a:pt x="382" y="41"/>
                      </a:lnTo>
                      <a:lnTo>
                        <a:pt x="382" y="43"/>
                      </a:lnTo>
                      <a:lnTo>
                        <a:pt x="382" y="41"/>
                      </a:lnTo>
                      <a:lnTo>
                        <a:pt x="384" y="43"/>
                      </a:lnTo>
                      <a:lnTo>
                        <a:pt x="384" y="41"/>
                      </a:lnTo>
                      <a:lnTo>
                        <a:pt x="385" y="43"/>
                      </a:lnTo>
                      <a:lnTo>
                        <a:pt x="385" y="41"/>
                      </a:lnTo>
                      <a:lnTo>
                        <a:pt x="385" y="43"/>
                      </a:lnTo>
                      <a:lnTo>
                        <a:pt x="385" y="41"/>
                      </a:lnTo>
                      <a:lnTo>
                        <a:pt x="387" y="41"/>
                      </a:lnTo>
                      <a:lnTo>
                        <a:pt x="387" y="43"/>
                      </a:lnTo>
                      <a:lnTo>
                        <a:pt x="389" y="43"/>
                      </a:lnTo>
                      <a:lnTo>
                        <a:pt x="389" y="41"/>
                      </a:lnTo>
                      <a:lnTo>
                        <a:pt x="389" y="40"/>
                      </a:lnTo>
                      <a:lnTo>
                        <a:pt x="390" y="40"/>
                      </a:lnTo>
                      <a:lnTo>
                        <a:pt x="390" y="38"/>
                      </a:lnTo>
                      <a:lnTo>
                        <a:pt x="390" y="36"/>
                      </a:lnTo>
                      <a:lnTo>
                        <a:pt x="390" y="35"/>
                      </a:lnTo>
                      <a:lnTo>
                        <a:pt x="392" y="35"/>
                      </a:lnTo>
                      <a:lnTo>
                        <a:pt x="390" y="35"/>
                      </a:lnTo>
                      <a:lnTo>
                        <a:pt x="390" y="33"/>
                      </a:lnTo>
                      <a:lnTo>
                        <a:pt x="390" y="31"/>
                      </a:lnTo>
                      <a:lnTo>
                        <a:pt x="392" y="31"/>
                      </a:lnTo>
                      <a:lnTo>
                        <a:pt x="392" y="30"/>
                      </a:lnTo>
                      <a:lnTo>
                        <a:pt x="394" y="30"/>
                      </a:lnTo>
                      <a:lnTo>
                        <a:pt x="396" y="30"/>
                      </a:lnTo>
                      <a:lnTo>
                        <a:pt x="396" y="28"/>
                      </a:lnTo>
                      <a:lnTo>
                        <a:pt x="397" y="28"/>
                      </a:lnTo>
                      <a:lnTo>
                        <a:pt x="397" y="30"/>
                      </a:lnTo>
                      <a:lnTo>
                        <a:pt x="397" y="28"/>
                      </a:lnTo>
                      <a:lnTo>
                        <a:pt x="399" y="28"/>
                      </a:lnTo>
                      <a:lnTo>
                        <a:pt x="401" y="28"/>
                      </a:lnTo>
                      <a:lnTo>
                        <a:pt x="401" y="27"/>
                      </a:lnTo>
                      <a:lnTo>
                        <a:pt x="402" y="27"/>
                      </a:lnTo>
                      <a:lnTo>
                        <a:pt x="402" y="25"/>
                      </a:lnTo>
                      <a:lnTo>
                        <a:pt x="404" y="25"/>
                      </a:lnTo>
                      <a:lnTo>
                        <a:pt x="404" y="23"/>
                      </a:lnTo>
                      <a:lnTo>
                        <a:pt x="406" y="23"/>
                      </a:lnTo>
                      <a:lnTo>
                        <a:pt x="406" y="22"/>
                      </a:lnTo>
                      <a:lnTo>
                        <a:pt x="407" y="22"/>
                      </a:lnTo>
                      <a:lnTo>
                        <a:pt x="407" y="20"/>
                      </a:lnTo>
                      <a:lnTo>
                        <a:pt x="409" y="20"/>
                      </a:lnTo>
                      <a:lnTo>
                        <a:pt x="409" y="18"/>
                      </a:lnTo>
                      <a:lnTo>
                        <a:pt x="411" y="18"/>
                      </a:lnTo>
                      <a:lnTo>
                        <a:pt x="412" y="18"/>
                      </a:lnTo>
                      <a:lnTo>
                        <a:pt x="412" y="17"/>
                      </a:lnTo>
                      <a:lnTo>
                        <a:pt x="411" y="17"/>
                      </a:lnTo>
                      <a:lnTo>
                        <a:pt x="412" y="17"/>
                      </a:lnTo>
                      <a:lnTo>
                        <a:pt x="412" y="15"/>
                      </a:lnTo>
                      <a:lnTo>
                        <a:pt x="412" y="13"/>
                      </a:lnTo>
                      <a:lnTo>
                        <a:pt x="414" y="12"/>
                      </a:lnTo>
                      <a:lnTo>
                        <a:pt x="416" y="12"/>
                      </a:lnTo>
                      <a:lnTo>
                        <a:pt x="417" y="12"/>
                      </a:lnTo>
                      <a:lnTo>
                        <a:pt x="417" y="10"/>
                      </a:lnTo>
                      <a:lnTo>
                        <a:pt x="417" y="8"/>
                      </a:lnTo>
                      <a:lnTo>
                        <a:pt x="419" y="8"/>
                      </a:lnTo>
                      <a:lnTo>
                        <a:pt x="417" y="8"/>
                      </a:lnTo>
                      <a:lnTo>
                        <a:pt x="419" y="8"/>
                      </a:lnTo>
                      <a:lnTo>
                        <a:pt x="421" y="7"/>
                      </a:lnTo>
                      <a:lnTo>
                        <a:pt x="423" y="7"/>
                      </a:lnTo>
                      <a:lnTo>
                        <a:pt x="424" y="7"/>
                      </a:lnTo>
                      <a:lnTo>
                        <a:pt x="426" y="8"/>
                      </a:lnTo>
                      <a:lnTo>
                        <a:pt x="424" y="31"/>
                      </a:lnTo>
                      <a:lnTo>
                        <a:pt x="424" y="46"/>
                      </a:lnTo>
                      <a:lnTo>
                        <a:pt x="423" y="48"/>
                      </a:lnTo>
                      <a:lnTo>
                        <a:pt x="423" y="46"/>
                      </a:lnTo>
                      <a:lnTo>
                        <a:pt x="421" y="46"/>
                      </a:lnTo>
                      <a:lnTo>
                        <a:pt x="421" y="48"/>
                      </a:lnTo>
                      <a:lnTo>
                        <a:pt x="419" y="48"/>
                      </a:lnTo>
                      <a:lnTo>
                        <a:pt x="417" y="48"/>
                      </a:lnTo>
                      <a:lnTo>
                        <a:pt x="416" y="48"/>
                      </a:lnTo>
                      <a:lnTo>
                        <a:pt x="414" y="48"/>
                      </a:lnTo>
                      <a:lnTo>
                        <a:pt x="412" y="48"/>
                      </a:lnTo>
                      <a:lnTo>
                        <a:pt x="412" y="50"/>
                      </a:lnTo>
                      <a:lnTo>
                        <a:pt x="411" y="50"/>
                      </a:lnTo>
                      <a:lnTo>
                        <a:pt x="409" y="50"/>
                      </a:lnTo>
                      <a:lnTo>
                        <a:pt x="409" y="51"/>
                      </a:lnTo>
                      <a:lnTo>
                        <a:pt x="409" y="53"/>
                      </a:lnTo>
                      <a:lnTo>
                        <a:pt x="407" y="53"/>
                      </a:lnTo>
                      <a:lnTo>
                        <a:pt x="407" y="54"/>
                      </a:lnTo>
                      <a:lnTo>
                        <a:pt x="406" y="54"/>
                      </a:lnTo>
                      <a:lnTo>
                        <a:pt x="406" y="56"/>
                      </a:lnTo>
                      <a:lnTo>
                        <a:pt x="406" y="58"/>
                      </a:lnTo>
                      <a:lnTo>
                        <a:pt x="404" y="58"/>
                      </a:lnTo>
                      <a:lnTo>
                        <a:pt x="406" y="59"/>
                      </a:lnTo>
                      <a:lnTo>
                        <a:pt x="404" y="59"/>
                      </a:lnTo>
                      <a:lnTo>
                        <a:pt x="404" y="61"/>
                      </a:lnTo>
                      <a:lnTo>
                        <a:pt x="402" y="61"/>
                      </a:lnTo>
                      <a:lnTo>
                        <a:pt x="402" y="63"/>
                      </a:lnTo>
                      <a:lnTo>
                        <a:pt x="401" y="63"/>
                      </a:lnTo>
                      <a:lnTo>
                        <a:pt x="402" y="64"/>
                      </a:lnTo>
                      <a:lnTo>
                        <a:pt x="401" y="64"/>
                      </a:lnTo>
                      <a:lnTo>
                        <a:pt x="401" y="66"/>
                      </a:lnTo>
                      <a:lnTo>
                        <a:pt x="401" y="68"/>
                      </a:lnTo>
                      <a:lnTo>
                        <a:pt x="401" y="69"/>
                      </a:lnTo>
                      <a:lnTo>
                        <a:pt x="401" y="71"/>
                      </a:lnTo>
                      <a:lnTo>
                        <a:pt x="401" y="69"/>
                      </a:lnTo>
                      <a:lnTo>
                        <a:pt x="402" y="71"/>
                      </a:lnTo>
                      <a:lnTo>
                        <a:pt x="402" y="69"/>
                      </a:lnTo>
                      <a:lnTo>
                        <a:pt x="402" y="71"/>
                      </a:lnTo>
                      <a:lnTo>
                        <a:pt x="404" y="71"/>
                      </a:lnTo>
                      <a:lnTo>
                        <a:pt x="404" y="69"/>
                      </a:lnTo>
                      <a:lnTo>
                        <a:pt x="404" y="71"/>
                      </a:lnTo>
                      <a:lnTo>
                        <a:pt x="404" y="69"/>
                      </a:lnTo>
                      <a:lnTo>
                        <a:pt x="406" y="69"/>
                      </a:lnTo>
                      <a:lnTo>
                        <a:pt x="407" y="69"/>
                      </a:lnTo>
                      <a:lnTo>
                        <a:pt x="407" y="71"/>
                      </a:lnTo>
                      <a:lnTo>
                        <a:pt x="407" y="69"/>
                      </a:lnTo>
                      <a:lnTo>
                        <a:pt x="409" y="71"/>
                      </a:lnTo>
                      <a:lnTo>
                        <a:pt x="407" y="71"/>
                      </a:lnTo>
                      <a:lnTo>
                        <a:pt x="409" y="71"/>
                      </a:lnTo>
                      <a:lnTo>
                        <a:pt x="411" y="71"/>
                      </a:lnTo>
                      <a:lnTo>
                        <a:pt x="411" y="73"/>
                      </a:lnTo>
                      <a:lnTo>
                        <a:pt x="411" y="71"/>
                      </a:lnTo>
                      <a:lnTo>
                        <a:pt x="411" y="73"/>
                      </a:lnTo>
                      <a:lnTo>
                        <a:pt x="412" y="73"/>
                      </a:lnTo>
                      <a:lnTo>
                        <a:pt x="412" y="74"/>
                      </a:lnTo>
                      <a:lnTo>
                        <a:pt x="414" y="74"/>
                      </a:lnTo>
                      <a:lnTo>
                        <a:pt x="414" y="76"/>
                      </a:lnTo>
                      <a:lnTo>
                        <a:pt x="414" y="74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6" y="77"/>
                      </a:lnTo>
                      <a:lnTo>
                        <a:pt x="417" y="77"/>
                      </a:lnTo>
                      <a:lnTo>
                        <a:pt x="419" y="77"/>
                      </a:lnTo>
                      <a:lnTo>
                        <a:pt x="421" y="77"/>
                      </a:lnTo>
                      <a:lnTo>
                        <a:pt x="423" y="77"/>
                      </a:lnTo>
                      <a:lnTo>
                        <a:pt x="424" y="79"/>
                      </a:lnTo>
                      <a:lnTo>
                        <a:pt x="424" y="77"/>
                      </a:lnTo>
                      <a:lnTo>
                        <a:pt x="424" y="79"/>
                      </a:lnTo>
                      <a:lnTo>
                        <a:pt x="426" y="79"/>
                      </a:lnTo>
                      <a:lnTo>
                        <a:pt x="424" y="79"/>
                      </a:lnTo>
                      <a:lnTo>
                        <a:pt x="426" y="77"/>
                      </a:lnTo>
                      <a:lnTo>
                        <a:pt x="428" y="77"/>
                      </a:lnTo>
                      <a:lnTo>
                        <a:pt x="426" y="77"/>
                      </a:lnTo>
                      <a:lnTo>
                        <a:pt x="428" y="76"/>
                      </a:lnTo>
                      <a:lnTo>
                        <a:pt x="429" y="76"/>
                      </a:lnTo>
                      <a:lnTo>
                        <a:pt x="431" y="76"/>
                      </a:lnTo>
                      <a:lnTo>
                        <a:pt x="433" y="76"/>
                      </a:lnTo>
                      <a:lnTo>
                        <a:pt x="433" y="77"/>
                      </a:lnTo>
                      <a:lnTo>
                        <a:pt x="434" y="77"/>
                      </a:lnTo>
                      <a:lnTo>
                        <a:pt x="434" y="79"/>
                      </a:lnTo>
                      <a:lnTo>
                        <a:pt x="436" y="79"/>
                      </a:lnTo>
                      <a:lnTo>
                        <a:pt x="438" y="77"/>
                      </a:lnTo>
                      <a:lnTo>
                        <a:pt x="438" y="79"/>
                      </a:lnTo>
                      <a:lnTo>
                        <a:pt x="439" y="79"/>
                      </a:lnTo>
                      <a:lnTo>
                        <a:pt x="441" y="79"/>
                      </a:lnTo>
                      <a:lnTo>
                        <a:pt x="443" y="81"/>
                      </a:lnTo>
                      <a:lnTo>
                        <a:pt x="444" y="81"/>
                      </a:lnTo>
                      <a:lnTo>
                        <a:pt x="446" y="81"/>
                      </a:lnTo>
                      <a:lnTo>
                        <a:pt x="446" y="79"/>
                      </a:lnTo>
                      <a:lnTo>
                        <a:pt x="446" y="81"/>
                      </a:lnTo>
                      <a:lnTo>
                        <a:pt x="448" y="79"/>
                      </a:lnTo>
                      <a:lnTo>
                        <a:pt x="448" y="77"/>
                      </a:lnTo>
                      <a:lnTo>
                        <a:pt x="450" y="77"/>
                      </a:lnTo>
                      <a:lnTo>
                        <a:pt x="450" y="76"/>
                      </a:lnTo>
                      <a:lnTo>
                        <a:pt x="450" y="77"/>
                      </a:lnTo>
                      <a:lnTo>
                        <a:pt x="451" y="76"/>
                      </a:lnTo>
                      <a:lnTo>
                        <a:pt x="451" y="77"/>
                      </a:lnTo>
                      <a:lnTo>
                        <a:pt x="451" y="76"/>
                      </a:lnTo>
                      <a:lnTo>
                        <a:pt x="451" y="77"/>
                      </a:lnTo>
                      <a:lnTo>
                        <a:pt x="453" y="77"/>
                      </a:lnTo>
                      <a:lnTo>
                        <a:pt x="455" y="79"/>
                      </a:lnTo>
                      <a:lnTo>
                        <a:pt x="456" y="79"/>
                      </a:lnTo>
                      <a:lnTo>
                        <a:pt x="456" y="77"/>
                      </a:lnTo>
                      <a:lnTo>
                        <a:pt x="456" y="79"/>
                      </a:lnTo>
                      <a:lnTo>
                        <a:pt x="458" y="77"/>
                      </a:lnTo>
                      <a:lnTo>
                        <a:pt x="458" y="79"/>
                      </a:lnTo>
                      <a:lnTo>
                        <a:pt x="458" y="77"/>
                      </a:lnTo>
                      <a:lnTo>
                        <a:pt x="460" y="79"/>
                      </a:lnTo>
                      <a:lnTo>
                        <a:pt x="460" y="77"/>
                      </a:lnTo>
                      <a:lnTo>
                        <a:pt x="461" y="77"/>
                      </a:lnTo>
                      <a:lnTo>
                        <a:pt x="463" y="77"/>
                      </a:lnTo>
                      <a:lnTo>
                        <a:pt x="468" y="77"/>
                      </a:lnTo>
                      <a:lnTo>
                        <a:pt x="468" y="79"/>
                      </a:lnTo>
                      <a:lnTo>
                        <a:pt x="470" y="79"/>
                      </a:lnTo>
                      <a:lnTo>
                        <a:pt x="472" y="79"/>
                      </a:lnTo>
                      <a:lnTo>
                        <a:pt x="472" y="81"/>
                      </a:lnTo>
                      <a:lnTo>
                        <a:pt x="473" y="81"/>
                      </a:lnTo>
                      <a:lnTo>
                        <a:pt x="475" y="81"/>
                      </a:lnTo>
                      <a:lnTo>
                        <a:pt x="483" y="81"/>
                      </a:lnTo>
                      <a:lnTo>
                        <a:pt x="483" y="82"/>
                      </a:lnTo>
                      <a:lnTo>
                        <a:pt x="482" y="82"/>
                      </a:lnTo>
                      <a:lnTo>
                        <a:pt x="480" y="82"/>
                      </a:lnTo>
                      <a:lnTo>
                        <a:pt x="478" y="82"/>
                      </a:lnTo>
                      <a:lnTo>
                        <a:pt x="478" y="84"/>
                      </a:lnTo>
                      <a:lnTo>
                        <a:pt x="477" y="84"/>
                      </a:lnTo>
                      <a:lnTo>
                        <a:pt x="477" y="86"/>
                      </a:lnTo>
                      <a:lnTo>
                        <a:pt x="478" y="89"/>
                      </a:lnTo>
                      <a:lnTo>
                        <a:pt x="478" y="91"/>
                      </a:lnTo>
                      <a:lnTo>
                        <a:pt x="478" y="92"/>
                      </a:lnTo>
                      <a:lnTo>
                        <a:pt x="480" y="97"/>
                      </a:lnTo>
                      <a:lnTo>
                        <a:pt x="480" y="99"/>
                      </a:lnTo>
                      <a:lnTo>
                        <a:pt x="480" y="100"/>
                      </a:lnTo>
                      <a:lnTo>
                        <a:pt x="480" y="102"/>
                      </a:lnTo>
                      <a:lnTo>
                        <a:pt x="482" y="102"/>
                      </a:lnTo>
                      <a:lnTo>
                        <a:pt x="482" y="104"/>
                      </a:lnTo>
                      <a:lnTo>
                        <a:pt x="482" y="105"/>
                      </a:lnTo>
                      <a:lnTo>
                        <a:pt x="482" y="107"/>
                      </a:lnTo>
                      <a:lnTo>
                        <a:pt x="483" y="107"/>
                      </a:lnTo>
                      <a:lnTo>
                        <a:pt x="483" y="109"/>
                      </a:lnTo>
                      <a:lnTo>
                        <a:pt x="485" y="109"/>
                      </a:lnTo>
                      <a:lnTo>
                        <a:pt x="487" y="109"/>
                      </a:lnTo>
                      <a:lnTo>
                        <a:pt x="487" y="110"/>
                      </a:lnTo>
                      <a:lnTo>
                        <a:pt x="488" y="110"/>
                      </a:lnTo>
                      <a:lnTo>
                        <a:pt x="488" y="109"/>
                      </a:lnTo>
                      <a:lnTo>
                        <a:pt x="490" y="107"/>
                      </a:lnTo>
                      <a:lnTo>
                        <a:pt x="492" y="105"/>
                      </a:lnTo>
                      <a:lnTo>
                        <a:pt x="493" y="105"/>
                      </a:lnTo>
                      <a:lnTo>
                        <a:pt x="495" y="105"/>
                      </a:lnTo>
                      <a:lnTo>
                        <a:pt x="497" y="105"/>
                      </a:lnTo>
                      <a:lnTo>
                        <a:pt x="499" y="105"/>
                      </a:lnTo>
                      <a:lnTo>
                        <a:pt x="504" y="107"/>
                      </a:lnTo>
                      <a:lnTo>
                        <a:pt x="505" y="107"/>
                      </a:lnTo>
                      <a:lnTo>
                        <a:pt x="507" y="107"/>
                      </a:lnTo>
                      <a:lnTo>
                        <a:pt x="509" y="107"/>
                      </a:lnTo>
                      <a:lnTo>
                        <a:pt x="510" y="107"/>
                      </a:lnTo>
                      <a:lnTo>
                        <a:pt x="512" y="109"/>
                      </a:lnTo>
                      <a:lnTo>
                        <a:pt x="514" y="110"/>
                      </a:lnTo>
                      <a:lnTo>
                        <a:pt x="514" y="112"/>
                      </a:lnTo>
                      <a:lnTo>
                        <a:pt x="512" y="112"/>
                      </a:lnTo>
                      <a:lnTo>
                        <a:pt x="512" y="114"/>
                      </a:lnTo>
                      <a:lnTo>
                        <a:pt x="510" y="114"/>
                      </a:lnTo>
                      <a:lnTo>
                        <a:pt x="510" y="115"/>
                      </a:lnTo>
                      <a:lnTo>
                        <a:pt x="509" y="117"/>
                      </a:lnTo>
                      <a:lnTo>
                        <a:pt x="507" y="117"/>
                      </a:lnTo>
                      <a:lnTo>
                        <a:pt x="505" y="117"/>
                      </a:lnTo>
                      <a:lnTo>
                        <a:pt x="504" y="117"/>
                      </a:lnTo>
                      <a:lnTo>
                        <a:pt x="502" y="117"/>
                      </a:lnTo>
                      <a:lnTo>
                        <a:pt x="502" y="119"/>
                      </a:lnTo>
                      <a:lnTo>
                        <a:pt x="502" y="120"/>
                      </a:lnTo>
                      <a:lnTo>
                        <a:pt x="500" y="122"/>
                      </a:lnTo>
                      <a:lnTo>
                        <a:pt x="499" y="123"/>
                      </a:lnTo>
                      <a:lnTo>
                        <a:pt x="499" y="125"/>
                      </a:lnTo>
                      <a:lnTo>
                        <a:pt x="497" y="125"/>
                      </a:lnTo>
                      <a:lnTo>
                        <a:pt x="495" y="125"/>
                      </a:lnTo>
                      <a:lnTo>
                        <a:pt x="495" y="127"/>
                      </a:lnTo>
                      <a:lnTo>
                        <a:pt x="493" y="127"/>
                      </a:lnTo>
                      <a:lnTo>
                        <a:pt x="493" y="128"/>
                      </a:lnTo>
                      <a:lnTo>
                        <a:pt x="495" y="130"/>
                      </a:lnTo>
                      <a:lnTo>
                        <a:pt x="495" y="132"/>
                      </a:lnTo>
                      <a:lnTo>
                        <a:pt x="497" y="132"/>
                      </a:lnTo>
                      <a:lnTo>
                        <a:pt x="497" y="133"/>
                      </a:lnTo>
                      <a:lnTo>
                        <a:pt x="497" y="135"/>
                      </a:lnTo>
                      <a:lnTo>
                        <a:pt x="499" y="135"/>
                      </a:lnTo>
                      <a:lnTo>
                        <a:pt x="499" y="137"/>
                      </a:lnTo>
                      <a:lnTo>
                        <a:pt x="500" y="137"/>
                      </a:lnTo>
                      <a:lnTo>
                        <a:pt x="502" y="137"/>
                      </a:lnTo>
                      <a:lnTo>
                        <a:pt x="504" y="138"/>
                      </a:lnTo>
                      <a:lnTo>
                        <a:pt x="505" y="138"/>
                      </a:lnTo>
                      <a:lnTo>
                        <a:pt x="505" y="140"/>
                      </a:lnTo>
                      <a:lnTo>
                        <a:pt x="507" y="140"/>
                      </a:lnTo>
                      <a:lnTo>
                        <a:pt x="509" y="140"/>
                      </a:lnTo>
                      <a:lnTo>
                        <a:pt x="510" y="140"/>
                      </a:lnTo>
                      <a:lnTo>
                        <a:pt x="512" y="140"/>
                      </a:lnTo>
                      <a:lnTo>
                        <a:pt x="514" y="140"/>
                      </a:lnTo>
                      <a:lnTo>
                        <a:pt x="514" y="142"/>
                      </a:lnTo>
                      <a:lnTo>
                        <a:pt x="515" y="142"/>
                      </a:lnTo>
                      <a:lnTo>
                        <a:pt x="517" y="142"/>
                      </a:lnTo>
                      <a:lnTo>
                        <a:pt x="519" y="142"/>
                      </a:lnTo>
                      <a:lnTo>
                        <a:pt x="519" y="140"/>
                      </a:lnTo>
                      <a:lnTo>
                        <a:pt x="521" y="140"/>
                      </a:lnTo>
                      <a:lnTo>
                        <a:pt x="522" y="140"/>
                      </a:lnTo>
                      <a:lnTo>
                        <a:pt x="524" y="142"/>
                      </a:lnTo>
                      <a:lnTo>
                        <a:pt x="526" y="142"/>
                      </a:lnTo>
                      <a:lnTo>
                        <a:pt x="527" y="142"/>
                      </a:lnTo>
                      <a:lnTo>
                        <a:pt x="529" y="142"/>
                      </a:lnTo>
                      <a:lnTo>
                        <a:pt x="531" y="140"/>
                      </a:lnTo>
                      <a:lnTo>
                        <a:pt x="532" y="138"/>
                      </a:lnTo>
                      <a:lnTo>
                        <a:pt x="534" y="138"/>
                      </a:lnTo>
                      <a:lnTo>
                        <a:pt x="536" y="138"/>
                      </a:lnTo>
                      <a:lnTo>
                        <a:pt x="536" y="140"/>
                      </a:lnTo>
                      <a:lnTo>
                        <a:pt x="537" y="140"/>
                      </a:lnTo>
                      <a:lnTo>
                        <a:pt x="539" y="140"/>
                      </a:lnTo>
                      <a:lnTo>
                        <a:pt x="541" y="142"/>
                      </a:lnTo>
                      <a:lnTo>
                        <a:pt x="542" y="142"/>
                      </a:lnTo>
                      <a:lnTo>
                        <a:pt x="544" y="142"/>
                      </a:lnTo>
                      <a:lnTo>
                        <a:pt x="544" y="143"/>
                      </a:lnTo>
                      <a:lnTo>
                        <a:pt x="544" y="145"/>
                      </a:lnTo>
                      <a:lnTo>
                        <a:pt x="546" y="145"/>
                      </a:lnTo>
                      <a:lnTo>
                        <a:pt x="546" y="146"/>
                      </a:lnTo>
                      <a:lnTo>
                        <a:pt x="548" y="146"/>
                      </a:lnTo>
                      <a:lnTo>
                        <a:pt x="548" y="148"/>
                      </a:lnTo>
                      <a:lnTo>
                        <a:pt x="549" y="150"/>
                      </a:lnTo>
                      <a:lnTo>
                        <a:pt x="549" y="151"/>
                      </a:lnTo>
                      <a:lnTo>
                        <a:pt x="551" y="151"/>
                      </a:lnTo>
                      <a:lnTo>
                        <a:pt x="553" y="151"/>
                      </a:lnTo>
                      <a:lnTo>
                        <a:pt x="553" y="153"/>
                      </a:lnTo>
                      <a:lnTo>
                        <a:pt x="554" y="153"/>
                      </a:lnTo>
                      <a:lnTo>
                        <a:pt x="554" y="155"/>
                      </a:lnTo>
                      <a:lnTo>
                        <a:pt x="556" y="155"/>
                      </a:lnTo>
                      <a:lnTo>
                        <a:pt x="558" y="155"/>
                      </a:lnTo>
                      <a:lnTo>
                        <a:pt x="559" y="155"/>
                      </a:lnTo>
                      <a:lnTo>
                        <a:pt x="561" y="155"/>
                      </a:lnTo>
                      <a:lnTo>
                        <a:pt x="563" y="155"/>
                      </a:lnTo>
                      <a:lnTo>
                        <a:pt x="564" y="155"/>
                      </a:lnTo>
                      <a:lnTo>
                        <a:pt x="566" y="156"/>
                      </a:lnTo>
                      <a:lnTo>
                        <a:pt x="568" y="156"/>
                      </a:lnTo>
                      <a:lnTo>
                        <a:pt x="569" y="156"/>
                      </a:lnTo>
                      <a:lnTo>
                        <a:pt x="569" y="158"/>
                      </a:lnTo>
                      <a:lnTo>
                        <a:pt x="571" y="158"/>
                      </a:lnTo>
                      <a:lnTo>
                        <a:pt x="569" y="158"/>
                      </a:lnTo>
                      <a:lnTo>
                        <a:pt x="571" y="158"/>
                      </a:lnTo>
                      <a:lnTo>
                        <a:pt x="571" y="160"/>
                      </a:lnTo>
                      <a:lnTo>
                        <a:pt x="573" y="160"/>
                      </a:lnTo>
                      <a:lnTo>
                        <a:pt x="573" y="161"/>
                      </a:lnTo>
                      <a:lnTo>
                        <a:pt x="573" y="160"/>
                      </a:lnTo>
                      <a:lnTo>
                        <a:pt x="573" y="161"/>
                      </a:lnTo>
                      <a:lnTo>
                        <a:pt x="573" y="160"/>
                      </a:lnTo>
                      <a:lnTo>
                        <a:pt x="575" y="160"/>
                      </a:lnTo>
                      <a:lnTo>
                        <a:pt x="575" y="161"/>
                      </a:lnTo>
                      <a:lnTo>
                        <a:pt x="576" y="161"/>
                      </a:lnTo>
                      <a:lnTo>
                        <a:pt x="576" y="163"/>
                      </a:lnTo>
                      <a:lnTo>
                        <a:pt x="575" y="163"/>
                      </a:lnTo>
                      <a:lnTo>
                        <a:pt x="576" y="163"/>
                      </a:lnTo>
                      <a:lnTo>
                        <a:pt x="576" y="165"/>
                      </a:lnTo>
                      <a:lnTo>
                        <a:pt x="578" y="165"/>
                      </a:lnTo>
                      <a:lnTo>
                        <a:pt x="576" y="165"/>
                      </a:lnTo>
                      <a:lnTo>
                        <a:pt x="578" y="165"/>
                      </a:lnTo>
                      <a:lnTo>
                        <a:pt x="578" y="166"/>
                      </a:lnTo>
                      <a:lnTo>
                        <a:pt x="578" y="165"/>
                      </a:lnTo>
                      <a:lnTo>
                        <a:pt x="578" y="166"/>
                      </a:lnTo>
                      <a:lnTo>
                        <a:pt x="580" y="166"/>
                      </a:lnTo>
                      <a:lnTo>
                        <a:pt x="580" y="165"/>
                      </a:lnTo>
                      <a:lnTo>
                        <a:pt x="581" y="166"/>
                      </a:lnTo>
                      <a:lnTo>
                        <a:pt x="581" y="165"/>
                      </a:lnTo>
                      <a:lnTo>
                        <a:pt x="581" y="166"/>
                      </a:lnTo>
                      <a:lnTo>
                        <a:pt x="583" y="166"/>
                      </a:lnTo>
                      <a:lnTo>
                        <a:pt x="585" y="168"/>
                      </a:lnTo>
                      <a:lnTo>
                        <a:pt x="583" y="168"/>
                      </a:lnTo>
                      <a:lnTo>
                        <a:pt x="585" y="168"/>
                      </a:lnTo>
                      <a:lnTo>
                        <a:pt x="586" y="166"/>
                      </a:lnTo>
                      <a:lnTo>
                        <a:pt x="586" y="168"/>
                      </a:lnTo>
                      <a:lnTo>
                        <a:pt x="588" y="168"/>
                      </a:lnTo>
                      <a:lnTo>
                        <a:pt x="588" y="166"/>
                      </a:lnTo>
                      <a:lnTo>
                        <a:pt x="588" y="168"/>
                      </a:lnTo>
                      <a:lnTo>
                        <a:pt x="588" y="166"/>
                      </a:lnTo>
                      <a:lnTo>
                        <a:pt x="590" y="166"/>
                      </a:lnTo>
                      <a:lnTo>
                        <a:pt x="590" y="168"/>
                      </a:lnTo>
                      <a:lnTo>
                        <a:pt x="591" y="168"/>
                      </a:lnTo>
                      <a:lnTo>
                        <a:pt x="591" y="166"/>
                      </a:lnTo>
                      <a:lnTo>
                        <a:pt x="591" y="168"/>
                      </a:lnTo>
                      <a:lnTo>
                        <a:pt x="593" y="168"/>
                      </a:lnTo>
                      <a:lnTo>
                        <a:pt x="593" y="169"/>
                      </a:lnTo>
                      <a:lnTo>
                        <a:pt x="595" y="169"/>
                      </a:lnTo>
                      <a:lnTo>
                        <a:pt x="597" y="171"/>
                      </a:lnTo>
                      <a:lnTo>
                        <a:pt x="597" y="173"/>
                      </a:lnTo>
                      <a:lnTo>
                        <a:pt x="598" y="173"/>
                      </a:lnTo>
                      <a:lnTo>
                        <a:pt x="598" y="174"/>
                      </a:lnTo>
                      <a:lnTo>
                        <a:pt x="600" y="174"/>
                      </a:lnTo>
                      <a:lnTo>
                        <a:pt x="602" y="174"/>
                      </a:lnTo>
                      <a:lnTo>
                        <a:pt x="600" y="174"/>
                      </a:lnTo>
                      <a:lnTo>
                        <a:pt x="602" y="174"/>
                      </a:lnTo>
                      <a:lnTo>
                        <a:pt x="603" y="174"/>
                      </a:lnTo>
                      <a:lnTo>
                        <a:pt x="603" y="176"/>
                      </a:lnTo>
                      <a:lnTo>
                        <a:pt x="605" y="176"/>
                      </a:lnTo>
                      <a:lnTo>
                        <a:pt x="605" y="178"/>
                      </a:lnTo>
                      <a:lnTo>
                        <a:pt x="607" y="178"/>
                      </a:lnTo>
                      <a:lnTo>
                        <a:pt x="608" y="178"/>
                      </a:lnTo>
                      <a:lnTo>
                        <a:pt x="610" y="178"/>
                      </a:lnTo>
                      <a:lnTo>
                        <a:pt x="610" y="179"/>
                      </a:lnTo>
                      <a:lnTo>
                        <a:pt x="612" y="179"/>
                      </a:lnTo>
                      <a:lnTo>
                        <a:pt x="613" y="179"/>
                      </a:lnTo>
                      <a:lnTo>
                        <a:pt x="613" y="181"/>
                      </a:lnTo>
                      <a:lnTo>
                        <a:pt x="615" y="181"/>
                      </a:lnTo>
                      <a:lnTo>
                        <a:pt x="617" y="181"/>
                      </a:lnTo>
                      <a:lnTo>
                        <a:pt x="617" y="183"/>
                      </a:lnTo>
                      <a:lnTo>
                        <a:pt x="618" y="183"/>
                      </a:lnTo>
                      <a:lnTo>
                        <a:pt x="620" y="183"/>
                      </a:lnTo>
                      <a:lnTo>
                        <a:pt x="620" y="181"/>
                      </a:lnTo>
                      <a:lnTo>
                        <a:pt x="622" y="183"/>
                      </a:lnTo>
                      <a:lnTo>
                        <a:pt x="624" y="183"/>
                      </a:lnTo>
                      <a:lnTo>
                        <a:pt x="624" y="181"/>
                      </a:lnTo>
                      <a:lnTo>
                        <a:pt x="625" y="181"/>
                      </a:lnTo>
                      <a:lnTo>
                        <a:pt x="625" y="183"/>
                      </a:lnTo>
                      <a:lnTo>
                        <a:pt x="625" y="181"/>
                      </a:lnTo>
                      <a:lnTo>
                        <a:pt x="625" y="183"/>
                      </a:lnTo>
                      <a:lnTo>
                        <a:pt x="627" y="183"/>
                      </a:lnTo>
                      <a:lnTo>
                        <a:pt x="629" y="183"/>
                      </a:lnTo>
                      <a:close/>
                    </a:path>
                  </a:pathLst>
                </a:custGeom>
                <a:solidFill>
                  <a:srgbClr val="FFFFE1"/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black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3" name="Freeform 2"/>
                <p:cNvSpPr>
                  <a:spLocks noChangeAspect="1" noEditPoints="1"/>
                </p:cNvSpPr>
                <p:nvPr/>
              </p:nvSpPr>
              <p:spPr bwMode="auto">
                <a:xfrm>
                  <a:off x="6102156" y="1860215"/>
                  <a:ext cx="1328223" cy="876441"/>
                </a:xfrm>
                <a:custGeom>
                  <a:avLst/>
                  <a:gdLst>
                    <a:gd name="T0" fmla="*/ 2147483647 w 851"/>
                    <a:gd name="T1" fmla="*/ 2147483647 h 523"/>
                    <a:gd name="T2" fmla="*/ 2147483647 w 851"/>
                    <a:gd name="T3" fmla="*/ 2147483647 h 523"/>
                    <a:gd name="T4" fmla="*/ 2147483647 w 851"/>
                    <a:gd name="T5" fmla="*/ 2147483647 h 523"/>
                    <a:gd name="T6" fmla="*/ 2147483647 w 851"/>
                    <a:gd name="T7" fmla="*/ 2147483647 h 523"/>
                    <a:gd name="T8" fmla="*/ 2147483647 w 851"/>
                    <a:gd name="T9" fmla="*/ 2147483647 h 523"/>
                    <a:gd name="T10" fmla="*/ 2147483647 w 851"/>
                    <a:gd name="T11" fmla="*/ 2147483647 h 523"/>
                    <a:gd name="T12" fmla="*/ 2147483647 w 851"/>
                    <a:gd name="T13" fmla="*/ 2147483647 h 523"/>
                    <a:gd name="T14" fmla="*/ 2147483647 w 851"/>
                    <a:gd name="T15" fmla="*/ 2147483647 h 523"/>
                    <a:gd name="T16" fmla="*/ 2147483647 w 851"/>
                    <a:gd name="T17" fmla="*/ 2147483647 h 523"/>
                    <a:gd name="T18" fmla="*/ 2147483647 w 851"/>
                    <a:gd name="T19" fmla="*/ 2147483647 h 523"/>
                    <a:gd name="T20" fmla="*/ 2147483647 w 851"/>
                    <a:gd name="T21" fmla="*/ 2147483647 h 523"/>
                    <a:gd name="T22" fmla="*/ 2147483647 w 851"/>
                    <a:gd name="T23" fmla="*/ 2147483647 h 523"/>
                    <a:gd name="T24" fmla="*/ 2147483647 w 851"/>
                    <a:gd name="T25" fmla="*/ 2147483647 h 523"/>
                    <a:gd name="T26" fmla="*/ 2147483647 w 851"/>
                    <a:gd name="T27" fmla="*/ 2147483647 h 523"/>
                    <a:gd name="T28" fmla="*/ 2147483647 w 851"/>
                    <a:gd name="T29" fmla="*/ 2147483647 h 523"/>
                    <a:gd name="T30" fmla="*/ 2147483647 w 851"/>
                    <a:gd name="T31" fmla="*/ 2147483647 h 523"/>
                    <a:gd name="T32" fmla="*/ 2147483647 w 851"/>
                    <a:gd name="T33" fmla="*/ 2147483647 h 523"/>
                    <a:gd name="T34" fmla="*/ 2147483647 w 851"/>
                    <a:gd name="T35" fmla="*/ 2147483647 h 523"/>
                    <a:gd name="T36" fmla="*/ 2147483647 w 851"/>
                    <a:gd name="T37" fmla="*/ 2147483647 h 523"/>
                    <a:gd name="T38" fmla="*/ 2147483647 w 851"/>
                    <a:gd name="T39" fmla="*/ 2147483647 h 523"/>
                    <a:gd name="T40" fmla="*/ 2147483647 w 851"/>
                    <a:gd name="T41" fmla="*/ 2147483647 h 523"/>
                    <a:gd name="T42" fmla="*/ 2147483647 w 851"/>
                    <a:gd name="T43" fmla="*/ 2147483647 h 523"/>
                    <a:gd name="T44" fmla="*/ 2147483647 w 851"/>
                    <a:gd name="T45" fmla="*/ 2147483647 h 523"/>
                    <a:gd name="T46" fmla="*/ 2147483647 w 851"/>
                    <a:gd name="T47" fmla="*/ 2147483647 h 523"/>
                    <a:gd name="T48" fmla="*/ 2147483647 w 851"/>
                    <a:gd name="T49" fmla="*/ 2147483647 h 523"/>
                    <a:gd name="T50" fmla="*/ 2147483647 w 851"/>
                    <a:gd name="T51" fmla="*/ 2147483647 h 523"/>
                    <a:gd name="T52" fmla="*/ 2147483647 w 851"/>
                    <a:gd name="T53" fmla="*/ 2147483647 h 523"/>
                    <a:gd name="T54" fmla="*/ 2147483647 w 851"/>
                    <a:gd name="T55" fmla="*/ 2147483647 h 523"/>
                    <a:gd name="T56" fmla="*/ 2147483647 w 851"/>
                    <a:gd name="T57" fmla="*/ 2147483647 h 523"/>
                    <a:gd name="T58" fmla="*/ 2147483647 w 851"/>
                    <a:gd name="T59" fmla="*/ 2147483647 h 523"/>
                    <a:gd name="T60" fmla="*/ 2147483647 w 851"/>
                    <a:gd name="T61" fmla="*/ 2147483647 h 523"/>
                    <a:gd name="T62" fmla="*/ 2147483647 w 851"/>
                    <a:gd name="T63" fmla="*/ 2147483647 h 523"/>
                    <a:gd name="T64" fmla="*/ 2147483647 w 851"/>
                    <a:gd name="T65" fmla="*/ 2147483647 h 523"/>
                    <a:gd name="T66" fmla="*/ 2147483647 w 851"/>
                    <a:gd name="T67" fmla="*/ 2147483647 h 523"/>
                    <a:gd name="T68" fmla="*/ 2147483647 w 851"/>
                    <a:gd name="T69" fmla="*/ 2147483647 h 523"/>
                    <a:gd name="T70" fmla="*/ 2147483647 w 851"/>
                    <a:gd name="T71" fmla="*/ 2147483647 h 523"/>
                    <a:gd name="T72" fmla="*/ 2147483647 w 851"/>
                    <a:gd name="T73" fmla="*/ 2147483647 h 523"/>
                    <a:gd name="T74" fmla="*/ 2147483647 w 851"/>
                    <a:gd name="T75" fmla="*/ 2147483647 h 523"/>
                    <a:gd name="T76" fmla="*/ 2147483647 w 851"/>
                    <a:gd name="T77" fmla="*/ 2147483647 h 523"/>
                    <a:gd name="T78" fmla="*/ 2147483647 w 851"/>
                    <a:gd name="T79" fmla="*/ 2147483647 h 523"/>
                    <a:gd name="T80" fmla="*/ 2147483647 w 851"/>
                    <a:gd name="T81" fmla="*/ 2147483647 h 523"/>
                    <a:gd name="T82" fmla="*/ 2147483647 w 851"/>
                    <a:gd name="T83" fmla="*/ 2147483647 h 523"/>
                    <a:gd name="T84" fmla="*/ 2147483647 w 851"/>
                    <a:gd name="T85" fmla="*/ 2147483647 h 523"/>
                    <a:gd name="T86" fmla="*/ 2147483647 w 851"/>
                    <a:gd name="T87" fmla="*/ 2147483647 h 523"/>
                    <a:gd name="T88" fmla="*/ 2147483647 w 851"/>
                    <a:gd name="T89" fmla="*/ 2147483647 h 523"/>
                    <a:gd name="T90" fmla="*/ 2147483647 w 851"/>
                    <a:gd name="T91" fmla="*/ 2147483647 h 523"/>
                    <a:gd name="T92" fmla="*/ 2147483647 w 851"/>
                    <a:gd name="T93" fmla="*/ 2147483647 h 523"/>
                    <a:gd name="T94" fmla="*/ 2147483647 w 851"/>
                    <a:gd name="T95" fmla="*/ 2147483647 h 523"/>
                    <a:gd name="T96" fmla="*/ 2147483647 w 851"/>
                    <a:gd name="T97" fmla="*/ 2147483647 h 523"/>
                    <a:gd name="T98" fmla="*/ 2147483647 w 851"/>
                    <a:gd name="T99" fmla="*/ 2147483647 h 523"/>
                    <a:gd name="T100" fmla="*/ 2147483647 w 851"/>
                    <a:gd name="T101" fmla="*/ 2147483647 h 523"/>
                    <a:gd name="T102" fmla="*/ 2147483647 w 851"/>
                    <a:gd name="T103" fmla="*/ 2147483647 h 523"/>
                    <a:gd name="T104" fmla="*/ 2147483647 w 851"/>
                    <a:gd name="T105" fmla="*/ 2147483647 h 523"/>
                    <a:gd name="T106" fmla="*/ 2147483647 w 851"/>
                    <a:gd name="T107" fmla="*/ 2147483647 h 523"/>
                    <a:gd name="T108" fmla="*/ 2147483647 w 851"/>
                    <a:gd name="T109" fmla="*/ 2147483647 h 523"/>
                    <a:gd name="T110" fmla="*/ 2147483647 w 851"/>
                    <a:gd name="T111" fmla="*/ 2147483647 h 523"/>
                    <a:gd name="T112" fmla="*/ 2147483647 w 851"/>
                    <a:gd name="T113" fmla="*/ 2147483647 h 523"/>
                    <a:gd name="T114" fmla="*/ 2147483647 w 851"/>
                    <a:gd name="T115" fmla="*/ 2147483647 h 523"/>
                    <a:gd name="T116" fmla="*/ 2147483647 w 851"/>
                    <a:gd name="T117" fmla="*/ 2147483647 h 523"/>
                    <a:gd name="T118" fmla="*/ 2147483647 w 851"/>
                    <a:gd name="T119" fmla="*/ 2147483647 h 523"/>
                    <a:gd name="T120" fmla="*/ 2147483647 w 851"/>
                    <a:gd name="T121" fmla="*/ 2147483647 h 523"/>
                    <a:gd name="T122" fmla="*/ 2147483647 w 851"/>
                    <a:gd name="T123" fmla="*/ 2147483647 h 523"/>
                    <a:gd name="T124" fmla="*/ 2147483647 w 851"/>
                    <a:gd name="T125" fmla="*/ 2147483647 h 523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51"/>
                    <a:gd name="T190" fmla="*/ 0 h 523"/>
                    <a:gd name="T191" fmla="*/ 851 w 851"/>
                    <a:gd name="T192" fmla="*/ 523 h 523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51" h="523">
                      <a:moveTo>
                        <a:pt x="304" y="502"/>
                      </a:moveTo>
                      <a:lnTo>
                        <a:pt x="304" y="504"/>
                      </a:lnTo>
                      <a:lnTo>
                        <a:pt x="302" y="504"/>
                      </a:lnTo>
                      <a:lnTo>
                        <a:pt x="302" y="505"/>
                      </a:lnTo>
                      <a:lnTo>
                        <a:pt x="300" y="505"/>
                      </a:lnTo>
                      <a:lnTo>
                        <a:pt x="299" y="505"/>
                      </a:lnTo>
                      <a:lnTo>
                        <a:pt x="299" y="507"/>
                      </a:lnTo>
                      <a:lnTo>
                        <a:pt x="297" y="507"/>
                      </a:lnTo>
                      <a:lnTo>
                        <a:pt x="297" y="509"/>
                      </a:lnTo>
                      <a:lnTo>
                        <a:pt x="295" y="509"/>
                      </a:lnTo>
                      <a:lnTo>
                        <a:pt x="294" y="505"/>
                      </a:lnTo>
                      <a:lnTo>
                        <a:pt x="292" y="499"/>
                      </a:lnTo>
                      <a:lnTo>
                        <a:pt x="290" y="499"/>
                      </a:lnTo>
                      <a:lnTo>
                        <a:pt x="290" y="497"/>
                      </a:lnTo>
                      <a:lnTo>
                        <a:pt x="292" y="496"/>
                      </a:lnTo>
                      <a:lnTo>
                        <a:pt x="290" y="496"/>
                      </a:lnTo>
                      <a:lnTo>
                        <a:pt x="290" y="494"/>
                      </a:lnTo>
                      <a:lnTo>
                        <a:pt x="288" y="492"/>
                      </a:lnTo>
                      <a:lnTo>
                        <a:pt x="287" y="491"/>
                      </a:lnTo>
                      <a:lnTo>
                        <a:pt x="287" y="489"/>
                      </a:lnTo>
                      <a:lnTo>
                        <a:pt x="288" y="489"/>
                      </a:lnTo>
                      <a:lnTo>
                        <a:pt x="288" y="487"/>
                      </a:lnTo>
                      <a:lnTo>
                        <a:pt x="287" y="486"/>
                      </a:lnTo>
                      <a:lnTo>
                        <a:pt x="288" y="486"/>
                      </a:lnTo>
                      <a:lnTo>
                        <a:pt x="288" y="484"/>
                      </a:lnTo>
                      <a:lnTo>
                        <a:pt x="290" y="484"/>
                      </a:lnTo>
                      <a:lnTo>
                        <a:pt x="290" y="482"/>
                      </a:lnTo>
                      <a:lnTo>
                        <a:pt x="290" y="481"/>
                      </a:lnTo>
                      <a:lnTo>
                        <a:pt x="288" y="479"/>
                      </a:lnTo>
                      <a:lnTo>
                        <a:pt x="288" y="477"/>
                      </a:lnTo>
                      <a:lnTo>
                        <a:pt x="287" y="477"/>
                      </a:lnTo>
                      <a:lnTo>
                        <a:pt x="285" y="477"/>
                      </a:lnTo>
                      <a:lnTo>
                        <a:pt x="283" y="479"/>
                      </a:lnTo>
                      <a:lnTo>
                        <a:pt x="282" y="481"/>
                      </a:lnTo>
                      <a:lnTo>
                        <a:pt x="280" y="482"/>
                      </a:lnTo>
                      <a:lnTo>
                        <a:pt x="278" y="482"/>
                      </a:lnTo>
                      <a:lnTo>
                        <a:pt x="277" y="482"/>
                      </a:lnTo>
                      <a:lnTo>
                        <a:pt x="275" y="481"/>
                      </a:lnTo>
                      <a:lnTo>
                        <a:pt x="273" y="481"/>
                      </a:lnTo>
                      <a:lnTo>
                        <a:pt x="272" y="479"/>
                      </a:lnTo>
                      <a:lnTo>
                        <a:pt x="270" y="477"/>
                      </a:lnTo>
                      <a:lnTo>
                        <a:pt x="270" y="476"/>
                      </a:lnTo>
                      <a:lnTo>
                        <a:pt x="270" y="474"/>
                      </a:lnTo>
                      <a:lnTo>
                        <a:pt x="268" y="474"/>
                      </a:lnTo>
                      <a:lnTo>
                        <a:pt x="268" y="473"/>
                      </a:lnTo>
                      <a:lnTo>
                        <a:pt x="270" y="473"/>
                      </a:lnTo>
                      <a:lnTo>
                        <a:pt x="270" y="471"/>
                      </a:lnTo>
                      <a:lnTo>
                        <a:pt x="272" y="471"/>
                      </a:lnTo>
                      <a:lnTo>
                        <a:pt x="273" y="469"/>
                      </a:lnTo>
                      <a:lnTo>
                        <a:pt x="273" y="468"/>
                      </a:lnTo>
                      <a:lnTo>
                        <a:pt x="273" y="466"/>
                      </a:lnTo>
                      <a:lnTo>
                        <a:pt x="273" y="464"/>
                      </a:lnTo>
                      <a:lnTo>
                        <a:pt x="270" y="464"/>
                      </a:lnTo>
                      <a:lnTo>
                        <a:pt x="270" y="463"/>
                      </a:lnTo>
                      <a:lnTo>
                        <a:pt x="267" y="463"/>
                      </a:lnTo>
                      <a:lnTo>
                        <a:pt x="265" y="463"/>
                      </a:lnTo>
                      <a:lnTo>
                        <a:pt x="263" y="464"/>
                      </a:lnTo>
                      <a:lnTo>
                        <a:pt x="263" y="466"/>
                      </a:lnTo>
                      <a:lnTo>
                        <a:pt x="261" y="466"/>
                      </a:lnTo>
                      <a:lnTo>
                        <a:pt x="261" y="468"/>
                      </a:lnTo>
                      <a:lnTo>
                        <a:pt x="260" y="469"/>
                      </a:lnTo>
                      <a:lnTo>
                        <a:pt x="260" y="471"/>
                      </a:lnTo>
                      <a:lnTo>
                        <a:pt x="260" y="473"/>
                      </a:lnTo>
                      <a:lnTo>
                        <a:pt x="260" y="474"/>
                      </a:lnTo>
                      <a:lnTo>
                        <a:pt x="260" y="476"/>
                      </a:lnTo>
                      <a:lnTo>
                        <a:pt x="258" y="477"/>
                      </a:lnTo>
                      <a:lnTo>
                        <a:pt x="256" y="477"/>
                      </a:lnTo>
                      <a:lnTo>
                        <a:pt x="255" y="477"/>
                      </a:lnTo>
                      <a:lnTo>
                        <a:pt x="255" y="476"/>
                      </a:lnTo>
                      <a:lnTo>
                        <a:pt x="253" y="476"/>
                      </a:lnTo>
                      <a:lnTo>
                        <a:pt x="253" y="474"/>
                      </a:lnTo>
                      <a:lnTo>
                        <a:pt x="253" y="473"/>
                      </a:lnTo>
                      <a:lnTo>
                        <a:pt x="253" y="471"/>
                      </a:lnTo>
                      <a:lnTo>
                        <a:pt x="251" y="469"/>
                      </a:lnTo>
                      <a:lnTo>
                        <a:pt x="251" y="468"/>
                      </a:lnTo>
                      <a:lnTo>
                        <a:pt x="251" y="466"/>
                      </a:lnTo>
                      <a:lnTo>
                        <a:pt x="250" y="466"/>
                      </a:lnTo>
                      <a:lnTo>
                        <a:pt x="250" y="464"/>
                      </a:lnTo>
                      <a:lnTo>
                        <a:pt x="248" y="464"/>
                      </a:lnTo>
                      <a:lnTo>
                        <a:pt x="246" y="464"/>
                      </a:lnTo>
                      <a:lnTo>
                        <a:pt x="246" y="463"/>
                      </a:lnTo>
                      <a:lnTo>
                        <a:pt x="245" y="463"/>
                      </a:lnTo>
                      <a:lnTo>
                        <a:pt x="245" y="461"/>
                      </a:lnTo>
                      <a:lnTo>
                        <a:pt x="243" y="461"/>
                      </a:lnTo>
                      <a:lnTo>
                        <a:pt x="241" y="459"/>
                      </a:lnTo>
                      <a:lnTo>
                        <a:pt x="239" y="459"/>
                      </a:lnTo>
                      <a:lnTo>
                        <a:pt x="238" y="459"/>
                      </a:lnTo>
                      <a:lnTo>
                        <a:pt x="236" y="459"/>
                      </a:lnTo>
                      <a:lnTo>
                        <a:pt x="234" y="459"/>
                      </a:lnTo>
                      <a:lnTo>
                        <a:pt x="233" y="459"/>
                      </a:lnTo>
                      <a:lnTo>
                        <a:pt x="231" y="459"/>
                      </a:lnTo>
                      <a:lnTo>
                        <a:pt x="229" y="459"/>
                      </a:lnTo>
                      <a:lnTo>
                        <a:pt x="229" y="461"/>
                      </a:lnTo>
                      <a:lnTo>
                        <a:pt x="228" y="461"/>
                      </a:lnTo>
                      <a:lnTo>
                        <a:pt x="226" y="459"/>
                      </a:lnTo>
                      <a:lnTo>
                        <a:pt x="224" y="458"/>
                      </a:lnTo>
                      <a:lnTo>
                        <a:pt x="223" y="456"/>
                      </a:lnTo>
                      <a:lnTo>
                        <a:pt x="221" y="456"/>
                      </a:lnTo>
                      <a:lnTo>
                        <a:pt x="221" y="454"/>
                      </a:lnTo>
                      <a:lnTo>
                        <a:pt x="219" y="454"/>
                      </a:lnTo>
                      <a:lnTo>
                        <a:pt x="218" y="454"/>
                      </a:lnTo>
                      <a:lnTo>
                        <a:pt x="214" y="453"/>
                      </a:lnTo>
                      <a:lnTo>
                        <a:pt x="212" y="453"/>
                      </a:lnTo>
                      <a:lnTo>
                        <a:pt x="211" y="453"/>
                      </a:lnTo>
                      <a:lnTo>
                        <a:pt x="209" y="453"/>
                      </a:lnTo>
                      <a:lnTo>
                        <a:pt x="209" y="451"/>
                      </a:lnTo>
                      <a:lnTo>
                        <a:pt x="207" y="451"/>
                      </a:lnTo>
                      <a:lnTo>
                        <a:pt x="206" y="451"/>
                      </a:lnTo>
                      <a:lnTo>
                        <a:pt x="204" y="453"/>
                      </a:lnTo>
                      <a:lnTo>
                        <a:pt x="202" y="451"/>
                      </a:lnTo>
                      <a:lnTo>
                        <a:pt x="202" y="453"/>
                      </a:lnTo>
                      <a:lnTo>
                        <a:pt x="201" y="453"/>
                      </a:lnTo>
                      <a:lnTo>
                        <a:pt x="201" y="451"/>
                      </a:lnTo>
                      <a:lnTo>
                        <a:pt x="201" y="450"/>
                      </a:lnTo>
                      <a:lnTo>
                        <a:pt x="199" y="448"/>
                      </a:lnTo>
                      <a:lnTo>
                        <a:pt x="201" y="448"/>
                      </a:lnTo>
                      <a:lnTo>
                        <a:pt x="201" y="446"/>
                      </a:lnTo>
                      <a:lnTo>
                        <a:pt x="201" y="445"/>
                      </a:lnTo>
                      <a:lnTo>
                        <a:pt x="199" y="445"/>
                      </a:lnTo>
                      <a:lnTo>
                        <a:pt x="199" y="443"/>
                      </a:lnTo>
                      <a:lnTo>
                        <a:pt x="197" y="443"/>
                      </a:lnTo>
                      <a:lnTo>
                        <a:pt x="197" y="441"/>
                      </a:lnTo>
                      <a:lnTo>
                        <a:pt x="197" y="440"/>
                      </a:lnTo>
                      <a:lnTo>
                        <a:pt x="196" y="438"/>
                      </a:lnTo>
                      <a:lnTo>
                        <a:pt x="194" y="438"/>
                      </a:lnTo>
                      <a:lnTo>
                        <a:pt x="192" y="438"/>
                      </a:lnTo>
                      <a:lnTo>
                        <a:pt x="191" y="438"/>
                      </a:lnTo>
                      <a:lnTo>
                        <a:pt x="189" y="436"/>
                      </a:lnTo>
                      <a:lnTo>
                        <a:pt x="187" y="436"/>
                      </a:lnTo>
                      <a:lnTo>
                        <a:pt x="185" y="436"/>
                      </a:lnTo>
                      <a:lnTo>
                        <a:pt x="184" y="436"/>
                      </a:lnTo>
                      <a:lnTo>
                        <a:pt x="184" y="438"/>
                      </a:lnTo>
                      <a:lnTo>
                        <a:pt x="182" y="438"/>
                      </a:lnTo>
                      <a:lnTo>
                        <a:pt x="180" y="438"/>
                      </a:lnTo>
                      <a:lnTo>
                        <a:pt x="180" y="440"/>
                      </a:lnTo>
                      <a:lnTo>
                        <a:pt x="179" y="440"/>
                      </a:lnTo>
                      <a:lnTo>
                        <a:pt x="179" y="441"/>
                      </a:lnTo>
                      <a:lnTo>
                        <a:pt x="177" y="441"/>
                      </a:lnTo>
                      <a:lnTo>
                        <a:pt x="175" y="441"/>
                      </a:lnTo>
                      <a:lnTo>
                        <a:pt x="174" y="441"/>
                      </a:lnTo>
                      <a:lnTo>
                        <a:pt x="174" y="443"/>
                      </a:lnTo>
                      <a:lnTo>
                        <a:pt x="172" y="443"/>
                      </a:lnTo>
                      <a:lnTo>
                        <a:pt x="170" y="445"/>
                      </a:lnTo>
                      <a:lnTo>
                        <a:pt x="169" y="445"/>
                      </a:lnTo>
                      <a:lnTo>
                        <a:pt x="169" y="446"/>
                      </a:lnTo>
                      <a:lnTo>
                        <a:pt x="167" y="446"/>
                      </a:lnTo>
                      <a:lnTo>
                        <a:pt x="165" y="448"/>
                      </a:lnTo>
                      <a:lnTo>
                        <a:pt x="163" y="446"/>
                      </a:lnTo>
                      <a:lnTo>
                        <a:pt x="163" y="448"/>
                      </a:lnTo>
                      <a:lnTo>
                        <a:pt x="162" y="448"/>
                      </a:lnTo>
                      <a:lnTo>
                        <a:pt x="160" y="448"/>
                      </a:lnTo>
                      <a:lnTo>
                        <a:pt x="158" y="448"/>
                      </a:lnTo>
                      <a:lnTo>
                        <a:pt x="157" y="448"/>
                      </a:lnTo>
                      <a:lnTo>
                        <a:pt x="157" y="450"/>
                      </a:lnTo>
                      <a:lnTo>
                        <a:pt x="158" y="453"/>
                      </a:lnTo>
                      <a:lnTo>
                        <a:pt x="158" y="454"/>
                      </a:lnTo>
                      <a:lnTo>
                        <a:pt x="160" y="454"/>
                      </a:lnTo>
                      <a:lnTo>
                        <a:pt x="158" y="456"/>
                      </a:lnTo>
                      <a:lnTo>
                        <a:pt x="158" y="458"/>
                      </a:lnTo>
                      <a:lnTo>
                        <a:pt x="160" y="458"/>
                      </a:lnTo>
                      <a:lnTo>
                        <a:pt x="160" y="459"/>
                      </a:lnTo>
                      <a:lnTo>
                        <a:pt x="158" y="459"/>
                      </a:lnTo>
                      <a:lnTo>
                        <a:pt x="157" y="461"/>
                      </a:lnTo>
                      <a:lnTo>
                        <a:pt x="155" y="459"/>
                      </a:lnTo>
                      <a:lnTo>
                        <a:pt x="153" y="459"/>
                      </a:lnTo>
                      <a:lnTo>
                        <a:pt x="152" y="459"/>
                      </a:lnTo>
                      <a:lnTo>
                        <a:pt x="152" y="461"/>
                      </a:lnTo>
                      <a:lnTo>
                        <a:pt x="150" y="461"/>
                      </a:lnTo>
                      <a:lnTo>
                        <a:pt x="148" y="463"/>
                      </a:lnTo>
                      <a:lnTo>
                        <a:pt x="147" y="463"/>
                      </a:lnTo>
                      <a:lnTo>
                        <a:pt x="147" y="461"/>
                      </a:lnTo>
                      <a:lnTo>
                        <a:pt x="145" y="461"/>
                      </a:lnTo>
                      <a:lnTo>
                        <a:pt x="143" y="463"/>
                      </a:lnTo>
                      <a:lnTo>
                        <a:pt x="142" y="463"/>
                      </a:lnTo>
                      <a:lnTo>
                        <a:pt x="140" y="463"/>
                      </a:lnTo>
                      <a:lnTo>
                        <a:pt x="138" y="463"/>
                      </a:lnTo>
                      <a:lnTo>
                        <a:pt x="138" y="464"/>
                      </a:lnTo>
                      <a:lnTo>
                        <a:pt x="138" y="466"/>
                      </a:lnTo>
                      <a:lnTo>
                        <a:pt x="138" y="468"/>
                      </a:lnTo>
                      <a:lnTo>
                        <a:pt x="140" y="469"/>
                      </a:lnTo>
                      <a:lnTo>
                        <a:pt x="140" y="471"/>
                      </a:lnTo>
                      <a:lnTo>
                        <a:pt x="140" y="473"/>
                      </a:lnTo>
                      <a:lnTo>
                        <a:pt x="140" y="474"/>
                      </a:lnTo>
                      <a:lnTo>
                        <a:pt x="138" y="476"/>
                      </a:lnTo>
                      <a:lnTo>
                        <a:pt x="136" y="477"/>
                      </a:lnTo>
                      <a:lnTo>
                        <a:pt x="136" y="479"/>
                      </a:lnTo>
                      <a:lnTo>
                        <a:pt x="135" y="479"/>
                      </a:lnTo>
                      <a:lnTo>
                        <a:pt x="135" y="481"/>
                      </a:lnTo>
                      <a:lnTo>
                        <a:pt x="133" y="482"/>
                      </a:lnTo>
                      <a:lnTo>
                        <a:pt x="131" y="484"/>
                      </a:lnTo>
                      <a:lnTo>
                        <a:pt x="130" y="484"/>
                      </a:lnTo>
                      <a:lnTo>
                        <a:pt x="128" y="484"/>
                      </a:lnTo>
                      <a:lnTo>
                        <a:pt x="126" y="484"/>
                      </a:lnTo>
                      <a:lnTo>
                        <a:pt x="125" y="484"/>
                      </a:lnTo>
                      <a:lnTo>
                        <a:pt x="123" y="484"/>
                      </a:lnTo>
                      <a:lnTo>
                        <a:pt x="121" y="484"/>
                      </a:lnTo>
                      <a:lnTo>
                        <a:pt x="121" y="486"/>
                      </a:lnTo>
                      <a:lnTo>
                        <a:pt x="120" y="487"/>
                      </a:lnTo>
                      <a:lnTo>
                        <a:pt x="118" y="487"/>
                      </a:lnTo>
                      <a:lnTo>
                        <a:pt x="118" y="489"/>
                      </a:lnTo>
                      <a:lnTo>
                        <a:pt x="116" y="489"/>
                      </a:lnTo>
                      <a:lnTo>
                        <a:pt x="115" y="489"/>
                      </a:lnTo>
                      <a:lnTo>
                        <a:pt x="113" y="489"/>
                      </a:lnTo>
                      <a:lnTo>
                        <a:pt x="113" y="487"/>
                      </a:lnTo>
                      <a:lnTo>
                        <a:pt x="111" y="487"/>
                      </a:lnTo>
                      <a:lnTo>
                        <a:pt x="109" y="486"/>
                      </a:lnTo>
                      <a:lnTo>
                        <a:pt x="109" y="484"/>
                      </a:lnTo>
                      <a:lnTo>
                        <a:pt x="108" y="484"/>
                      </a:lnTo>
                      <a:lnTo>
                        <a:pt x="106" y="484"/>
                      </a:lnTo>
                      <a:lnTo>
                        <a:pt x="104" y="484"/>
                      </a:lnTo>
                      <a:lnTo>
                        <a:pt x="104" y="486"/>
                      </a:lnTo>
                      <a:lnTo>
                        <a:pt x="103" y="486"/>
                      </a:lnTo>
                      <a:lnTo>
                        <a:pt x="103" y="487"/>
                      </a:lnTo>
                      <a:lnTo>
                        <a:pt x="101" y="489"/>
                      </a:lnTo>
                      <a:lnTo>
                        <a:pt x="101" y="492"/>
                      </a:lnTo>
                      <a:lnTo>
                        <a:pt x="101" y="494"/>
                      </a:lnTo>
                      <a:lnTo>
                        <a:pt x="101" y="496"/>
                      </a:lnTo>
                      <a:lnTo>
                        <a:pt x="101" y="497"/>
                      </a:lnTo>
                      <a:lnTo>
                        <a:pt x="101" y="499"/>
                      </a:lnTo>
                      <a:lnTo>
                        <a:pt x="99" y="500"/>
                      </a:lnTo>
                      <a:lnTo>
                        <a:pt x="99" y="502"/>
                      </a:lnTo>
                      <a:lnTo>
                        <a:pt x="99" y="504"/>
                      </a:lnTo>
                      <a:lnTo>
                        <a:pt x="99" y="505"/>
                      </a:lnTo>
                      <a:lnTo>
                        <a:pt x="98" y="505"/>
                      </a:lnTo>
                      <a:lnTo>
                        <a:pt x="98" y="507"/>
                      </a:lnTo>
                      <a:lnTo>
                        <a:pt x="98" y="509"/>
                      </a:lnTo>
                      <a:lnTo>
                        <a:pt x="96" y="509"/>
                      </a:lnTo>
                      <a:lnTo>
                        <a:pt x="96" y="510"/>
                      </a:lnTo>
                      <a:lnTo>
                        <a:pt x="98" y="512"/>
                      </a:lnTo>
                      <a:lnTo>
                        <a:pt x="96" y="512"/>
                      </a:lnTo>
                      <a:lnTo>
                        <a:pt x="96" y="514"/>
                      </a:lnTo>
                      <a:lnTo>
                        <a:pt x="94" y="514"/>
                      </a:lnTo>
                      <a:lnTo>
                        <a:pt x="93" y="514"/>
                      </a:lnTo>
                      <a:lnTo>
                        <a:pt x="91" y="514"/>
                      </a:lnTo>
                      <a:lnTo>
                        <a:pt x="91" y="512"/>
                      </a:lnTo>
                      <a:lnTo>
                        <a:pt x="89" y="512"/>
                      </a:lnTo>
                      <a:lnTo>
                        <a:pt x="87" y="512"/>
                      </a:lnTo>
                      <a:lnTo>
                        <a:pt x="86" y="515"/>
                      </a:lnTo>
                      <a:lnTo>
                        <a:pt x="86" y="517"/>
                      </a:lnTo>
                      <a:lnTo>
                        <a:pt x="84" y="517"/>
                      </a:lnTo>
                      <a:lnTo>
                        <a:pt x="82" y="517"/>
                      </a:lnTo>
                      <a:lnTo>
                        <a:pt x="81" y="517"/>
                      </a:lnTo>
                      <a:lnTo>
                        <a:pt x="79" y="517"/>
                      </a:lnTo>
                      <a:lnTo>
                        <a:pt x="77" y="517"/>
                      </a:lnTo>
                      <a:lnTo>
                        <a:pt x="77" y="519"/>
                      </a:lnTo>
                      <a:lnTo>
                        <a:pt x="77" y="520"/>
                      </a:lnTo>
                      <a:lnTo>
                        <a:pt x="76" y="520"/>
                      </a:lnTo>
                      <a:lnTo>
                        <a:pt x="76" y="522"/>
                      </a:lnTo>
                      <a:lnTo>
                        <a:pt x="74" y="522"/>
                      </a:lnTo>
                      <a:lnTo>
                        <a:pt x="72" y="522"/>
                      </a:lnTo>
                      <a:lnTo>
                        <a:pt x="71" y="523"/>
                      </a:lnTo>
                      <a:lnTo>
                        <a:pt x="69" y="523"/>
                      </a:lnTo>
                      <a:lnTo>
                        <a:pt x="67" y="523"/>
                      </a:lnTo>
                      <a:lnTo>
                        <a:pt x="67" y="522"/>
                      </a:lnTo>
                      <a:lnTo>
                        <a:pt x="64" y="522"/>
                      </a:lnTo>
                      <a:lnTo>
                        <a:pt x="62" y="522"/>
                      </a:lnTo>
                      <a:lnTo>
                        <a:pt x="60" y="520"/>
                      </a:lnTo>
                      <a:lnTo>
                        <a:pt x="57" y="520"/>
                      </a:lnTo>
                      <a:lnTo>
                        <a:pt x="55" y="520"/>
                      </a:lnTo>
                      <a:lnTo>
                        <a:pt x="57" y="519"/>
                      </a:lnTo>
                      <a:lnTo>
                        <a:pt x="55" y="517"/>
                      </a:lnTo>
                      <a:lnTo>
                        <a:pt x="57" y="517"/>
                      </a:lnTo>
                      <a:lnTo>
                        <a:pt x="59" y="515"/>
                      </a:lnTo>
                      <a:lnTo>
                        <a:pt x="57" y="515"/>
                      </a:lnTo>
                      <a:lnTo>
                        <a:pt x="59" y="514"/>
                      </a:lnTo>
                      <a:lnTo>
                        <a:pt x="57" y="514"/>
                      </a:lnTo>
                      <a:lnTo>
                        <a:pt x="57" y="512"/>
                      </a:lnTo>
                      <a:lnTo>
                        <a:pt x="59" y="512"/>
                      </a:lnTo>
                      <a:lnTo>
                        <a:pt x="59" y="510"/>
                      </a:lnTo>
                      <a:lnTo>
                        <a:pt x="59" y="509"/>
                      </a:lnTo>
                      <a:lnTo>
                        <a:pt x="57" y="509"/>
                      </a:lnTo>
                      <a:lnTo>
                        <a:pt x="57" y="507"/>
                      </a:lnTo>
                      <a:lnTo>
                        <a:pt x="59" y="507"/>
                      </a:lnTo>
                      <a:lnTo>
                        <a:pt x="59" y="505"/>
                      </a:lnTo>
                      <a:lnTo>
                        <a:pt x="59" y="507"/>
                      </a:lnTo>
                      <a:lnTo>
                        <a:pt x="60" y="507"/>
                      </a:lnTo>
                      <a:lnTo>
                        <a:pt x="62" y="505"/>
                      </a:lnTo>
                      <a:lnTo>
                        <a:pt x="60" y="505"/>
                      </a:lnTo>
                      <a:lnTo>
                        <a:pt x="62" y="505"/>
                      </a:lnTo>
                      <a:lnTo>
                        <a:pt x="64" y="504"/>
                      </a:lnTo>
                      <a:lnTo>
                        <a:pt x="64" y="502"/>
                      </a:lnTo>
                      <a:lnTo>
                        <a:pt x="64" y="500"/>
                      </a:lnTo>
                      <a:lnTo>
                        <a:pt x="62" y="500"/>
                      </a:lnTo>
                      <a:lnTo>
                        <a:pt x="64" y="499"/>
                      </a:lnTo>
                      <a:lnTo>
                        <a:pt x="64" y="497"/>
                      </a:lnTo>
                      <a:lnTo>
                        <a:pt x="66" y="496"/>
                      </a:lnTo>
                      <a:lnTo>
                        <a:pt x="66" y="494"/>
                      </a:lnTo>
                      <a:lnTo>
                        <a:pt x="64" y="494"/>
                      </a:lnTo>
                      <a:lnTo>
                        <a:pt x="64" y="492"/>
                      </a:lnTo>
                      <a:lnTo>
                        <a:pt x="62" y="492"/>
                      </a:lnTo>
                      <a:lnTo>
                        <a:pt x="60" y="492"/>
                      </a:lnTo>
                      <a:lnTo>
                        <a:pt x="60" y="491"/>
                      </a:lnTo>
                      <a:lnTo>
                        <a:pt x="59" y="491"/>
                      </a:lnTo>
                      <a:lnTo>
                        <a:pt x="57" y="489"/>
                      </a:lnTo>
                      <a:lnTo>
                        <a:pt x="57" y="491"/>
                      </a:lnTo>
                      <a:lnTo>
                        <a:pt x="57" y="489"/>
                      </a:lnTo>
                      <a:lnTo>
                        <a:pt x="55" y="489"/>
                      </a:lnTo>
                      <a:lnTo>
                        <a:pt x="55" y="487"/>
                      </a:lnTo>
                      <a:lnTo>
                        <a:pt x="54" y="489"/>
                      </a:lnTo>
                      <a:lnTo>
                        <a:pt x="54" y="487"/>
                      </a:lnTo>
                      <a:lnTo>
                        <a:pt x="52" y="487"/>
                      </a:lnTo>
                      <a:lnTo>
                        <a:pt x="52" y="486"/>
                      </a:lnTo>
                      <a:lnTo>
                        <a:pt x="50" y="486"/>
                      </a:lnTo>
                      <a:lnTo>
                        <a:pt x="50" y="484"/>
                      </a:lnTo>
                      <a:lnTo>
                        <a:pt x="50" y="482"/>
                      </a:lnTo>
                      <a:lnTo>
                        <a:pt x="50" y="481"/>
                      </a:lnTo>
                      <a:lnTo>
                        <a:pt x="49" y="481"/>
                      </a:lnTo>
                      <a:lnTo>
                        <a:pt x="49" y="479"/>
                      </a:lnTo>
                      <a:lnTo>
                        <a:pt x="49" y="477"/>
                      </a:lnTo>
                      <a:lnTo>
                        <a:pt x="47" y="477"/>
                      </a:lnTo>
                      <a:lnTo>
                        <a:pt x="47" y="474"/>
                      </a:lnTo>
                      <a:lnTo>
                        <a:pt x="47" y="473"/>
                      </a:lnTo>
                      <a:lnTo>
                        <a:pt x="45" y="471"/>
                      </a:lnTo>
                      <a:lnTo>
                        <a:pt x="45" y="469"/>
                      </a:lnTo>
                      <a:lnTo>
                        <a:pt x="44" y="469"/>
                      </a:lnTo>
                      <a:lnTo>
                        <a:pt x="44" y="468"/>
                      </a:lnTo>
                      <a:lnTo>
                        <a:pt x="44" y="466"/>
                      </a:lnTo>
                      <a:lnTo>
                        <a:pt x="42" y="466"/>
                      </a:lnTo>
                      <a:lnTo>
                        <a:pt x="42" y="464"/>
                      </a:lnTo>
                      <a:lnTo>
                        <a:pt x="40" y="464"/>
                      </a:lnTo>
                      <a:lnTo>
                        <a:pt x="39" y="464"/>
                      </a:lnTo>
                      <a:lnTo>
                        <a:pt x="37" y="464"/>
                      </a:lnTo>
                      <a:lnTo>
                        <a:pt x="37" y="463"/>
                      </a:lnTo>
                      <a:lnTo>
                        <a:pt x="35" y="463"/>
                      </a:lnTo>
                      <a:lnTo>
                        <a:pt x="33" y="463"/>
                      </a:lnTo>
                      <a:lnTo>
                        <a:pt x="32" y="464"/>
                      </a:lnTo>
                      <a:lnTo>
                        <a:pt x="30" y="464"/>
                      </a:lnTo>
                      <a:lnTo>
                        <a:pt x="30" y="463"/>
                      </a:lnTo>
                      <a:lnTo>
                        <a:pt x="32" y="463"/>
                      </a:lnTo>
                      <a:lnTo>
                        <a:pt x="32" y="461"/>
                      </a:lnTo>
                      <a:lnTo>
                        <a:pt x="30" y="461"/>
                      </a:lnTo>
                      <a:lnTo>
                        <a:pt x="30" y="459"/>
                      </a:lnTo>
                      <a:lnTo>
                        <a:pt x="28" y="459"/>
                      </a:lnTo>
                      <a:lnTo>
                        <a:pt x="27" y="459"/>
                      </a:lnTo>
                      <a:lnTo>
                        <a:pt x="25" y="459"/>
                      </a:lnTo>
                      <a:lnTo>
                        <a:pt x="23" y="459"/>
                      </a:lnTo>
                      <a:lnTo>
                        <a:pt x="23" y="458"/>
                      </a:lnTo>
                      <a:lnTo>
                        <a:pt x="23" y="456"/>
                      </a:lnTo>
                      <a:lnTo>
                        <a:pt x="22" y="456"/>
                      </a:lnTo>
                      <a:lnTo>
                        <a:pt x="22" y="454"/>
                      </a:lnTo>
                      <a:lnTo>
                        <a:pt x="22" y="453"/>
                      </a:lnTo>
                      <a:lnTo>
                        <a:pt x="23" y="453"/>
                      </a:lnTo>
                      <a:lnTo>
                        <a:pt x="23" y="451"/>
                      </a:lnTo>
                      <a:lnTo>
                        <a:pt x="22" y="451"/>
                      </a:lnTo>
                      <a:lnTo>
                        <a:pt x="20" y="451"/>
                      </a:lnTo>
                      <a:lnTo>
                        <a:pt x="18" y="453"/>
                      </a:lnTo>
                      <a:lnTo>
                        <a:pt x="17" y="451"/>
                      </a:lnTo>
                      <a:lnTo>
                        <a:pt x="17" y="453"/>
                      </a:lnTo>
                      <a:lnTo>
                        <a:pt x="17" y="451"/>
                      </a:lnTo>
                      <a:lnTo>
                        <a:pt x="17" y="453"/>
                      </a:lnTo>
                      <a:lnTo>
                        <a:pt x="15" y="451"/>
                      </a:lnTo>
                      <a:lnTo>
                        <a:pt x="15" y="453"/>
                      </a:lnTo>
                      <a:lnTo>
                        <a:pt x="13" y="451"/>
                      </a:lnTo>
                      <a:lnTo>
                        <a:pt x="11" y="451"/>
                      </a:lnTo>
                      <a:lnTo>
                        <a:pt x="11" y="453"/>
                      </a:lnTo>
                      <a:lnTo>
                        <a:pt x="10" y="453"/>
                      </a:lnTo>
                      <a:lnTo>
                        <a:pt x="8" y="453"/>
                      </a:lnTo>
                      <a:lnTo>
                        <a:pt x="8" y="454"/>
                      </a:lnTo>
                      <a:lnTo>
                        <a:pt x="6" y="454"/>
                      </a:lnTo>
                      <a:lnTo>
                        <a:pt x="5" y="454"/>
                      </a:lnTo>
                      <a:lnTo>
                        <a:pt x="5" y="453"/>
                      </a:lnTo>
                      <a:lnTo>
                        <a:pt x="3" y="453"/>
                      </a:lnTo>
                      <a:lnTo>
                        <a:pt x="3" y="454"/>
                      </a:lnTo>
                      <a:lnTo>
                        <a:pt x="1" y="454"/>
                      </a:lnTo>
                      <a:lnTo>
                        <a:pt x="1" y="453"/>
                      </a:lnTo>
                      <a:lnTo>
                        <a:pt x="0" y="453"/>
                      </a:lnTo>
                      <a:lnTo>
                        <a:pt x="0" y="451"/>
                      </a:lnTo>
                      <a:lnTo>
                        <a:pt x="1" y="451"/>
                      </a:lnTo>
                      <a:lnTo>
                        <a:pt x="3" y="451"/>
                      </a:lnTo>
                      <a:lnTo>
                        <a:pt x="5" y="450"/>
                      </a:lnTo>
                      <a:lnTo>
                        <a:pt x="6" y="448"/>
                      </a:lnTo>
                      <a:lnTo>
                        <a:pt x="8" y="448"/>
                      </a:lnTo>
                      <a:lnTo>
                        <a:pt x="10" y="448"/>
                      </a:lnTo>
                      <a:lnTo>
                        <a:pt x="11" y="448"/>
                      </a:lnTo>
                      <a:lnTo>
                        <a:pt x="11" y="446"/>
                      </a:lnTo>
                      <a:lnTo>
                        <a:pt x="13" y="446"/>
                      </a:lnTo>
                      <a:lnTo>
                        <a:pt x="13" y="445"/>
                      </a:lnTo>
                      <a:lnTo>
                        <a:pt x="15" y="445"/>
                      </a:lnTo>
                      <a:lnTo>
                        <a:pt x="13" y="443"/>
                      </a:lnTo>
                      <a:lnTo>
                        <a:pt x="13" y="441"/>
                      </a:lnTo>
                      <a:lnTo>
                        <a:pt x="15" y="441"/>
                      </a:lnTo>
                      <a:lnTo>
                        <a:pt x="17" y="441"/>
                      </a:lnTo>
                      <a:lnTo>
                        <a:pt x="18" y="441"/>
                      </a:lnTo>
                      <a:lnTo>
                        <a:pt x="18" y="440"/>
                      </a:lnTo>
                      <a:lnTo>
                        <a:pt x="18" y="438"/>
                      </a:lnTo>
                      <a:lnTo>
                        <a:pt x="20" y="438"/>
                      </a:lnTo>
                      <a:lnTo>
                        <a:pt x="20" y="436"/>
                      </a:lnTo>
                      <a:lnTo>
                        <a:pt x="22" y="436"/>
                      </a:lnTo>
                      <a:lnTo>
                        <a:pt x="23" y="436"/>
                      </a:lnTo>
                      <a:lnTo>
                        <a:pt x="23" y="435"/>
                      </a:lnTo>
                      <a:lnTo>
                        <a:pt x="25" y="435"/>
                      </a:lnTo>
                      <a:lnTo>
                        <a:pt x="25" y="433"/>
                      </a:lnTo>
                      <a:lnTo>
                        <a:pt x="27" y="431"/>
                      </a:lnTo>
                      <a:lnTo>
                        <a:pt x="27" y="430"/>
                      </a:lnTo>
                      <a:lnTo>
                        <a:pt x="28" y="430"/>
                      </a:lnTo>
                      <a:lnTo>
                        <a:pt x="28" y="431"/>
                      </a:lnTo>
                      <a:lnTo>
                        <a:pt x="28" y="430"/>
                      </a:lnTo>
                      <a:lnTo>
                        <a:pt x="28" y="428"/>
                      </a:lnTo>
                      <a:lnTo>
                        <a:pt x="30" y="428"/>
                      </a:lnTo>
                      <a:lnTo>
                        <a:pt x="30" y="427"/>
                      </a:lnTo>
                      <a:lnTo>
                        <a:pt x="32" y="427"/>
                      </a:lnTo>
                      <a:lnTo>
                        <a:pt x="32" y="425"/>
                      </a:lnTo>
                      <a:lnTo>
                        <a:pt x="33" y="425"/>
                      </a:lnTo>
                      <a:lnTo>
                        <a:pt x="33" y="423"/>
                      </a:lnTo>
                      <a:lnTo>
                        <a:pt x="35" y="423"/>
                      </a:lnTo>
                      <a:lnTo>
                        <a:pt x="37" y="425"/>
                      </a:lnTo>
                      <a:lnTo>
                        <a:pt x="39" y="427"/>
                      </a:lnTo>
                      <a:lnTo>
                        <a:pt x="40" y="427"/>
                      </a:lnTo>
                      <a:lnTo>
                        <a:pt x="40" y="428"/>
                      </a:lnTo>
                      <a:lnTo>
                        <a:pt x="42" y="427"/>
                      </a:lnTo>
                      <a:lnTo>
                        <a:pt x="44" y="425"/>
                      </a:lnTo>
                      <a:lnTo>
                        <a:pt x="42" y="423"/>
                      </a:lnTo>
                      <a:lnTo>
                        <a:pt x="44" y="423"/>
                      </a:lnTo>
                      <a:lnTo>
                        <a:pt x="44" y="422"/>
                      </a:lnTo>
                      <a:lnTo>
                        <a:pt x="44" y="420"/>
                      </a:lnTo>
                      <a:lnTo>
                        <a:pt x="45" y="420"/>
                      </a:lnTo>
                      <a:lnTo>
                        <a:pt x="47" y="420"/>
                      </a:lnTo>
                      <a:lnTo>
                        <a:pt x="47" y="422"/>
                      </a:lnTo>
                      <a:lnTo>
                        <a:pt x="49" y="422"/>
                      </a:lnTo>
                      <a:lnTo>
                        <a:pt x="50" y="422"/>
                      </a:lnTo>
                      <a:lnTo>
                        <a:pt x="50" y="420"/>
                      </a:lnTo>
                      <a:lnTo>
                        <a:pt x="50" y="418"/>
                      </a:lnTo>
                      <a:lnTo>
                        <a:pt x="50" y="417"/>
                      </a:lnTo>
                      <a:lnTo>
                        <a:pt x="52" y="417"/>
                      </a:lnTo>
                      <a:lnTo>
                        <a:pt x="54" y="417"/>
                      </a:lnTo>
                      <a:lnTo>
                        <a:pt x="54" y="415"/>
                      </a:lnTo>
                      <a:lnTo>
                        <a:pt x="54" y="413"/>
                      </a:lnTo>
                      <a:lnTo>
                        <a:pt x="55" y="413"/>
                      </a:lnTo>
                      <a:lnTo>
                        <a:pt x="54" y="412"/>
                      </a:lnTo>
                      <a:lnTo>
                        <a:pt x="54" y="410"/>
                      </a:lnTo>
                      <a:lnTo>
                        <a:pt x="55" y="410"/>
                      </a:lnTo>
                      <a:lnTo>
                        <a:pt x="55" y="408"/>
                      </a:lnTo>
                      <a:lnTo>
                        <a:pt x="57" y="408"/>
                      </a:lnTo>
                      <a:lnTo>
                        <a:pt x="59" y="408"/>
                      </a:lnTo>
                      <a:lnTo>
                        <a:pt x="59" y="407"/>
                      </a:lnTo>
                      <a:lnTo>
                        <a:pt x="60" y="407"/>
                      </a:lnTo>
                      <a:lnTo>
                        <a:pt x="62" y="407"/>
                      </a:lnTo>
                      <a:lnTo>
                        <a:pt x="62" y="405"/>
                      </a:lnTo>
                      <a:lnTo>
                        <a:pt x="64" y="404"/>
                      </a:lnTo>
                      <a:lnTo>
                        <a:pt x="66" y="404"/>
                      </a:lnTo>
                      <a:lnTo>
                        <a:pt x="66" y="402"/>
                      </a:lnTo>
                      <a:lnTo>
                        <a:pt x="66" y="400"/>
                      </a:lnTo>
                      <a:lnTo>
                        <a:pt x="67" y="402"/>
                      </a:lnTo>
                      <a:lnTo>
                        <a:pt x="67" y="400"/>
                      </a:lnTo>
                      <a:lnTo>
                        <a:pt x="67" y="402"/>
                      </a:lnTo>
                      <a:lnTo>
                        <a:pt x="67" y="400"/>
                      </a:lnTo>
                      <a:lnTo>
                        <a:pt x="69" y="400"/>
                      </a:lnTo>
                      <a:lnTo>
                        <a:pt x="71" y="400"/>
                      </a:lnTo>
                      <a:lnTo>
                        <a:pt x="72" y="400"/>
                      </a:lnTo>
                      <a:lnTo>
                        <a:pt x="72" y="399"/>
                      </a:lnTo>
                      <a:lnTo>
                        <a:pt x="72" y="397"/>
                      </a:lnTo>
                      <a:lnTo>
                        <a:pt x="71" y="397"/>
                      </a:lnTo>
                      <a:lnTo>
                        <a:pt x="71" y="395"/>
                      </a:lnTo>
                      <a:lnTo>
                        <a:pt x="72" y="395"/>
                      </a:lnTo>
                      <a:lnTo>
                        <a:pt x="72" y="394"/>
                      </a:lnTo>
                      <a:lnTo>
                        <a:pt x="74" y="390"/>
                      </a:lnTo>
                      <a:lnTo>
                        <a:pt x="76" y="387"/>
                      </a:lnTo>
                      <a:lnTo>
                        <a:pt x="77" y="384"/>
                      </a:lnTo>
                      <a:lnTo>
                        <a:pt x="77" y="382"/>
                      </a:lnTo>
                      <a:lnTo>
                        <a:pt x="77" y="381"/>
                      </a:lnTo>
                      <a:lnTo>
                        <a:pt x="77" y="379"/>
                      </a:lnTo>
                      <a:lnTo>
                        <a:pt x="77" y="377"/>
                      </a:lnTo>
                      <a:lnTo>
                        <a:pt x="76" y="377"/>
                      </a:lnTo>
                      <a:lnTo>
                        <a:pt x="76" y="376"/>
                      </a:lnTo>
                      <a:lnTo>
                        <a:pt x="74" y="376"/>
                      </a:lnTo>
                      <a:lnTo>
                        <a:pt x="76" y="376"/>
                      </a:lnTo>
                      <a:lnTo>
                        <a:pt x="76" y="374"/>
                      </a:lnTo>
                      <a:lnTo>
                        <a:pt x="77" y="374"/>
                      </a:lnTo>
                      <a:lnTo>
                        <a:pt x="77" y="372"/>
                      </a:lnTo>
                      <a:lnTo>
                        <a:pt x="79" y="372"/>
                      </a:lnTo>
                      <a:lnTo>
                        <a:pt x="79" y="371"/>
                      </a:lnTo>
                      <a:lnTo>
                        <a:pt x="79" y="367"/>
                      </a:lnTo>
                      <a:lnTo>
                        <a:pt x="77" y="367"/>
                      </a:lnTo>
                      <a:lnTo>
                        <a:pt x="76" y="366"/>
                      </a:lnTo>
                      <a:lnTo>
                        <a:pt x="74" y="366"/>
                      </a:lnTo>
                      <a:lnTo>
                        <a:pt x="72" y="366"/>
                      </a:lnTo>
                      <a:lnTo>
                        <a:pt x="71" y="366"/>
                      </a:lnTo>
                      <a:lnTo>
                        <a:pt x="69" y="366"/>
                      </a:lnTo>
                      <a:lnTo>
                        <a:pt x="67" y="366"/>
                      </a:lnTo>
                      <a:lnTo>
                        <a:pt x="66" y="366"/>
                      </a:lnTo>
                      <a:lnTo>
                        <a:pt x="66" y="364"/>
                      </a:lnTo>
                      <a:lnTo>
                        <a:pt x="64" y="364"/>
                      </a:lnTo>
                      <a:lnTo>
                        <a:pt x="64" y="363"/>
                      </a:lnTo>
                      <a:lnTo>
                        <a:pt x="64" y="361"/>
                      </a:lnTo>
                      <a:lnTo>
                        <a:pt x="66" y="359"/>
                      </a:lnTo>
                      <a:lnTo>
                        <a:pt x="67" y="356"/>
                      </a:lnTo>
                      <a:lnTo>
                        <a:pt x="67" y="354"/>
                      </a:lnTo>
                      <a:lnTo>
                        <a:pt x="67" y="353"/>
                      </a:lnTo>
                      <a:lnTo>
                        <a:pt x="67" y="351"/>
                      </a:lnTo>
                      <a:lnTo>
                        <a:pt x="67" y="349"/>
                      </a:lnTo>
                      <a:lnTo>
                        <a:pt x="64" y="346"/>
                      </a:lnTo>
                      <a:lnTo>
                        <a:pt x="62" y="344"/>
                      </a:lnTo>
                      <a:lnTo>
                        <a:pt x="62" y="343"/>
                      </a:lnTo>
                      <a:lnTo>
                        <a:pt x="60" y="341"/>
                      </a:lnTo>
                      <a:lnTo>
                        <a:pt x="60" y="340"/>
                      </a:lnTo>
                      <a:lnTo>
                        <a:pt x="60" y="338"/>
                      </a:lnTo>
                      <a:lnTo>
                        <a:pt x="62" y="336"/>
                      </a:lnTo>
                      <a:lnTo>
                        <a:pt x="66" y="336"/>
                      </a:lnTo>
                      <a:lnTo>
                        <a:pt x="67" y="335"/>
                      </a:lnTo>
                      <a:lnTo>
                        <a:pt x="67" y="333"/>
                      </a:lnTo>
                      <a:lnTo>
                        <a:pt x="69" y="333"/>
                      </a:lnTo>
                      <a:lnTo>
                        <a:pt x="71" y="333"/>
                      </a:lnTo>
                      <a:lnTo>
                        <a:pt x="72" y="331"/>
                      </a:lnTo>
                      <a:lnTo>
                        <a:pt x="74" y="331"/>
                      </a:lnTo>
                      <a:lnTo>
                        <a:pt x="76" y="330"/>
                      </a:lnTo>
                      <a:lnTo>
                        <a:pt x="77" y="326"/>
                      </a:lnTo>
                      <a:lnTo>
                        <a:pt x="77" y="325"/>
                      </a:lnTo>
                      <a:lnTo>
                        <a:pt x="79" y="325"/>
                      </a:lnTo>
                      <a:lnTo>
                        <a:pt x="79" y="323"/>
                      </a:lnTo>
                      <a:lnTo>
                        <a:pt x="81" y="325"/>
                      </a:lnTo>
                      <a:lnTo>
                        <a:pt x="82" y="325"/>
                      </a:lnTo>
                      <a:lnTo>
                        <a:pt x="84" y="325"/>
                      </a:lnTo>
                      <a:lnTo>
                        <a:pt x="86" y="326"/>
                      </a:lnTo>
                      <a:lnTo>
                        <a:pt x="87" y="326"/>
                      </a:lnTo>
                      <a:lnTo>
                        <a:pt x="89" y="326"/>
                      </a:lnTo>
                      <a:lnTo>
                        <a:pt x="89" y="328"/>
                      </a:lnTo>
                      <a:lnTo>
                        <a:pt x="91" y="328"/>
                      </a:lnTo>
                      <a:lnTo>
                        <a:pt x="93" y="328"/>
                      </a:lnTo>
                      <a:lnTo>
                        <a:pt x="94" y="328"/>
                      </a:lnTo>
                      <a:lnTo>
                        <a:pt x="94" y="326"/>
                      </a:lnTo>
                      <a:lnTo>
                        <a:pt x="96" y="325"/>
                      </a:lnTo>
                      <a:lnTo>
                        <a:pt x="98" y="323"/>
                      </a:lnTo>
                      <a:lnTo>
                        <a:pt x="99" y="323"/>
                      </a:lnTo>
                      <a:lnTo>
                        <a:pt x="99" y="321"/>
                      </a:lnTo>
                      <a:lnTo>
                        <a:pt x="101" y="321"/>
                      </a:lnTo>
                      <a:lnTo>
                        <a:pt x="104" y="323"/>
                      </a:lnTo>
                      <a:lnTo>
                        <a:pt x="106" y="323"/>
                      </a:lnTo>
                      <a:lnTo>
                        <a:pt x="106" y="325"/>
                      </a:lnTo>
                      <a:lnTo>
                        <a:pt x="108" y="325"/>
                      </a:lnTo>
                      <a:lnTo>
                        <a:pt x="108" y="326"/>
                      </a:lnTo>
                      <a:lnTo>
                        <a:pt x="109" y="326"/>
                      </a:lnTo>
                      <a:lnTo>
                        <a:pt x="109" y="328"/>
                      </a:lnTo>
                      <a:lnTo>
                        <a:pt x="111" y="330"/>
                      </a:lnTo>
                      <a:lnTo>
                        <a:pt x="113" y="330"/>
                      </a:lnTo>
                      <a:lnTo>
                        <a:pt x="115" y="328"/>
                      </a:lnTo>
                      <a:lnTo>
                        <a:pt x="116" y="328"/>
                      </a:lnTo>
                      <a:lnTo>
                        <a:pt x="118" y="328"/>
                      </a:lnTo>
                      <a:lnTo>
                        <a:pt x="120" y="328"/>
                      </a:lnTo>
                      <a:lnTo>
                        <a:pt x="121" y="326"/>
                      </a:lnTo>
                      <a:lnTo>
                        <a:pt x="123" y="326"/>
                      </a:lnTo>
                      <a:lnTo>
                        <a:pt x="125" y="328"/>
                      </a:lnTo>
                      <a:lnTo>
                        <a:pt x="126" y="328"/>
                      </a:lnTo>
                      <a:lnTo>
                        <a:pt x="128" y="328"/>
                      </a:lnTo>
                      <a:lnTo>
                        <a:pt x="128" y="330"/>
                      </a:lnTo>
                      <a:lnTo>
                        <a:pt x="128" y="328"/>
                      </a:lnTo>
                      <a:lnTo>
                        <a:pt x="130" y="326"/>
                      </a:lnTo>
                      <a:lnTo>
                        <a:pt x="131" y="326"/>
                      </a:lnTo>
                      <a:lnTo>
                        <a:pt x="133" y="326"/>
                      </a:lnTo>
                      <a:lnTo>
                        <a:pt x="135" y="326"/>
                      </a:lnTo>
                      <a:lnTo>
                        <a:pt x="136" y="326"/>
                      </a:lnTo>
                      <a:lnTo>
                        <a:pt x="136" y="325"/>
                      </a:lnTo>
                      <a:lnTo>
                        <a:pt x="138" y="326"/>
                      </a:lnTo>
                      <a:lnTo>
                        <a:pt x="140" y="326"/>
                      </a:lnTo>
                      <a:lnTo>
                        <a:pt x="140" y="325"/>
                      </a:lnTo>
                      <a:lnTo>
                        <a:pt x="142" y="325"/>
                      </a:lnTo>
                      <a:lnTo>
                        <a:pt x="143" y="325"/>
                      </a:lnTo>
                      <a:lnTo>
                        <a:pt x="145" y="325"/>
                      </a:lnTo>
                      <a:lnTo>
                        <a:pt x="147" y="325"/>
                      </a:lnTo>
                      <a:lnTo>
                        <a:pt x="148" y="325"/>
                      </a:lnTo>
                      <a:lnTo>
                        <a:pt x="150" y="325"/>
                      </a:lnTo>
                      <a:lnTo>
                        <a:pt x="152" y="325"/>
                      </a:lnTo>
                      <a:lnTo>
                        <a:pt x="152" y="323"/>
                      </a:lnTo>
                      <a:lnTo>
                        <a:pt x="153" y="323"/>
                      </a:lnTo>
                      <a:lnTo>
                        <a:pt x="155" y="323"/>
                      </a:lnTo>
                      <a:lnTo>
                        <a:pt x="157" y="323"/>
                      </a:lnTo>
                      <a:lnTo>
                        <a:pt x="158" y="323"/>
                      </a:lnTo>
                      <a:lnTo>
                        <a:pt x="160" y="323"/>
                      </a:lnTo>
                      <a:lnTo>
                        <a:pt x="162" y="323"/>
                      </a:lnTo>
                      <a:lnTo>
                        <a:pt x="162" y="325"/>
                      </a:lnTo>
                      <a:lnTo>
                        <a:pt x="163" y="325"/>
                      </a:lnTo>
                      <a:lnTo>
                        <a:pt x="165" y="325"/>
                      </a:lnTo>
                      <a:lnTo>
                        <a:pt x="165" y="326"/>
                      </a:lnTo>
                      <a:lnTo>
                        <a:pt x="167" y="326"/>
                      </a:lnTo>
                      <a:lnTo>
                        <a:pt x="167" y="328"/>
                      </a:lnTo>
                      <a:lnTo>
                        <a:pt x="169" y="330"/>
                      </a:lnTo>
                      <a:lnTo>
                        <a:pt x="170" y="330"/>
                      </a:lnTo>
                      <a:lnTo>
                        <a:pt x="172" y="330"/>
                      </a:lnTo>
                      <a:lnTo>
                        <a:pt x="172" y="331"/>
                      </a:lnTo>
                      <a:lnTo>
                        <a:pt x="174" y="331"/>
                      </a:lnTo>
                      <a:lnTo>
                        <a:pt x="174" y="333"/>
                      </a:lnTo>
                      <a:lnTo>
                        <a:pt x="175" y="333"/>
                      </a:lnTo>
                      <a:lnTo>
                        <a:pt x="177" y="335"/>
                      </a:lnTo>
                      <a:lnTo>
                        <a:pt x="177" y="336"/>
                      </a:lnTo>
                      <a:lnTo>
                        <a:pt x="180" y="336"/>
                      </a:lnTo>
                      <a:lnTo>
                        <a:pt x="182" y="336"/>
                      </a:lnTo>
                      <a:lnTo>
                        <a:pt x="182" y="338"/>
                      </a:lnTo>
                      <a:lnTo>
                        <a:pt x="184" y="338"/>
                      </a:lnTo>
                      <a:lnTo>
                        <a:pt x="185" y="338"/>
                      </a:lnTo>
                      <a:lnTo>
                        <a:pt x="187" y="340"/>
                      </a:lnTo>
                      <a:lnTo>
                        <a:pt x="189" y="340"/>
                      </a:lnTo>
                      <a:lnTo>
                        <a:pt x="189" y="341"/>
                      </a:lnTo>
                      <a:lnTo>
                        <a:pt x="191" y="341"/>
                      </a:lnTo>
                      <a:lnTo>
                        <a:pt x="191" y="343"/>
                      </a:lnTo>
                      <a:lnTo>
                        <a:pt x="192" y="343"/>
                      </a:lnTo>
                      <a:lnTo>
                        <a:pt x="192" y="344"/>
                      </a:lnTo>
                      <a:lnTo>
                        <a:pt x="194" y="344"/>
                      </a:lnTo>
                      <a:lnTo>
                        <a:pt x="194" y="346"/>
                      </a:lnTo>
                      <a:lnTo>
                        <a:pt x="194" y="348"/>
                      </a:lnTo>
                      <a:lnTo>
                        <a:pt x="196" y="349"/>
                      </a:lnTo>
                      <a:lnTo>
                        <a:pt x="197" y="351"/>
                      </a:lnTo>
                      <a:lnTo>
                        <a:pt x="196" y="349"/>
                      </a:lnTo>
                      <a:lnTo>
                        <a:pt x="196" y="351"/>
                      </a:lnTo>
                      <a:lnTo>
                        <a:pt x="194" y="353"/>
                      </a:lnTo>
                      <a:lnTo>
                        <a:pt x="194" y="354"/>
                      </a:lnTo>
                      <a:lnTo>
                        <a:pt x="194" y="356"/>
                      </a:lnTo>
                      <a:lnTo>
                        <a:pt x="196" y="356"/>
                      </a:lnTo>
                      <a:lnTo>
                        <a:pt x="197" y="356"/>
                      </a:lnTo>
                      <a:lnTo>
                        <a:pt x="199" y="358"/>
                      </a:lnTo>
                      <a:lnTo>
                        <a:pt x="201" y="358"/>
                      </a:lnTo>
                      <a:lnTo>
                        <a:pt x="201" y="359"/>
                      </a:lnTo>
                      <a:lnTo>
                        <a:pt x="202" y="359"/>
                      </a:lnTo>
                      <a:lnTo>
                        <a:pt x="202" y="358"/>
                      </a:lnTo>
                      <a:lnTo>
                        <a:pt x="204" y="358"/>
                      </a:lnTo>
                      <a:lnTo>
                        <a:pt x="204" y="359"/>
                      </a:lnTo>
                      <a:lnTo>
                        <a:pt x="206" y="359"/>
                      </a:lnTo>
                      <a:lnTo>
                        <a:pt x="207" y="361"/>
                      </a:lnTo>
                      <a:lnTo>
                        <a:pt x="209" y="361"/>
                      </a:lnTo>
                      <a:lnTo>
                        <a:pt x="211" y="361"/>
                      </a:lnTo>
                      <a:lnTo>
                        <a:pt x="211" y="363"/>
                      </a:lnTo>
                      <a:lnTo>
                        <a:pt x="212" y="364"/>
                      </a:lnTo>
                      <a:lnTo>
                        <a:pt x="214" y="366"/>
                      </a:lnTo>
                      <a:lnTo>
                        <a:pt x="214" y="367"/>
                      </a:lnTo>
                      <a:lnTo>
                        <a:pt x="214" y="369"/>
                      </a:lnTo>
                      <a:lnTo>
                        <a:pt x="214" y="371"/>
                      </a:lnTo>
                      <a:lnTo>
                        <a:pt x="214" y="372"/>
                      </a:lnTo>
                      <a:lnTo>
                        <a:pt x="214" y="374"/>
                      </a:lnTo>
                      <a:lnTo>
                        <a:pt x="216" y="372"/>
                      </a:lnTo>
                      <a:lnTo>
                        <a:pt x="218" y="372"/>
                      </a:lnTo>
                      <a:lnTo>
                        <a:pt x="218" y="371"/>
                      </a:lnTo>
                      <a:lnTo>
                        <a:pt x="219" y="371"/>
                      </a:lnTo>
                      <a:lnTo>
                        <a:pt x="221" y="371"/>
                      </a:lnTo>
                      <a:lnTo>
                        <a:pt x="221" y="369"/>
                      </a:lnTo>
                      <a:lnTo>
                        <a:pt x="223" y="369"/>
                      </a:lnTo>
                      <a:lnTo>
                        <a:pt x="223" y="371"/>
                      </a:lnTo>
                      <a:lnTo>
                        <a:pt x="223" y="372"/>
                      </a:lnTo>
                      <a:lnTo>
                        <a:pt x="224" y="372"/>
                      </a:lnTo>
                      <a:lnTo>
                        <a:pt x="226" y="372"/>
                      </a:lnTo>
                      <a:lnTo>
                        <a:pt x="228" y="372"/>
                      </a:lnTo>
                      <a:lnTo>
                        <a:pt x="226" y="371"/>
                      </a:lnTo>
                      <a:lnTo>
                        <a:pt x="228" y="371"/>
                      </a:lnTo>
                      <a:lnTo>
                        <a:pt x="228" y="369"/>
                      </a:lnTo>
                      <a:lnTo>
                        <a:pt x="229" y="367"/>
                      </a:lnTo>
                      <a:lnTo>
                        <a:pt x="228" y="367"/>
                      </a:lnTo>
                      <a:lnTo>
                        <a:pt x="228" y="366"/>
                      </a:lnTo>
                      <a:lnTo>
                        <a:pt x="229" y="366"/>
                      </a:lnTo>
                      <a:lnTo>
                        <a:pt x="229" y="364"/>
                      </a:lnTo>
                      <a:lnTo>
                        <a:pt x="231" y="364"/>
                      </a:lnTo>
                      <a:lnTo>
                        <a:pt x="231" y="363"/>
                      </a:lnTo>
                      <a:lnTo>
                        <a:pt x="233" y="363"/>
                      </a:lnTo>
                      <a:lnTo>
                        <a:pt x="233" y="364"/>
                      </a:lnTo>
                      <a:lnTo>
                        <a:pt x="234" y="364"/>
                      </a:lnTo>
                      <a:lnTo>
                        <a:pt x="234" y="363"/>
                      </a:lnTo>
                      <a:lnTo>
                        <a:pt x="234" y="361"/>
                      </a:lnTo>
                      <a:lnTo>
                        <a:pt x="236" y="361"/>
                      </a:lnTo>
                      <a:lnTo>
                        <a:pt x="236" y="359"/>
                      </a:lnTo>
                      <a:lnTo>
                        <a:pt x="236" y="361"/>
                      </a:lnTo>
                      <a:lnTo>
                        <a:pt x="238" y="361"/>
                      </a:lnTo>
                      <a:lnTo>
                        <a:pt x="239" y="361"/>
                      </a:lnTo>
                      <a:lnTo>
                        <a:pt x="241" y="359"/>
                      </a:lnTo>
                      <a:lnTo>
                        <a:pt x="241" y="358"/>
                      </a:lnTo>
                      <a:lnTo>
                        <a:pt x="239" y="358"/>
                      </a:lnTo>
                      <a:lnTo>
                        <a:pt x="239" y="356"/>
                      </a:lnTo>
                      <a:lnTo>
                        <a:pt x="241" y="356"/>
                      </a:lnTo>
                      <a:lnTo>
                        <a:pt x="243" y="356"/>
                      </a:lnTo>
                      <a:lnTo>
                        <a:pt x="245" y="356"/>
                      </a:lnTo>
                      <a:lnTo>
                        <a:pt x="246" y="354"/>
                      </a:lnTo>
                      <a:lnTo>
                        <a:pt x="246" y="356"/>
                      </a:lnTo>
                      <a:lnTo>
                        <a:pt x="248" y="356"/>
                      </a:lnTo>
                      <a:lnTo>
                        <a:pt x="248" y="354"/>
                      </a:lnTo>
                      <a:lnTo>
                        <a:pt x="248" y="353"/>
                      </a:lnTo>
                      <a:lnTo>
                        <a:pt x="250" y="353"/>
                      </a:lnTo>
                      <a:lnTo>
                        <a:pt x="250" y="351"/>
                      </a:lnTo>
                      <a:lnTo>
                        <a:pt x="250" y="353"/>
                      </a:lnTo>
                      <a:lnTo>
                        <a:pt x="251" y="351"/>
                      </a:lnTo>
                      <a:lnTo>
                        <a:pt x="251" y="353"/>
                      </a:lnTo>
                      <a:lnTo>
                        <a:pt x="253" y="353"/>
                      </a:lnTo>
                      <a:lnTo>
                        <a:pt x="253" y="354"/>
                      </a:lnTo>
                      <a:lnTo>
                        <a:pt x="255" y="354"/>
                      </a:lnTo>
                      <a:lnTo>
                        <a:pt x="255" y="356"/>
                      </a:lnTo>
                      <a:lnTo>
                        <a:pt x="255" y="354"/>
                      </a:lnTo>
                      <a:lnTo>
                        <a:pt x="256" y="356"/>
                      </a:lnTo>
                      <a:lnTo>
                        <a:pt x="256" y="358"/>
                      </a:lnTo>
                      <a:lnTo>
                        <a:pt x="258" y="359"/>
                      </a:lnTo>
                      <a:lnTo>
                        <a:pt x="260" y="359"/>
                      </a:lnTo>
                      <a:lnTo>
                        <a:pt x="260" y="361"/>
                      </a:lnTo>
                      <a:lnTo>
                        <a:pt x="260" y="363"/>
                      </a:lnTo>
                      <a:lnTo>
                        <a:pt x="261" y="363"/>
                      </a:lnTo>
                      <a:lnTo>
                        <a:pt x="261" y="364"/>
                      </a:lnTo>
                      <a:lnTo>
                        <a:pt x="263" y="364"/>
                      </a:lnTo>
                      <a:lnTo>
                        <a:pt x="263" y="363"/>
                      </a:lnTo>
                      <a:lnTo>
                        <a:pt x="263" y="364"/>
                      </a:lnTo>
                      <a:lnTo>
                        <a:pt x="265" y="364"/>
                      </a:lnTo>
                      <a:lnTo>
                        <a:pt x="267" y="364"/>
                      </a:lnTo>
                      <a:lnTo>
                        <a:pt x="268" y="363"/>
                      </a:lnTo>
                      <a:lnTo>
                        <a:pt x="268" y="364"/>
                      </a:lnTo>
                      <a:lnTo>
                        <a:pt x="267" y="364"/>
                      </a:lnTo>
                      <a:lnTo>
                        <a:pt x="268" y="364"/>
                      </a:lnTo>
                      <a:lnTo>
                        <a:pt x="270" y="364"/>
                      </a:lnTo>
                      <a:lnTo>
                        <a:pt x="272" y="364"/>
                      </a:lnTo>
                      <a:lnTo>
                        <a:pt x="272" y="363"/>
                      </a:lnTo>
                      <a:lnTo>
                        <a:pt x="273" y="363"/>
                      </a:lnTo>
                      <a:lnTo>
                        <a:pt x="275" y="363"/>
                      </a:lnTo>
                      <a:lnTo>
                        <a:pt x="277" y="363"/>
                      </a:lnTo>
                      <a:lnTo>
                        <a:pt x="277" y="361"/>
                      </a:lnTo>
                      <a:lnTo>
                        <a:pt x="278" y="363"/>
                      </a:lnTo>
                      <a:lnTo>
                        <a:pt x="280" y="363"/>
                      </a:lnTo>
                      <a:lnTo>
                        <a:pt x="280" y="361"/>
                      </a:lnTo>
                      <a:lnTo>
                        <a:pt x="282" y="361"/>
                      </a:lnTo>
                      <a:lnTo>
                        <a:pt x="283" y="361"/>
                      </a:lnTo>
                      <a:lnTo>
                        <a:pt x="285" y="361"/>
                      </a:lnTo>
                      <a:lnTo>
                        <a:pt x="285" y="363"/>
                      </a:lnTo>
                      <a:lnTo>
                        <a:pt x="287" y="363"/>
                      </a:lnTo>
                      <a:lnTo>
                        <a:pt x="288" y="363"/>
                      </a:lnTo>
                      <a:lnTo>
                        <a:pt x="290" y="363"/>
                      </a:lnTo>
                      <a:lnTo>
                        <a:pt x="288" y="364"/>
                      </a:lnTo>
                      <a:lnTo>
                        <a:pt x="288" y="366"/>
                      </a:lnTo>
                      <a:lnTo>
                        <a:pt x="287" y="367"/>
                      </a:lnTo>
                      <a:lnTo>
                        <a:pt x="288" y="367"/>
                      </a:lnTo>
                      <a:lnTo>
                        <a:pt x="290" y="367"/>
                      </a:lnTo>
                      <a:lnTo>
                        <a:pt x="292" y="369"/>
                      </a:lnTo>
                      <a:lnTo>
                        <a:pt x="297" y="371"/>
                      </a:lnTo>
                      <a:lnTo>
                        <a:pt x="297" y="369"/>
                      </a:lnTo>
                      <a:lnTo>
                        <a:pt x="299" y="369"/>
                      </a:lnTo>
                      <a:lnTo>
                        <a:pt x="300" y="371"/>
                      </a:lnTo>
                      <a:lnTo>
                        <a:pt x="300" y="369"/>
                      </a:lnTo>
                      <a:lnTo>
                        <a:pt x="300" y="367"/>
                      </a:lnTo>
                      <a:lnTo>
                        <a:pt x="302" y="367"/>
                      </a:lnTo>
                      <a:lnTo>
                        <a:pt x="305" y="369"/>
                      </a:lnTo>
                      <a:lnTo>
                        <a:pt x="307" y="369"/>
                      </a:lnTo>
                      <a:lnTo>
                        <a:pt x="307" y="371"/>
                      </a:lnTo>
                      <a:lnTo>
                        <a:pt x="309" y="371"/>
                      </a:lnTo>
                      <a:lnTo>
                        <a:pt x="310" y="371"/>
                      </a:lnTo>
                      <a:lnTo>
                        <a:pt x="312" y="371"/>
                      </a:lnTo>
                      <a:lnTo>
                        <a:pt x="312" y="369"/>
                      </a:lnTo>
                      <a:lnTo>
                        <a:pt x="310" y="369"/>
                      </a:lnTo>
                      <a:lnTo>
                        <a:pt x="310" y="367"/>
                      </a:lnTo>
                      <a:lnTo>
                        <a:pt x="310" y="366"/>
                      </a:lnTo>
                      <a:lnTo>
                        <a:pt x="312" y="366"/>
                      </a:lnTo>
                      <a:lnTo>
                        <a:pt x="314" y="366"/>
                      </a:lnTo>
                      <a:lnTo>
                        <a:pt x="316" y="366"/>
                      </a:lnTo>
                      <a:lnTo>
                        <a:pt x="317" y="366"/>
                      </a:lnTo>
                      <a:lnTo>
                        <a:pt x="317" y="364"/>
                      </a:lnTo>
                      <a:lnTo>
                        <a:pt x="319" y="366"/>
                      </a:lnTo>
                      <a:lnTo>
                        <a:pt x="321" y="366"/>
                      </a:lnTo>
                      <a:lnTo>
                        <a:pt x="322" y="366"/>
                      </a:lnTo>
                      <a:lnTo>
                        <a:pt x="322" y="364"/>
                      </a:lnTo>
                      <a:lnTo>
                        <a:pt x="324" y="363"/>
                      </a:lnTo>
                      <a:lnTo>
                        <a:pt x="326" y="363"/>
                      </a:lnTo>
                      <a:lnTo>
                        <a:pt x="326" y="361"/>
                      </a:lnTo>
                      <a:lnTo>
                        <a:pt x="326" y="359"/>
                      </a:lnTo>
                      <a:lnTo>
                        <a:pt x="327" y="359"/>
                      </a:lnTo>
                      <a:lnTo>
                        <a:pt x="327" y="361"/>
                      </a:lnTo>
                      <a:lnTo>
                        <a:pt x="329" y="359"/>
                      </a:lnTo>
                      <a:lnTo>
                        <a:pt x="327" y="359"/>
                      </a:lnTo>
                      <a:lnTo>
                        <a:pt x="327" y="358"/>
                      </a:lnTo>
                      <a:lnTo>
                        <a:pt x="329" y="358"/>
                      </a:lnTo>
                      <a:lnTo>
                        <a:pt x="331" y="356"/>
                      </a:lnTo>
                      <a:lnTo>
                        <a:pt x="331" y="354"/>
                      </a:lnTo>
                      <a:lnTo>
                        <a:pt x="334" y="354"/>
                      </a:lnTo>
                      <a:lnTo>
                        <a:pt x="336" y="354"/>
                      </a:lnTo>
                      <a:lnTo>
                        <a:pt x="337" y="353"/>
                      </a:lnTo>
                      <a:lnTo>
                        <a:pt x="339" y="353"/>
                      </a:lnTo>
                      <a:lnTo>
                        <a:pt x="341" y="353"/>
                      </a:lnTo>
                      <a:lnTo>
                        <a:pt x="341" y="351"/>
                      </a:lnTo>
                      <a:lnTo>
                        <a:pt x="343" y="351"/>
                      </a:lnTo>
                      <a:lnTo>
                        <a:pt x="343" y="349"/>
                      </a:lnTo>
                      <a:lnTo>
                        <a:pt x="344" y="349"/>
                      </a:lnTo>
                      <a:lnTo>
                        <a:pt x="344" y="348"/>
                      </a:lnTo>
                      <a:lnTo>
                        <a:pt x="346" y="348"/>
                      </a:lnTo>
                      <a:lnTo>
                        <a:pt x="348" y="346"/>
                      </a:lnTo>
                      <a:lnTo>
                        <a:pt x="348" y="344"/>
                      </a:lnTo>
                      <a:lnTo>
                        <a:pt x="349" y="343"/>
                      </a:lnTo>
                      <a:lnTo>
                        <a:pt x="351" y="343"/>
                      </a:lnTo>
                      <a:lnTo>
                        <a:pt x="353" y="343"/>
                      </a:lnTo>
                      <a:lnTo>
                        <a:pt x="354" y="343"/>
                      </a:lnTo>
                      <a:lnTo>
                        <a:pt x="354" y="341"/>
                      </a:lnTo>
                      <a:lnTo>
                        <a:pt x="358" y="341"/>
                      </a:lnTo>
                      <a:lnTo>
                        <a:pt x="359" y="338"/>
                      </a:lnTo>
                      <a:lnTo>
                        <a:pt x="361" y="338"/>
                      </a:lnTo>
                      <a:lnTo>
                        <a:pt x="363" y="338"/>
                      </a:lnTo>
                      <a:lnTo>
                        <a:pt x="363" y="336"/>
                      </a:lnTo>
                      <a:lnTo>
                        <a:pt x="363" y="335"/>
                      </a:lnTo>
                      <a:lnTo>
                        <a:pt x="364" y="335"/>
                      </a:lnTo>
                      <a:lnTo>
                        <a:pt x="364" y="333"/>
                      </a:lnTo>
                      <a:lnTo>
                        <a:pt x="363" y="333"/>
                      </a:lnTo>
                      <a:lnTo>
                        <a:pt x="364" y="333"/>
                      </a:lnTo>
                      <a:lnTo>
                        <a:pt x="366" y="333"/>
                      </a:lnTo>
                      <a:lnTo>
                        <a:pt x="366" y="331"/>
                      </a:lnTo>
                      <a:lnTo>
                        <a:pt x="366" y="330"/>
                      </a:lnTo>
                      <a:lnTo>
                        <a:pt x="366" y="328"/>
                      </a:lnTo>
                      <a:lnTo>
                        <a:pt x="368" y="328"/>
                      </a:lnTo>
                      <a:lnTo>
                        <a:pt x="371" y="328"/>
                      </a:lnTo>
                      <a:lnTo>
                        <a:pt x="373" y="326"/>
                      </a:lnTo>
                      <a:lnTo>
                        <a:pt x="373" y="328"/>
                      </a:lnTo>
                      <a:lnTo>
                        <a:pt x="375" y="328"/>
                      </a:lnTo>
                      <a:lnTo>
                        <a:pt x="376" y="326"/>
                      </a:lnTo>
                      <a:lnTo>
                        <a:pt x="378" y="326"/>
                      </a:lnTo>
                      <a:lnTo>
                        <a:pt x="380" y="326"/>
                      </a:lnTo>
                      <a:lnTo>
                        <a:pt x="380" y="325"/>
                      </a:lnTo>
                      <a:lnTo>
                        <a:pt x="380" y="323"/>
                      </a:lnTo>
                      <a:lnTo>
                        <a:pt x="381" y="321"/>
                      </a:lnTo>
                      <a:lnTo>
                        <a:pt x="383" y="321"/>
                      </a:lnTo>
                      <a:lnTo>
                        <a:pt x="385" y="321"/>
                      </a:lnTo>
                      <a:lnTo>
                        <a:pt x="386" y="320"/>
                      </a:lnTo>
                      <a:lnTo>
                        <a:pt x="388" y="320"/>
                      </a:lnTo>
                      <a:lnTo>
                        <a:pt x="390" y="320"/>
                      </a:lnTo>
                      <a:lnTo>
                        <a:pt x="392" y="320"/>
                      </a:lnTo>
                      <a:lnTo>
                        <a:pt x="392" y="321"/>
                      </a:lnTo>
                      <a:lnTo>
                        <a:pt x="393" y="321"/>
                      </a:lnTo>
                      <a:lnTo>
                        <a:pt x="395" y="321"/>
                      </a:lnTo>
                      <a:lnTo>
                        <a:pt x="395" y="323"/>
                      </a:lnTo>
                      <a:lnTo>
                        <a:pt x="397" y="323"/>
                      </a:lnTo>
                      <a:lnTo>
                        <a:pt x="397" y="325"/>
                      </a:lnTo>
                      <a:lnTo>
                        <a:pt x="398" y="326"/>
                      </a:lnTo>
                      <a:lnTo>
                        <a:pt x="398" y="325"/>
                      </a:lnTo>
                      <a:lnTo>
                        <a:pt x="400" y="325"/>
                      </a:lnTo>
                      <a:lnTo>
                        <a:pt x="400" y="326"/>
                      </a:lnTo>
                      <a:lnTo>
                        <a:pt x="402" y="326"/>
                      </a:lnTo>
                      <a:lnTo>
                        <a:pt x="403" y="326"/>
                      </a:lnTo>
                      <a:lnTo>
                        <a:pt x="403" y="328"/>
                      </a:lnTo>
                      <a:lnTo>
                        <a:pt x="403" y="326"/>
                      </a:lnTo>
                      <a:lnTo>
                        <a:pt x="405" y="328"/>
                      </a:lnTo>
                      <a:lnTo>
                        <a:pt x="407" y="328"/>
                      </a:lnTo>
                      <a:lnTo>
                        <a:pt x="407" y="330"/>
                      </a:lnTo>
                      <a:lnTo>
                        <a:pt x="408" y="330"/>
                      </a:lnTo>
                      <a:lnTo>
                        <a:pt x="410" y="330"/>
                      </a:lnTo>
                      <a:lnTo>
                        <a:pt x="408" y="331"/>
                      </a:lnTo>
                      <a:lnTo>
                        <a:pt x="410" y="331"/>
                      </a:lnTo>
                      <a:lnTo>
                        <a:pt x="412" y="331"/>
                      </a:lnTo>
                      <a:lnTo>
                        <a:pt x="410" y="333"/>
                      </a:lnTo>
                      <a:lnTo>
                        <a:pt x="412" y="333"/>
                      </a:lnTo>
                      <a:lnTo>
                        <a:pt x="412" y="335"/>
                      </a:lnTo>
                      <a:lnTo>
                        <a:pt x="410" y="335"/>
                      </a:lnTo>
                      <a:lnTo>
                        <a:pt x="412" y="336"/>
                      </a:lnTo>
                      <a:lnTo>
                        <a:pt x="413" y="336"/>
                      </a:lnTo>
                      <a:lnTo>
                        <a:pt x="413" y="338"/>
                      </a:lnTo>
                      <a:lnTo>
                        <a:pt x="415" y="340"/>
                      </a:lnTo>
                      <a:lnTo>
                        <a:pt x="413" y="340"/>
                      </a:lnTo>
                      <a:lnTo>
                        <a:pt x="412" y="340"/>
                      </a:lnTo>
                      <a:lnTo>
                        <a:pt x="410" y="340"/>
                      </a:lnTo>
                      <a:lnTo>
                        <a:pt x="410" y="341"/>
                      </a:lnTo>
                      <a:lnTo>
                        <a:pt x="408" y="341"/>
                      </a:lnTo>
                      <a:lnTo>
                        <a:pt x="407" y="341"/>
                      </a:lnTo>
                      <a:lnTo>
                        <a:pt x="407" y="343"/>
                      </a:lnTo>
                      <a:lnTo>
                        <a:pt x="405" y="341"/>
                      </a:lnTo>
                      <a:lnTo>
                        <a:pt x="405" y="343"/>
                      </a:lnTo>
                      <a:lnTo>
                        <a:pt x="403" y="343"/>
                      </a:lnTo>
                      <a:lnTo>
                        <a:pt x="403" y="344"/>
                      </a:lnTo>
                      <a:lnTo>
                        <a:pt x="402" y="344"/>
                      </a:lnTo>
                      <a:lnTo>
                        <a:pt x="400" y="344"/>
                      </a:lnTo>
                      <a:lnTo>
                        <a:pt x="400" y="346"/>
                      </a:lnTo>
                      <a:lnTo>
                        <a:pt x="398" y="346"/>
                      </a:lnTo>
                      <a:lnTo>
                        <a:pt x="397" y="348"/>
                      </a:lnTo>
                      <a:lnTo>
                        <a:pt x="397" y="349"/>
                      </a:lnTo>
                      <a:lnTo>
                        <a:pt x="395" y="349"/>
                      </a:lnTo>
                      <a:lnTo>
                        <a:pt x="395" y="351"/>
                      </a:lnTo>
                      <a:lnTo>
                        <a:pt x="395" y="353"/>
                      </a:lnTo>
                      <a:lnTo>
                        <a:pt x="393" y="353"/>
                      </a:lnTo>
                      <a:lnTo>
                        <a:pt x="393" y="354"/>
                      </a:lnTo>
                      <a:lnTo>
                        <a:pt x="395" y="354"/>
                      </a:lnTo>
                      <a:lnTo>
                        <a:pt x="395" y="356"/>
                      </a:lnTo>
                      <a:lnTo>
                        <a:pt x="397" y="356"/>
                      </a:lnTo>
                      <a:lnTo>
                        <a:pt x="397" y="358"/>
                      </a:lnTo>
                      <a:lnTo>
                        <a:pt x="398" y="359"/>
                      </a:lnTo>
                      <a:lnTo>
                        <a:pt x="398" y="361"/>
                      </a:lnTo>
                      <a:lnTo>
                        <a:pt x="400" y="363"/>
                      </a:lnTo>
                      <a:lnTo>
                        <a:pt x="400" y="364"/>
                      </a:lnTo>
                      <a:lnTo>
                        <a:pt x="398" y="364"/>
                      </a:lnTo>
                      <a:lnTo>
                        <a:pt x="398" y="366"/>
                      </a:lnTo>
                      <a:lnTo>
                        <a:pt x="398" y="367"/>
                      </a:lnTo>
                      <a:lnTo>
                        <a:pt x="397" y="367"/>
                      </a:lnTo>
                      <a:lnTo>
                        <a:pt x="397" y="369"/>
                      </a:lnTo>
                      <a:lnTo>
                        <a:pt x="397" y="367"/>
                      </a:lnTo>
                      <a:lnTo>
                        <a:pt x="395" y="367"/>
                      </a:lnTo>
                      <a:lnTo>
                        <a:pt x="393" y="367"/>
                      </a:lnTo>
                      <a:lnTo>
                        <a:pt x="393" y="369"/>
                      </a:lnTo>
                      <a:lnTo>
                        <a:pt x="392" y="369"/>
                      </a:lnTo>
                      <a:lnTo>
                        <a:pt x="390" y="369"/>
                      </a:lnTo>
                      <a:lnTo>
                        <a:pt x="390" y="371"/>
                      </a:lnTo>
                      <a:lnTo>
                        <a:pt x="392" y="371"/>
                      </a:lnTo>
                      <a:lnTo>
                        <a:pt x="392" y="372"/>
                      </a:lnTo>
                      <a:lnTo>
                        <a:pt x="390" y="372"/>
                      </a:lnTo>
                      <a:lnTo>
                        <a:pt x="390" y="374"/>
                      </a:lnTo>
                      <a:lnTo>
                        <a:pt x="390" y="376"/>
                      </a:lnTo>
                      <a:lnTo>
                        <a:pt x="388" y="376"/>
                      </a:lnTo>
                      <a:lnTo>
                        <a:pt x="388" y="377"/>
                      </a:lnTo>
                      <a:lnTo>
                        <a:pt x="386" y="377"/>
                      </a:lnTo>
                      <a:lnTo>
                        <a:pt x="385" y="377"/>
                      </a:lnTo>
                      <a:lnTo>
                        <a:pt x="383" y="379"/>
                      </a:lnTo>
                      <a:lnTo>
                        <a:pt x="383" y="377"/>
                      </a:lnTo>
                      <a:lnTo>
                        <a:pt x="383" y="379"/>
                      </a:lnTo>
                      <a:lnTo>
                        <a:pt x="383" y="381"/>
                      </a:lnTo>
                      <a:lnTo>
                        <a:pt x="381" y="382"/>
                      </a:lnTo>
                      <a:lnTo>
                        <a:pt x="381" y="381"/>
                      </a:lnTo>
                      <a:lnTo>
                        <a:pt x="381" y="382"/>
                      </a:lnTo>
                      <a:lnTo>
                        <a:pt x="380" y="382"/>
                      </a:lnTo>
                      <a:lnTo>
                        <a:pt x="380" y="384"/>
                      </a:lnTo>
                      <a:lnTo>
                        <a:pt x="381" y="384"/>
                      </a:lnTo>
                      <a:lnTo>
                        <a:pt x="381" y="386"/>
                      </a:lnTo>
                      <a:lnTo>
                        <a:pt x="381" y="384"/>
                      </a:lnTo>
                      <a:lnTo>
                        <a:pt x="383" y="384"/>
                      </a:lnTo>
                      <a:lnTo>
                        <a:pt x="385" y="384"/>
                      </a:lnTo>
                      <a:lnTo>
                        <a:pt x="386" y="384"/>
                      </a:lnTo>
                      <a:lnTo>
                        <a:pt x="388" y="384"/>
                      </a:lnTo>
                      <a:lnTo>
                        <a:pt x="390" y="384"/>
                      </a:lnTo>
                      <a:lnTo>
                        <a:pt x="392" y="384"/>
                      </a:lnTo>
                      <a:lnTo>
                        <a:pt x="392" y="382"/>
                      </a:lnTo>
                      <a:lnTo>
                        <a:pt x="393" y="382"/>
                      </a:lnTo>
                      <a:lnTo>
                        <a:pt x="395" y="382"/>
                      </a:lnTo>
                      <a:lnTo>
                        <a:pt x="395" y="384"/>
                      </a:lnTo>
                      <a:lnTo>
                        <a:pt x="395" y="386"/>
                      </a:lnTo>
                      <a:lnTo>
                        <a:pt x="397" y="386"/>
                      </a:lnTo>
                      <a:lnTo>
                        <a:pt x="397" y="387"/>
                      </a:lnTo>
                      <a:lnTo>
                        <a:pt x="397" y="386"/>
                      </a:lnTo>
                      <a:lnTo>
                        <a:pt x="398" y="386"/>
                      </a:lnTo>
                      <a:lnTo>
                        <a:pt x="398" y="387"/>
                      </a:lnTo>
                      <a:lnTo>
                        <a:pt x="398" y="389"/>
                      </a:lnTo>
                      <a:lnTo>
                        <a:pt x="398" y="390"/>
                      </a:lnTo>
                      <a:lnTo>
                        <a:pt x="398" y="392"/>
                      </a:lnTo>
                      <a:lnTo>
                        <a:pt x="398" y="394"/>
                      </a:lnTo>
                      <a:lnTo>
                        <a:pt x="400" y="394"/>
                      </a:lnTo>
                      <a:lnTo>
                        <a:pt x="398" y="395"/>
                      </a:lnTo>
                      <a:lnTo>
                        <a:pt x="398" y="397"/>
                      </a:lnTo>
                      <a:lnTo>
                        <a:pt x="400" y="397"/>
                      </a:lnTo>
                      <a:lnTo>
                        <a:pt x="400" y="399"/>
                      </a:lnTo>
                      <a:lnTo>
                        <a:pt x="398" y="399"/>
                      </a:lnTo>
                      <a:lnTo>
                        <a:pt x="398" y="400"/>
                      </a:lnTo>
                      <a:lnTo>
                        <a:pt x="398" y="402"/>
                      </a:lnTo>
                      <a:lnTo>
                        <a:pt x="397" y="402"/>
                      </a:lnTo>
                      <a:lnTo>
                        <a:pt x="398" y="402"/>
                      </a:lnTo>
                      <a:lnTo>
                        <a:pt x="398" y="404"/>
                      </a:lnTo>
                      <a:lnTo>
                        <a:pt x="400" y="404"/>
                      </a:lnTo>
                      <a:lnTo>
                        <a:pt x="402" y="402"/>
                      </a:lnTo>
                      <a:lnTo>
                        <a:pt x="402" y="404"/>
                      </a:lnTo>
                      <a:lnTo>
                        <a:pt x="400" y="404"/>
                      </a:lnTo>
                      <a:lnTo>
                        <a:pt x="400" y="405"/>
                      </a:lnTo>
                      <a:lnTo>
                        <a:pt x="400" y="407"/>
                      </a:lnTo>
                      <a:lnTo>
                        <a:pt x="400" y="408"/>
                      </a:lnTo>
                      <a:lnTo>
                        <a:pt x="402" y="408"/>
                      </a:lnTo>
                      <a:lnTo>
                        <a:pt x="403" y="408"/>
                      </a:lnTo>
                      <a:lnTo>
                        <a:pt x="405" y="408"/>
                      </a:lnTo>
                      <a:lnTo>
                        <a:pt x="405" y="407"/>
                      </a:lnTo>
                      <a:lnTo>
                        <a:pt x="407" y="408"/>
                      </a:lnTo>
                      <a:lnTo>
                        <a:pt x="405" y="408"/>
                      </a:lnTo>
                      <a:lnTo>
                        <a:pt x="405" y="410"/>
                      </a:lnTo>
                      <a:lnTo>
                        <a:pt x="405" y="412"/>
                      </a:lnTo>
                      <a:lnTo>
                        <a:pt x="407" y="412"/>
                      </a:lnTo>
                      <a:lnTo>
                        <a:pt x="408" y="412"/>
                      </a:lnTo>
                      <a:lnTo>
                        <a:pt x="410" y="412"/>
                      </a:lnTo>
                      <a:lnTo>
                        <a:pt x="410" y="413"/>
                      </a:lnTo>
                      <a:lnTo>
                        <a:pt x="412" y="413"/>
                      </a:lnTo>
                      <a:lnTo>
                        <a:pt x="412" y="415"/>
                      </a:lnTo>
                      <a:lnTo>
                        <a:pt x="413" y="413"/>
                      </a:lnTo>
                      <a:lnTo>
                        <a:pt x="413" y="415"/>
                      </a:lnTo>
                      <a:lnTo>
                        <a:pt x="415" y="413"/>
                      </a:lnTo>
                      <a:lnTo>
                        <a:pt x="417" y="413"/>
                      </a:lnTo>
                      <a:lnTo>
                        <a:pt x="419" y="413"/>
                      </a:lnTo>
                      <a:lnTo>
                        <a:pt x="419" y="412"/>
                      </a:lnTo>
                      <a:lnTo>
                        <a:pt x="420" y="412"/>
                      </a:lnTo>
                      <a:lnTo>
                        <a:pt x="422" y="410"/>
                      </a:lnTo>
                      <a:lnTo>
                        <a:pt x="422" y="408"/>
                      </a:lnTo>
                      <a:lnTo>
                        <a:pt x="424" y="408"/>
                      </a:lnTo>
                      <a:lnTo>
                        <a:pt x="425" y="407"/>
                      </a:lnTo>
                      <a:lnTo>
                        <a:pt x="427" y="407"/>
                      </a:lnTo>
                      <a:lnTo>
                        <a:pt x="429" y="407"/>
                      </a:lnTo>
                      <a:lnTo>
                        <a:pt x="429" y="405"/>
                      </a:lnTo>
                      <a:lnTo>
                        <a:pt x="430" y="405"/>
                      </a:lnTo>
                      <a:lnTo>
                        <a:pt x="432" y="405"/>
                      </a:lnTo>
                      <a:lnTo>
                        <a:pt x="432" y="404"/>
                      </a:lnTo>
                      <a:lnTo>
                        <a:pt x="434" y="404"/>
                      </a:lnTo>
                      <a:lnTo>
                        <a:pt x="435" y="405"/>
                      </a:lnTo>
                      <a:lnTo>
                        <a:pt x="437" y="404"/>
                      </a:lnTo>
                      <a:lnTo>
                        <a:pt x="437" y="402"/>
                      </a:lnTo>
                      <a:lnTo>
                        <a:pt x="439" y="402"/>
                      </a:lnTo>
                      <a:lnTo>
                        <a:pt x="440" y="402"/>
                      </a:lnTo>
                      <a:lnTo>
                        <a:pt x="439" y="400"/>
                      </a:lnTo>
                      <a:lnTo>
                        <a:pt x="440" y="402"/>
                      </a:lnTo>
                      <a:lnTo>
                        <a:pt x="442" y="400"/>
                      </a:lnTo>
                      <a:lnTo>
                        <a:pt x="442" y="399"/>
                      </a:lnTo>
                      <a:lnTo>
                        <a:pt x="444" y="399"/>
                      </a:lnTo>
                      <a:lnTo>
                        <a:pt x="446" y="399"/>
                      </a:lnTo>
                      <a:lnTo>
                        <a:pt x="447" y="399"/>
                      </a:lnTo>
                      <a:lnTo>
                        <a:pt x="447" y="397"/>
                      </a:lnTo>
                      <a:lnTo>
                        <a:pt x="449" y="397"/>
                      </a:lnTo>
                      <a:lnTo>
                        <a:pt x="449" y="395"/>
                      </a:lnTo>
                      <a:lnTo>
                        <a:pt x="447" y="395"/>
                      </a:lnTo>
                      <a:lnTo>
                        <a:pt x="446" y="395"/>
                      </a:lnTo>
                      <a:lnTo>
                        <a:pt x="446" y="394"/>
                      </a:lnTo>
                      <a:lnTo>
                        <a:pt x="446" y="392"/>
                      </a:lnTo>
                      <a:lnTo>
                        <a:pt x="447" y="392"/>
                      </a:lnTo>
                      <a:lnTo>
                        <a:pt x="449" y="390"/>
                      </a:lnTo>
                      <a:lnTo>
                        <a:pt x="447" y="389"/>
                      </a:lnTo>
                      <a:lnTo>
                        <a:pt x="449" y="389"/>
                      </a:lnTo>
                      <a:lnTo>
                        <a:pt x="449" y="387"/>
                      </a:lnTo>
                      <a:lnTo>
                        <a:pt x="449" y="386"/>
                      </a:lnTo>
                      <a:lnTo>
                        <a:pt x="449" y="384"/>
                      </a:lnTo>
                      <a:lnTo>
                        <a:pt x="449" y="382"/>
                      </a:lnTo>
                      <a:lnTo>
                        <a:pt x="452" y="382"/>
                      </a:lnTo>
                      <a:lnTo>
                        <a:pt x="454" y="382"/>
                      </a:lnTo>
                      <a:lnTo>
                        <a:pt x="452" y="382"/>
                      </a:lnTo>
                      <a:lnTo>
                        <a:pt x="454" y="381"/>
                      </a:lnTo>
                      <a:lnTo>
                        <a:pt x="452" y="379"/>
                      </a:lnTo>
                      <a:lnTo>
                        <a:pt x="454" y="379"/>
                      </a:lnTo>
                      <a:lnTo>
                        <a:pt x="454" y="377"/>
                      </a:lnTo>
                      <a:lnTo>
                        <a:pt x="456" y="377"/>
                      </a:lnTo>
                      <a:lnTo>
                        <a:pt x="457" y="377"/>
                      </a:lnTo>
                      <a:lnTo>
                        <a:pt x="459" y="379"/>
                      </a:lnTo>
                      <a:lnTo>
                        <a:pt x="461" y="379"/>
                      </a:lnTo>
                      <a:lnTo>
                        <a:pt x="462" y="379"/>
                      </a:lnTo>
                      <a:lnTo>
                        <a:pt x="462" y="381"/>
                      </a:lnTo>
                      <a:lnTo>
                        <a:pt x="462" y="379"/>
                      </a:lnTo>
                      <a:lnTo>
                        <a:pt x="464" y="379"/>
                      </a:lnTo>
                      <a:lnTo>
                        <a:pt x="466" y="379"/>
                      </a:lnTo>
                      <a:lnTo>
                        <a:pt x="466" y="377"/>
                      </a:lnTo>
                      <a:lnTo>
                        <a:pt x="468" y="376"/>
                      </a:lnTo>
                      <a:lnTo>
                        <a:pt x="466" y="376"/>
                      </a:lnTo>
                      <a:lnTo>
                        <a:pt x="468" y="376"/>
                      </a:lnTo>
                      <a:lnTo>
                        <a:pt x="468" y="374"/>
                      </a:lnTo>
                      <a:lnTo>
                        <a:pt x="468" y="372"/>
                      </a:lnTo>
                      <a:lnTo>
                        <a:pt x="466" y="371"/>
                      </a:lnTo>
                      <a:lnTo>
                        <a:pt x="468" y="371"/>
                      </a:lnTo>
                      <a:lnTo>
                        <a:pt x="468" y="369"/>
                      </a:lnTo>
                      <a:lnTo>
                        <a:pt x="469" y="369"/>
                      </a:lnTo>
                      <a:lnTo>
                        <a:pt x="471" y="369"/>
                      </a:lnTo>
                      <a:lnTo>
                        <a:pt x="473" y="369"/>
                      </a:lnTo>
                      <a:lnTo>
                        <a:pt x="474" y="369"/>
                      </a:lnTo>
                      <a:lnTo>
                        <a:pt x="476" y="369"/>
                      </a:lnTo>
                      <a:lnTo>
                        <a:pt x="478" y="369"/>
                      </a:lnTo>
                      <a:lnTo>
                        <a:pt x="479" y="369"/>
                      </a:lnTo>
                      <a:lnTo>
                        <a:pt x="481" y="369"/>
                      </a:lnTo>
                      <a:lnTo>
                        <a:pt x="481" y="371"/>
                      </a:lnTo>
                      <a:lnTo>
                        <a:pt x="483" y="371"/>
                      </a:lnTo>
                      <a:lnTo>
                        <a:pt x="483" y="369"/>
                      </a:lnTo>
                      <a:lnTo>
                        <a:pt x="484" y="367"/>
                      </a:lnTo>
                      <a:lnTo>
                        <a:pt x="484" y="366"/>
                      </a:lnTo>
                      <a:lnTo>
                        <a:pt x="486" y="366"/>
                      </a:lnTo>
                      <a:lnTo>
                        <a:pt x="488" y="366"/>
                      </a:lnTo>
                      <a:lnTo>
                        <a:pt x="488" y="367"/>
                      </a:lnTo>
                      <a:lnTo>
                        <a:pt x="489" y="367"/>
                      </a:lnTo>
                      <a:lnTo>
                        <a:pt x="491" y="367"/>
                      </a:lnTo>
                      <a:lnTo>
                        <a:pt x="493" y="367"/>
                      </a:lnTo>
                      <a:lnTo>
                        <a:pt x="493" y="369"/>
                      </a:lnTo>
                      <a:lnTo>
                        <a:pt x="495" y="369"/>
                      </a:lnTo>
                      <a:lnTo>
                        <a:pt x="495" y="367"/>
                      </a:lnTo>
                      <a:lnTo>
                        <a:pt x="496" y="367"/>
                      </a:lnTo>
                      <a:lnTo>
                        <a:pt x="498" y="366"/>
                      </a:lnTo>
                      <a:lnTo>
                        <a:pt x="500" y="366"/>
                      </a:lnTo>
                      <a:lnTo>
                        <a:pt x="501" y="366"/>
                      </a:lnTo>
                      <a:lnTo>
                        <a:pt x="503" y="367"/>
                      </a:lnTo>
                      <a:lnTo>
                        <a:pt x="501" y="367"/>
                      </a:lnTo>
                      <a:lnTo>
                        <a:pt x="501" y="369"/>
                      </a:lnTo>
                      <a:lnTo>
                        <a:pt x="503" y="369"/>
                      </a:lnTo>
                      <a:lnTo>
                        <a:pt x="503" y="367"/>
                      </a:lnTo>
                      <a:lnTo>
                        <a:pt x="505" y="367"/>
                      </a:lnTo>
                      <a:lnTo>
                        <a:pt x="505" y="369"/>
                      </a:lnTo>
                      <a:lnTo>
                        <a:pt x="506" y="369"/>
                      </a:lnTo>
                      <a:lnTo>
                        <a:pt x="508" y="369"/>
                      </a:lnTo>
                      <a:lnTo>
                        <a:pt x="508" y="367"/>
                      </a:lnTo>
                      <a:lnTo>
                        <a:pt x="510" y="367"/>
                      </a:lnTo>
                      <a:lnTo>
                        <a:pt x="511" y="367"/>
                      </a:lnTo>
                      <a:lnTo>
                        <a:pt x="513" y="367"/>
                      </a:lnTo>
                      <a:lnTo>
                        <a:pt x="515" y="367"/>
                      </a:lnTo>
                      <a:lnTo>
                        <a:pt x="516" y="367"/>
                      </a:lnTo>
                      <a:lnTo>
                        <a:pt x="518" y="367"/>
                      </a:lnTo>
                      <a:lnTo>
                        <a:pt x="518" y="366"/>
                      </a:lnTo>
                      <a:lnTo>
                        <a:pt x="518" y="364"/>
                      </a:lnTo>
                      <a:lnTo>
                        <a:pt x="520" y="364"/>
                      </a:lnTo>
                      <a:lnTo>
                        <a:pt x="520" y="363"/>
                      </a:lnTo>
                      <a:lnTo>
                        <a:pt x="522" y="363"/>
                      </a:lnTo>
                      <a:lnTo>
                        <a:pt x="523" y="364"/>
                      </a:lnTo>
                      <a:lnTo>
                        <a:pt x="525" y="363"/>
                      </a:lnTo>
                      <a:lnTo>
                        <a:pt x="527" y="363"/>
                      </a:lnTo>
                      <a:lnTo>
                        <a:pt x="528" y="363"/>
                      </a:lnTo>
                      <a:lnTo>
                        <a:pt x="530" y="361"/>
                      </a:lnTo>
                      <a:lnTo>
                        <a:pt x="532" y="361"/>
                      </a:lnTo>
                      <a:lnTo>
                        <a:pt x="533" y="359"/>
                      </a:lnTo>
                      <a:lnTo>
                        <a:pt x="535" y="359"/>
                      </a:lnTo>
                      <a:lnTo>
                        <a:pt x="537" y="358"/>
                      </a:lnTo>
                      <a:lnTo>
                        <a:pt x="537" y="359"/>
                      </a:lnTo>
                      <a:lnTo>
                        <a:pt x="538" y="359"/>
                      </a:lnTo>
                      <a:lnTo>
                        <a:pt x="540" y="359"/>
                      </a:lnTo>
                      <a:lnTo>
                        <a:pt x="542" y="358"/>
                      </a:lnTo>
                      <a:lnTo>
                        <a:pt x="544" y="358"/>
                      </a:lnTo>
                      <a:lnTo>
                        <a:pt x="544" y="356"/>
                      </a:lnTo>
                      <a:lnTo>
                        <a:pt x="545" y="354"/>
                      </a:lnTo>
                      <a:lnTo>
                        <a:pt x="547" y="354"/>
                      </a:lnTo>
                      <a:lnTo>
                        <a:pt x="549" y="354"/>
                      </a:lnTo>
                      <a:lnTo>
                        <a:pt x="549" y="356"/>
                      </a:lnTo>
                      <a:lnTo>
                        <a:pt x="550" y="356"/>
                      </a:lnTo>
                      <a:lnTo>
                        <a:pt x="550" y="354"/>
                      </a:lnTo>
                      <a:lnTo>
                        <a:pt x="550" y="356"/>
                      </a:lnTo>
                      <a:lnTo>
                        <a:pt x="552" y="354"/>
                      </a:lnTo>
                      <a:lnTo>
                        <a:pt x="554" y="354"/>
                      </a:lnTo>
                      <a:lnTo>
                        <a:pt x="554" y="353"/>
                      </a:lnTo>
                      <a:lnTo>
                        <a:pt x="552" y="353"/>
                      </a:lnTo>
                      <a:lnTo>
                        <a:pt x="552" y="351"/>
                      </a:lnTo>
                      <a:lnTo>
                        <a:pt x="554" y="351"/>
                      </a:lnTo>
                      <a:lnTo>
                        <a:pt x="554" y="349"/>
                      </a:lnTo>
                      <a:lnTo>
                        <a:pt x="554" y="348"/>
                      </a:lnTo>
                      <a:lnTo>
                        <a:pt x="554" y="349"/>
                      </a:lnTo>
                      <a:lnTo>
                        <a:pt x="552" y="349"/>
                      </a:lnTo>
                      <a:lnTo>
                        <a:pt x="552" y="348"/>
                      </a:lnTo>
                      <a:lnTo>
                        <a:pt x="552" y="346"/>
                      </a:lnTo>
                      <a:lnTo>
                        <a:pt x="554" y="346"/>
                      </a:lnTo>
                      <a:lnTo>
                        <a:pt x="554" y="344"/>
                      </a:lnTo>
                      <a:lnTo>
                        <a:pt x="554" y="343"/>
                      </a:lnTo>
                      <a:lnTo>
                        <a:pt x="555" y="341"/>
                      </a:lnTo>
                      <a:lnTo>
                        <a:pt x="555" y="336"/>
                      </a:lnTo>
                      <a:lnTo>
                        <a:pt x="557" y="336"/>
                      </a:lnTo>
                      <a:lnTo>
                        <a:pt x="559" y="336"/>
                      </a:lnTo>
                      <a:lnTo>
                        <a:pt x="560" y="336"/>
                      </a:lnTo>
                      <a:lnTo>
                        <a:pt x="560" y="338"/>
                      </a:lnTo>
                      <a:lnTo>
                        <a:pt x="562" y="338"/>
                      </a:lnTo>
                      <a:lnTo>
                        <a:pt x="564" y="338"/>
                      </a:lnTo>
                      <a:lnTo>
                        <a:pt x="564" y="336"/>
                      </a:lnTo>
                      <a:lnTo>
                        <a:pt x="565" y="336"/>
                      </a:lnTo>
                      <a:lnTo>
                        <a:pt x="567" y="336"/>
                      </a:lnTo>
                      <a:lnTo>
                        <a:pt x="567" y="335"/>
                      </a:lnTo>
                      <a:lnTo>
                        <a:pt x="569" y="335"/>
                      </a:lnTo>
                      <a:lnTo>
                        <a:pt x="569" y="333"/>
                      </a:lnTo>
                      <a:lnTo>
                        <a:pt x="571" y="333"/>
                      </a:lnTo>
                      <a:lnTo>
                        <a:pt x="571" y="331"/>
                      </a:lnTo>
                      <a:lnTo>
                        <a:pt x="572" y="333"/>
                      </a:lnTo>
                      <a:lnTo>
                        <a:pt x="572" y="331"/>
                      </a:lnTo>
                      <a:lnTo>
                        <a:pt x="574" y="333"/>
                      </a:lnTo>
                      <a:lnTo>
                        <a:pt x="574" y="331"/>
                      </a:lnTo>
                      <a:lnTo>
                        <a:pt x="576" y="331"/>
                      </a:lnTo>
                      <a:lnTo>
                        <a:pt x="576" y="330"/>
                      </a:lnTo>
                      <a:lnTo>
                        <a:pt x="579" y="330"/>
                      </a:lnTo>
                      <a:lnTo>
                        <a:pt x="581" y="330"/>
                      </a:lnTo>
                      <a:lnTo>
                        <a:pt x="582" y="330"/>
                      </a:lnTo>
                      <a:lnTo>
                        <a:pt x="584" y="330"/>
                      </a:lnTo>
                      <a:lnTo>
                        <a:pt x="584" y="331"/>
                      </a:lnTo>
                      <a:lnTo>
                        <a:pt x="586" y="331"/>
                      </a:lnTo>
                      <a:lnTo>
                        <a:pt x="586" y="330"/>
                      </a:lnTo>
                      <a:lnTo>
                        <a:pt x="587" y="330"/>
                      </a:lnTo>
                      <a:lnTo>
                        <a:pt x="587" y="331"/>
                      </a:lnTo>
                      <a:lnTo>
                        <a:pt x="589" y="331"/>
                      </a:lnTo>
                      <a:lnTo>
                        <a:pt x="591" y="331"/>
                      </a:lnTo>
                      <a:lnTo>
                        <a:pt x="592" y="331"/>
                      </a:lnTo>
                      <a:lnTo>
                        <a:pt x="594" y="331"/>
                      </a:lnTo>
                      <a:lnTo>
                        <a:pt x="596" y="331"/>
                      </a:lnTo>
                      <a:lnTo>
                        <a:pt x="598" y="333"/>
                      </a:lnTo>
                      <a:lnTo>
                        <a:pt x="599" y="333"/>
                      </a:lnTo>
                      <a:lnTo>
                        <a:pt x="601" y="335"/>
                      </a:lnTo>
                      <a:lnTo>
                        <a:pt x="603" y="336"/>
                      </a:lnTo>
                      <a:lnTo>
                        <a:pt x="604" y="336"/>
                      </a:lnTo>
                      <a:lnTo>
                        <a:pt x="604" y="338"/>
                      </a:lnTo>
                      <a:lnTo>
                        <a:pt x="604" y="340"/>
                      </a:lnTo>
                      <a:lnTo>
                        <a:pt x="604" y="341"/>
                      </a:lnTo>
                      <a:lnTo>
                        <a:pt x="606" y="343"/>
                      </a:lnTo>
                      <a:lnTo>
                        <a:pt x="606" y="344"/>
                      </a:lnTo>
                      <a:lnTo>
                        <a:pt x="608" y="344"/>
                      </a:lnTo>
                      <a:lnTo>
                        <a:pt x="608" y="343"/>
                      </a:lnTo>
                      <a:lnTo>
                        <a:pt x="609" y="343"/>
                      </a:lnTo>
                      <a:lnTo>
                        <a:pt x="611" y="344"/>
                      </a:lnTo>
                      <a:lnTo>
                        <a:pt x="613" y="344"/>
                      </a:lnTo>
                      <a:lnTo>
                        <a:pt x="611" y="344"/>
                      </a:lnTo>
                      <a:lnTo>
                        <a:pt x="613" y="344"/>
                      </a:lnTo>
                      <a:lnTo>
                        <a:pt x="614" y="344"/>
                      </a:lnTo>
                      <a:lnTo>
                        <a:pt x="616" y="344"/>
                      </a:lnTo>
                      <a:lnTo>
                        <a:pt x="618" y="344"/>
                      </a:lnTo>
                      <a:lnTo>
                        <a:pt x="618" y="346"/>
                      </a:lnTo>
                      <a:lnTo>
                        <a:pt x="618" y="348"/>
                      </a:lnTo>
                      <a:lnTo>
                        <a:pt x="620" y="348"/>
                      </a:lnTo>
                      <a:lnTo>
                        <a:pt x="620" y="349"/>
                      </a:lnTo>
                      <a:lnTo>
                        <a:pt x="620" y="351"/>
                      </a:lnTo>
                      <a:lnTo>
                        <a:pt x="621" y="351"/>
                      </a:lnTo>
                      <a:lnTo>
                        <a:pt x="621" y="353"/>
                      </a:lnTo>
                      <a:lnTo>
                        <a:pt x="620" y="354"/>
                      </a:lnTo>
                      <a:lnTo>
                        <a:pt x="620" y="356"/>
                      </a:lnTo>
                      <a:lnTo>
                        <a:pt x="618" y="358"/>
                      </a:lnTo>
                      <a:lnTo>
                        <a:pt x="618" y="359"/>
                      </a:lnTo>
                      <a:lnTo>
                        <a:pt x="618" y="361"/>
                      </a:lnTo>
                      <a:lnTo>
                        <a:pt x="620" y="361"/>
                      </a:lnTo>
                      <a:lnTo>
                        <a:pt x="620" y="363"/>
                      </a:lnTo>
                      <a:lnTo>
                        <a:pt x="620" y="364"/>
                      </a:lnTo>
                      <a:lnTo>
                        <a:pt x="618" y="367"/>
                      </a:lnTo>
                      <a:lnTo>
                        <a:pt x="618" y="369"/>
                      </a:lnTo>
                      <a:lnTo>
                        <a:pt x="618" y="371"/>
                      </a:lnTo>
                      <a:lnTo>
                        <a:pt x="618" y="372"/>
                      </a:lnTo>
                      <a:lnTo>
                        <a:pt x="618" y="374"/>
                      </a:lnTo>
                      <a:lnTo>
                        <a:pt x="618" y="376"/>
                      </a:lnTo>
                      <a:lnTo>
                        <a:pt x="620" y="376"/>
                      </a:lnTo>
                      <a:lnTo>
                        <a:pt x="620" y="377"/>
                      </a:lnTo>
                      <a:lnTo>
                        <a:pt x="620" y="379"/>
                      </a:lnTo>
                      <a:lnTo>
                        <a:pt x="620" y="381"/>
                      </a:lnTo>
                      <a:lnTo>
                        <a:pt x="620" y="382"/>
                      </a:lnTo>
                      <a:lnTo>
                        <a:pt x="618" y="384"/>
                      </a:lnTo>
                      <a:lnTo>
                        <a:pt x="618" y="386"/>
                      </a:lnTo>
                      <a:lnTo>
                        <a:pt x="618" y="387"/>
                      </a:lnTo>
                      <a:lnTo>
                        <a:pt x="618" y="389"/>
                      </a:lnTo>
                      <a:lnTo>
                        <a:pt x="616" y="389"/>
                      </a:lnTo>
                      <a:lnTo>
                        <a:pt x="616" y="390"/>
                      </a:lnTo>
                      <a:lnTo>
                        <a:pt x="614" y="395"/>
                      </a:lnTo>
                      <a:lnTo>
                        <a:pt x="613" y="397"/>
                      </a:lnTo>
                      <a:lnTo>
                        <a:pt x="613" y="399"/>
                      </a:lnTo>
                      <a:lnTo>
                        <a:pt x="611" y="399"/>
                      </a:lnTo>
                      <a:lnTo>
                        <a:pt x="611" y="400"/>
                      </a:lnTo>
                      <a:lnTo>
                        <a:pt x="611" y="402"/>
                      </a:lnTo>
                      <a:lnTo>
                        <a:pt x="611" y="404"/>
                      </a:lnTo>
                      <a:lnTo>
                        <a:pt x="611" y="405"/>
                      </a:lnTo>
                      <a:lnTo>
                        <a:pt x="611" y="407"/>
                      </a:lnTo>
                      <a:lnTo>
                        <a:pt x="609" y="407"/>
                      </a:lnTo>
                      <a:lnTo>
                        <a:pt x="609" y="408"/>
                      </a:lnTo>
                      <a:lnTo>
                        <a:pt x="608" y="408"/>
                      </a:lnTo>
                      <a:lnTo>
                        <a:pt x="608" y="410"/>
                      </a:lnTo>
                      <a:lnTo>
                        <a:pt x="608" y="412"/>
                      </a:lnTo>
                      <a:lnTo>
                        <a:pt x="608" y="413"/>
                      </a:lnTo>
                      <a:lnTo>
                        <a:pt x="608" y="415"/>
                      </a:lnTo>
                      <a:lnTo>
                        <a:pt x="608" y="417"/>
                      </a:lnTo>
                      <a:lnTo>
                        <a:pt x="608" y="418"/>
                      </a:lnTo>
                      <a:lnTo>
                        <a:pt x="608" y="420"/>
                      </a:lnTo>
                      <a:lnTo>
                        <a:pt x="606" y="420"/>
                      </a:lnTo>
                      <a:lnTo>
                        <a:pt x="608" y="420"/>
                      </a:lnTo>
                      <a:lnTo>
                        <a:pt x="606" y="425"/>
                      </a:lnTo>
                      <a:lnTo>
                        <a:pt x="604" y="427"/>
                      </a:lnTo>
                      <a:lnTo>
                        <a:pt x="604" y="428"/>
                      </a:lnTo>
                      <a:lnTo>
                        <a:pt x="604" y="430"/>
                      </a:lnTo>
                      <a:lnTo>
                        <a:pt x="603" y="430"/>
                      </a:lnTo>
                      <a:lnTo>
                        <a:pt x="603" y="431"/>
                      </a:lnTo>
                      <a:lnTo>
                        <a:pt x="603" y="433"/>
                      </a:lnTo>
                      <a:lnTo>
                        <a:pt x="603" y="435"/>
                      </a:lnTo>
                      <a:lnTo>
                        <a:pt x="603" y="436"/>
                      </a:lnTo>
                      <a:lnTo>
                        <a:pt x="603" y="438"/>
                      </a:lnTo>
                      <a:lnTo>
                        <a:pt x="601" y="438"/>
                      </a:lnTo>
                      <a:lnTo>
                        <a:pt x="603" y="438"/>
                      </a:lnTo>
                      <a:lnTo>
                        <a:pt x="601" y="438"/>
                      </a:lnTo>
                      <a:lnTo>
                        <a:pt x="599" y="438"/>
                      </a:lnTo>
                      <a:lnTo>
                        <a:pt x="599" y="440"/>
                      </a:lnTo>
                      <a:lnTo>
                        <a:pt x="598" y="441"/>
                      </a:lnTo>
                      <a:lnTo>
                        <a:pt x="598" y="443"/>
                      </a:lnTo>
                      <a:lnTo>
                        <a:pt x="598" y="445"/>
                      </a:lnTo>
                      <a:lnTo>
                        <a:pt x="596" y="445"/>
                      </a:lnTo>
                      <a:lnTo>
                        <a:pt x="596" y="446"/>
                      </a:lnTo>
                      <a:lnTo>
                        <a:pt x="596" y="448"/>
                      </a:lnTo>
                      <a:lnTo>
                        <a:pt x="596" y="450"/>
                      </a:lnTo>
                      <a:lnTo>
                        <a:pt x="594" y="450"/>
                      </a:lnTo>
                      <a:lnTo>
                        <a:pt x="592" y="450"/>
                      </a:lnTo>
                      <a:lnTo>
                        <a:pt x="594" y="451"/>
                      </a:lnTo>
                      <a:lnTo>
                        <a:pt x="596" y="451"/>
                      </a:lnTo>
                      <a:lnTo>
                        <a:pt x="596" y="453"/>
                      </a:lnTo>
                      <a:lnTo>
                        <a:pt x="594" y="453"/>
                      </a:lnTo>
                      <a:lnTo>
                        <a:pt x="594" y="454"/>
                      </a:lnTo>
                      <a:lnTo>
                        <a:pt x="594" y="456"/>
                      </a:lnTo>
                      <a:lnTo>
                        <a:pt x="592" y="456"/>
                      </a:lnTo>
                      <a:lnTo>
                        <a:pt x="592" y="458"/>
                      </a:lnTo>
                      <a:lnTo>
                        <a:pt x="592" y="459"/>
                      </a:lnTo>
                      <a:lnTo>
                        <a:pt x="591" y="461"/>
                      </a:lnTo>
                      <a:lnTo>
                        <a:pt x="591" y="463"/>
                      </a:lnTo>
                      <a:lnTo>
                        <a:pt x="589" y="464"/>
                      </a:lnTo>
                      <a:lnTo>
                        <a:pt x="589" y="466"/>
                      </a:lnTo>
                      <a:lnTo>
                        <a:pt x="591" y="466"/>
                      </a:lnTo>
                      <a:lnTo>
                        <a:pt x="589" y="468"/>
                      </a:lnTo>
                      <a:lnTo>
                        <a:pt x="589" y="469"/>
                      </a:lnTo>
                      <a:lnTo>
                        <a:pt x="587" y="471"/>
                      </a:lnTo>
                      <a:lnTo>
                        <a:pt x="587" y="469"/>
                      </a:lnTo>
                      <a:lnTo>
                        <a:pt x="586" y="469"/>
                      </a:lnTo>
                      <a:lnTo>
                        <a:pt x="584" y="469"/>
                      </a:lnTo>
                      <a:lnTo>
                        <a:pt x="584" y="468"/>
                      </a:lnTo>
                      <a:lnTo>
                        <a:pt x="584" y="469"/>
                      </a:lnTo>
                      <a:lnTo>
                        <a:pt x="582" y="469"/>
                      </a:lnTo>
                      <a:lnTo>
                        <a:pt x="581" y="469"/>
                      </a:lnTo>
                      <a:lnTo>
                        <a:pt x="581" y="468"/>
                      </a:lnTo>
                      <a:lnTo>
                        <a:pt x="579" y="468"/>
                      </a:lnTo>
                      <a:lnTo>
                        <a:pt x="579" y="469"/>
                      </a:lnTo>
                      <a:lnTo>
                        <a:pt x="579" y="468"/>
                      </a:lnTo>
                      <a:lnTo>
                        <a:pt x="577" y="468"/>
                      </a:lnTo>
                      <a:lnTo>
                        <a:pt x="576" y="468"/>
                      </a:lnTo>
                      <a:lnTo>
                        <a:pt x="569" y="466"/>
                      </a:lnTo>
                      <a:lnTo>
                        <a:pt x="565" y="464"/>
                      </a:lnTo>
                      <a:lnTo>
                        <a:pt x="564" y="464"/>
                      </a:lnTo>
                      <a:lnTo>
                        <a:pt x="562" y="464"/>
                      </a:lnTo>
                      <a:lnTo>
                        <a:pt x="560" y="464"/>
                      </a:lnTo>
                      <a:lnTo>
                        <a:pt x="559" y="464"/>
                      </a:lnTo>
                      <a:lnTo>
                        <a:pt x="559" y="463"/>
                      </a:lnTo>
                      <a:lnTo>
                        <a:pt x="559" y="461"/>
                      </a:lnTo>
                      <a:lnTo>
                        <a:pt x="559" y="463"/>
                      </a:lnTo>
                      <a:lnTo>
                        <a:pt x="559" y="461"/>
                      </a:lnTo>
                      <a:lnTo>
                        <a:pt x="557" y="463"/>
                      </a:lnTo>
                      <a:lnTo>
                        <a:pt x="555" y="463"/>
                      </a:lnTo>
                      <a:lnTo>
                        <a:pt x="554" y="463"/>
                      </a:lnTo>
                      <a:lnTo>
                        <a:pt x="554" y="461"/>
                      </a:lnTo>
                      <a:lnTo>
                        <a:pt x="554" y="463"/>
                      </a:lnTo>
                      <a:lnTo>
                        <a:pt x="552" y="463"/>
                      </a:lnTo>
                      <a:lnTo>
                        <a:pt x="552" y="461"/>
                      </a:lnTo>
                      <a:lnTo>
                        <a:pt x="552" y="463"/>
                      </a:lnTo>
                      <a:lnTo>
                        <a:pt x="550" y="463"/>
                      </a:lnTo>
                      <a:lnTo>
                        <a:pt x="549" y="463"/>
                      </a:lnTo>
                      <a:lnTo>
                        <a:pt x="549" y="464"/>
                      </a:lnTo>
                      <a:lnTo>
                        <a:pt x="547" y="464"/>
                      </a:lnTo>
                      <a:lnTo>
                        <a:pt x="547" y="466"/>
                      </a:lnTo>
                      <a:lnTo>
                        <a:pt x="545" y="466"/>
                      </a:lnTo>
                      <a:lnTo>
                        <a:pt x="544" y="466"/>
                      </a:lnTo>
                      <a:lnTo>
                        <a:pt x="544" y="468"/>
                      </a:lnTo>
                      <a:lnTo>
                        <a:pt x="542" y="468"/>
                      </a:lnTo>
                      <a:lnTo>
                        <a:pt x="540" y="468"/>
                      </a:lnTo>
                      <a:lnTo>
                        <a:pt x="540" y="469"/>
                      </a:lnTo>
                      <a:lnTo>
                        <a:pt x="538" y="469"/>
                      </a:lnTo>
                      <a:lnTo>
                        <a:pt x="537" y="469"/>
                      </a:lnTo>
                      <a:lnTo>
                        <a:pt x="535" y="469"/>
                      </a:lnTo>
                      <a:lnTo>
                        <a:pt x="533" y="469"/>
                      </a:lnTo>
                      <a:lnTo>
                        <a:pt x="533" y="471"/>
                      </a:lnTo>
                      <a:lnTo>
                        <a:pt x="533" y="469"/>
                      </a:lnTo>
                      <a:lnTo>
                        <a:pt x="533" y="471"/>
                      </a:lnTo>
                      <a:lnTo>
                        <a:pt x="532" y="471"/>
                      </a:lnTo>
                      <a:lnTo>
                        <a:pt x="530" y="471"/>
                      </a:lnTo>
                      <a:lnTo>
                        <a:pt x="530" y="469"/>
                      </a:lnTo>
                      <a:lnTo>
                        <a:pt x="528" y="469"/>
                      </a:lnTo>
                      <a:lnTo>
                        <a:pt x="528" y="468"/>
                      </a:lnTo>
                      <a:lnTo>
                        <a:pt x="530" y="466"/>
                      </a:lnTo>
                      <a:lnTo>
                        <a:pt x="528" y="466"/>
                      </a:lnTo>
                      <a:lnTo>
                        <a:pt x="530" y="466"/>
                      </a:lnTo>
                      <a:lnTo>
                        <a:pt x="528" y="466"/>
                      </a:lnTo>
                      <a:lnTo>
                        <a:pt x="530" y="466"/>
                      </a:lnTo>
                      <a:lnTo>
                        <a:pt x="528" y="466"/>
                      </a:lnTo>
                      <a:lnTo>
                        <a:pt x="528" y="464"/>
                      </a:lnTo>
                      <a:lnTo>
                        <a:pt x="527" y="464"/>
                      </a:lnTo>
                      <a:lnTo>
                        <a:pt x="527" y="466"/>
                      </a:lnTo>
                      <a:lnTo>
                        <a:pt x="525" y="466"/>
                      </a:lnTo>
                      <a:lnTo>
                        <a:pt x="525" y="468"/>
                      </a:lnTo>
                      <a:lnTo>
                        <a:pt x="525" y="466"/>
                      </a:lnTo>
                      <a:lnTo>
                        <a:pt x="523" y="468"/>
                      </a:lnTo>
                      <a:lnTo>
                        <a:pt x="523" y="466"/>
                      </a:lnTo>
                      <a:lnTo>
                        <a:pt x="523" y="468"/>
                      </a:lnTo>
                      <a:lnTo>
                        <a:pt x="523" y="466"/>
                      </a:lnTo>
                      <a:lnTo>
                        <a:pt x="523" y="468"/>
                      </a:lnTo>
                      <a:lnTo>
                        <a:pt x="522" y="468"/>
                      </a:lnTo>
                      <a:lnTo>
                        <a:pt x="522" y="466"/>
                      </a:lnTo>
                      <a:lnTo>
                        <a:pt x="520" y="466"/>
                      </a:lnTo>
                      <a:lnTo>
                        <a:pt x="518" y="466"/>
                      </a:lnTo>
                      <a:lnTo>
                        <a:pt x="516" y="466"/>
                      </a:lnTo>
                      <a:lnTo>
                        <a:pt x="515" y="468"/>
                      </a:lnTo>
                      <a:lnTo>
                        <a:pt x="513" y="468"/>
                      </a:lnTo>
                      <a:lnTo>
                        <a:pt x="513" y="469"/>
                      </a:lnTo>
                      <a:lnTo>
                        <a:pt x="511" y="469"/>
                      </a:lnTo>
                      <a:lnTo>
                        <a:pt x="510" y="469"/>
                      </a:lnTo>
                      <a:lnTo>
                        <a:pt x="510" y="471"/>
                      </a:lnTo>
                      <a:lnTo>
                        <a:pt x="510" y="469"/>
                      </a:lnTo>
                      <a:lnTo>
                        <a:pt x="508" y="469"/>
                      </a:lnTo>
                      <a:lnTo>
                        <a:pt x="508" y="471"/>
                      </a:lnTo>
                      <a:lnTo>
                        <a:pt x="506" y="471"/>
                      </a:lnTo>
                      <a:lnTo>
                        <a:pt x="505" y="471"/>
                      </a:lnTo>
                      <a:lnTo>
                        <a:pt x="503" y="471"/>
                      </a:lnTo>
                      <a:lnTo>
                        <a:pt x="501" y="471"/>
                      </a:lnTo>
                      <a:lnTo>
                        <a:pt x="500" y="473"/>
                      </a:lnTo>
                      <a:lnTo>
                        <a:pt x="500" y="474"/>
                      </a:lnTo>
                      <a:lnTo>
                        <a:pt x="498" y="474"/>
                      </a:lnTo>
                      <a:lnTo>
                        <a:pt x="496" y="474"/>
                      </a:lnTo>
                      <a:lnTo>
                        <a:pt x="496" y="476"/>
                      </a:lnTo>
                      <a:lnTo>
                        <a:pt x="496" y="477"/>
                      </a:lnTo>
                      <a:lnTo>
                        <a:pt x="498" y="477"/>
                      </a:lnTo>
                      <a:lnTo>
                        <a:pt x="498" y="479"/>
                      </a:lnTo>
                      <a:lnTo>
                        <a:pt x="496" y="481"/>
                      </a:lnTo>
                      <a:lnTo>
                        <a:pt x="498" y="481"/>
                      </a:lnTo>
                      <a:lnTo>
                        <a:pt x="496" y="482"/>
                      </a:lnTo>
                      <a:lnTo>
                        <a:pt x="495" y="482"/>
                      </a:lnTo>
                      <a:lnTo>
                        <a:pt x="493" y="482"/>
                      </a:lnTo>
                      <a:lnTo>
                        <a:pt x="491" y="482"/>
                      </a:lnTo>
                      <a:lnTo>
                        <a:pt x="489" y="482"/>
                      </a:lnTo>
                      <a:lnTo>
                        <a:pt x="488" y="484"/>
                      </a:lnTo>
                      <a:lnTo>
                        <a:pt x="488" y="486"/>
                      </a:lnTo>
                      <a:lnTo>
                        <a:pt x="486" y="486"/>
                      </a:lnTo>
                      <a:lnTo>
                        <a:pt x="486" y="487"/>
                      </a:lnTo>
                      <a:lnTo>
                        <a:pt x="486" y="489"/>
                      </a:lnTo>
                      <a:lnTo>
                        <a:pt x="484" y="489"/>
                      </a:lnTo>
                      <a:lnTo>
                        <a:pt x="484" y="487"/>
                      </a:lnTo>
                      <a:lnTo>
                        <a:pt x="483" y="489"/>
                      </a:lnTo>
                      <a:lnTo>
                        <a:pt x="483" y="491"/>
                      </a:lnTo>
                      <a:lnTo>
                        <a:pt x="483" y="492"/>
                      </a:lnTo>
                      <a:lnTo>
                        <a:pt x="484" y="492"/>
                      </a:lnTo>
                      <a:lnTo>
                        <a:pt x="484" y="494"/>
                      </a:lnTo>
                      <a:lnTo>
                        <a:pt x="486" y="494"/>
                      </a:lnTo>
                      <a:lnTo>
                        <a:pt x="486" y="496"/>
                      </a:lnTo>
                      <a:lnTo>
                        <a:pt x="484" y="496"/>
                      </a:lnTo>
                      <a:lnTo>
                        <a:pt x="483" y="496"/>
                      </a:lnTo>
                      <a:lnTo>
                        <a:pt x="484" y="496"/>
                      </a:lnTo>
                      <a:lnTo>
                        <a:pt x="483" y="496"/>
                      </a:lnTo>
                      <a:lnTo>
                        <a:pt x="483" y="494"/>
                      </a:lnTo>
                      <a:lnTo>
                        <a:pt x="483" y="496"/>
                      </a:lnTo>
                      <a:lnTo>
                        <a:pt x="483" y="494"/>
                      </a:lnTo>
                      <a:lnTo>
                        <a:pt x="481" y="494"/>
                      </a:lnTo>
                      <a:lnTo>
                        <a:pt x="481" y="496"/>
                      </a:lnTo>
                      <a:lnTo>
                        <a:pt x="479" y="496"/>
                      </a:lnTo>
                      <a:lnTo>
                        <a:pt x="478" y="496"/>
                      </a:lnTo>
                      <a:lnTo>
                        <a:pt x="478" y="497"/>
                      </a:lnTo>
                      <a:lnTo>
                        <a:pt x="476" y="497"/>
                      </a:lnTo>
                      <a:lnTo>
                        <a:pt x="474" y="497"/>
                      </a:lnTo>
                      <a:lnTo>
                        <a:pt x="474" y="499"/>
                      </a:lnTo>
                      <a:lnTo>
                        <a:pt x="473" y="499"/>
                      </a:lnTo>
                      <a:lnTo>
                        <a:pt x="471" y="499"/>
                      </a:lnTo>
                      <a:lnTo>
                        <a:pt x="469" y="499"/>
                      </a:lnTo>
                      <a:lnTo>
                        <a:pt x="468" y="500"/>
                      </a:lnTo>
                      <a:lnTo>
                        <a:pt x="468" y="499"/>
                      </a:lnTo>
                      <a:lnTo>
                        <a:pt x="466" y="499"/>
                      </a:lnTo>
                      <a:lnTo>
                        <a:pt x="464" y="500"/>
                      </a:lnTo>
                      <a:lnTo>
                        <a:pt x="462" y="500"/>
                      </a:lnTo>
                      <a:lnTo>
                        <a:pt x="462" y="502"/>
                      </a:lnTo>
                      <a:lnTo>
                        <a:pt x="462" y="500"/>
                      </a:lnTo>
                      <a:lnTo>
                        <a:pt x="462" y="502"/>
                      </a:lnTo>
                      <a:lnTo>
                        <a:pt x="461" y="502"/>
                      </a:lnTo>
                      <a:lnTo>
                        <a:pt x="461" y="504"/>
                      </a:lnTo>
                      <a:lnTo>
                        <a:pt x="449" y="507"/>
                      </a:lnTo>
                      <a:lnTo>
                        <a:pt x="449" y="509"/>
                      </a:lnTo>
                      <a:lnTo>
                        <a:pt x="447" y="509"/>
                      </a:lnTo>
                      <a:lnTo>
                        <a:pt x="447" y="507"/>
                      </a:lnTo>
                      <a:lnTo>
                        <a:pt x="446" y="507"/>
                      </a:lnTo>
                      <a:lnTo>
                        <a:pt x="444" y="507"/>
                      </a:lnTo>
                      <a:lnTo>
                        <a:pt x="442" y="504"/>
                      </a:lnTo>
                      <a:lnTo>
                        <a:pt x="435" y="504"/>
                      </a:lnTo>
                      <a:lnTo>
                        <a:pt x="432" y="505"/>
                      </a:lnTo>
                      <a:lnTo>
                        <a:pt x="429" y="505"/>
                      </a:lnTo>
                      <a:lnTo>
                        <a:pt x="427" y="505"/>
                      </a:lnTo>
                      <a:lnTo>
                        <a:pt x="427" y="504"/>
                      </a:lnTo>
                      <a:lnTo>
                        <a:pt x="425" y="504"/>
                      </a:lnTo>
                      <a:lnTo>
                        <a:pt x="424" y="504"/>
                      </a:lnTo>
                      <a:lnTo>
                        <a:pt x="424" y="505"/>
                      </a:lnTo>
                      <a:lnTo>
                        <a:pt x="422" y="505"/>
                      </a:lnTo>
                      <a:lnTo>
                        <a:pt x="420" y="505"/>
                      </a:lnTo>
                      <a:lnTo>
                        <a:pt x="420" y="507"/>
                      </a:lnTo>
                      <a:lnTo>
                        <a:pt x="420" y="509"/>
                      </a:lnTo>
                      <a:lnTo>
                        <a:pt x="420" y="510"/>
                      </a:lnTo>
                      <a:lnTo>
                        <a:pt x="419" y="510"/>
                      </a:lnTo>
                      <a:lnTo>
                        <a:pt x="419" y="512"/>
                      </a:lnTo>
                      <a:lnTo>
                        <a:pt x="419" y="514"/>
                      </a:lnTo>
                      <a:lnTo>
                        <a:pt x="417" y="514"/>
                      </a:lnTo>
                      <a:lnTo>
                        <a:pt x="415" y="514"/>
                      </a:lnTo>
                      <a:lnTo>
                        <a:pt x="415" y="512"/>
                      </a:lnTo>
                      <a:lnTo>
                        <a:pt x="413" y="512"/>
                      </a:lnTo>
                      <a:lnTo>
                        <a:pt x="412" y="510"/>
                      </a:lnTo>
                      <a:lnTo>
                        <a:pt x="412" y="509"/>
                      </a:lnTo>
                      <a:lnTo>
                        <a:pt x="412" y="507"/>
                      </a:lnTo>
                      <a:lnTo>
                        <a:pt x="410" y="507"/>
                      </a:lnTo>
                      <a:lnTo>
                        <a:pt x="410" y="509"/>
                      </a:lnTo>
                      <a:lnTo>
                        <a:pt x="408" y="507"/>
                      </a:lnTo>
                      <a:lnTo>
                        <a:pt x="408" y="509"/>
                      </a:lnTo>
                      <a:lnTo>
                        <a:pt x="407" y="509"/>
                      </a:lnTo>
                      <a:lnTo>
                        <a:pt x="407" y="507"/>
                      </a:lnTo>
                      <a:lnTo>
                        <a:pt x="407" y="505"/>
                      </a:lnTo>
                      <a:lnTo>
                        <a:pt x="407" y="504"/>
                      </a:lnTo>
                      <a:lnTo>
                        <a:pt x="405" y="502"/>
                      </a:lnTo>
                      <a:lnTo>
                        <a:pt x="403" y="502"/>
                      </a:lnTo>
                      <a:lnTo>
                        <a:pt x="403" y="500"/>
                      </a:lnTo>
                      <a:lnTo>
                        <a:pt x="402" y="500"/>
                      </a:lnTo>
                      <a:lnTo>
                        <a:pt x="402" y="502"/>
                      </a:lnTo>
                      <a:lnTo>
                        <a:pt x="400" y="502"/>
                      </a:lnTo>
                      <a:lnTo>
                        <a:pt x="400" y="504"/>
                      </a:lnTo>
                      <a:lnTo>
                        <a:pt x="398" y="504"/>
                      </a:lnTo>
                      <a:lnTo>
                        <a:pt x="397" y="504"/>
                      </a:lnTo>
                      <a:lnTo>
                        <a:pt x="397" y="502"/>
                      </a:lnTo>
                      <a:lnTo>
                        <a:pt x="398" y="502"/>
                      </a:lnTo>
                      <a:lnTo>
                        <a:pt x="398" y="500"/>
                      </a:lnTo>
                      <a:lnTo>
                        <a:pt x="395" y="499"/>
                      </a:lnTo>
                      <a:lnTo>
                        <a:pt x="393" y="499"/>
                      </a:lnTo>
                      <a:lnTo>
                        <a:pt x="393" y="500"/>
                      </a:lnTo>
                      <a:lnTo>
                        <a:pt x="392" y="500"/>
                      </a:lnTo>
                      <a:lnTo>
                        <a:pt x="392" y="499"/>
                      </a:lnTo>
                      <a:lnTo>
                        <a:pt x="392" y="497"/>
                      </a:lnTo>
                      <a:lnTo>
                        <a:pt x="390" y="497"/>
                      </a:lnTo>
                      <a:lnTo>
                        <a:pt x="390" y="496"/>
                      </a:lnTo>
                      <a:lnTo>
                        <a:pt x="388" y="496"/>
                      </a:lnTo>
                      <a:lnTo>
                        <a:pt x="388" y="494"/>
                      </a:lnTo>
                      <a:lnTo>
                        <a:pt x="386" y="494"/>
                      </a:lnTo>
                      <a:lnTo>
                        <a:pt x="386" y="492"/>
                      </a:lnTo>
                      <a:lnTo>
                        <a:pt x="385" y="491"/>
                      </a:lnTo>
                      <a:lnTo>
                        <a:pt x="385" y="489"/>
                      </a:lnTo>
                      <a:lnTo>
                        <a:pt x="383" y="489"/>
                      </a:lnTo>
                      <a:lnTo>
                        <a:pt x="383" y="487"/>
                      </a:lnTo>
                      <a:lnTo>
                        <a:pt x="381" y="487"/>
                      </a:lnTo>
                      <a:lnTo>
                        <a:pt x="381" y="486"/>
                      </a:lnTo>
                      <a:lnTo>
                        <a:pt x="378" y="486"/>
                      </a:lnTo>
                      <a:lnTo>
                        <a:pt x="376" y="484"/>
                      </a:lnTo>
                      <a:lnTo>
                        <a:pt x="375" y="484"/>
                      </a:lnTo>
                      <a:lnTo>
                        <a:pt x="373" y="482"/>
                      </a:lnTo>
                      <a:lnTo>
                        <a:pt x="371" y="481"/>
                      </a:lnTo>
                      <a:lnTo>
                        <a:pt x="370" y="481"/>
                      </a:lnTo>
                      <a:lnTo>
                        <a:pt x="368" y="481"/>
                      </a:lnTo>
                      <a:lnTo>
                        <a:pt x="366" y="479"/>
                      </a:lnTo>
                      <a:lnTo>
                        <a:pt x="366" y="476"/>
                      </a:lnTo>
                      <a:lnTo>
                        <a:pt x="364" y="476"/>
                      </a:lnTo>
                      <a:lnTo>
                        <a:pt x="363" y="476"/>
                      </a:lnTo>
                      <a:lnTo>
                        <a:pt x="363" y="474"/>
                      </a:lnTo>
                      <a:lnTo>
                        <a:pt x="361" y="476"/>
                      </a:lnTo>
                      <a:lnTo>
                        <a:pt x="359" y="476"/>
                      </a:lnTo>
                      <a:lnTo>
                        <a:pt x="358" y="476"/>
                      </a:lnTo>
                      <a:lnTo>
                        <a:pt x="356" y="476"/>
                      </a:lnTo>
                      <a:lnTo>
                        <a:pt x="354" y="477"/>
                      </a:lnTo>
                      <a:lnTo>
                        <a:pt x="354" y="479"/>
                      </a:lnTo>
                      <a:lnTo>
                        <a:pt x="354" y="481"/>
                      </a:lnTo>
                      <a:lnTo>
                        <a:pt x="353" y="481"/>
                      </a:lnTo>
                      <a:lnTo>
                        <a:pt x="351" y="481"/>
                      </a:lnTo>
                      <a:lnTo>
                        <a:pt x="349" y="479"/>
                      </a:lnTo>
                      <a:lnTo>
                        <a:pt x="351" y="479"/>
                      </a:lnTo>
                      <a:lnTo>
                        <a:pt x="351" y="477"/>
                      </a:lnTo>
                      <a:lnTo>
                        <a:pt x="349" y="477"/>
                      </a:lnTo>
                      <a:lnTo>
                        <a:pt x="348" y="479"/>
                      </a:lnTo>
                      <a:lnTo>
                        <a:pt x="348" y="477"/>
                      </a:lnTo>
                      <a:lnTo>
                        <a:pt x="346" y="477"/>
                      </a:lnTo>
                      <a:lnTo>
                        <a:pt x="348" y="477"/>
                      </a:lnTo>
                      <a:lnTo>
                        <a:pt x="348" y="476"/>
                      </a:lnTo>
                      <a:lnTo>
                        <a:pt x="348" y="474"/>
                      </a:lnTo>
                      <a:lnTo>
                        <a:pt x="346" y="474"/>
                      </a:lnTo>
                      <a:lnTo>
                        <a:pt x="346" y="473"/>
                      </a:lnTo>
                      <a:lnTo>
                        <a:pt x="346" y="471"/>
                      </a:lnTo>
                      <a:lnTo>
                        <a:pt x="344" y="471"/>
                      </a:lnTo>
                      <a:lnTo>
                        <a:pt x="344" y="469"/>
                      </a:lnTo>
                      <a:lnTo>
                        <a:pt x="344" y="468"/>
                      </a:lnTo>
                      <a:lnTo>
                        <a:pt x="343" y="468"/>
                      </a:lnTo>
                      <a:lnTo>
                        <a:pt x="343" y="466"/>
                      </a:lnTo>
                      <a:lnTo>
                        <a:pt x="341" y="466"/>
                      </a:lnTo>
                      <a:lnTo>
                        <a:pt x="341" y="464"/>
                      </a:lnTo>
                      <a:lnTo>
                        <a:pt x="341" y="466"/>
                      </a:lnTo>
                      <a:lnTo>
                        <a:pt x="339" y="466"/>
                      </a:lnTo>
                      <a:lnTo>
                        <a:pt x="337" y="466"/>
                      </a:lnTo>
                      <a:lnTo>
                        <a:pt x="337" y="468"/>
                      </a:lnTo>
                      <a:lnTo>
                        <a:pt x="336" y="468"/>
                      </a:lnTo>
                      <a:lnTo>
                        <a:pt x="334" y="468"/>
                      </a:lnTo>
                      <a:lnTo>
                        <a:pt x="334" y="469"/>
                      </a:lnTo>
                      <a:lnTo>
                        <a:pt x="336" y="469"/>
                      </a:lnTo>
                      <a:lnTo>
                        <a:pt x="336" y="471"/>
                      </a:lnTo>
                      <a:lnTo>
                        <a:pt x="334" y="471"/>
                      </a:lnTo>
                      <a:lnTo>
                        <a:pt x="334" y="473"/>
                      </a:lnTo>
                      <a:lnTo>
                        <a:pt x="334" y="476"/>
                      </a:lnTo>
                      <a:lnTo>
                        <a:pt x="334" y="477"/>
                      </a:lnTo>
                      <a:lnTo>
                        <a:pt x="332" y="477"/>
                      </a:lnTo>
                      <a:lnTo>
                        <a:pt x="332" y="479"/>
                      </a:lnTo>
                      <a:lnTo>
                        <a:pt x="331" y="479"/>
                      </a:lnTo>
                      <a:lnTo>
                        <a:pt x="329" y="481"/>
                      </a:lnTo>
                      <a:lnTo>
                        <a:pt x="331" y="481"/>
                      </a:lnTo>
                      <a:lnTo>
                        <a:pt x="329" y="482"/>
                      </a:lnTo>
                      <a:lnTo>
                        <a:pt x="327" y="482"/>
                      </a:lnTo>
                      <a:lnTo>
                        <a:pt x="327" y="484"/>
                      </a:lnTo>
                      <a:lnTo>
                        <a:pt x="326" y="484"/>
                      </a:lnTo>
                      <a:lnTo>
                        <a:pt x="324" y="486"/>
                      </a:lnTo>
                      <a:lnTo>
                        <a:pt x="324" y="487"/>
                      </a:lnTo>
                      <a:lnTo>
                        <a:pt x="322" y="487"/>
                      </a:lnTo>
                      <a:lnTo>
                        <a:pt x="322" y="489"/>
                      </a:lnTo>
                      <a:lnTo>
                        <a:pt x="322" y="491"/>
                      </a:lnTo>
                      <a:lnTo>
                        <a:pt x="321" y="491"/>
                      </a:lnTo>
                      <a:lnTo>
                        <a:pt x="321" y="492"/>
                      </a:lnTo>
                      <a:lnTo>
                        <a:pt x="319" y="492"/>
                      </a:lnTo>
                      <a:lnTo>
                        <a:pt x="319" y="494"/>
                      </a:lnTo>
                      <a:lnTo>
                        <a:pt x="319" y="492"/>
                      </a:lnTo>
                      <a:lnTo>
                        <a:pt x="317" y="494"/>
                      </a:lnTo>
                      <a:lnTo>
                        <a:pt x="316" y="494"/>
                      </a:lnTo>
                      <a:lnTo>
                        <a:pt x="314" y="494"/>
                      </a:lnTo>
                      <a:lnTo>
                        <a:pt x="312" y="494"/>
                      </a:lnTo>
                      <a:lnTo>
                        <a:pt x="312" y="496"/>
                      </a:lnTo>
                      <a:lnTo>
                        <a:pt x="310" y="494"/>
                      </a:lnTo>
                      <a:lnTo>
                        <a:pt x="309" y="496"/>
                      </a:lnTo>
                      <a:lnTo>
                        <a:pt x="307" y="497"/>
                      </a:lnTo>
                      <a:lnTo>
                        <a:pt x="305" y="499"/>
                      </a:lnTo>
                      <a:lnTo>
                        <a:pt x="304" y="499"/>
                      </a:lnTo>
                      <a:lnTo>
                        <a:pt x="304" y="500"/>
                      </a:lnTo>
                      <a:lnTo>
                        <a:pt x="304" y="502"/>
                      </a:lnTo>
                      <a:close/>
                      <a:moveTo>
                        <a:pt x="849" y="1"/>
                      </a:moveTo>
                      <a:lnTo>
                        <a:pt x="849" y="0"/>
                      </a:lnTo>
                      <a:lnTo>
                        <a:pt x="851" y="0"/>
                      </a:lnTo>
                      <a:lnTo>
                        <a:pt x="851" y="1"/>
                      </a:lnTo>
                      <a:lnTo>
                        <a:pt x="849" y="1"/>
                      </a:lnTo>
                      <a:close/>
                      <a:moveTo>
                        <a:pt x="849" y="1"/>
                      </a:moveTo>
                      <a:lnTo>
                        <a:pt x="849" y="3"/>
                      </a:lnTo>
                      <a:lnTo>
                        <a:pt x="849" y="1"/>
                      </a:lnTo>
                      <a:close/>
                      <a:moveTo>
                        <a:pt x="848" y="3"/>
                      </a:moveTo>
                      <a:lnTo>
                        <a:pt x="849" y="3"/>
                      </a:lnTo>
                      <a:lnTo>
                        <a:pt x="849" y="4"/>
                      </a:lnTo>
                      <a:lnTo>
                        <a:pt x="848" y="4"/>
                      </a:lnTo>
                      <a:lnTo>
                        <a:pt x="848" y="6"/>
                      </a:lnTo>
                      <a:lnTo>
                        <a:pt x="848" y="4"/>
                      </a:lnTo>
                      <a:lnTo>
                        <a:pt x="848" y="6"/>
                      </a:lnTo>
                      <a:lnTo>
                        <a:pt x="846" y="6"/>
                      </a:lnTo>
                      <a:lnTo>
                        <a:pt x="848" y="6"/>
                      </a:lnTo>
                      <a:lnTo>
                        <a:pt x="846" y="6"/>
                      </a:lnTo>
                      <a:lnTo>
                        <a:pt x="844" y="6"/>
                      </a:lnTo>
                      <a:lnTo>
                        <a:pt x="842" y="6"/>
                      </a:lnTo>
                      <a:lnTo>
                        <a:pt x="844" y="6"/>
                      </a:lnTo>
                      <a:lnTo>
                        <a:pt x="844" y="4"/>
                      </a:lnTo>
                      <a:lnTo>
                        <a:pt x="846" y="4"/>
                      </a:lnTo>
                      <a:lnTo>
                        <a:pt x="844" y="4"/>
                      </a:lnTo>
                      <a:lnTo>
                        <a:pt x="846" y="4"/>
                      </a:lnTo>
                      <a:lnTo>
                        <a:pt x="846" y="3"/>
                      </a:lnTo>
                      <a:lnTo>
                        <a:pt x="848" y="3"/>
                      </a:lnTo>
                      <a:close/>
                      <a:moveTo>
                        <a:pt x="846" y="4"/>
                      </a:moveTo>
                      <a:lnTo>
                        <a:pt x="844" y="4"/>
                      </a:lnTo>
                      <a:lnTo>
                        <a:pt x="846" y="4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4" name="Freeform 3"/>
                <p:cNvSpPr>
                  <a:spLocks noChangeAspect="1" noEditPoints="1"/>
                </p:cNvSpPr>
                <p:nvPr/>
              </p:nvSpPr>
              <p:spPr bwMode="auto">
                <a:xfrm>
                  <a:off x="6486905" y="2204769"/>
                  <a:ext cx="588835" cy="351247"/>
                </a:xfrm>
                <a:custGeom>
                  <a:avLst/>
                  <a:gdLst>
                    <a:gd name="T0" fmla="*/ 2147483647 w 377"/>
                    <a:gd name="T1" fmla="*/ 2147483647 h 210"/>
                    <a:gd name="T2" fmla="*/ 2147483647 w 377"/>
                    <a:gd name="T3" fmla="*/ 2147483647 h 210"/>
                    <a:gd name="T4" fmla="*/ 2147483647 w 377"/>
                    <a:gd name="T5" fmla="*/ 2147483647 h 210"/>
                    <a:gd name="T6" fmla="*/ 2147483647 w 377"/>
                    <a:gd name="T7" fmla="*/ 2147483647 h 210"/>
                    <a:gd name="T8" fmla="*/ 2147483647 w 377"/>
                    <a:gd name="T9" fmla="*/ 2147483647 h 210"/>
                    <a:gd name="T10" fmla="*/ 2147483647 w 377"/>
                    <a:gd name="T11" fmla="*/ 2147483647 h 210"/>
                    <a:gd name="T12" fmla="*/ 2147483647 w 377"/>
                    <a:gd name="T13" fmla="*/ 2147483647 h 210"/>
                    <a:gd name="T14" fmla="*/ 2147483647 w 377"/>
                    <a:gd name="T15" fmla="*/ 2147483647 h 210"/>
                    <a:gd name="T16" fmla="*/ 2147483647 w 377"/>
                    <a:gd name="T17" fmla="*/ 2147483647 h 210"/>
                    <a:gd name="T18" fmla="*/ 2147483647 w 377"/>
                    <a:gd name="T19" fmla="*/ 2147483647 h 210"/>
                    <a:gd name="T20" fmla="*/ 2147483647 w 377"/>
                    <a:gd name="T21" fmla="*/ 2147483647 h 210"/>
                    <a:gd name="T22" fmla="*/ 2147483647 w 377"/>
                    <a:gd name="T23" fmla="*/ 2147483647 h 210"/>
                    <a:gd name="T24" fmla="*/ 2147483647 w 377"/>
                    <a:gd name="T25" fmla="*/ 2147483647 h 210"/>
                    <a:gd name="T26" fmla="*/ 2147483647 w 377"/>
                    <a:gd name="T27" fmla="*/ 2147483647 h 210"/>
                    <a:gd name="T28" fmla="*/ 2147483647 w 377"/>
                    <a:gd name="T29" fmla="*/ 2147483647 h 210"/>
                    <a:gd name="T30" fmla="*/ 2147483647 w 377"/>
                    <a:gd name="T31" fmla="*/ 2147483647 h 210"/>
                    <a:gd name="T32" fmla="*/ 2147483647 w 377"/>
                    <a:gd name="T33" fmla="*/ 2147483647 h 210"/>
                    <a:gd name="T34" fmla="*/ 2147483647 w 377"/>
                    <a:gd name="T35" fmla="*/ 2147483647 h 210"/>
                    <a:gd name="T36" fmla="*/ 2147483647 w 377"/>
                    <a:gd name="T37" fmla="*/ 2147483647 h 210"/>
                    <a:gd name="T38" fmla="*/ 2147483647 w 377"/>
                    <a:gd name="T39" fmla="*/ 2147483647 h 210"/>
                    <a:gd name="T40" fmla="*/ 2147483647 w 377"/>
                    <a:gd name="T41" fmla="*/ 2147483647 h 210"/>
                    <a:gd name="T42" fmla="*/ 2147483647 w 377"/>
                    <a:gd name="T43" fmla="*/ 2147483647 h 210"/>
                    <a:gd name="T44" fmla="*/ 2147483647 w 377"/>
                    <a:gd name="T45" fmla="*/ 2147483647 h 210"/>
                    <a:gd name="T46" fmla="*/ 2147483647 w 377"/>
                    <a:gd name="T47" fmla="*/ 2147483647 h 210"/>
                    <a:gd name="T48" fmla="*/ 2147483647 w 377"/>
                    <a:gd name="T49" fmla="*/ 2147483647 h 210"/>
                    <a:gd name="T50" fmla="*/ 2147483647 w 377"/>
                    <a:gd name="T51" fmla="*/ 2147483647 h 210"/>
                    <a:gd name="T52" fmla="*/ 2147483647 w 377"/>
                    <a:gd name="T53" fmla="*/ 2147483647 h 210"/>
                    <a:gd name="T54" fmla="*/ 2147483647 w 377"/>
                    <a:gd name="T55" fmla="*/ 2147483647 h 210"/>
                    <a:gd name="T56" fmla="*/ 2147483647 w 377"/>
                    <a:gd name="T57" fmla="*/ 2147483647 h 210"/>
                    <a:gd name="T58" fmla="*/ 2147483647 w 377"/>
                    <a:gd name="T59" fmla="*/ 2147483647 h 210"/>
                    <a:gd name="T60" fmla="*/ 2147483647 w 377"/>
                    <a:gd name="T61" fmla="*/ 2147483647 h 210"/>
                    <a:gd name="T62" fmla="*/ 2147483647 w 377"/>
                    <a:gd name="T63" fmla="*/ 2147483647 h 210"/>
                    <a:gd name="T64" fmla="*/ 2147483647 w 377"/>
                    <a:gd name="T65" fmla="*/ 2147483647 h 210"/>
                    <a:gd name="T66" fmla="*/ 2147483647 w 377"/>
                    <a:gd name="T67" fmla="*/ 2147483647 h 210"/>
                    <a:gd name="T68" fmla="*/ 2147483647 w 377"/>
                    <a:gd name="T69" fmla="*/ 2147483647 h 210"/>
                    <a:gd name="T70" fmla="*/ 2147483647 w 377"/>
                    <a:gd name="T71" fmla="*/ 2147483647 h 210"/>
                    <a:gd name="T72" fmla="*/ 2147483647 w 377"/>
                    <a:gd name="T73" fmla="*/ 2147483647 h 210"/>
                    <a:gd name="T74" fmla="*/ 2147483647 w 377"/>
                    <a:gd name="T75" fmla="*/ 2147483647 h 210"/>
                    <a:gd name="T76" fmla="*/ 2147483647 w 377"/>
                    <a:gd name="T77" fmla="*/ 2147483647 h 210"/>
                    <a:gd name="T78" fmla="*/ 2147483647 w 377"/>
                    <a:gd name="T79" fmla="*/ 2147483647 h 210"/>
                    <a:gd name="T80" fmla="*/ 2147483647 w 377"/>
                    <a:gd name="T81" fmla="*/ 2147483647 h 210"/>
                    <a:gd name="T82" fmla="*/ 2147483647 w 377"/>
                    <a:gd name="T83" fmla="*/ 2147483647 h 210"/>
                    <a:gd name="T84" fmla="*/ 2147483647 w 377"/>
                    <a:gd name="T85" fmla="*/ 2147483647 h 210"/>
                    <a:gd name="T86" fmla="*/ 2147483647 w 377"/>
                    <a:gd name="T87" fmla="*/ 2147483647 h 210"/>
                    <a:gd name="T88" fmla="*/ 2147483647 w 377"/>
                    <a:gd name="T89" fmla="*/ 2147483647 h 210"/>
                    <a:gd name="T90" fmla="*/ 2147483647 w 377"/>
                    <a:gd name="T91" fmla="*/ 2147483647 h 210"/>
                    <a:gd name="T92" fmla="*/ 2147483647 w 377"/>
                    <a:gd name="T93" fmla="*/ 2147483647 h 210"/>
                    <a:gd name="T94" fmla="*/ 2147483647 w 377"/>
                    <a:gd name="T95" fmla="*/ 2147483647 h 210"/>
                    <a:gd name="T96" fmla="*/ 2147483647 w 377"/>
                    <a:gd name="T97" fmla="*/ 2147483647 h 210"/>
                    <a:gd name="T98" fmla="*/ 2147483647 w 377"/>
                    <a:gd name="T99" fmla="*/ 2147483647 h 210"/>
                    <a:gd name="T100" fmla="*/ 2147483647 w 377"/>
                    <a:gd name="T101" fmla="*/ 2147483647 h 210"/>
                    <a:gd name="T102" fmla="*/ 2147483647 w 377"/>
                    <a:gd name="T103" fmla="*/ 2147483647 h 210"/>
                    <a:gd name="T104" fmla="*/ 2147483647 w 377"/>
                    <a:gd name="T105" fmla="*/ 2147483647 h 210"/>
                    <a:gd name="T106" fmla="*/ 2147483647 w 377"/>
                    <a:gd name="T107" fmla="*/ 2147483647 h 210"/>
                    <a:gd name="T108" fmla="*/ 2147483647 w 377"/>
                    <a:gd name="T109" fmla="*/ 2147483647 h 210"/>
                    <a:gd name="T110" fmla="*/ 2147483647 w 377"/>
                    <a:gd name="T111" fmla="*/ 2147483647 h 210"/>
                    <a:gd name="T112" fmla="*/ 2147483647 w 377"/>
                    <a:gd name="T113" fmla="*/ 2147483647 h 210"/>
                    <a:gd name="T114" fmla="*/ 2147483647 w 377"/>
                    <a:gd name="T115" fmla="*/ 2147483647 h 210"/>
                    <a:gd name="T116" fmla="*/ 2147483647 w 377"/>
                    <a:gd name="T117" fmla="*/ 2147483647 h 210"/>
                    <a:gd name="T118" fmla="*/ 2147483647 w 377"/>
                    <a:gd name="T119" fmla="*/ 2147483647 h 210"/>
                    <a:gd name="T120" fmla="*/ 2147483647 w 377"/>
                    <a:gd name="T121" fmla="*/ 2147483647 h 21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77"/>
                    <a:gd name="T184" fmla="*/ 0 h 210"/>
                    <a:gd name="T185" fmla="*/ 377 w 377"/>
                    <a:gd name="T186" fmla="*/ 210 h 21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77" h="210">
                      <a:moveTo>
                        <a:pt x="21" y="36"/>
                      </a:move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2" y="33"/>
                      </a:lnTo>
                      <a:lnTo>
                        <a:pt x="22" y="34"/>
                      </a:lnTo>
                      <a:lnTo>
                        <a:pt x="21" y="34"/>
                      </a:lnTo>
                      <a:lnTo>
                        <a:pt x="19" y="34"/>
                      </a:lnTo>
                      <a:lnTo>
                        <a:pt x="17" y="34"/>
                      </a:lnTo>
                      <a:lnTo>
                        <a:pt x="15" y="34"/>
                      </a:lnTo>
                      <a:lnTo>
                        <a:pt x="15" y="33"/>
                      </a:lnTo>
                      <a:lnTo>
                        <a:pt x="17" y="33"/>
                      </a:lnTo>
                      <a:lnTo>
                        <a:pt x="17" y="31"/>
                      </a:lnTo>
                      <a:lnTo>
                        <a:pt x="19" y="31"/>
                      </a:lnTo>
                      <a:lnTo>
                        <a:pt x="21" y="33"/>
                      </a:lnTo>
                      <a:lnTo>
                        <a:pt x="22" y="33"/>
                      </a:lnTo>
                      <a:lnTo>
                        <a:pt x="22" y="31"/>
                      </a:lnTo>
                      <a:lnTo>
                        <a:pt x="22" y="29"/>
                      </a:lnTo>
                      <a:lnTo>
                        <a:pt x="24" y="29"/>
                      </a:lnTo>
                      <a:lnTo>
                        <a:pt x="26" y="29"/>
                      </a:lnTo>
                      <a:lnTo>
                        <a:pt x="27" y="29"/>
                      </a:lnTo>
                      <a:lnTo>
                        <a:pt x="26" y="29"/>
                      </a:lnTo>
                      <a:lnTo>
                        <a:pt x="26" y="31"/>
                      </a:lnTo>
                      <a:lnTo>
                        <a:pt x="26" y="33"/>
                      </a:lnTo>
                      <a:lnTo>
                        <a:pt x="26" y="34"/>
                      </a:lnTo>
                      <a:lnTo>
                        <a:pt x="26" y="36"/>
                      </a:lnTo>
                      <a:lnTo>
                        <a:pt x="27" y="38"/>
                      </a:lnTo>
                      <a:lnTo>
                        <a:pt x="29" y="38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2" y="34"/>
                      </a:lnTo>
                      <a:lnTo>
                        <a:pt x="34" y="34"/>
                      </a:lnTo>
                      <a:lnTo>
                        <a:pt x="36" y="36"/>
                      </a:lnTo>
                      <a:lnTo>
                        <a:pt x="36" y="38"/>
                      </a:lnTo>
                      <a:lnTo>
                        <a:pt x="37" y="39"/>
                      </a:lnTo>
                      <a:lnTo>
                        <a:pt x="36" y="39"/>
                      </a:lnTo>
                      <a:lnTo>
                        <a:pt x="37" y="39"/>
                      </a:lnTo>
                      <a:lnTo>
                        <a:pt x="39" y="38"/>
                      </a:lnTo>
                      <a:lnTo>
                        <a:pt x="39" y="39"/>
                      </a:lnTo>
                      <a:lnTo>
                        <a:pt x="41" y="39"/>
                      </a:lnTo>
                      <a:lnTo>
                        <a:pt x="41" y="41"/>
                      </a:lnTo>
                      <a:lnTo>
                        <a:pt x="42" y="41"/>
                      </a:lnTo>
                      <a:lnTo>
                        <a:pt x="42" y="43"/>
                      </a:lnTo>
                      <a:lnTo>
                        <a:pt x="44" y="43"/>
                      </a:lnTo>
                      <a:lnTo>
                        <a:pt x="46" y="43"/>
                      </a:lnTo>
                      <a:lnTo>
                        <a:pt x="48" y="43"/>
                      </a:lnTo>
                      <a:lnTo>
                        <a:pt x="49" y="43"/>
                      </a:lnTo>
                      <a:lnTo>
                        <a:pt x="51" y="43"/>
                      </a:lnTo>
                      <a:lnTo>
                        <a:pt x="53" y="43"/>
                      </a:lnTo>
                      <a:lnTo>
                        <a:pt x="54" y="43"/>
                      </a:lnTo>
                      <a:lnTo>
                        <a:pt x="56" y="43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6"/>
                      </a:lnTo>
                      <a:lnTo>
                        <a:pt x="61" y="46"/>
                      </a:lnTo>
                      <a:lnTo>
                        <a:pt x="61" y="44"/>
                      </a:lnTo>
                      <a:lnTo>
                        <a:pt x="63" y="44"/>
                      </a:lnTo>
                      <a:lnTo>
                        <a:pt x="63" y="43"/>
                      </a:lnTo>
                      <a:lnTo>
                        <a:pt x="64" y="43"/>
                      </a:lnTo>
                      <a:lnTo>
                        <a:pt x="64" y="41"/>
                      </a:lnTo>
                      <a:lnTo>
                        <a:pt x="66" y="39"/>
                      </a:lnTo>
                      <a:lnTo>
                        <a:pt x="68" y="39"/>
                      </a:lnTo>
                      <a:lnTo>
                        <a:pt x="68" y="38"/>
                      </a:lnTo>
                      <a:lnTo>
                        <a:pt x="68" y="39"/>
                      </a:lnTo>
                      <a:lnTo>
                        <a:pt x="68" y="41"/>
                      </a:lnTo>
                      <a:lnTo>
                        <a:pt x="70" y="41"/>
                      </a:lnTo>
                      <a:lnTo>
                        <a:pt x="71" y="41"/>
                      </a:lnTo>
                      <a:lnTo>
                        <a:pt x="71" y="39"/>
                      </a:lnTo>
                      <a:lnTo>
                        <a:pt x="70" y="39"/>
                      </a:lnTo>
                      <a:lnTo>
                        <a:pt x="70" y="38"/>
                      </a:lnTo>
                      <a:lnTo>
                        <a:pt x="71" y="38"/>
                      </a:lnTo>
                      <a:lnTo>
                        <a:pt x="71" y="36"/>
                      </a:lnTo>
                      <a:lnTo>
                        <a:pt x="73" y="36"/>
                      </a:lnTo>
                      <a:lnTo>
                        <a:pt x="75" y="36"/>
                      </a:lnTo>
                      <a:lnTo>
                        <a:pt x="75" y="34"/>
                      </a:lnTo>
                      <a:lnTo>
                        <a:pt x="76" y="34"/>
                      </a:lnTo>
                      <a:lnTo>
                        <a:pt x="78" y="34"/>
                      </a:lnTo>
                      <a:lnTo>
                        <a:pt x="80" y="34"/>
                      </a:lnTo>
                      <a:lnTo>
                        <a:pt x="80" y="33"/>
                      </a:lnTo>
                      <a:lnTo>
                        <a:pt x="81" y="34"/>
                      </a:lnTo>
                      <a:lnTo>
                        <a:pt x="83" y="34"/>
                      </a:lnTo>
                      <a:lnTo>
                        <a:pt x="83" y="33"/>
                      </a:lnTo>
                      <a:lnTo>
                        <a:pt x="85" y="33"/>
                      </a:lnTo>
                      <a:lnTo>
                        <a:pt x="85" y="31"/>
                      </a:lnTo>
                      <a:lnTo>
                        <a:pt x="86" y="31"/>
                      </a:lnTo>
                      <a:lnTo>
                        <a:pt x="86" y="29"/>
                      </a:lnTo>
                      <a:lnTo>
                        <a:pt x="88" y="29"/>
                      </a:lnTo>
                      <a:lnTo>
                        <a:pt x="88" y="28"/>
                      </a:lnTo>
                      <a:lnTo>
                        <a:pt x="86" y="28"/>
                      </a:lnTo>
                      <a:lnTo>
                        <a:pt x="88" y="28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88" y="26"/>
                      </a:lnTo>
                      <a:lnTo>
                        <a:pt x="90" y="24"/>
                      </a:lnTo>
                      <a:lnTo>
                        <a:pt x="91" y="24"/>
                      </a:lnTo>
                      <a:lnTo>
                        <a:pt x="93" y="24"/>
                      </a:lnTo>
                      <a:lnTo>
                        <a:pt x="95" y="24"/>
                      </a:lnTo>
                      <a:lnTo>
                        <a:pt x="95" y="23"/>
                      </a:lnTo>
                      <a:lnTo>
                        <a:pt x="97" y="23"/>
                      </a:lnTo>
                      <a:lnTo>
                        <a:pt x="97" y="21"/>
                      </a:lnTo>
                      <a:lnTo>
                        <a:pt x="95" y="23"/>
                      </a:lnTo>
                      <a:lnTo>
                        <a:pt x="95" y="21"/>
                      </a:lnTo>
                      <a:lnTo>
                        <a:pt x="93" y="20"/>
                      </a:lnTo>
                      <a:lnTo>
                        <a:pt x="95" y="20"/>
                      </a:lnTo>
                      <a:lnTo>
                        <a:pt x="93" y="18"/>
                      </a:lnTo>
                      <a:lnTo>
                        <a:pt x="95" y="18"/>
                      </a:lnTo>
                      <a:lnTo>
                        <a:pt x="95" y="16"/>
                      </a:lnTo>
                      <a:lnTo>
                        <a:pt x="97" y="15"/>
                      </a:lnTo>
                      <a:lnTo>
                        <a:pt x="98" y="15"/>
                      </a:lnTo>
                      <a:lnTo>
                        <a:pt x="100" y="15"/>
                      </a:lnTo>
                      <a:lnTo>
                        <a:pt x="102" y="15"/>
                      </a:lnTo>
                      <a:lnTo>
                        <a:pt x="102" y="16"/>
                      </a:lnTo>
                      <a:lnTo>
                        <a:pt x="103" y="16"/>
                      </a:lnTo>
                      <a:lnTo>
                        <a:pt x="105" y="16"/>
                      </a:lnTo>
                      <a:lnTo>
                        <a:pt x="107" y="15"/>
                      </a:lnTo>
                      <a:lnTo>
                        <a:pt x="108" y="15"/>
                      </a:lnTo>
                      <a:lnTo>
                        <a:pt x="110" y="13"/>
                      </a:lnTo>
                      <a:lnTo>
                        <a:pt x="110" y="11"/>
                      </a:lnTo>
                      <a:lnTo>
                        <a:pt x="112" y="11"/>
                      </a:lnTo>
                      <a:lnTo>
                        <a:pt x="113" y="11"/>
                      </a:lnTo>
                      <a:lnTo>
                        <a:pt x="113" y="13"/>
                      </a:lnTo>
                      <a:lnTo>
                        <a:pt x="115" y="11"/>
                      </a:lnTo>
                      <a:lnTo>
                        <a:pt x="120" y="10"/>
                      </a:lnTo>
                      <a:lnTo>
                        <a:pt x="122" y="10"/>
                      </a:lnTo>
                      <a:lnTo>
                        <a:pt x="125" y="8"/>
                      </a:lnTo>
                      <a:lnTo>
                        <a:pt x="129" y="8"/>
                      </a:lnTo>
                      <a:lnTo>
                        <a:pt x="130" y="5"/>
                      </a:lnTo>
                      <a:lnTo>
                        <a:pt x="132" y="5"/>
                      </a:lnTo>
                      <a:lnTo>
                        <a:pt x="134" y="5"/>
                      </a:lnTo>
                      <a:lnTo>
                        <a:pt x="135" y="3"/>
                      </a:lnTo>
                      <a:lnTo>
                        <a:pt x="137" y="3"/>
                      </a:lnTo>
                      <a:lnTo>
                        <a:pt x="139" y="3"/>
                      </a:lnTo>
                      <a:lnTo>
                        <a:pt x="140" y="3"/>
                      </a:lnTo>
                      <a:lnTo>
                        <a:pt x="142" y="1"/>
                      </a:lnTo>
                      <a:lnTo>
                        <a:pt x="142" y="0"/>
                      </a:lnTo>
                      <a:lnTo>
                        <a:pt x="144" y="0"/>
                      </a:lnTo>
                      <a:lnTo>
                        <a:pt x="146" y="0"/>
                      </a:lnTo>
                      <a:lnTo>
                        <a:pt x="146" y="1"/>
                      </a:lnTo>
                      <a:lnTo>
                        <a:pt x="147" y="1"/>
                      </a:lnTo>
                      <a:lnTo>
                        <a:pt x="149" y="1"/>
                      </a:lnTo>
                      <a:lnTo>
                        <a:pt x="151" y="1"/>
                      </a:lnTo>
                      <a:lnTo>
                        <a:pt x="149" y="6"/>
                      </a:lnTo>
                      <a:lnTo>
                        <a:pt x="152" y="11"/>
                      </a:lnTo>
                      <a:lnTo>
                        <a:pt x="151" y="11"/>
                      </a:lnTo>
                      <a:lnTo>
                        <a:pt x="149" y="11"/>
                      </a:lnTo>
                      <a:lnTo>
                        <a:pt x="144" y="16"/>
                      </a:lnTo>
                      <a:lnTo>
                        <a:pt x="140" y="18"/>
                      </a:lnTo>
                      <a:lnTo>
                        <a:pt x="140" y="21"/>
                      </a:lnTo>
                      <a:lnTo>
                        <a:pt x="137" y="24"/>
                      </a:lnTo>
                      <a:lnTo>
                        <a:pt x="132" y="28"/>
                      </a:lnTo>
                      <a:lnTo>
                        <a:pt x="129" y="34"/>
                      </a:lnTo>
                      <a:lnTo>
                        <a:pt x="129" y="36"/>
                      </a:lnTo>
                      <a:lnTo>
                        <a:pt x="129" y="38"/>
                      </a:lnTo>
                      <a:lnTo>
                        <a:pt x="129" y="39"/>
                      </a:lnTo>
                      <a:lnTo>
                        <a:pt x="130" y="41"/>
                      </a:lnTo>
                      <a:lnTo>
                        <a:pt x="129" y="43"/>
                      </a:lnTo>
                      <a:lnTo>
                        <a:pt x="130" y="43"/>
                      </a:lnTo>
                      <a:lnTo>
                        <a:pt x="130" y="44"/>
                      </a:lnTo>
                      <a:lnTo>
                        <a:pt x="130" y="46"/>
                      </a:lnTo>
                      <a:lnTo>
                        <a:pt x="129" y="46"/>
                      </a:lnTo>
                      <a:lnTo>
                        <a:pt x="129" y="47"/>
                      </a:lnTo>
                      <a:lnTo>
                        <a:pt x="127" y="47"/>
                      </a:lnTo>
                      <a:lnTo>
                        <a:pt x="125" y="47"/>
                      </a:lnTo>
                      <a:lnTo>
                        <a:pt x="124" y="47"/>
                      </a:lnTo>
                      <a:lnTo>
                        <a:pt x="122" y="47"/>
                      </a:lnTo>
                      <a:lnTo>
                        <a:pt x="122" y="49"/>
                      </a:lnTo>
                      <a:lnTo>
                        <a:pt x="122" y="51"/>
                      </a:lnTo>
                      <a:lnTo>
                        <a:pt x="122" y="52"/>
                      </a:lnTo>
                      <a:lnTo>
                        <a:pt x="122" y="54"/>
                      </a:lnTo>
                      <a:lnTo>
                        <a:pt x="122" y="56"/>
                      </a:lnTo>
                      <a:lnTo>
                        <a:pt x="122" y="57"/>
                      </a:lnTo>
                      <a:lnTo>
                        <a:pt x="122" y="59"/>
                      </a:lnTo>
                      <a:lnTo>
                        <a:pt x="122" y="61"/>
                      </a:lnTo>
                      <a:lnTo>
                        <a:pt x="122" y="62"/>
                      </a:lnTo>
                      <a:lnTo>
                        <a:pt x="125" y="61"/>
                      </a:lnTo>
                      <a:lnTo>
                        <a:pt x="127" y="61"/>
                      </a:lnTo>
                      <a:lnTo>
                        <a:pt x="129" y="61"/>
                      </a:lnTo>
                      <a:lnTo>
                        <a:pt x="130" y="61"/>
                      </a:lnTo>
                      <a:lnTo>
                        <a:pt x="132" y="61"/>
                      </a:lnTo>
                      <a:lnTo>
                        <a:pt x="132" y="62"/>
                      </a:lnTo>
                      <a:lnTo>
                        <a:pt x="134" y="62"/>
                      </a:lnTo>
                      <a:lnTo>
                        <a:pt x="137" y="61"/>
                      </a:lnTo>
                      <a:lnTo>
                        <a:pt x="137" y="62"/>
                      </a:lnTo>
                      <a:lnTo>
                        <a:pt x="139" y="62"/>
                      </a:lnTo>
                      <a:lnTo>
                        <a:pt x="140" y="64"/>
                      </a:lnTo>
                      <a:lnTo>
                        <a:pt x="142" y="64"/>
                      </a:lnTo>
                      <a:lnTo>
                        <a:pt x="142" y="66"/>
                      </a:lnTo>
                      <a:lnTo>
                        <a:pt x="142" y="67"/>
                      </a:lnTo>
                      <a:lnTo>
                        <a:pt x="140" y="69"/>
                      </a:lnTo>
                      <a:lnTo>
                        <a:pt x="142" y="69"/>
                      </a:lnTo>
                      <a:lnTo>
                        <a:pt x="142" y="70"/>
                      </a:lnTo>
                      <a:lnTo>
                        <a:pt x="142" y="72"/>
                      </a:lnTo>
                      <a:lnTo>
                        <a:pt x="144" y="72"/>
                      </a:lnTo>
                      <a:lnTo>
                        <a:pt x="144" y="74"/>
                      </a:lnTo>
                      <a:lnTo>
                        <a:pt x="146" y="74"/>
                      </a:lnTo>
                      <a:lnTo>
                        <a:pt x="147" y="74"/>
                      </a:lnTo>
                      <a:lnTo>
                        <a:pt x="149" y="74"/>
                      </a:lnTo>
                      <a:lnTo>
                        <a:pt x="149" y="72"/>
                      </a:lnTo>
                      <a:lnTo>
                        <a:pt x="151" y="70"/>
                      </a:lnTo>
                      <a:lnTo>
                        <a:pt x="152" y="70"/>
                      </a:lnTo>
                      <a:lnTo>
                        <a:pt x="152" y="69"/>
                      </a:lnTo>
                      <a:lnTo>
                        <a:pt x="154" y="69"/>
                      </a:lnTo>
                      <a:lnTo>
                        <a:pt x="154" y="70"/>
                      </a:lnTo>
                      <a:lnTo>
                        <a:pt x="156" y="70"/>
                      </a:lnTo>
                      <a:lnTo>
                        <a:pt x="157" y="72"/>
                      </a:lnTo>
                      <a:lnTo>
                        <a:pt x="159" y="72"/>
                      </a:lnTo>
                      <a:lnTo>
                        <a:pt x="159" y="70"/>
                      </a:lnTo>
                      <a:lnTo>
                        <a:pt x="161" y="70"/>
                      </a:lnTo>
                      <a:lnTo>
                        <a:pt x="162" y="69"/>
                      </a:lnTo>
                      <a:lnTo>
                        <a:pt x="162" y="67"/>
                      </a:lnTo>
                      <a:lnTo>
                        <a:pt x="161" y="67"/>
                      </a:lnTo>
                      <a:lnTo>
                        <a:pt x="164" y="66"/>
                      </a:lnTo>
                      <a:lnTo>
                        <a:pt x="166" y="62"/>
                      </a:lnTo>
                      <a:lnTo>
                        <a:pt x="167" y="62"/>
                      </a:lnTo>
                      <a:lnTo>
                        <a:pt x="169" y="62"/>
                      </a:lnTo>
                      <a:lnTo>
                        <a:pt x="171" y="70"/>
                      </a:lnTo>
                      <a:lnTo>
                        <a:pt x="176" y="67"/>
                      </a:lnTo>
                      <a:lnTo>
                        <a:pt x="179" y="66"/>
                      </a:lnTo>
                      <a:lnTo>
                        <a:pt x="183" y="64"/>
                      </a:lnTo>
                      <a:lnTo>
                        <a:pt x="184" y="64"/>
                      </a:lnTo>
                      <a:lnTo>
                        <a:pt x="184" y="66"/>
                      </a:lnTo>
                      <a:lnTo>
                        <a:pt x="184" y="67"/>
                      </a:lnTo>
                      <a:lnTo>
                        <a:pt x="186" y="67"/>
                      </a:lnTo>
                      <a:lnTo>
                        <a:pt x="188" y="67"/>
                      </a:lnTo>
                      <a:lnTo>
                        <a:pt x="188" y="69"/>
                      </a:lnTo>
                      <a:lnTo>
                        <a:pt x="189" y="69"/>
                      </a:lnTo>
                      <a:lnTo>
                        <a:pt x="188" y="70"/>
                      </a:lnTo>
                      <a:lnTo>
                        <a:pt x="188" y="72"/>
                      </a:lnTo>
                      <a:lnTo>
                        <a:pt x="189" y="72"/>
                      </a:lnTo>
                      <a:lnTo>
                        <a:pt x="191" y="72"/>
                      </a:lnTo>
                      <a:lnTo>
                        <a:pt x="193" y="72"/>
                      </a:lnTo>
                      <a:lnTo>
                        <a:pt x="193" y="74"/>
                      </a:lnTo>
                      <a:lnTo>
                        <a:pt x="193" y="75"/>
                      </a:lnTo>
                      <a:lnTo>
                        <a:pt x="191" y="75"/>
                      </a:lnTo>
                      <a:lnTo>
                        <a:pt x="191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9" y="82"/>
                      </a:lnTo>
                      <a:lnTo>
                        <a:pt x="189" y="84"/>
                      </a:lnTo>
                      <a:lnTo>
                        <a:pt x="189" y="85"/>
                      </a:lnTo>
                      <a:lnTo>
                        <a:pt x="191" y="87"/>
                      </a:lnTo>
                      <a:lnTo>
                        <a:pt x="193" y="87"/>
                      </a:lnTo>
                      <a:lnTo>
                        <a:pt x="194" y="89"/>
                      </a:lnTo>
                      <a:lnTo>
                        <a:pt x="194" y="87"/>
                      </a:lnTo>
                      <a:lnTo>
                        <a:pt x="196" y="87"/>
                      </a:lnTo>
                      <a:lnTo>
                        <a:pt x="196" y="85"/>
                      </a:lnTo>
                      <a:lnTo>
                        <a:pt x="196" y="84"/>
                      </a:lnTo>
                      <a:lnTo>
                        <a:pt x="196" y="82"/>
                      </a:lnTo>
                      <a:lnTo>
                        <a:pt x="198" y="82"/>
                      </a:lnTo>
                      <a:lnTo>
                        <a:pt x="198" y="84"/>
                      </a:lnTo>
                      <a:lnTo>
                        <a:pt x="200" y="84"/>
                      </a:lnTo>
                      <a:lnTo>
                        <a:pt x="201" y="84"/>
                      </a:lnTo>
                      <a:lnTo>
                        <a:pt x="203" y="84"/>
                      </a:lnTo>
                      <a:lnTo>
                        <a:pt x="205" y="84"/>
                      </a:lnTo>
                      <a:lnTo>
                        <a:pt x="208" y="82"/>
                      </a:lnTo>
                      <a:lnTo>
                        <a:pt x="210" y="82"/>
                      </a:lnTo>
                      <a:lnTo>
                        <a:pt x="210" y="80"/>
                      </a:lnTo>
                      <a:lnTo>
                        <a:pt x="210" y="79"/>
                      </a:lnTo>
                      <a:lnTo>
                        <a:pt x="211" y="77"/>
                      </a:lnTo>
                      <a:lnTo>
                        <a:pt x="211" y="75"/>
                      </a:lnTo>
                      <a:lnTo>
                        <a:pt x="210" y="75"/>
                      </a:lnTo>
                      <a:lnTo>
                        <a:pt x="211" y="74"/>
                      </a:lnTo>
                      <a:lnTo>
                        <a:pt x="213" y="74"/>
                      </a:lnTo>
                      <a:lnTo>
                        <a:pt x="213" y="72"/>
                      </a:lnTo>
                      <a:lnTo>
                        <a:pt x="215" y="70"/>
                      </a:lnTo>
                      <a:lnTo>
                        <a:pt x="215" y="69"/>
                      </a:lnTo>
                      <a:lnTo>
                        <a:pt x="213" y="67"/>
                      </a:lnTo>
                      <a:lnTo>
                        <a:pt x="215" y="67"/>
                      </a:lnTo>
                      <a:lnTo>
                        <a:pt x="213" y="66"/>
                      </a:lnTo>
                      <a:lnTo>
                        <a:pt x="211" y="66"/>
                      </a:lnTo>
                      <a:lnTo>
                        <a:pt x="211" y="64"/>
                      </a:lnTo>
                      <a:lnTo>
                        <a:pt x="210" y="66"/>
                      </a:lnTo>
                      <a:lnTo>
                        <a:pt x="210" y="64"/>
                      </a:lnTo>
                      <a:lnTo>
                        <a:pt x="210" y="62"/>
                      </a:lnTo>
                      <a:lnTo>
                        <a:pt x="208" y="62"/>
                      </a:lnTo>
                      <a:lnTo>
                        <a:pt x="210" y="62"/>
                      </a:lnTo>
                      <a:lnTo>
                        <a:pt x="210" y="61"/>
                      </a:lnTo>
                      <a:lnTo>
                        <a:pt x="210" y="59"/>
                      </a:lnTo>
                      <a:lnTo>
                        <a:pt x="210" y="57"/>
                      </a:lnTo>
                      <a:lnTo>
                        <a:pt x="211" y="57"/>
                      </a:lnTo>
                      <a:lnTo>
                        <a:pt x="211" y="56"/>
                      </a:lnTo>
                      <a:lnTo>
                        <a:pt x="211" y="54"/>
                      </a:lnTo>
                      <a:lnTo>
                        <a:pt x="213" y="52"/>
                      </a:lnTo>
                      <a:lnTo>
                        <a:pt x="211" y="52"/>
                      </a:lnTo>
                      <a:lnTo>
                        <a:pt x="213" y="52"/>
                      </a:lnTo>
                      <a:lnTo>
                        <a:pt x="215" y="52"/>
                      </a:lnTo>
                      <a:lnTo>
                        <a:pt x="215" y="54"/>
                      </a:lnTo>
                      <a:lnTo>
                        <a:pt x="216" y="54"/>
                      </a:lnTo>
                      <a:lnTo>
                        <a:pt x="216" y="56"/>
                      </a:lnTo>
                      <a:lnTo>
                        <a:pt x="218" y="56"/>
                      </a:lnTo>
                      <a:lnTo>
                        <a:pt x="218" y="54"/>
                      </a:lnTo>
                      <a:lnTo>
                        <a:pt x="220" y="54"/>
                      </a:lnTo>
                      <a:lnTo>
                        <a:pt x="220" y="56"/>
                      </a:lnTo>
                      <a:lnTo>
                        <a:pt x="220" y="54"/>
                      </a:lnTo>
                      <a:lnTo>
                        <a:pt x="220" y="52"/>
                      </a:lnTo>
                      <a:lnTo>
                        <a:pt x="220" y="51"/>
                      </a:lnTo>
                      <a:lnTo>
                        <a:pt x="222" y="51"/>
                      </a:lnTo>
                      <a:lnTo>
                        <a:pt x="220" y="49"/>
                      </a:lnTo>
                      <a:lnTo>
                        <a:pt x="220" y="47"/>
                      </a:lnTo>
                      <a:lnTo>
                        <a:pt x="218" y="47"/>
                      </a:lnTo>
                      <a:lnTo>
                        <a:pt x="216" y="47"/>
                      </a:lnTo>
                      <a:lnTo>
                        <a:pt x="216" y="46"/>
                      </a:lnTo>
                      <a:lnTo>
                        <a:pt x="216" y="44"/>
                      </a:lnTo>
                      <a:lnTo>
                        <a:pt x="215" y="44"/>
                      </a:lnTo>
                      <a:lnTo>
                        <a:pt x="213" y="44"/>
                      </a:lnTo>
                      <a:lnTo>
                        <a:pt x="211" y="44"/>
                      </a:lnTo>
                      <a:lnTo>
                        <a:pt x="211" y="43"/>
                      </a:lnTo>
                      <a:lnTo>
                        <a:pt x="211" y="41"/>
                      </a:lnTo>
                      <a:lnTo>
                        <a:pt x="211" y="39"/>
                      </a:lnTo>
                      <a:lnTo>
                        <a:pt x="211" y="38"/>
                      </a:lnTo>
                      <a:lnTo>
                        <a:pt x="213" y="36"/>
                      </a:lnTo>
                      <a:lnTo>
                        <a:pt x="213" y="34"/>
                      </a:lnTo>
                      <a:lnTo>
                        <a:pt x="213" y="33"/>
                      </a:lnTo>
                      <a:lnTo>
                        <a:pt x="215" y="33"/>
                      </a:lnTo>
                      <a:lnTo>
                        <a:pt x="215" y="31"/>
                      </a:lnTo>
                      <a:lnTo>
                        <a:pt x="222" y="31"/>
                      </a:lnTo>
                      <a:lnTo>
                        <a:pt x="225" y="24"/>
                      </a:lnTo>
                      <a:lnTo>
                        <a:pt x="228" y="26"/>
                      </a:lnTo>
                      <a:lnTo>
                        <a:pt x="228" y="24"/>
                      </a:lnTo>
                      <a:lnTo>
                        <a:pt x="230" y="24"/>
                      </a:lnTo>
                      <a:lnTo>
                        <a:pt x="232" y="24"/>
                      </a:lnTo>
                      <a:lnTo>
                        <a:pt x="232" y="23"/>
                      </a:lnTo>
                      <a:lnTo>
                        <a:pt x="233" y="23"/>
                      </a:lnTo>
                      <a:lnTo>
                        <a:pt x="233" y="24"/>
                      </a:lnTo>
                      <a:lnTo>
                        <a:pt x="235" y="24"/>
                      </a:lnTo>
                      <a:lnTo>
                        <a:pt x="235" y="26"/>
                      </a:lnTo>
                      <a:lnTo>
                        <a:pt x="235" y="28"/>
                      </a:lnTo>
                      <a:lnTo>
                        <a:pt x="235" y="29"/>
                      </a:lnTo>
                      <a:lnTo>
                        <a:pt x="233" y="31"/>
                      </a:lnTo>
                      <a:lnTo>
                        <a:pt x="233" y="33"/>
                      </a:lnTo>
                      <a:lnTo>
                        <a:pt x="233" y="34"/>
                      </a:lnTo>
                      <a:lnTo>
                        <a:pt x="235" y="34"/>
                      </a:lnTo>
                      <a:lnTo>
                        <a:pt x="237" y="34"/>
                      </a:lnTo>
                      <a:lnTo>
                        <a:pt x="237" y="36"/>
                      </a:lnTo>
                      <a:lnTo>
                        <a:pt x="238" y="36"/>
                      </a:lnTo>
                      <a:lnTo>
                        <a:pt x="238" y="38"/>
                      </a:lnTo>
                      <a:lnTo>
                        <a:pt x="240" y="38"/>
                      </a:lnTo>
                      <a:lnTo>
                        <a:pt x="245" y="36"/>
                      </a:lnTo>
                      <a:lnTo>
                        <a:pt x="247" y="38"/>
                      </a:lnTo>
                      <a:lnTo>
                        <a:pt x="249" y="38"/>
                      </a:lnTo>
                      <a:lnTo>
                        <a:pt x="252" y="38"/>
                      </a:lnTo>
                      <a:lnTo>
                        <a:pt x="252" y="36"/>
                      </a:lnTo>
                      <a:lnTo>
                        <a:pt x="254" y="36"/>
                      </a:lnTo>
                      <a:lnTo>
                        <a:pt x="255" y="36"/>
                      </a:lnTo>
                      <a:lnTo>
                        <a:pt x="255" y="38"/>
                      </a:lnTo>
                      <a:lnTo>
                        <a:pt x="255" y="39"/>
                      </a:lnTo>
                      <a:lnTo>
                        <a:pt x="257" y="39"/>
                      </a:lnTo>
                      <a:lnTo>
                        <a:pt x="255" y="39"/>
                      </a:lnTo>
                      <a:lnTo>
                        <a:pt x="257" y="39"/>
                      </a:lnTo>
                      <a:lnTo>
                        <a:pt x="257" y="38"/>
                      </a:lnTo>
                      <a:lnTo>
                        <a:pt x="259" y="38"/>
                      </a:lnTo>
                      <a:lnTo>
                        <a:pt x="259" y="39"/>
                      </a:lnTo>
                      <a:lnTo>
                        <a:pt x="260" y="39"/>
                      </a:lnTo>
                      <a:lnTo>
                        <a:pt x="260" y="41"/>
                      </a:lnTo>
                      <a:lnTo>
                        <a:pt x="260" y="39"/>
                      </a:lnTo>
                      <a:lnTo>
                        <a:pt x="260" y="41"/>
                      </a:lnTo>
                      <a:lnTo>
                        <a:pt x="262" y="41"/>
                      </a:lnTo>
                      <a:lnTo>
                        <a:pt x="262" y="43"/>
                      </a:lnTo>
                      <a:lnTo>
                        <a:pt x="264" y="43"/>
                      </a:lnTo>
                      <a:lnTo>
                        <a:pt x="265" y="43"/>
                      </a:lnTo>
                      <a:lnTo>
                        <a:pt x="267" y="43"/>
                      </a:lnTo>
                      <a:lnTo>
                        <a:pt x="277" y="41"/>
                      </a:lnTo>
                      <a:lnTo>
                        <a:pt x="279" y="43"/>
                      </a:lnTo>
                      <a:lnTo>
                        <a:pt x="284" y="41"/>
                      </a:lnTo>
                      <a:lnTo>
                        <a:pt x="286" y="41"/>
                      </a:lnTo>
                      <a:lnTo>
                        <a:pt x="287" y="41"/>
                      </a:lnTo>
                      <a:lnTo>
                        <a:pt x="289" y="41"/>
                      </a:lnTo>
                      <a:lnTo>
                        <a:pt x="291" y="39"/>
                      </a:lnTo>
                      <a:lnTo>
                        <a:pt x="292" y="39"/>
                      </a:lnTo>
                      <a:lnTo>
                        <a:pt x="294" y="39"/>
                      </a:lnTo>
                      <a:lnTo>
                        <a:pt x="294" y="38"/>
                      </a:lnTo>
                      <a:lnTo>
                        <a:pt x="294" y="39"/>
                      </a:lnTo>
                      <a:lnTo>
                        <a:pt x="294" y="38"/>
                      </a:lnTo>
                      <a:lnTo>
                        <a:pt x="294" y="39"/>
                      </a:lnTo>
                      <a:lnTo>
                        <a:pt x="296" y="39"/>
                      </a:lnTo>
                      <a:lnTo>
                        <a:pt x="298" y="39"/>
                      </a:lnTo>
                      <a:lnTo>
                        <a:pt x="299" y="39"/>
                      </a:lnTo>
                      <a:lnTo>
                        <a:pt x="301" y="41"/>
                      </a:lnTo>
                      <a:lnTo>
                        <a:pt x="301" y="43"/>
                      </a:lnTo>
                      <a:lnTo>
                        <a:pt x="303" y="43"/>
                      </a:lnTo>
                      <a:lnTo>
                        <a:pt x="304" y="43"/>
                      </a:lnTo>
                      <a:lnTo>
                        <a:pt x="304" y="41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8" y="41"/>
                      </a:lnTo>
                      <a:lnTo>
                        <a:pt x="309" y="41"/>
                      </a:lnTo>
                      <a:lnTo>
                        <a:pt x="311" y="41"/>
                      </a:lnTo>
                      <a:lnTo>
                        <a:pt x="311" y="43"/>
                      </a:lnTo>
                      <a:lnTo>
                        <a:pt x="311" y="41"/>
                      </a:lnTo>
                      <a:lnTo>
                        <a:pt x="313" y="41"/>
                      </a:lnTo>
                      <a:lnTo>
                        <a:pt x="314" y="43"/>
                      </a:lnTo>
                      <a:lnTo>
                        <a:pt x="314" y="41"/>
                      </a:lnTo>
                      <a:lnTo>
                        <a:pt x="314" y="43"/>
                      </a:lnTo>
                      <a:lnTo>
                        <a:pt x="316" y="43"/>
                      </a:lnTo>
                      <a:lnTo>
                        <a:pt x="318" y="43"/>
                      </a:lnTo>
                      <a:lnTo>
                        <a:pt x="319" y="43"/>
                      </a:lnTo>
                      <a:lnTo>
                        <a:pt x="319" y="44"/>
                      </a:lnTo>
                      <a:lnTo>
                        <a:pt x="321" y="46"/>
                      </a:lnTo>
                      <a:lnTo>
                        <a:pt x="323" y="46"/>
                      </a:lnTo>
                      <a:lnTo>
                        <a:pt x="325" y="47"/>
                      </a:lnTo>
                      <a:lnTo>
                        <a:pt x="331" y="47"/>
                      </a:lnTo>
                      <a:lnTo>
                        <a:pt x="333" y="46"/>
                      </a:lnTo>
                      <a:lnTo>
                        <a:pt x="335" y="46"/>
                      </a:lnTo>
                      <a:lnTo>
                        <a:pt x="335" y="44"/>
                      </a:lnTo>
                      <a:lnTo>
                        <a:pt x="336" y="44"/>
                      </a:lnTo>
                      <a:lnTo>
                        <a:pt x="336" y="46"/>
                      </a:lnTo>
                      <a:lnTo>
                        <a:pt x="336" y="47"/>
                      </a:lnTo>
                      <a:lnTo>
                        <a:pt x="338" y="47"/>
                      </a:lnTo>
                      <a:lnTo>
                        <a:pt x="340" y="47"/>
                      </a:lnTo>
                      <a:lnTo>
                        <a:pt x="340" y="49"/>
                      </a:lnTo>
                      <a:lnTo>
                        <a:pt x="341" y="49"/>
                      </a:lnTo>
                      <a:lnTo>
                        <a:pt x="341" y="47"/>
                      </a:lnTo>
                      <a:lnTo>
                        <a:pt x="343" y="47"/>
                      </a:lnTo>
                      <a:lnTo>
                        <a:pt x="345" y="46"/>
                      </a:lnTo>
                      <a:lnTo>
                        <a:pt x="345" y="44"/>
                      </a:lnTo>
                      <a:lnTo>
                        <a:pt x="346" y="44"/>
                      </a:lnTo>
                      <a:lnTo>
                        <a:pt x="346" y="43"/>
                      </a:lnTo>
                      <a:lnTo>
                        <a:pt x="348" y="43"/>
                      </a:lnTo>
                      <a:lnTo>
                        <a:pt x="348" y="44"/>
                      </a:lnTo>
                      <a:lnTo>
                        <a:pt x="350" y="44"/>
                      </a:lnTo>
                      <a:lnTo>
                        <a:pt x="350" y="46"/>
                      </a:lnTo>
                      <a:lnTo>
                        <a:pt x="352" y="46"/>
                      </a:lnTo>
                      <a:lnTo>
                        <a:pt x="353" y="44"/>
                      </a:lnTo>
                      <a:lnTo>
                        <a:pt x="355" y="44"/>
                      </a:lnTo>
                      <a:lnTo>
                        <a:pt x="357" y="44"/>
                      </a:lnTo>
                      <a:lnTo>
                        <a:pt x="357" y="43"/>
                      </a:lnTo>
                      <a:lnTo>
                        <a:pt x="357" y="44"/>
                      </a:lnTo>
                      <a:lnTo>
                        <a:pt x="358" y="43"/>
                      </a:lnTo>
                      <a:lnTo>
                        <a:pt x="360" y="43"/>
                      </a:lnTo>
                      <a:lnTo>
                        <a:pt x="360" y="44"/>
                      </a:lnTo>
                      <a:lnTo>
                        <a:pt x="360" y="47"/>
                      </a:lnTo>
                      <a:lnTo>
                        <a:pt x="360" y="52"/>
                      </a:lnTo>
                      <a:lnTo>
                        <a:pt x="360" y="56"/>
                      </a:lnTo>
                      <a:lnTo>
                        <a:pt x="362" y="59"/>
                      </a:lnTo>
                      <a:lnTo>
                        <a:pt x="362" y="61"/>
                      </a:lnTo>
                      <a:lnTo>
                        <a:pt x="363" y="61"/>
                      </a:lnTo>
                      <a:lnTo>
                        <a:pt x="363" y="62"/>
                      </a:lnTo>
                      <a:lnTo>
                        <a:pt x="363" y="64"/>
                      </a:lnTo>
                      <a:lnTo>
                        <a:pt x="363" y="66"/>
                      </a:lnTo>
                      <a:lnTo>
                        <a:pt x="362" y="67"/>
                      </a:lnTo>
                      <a:lnTo>
                        <a:pt x="363" y="67"/>
                      </a:lnTo>
                      <a:lnTo>
                        <a:pt x="363" y="69"/>
                      </a:lnTo>
                      <a:lnTo>
                        <a:pt x="365" y="70"/>
                      </a:lnTo>
                      <a:lnTo>
                        <a:pt x="365" y="72"/>
                      </a:lnTo>
                      <a:lnTo>
                        <a:pt x="365" y="75"/>
                      </a:lnTo>
                      <a:lnTo>
                        <a:pt x="365" y="77"/>
                      </a:lnTo>
                      <a:lnTo>
                        <a:pt x="367" y="77"/>
                      </a:lnTo>
                      <a:lnTo>
                        <a:pt x="367" y="79"/>
                      </a:lnTo>
                      <a:lnTo>
                        <a:pt x="368" y="80"/>
                      </a:lnTo>
                      <a:lnTo>
                        <a:pt x="370" y="80"/>
                      </a:lnTo>
                      <a:lnTo>
                        <a:pt x="370" y="82"/>
                      </a:lnTo>
                      <a:lnTo>
                        <a:pt x="368" y="84"/>
                      </a:lnTo>
                      <a:lnTo>
                        <a:pt x="370" y="85"/>
                      </a:lnTo>
                      <a:lnTo>
                        <a:pt x="370" y="87"/>
                      </a:lnTo>
                      <a:lnTo>
                        <a:pt x="368" y="87"/>
                      </a:lnTo>
                      <a:lnTo>
                        <a:pt x="368" y="89"/>
                      </a:lnTo>
                      <a:lnTo>
                        <a:pt x="368" y="90"/>
                      </a:lnTo>
                      <a:lnTo>
                        <a:pt x="370" y="92"/>
                      </a:lnTo>
                      <a:lnTo>
                        <a:pt x="370" y="90"/>
                      </a:lnTo>
                      <a:lnTo>
                        <a:pt x="372" y="90"/>
                      </a:lnTo>
                      <a:lnTo>
                        <a:pt x="372" y="89"/>
                      </a:lnTo>
                      <a:lnTo>
                        <a:pt x="372" y="87"/>
                      </a:lnTo>
                      <a:lnTo>
                        <a:pt x="374" y="87"/>
                      </a:lnTo>
                      <a:lnTo>
                        <a:pt x="374" y="90"/>
                      </a:lnTo>
                      <a:lnTo>
                        <a:pt x="374" y="92"/>
                      </a:lnTo>
                      <a:lnTo>
                        <a:pt x="372" y="93"/>
                      </a:lnTo>
                      <a:lnTo>
                        <a:pt x="372" y="95"/>
                      </a:lnTo>
                      <a:lnTo>
                        <a:pt x="372" y="97"/>
                      </a:lnTo>
                      <a:lnTo>
                        <a:pt x="372" y="98"/>
                      </a:lnTo>
                      <a:lnTo>
                        <a:pt x="374" y="100"/>
                      </a:lnTo>
                      <a:lnTo>
                        <a:pt x="374" y="102"/>
                      </a:lnTo>
                      <a:lnTo>
                        <a:pt x="375" y="103"/>
                      </a:lnTo>
                      <a:lnTo>
                        <a:pt x="377" y="103"/>
                      </a:lnTo>
                      <a:lnTo>
                        <a:pt x="375" y="105"/>
                      </a:lnTo>
                      <a:lnTo>
                        <a:pt x="375" y="108"/>
                      </a:lnTo>
                      <a:lnTo>
                        <a:pt x="375" y="110"/>
                      </a:lnTo>
                      <a:lnTo>
                        <a:pt x="375" y="112"/>
                      </a:lnTo>
                      <a:lnTo>
                        <a:pt x="375" y="113"/>
                      </a:lnTo>
                      <a:lnTo>
                        <a:pt x="375" y="115"/>
                      </a:lnTo>
                      <a:lnTo>
                        <a:pt x="375" y="116"/>
                      </a:lnTo>
                      <a:lnTo>
                        <a:pt x="375" y="118"/>
                      </a:lnTo>
                      <a:lnTo>
                        <a:pt x="375" y="120"/>
                      </a:lnTo>
                      <a:lnTo>
                        <a:pt x="377" y="120"/>
                      </a:lnTo>
                      <a:lnTo>
                        <a:pt x="375" y="120"/>
                      </a:lnTo>
                      <a:lnTo>
                        <a:pt x="375" y="121"/>
                      </a:lnTo>
                      <a:lnTo>
                        <a:pt x="375" y="123"/>
                      </a:lnTo>
                      <a:lnTo>
                        <a:pt x="375" y="125"/>
                      </a:lnTo>
                      <a:lnTo>
                        <a:pt x="375" y="128"/>
                      </a:lnTo>
                      <a:lnTo>
                        <a:pt x="375" y="130"/>
                      </a:lnTo>
                      <a:lnTo>
                        <a:pt x="375" y="131"/>
                      </a:lnTo>
                      <a:lnTo>
                        <a:pt x="375" y="133"/>
                      </a:lnTo>
                      <a:lnTo>
                        <a:pt x="374" y="135"/>
                      </a:lnTo>
                      <a:lnTo>
                        <a:pt x="375" y="136"/>
                      </a:lnTo>
                      <a:lnTo>
                        <a:pt x="374" y="138"/>
                      </a:lnTo>
                      <a:lnTo>
                        <a:pt x="374" y="139"/>
                      </a:lnTo>
                      <a:lnTo>
                        <a:pt x="372" y="139"/>
                      </a:lnTo>
                      <a:lnTo>
                        <a:pt x="370" y="139"/>
                      </a:lnTo>
                      <a:lnTo>
                        <a:pt x="368" y="139"/>
                      </a:lnTo>
                      <a:lnTo>
                        <a:pt x="367" y="139"/>
                      </a:lnTo>
                      <a:lnTo>
                        <a:pt x="365" y="139"/>
                      </a:lnTo>
                      <a:lnTo>
                        <a:pt x="367" y="139"/>
                      </a:lnTo>
                      <a:lnTo>
                        <a:pt x="365" y="139"/>
                      </a:lnTo>
                      <a:lnTo>
                        <a:pt x="363" y="138"/>
                      </a:lnTo>
                      <a:lnTo>
                        <a:pt x="362" y="138"/>
                      </a:lnTo>
                      <a:lnTo>
                        <a:pt x="362" y="139"/>
                      </a:lnTo>
                      <a:lnTo>
                        <a:pt x="360" y="139"/>
                      </a:lnTo>
                      <a:lnTo>
                        <a:pt x="360" y="138"/>
                      </a:lnTo>
                      <a:lnTo>
                        <a:pt x="358" y="136"/>
                      </a:lnTo>
                      <a:lnTo>
                        <a:pt x="358" y="135"/>
                      </a:lnTo>
                      <a:lnTo>
                        <a:pt x="358" y="133"/>
                      </a:lnTo>
                      <a:lnTo>
                        <a:pt x="358" y="131"/>
                      </a:lnTo>
                      <a:lnTo>
                        <a:pt x="357" y="131"/>
                      </a:lnTo>
                      <a:lnTo>
                        <a:pt x="355" y="130"/>
                      </a:lnTo>
                      <a:lnTo>
                        <a:pt x="353" y="128"/>
                      </a:lnTo>
                      <a:lnTo>
                        <a:pt x="352" y="128"/>
                      </a:lnTo>
                      <a:lnTo>
                        <a:pt x="350" y="126"/>
                      </a:lnTo>
                      <a:lnTo>
                        <a:pt x="348" y="126"/>
                      </a:lnTo>
                      <a:lnTo>
                        <a:pt x="346" y="126"/>
                      </a:lnTo>
                      <a:lnTo>
                        <a:pt x="345" y="126"/>
                      </a:lnTo>
                      <a:lnTo>
                        <a:pt x="343" y="126"/>
                      </a:lnTo>
                      <a:lnTo>
                        <a:pt x="341" y="126"/>
                      </a:lnTo>
                      <a:lnTo>
                        <a:pt x="341" y="125"/>
                      </a:lnTo>
                      <a:lnTo>
                        <a:pt x="340" y="125"/>
                      </a:lnTo>
                      <a:lnTo>
                        <a:pt x="340" y="126"/>
                      </a:lnTo>
                      <a:lnTo>
                        <a:pt x="338" y="126"/>
                      </a:lnTo>
                      <a:lnTo>
                        <a:pt x="338" y="125"/>
                      </a:lnTo>
                      <a:lnTo>
                        <a:pt x="336" y="125"/>
                      </a:lnTo>
                      <a:lnTo>
                        <a:pt x="335" y="125"/>
                      </a:lnTo>
                      <a:lnTo>
                        <a:pt x="333" y="125"/>
                      </a:lnTo>
                      <a:lnTo>
                        <a:pt x="330" y="125"/>
                      </a:lnTo>
                      <a:lnTo>
                        <a:pt x="330" y="126"/>
                      </a:lnTo>
                      <a:lnTo>
                        <a:pt x="328" y="126"/>
                      </a:lnTo>
                      <a:lnTo>
                        <a:pt x="328" y="128"/>
                      </a:lnTo>
                      <a:lnTo>
                        <a:pt x="326" y="126"/>
                      </a:lnTo>
                      <a:lnTo>
                        <a:pt x="326" y="128"/>
                      </a:lnTo>
                      <a:lnTo>
                        <a:pt x="325" y="126"/>
                      </a:lnTo>
                      <a:lnTo>
                        <a:pt x="325" y="128"/>
                      </a:lnTo>
                      <a:lnTo>
                        <a:pt x="323" y="128"/>
                      </a:lnTo>
                      <a:lnTo>
                        <a:pt x="323" y="130"/>
                      </a:lnTo>
                      <a:lnTo>
                        <a:pt x="321" y="130"/>
                      </a:lnTo>
                      <a:lnTo>
                        <a:pt x="321" y="131"/>
                      </a:lnTo>
                      <a:lnTo>
                        <a:pt x="319" y="131"/>
                      </a:lnTo>
                      <a:lnTo>
                        <a:pt x="318" y="131"/>
                      </a:lnTo>
                      <a:lnTo>
                        <a:pt x="318" y="133"/>
                      </a:lnTo>
                      <a:lnTo>
                        <a:pt x="316" y="133"/>
                      </a:lnTo>
                      <a:lnTo>
                        <a:pt x="314" y="133"/>
                      </a:lnTo>
                      <a:lnTo>
                        <a:pt x="314" y="131"/>
                      </a:lnTo>
                      <a:lnTo>
                        <a:pt x="313" y="131"/>
                      </a:lnTo>
                      <a:lnTo>
                        <a:pt x="311" y="131"/>
                      </a:lnTo>
                      <a:lnTo>
                        <a:pt x="309" y="131"/>
                      </a:lnTo>
                      <a:lnTo>
                        <a:pt x="309" y="136"/>
                      </a:lnTo>
                      <a:lnTo>
                        <a:pt x="308" y="138"/>
                      </a:lnTo>
                      <a:lnTo>
                        <a:pt x="308" y="139"/>
                      </a:lnTo>
                      <a:lnTo>
                        <a:pt x="308" y="141"/>
                      </a:lnTo>
                      <a:lnTo>
                        <a:pt x="306" y="141"/>
                      </a:lnTo>
                      <a:lnTo>
                        <a:pt x="306" y="143"/>
                      </a:lnTo>
                      <a:lnTo>
                        <a:pt x="306" y="144"/>
                      </a:lnTo>
                      <a:lnTo>
                        <a:pt x="308" y="144"/>
                      </a:lnTo>
                      <a:lnTo>
                        <a:pt x="308" y="143"/>
                      </a:lnTo>
                      <a:lnTo>
                        <a:pt x="308" y="144"/>
                      </a:lnTo>
                      <a:lnTo>
                        <a:pt x="308" y="146"/>
                      </a:lnTo>
                      <a:lnTo>
                        <a:pt x="306" y="146"/>
                      </a:lnTo>
                      <a:lnTo>
                        <a:pt x="306" y="148"/>
                      </a:lnTo>
                      <a:lnTo>
                        <a:pt x="308" y="148"/>
                      </a:lnTo>
                      <a:lnTo>
                        <a:pt x="308" y="149"/>
                      </a:lnTo>
                      <a:lnTo>
                        <a:pt x="306" y="149"/>
                      </a:lnTo>
                      <a:lnTo>
                        <a:pt x="304" y="151"/>
                      </a:lnTo>
                      <a:lnTo>
                        <a:pt x="304" y="149"/>
                      </a:lnTo>
                      <a:lnTo>
                        <a:pt x="304" y="151"/>
                      </a:lnTo>
                      <a:lnTo>
                        <a:pt x="303" y="151"/>
                      </a:lnTo>
                      <a:lnTo>
                        <a:pt x="303" y="149"/>
                      </a:lnTo>
                      <a:lnTo>
                        <a:pt x="301" y="149"/>
                      </a:lnTo>
                      <a:lnTo>
                        <a:pt x="299" y="149"/>
                      </a:lnTo>
                      <a:lnTo>
                        <a:pt x="298" y="151"/>
                      </a:lnTo>
                      <a:lnTo>
                        <a:pt x="298" y="153"/>
                      </a:lnTo>
                      <a:lnTo>
                        <a:pt x="296" y="153"/>
                      </a:lnTo>
                      <a:lnTo>
                        <a:pt x="294" y="154"/>
                      </a:lnTo>
                      <a:lnTo>
                        <a:pt x="292" y="154"/>
                      </a:lnTo>
                      <a:lnTo>
                        <a:pt x="291" y="154"/>
                      </a:lnTo>
                      <a:lnTo>
                        <a:pt x="291" y="153"/>
                      </a:lnTo>
                      <a:lnTo>
                        <a:pt x="289" y="154"/>
                      </a:lnTo>
                      <a:lnTo>
                        <a:pt x="287" y="154"/>
                      </a:lnTo>
                      <a:lnTo>
                        <a:pt x="286" y="156"/>
                      </a:lnTo>
                      <a:lnTo>
                        <a:pt x="284" y="156"/>
                      </a:lnTo>
                      <a:lnTo>
                        <a:pt x="282" y="158"/>
                      </a:lnTo>
                      <a:lnTo>
                        <a:pt x="281" y="158"/>
                      </a:lnTo>
                      <a:lnTo>
                        <a:pt x="279" y="158"/>
                      </a:lnTo>
                      <a:lnTo>
                        <a:pt x="277" y="159"/>
                      </a:lnTo>
                      <a:lnTo>
                        <a:pt x="276" y="158"/>
                      </a:lnTo>
                      <a:lnTo>
                        <a:pt x="274" y="158"/>
                      </a:lnTo>
                      <a:lnTo>
                        <a:pt x="274" y="159"/>
                      </a:lnTo>
                      <a:lnTo>
                        <a:pt x="272" y="159"/>
                      </a:lnTo>
                      <a:lnTo>
                        <a:pt x="272" y="161"/>
                      </a:lnTo>
                      <a:lnTo>
                        <a:pt x="272" y="162"/>
                      </a:lnTo>
                      <a:lnTo>
                        <a:pt x="270" y="162"/>
                      </a:lnTo>
                      <a:lnTo>
                        <a:pt x="269" y="162"/>
                      </a:lnTo>
                      <a:lnTo>
                        <a:pt x="267" y="162"/>
                      </a:lnTo>
                      <a:lnTo>
                        <a:pt x="265" y="162"/>
                      </a:lnTo>
                      <a:lnTo>
                        <a:pt x="264" y="162"/>
                      </a:lnTo>
                      <a:lnTo>
                        <a:pt x="262" y="162"/>
                      </a:lnTo>
                      <a:lnTo>
                        <a:pt x="262" y="164"/>
                      </a:lnTo>
                      <a:lnTo>
                        <a:pt x="260" y="164"/>
                      </a:lnTo>
                      <a:lnTo>
                        <a:pt x="259" y="164"/>
                      </a:lnTo>
                      <a:lnTo>
                        <a:pt x="259" y="162"/>
                      </a:lnTo>
                      <a:lnTo>
                        <a:pt x="257" y="162"/>
                      </a:lnTo>
                      <a:lnTo>
                        <a:pt x="257" y="164"/>
                      </a:lnTo>
                      <a:lnTo>
                        <a:pt x="255" y="164"/>
                      </a:lnTo>
                      <a:lnTo>
                        <a:pt x="255" y="162"/>
                      </a:lnTo>
                      <a:lnTo>
                        <a:pt x="257" y="162"/>
                      </a:lnTo>
                      <a:lnTo>
                        <a:pt x="255" y="161"/>
                      </a:lnTo>
                      <a:lnTo>
                        <a:pt x="254" y="161"/>
                      </a:lnTo>
                      <a:lnTo>
                        <a:pt x="252" y="161"/>
                      </a:lnTo>
                      <a:lnTo>
                        <a:pt x="250" y="162"/>
                      </a:lnTo>
                      <a:lnTo>
                        <a:pt x="249" y="162"/>
                      </a:lnTo>
                      <a:lnTo>
                        <a:pt x="249" y="164"/>
                      </a:lnTo>
                      <a:lnTo>
                        <a:pt x="247" y="164"/>
                      </a:lnTo>
                      <a:lnTo>
                        <a:pt x="247" y="162"/>
                      </a:lnTo>
                      <a:lnTo>
                        <a:pt x="245" y="162"/>
                      </a:lnTo>
                      <a:lnTo>
                        <a:pt x="243" y="162"/>
                      </a:lnTo>
                      <a:lnTo>
                        <a:pt x="242" y="162"/>
                      </a:lnTo>
                      <a:lnTo>
                        <a:pt x="242" y="161"/>
                      </a:lnTo>
                      <a:lnTo>
                        <a:pt x="240" y="161"/>
                      </a:lnTo>
                      <a:lnTo>
                        <a:pt x="238" y="161"/>
                      </a:lnTo>
                      <a:lnTo>
                        <a:pt x="238" y="162"/>
                      </a:lnTo>
                      <a:lnTo>
                        <a:pt x="237" y="164"/>
                      </a:lnTo>
                      <a:lnTo>
                        <a:pt x="237" y="166"/>
                      </a:lnTo>
                      <a:lnTo>
                        <a:pt x="235" y="166"/>
                      </a:lnTo>
                      <a:lnTo>
                        <a:pt x="235" y="164"/>
                      </a:lnTo>
                      <a:lnTo>
                        <a:pt x="233" y="164"/>
                      </a:lnTo>
                      <a:lnTo>
                        <a:pt x="232" y="164"/>
                      </a:lnTo>
                      <a:lnTo>
                        <a:pt x="230" y="164"/>
                      </a:lnTo>
                      <a:lnTo>
                        <a:pt x="228" y="164"/>
                      </a:lnTo>
                      <a:lnTo>
                        <a:pt x="227" y="164"/>
                      </a:lnTo>
                      <a:lnTo>
                        <a:pt x="225" y="164"/>
                      </a:lnTo>
                      <a:lnTo>
                        <a:pt x="223" y="164"/>
                      </a:lnTo>
                      <a:lnTo>
                        <a:pt x="222" y="164"/>
                      </a:lnTo>
                      <a:lnTo>
                        <a:pt x="222" y="166"/>
                      </a:lnTo>
                      <a:lnTo>
                        <a:pt x="220" y="166"/>
                      </a:lnTo>
                      <a:lnTo>
                        <a:pt x="222" y="167"/>
                      </a:lnTo>
                      <a:lnTo>
                        <a:pt x="222" y="169"/>
                      </a:lnTo>
                      <a:lnTo>
                        <a:pt x="222" y="171"/>
                      </a:lnTo>
                      <a:lnTo>
                        <a:pt x="220" y="171"/>
                      </a:lnTo>
                      <a:lnTo>
                        <a:pt x="222" y="171"/>
                      </a:lnTo>
                      <a:lnTo>
                        <a:pt x="220" y="172"/>
                      </a:lnTo>
                      <a:lnTo>
                        <a:pt x="220" y="174"/>
                      </a:lnTo>
                      <a:lnTo>
                        <a:pt x="218" y="174"/>
                      </a:lnTo>
                      <a:lnTo>
                        <a:pt x="216" y="174"/>
                      </a:lnTo>
                      <a:lnTo>
                        <a:pt x="216" y="176"/>
                      </a:lnTo>
                      <a:lnTo>
                        <a:pt x="216" y="174"/>
                      </a:lnTo>
                      <a:lnTo>
                        <a:pt x="215" y="174"/>
                      </a:lnTo>
                      <a:lnTo>
                        <a:pt x="213" y="174"/>
                      </a:lnTo>
                      <a:lnTo>
                        <a:pt x="211" y="172"/>
                      </a:lnTo>
                      <a:lnTo>
                        <a:pt x="210" y="172"/>
                      </a:lnTo>
                      <a:lnTo>
                        <a:pt x="208" y="172"/>
                      </a:lnTo>
                      <a:lnTo>
                        <a:pt x="208" y="174"/>
                      </a:lnTo>
                      <a:lnTo>
                        <a:pt x="206" y="174"/>
                      </a:lnTo>
                      <a:lnTo>
                        <a:pt x="208" y="176"/>
                      </a:lnTo>
                      <a:lnTo>
                        <a:pt x="206" y="177"/>
                      </a:lnTo>
                      <a:lnTo>
                        <a:pt x="208" y="177"/>
                      </a:lnTo>
                      <a:lnTo>
                        <a:pt x="206" y="177"/>
                      </a:lnTo>
                      <a:lnTo>
                        <a:pt x="203" y="177"/>
                      </a:lnTo>
                      <a:lnTo>
                        <a:pt x="203" y="179"/>
                      </a:lnTo>
                      <a:lnTo>
                        <a:pt x="203" y="181"/>
                      </a:lnTo>
                      <a:lnTo>
                        <a:pt x="203" y="182"/>
                      </a:lnTo>
                      <a:lnTo>
                        <a:pt x="203" y="184"/>
                      </a:lnTo>
                      <a:lnTo>
                        <a:pt x="201" y="184"/>
                      </a:lnTo>
                      <a:lnTo>
                        <a:pt x="203" y="185"/>
                      </a:lnTo>
                      <a:lnTo>
                        <a:pt x="201" y="187"/>
                      </a:lnTo>
                      <a:lnTo>
                        <a:pt x="200" y="187"/>
                      </a:lnTo>
                      <a:lnTo>
                        <a:pt x="200" y="189"/>
                      </a:lnTo>
                      <a:lnTo>
                        <a:pt x="200" y="190"/>
                      </a:lnTo>
                      <a:lnTo>
                        <a:pt x="201" y="190"/>
                      </a:lnTo>
                      <a:lnTo>
                        <a:pt x="203" y="190"/>
                      </a:lnTo>
                      <a:lnTo>
                        <a:pt x="203" y="192"/>
                      </a:lnTo>
                      <a:lnTo>
                        <a:pt x="201" y="192"/>
                      </a:lnTo>
                      <a:lnTo>
                        <a:pt x="201" y="194"/>
                      </a:lnTo>
                      <a:lnTo>
                        <a:pt x="200" y="194"/>
                      </a:lnTo>
                      <a:lnTo>
                        <a:pt x="198" y="194"/>
                      </a:lnTo>
                      <a:lnTo>
                        <a:pt x="196" y="194"/>
                      </a:lnTo>
                      <a:lnTo>
                        <a:pt x="196" y="195"/>
                      </a:lnTo>
                      <a:lnTo>
                        <a:pt x="194" y="197"/>
                      </a:lnTo>
                      <a:lnTo>
                        <a:pt x="193" y="195"/>
                      </a:lnTo>
                      <a:lnTo>
                        <a:pt x="194" y="197"/>
                      </a:lnTo>
                      <a:lnTo>
                        <a:pt x="193" y="197"/>
                      </a:lnTo>
                      <a:lnTo>
                        <a:pt x="191" y="197"/>
                      </a:lnTo>
                      <a:lnTo>
                        <a:pt x="191" y="199"/>
                      </a:lnTo>
                      <a:lnTo>
                        <a:pt x="189" y="200"/>
                      </a:lnTo>
                      <a:lnTo>
                        <a:pt x="188" y="199"/>
                      </a:lnTo>
                      <a:lnTo>
                        <a:pt x="186" y="199"/>
                      </a:lnTo>
                      <a:lnTo>
                        <a:pt x="186" y="200"/>
                      </a:lnTo>
                      <a:lnTo>
                        <a:pt x="184" y="200"/>
                      </a:lnTo>
                      <a:lnTo>
                        <a:pt x="183" y="200"/>
                      </a:lnTo>
                      <a:lnTo>
                        <a:pt x="183" y="202"/>
                      </a:lnTo>
                      <a:lnTo>
                        <a:pt x="181" y="202"/>
                      </a:lnTo>
                      <a:lnTo>
                        <a:pt x="179" y="202"/>
                      </a:lnTo>
                      <a:lnTo>
                        <a:pt x="178" y="203"/>
                      </a:lnTo>
                      <a:lnTo>
                        <a:pt x="176" y="203"/>
                      </a:lnTo>
                      <a:lnTo>
                        <a:pt x="176" y="205"/>
                      </a:lnTo>
                      <a:lnTo>
                        <a:pt x="174" y="207"/>
                      </a:lnTo>
                      <a:lnTo>
                        <a:pt x="173" y="207"/>
                      </a:lnTo>
                      <a:lnTo>
                        <a:pt x="173" y="208"/>
                      </a:lnTo>
                      <a:lnTo>
                        <a:pt x="171" y="208"/>
                      </a:lnTo>
                      <a:lnTo>
                        <a:pt x="169" y="208"/>
                      </a:lnTo>
                      <a:lnTo>
                        <a:pt x="167" y="210"/>
                      </a:lnTo>
                      <a:lnTo>
                        <a:pt x="167" y="208"/>
                      </a:lnTo>
                      <a:lnTo>
                        <a:pt x="166" y="210"/>
                      </a:lnTo>
                      <a:lnTo>
                        <a:pt x="166" y="208"/>
                      </a:lnTo>
                      <a:lnTo>
                        <a:pt x="164" y="208"/>
                      </a:lnTo>
                      <a:lnTo>
                        <a:pt x="164" y="207"/>
                      </a:lnTo>
                      <a:lnTo>
                        <a:pt x="162" y="207"/>
                      </a:lnTo>
                      <a:lnTo>
                        <a:pt x="161" y="207"/>
                      </a:lnTo>
                      <a:lnTo>
                        <a:pt x="159" y="207"/>
                      </a:lnTo>
                      <a:lnTo>
                        <a:pt x="159" y="205"/>
                      </a:lnTo>
                      <a:lnTo>
                        <a:pt x="159" y="203"/>
                      </a:lnTo>
                      <a:lnTo>
                        <a:pt x="161" y="203"/>
                      </a:lnTo>
                      <a:lnTo>
                        <a:pt x="159" y="202"/>
                      </a:lnTo>
                      <a:lnTo>
                        <a:pt x="159" y="203"/>
                      </a:lnTo>
                      <a:lnTo>
                        <a:pt x="157" y="203"/>
                      </a:lnTo>
                      <a:lnTo>
                        <a:pt x="156" y="203"/>
                      </a:lnTo>
                      <a:lnTo>
                        <a:pt x="154" y="203"/>
                      </a:lnTo>
                      <a:lnTo>
                        <a:pt x="154" y="202"/>
                      </a:lnTo>
                      <a:lnTo>
                        <a:pt x="154" y="200"/>
                      </a:lnTo>
                      <a:lnTo>
                        <a:pt x="154" y="199"/>
                      </a:lnTo>
                      <a:lnTo>
                        <a:pt x="156" y="199"/>
                      </a:lnTo>
                      <a:lnTo>
                        <a:pt x="156" y="197"/>
                      </a:lnTo>
                      <a:lnTo>
                        <a:pt x="154" y="199"/>
                      </a:lnTo>
                      <a:lnTo>
                        <a:pt x="152" y="199"/>
                      </a:lnTo>
                      <a:lnTo>
                        <a:pt x="152" y="197"/>
                      </a:lnTo>
                      <a:lnTo>
                        <a:pt x="151" y="197"/>
                      </a:lnTo>
                      <a:lnTo>
                        <a:pt x="152" y="197"/>
                      </a:lnTo>
                      <a:lnTo>
                        <a:pt x="152" y="195"/>
                      </a:lnTo>
                      <a:lnTo>
                        <a:pt x="152" y="194"/>
                      </a:lnTo>
                      <a:lnTo>
                        <a:pt x="154" y="194"/>
                      </a:lnTo>
                      <a:lnTo>
                        <a:pt x="154" y="192"/>
                      </a:lnTo>
                      <a:lnTo>
                        <a:pt x="152" y="192"/>
                      </a:lnTo>
                      <a:lnTo>
                        <a:pt x="152" y="190"/>
                      </a:lnTo>
                      <a:lnTo>
                        <a:pt x="154" y="189"/>
                      </a:lnTo>
                      <a:lnTo>
                        <a:pt x="152" y="189"/>
                      </a:lnTo>
                      <a:lnTo>
                        <a:pt x="152" y="187"/>
                      </a:lnTo>
                      <a:lnTo>
                        <a:pt x="152" y="185"/>
                      </a:lnTo>
                      <a:lnTo>
                        <a:pt x="152" y="184"/>
                      </a:lnTo>
                      <a:lnTo>
                        <a:pt x="152" y="182"/>
                      </a:lnTo>
                      <a:lnTo>
                        <a:pt x="152" y="181"/>
                      </a:lnTo>
                      <a:lnTo>
                        <a:pt x="151" y="181"/>
                      </a:lnTo>
                      <a:lnTo>
                        <a:pt x="151" y="182"/>
                      </a:lnTo>
                      <a:lnTo>
                        <a:pt x="151" y="181"/>
                      </a:lnTo>
                      <a:lnTo>
                        <a:pt x="149" y="181"/>
                      </a:lnTo>
                      <a:lnTo>
                        <a:pt x="149" y="179"/>
                      </a:lnTo>
                      <a:lnTo>
                        <a:pt x="149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6" y="179"/>
                      </a:lnTo>
                      <a:lnTo>
                        <a:pt x="144" y="179"/>
                      </a:lnTo>
                      <a:lnTo>
                        <a:pt x="142" y="179"/>
                      </a:lnTo>
                      <a:lnTo>
                        <a:pt x="140" y="179"/>
                      </a:lnTo>
                      <a:lnTo>
                        <a:pt x="139" y="179"/>
                      </a:lnTo>
                      <a:lnTo>
                        <a:pt x="137" y="179"/>
                      </a:lnTo>
                      <a:lnTo>
                        <a:pt x="135" y="179"/>
                      </a:lnTo>
                      <a:lnTo>
                        <a:pt x="135" y="181"/>
                      </a:lnTo>
                      <a:lnTo>
                        <a:pt x="135" y="179"/>
                      </a:lnTo>
                      <a:lnTo>
                        <a:pt x="134" y="179"/>
                      </a:lnTo>
                      <a:lnTo>
                        <a:pt x="134" y="177"/>
                      </a:lnTo>
                      <a:lnTo>
                        <a:pt x="135" y="177"/>
                      </a:lnTo>
                      <a:lnTo>
                        <a:pt x="135" y="176"/>
                      </a:lnTo>
                      <a:lnTo>
                        <a:pt x="135" y="177"/>
                      </a:lnTo>
                      <a:lnTo>
                        <a:pt x="137" y="176"/>
                      </a:lnTo>
                      <a:lnTo>
                        <a:pt x="137" y="174"/>
                      </a:lnTo>
                      <a:lnTo>
                        <a:pt x="137" y="172"/>
                      </a:lnTo>
                      <a:lnTo>
                        <a:pt x="137" y="174"/>
                      </a:lnTo>
                      <a:lnTo>
                        <a:pt x="139" y="172"/>
                      </a:lnTo>
                      <a:lnTo>
                        <a:pt x="140" y="172"/>
                      </a:lnTo>
                      <a:lnTo>
                        <a:pt x="142" y="172"/>
                      </a:lnTo>
                      <a:lnTo>
                        <a:pt x="142" y="171"/>
                      </a:lnTo>
                      <a:lnTo>
                        <a:pt x="144" y="171"/>
                      </a:lnTo>
                      <a:lnTo>
                        <a:pt x="144" y="169"/>
                      </a:lnTo>
                      <a:lnTo>
                        <a:pt x="144" y="167"/>
                      </a:lnTo>
                      <a:lnTo>
                        <a:pt x="146" y="167"/>
                      </a:lnTo>
                      <a:lnTo>
                        <a:pt x="146" y="166"/>
                      </a:lnTo>
                      <a:lnTo>
                        <a:pt x="144" y="166"/>
                      </a:lnTo>
                      <a:lnTo>
                        <a:pt x="144" y="164"/>
                      </a:lnTo>
                      <a:lnTo>
                        <a:pt x="146" y="164"/>
                      </a:lnTo>
                      <a:lnTo>
                        <a:pt x="147" y="164"/>
                      </a:lnTo>
                      <a:lnTo>
                        <a:pt x="147" y="162"/>
                      </a:lnTo>
                      <a:lnTo>
                        <a:pt x="149" y="162"/>
                      </a:lnTo>
                      <a:lnTo>
                        <a:pt x="151" y="162"/>
                      </a:lnTo>
                      <a:lnTo>
                        <a:pt x="151" y="164"/>
                      </a:lnTo>
                      <a:lnTo>
                        <a:pt x="151" y="162"/>
                      </a:lnTo>
                      <a:lnTo>
                        <a:pt x="152" y="162"/>
                      </a:lnTo>
                      <a:lnTo>
                        <a:pt x="152" y="161"/>
                      </a:lnTo>
                      <a:lnTo>
                        <a:pt x="152" y="159"/>
                      </a:lnTo>
                      <a:lnTo>
                        <a:pt x="154" y="159"/>
                      </a:lnTo>
                      <a:lnTo>
                        <a:pt x="154" y="158"/>
                      </a:lnTo>
                      <a:lnTo>
                        <a:pt x="152" y="156"/>
                      </a:lnTo>
                      <a:lnTo>
                        <a:pt x="152" y="154"/>
                      </a:lnTo>
                      <a:lnTo>
                        <a:pt x="151" y="153"/>
                      </a:lnTo>
                      <a:lnTo>
                        <a:pt x="151" y="151"/>
                      </a:lnTo>
                      <a:lnTo>
                        <a:pt x="149" y="151"/>
                      </a:lnTo>
                      <a:lnTo>
                        <a:pt x="149" y="149"/>
                      </a:lnTo>
                      <a:lnTo>
                        <a:pt x="147" y="149"/>
                      </a:lnTo>
                      <a:lnTo>
                        <a:pt x="147" y="148"/>
                      </a:lnTo>
                      <a:lnTo>
                        <a:pt x="149" y="148"/>
                      </a:lnTo>
                      <a:lnTo>
                        <a:pt x="149" y="146"/>
                      </a:lnTo>
                      <a:lnTo>
                        <a:pt x="149" y="144"/>
                      </a:lnTo>
                      <a:lnTo>
                        <a:pt x="151" y="144"/>
                      </a:lnTo>
                      <a:lnTo>
                        <a:pt x="151" y="143"/>
                      </a:lnTo>
                      <a:lnTo>
                        <a:pt x="152" y="141"/>
                      </a:lnTo>
                      <a:lnTo>
                        <a:pt x="154" y="141"/>
                      </a:lnTo>
                      <a:lnTo>
                        <a:pt x="154" y="139"/>
                      </a:lnTo>
                      <a:lnTo>
                        <a:pt x="156" y="139"/>
                      </a:lnTo>
                      <a:lnTo>
                        <a:pt x="157" y="139"/>
                      </a:lnTo>
                      <a:lnTo>
                        <a:pt x="157" y="138"/>
                      </a:lnTo>
                      <a:lnTo>
                        <a:pt x="159" y="138"/>
                      </a:lnTo>
                      <a:lnTo>
                        <a:pt x="159" y="136"/>
                      </a:lnTo>
                      <a:lnTo>
                        <a:pt x="161" y="138"/>
                      </a:lnTo>
                      <a:lnTo>
                        <a:pt x="161" y="136"/>
                      </a:lnTo>
                      <a:lnTo>
                        <a:pt x="162" y="136"/>
                      </a:lnTo>
                      <a:lnTo>
                        <a:pt x="164" y="136"/>
                      </a:lnTo>
                      <a:lnTo>
                        <a:pt x="164" y="135"/>
                      </a:lnTo>
                      <a:lnTo>
                        <a:pt x="166" y="135"/>
                      </a:lnTo>
                      <a:lnTo>
                        <a:pt x="167" y="135"/>
                      </a:lnTo>
                      <a:lnTo>
                        <a:pt x="169" y="135"/>
                      </a:lnTo>
                      <a:lnTo>
                        <a:pt x="167" y="133"/>
                      </a:lnTo>
                      <a:lnTo>
                        <a:pt x="167" y="131"/>
                      </a:lnTo>
                      <a:lnTo>
                        <a:pt x="166" y="131"/>
                      </a:lnTo>
                      <a:lnTo>
                        <a:pt x="164" y="130"/>
                      </a:lnTo>
                      <a:lnTo>
                        <a:pt x="166" y="130"/>
                      </a:lnTo>
                      <a:lnTo>
                        <a:pt x="166" y="128"/>
                      </a:lnTo>
                      <a:lnTo>
                        <a:pt x="164" y="128"/>
                      </a:lnTo>
                      <a:lnTo>
                        <a:pt x="166" y="126"/>
                      </a:lnTo>
                      <a:lnTo>
                        <a:pt x="164" y="126"/>
                      </a:lnTo>
                      <a:lnTo>
                        <a:pt x="162" y="126"/>
                      </a:lnTo>
                      <a:lnTo>
                        <a:pt x="164" y="125"/>
                      </a:lnTo>
                      <a:lnTo>
                        <a:pt x="162" y="125"/>
                      </a:lnTo>
                      <a:lnTo>
                        <a:pt x="161" y="125"/>
                      </a:lnTo>
                      <a:lnTo>
                        <a:pt x="161" y="123"/>
                      </a:lnTo>
                      <a:lnTo>
                        <a:pt x="159" y="123"/>
                      </a:lnTo>
                      <a:lnTo>
                        <a:pt x="157" y="121"/>
                      </a:lnTo>
                      <a:lnTo>
                        <a:pt x="157" y="123"/>
                      </a:lnTo>
                      <a:lnTo>
                        <a:pt x="157" y="121"/>
                      </a:lnTo>
                      <a:lnTo>
                        <a:pt x="156" y="121"/>
                      </a:lnTo>
                      <a:lnTo>
                        <a:pt x="154" y="121"/>
                      </a:lnTo>
                      <a:lnTo>
                        <a:pt x="154" y="120"/>
                      </a:lnTo>
                      <a:lnTo>
                        <a:pt x="152" y="120"/>
                      </a:lnTo>
                      <a:lnTo>
                        <a:pt x="152" y="121"/>
                      </a:lnTo>
                      <a:lnTo>
                        <a:pt x="151" y="120"/>
                      </a:lnTo>
                      <a:lnTo>
                        <a:pt x="151" y="118"/>
                      </a:lnTo>
                      <a:lnTo>
                        <a:pt x="149" y="118"/>
                      </a:lnTo>
                      <a:lnTo>
                        <a:pt x="149" y="116"/>
                      </a:lnTo>
                      <a:lnTo>
                        <a:pt x="147" y="116"/>
                      </a:lnTo>
                      <a:lnTo>
                        <a:pt x="146" y="116"/>
                      </a:lnTo>
                      <a:lnTo>
                        <a:pt x="146" y="115"/>
                      </a:lnTo>
                      <a:lnTo>
                        <a:pt x="144" y="115"/>
                      </a:lnTo>
                      <a:lnTo>
                        <a:pt x="142" y="115"/>
                      </a:lnTo>
                      <a:lnTo>
                        <a:pt x="140" y="115"/>
                      </a:lnTo>
                      <a:lnTo>
                        <a:pt x="139" y="116"/>
                      </a:lnTo>
                      <a:lnTo>
                        <a:pt x="137" y="116"/>
                      </a:lnTo>
                      <a:lnTo>
                        <a:pt x="135" y="116"/>
                      </a:lnTo>
                      <a:lnTo>
                        <a:pt x="134" y="118"/>
                      </a:lnTo>
                      <a:lnTo>
                        <a:pt x="134" y="120"/>
                      </a:lnTo>
                      <a:lnTo>
                        <a:pt x="134" y="121"/>
                      </a:lnTo>
                      <a:lnTo>
                        <a:pt x="132" y="121"/>
                      </a:lnTo>
                      <a:lnTo>
                        <a:pt x="130" y="121"/>
                      </a:lnTo>
                      <a:lnTo>
                        <a:pt x="129" y="123"/>
                      </a:lnTo>
                      <a:lnTo>
                        <a:pt x="127" y="123"/>
                      </a:lnTo>
                      <a:lnTo>
                        <a:pt x="127" y="121"/>
                      </a:lnTo>
                      <a:lnTo>
                        <a:pt x="125" y="123"/>
                      </a:lnTo>
                      <a:lnTo>
                        <a:pt x="122" y="123"/>
                      </a:lnTo>
                      <a:lnTo>
                        <a:pt x="120" y="123"/>
                      </a:lnTo>
                      <a:lnTo>
                        <a:pt x="120" y="125"/>
                      </a:lnTo>
                      <a:lnTo>
                        <a:pt x="120" y="126"/>
                      </a:lnTo>
                      <a:lnTo>
                        <a:pt x="120" y="128"/>
                      </a:lnTo>
                      <a:lnTo>
                        <a:pt x="118" y="128"/>
                      </a:lnTo>
                      <a:lnTo>
                        <a:pt x="117" y="128"/>
                      </a:lnTo>
                      <a:lnTo>
                        <a:pt x="118" y="128"/>
                      </a:lnTo>
                      <a:lnTo>
                        <a:pt x="118" y="130"/>
                      </a:lnTo>
                      <a:lnTo>
                        <a:pt x="117" y="130"/>
                      </a:lnTo>
                      <a:lnTo>
                        <a:pt x="117" y="131"/>
                      </a:lnTo>
                      <a:lnTo>
                        <a:pt x="117" y="133"/>
                      </a:lnTo>
                      <a:lnTo>
                        <a:pt x="115" y="133"/>
                      </a:lnTo>
                      <a:lnTo>
                        <a:pt x="113" y="133"/>
                      </a:lnTo>
                      <a:lnTo>
                        <a:pt x="112" y="136"/>
                      </a:lnTo>
                      <a:lnTo>
                        <a:pt x="108" y="136"/>
                      </a:lnTo>
                      <a:lnTo>
                        <a:pt x="108" y="138"/>
                      </a:lnTo>
                      <a:lnTo>
                        <a:pt x="107" y="138"/>
                      </a:lnTo>
                      <a:lnTo>
                        <a:pt x="105" y="138"/>
                      </a:lnTo>
                      <a:lnTo>
                        <a:pt x="103" y="138"/>
                      </a:lnTo>
                      <a:lnTo>
                        <a:pt x="102" y="139"/>
                      </a:lnTo>
                      <a:lnTo>
                        <a:pt x="102" y="141"/>
                      </a:lnTo>
                      <a:lnTo>
                        <a:pt x="100" y="143"/>
                      </a:lnTo>
                      <a:lnTo>
                        <a:pt x="98" y="143"/>
                      </a:lnTo>
                      <a:lnTo>
                        <a:pt x="98" y="144"/>
                      </a:lnTo>
                      <a:lnTo>
                        <a:pt x="97" y="144"/>
                      </a:lnTo>
                      <a:lnTo>
                        <a:pt x="97" y="146"/>
                      </a:lnTo>
                      <a:lnTo>
                        <a:pt x="95" y="146"/>
                      </a:lnTo>
                      <a:lnTo>
                        <a:pt x="95" y="148"/>
                      </a:lnTo>
                      <a:lnTo>
                        <a:pt x="93" y="148"/>
                      </a:lnTo>
                      <a:lnTo>
                        <a:pt x="91" y="148"/>
                      </a:lnTo>
                      <a:lnTo>
                        <a:pt x="90" y="149"/>
                      </a:lnTo>
                      <a:lnTo>
                        <a:pt x="88" y="149"/>
                      </a:lnTo>
                      <a:lnTo>
                        <a:pt x="85" y="149"/>
                      </a:lnTo>
                      <a:lnTo>
                        <a:pt x="85" y="151"/>
                      </a:lnTo>
                      <a:lnTo>
                        <a:pt x="83" y="153"/>
                      </a:lnTo>
                      <a:lnTo>
                        <a:pt x="81" y="153"/>
                      </a:lnTo>
                      <a:lnTo>
                        <a:pt x="81" y="154"/>
                      </a:lnTo>
                      <a:lnTo>
                        <a:pt x="83" y="154"/>
                      </a:lnTo>
                      <a:lnTo>
                        <a:pt x="81" y="156"/>
                      </a:lnTo>
                      <a:lnTo>
                        <a:pt x="81" y="154"/>
                      </a:lnTo>
                      <a:lnTo>
                        <a:pt x="80" y="154"/>
                      </a:lnTo>
                      <a:lnTo>
                        <a:pt x="80" y="156"/>
                      </a:lnTo>
                      <a:lnTo>
                        <a:pt x="80" y="158"/>
                      </a:lnTo>
                      <a:lnTo>
                        <a:pt x="78" y="158"/>
                      </a:lnTo>
                      <a:lnTo>
                        <a:pt x="76" y="159"/>
                      </a:lnTo>
                      <a:lnTo>
                        <a:pt x="76" y="161"/>
                      </a:lnTo>
                      <a:lnTo>
                        <a:pt x="75" y="161"/>
                      </a:lnTo>
                      <a:lnTo>
                        <a:pt x="73" y="161"/>
                      </a:lnTo>
                      <a:lnTo>
                        <a:pt x="71" y="159"/>
                      </a:lnTo>
                      <a:lnTo>
                        <a:pt x="71" y="161"/>
                      </a:lnTo>
                      <a:lnTo>
                        <a:pt x="70" y="161"/>
                      </a:lnTo>
                      <a:lnTo>
                        <a:pt x="68" y="161"/>
                      </a:lnTo>
                      <a:lnTo>
                        <a:pt x="66" y="161"/>
                      </a:lnTo>
                      <a:lnTo>
                        <a:pt x="64" y="161"/>
                      </a:lnTo>
                      <a:lnTo>
                        <a:pt x="64" y="162"/>
                      </a:lnTo>
                      <a:lnTo>
                        <a:pt x="64" y="164"/>
                      </a:lnTo>
                      <a:lnTo>
                        <a:pt x="66" y="164"/>
                      </a:lnTo>
                      <a:lnTo>
                        <a:pt x="66" y="166"/>
                      </a:lnTo>
                      <a:lnTo>
                        <a:pt x="64" y="166"/>
                      </a:lnTo>
                      <a:lnTo>
                        <a:pt x="63" y="166"/>
                      </a:lnTo>
                      <a:lnTo>
                        <a:pt x="61" y="166"/>
                      </a:lnTo>
                      <a:lnTo>
                        <a:pt x="61" y="164"/>
                      </a:lnTo>
                      <a:lnTo>
                        <a:pt x="59" y="164"/>
                      </a:lnTo>
                      <a:lnTo>
                        <a:pt x="56" y="162"/>
                      </a:lnTo>
                      <a:lnTo>
                        <a:pt x="54" y="162"/>
                      </a:lnTo>
                      <a:lnTo>
                        <a:pt x="54" y="164"/>
                      </a:lnTo>
                      <a:lnTo>
                        <a:pt x="54" y="166"/>
                      </a:lnTo>
                      <a:lnTo>
                        <a:pt x="53" y="164"/>
                      </a:lnTo>
                      <a:lnTo>
                        <a:pt x="51" y="164"/>
                      </a:lnTo>
                      <a:lnTo>
                        <a:pt x="51" y="166"/>
                      </a:lnTo>
                      <a:lnTo>
                        <a:pt x="46" y="164"/>
                      </a:lnTo>
                      <a:lnTo>
                        <a:pt x="44" y="162"/>
                      </a:lnTo>
                      <a:lnTo>
                        <a:pt x="42" y="162"/>
                      </a:lnTo>
                      <a:lnTo>
                        <a:pt x="41" y="162"/>
                      </a:lnTo>
                      <a:lnTo>
                        <a:pt x="42" y="161"/>
                      </a:lnTo>
                      <a:lnTo>
                        <a:pt x="42" y="159"/>
                      </a:lnTo>
                      <a:lnTo>
                        <a:pt x="44" y="158"/>
                      </a:lnTo>
                      <a:lnTo>
                        <a:pt x="42" y="158"/>
                      </a:lnTo>
                      <a:lnTo>
                        <a:pt x="41" y="158"/>
                      </a:lnTo>
                      <a:lnTo>
                        <a:pt x="39" y="158"/>
                      </a:lnTo>
                      <a:lnTo>
                        <a:pt x="39" y="156"/>
                      </a:lnTo>
                      <a:lnTo>
                        <a:pt x="37" y="156"/>
                      </a:lnTo>
                      <a:lnTo>
                        <a:pt x="36" y="156"/>
                      </a:lnTo>
                      <a:lnTo>
                        <a:pt x="34" y="156"/>
                      </a:lnTo>
                      <a:lnTo>
                        <a:pt x="34" y="158"/>
                      </a:lnTo>
                      <a:lnTo>
                        <a:pt x="32" y="158"/>
                      </a:lnTo>
                      <a:lnTo>
                        <a:pt x="31" y="156"/>
                      </a:lnTo>
                      <a:lnTo>
                        <a:pt x="31" y="158"/>
                      </a:lnTo>
                      <a:lnTo>
                        <a:pt x="29" y="158"/>
                      </a:lnTo>
                      <a:lnTo>
                        <a:pt x="27" y="158"/>
                      </a:lnTo>
                      <a:lnTo>
                        <a:pt x="26" y="158"/>
                      </a:lnTo>
                      <a:lnTo>
                        <a:pt x="26" y="159"/>
                      </a:lnTo>
                      <a:lnTo>
                        <a:pt x="24" y="159"/>
                      </a:lnTo>
                      <a:lnTo>
                        <a:pt x="22" y="159"/>
                      </a:lnTo>
                      <a:lnTo>
                        <a:pt x="21" y="159"/>
                      </a:lnTo>
                      <a:lnTo>
                        <a:pt x="22" y="159"/>
                      </a:lnTo>
                      <a:lnTo>
                        <a:pt x="22" y="158"/>
                      </a:lnTo>
                      <a:lnTo>
                        <a:pt x="21" y="159"/>
                      </a:lnTo>
                      <a:lnTo>
                        <a:pt x="19" y="159"/>
                      </a:lnTo>
                      <a:lnTo>
                        <a:pt x="17" y="159"/>
                      </a:lnTo>
                      <a:lnTo>
                        <a:pt x="17" y="158"/>
                      </a:lnTo>
                      <a:lnTo>
                        <a:pt x="17" y="159"/>
                      </a:lnTo>
                      <a:lnTo>
                        <a:pt x="15" y="159"/>
                      </a:lnTo>
                      <a:lnTo>
                        <a:pt x="15" y="158"/>
                      </a:lnTo>
                      <a:lnTo>
                        <a:pt x="14" y="158"/>
                      </a:lnTo>
                      <a:lnTo>
                        <a:pt x="14" y="156"/>
                      </a:lnTo>
                      <a:lnTo>
                        <a:pt x="14" y="154"/>
                      </a:lnTo>
                      <a:lnTo>
                        <a:pt x="12" y="154"/>
                      </a:lnTo>
                      <a:lnTo>
                        <a:pt x="10" y="153"/>
                      </a:lnTo>
                      <a:lnTo>
                        <a:pt x="10" y="151"/>
                      </a:lnTo>
                      <a:lnTo>
                        <a:pt x="9" y="149"/>
                      </a:lnTo>
                      <a:lnTo>
                        <a:pt x="9" y="151"/>
                      </a:lnTo>
                      <a:lnTo>
                        <a:pt x="9" y="149"/>
                      </a:lnTo>
                      <a:lnTo>
                        <a:pt x="7" y="149"/>
                      </a:lnTo>
                      <a:lnTo>
                        <a:pt x="7" y="148"/>
                      </a:lnTo>
                      <a:lnTo>
                        <a:pt x="5" y="148"/>
                      </a:lnTo>
                      <a:lnTo>
                        <a:pt x="5" y="146"/>
                      </a:lnTo>
                      <a:lnTo>
                        <a:pt x="4" y="148"/>
                      </a:lnTo>
                      <a:lnTo>
                        <a:pt x="4" y="146"/>
                      </a:lnTo>
                      <a:lnTo>
                        <a:pt x="5" y="146"/>
                      </a:lnTo>
                      <a:lnTo>
                        <a:pt x="5" y="144"/>
                      </a:lnTo>
                      <a:lnTo>
                        <a:pt x="4" y="144"/>
                      </a:lnTo>
                      <a:lnTo>
                        <a:pt x="5" y="144"/>
                      </a:lnTo>
                      <a:lnTo>
                        <a:pt x="5" y="143"/>
                      </a:lnTo>
                      <a:lnTo>
                        <a:pt x="7" y="143"/>
                      </a:lnTo>
                      <a:lnTo>
                        <a:pt x="9" y="143"/>
                      </a:lnTo>
                      <a:lnTo>
                        <a:pt x="9" y="141"/>
                      </a:lnTo>
                      <a:lnTo>
                        <a:pt x="10" y="141"/>
                      </a:lnTo>
                      <a:lnTo>
                        <a:pt x="10" y="139"/>
                      </a:lnTo>
                      <a:lnTo>
                        <a:pt x="10" y="138"/>
                      </a:lnTo>
                      <a:lnTo>
                        <a:pt x="10" y="136"/>
                      </a:lnTo>
                      <a:lnTo>
                        <a:pt x="12" y="135"/>
                      </a:lnTo>
                      <a:lnTo>
                        <a:pt x="12" y="133"/>
                      </a:lnTo>
                      <a:lnTo>
                        <a:pt x="10" y="133"/>
                      </a:lnTo>
                      <a:lnTo>
                        <a:pt x="10" y="131"/>
                      </a:lnTo>
                      <a:lnTo>
                        <a:pt x="12" y="131"/>
                      </a:lnTo>
                      <a:lnTo>
                        <a:pt x="14" y="131"/>
                      </a:lnTo>
                      <a:lnTo>
                        <a:pt x="15" y="131"/>
                      </a:lnTo>
                      <a:lnTo>
                        <a:pt x="15" y="130"/>
                      </a:lnTo>
                      <a:lnTo>
                        <a:pt x="17" y="130"/>
                      </a:lnTo>
                      <a:lnTo>
                        <a:pt x="17" y="128"/>
                      </a:lnTo>
                      <a:lnTo>
                        <a:pt x="15" y="128"/>
                      </a:lnTo>
                      <a:lnTo>
                        <a:pt x="15" y="126"/>
                      </a:lnTo>
                      <a:lnTo>
                        <a:pt x="17" y="126"/>
                      </a:lnTo>
                      <a:lnTo>
                        <a:pt x="17" y="125"/>
                      </a:lnTo>
                      <a:lnTo>
                        <a:pt x="17" y="123"/>
                      </a:lnTo>
                      <a:lnTo>
                        <a:pt x="19" y="123"/>
                      </a:lnTo>
                      <a:lnTo>
                        <a:pt x="19" y="121"/>
                      </a:lnTo>
                      <a:lnTo>
                        <a:pt x="21" y="121"/>
                      </a:lnTo>
                      <a:lnTo>
                        <a:pt x="21" y="120"/>
                      </a:lnTo>
                      <a:lnTo>
                        <a:pt x="21" y="118"/>
                      </a:lnTo>
                      <a:lnTo>
                        <a:pt x="21" y="116"/>
                      </a:lnTo>
                      <a:lnTo>
                        <a:pt x="21" y="115"/>
                      </a:lnTo>
                      <a:lnTo>
                        <a:pt x="21" y="113"/>
                      </a:lnTo>
                      <a:lnTo>
                        <a:pt x="19" y="113"/>
                      </a:lnTo>
                      <a:lnTo>
                        <a:pt x="21" y="112"/>
                      </a:lnTo>
                      <a:lnTo>
                        <a:pt x="19" y="112"/>
                      </a:lnTo>
                      <a:lnTo>
                        <a:pt x="17" y="112"/>
                      </a:lnTo>
                      <a:lnTo>
                        <a:pt x="17" y="113"/>
                      </a:lnTo>
                      <a:lnTo>
                        <a:pt x="15" y="112"/>
                      </a:lnTo>
                      <a:lnTo>
                        <a:pt x="14" y="112"/>
                      </a:lnTo>
                      <a:lnTo>
                        <a:pt x="14" y="110"/>
                      </a:lnTo>
                      <a:lnTo>
                        <a:pt x="14" y="108"/>
                      </a:lnTo>
                      <a:lnTo>
                        <a:pt x="12" y="107"/>
                      </a:lnTo>
                      <a:lnTo>
                        <a:pt x="10" y="107"/>
                      </a:lnTo>
                      <a:lnTo>
                        <a:pt x="9" y="107"/>
                      </a:lnTo>
                      <a:lnTo>
                        <a:pt x="7" y="107"/>
                      </a:lnTo>
                      <a:lnTo>
                        <a:pt x="7" y="105"/>
                      </a:lnTo>
                      <a:lnTo>
                        <a:pt x="9" y="105"/>
                      </a:lnTo>
                      <a:lnTo>
                        <a:pt x="7" y="105"/>
                      </a:lnTo>
                      <a:lnTo>
                        <a:pt x="7" y="103"/>
                      </a:lnTo>
                      <a:lnTo>
                        <a:pt x="9" y="103"/>
                      </a:lnTo>
                      <a:lnTo>
                        <a:pt x="7" y="102"/>
                      </a:lnTo>
                      <a:lnTo>
                        <a:pt x="9" y="102"/>
                      </a:lnTo>
                      <a:lnTo>
                        <a:pt x="9" y="100"/>
                      </a:lnTo>
                      <a:lnTo>
                        <a:pt x="10" y="98"/>
                      </a:lnTo>
                      <a:lnTo>
                        <a:pt x="9" y="97"/>
                      </a:lnTo>
                      <a:lnTo>
                        <a:pt x="9" y="95"/>
                      </a:lnTo>
                      <a:lnTo>
                        <a:pt x="7" y="93"/>
                      </a:lnTo>
                      <a:lnTo>
                        <a:pt x="7" y="92"/>
                      </a:lnTo>
                      <a:lnTo>
                        <a:pt x="5" y="92"/>
                      </a:lnTo>
                      <a:lnTo>
                        <a:pt x="4" y="90"/>
                      </a:lnTo>
                      <a:lnTo>
                        <a:pt x="2" y="90"/>
                      </a:lnTo>
                      <a:lnTo>
                        <a:pt x="0" y="89"/>
                      </a:lnTo>
                      <a:lnTo>
                        <a:pt x="0" y="87"/>
                      </a:lnTo>
                      <a:lnTo>
                        <a:pt x="2" y="87"/>
                      </a:lnTo>
                      <a:lnTo>
                        <a:pt x="2" y="85"/>
                      </a:lnTo>
                      <a:lnTo>
                        <a:pt x="0" y="85"/>
                      </a:lnTo>
                      <a:lnTo>
                        <a:pt x="0" y="84"/>
                      </a:lnTo>
                      <a:lnTo>
                        <a:pt x="0" y="82"/>
                      </a:lnTo>
                      <a:lnTo>
                        <a:pt x="0" y="80"/>
                      </a:lnTo>
                      <a:lnTo>
                        <a:pt x="2" y="80"/>
                      </a:lnTo>
                      <a:lnTo>
                        <a:pt x="4" y="79"/>
                      </a:lnTo>
                      <a:lnTo>
                        <a:pt x="5" y="77"/>
                      </a:lnTo>
                      <a:lnTo>
                        <a:pt x="5" y="79"/>
                      </a:lnTo>
                      <a:lnTo>
                        <a:pt x="5" y="77"/>
                      </a:lnTo>
                      <a:lnTo>
                        <a:pt x="7" y="77"/>
                      </a:lnTo>
                      <a:lnTo>
                        <a:pt x="9" y="75"/>
                      </a:lnTo>
                      <a:lnTo>
                        <a:pt x="7" y="74"/>
                      </a:lnTo>
                      <a:lnTo>
                        <a:pt x="9" y="74"/>
                      </a:lnTo>
                      <a:lnTo>
                        <a:pt x="10" y="74"/>
                      </a:lnTo>
                      <a:lnTo>
                        <a:pt x="10" y="72"/>
                      </a:lnTo>
                      <a:lnTo>
                        <a:pt x="12" y="72"/>
                      </a:lnTo>
                      <a:lnTo>
                        <a:pt x="12" y="70"/>
                      </a:lnTo>
                      <a:lnTo>
                        <a:pt x="10" y="70"/>
                      </a:lnTo>
                      <a:lnTo>
                        <a:pt x="12" y="70"/>
                      </a:lnTo>
                      <a:lnTo>
                        <a:pt x="14" y="70"/>
                      </a:lnTo>
                      <a:lnTo>
                        <a:pt x="14" y="69"/>
                      </a:lnTo>
                      <a:lnTo>
                        <a:pt x="12" y="69"/>
                      </a:lnTo>
                      <a:lnTo>
                        <a:pt x="12" y="67"/>
                      </a:lnTo>
                      <a:lnTo>
                        <a:pt x="10" y="67"/>
                      </a:lnTo>
                      <a:lnTo>
                        <a:pt x="10" y="66"/>
                      </a:lnTo>
                      <a:lnTo>
                        <a:pt x="10" y="64"/>
                      </a:lnTo>
                      <a:lnTo>
                        <a:pt x="9" y="64"/>
                      </a:lnTo>
                      <a:lnTo>
                        <a:pt x="7" y="64"/>
                      </a:lnTo>
                      <a:lnTo>
                        <a:pt x="9" y="62"/>
                      </a:lnTo>
                      <a:lnTo>
                        <a:pt x="9" y="61"/>
                      </a:lnTo>
                      <a:lnTo>
                        <a:pt x="9" y="59"/>
                      </a:lnTo>
                      <a:lnTo>
                        <a:pt x="10" y="59"/>
                      </a:lnTo>
                      <a:lnTo>
                        <a:pt x="10" y="57"/>
                      </a:lnTo>
                      <a:lnTo>
                        <a:pt x="10" y="56"/>
                      </a:lnTo>
                      <a:lnTo>
                        <a:pt x="10" y="54"/>
                      </a:lnTo>
                      <a:lnTo>
                        <a:pt x="12" y="54"/>
                      </a:lnTo>
                      <a:lnTo>
                        <a:pt x="12" y="52"/>
                      </a:lnTo>
                      <a:lnTo>
                        <a:pt x="10" y="51"/>
                      </a:lnTo>
                      <a:lnTo>
                        <a:pt x="12" y="49"/>
                      </a:lnTo>
                      <a:lnTo>
                        <a:pt x="12" y="47"/>
                      </a:lnTo>
                      <a:lnTo>
                        <a:pt x="14" y="47"/>
                      </a:lnTo>
                      <a:lnTo>
                        <a:pt x="14" y="46"/>
                      </a:lnTo>
                      <a:lnTo>
                        <a:pt x="14" y="44"/>
                      </a:lnTo>
                      <a:lnTo>
                        <a:pt x="15" y="44"/>
                      </a:lnTo>
                      <a:lnTo>
                        <a:pt x="15" y="43"/>
                      </a:lnTo>
                      <a:lnTo>
                        <a:pt x="17" y="43"/>
                      </a:lnTo>
                      <a:lnTo>
                        <a:pt x="17" y="41"/>
                      </a:lnTo>
                      <a:lnTo>
                        <a:pt x="19" y="41"/>
                      </a:lnTo>
                      <a:lnTo>
                        <a:pt x="19" y="39"/>
                      </a:lnTo>
                      <a:lnTo>
                        <a:pt x="19" y="38"/>
                      </a:lnTo>
                      <a:lnTo>
                        <a:pt x="21" y="36"/>
                      </a:lnTo>
                      <a:close/>
                      <a:moveTo>
                        <a:pt x="368" y="89"/>
                      </a:moveTo>
                      <a:lnTo>
                        <a:pt x="370" y="87"/>
                      </a:lnTo>
                      <a:lnTo>
                        <a:pt x="370" y="89"/>
                      </a:lnTo>
                      <a:lnTo>
                        <a:pt x="372" y="89"/>
                      </a:lnTo>
                      <a:lnTo>
                        <a:pt x="370" y="90"/>
                      </a:lnTo>
                      <a:lnTo>
                        <a:pt x="368" y="89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5" name="Freeform 5"/>
                <p:cNvSpPr>
                  <a:spLocks noChangeAspect="1"/>
                </p:cNvSpPr>
                <p:nvPr/>
              </p:nvSpPr>
              <p:spPr bwMode="auto">
                <a:xfrm>
                  <a:off x="3693287" y="5452955"/>
                  <a:ext cx="1174323" cy="1026974"/>
                </a:xfrm>
                <a:custGeom>
                  <a:avLst/>
                  <a:gdLst>
                    <a:gd name="T0" fmla="*/ 2147483647 w 753"/>
                    <a:gd name="T1" fmla="*/ 2147483647 h 614"/>
                    <a:gd name="T2" fmla="*/ 2147483647 w 753"/>
                    <a:gd name="T3" fmla="*/ 2147483647 h 614"/>
                    <a:gd name="T4" fmla="*/ 2147483647 w 753"/>
                    <a:gd name="T5" fmla="*/ 2147483647 h 614"/>
                    <a:gd name="T6" fmla="*/ 2147483647 w 753"/>
                    <a:gd name="T7" fmla="*/ 2147483647 h 614"/>
                    <a:gd name="T8" fmla="*/ 2147483647 w 753"/>
                    <a:gd name="T9" fmla="*/ 2147483647 h 614"/>
                    <a:gd name="T10" fmla="*/ 2147483647 w 753"/>
                    <a:gd name="T11" fmla="*/ 2147483647 h 614"/>
                    <a:gd name="T12" fmla="*/ 2147483647 w 753"/>
                    <a:gd name="T13" fmla="*/ 2147483647 h 614"/>
                    <a:gd name="T14" fmla="*/ 2147483647 w 753"/>
                    <a:gd name="T15" fmla="*/ 2147483647 h 614"/>
                    <a:gd name="T16" fmla="*/ 2147483647 w 753"/>
                    <a:gd name="T17" fmla="*/ 2147483647 h 614"/>
                    <a:gd name="T18" fmla="*/ 2147483647 w 753"/>
                    <a:gd name="T19" fmla="*/ 2147483647 h 614"/>
                    <a:gd name="T20" fmla="*/ 2147483647 w 753"/>
                    <a:gd name="T21" fmla="*/ 2147483647 h 614"/>
                    <a:gd name="T22" fmla="*/ 2147483647 w 753"/>
                    <a:gd name="T23" fmla="*/ 2147483647 h 614"/>
                    <a:gd name="T24" fmla="*/ 2147483647 w 753"/>
                    <a:gd name="T25" fmla="*/ 2147483647 h 614"/>
                    <a:gd name="T26" fmla="*/ 2147483647 w 753"/>
                    <a:gd name="T27" fmla="*/ 2147483647 h 614"/>
                    <a:gd name="T28" fmla="*/ 2147483647 w 753"/>
                    <a:gd name="T29" fmla="*/ 2147483647 h 614"/>
                    <a:gd name="T30" fmla="*/ 2147483647 w 753"/>
                    <a:gd name="T31" fmla="*/ 2147483647 h 614"/>
                    <a:gd name="T32" fmla="*/ 2147483647 w 753"/>
                    <a:gd name="T33" fmla="*/ 2147483647 h 614"/>
                    <a:gd name="T34" fmla="*/ 2147483647 w 753"/>
                    <a:gd name="T35" fmla="*/ 2147483647 h 614"/>
                    <a:gd name="T36" fmla="*/ 2147483647 w 753"/>
                    <a:gd name="T37" fmla="*/ 2147483647 h 614"/>
                    <a:gd name="T38" fmla="*/ 2147483647 w 753"/>
                    <a:gd name="T39" fmla="*/ 2147483647 h 614"/>
                    <a:gd name="T40" fmla="*/ 2147483647 w 753"/>
                    <a:gd name="T41" fmla="*/ 2147483647 h 614"/>
                    <a:gd name="T42" fmla="*/ 2147483647 w 753"/>
                    <a:gd name="T43" fmla="*/ 2147483647 h 614"/>
                    <a:gd name="T44" fmla="*/ 2147483647 w 753"/>
                    <a:gd name="T45" fmla="*/ 2147483647 h 614"/>
                    <a:gd name="T46" fmla="*/ 2147483647 w 753"/>
                    <a:gd name="T47" fmla="*/ 2147483647 h 614"/>
                    <a:gd name="T48" fmla="*/ 2147483647 w 753"/>
                    <a:gd name="T49" fmla="*/ 2147483647 h 614"/>
                    <a:gd name="T50" fmla="*/ 2147483647 w 753"/>
                    <a:gd name="T51" fmla="*/ 2147483647 h 614"/>
                    <a:gd name="T52" fmla="*/ 2147483647 w 753"/>
                    <a:gd name="T53" fmla="*/ 2147483647 h 614"/>
                    <a:gd name="T54" fmla="*/ 2147483647 w 753"/>
                    <a:gd name="T55" fmla="*/ 2147483647 h 614"/>
                    <a:gd name="T56" fmla="*/ 2147483647 w 753"/>
                    <a:gd name="T57" fmla="*/ 2147483647 h 614"/>
                    <a:gd name="T58" fmla="*/ 2147483647 w 753"/>
                    <a:gd name="T59" fmla="*/ 2147483647 h 614"/>
                    <a:gd name="T60" fmla="*/ 2147483647 w 753"/>
                    <a:gd name="T61" fmla="*/ 2147483647 h 614"/>
                    <a:gd name="T62" fmla="*/ 2147483647 w 753"/>
                    <a:gd name="T63" fmla="*/ 0 h 614"/>
                    <a:gd name="T64" fmla="*/ 2147483647 w 753"/>
                    <a:gd name="T65" fmla="*/ 2147483647 h 614"/>
                    <a:gd name="T66" fmla="*/ 2147483647 w 753"/>
                    <a:gd name="T67" fmla="*/ 2147483647 h 614"/>
                    <a:gd name="T68" fmla="*/ 2147483647 w 753"/>
                    <a:gd name="T69" fmla="*/ 2147483647 h 614"/>
                    <a:gd name="T70" fmla="*/ 2147483647 w 753"/>
                    <a:gd name="T71" fmla="*/ 2147483647 h 614"/>
                    <a:gd name="T72" fmla="*/ 2147483647 w 753"/>
                    <a:gd name="T73" fmla="*/ 2147483647 h 614"/>
                    <a:gd name="T74" fmla="*/ 2147483647 w 753"/>
                    <a:gd name="T75" fmla="*/ 2147483647 h 614"/>
                    <a:gd name="T76" fmla="*/ 2147483647 w 753"/>
                    <a:gd name="T77" fmla="*/ 2147483647 h 614"/>
                    <a:gd name="T78" fmla="*/ 2147483647 w 753"/>
                    <a:gd name="T79" fmla="*/ 2147483647 h 614"/>
                    <a:gd name="T80" fmla="*/ 2147483647 w 753"/>
                    <a:gd name="T81" fmla="*/ 2147483647 h 614"/>
                    <a:gd name="T82" fmla="*/ 2147483647 w 753"/>
                    <a:gd name="T83" fmla="*/ 2147483647 h 614"/>
                    <a:gd name="T84" fmla="*/ 2147483647 w 753"/>
                    <a:gd name="T85" fmla="*/ 2147483647 h 614"/>
                    <a:gd name="T86" fmla="*/ 2147483647 w 753"/>
                    <a:gd name="T87" fmla="*/ 2147483647 h 614"/>
                    <a:gd name="T88" fmla="*/ 2147483647 w 753"/>
                    <a:gd name="T89" fmla="*/ 2147483647 h 614"/>
                    <a:gd name="T90" fmla="*/ 2147483647 w 753"/>
                    <a:gd name="T91" fmla="*/ 2147483647 h 614"/>
                    <a:gd name="T92" fmla="*/ 2147483647 w 753"/>
                    <a:gd name="T93" fmla="*/ 2147483647 h 614"/>
                    <a:gd name="T94" fmla="*/ 2147483647 w 753"/>
                    <a:gd name="T95" fmla="*/ 2147483647 h 614"/>
                    <a:gd name="T96" fmla="*/ 2147483647 w 753"/>
                    <a:gd name="T97" fmla="*/ 2147483647 h 614"/>
                    <a:gd name="T98" fmla="*/ 2147483647 w 753"/>
                    <a:gd name="T99" fmla="*/ 2147483647 h 614"/>
                    <a:gd name="T100" fmla="*/ 2147483647 w 753"/>
                    <a:gd name="T101" fmla="*/ 2147483647 h 614"/>
                    <a:gd name="T102" fmla="*/ 2147483647 w 753"/>
                    <a:gd name="T103" fmla="*/ 2147483647 h 614"/>
                    <a:gd name="T104" fmla="*/ 2147483647 w 753"/>
                    <a:gd name="T105" fmla="*/ 2147483647 h 614"/>
                    <a:gd name="T106" fmla="*/ 2147483647 w 753"/>
                    <a:gd name="T107" fmla="*/ 2147483647 h 614"/>
                    <a:gd name="T108" fmla="*/ 2147483647 w 753"/>
                    <a:gd name="T109" fmla="*/ 2147483647 h 614"/>
                    <a:gd name="T110" fmla="*/ 2147483647 w 753"/>
                    <a:gd name="T111" fmla="*/ 2147483647 h 614"/>
                    <a:gd name="T112" fmla="*/ 2147483647 w 753"/>
                    <a:gd name="T113" fmla="*/ 2147483647 h 614"/>
                    <a:gd name="T114" fmla="*/ 2147483647 w 753"/>
                    <a:gd name="T115" fmla="*/ 2147483647 h 614"/>
                    <a:gd name="T116" fmla="*/ 2147483647 w 753"/>
                    <a:gd name="T117" fmla="*/ 2147483647 h 614"/>
                    <a:gd name="T118" fmla="*/ 2147483647 w 753"/>
                    <a:gd name="T119" fmla="*/ 2147483647 h 614"/>
                    <a:gd name="T120" fmla="*/ 2147483647 w 753"/>
                    <a:gd name="T121" fmla="*/ 2147483647 h 614"/>
                    <a:gd name="T122" fmla="*/ 2147483647 w 753"/>
                    <a:gd name="T123" fmla="*/ 2147483647 h 614"/>
                    <a:gd name="T124" fmla="*/ 2147483647 w 753"/>
                    <a:gd name="T125" fmla="*/ 2147483647 h 61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753"/>
                    <a:gd name="T190" fmla="*/ 0 h 614"/>
                    <a:gd name="T191" fmla="*/ 753 w 753"/>
                    <a:gd name="T192" fmla="*/ 614 h 61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753" h="614">
                      <a:moveTo>
                        <a:pt x="424" y="514"/>
                      </a:moveTo>
                      <a:lnTo>
                        <a:pt x="422" y="514"/>
                      </a:lnTo>
                      <a:lnTo>
                        <a:pt x="422" y="512"/>
                      </a:lnTo>
                      <a:lnTo>
                        <a:pt x="419" y="512"/>
                      </a:lnTo>
                      <a:lnTo>
                        <a:pt x="417" y="512"/>
                      </a:lnTo>
                      <a:lnTo>
                        <a:pt x="417" y="511"/>
                      </a:lnTo>
                      <a:lnTo>
                        <a:pt x="417" y="509"/>
                      </a:lnTo>
                      <a:lnTo>
                        <a:pt x="415" y="509"/>
                      </a:lnTo>
                      <a:lnTo>
                        <a:pt x="414" y="509"/>
                      </a:lnTo>
                      <a:lnTo>
                        <a:pt x="414" y="511"/>
                      </a:lnTo>
                      <a:lnTo>
                        <a:pt x="412" y="511"/>
                      </a:lnTo>
                      <a:lnTo>
                        <a:pt x="410" y="509"/>
                      </a:lnTo>
                      <a:lnTo>
                        <a:pt x="409" y="509"/>
                      </a:lnTo>
                      <a:lnTo>
                        <a:pt x="409" y="507"/>
                      </a:lnTo>
                      <a:lnTo>
                        <a:pt x="407" y="507"/>
                      </a:lnTo>
                      <a:lnTo>
                        <a:pt x="405" y="507"/>
                      </a:lnTo>
                      <a:lnTo>
                        <a:pt x="405" y="506"/>
                      </a:lnTo>
                      <a:lnTo>
                        <a:pt x="404" y="506"/>
                      </a:lnTo>
                      <a:lnTo>
                        <a:pt x="404" y="507"/>
                      </a:lnTo>
                      <a:lnTo>
                        <a:pt x="402" y="507"/>
                      </a:lnTo>
                      <a:lnTo>
                        <a:pt x="400" y="506"/>
                      </a:lnTo>
                      <a:lnTo>
                        <a:pt x="400" y="504"/>
                      </a:lnTo>
                      <a:lnTo>
                        <a:pt x="399" y="506"/>
                      </a:lnTo>
                      <a:lnTo>
                        <a:pt x="399" y="504"/>
                      </a:lnTo>
                      <a:lnTo>
                        <a:pt x="397" y="503"/>
                      </a:lnTo>
                      <a:lnTo>
                        <a:pt x="397" y="501"/>
                      </a:lnTo>
                      <a:lnTo>
                        <a:pt x="395" y="499"/>
                      </a:lnTo>
                      <a:lnTo>
                        <a:pt x="395" y="498"/>
                      </a:lnTo>
                      <a:lnTo>
                        <a:pt x="393" y="498"/>
                      </a:lnTo>
                      <a:lnTo>
                        <a:pt x="392" y="498"/>
                      </a:lnTo>
                      <a:lnTo>
                        <a:pt x="390" y="498"/>
                      </a:lnTo>
                      <a:lnTo>
                        <a:pt x="388" y="498"/>
                      </a:lnTo>
                      <a:lnTo>
                        <a:pt x="387" y="498"/>
                      </a:lnTo>
                      <a:lnTo>
                        <a:pt x="387" y="496"/>
                      </a:lnTo>
                      <a:lnTo>
                        <a:pt x="385" y="496"/>
                      </a:lnTo>
                      <a:lnTo>
                        <a:pt x="385" y="494"/>
                      </a:lnTo>
                      <a:lnTo>
                        <a:pt x="383" y="494"/>
                      </a:lnTo>
                      <a:lnTo>
                        <a:pt x="383" y="493"/>
                      </a:lnTo>
                      <a:lnTo>
                        <a:pt x="382" y="493"/>
                      </a:lnTo>
                      <a:lnTo>
                        <a:pt x="382" y="491"/>
                      </a:lnTo>
                      <a:lnTo>
                        <a:pt x="382" y="489"/>
                      </a:lnTo>
                      <a:lnTo>
                        <a:pt x="380" y="489"/>
                      </a:lnTo>
                      <a:lnTo>
                        <a:pt x="378" y="489"/>
                      </a:lnTo>
                      <a:lnTo>
                        <a:pt x="378" y="488"/>
                      </a:lnTo>
                      <a:lnTo>
                        <a:pt x="380" y="486"/>
                      </a:lnTo>
                      <a:lnTo>
                        <a:pt x="378" y="485"/>
                      </a:lnTo>
                      <a:lnTo>
                        <a:pt x="378" y="483"/>
                      </a:lnTo>
                      <a:lnTo>
                        <a:pt x="378" y="481"/>
                      </a:lnTo>
                      <a:lnTo>
                        <a:pt x="378" y="480"/>
                      </a:lnTo>
                      <a:lnTo>
                        <a:pt x="377" y="480"/>
                      </a:lnTo>
                      <a:lnTo>
                        <a:pt x="377" y="478"/>
                      </a:lnTo>
                      <a:lnTo>
                        <a:pt x="375" y="478"/>
                      </a:lnTo>
                      <a:lnTo>
                        <a:pt x="375" y="476"/>
                      </a:lnTo>
                      <a:lnTo>
                        <a:pt x="375" y="475"/>
                      </a:lnTo>
                      <a:lnTo>
                        <a:pt x="375" y="473"/>
                      </a:lnTo>
                      <a:lnTo>
                        <a:pt x="373" y="473"/>
                      </a:lnTo>
                      <a:lnTo>
                        <a:pt x="372" y="471"/>
                      </a:lnTo>
                      <a:lnTo>
                        <a:pt x="373" y="471"/>
                      </a:lnTo>
                      <a:lnTo>
                        <a:pt x="372" y="471"/>
                      </a:lnTo>
                      <a:lnTo>
                        <a:pt x="372" y="470"/>
                      </a:lnTo>
                      <a:lnTo>
                        <a:pt x="372" y="468"/>
                      </a:lnTo>
                      <a:lnTo>
                        <a:pt x="370" y="468"/>
                      </a:lnTo>
                      <a:lnTo>
                        <a:pt x="372" y="466"/>
                      </a:lnTo>
                      <a:lnTo>
                        <a:pt x="370" y="466"/>
                      </a:lnTo>
                      <a:lnTo>
                        <a:pt x="370" y="465"/>
                      </a:lnTo>
                      <a:lnTo>
                        <a:pt x="370" y="463"/>
                      </a:lnTo>
                      <a:lnTo>
                        <a:pt x="372" y="463"/>
                      </a:lnTo>
                      <a:lnTo>
                        <a:pt x="370" y="462"/>
                      </a:lnTo>
                      <a:lnTo>
                        <a:pt x="368" y="462"/>
                      </a:lnTo>
                      <a:lnTo>
                        <a:pt x="368" y="460"/>
                      </a:lnTo>
                      <a:lnTo>
                        <a:pt x="368" y="462"/>
                      </a:lnTo>
                      <a:lnTo>
                        <a:pt x="368" y="460"/>
                      </a:lnTo>
                      <a:lnTo>
                        <a:pt x="368" y="462"/>
                      </a:lnTo>
                      <a:lnTo>
                        <a:pt x="366" y="462"/>
                      </a:lnTo>
                      <a:lnTo>
                        <a:pt x="366" y="460"/>
                      </a:lnTo>
                      <a:lnTo>
                        <a:pt x="365" y="460"/>
                      </a:lnTo>
                      <a:lnTo>
                        <a:pt x="363" y="460"/>
                      </a:lnTo>
                      <a:lnTo>
                        <a:pt x="363" y="458"/>
                      </a:lnTo>
                      <a:lnTo>
                        <a:pt x="361" y="458"/>
                      </a:lnTo>
                      <a:lnTo>
                        <a:pt x="360" y="458"/>
                      </a:lnTo>
                      <a:lnTo>
                        <a:pt x="361" y="458"/>
                      </a:lnTo>
                      <a:lnTo>
                        <a:pt x="360" y="457"/>
                      </a:lnTo>
                      <a:lnTo>
                        <a:pt x="358" y="455"/>
                      </a:lnTo>
                      <a:lnTo>
                        <a:pt x="360" y="455"/>
                      </a:lnTo>
                      <a:lnTo>
                        <a:pt x="358" y="455"/>
                      </a:lnTo>
                      <a:lnTo>
                        <a:pt x="358" y="453"/>
                      </a:lnTo>
                      <a:lnTo>
                        <a:pt x="360" y="453"/>
                      </a:lnTo>
                      <a:lnTo>
                        <a:pt x="358" y="453"/>
                      </a:lnTo>
                      <a:lnTo>
                        <a:pt x="356" y="453"/>
                      </a:lnTo>
                      <a:lnTo>
                        <a:pt x="355" y="453"/>
                      </a:lnTo>
                      <a:lnTo>
                        <a:pt x="355" y="452"/>
                      </a:lnTo>
                      <a:lnTo>
                        <a:pt x="353" y="452"/>
                      </a:lnTo>
                      <a:lnTo>
                        <a:pt x="353" y="450"/>
                      </a:lnTo>
                      <a:lnTo>
                        <a:pt x="351" y="450"/>
                      </a:lnTo>
                      <a:lnTo>
                        <a:pt x="350" y="450"/>
                      </a:lnTo>
                      <a:lnTo>
                        <a:pt x="348" y="450"/>
                      </a:lnTo>
                      <a:lnTo>
                        <a:pt x="348" y="448"/>
                      </a:lnTo>
                      <a:lnTo>
                        <a:pt x="348" y="447"/>
                      </a:lnTo>
                      <a:lnTo>
                        <a:pt x="346" y="447"/>
                      </a:lnTo>
                      <a:lnTo>
                        <a:pt x="346" y="445"/>
                      </a:lnTo>
                      <a:lnTo>
                        <a:pt x="346" y="447"/>
                      </a:lnTo>
                      <a:lnTo>
                        <a:pt x="346" y="445"/>
                      </a:lnTo>
                      <a:lnTo>
                        <a:pt x="345" y="445"/>
                      </a:lnTo>
                      <a:lnTo>
                        <a:pt x="343" y="445"/>
                      </a:lnTo>
                      <a:lnTo>
                        <a:pt x="345" y="445"/>
                      </a:lnTo>
                      <a:lnTo>
                        <a:pt x="343" y="445"/>
                      </a:lnTo>
                      <a:lnTo>
                        <a:pt x="343" y="443"/>
                      </a:lnTo>
                      <a:lnTo>
                        <a:pt x="343" y="445"/>
                      </a:lnTo>
                      <a:lnTo>
                        <a:pt x="341" y="445"/>
                      </a:lnTo>
                      <a:lnTo>
                        <a:pt x="343" y="443"/>
                      </a:lnTo>
                      <a:lnTo>
                        <a:pt x="341" y="443"/>
                      </a:lnTo>
                      <a:lnTo>
                        <a:pt x="341" y="445"/>
                      </a:lnTo>
                      <a:lnTo>
                        <a:pt x="339" y="445"/>
                      </a:lnTo>
                      <a:lnTo>
                        <a:pt x="339" y="447"/>
                      </a:lnTo>
                      <a:lnTo>
                        <a:pt x="338" y="447"/>
                      </a:lnTo>
                      <a:lnTo>
                        <a:pt x="336" y="447"/>
                      </a:lnTo>
                      <a:lnTo>
                        <a:pt x="336" y="448"/>
                      </a:lnTo>
                      <a:lnTo>
                        <a:pt x="336" y="447"/>
                      </a:lnTo>
                      <a:lnTo>
                        <a:pt x="334" y="447"/>
                      </a:lnTo>
                      <a:lnTo>
                        <a:pt x="334" y="445"/>
                      </a:lnTo>
                      <a:lnTo>
                        <a:pt x="333" y="445"/>
                      </a:lnTo>
                      <a:lnTo>
                        <a:pt x="333" y="443"/>
                      </a:lnTo>
                      <a:lnTo>
                        <a:pt x="331" y="443"/>
                      </a:lnTo>
                      <a:lnTo>
                        <a:pt x="331" y="442"/>
                      </a:lnTo>
                      <a:lnTo>
                        <a:pt x="329" y="442"/>
                      </a:lnTo>
                      <a:lnTo>
                        <a:pt x="302" y="422"/>
                      </a:lnTo>
                      <a:lnTo>
                        <a:pt x="302" y="420"/>
                      </a:lnTo>
                      <a:lnTo>
                        <a:pt x="302" y="419"/>
                      </a:lnTo>
                      <a:lnTo>
                        <a:pt x="301" y="419"/>
                      </a:lnTo>
                      <a:lnTo>
                        <a:pt x="301" y="417"/>
                      </a:lnTo>
                      <a:lnTo>
                        <a:pt x="302" y="417"/>
                      </a:lnTo>
                      <a:lnTo>
                        <a:pt x="301" y="417"/>
                      </a:lnTo>
                      <a:lnTo>
                        <a:pt x="301" y="416"/>
                      </a:lnTo>
                      <a:lnTo>
                        <a:pt x="301" y="414"/>
                      </a:lnTo>
                      <a:lnTo>
                        <a:pt x="299" y="414"/>
                      </a:lnTo>
                      <a:lnTo>
                        <a:pt x="299" y="412"/>
                      </a:lnTo>
                      <a:lnTo>
                        <a:pt x="297" y="411"/>
                      </a:lnTo>
                      <a:lnTo>
                        <a:pt x="297" y="409"/>
                      </a:lnTo>
                      <a:lnTo>
                        <a:pt x="296" y="409"/>
                      </a:lnTo>
                      <a:lnTo>
                        <a:pt x="296" y="407"/>
                      </a:lnTo>
                      <a:lnTo>
                        <a:pt x="294" y="407"/>
                      </a:lnTo>
                      <a:lnTo>
                        <a:pt x="292" y="407"/>
                      </a:lnTo>
                      <a:lnTo>
                        <a:pt x="292" y="406"/>
                      </a:lnTo>
                      <a:lnTo>
                        <a:pt x="290" y="406"/>
                      </a:lnTo>
                      <a:lnTo>
                        <a:pt x="290" y="404"/>
                      </a:lnTo>
                      <a:lnTo>
                        <a:pt x="289" y="404"/>
                      </a:lnTo>
                      <a:lnTo>
                        <a:pt x="282" y="404"/>
                      </a:lnTo>
                      <a:lnTo>
                        <a:pt x="280" y="404"/>
                      </a:lnTo>
                      <a:lnTo>
                        <a:pt x="280" y="402"/>
                      </a:lnTo>
                      <a:lnTo>
                        <a:pt x="279" y="402"/>
                      </a:lnTo>
                      <a:lnTo>
                        <a:pt x="277" y="402"/>
                      </a:lnTo>
                      <a:lnTo>
                        <a:pt x="277" y="401"/>
                      </a:lnTo>
                      <a:lnTo>
                        <a:pt x="275" y="401"/>
                      </a:lnTo>
                      <a:lnTo>
                        <a:pt x="274" y="401"/>
                      </a:lnTo>
                      <a:lnTo>
                        <a:pt x="272" y="401"/>
                      </a:lnTo>
                      <a:lnTo>
                        <a:pt x="270" y="401"/>
                      </a:lnTo>
                      <a:lnTo>
                        <a:pt x="269" y="401"/>
                      </a:lnTo>
                      <a:lnTo>
                        <a:pt x="267" y="401"/>
                      </a:lnTo>
                      <a:lnTo>
                        <a:pt x="267" y="402"/>
                      </a:lnTo>
                      <a:lnTo>
                        <a:pt x="265" y="402"/>
                      </a:lnTo>
                      <a:lnTo>
                        <a:pt x="265" y="401"/>
                      </a:lnTo>
                      <a:lnTo>
                        <a:pt x="263" y="401"/>
                      </a:lnTo>
                      <a:lnTo>
                        <a:pt x="263" y="399"/>
                      </a:lnTo>
                      <a:lnTo>
                        <a:pt x="262" y="399"/>
                      </a:lnTo>
                      <a:lnTo>
                        <a:pt x="262" y="397"/>
                      </a:lnTo>
                      <a:lnTo>
                        <a:pt x="260" y="397"/>
                      </a:lnTo>
                      <a:lnTo>
                        <a:pt x="262" y="396"/>
                      </a:lnTo>
                      <a:lnTo>
                        <a:pt x="260" y="396"/>
                      </a:lnTo>
                      <a:lnTo>
                        <a:pt x="262" y="396"/>
                      </a:lnTo>
                      <a:lnTo>
                        <a:pt x="260" y="396"/>
                      </a:lnTo>
                      <a:lnTo>
                        <a:pt x="258" y="397"/>
                      </a:lnTo>
                      <a:lnTo>
                        <a:pt x="258" y="396"/>
                      </a:lnTo>
                      <a:lnTo>
                        <a:pt x="257" y="397"/>
                      </a:lnTo>
                      <a:lnTo>
                        <a:pt x="257" y="396"/>
                      </a:lnTo>
                      <a:lnTo>
                        <a:pt x="255" y="396"/>
                      </a:lnTo>
                      <a:lnTo>
                        <a:pt x="257" y="396"/>
                      </a:lnTo>
                      <a:lnTo>
                        <a:pt x="255" y="396"/>
                      </a:lnTo>
                      <a:lnTo>
                        <a:pt x="257" y="396"/>
                      </a:lnTo>
                      <a:lnTo>
                        <a:pt x="257" y="394"/>
                      </a:lnTo>
                      <a:lnTo>
                        <a:pt x="255" y="394"/>
                      </a:lnTo>
                      <a:lnTo>
                        <a:pt x="253" y="394"/>
                      </a:lnTo>
                      <a:lnTo>
                        <a:pt x="253" y="393"/>
                      </a:lnTo>
                      <a:lnTo>
                        <a:pt x="255" y="393"/>
                      </a:lnTo>
                      <a:lnTo>
                        <a:pt x="253" y="391"/>
                      </a:lnTo>
                      <a:lnTo>
                        <a:pt x="252" y="391"/>
                      </a:lnTo>
                      <a:lnTo>
                        <a:pt x="252" y="389"/>
                      </a:lnTo>
                      <a:lnTo>
                        <a:pt x="252" y="388"/>
                      </a:lnTo>
                      <a:lnTo>
                        <a:pt x="250" y="388"/>
                      </a:lnTo>
                      <a:lnTo>
                        <a:pt x="250" y="386"/>
                      </a:lnTo>
                      <a:lnTo>
                        <a:pt x="248" y="386"/>
                      </a:lnTo>
                      <a:lnTo>
                        <a:pt x="247" y="386"/>
                      </a:lnTo>
                      <a:lnTo>
                        <a:pt x="247" y="388"/>
                      </a:lnTo>
                      <a:lnTo>
                        <a:pt x="247" y="389"/>
                      </a:lnTo>
                      <a:lnTo>
                        <a:pt x="245" y="389"/>
                      </a:lnTo>
                      <a:lnTo>
                        <a:pt x="245" y="391"/>
                      </a:lnTo>
                      <a:lnTo>
                        <a:pt x="245" y="393"/>
                      </a:lnTo>
                      <a:lnTo>
                        <a:pt x="243" y="393"/>
                      </a:lnTo>
                      <a:lnTo>
                        <a:pt x="243" y="391"/>
                      </a:lnTo>
                      <a:lnTo>
                        <a:pt x="241" y="391"/>
                      </a:lnTo>
                      <a:lnTo>
                        <a:pt x="240" y="391"/>
                      </a:lnTo>
                      <a:lnTo>
                        <a:pt x="240" y="389"/>
                      </a:lnTo>
                      <a:lnTo>
                        <a:pt x="238" y="391"/>
                      </a:lnTo>
                      <a:lnTo>
                        <a:pt x="238" y="389"/>
                      </a:lnTo>
                      <a:lnTo>
                        <a:pt x="236" y="389"/>
                      </a:lnTo>
                      <a:lnTo>
                        <a:pt x="236" y="388"/>
                      </a:lnTo>
                      <a:lnTo>
                        <a:pt x="235" y="388"/>
                      </a:lnTo>
                      <a:lnTo>
                        <a:pt x="235" y="386"/>
                      </a:lnTo>
                      <a:lnTo>
                        <a:pt x="233" y="386"/>
                      </a:lnTo>
                      <a:lnTo>
                        <a:pt x="231" y="386"/>
                      </a:lnTo>
                      <a:lnTo>
                        <a:pt x="230" y="386"/>
                      </a:lnTo>
                      <a:lnTo>
                        <a:pt x="228" y="386"/>
                      </a:lnTo>
                      <a:lnTo>
                        <a:pt x="228" y="384"/>
                      </a:lnTo>
                      <a:lnTo>
                        <a:pt x="228" y="386"/>
                      </a:lnTo>
                      <a:lnTo>
                        <a:pt x="228" y="384"/>
                      </a:lnTo>
                      <a:lnTo>
                        <a:pt x="226" y="384"/>
                      </a:lnTo>
                      <a:lnTo>
                        <a:pt x="226" y="383"/>
                      </a:lnTo>
                      <a:lnTo>
                        <a:pt x="226" y="381"/>
                      </a:lnTo>
                      <a:lnTo>
                        <a:pt x="226" y="379"/>
                      </a:lnTo>
                      <a:lnTo>
                        <a:pt x="225" y="379"/>
                      </a:lnTo>
                      <a:lnTo>
                        <a:pt x="223" y="379"/>
                      </a:lnTo>
                      <a:lnTo>
                        <a:pt x="223" y="378"/>
                      </a:lnTo>
                      <a:lnTo>
                        <a:pt x="225" y="378"/>
                      </a:lnTo>
                      <a:lnTo>
                        <a:pt x="223" y="376"/>
                      </a:lnTo>
                      <a:lnTo>
                        <a:pt x="223" y="374"/>
                      </a:lnTo>
                      <a:lnTo>
                        <a:pt x="221" y="374"/>
                      </a:lnTo>
                      <a:lnTo>
                        <a:pt x="220" y="374"/>
                      </a:lnTo>
                      <a:lnTo>
                        <a:pt x="218" y="373"/>
                      </a:lnTo>
                      <a:lnTo>
                        <a:pt x="220" y="373"/>
                      </a:lnTo>
                      <a:lnTo>
                        <a:pt x="220" y="371"/>
                      </a:lnTo>
                      <a:lnTo>
                        <a:pt x="218" y="371"/>
                      </a:lnTo>
                      <a:lnTo>
                        <a:pt x="218" y="370"/>
                      </a:lnTo>
                      <a:lnTo>
                        <a:pt x="220" y="370"/>
                      </a:lnTo>
                      <a:lnTo>
                        <a:pt x="218" y="370"/>
                      </a:lnTo>
                      <a:lnTo>
                        <a:pt x="218" y="368"/>
                      </a:lnTo>
                      <a:lnTo>
                        <a:pt x="216" y="368"/>
                      </a:lnTo>
                      <a:lnTo>
                        <a:pt x="216" y="366"/>
                      </a:lnTo>
                      <a:lnTo>
                        <a:pt x="218" y="365"/>
                      </a:lnTo>
                      <a:lnTo>
                        <a:pt x="216" y="365"/>
                      </a:lnTo>
                      <a:lnTo>
                        <a:pt x="214" y="365"/>
                      </a:lnTo>
                      <a:lnTo>
                        <a:pt x="214" y="363"/>
                      </a:lnTo>
                      <a:lnTo>
                        <a:pt x="213" y="363"/>
                      </a:lnTo>
                      <a:lnTo>
                        <a:pt x="213" y="365"/>
                      </a:lnTo>
                      <a:lnTo>
                        <a:pt x="211" y="365"/>
                      </a:lnTo>
                      <a:lnTo>
                        <a:pt x="211" y="363"/>
                      </a:lnTo>
                      <a:lnTo>
                        <a:pt x="209" y="363"/>
                      </a:lnTo>
                      <a:lnTo>
                        <a:pt x="209" y="361"/>
                      </a:lnTo>
                      <a:lnTo>
                        <a:pt x="209" y="360"/>
                      </a:lnTo>
                      <a:lnTo>
                        <a:pt x="209" y="358"/>
                      </a:lnTo>
                      <a:lnTo>
                        <a:pt x="208" y="358"/>
                      </a:lnTo>
                      <a:lnTo>
                        <a:pt x="206" y="356"/>
                      </a:lnTo>
                      <a:lnTo>
                        <a:pt x="204" y="356"/>
                      </a:lnTo>
                      <a:lnTo>
                        <a:pt x="204" y="355"/>
                      </a:lnTo>
                      <a:lnTo>
                        <a:pt x="203" y="355"/>
                      </a:lnTo>
                      <a:lnTo>
                        <a:pt x="201" y="353"/>
                      </a:lnTo>
                      <a:lnTo>
                        <a:pt x="203" y="353"/>
                      </a:lnTo>
                      <a:lnTo>
                        <a:pt x="201" y="351"/>
                      </a:lnTo>
                      <a:lnTo>
                        <a:pt x="199" y="351"/>
                      </a:lnTo>
                      <a:lnTo>
                        <a:pt x="198" y="351"/>
                      </a:lnTo>
                      <a:lnTo>
                        <a:pt x="198" y="350"/>
                      </a:lnTo>
                      <a:lnTo>
                        <a:pt x="196" y="348"/>
                      </a:lnTo>
                      <a:lnTo>
                        <a:pt x="196" y="347"/>
                      </a:lnTo>
                      <a:lnTo>
                        <a:pt x="194" y="347"/>
                      </a:lnTo>
                      <a:lnTo>
                        <a:pt x="193" y="348"/>
                      </a:lnTo>
                      <a:lnTo>
                        <a:pt x="193" y="347"/>
                      </a:lnTo>
                      <a:lnTo>
                        <a:pt x="191" y="347"/>
                      </a:lnTo>
                      <a:lnTo>
                        <a:pt x="189" y="347"/>
                      </a:lnTo>
                      <a:lnTo>
                        <a:pt x="189" y="348"/>
                      </a:lnTo>
                      <a:lnTo>
                        <a:pt x="187" y="348"/>
                      </a:lnTo>
                      <a:lnTo>
                        <a:pt x="187" y="350"/>
                      </a:lnTo>
                      <a:lnTo>
                        <a:pt x="187" y="351"/>
                      </a:lnTo>
                      <a:lnTo>
                        <a:pt x="189" y="351"/>
                      </a:lnTo>
                      <a:lnTo>
                        <a:pt x="189" y="353"/>
                      </a:lnTo>
                      <a:lnTo>
                        <a:pt x="189" y="355"/>
                      </a:lnTo>
                      <a:lnTo>
                        <a:pt x="187" y="355"/>
                      </a:lnTo>
                      <a:lnTo>
                        <a:pt x="187" y="356"/>
                      </a:lnTo>
                      <a:lnTo>
                        <a:pt x="186" y="356"/>
                      </a:lnTo>
                      <a:lnTo>
                        <a:pt x="186" y="358"/>
                      </a:lnTo>
                      <a:lnTo>
                        <a:pt x="186" y="356"/>
                      </a:lnTo>
                      <a:lnTo>
                        <a:pt x="184" y="356"/>
                      </a:lnTo>
                      <a:lnTo>
                        <a:pt x="182" y="356"/>
                      </a:lnTo>
                      <a:lnTo>
                        <a:pt x="181" y="356"/>
                      </a:lnTo>
                      <a:lnTo>
                        <a:pt x="182" y="358"/>
                      </a:lnTo>
                      <a:lnTo>
                        <a:pt x="181" y="358"/>
                      </a:lnTo>
                      <a:lnTo>
                        <a:pt x="181" y="360"/>
                      </a:lnTo>
                      <a:lnTo>
                        <a:pt x="179" y="360"/>
                      </a:lnTo>
                      <a:lnTo>
                        <a:pt x="179" y="361"/>
                      </a:lnTo>
                      <a:lnTo>
                        <a:pt x="177" y="361"/>
                      </a:lnTo>
                      <a:lnTo>
                        <a:pt x="177" y="363"/>
                      </a:lnTo>
                      <a:lnTo>
                        <a:pt x="176" y="363"/>
                      </a:lnTo>
                      <a:lnTo>
                        <a:pt x="174" y="363"/>
                      </a:lnTo>
                      <a:lnTo>
                        <a:pt x="172" y="363"/>
                      </a:lnTo>
                      <a:lnTo>
                        <a:pt x="172" y="365"/>
                      </a:lnTo>
                      <a:lnTo>
                        <a:pt x="171" y="365"/>
                      </a:lnTo>
                      <a:lnTo>
                        <a:pt x="169" y="365"/>
                      </a:lnTo>
                      <a:lnTo>
                        <a:pt x="169" y="366"/>
                      </a:lnTo>
                      <a:lnTo>
                        <a:pt x="167" y="368"/>
                      </a:lnTo>
                      <a:lnTo>
                        <a:pt x="165" y="368"/>
                      </a:lnTo>
                      <a:lnTo>
                        <a:pt x="164" y="368"/>
                      </a:lnTo>
                      <a:lnTo>
                        <a:pt x="162" y="368"/>
                      </a:lnTo>
                      <a:lnTo>
                        <a:pt x="162" y="370"/>
                      </a:lnTo>
                      <a:lnTo>
                        <a:pt x="160" y="370"/>
                      </a:lnTo>
                      <a:lnTo>
                        <a:pt x="160" y="368"/>
                      </a:lnTo>
                      <a:lnTo>
                        <a:pt x="159" y="368"/>
                      </a:lnTo>
                      <a:lnTo>
                        <a:pt x="157" y="368"/>
                      </a:lnTo>
                      <a:lnTo>
                        <a:pt x="155" y="370"/>
                      </a:lnTo>
                      <a:lnTo>
                        <a:pt x="154" y="370"/>
                      </a:lnTo>
                      <a:lnTo>
                        <a:pt x="154" y="368"/>
                      </a:lnTo>
                      <a:lnTo>
                        <a:pt x="154" y="366"/>
                      </a:lnTo>
                      <a:lnTo>
                        <a:pt x="154" y="365"/>
                      </a:lnTo>
                      <a:lnTo>
                        <a:pt x="154" y="363"/>
                      </a:lnTo>
                      <a:lnTo>
                        <a:pt x="154" y="361"/>
                      </a:lnTo>
                      <a:lnTo>
                        <a:pt x="154" y="360"/>
                      </a:lnTo>
                      <a:lnTo>
                        <a:pt x="155" y="360"/>
                      </a:lnTo>
                      <a:lnTo>
                        <a:pt x="154" y="360"/>
                      </a:lnTo>
                      <a:lnTo>
                        <a:pt x="155" y="360"/>
                      </a:lnTo>
                      <a:lnTo>
                        <a:pt x="155" y="358"/>
                      </a:lnTo>
                      <a:lnTo>
                        <a:pt x="154" y="358"/>
                      </a:lnTo>
                      <a:lnTo>
                        <a:pt x="154" y="356"/>
                      </a:lnTo>
                      <a:lnTo>
                        <a:pt x="154" y="355"/>
                      </a:lnTo>
                      <a:lnTo>
                        <a:pt x="155" y="355"/>
                      </a:lnTo>
                      <a:lnTo>
                        <a:pt x="155" y="353"/>
                      </a:lnTo>
                      <a:lnTo>
                        <a:pt x="154" y="353"/>
                      </a:lnTo>
                      <a:lnTo>
                        <a:pt x="155" y="351"/>
                      </a:lnTo>
                      <a:lnTo>
                        <a:pt x="154" y="351"/>
                      </a:lnTo>
                      <a:lnTo>
                        <a:pt x="155" y="350"/>
                      </a:lnTo>
                      <a:lnTo>
                        <a:pt x="157" y="348"/>
                      </a:lnTo>
                      <a:lnTo>
                        <a:pt x="155" y="348"/>
                      </a:lnTo>
                      <a:lnTo>
                        <a:pt x="155" y="347"/>
                      </a:lnTo>
                      <a:lnTo>
                        <a:pt x="155" y="345"/>
                      </a:lnTo>
                      <a:lnTo>
                        <a:pt x="154" y="345"/>
                      </a:lnTo>
                      <a:lnTo>
                        <a:pt x="154" y="343"/>
                      </a:lnTo>
                      <a:lnTo>
                        <a:pt x="154" y="342"/>
                      </a:lnTo>
                      <a:lnTo>
                        <a:pt x="152" y="342"/>
                      </a:lnTo>
                      <a:lnTo>
                        <a:pt x="152" y="340"/>
                      </a:lnTo>
                      <a:lnTo>
                        <a:pt x="150" y="340"/>
                      </a:lnTo>
                      <a:lnTo>
                        <a:pt x="149" y="340"/>
                      </a:lnTo>
                      <a:lnTo>
                        <a:pt x="149" y="338"/>
                      </a:lnTo>
                      <a:lnTo>
                        <a:pt x="147" y="338"/>
                      </a:lnTo>
                      <a:lnTo>
                        <a:pt x="145" y="338"/>
                      </a:lnTo>
                      <a:lnTo>
                        <a:pt x="145" y="337"/>
                      </a:lnTo>
                      <a:lnTo>
                        <a:pt x="144" y="337"/>
                      </a:lnTo>
                      <a:lnTo>
                        <a:pt x="144" y="335"/>
                      </a:lnTo>
                      <a:lnTo>
                        <a:pt x="142" y="335"/>
                      </a:lnTo>
                      <a:lnTo>
                        <a:pt x="140" y="333"/>
                      </a:lnTo>
                      <a:lnTo>
                        <a:pt x="142" y="333"/>
                      </a:lnTo>
                      <a:lnTo>
                        <a:pt x="142" y="332"/>
                      </a:lnTo>
                      <a:lnTo>
                        <a:pt x="140" y="332"/>
                      </a:lnTo>
                      <a:lnTo>
                        <a:pt x="140" y="330"/>
                      </a:lnTo>
                      <a:lnTo>
                        <a:pt x="138" y="330"/>
                      </a:lnTo>
                      <a:lnTo>
                        <a:pt x="138" y="328"/>
                      </a:lnTo>
                      <a:lnTo>
                        <a:pt x="140" y="328"/>
                      </a:lnTo>
                      <a:lnTo>
                        <a:pt x="138" y="327"/>
                      </a:lnTo>
                      <a:lnTo>
                        <a:pt x="138" y="325"/>
                      </a:lnTo>
                      <a:lnTo>
                        <a:pt x="137" y="325"/>
                      </a:lnTo>
                      <a:lnTo>
                        <a:pt x="135" y="325"/>
                      </a:lnTo>
                      <a:lnTo>
                        <a:pt x="133" y="325"/>
                      </a:lnTo>
                      <a:lnTo>
                        <a:pt x="133" y="324"/>
                      </a:lnTo>
                      <a:lnTo>
                        <a:pt x="133" y="322"/>
                      </a:lnTo>
                      <a:lnTo>
                        <a:pt x="132" y="322"/>
                      </a:lnTo>
                      <a:lnTo>
                        <a:pt x="132" y="324"/>
                      </a:lnTo>
                      <a:lnTo>
                        <a:pt x="130" y="324"/>
                      </a:lnTo>
                      <a:lnTo>
                        <a:pt x="130" y="322"/>
                      </a:lnTo>
                      <a:lnTo>
                        <a:pt x="132" y="322"/>
                      </a:lnTo>
                      <a:lnTo>
                        <a:pt x="130" y="320"/>
                      </a:lnTo>
                      <a:lnTo>
                        <a:pt x="128" y="320"/>
                      </a:lnTo>
                      <a:lnTo>
                        <a:pt x="128" y="319"/>
                      </a:lnTo>
                      <a:lnTo>
                        <a:pt x="128" y="317"/>
                      </a:lnTo>
                      <a:lnTo>
                        <a:pt x="127" y="317"/>
                      </a:lnTo>
                      <a:lnTo>
                        <a:pt x="127" y="319"/>
                      </a:lnTo>
                      <a:lnTo>
                        <a:pt x="125" y="319"/>
                      </a:lnTo>
                      <a:lnTo>
                        <a:pt x="125" y="317"/>
                      </a:lnTo>
                      <a:lnTo>
                        <a:pt x="125" y="319"/>
                      </a:lnTo>
                      <a:lnTo>
                        <a:pt x="123" y="319"/>
                      </a:lnTo>
                      <a:lnTo>
                        <a:pt x="123" y="317"/>
                      </a:lnTo>
                      <a:lnTo>
                        <a:pt x="123" y="315"/>
                      </a:lnTo>
                      <a:lnTo>
                        <a:pt x="122" y="315"/>
                      </a:lnTo>
                      <a:lnTo>
                        <a:pt x="122" y="314"/>
                      </a:lnTo>
                      <a:lnTo>
                        <a:pt x="120" y="315"/>
                      </a:lnTo>
                      <a:lnTo>
                        <a:pt x="122" y="315"/>
                      </a:lnTo>
                      <a:lnTo>
                        <a:pt x="120" y="315"/>
                      </a:lnTo>
                      <a:lnTo>
                        <a:pt x="118" y="315"/>
                      </a:lnTo>
                      <a:lnTo>
                        <a:pt x="118" y="314"/>
                      </a:lnTo>
                      <a:lnTo>
                        <a:pt x="118" y="315"/>
                      </a:lnTo>
                      <a:lnTo>
                        <a:pt x="118" y="314"/>
                      </a:lnTo>
                      <a:lnTo>
                        <a:pt x="118" y="312"/>
                      </a:lnTo>
                      <a:lnTo>
                        <a:pt x="117" y="312"/>
                      </a:lnTo>
                      <a:lnTo>
                        <a:pt x="118" y="310"/>
                      </a:lnTo>
                      <a:lnTo>
                        <a:pt x="117" y="310"/>
                      </a:lnTo>
                      <a:lnTo>
                        <a:pt x="117" y="309"/>
                      </a:lnTo>
                      <a:lnTo>
                        <a:pt x="115" y="309"/>
                      </a:lnTo>
                      <a:lnTo>
                        <a:pt x="113" y="309"/>
                      </a:lnTo>
                      <a:lnTo>
                        <a:pt x="113" y="307"/>
                      </a:lnTo>
                      <a:lnTo>
                        <a:pt x="113" y="305"/>
                      </a:lnTo>
                      <a:lnTo>
                        <a:pt x="111" y="305"/>
                      </a:lnTo>
                      <a:lnTo>
                        <a:pt x="111" y="304"/>
                      </a:lnTo>
                      <a:lnTo>
                        <a:pt x="111" y="305"/>
                      </a:lnTo>
                      <a:lnTo>
                        <a:pt x="110" y="305"/>
                      </a:lnTo>
                      <a:lnTo>
                        <a:pt x="108" y="305"/>
                      </a:lnTo>
                      <a:lnTo>
                        <a:pt x="108" y="304"/>
                      </a:lnTo>
                      <a:lnTo>
                        <a:pt x="106" y="302"/>
                      </a:lnTo>
                      <a:lnTo>
                        <a:pt x="105" y="302"/>
                      </a:lnTo>
                      <a:lnTo>
                        <a:pt x="103" y="302"/>
                      </a:lnTo>
                      <a:lnTo>
                        <a:pt x="103" y="301"/>
                      </a:lnTo>
                      <a:lnTo>
                        <a:pt x="105" y="301"/>
                      </a:lnTo>
                      <a:lnTo>
                        <a:pt x="105" y="299"/>
                      </a:lnTo>
                      <a:lnTo>
                        <a:pt x="105" y="297"/>
                      </a:lnTo>
                      <a:lnTo>
                        <a:pt x="103" y="297"/>
                      </a:lnTo>
                      <a:lnTo>
                        <a:pt x="103" y="299"/>
                      </a:lnTo>
                      <a:lnTo>
                        <a:pt x="101" y="297"/>
                      </a:lnTo>
                      <a:lnTo>
                        <a:pt x="101" y="296"/>
                      </a:lnTo>
                      <a:lnTo>
                        <a:pt x="100" y="296"/>
                      </a:lnTo>
                      <a:lnTo>
                        <a:pt x="98" y="296"/>
                      </a:lnTo>
                      <a:lnTo>
                        <a:pt x="98" y="297"/>
                      </a:lnTo>
                      <a:lnTo>
                        <a:pt x="96" y="297"/>
                      </a:lnTo>
                      <a:lnTo>
                        <a:pt x="96" y="296"/>
                      </a:lnTo>
                      <a:lnTo>
                        <a:pt x="98" y="296"/>
                      </a:lnTo>
                      <a:lnTo>
                        <a:pt x="98" y="294"/>
                      </a:lnTo>
                      <a:lnTo>
                        <a:pt x="96" y="294"/>
                      </a:lnTo>
                      <a:lnTo>
                        <a:pt x="95" y="292"/>
                      </a:lnTo>
                      <a:lnTo>
                        <a:pt x="96" y="292"/>
                      </a:lnTo>
                      <a:lnTo>
                        <a:pt x="95" y="291"/>
                      </a:lnTo>
                      <a:lnTo>
                        <a:pt x="95" y="289"/>
                      </a:lnTo>
                      <a:lnTo>
                        <a:pt x="93" y="289"/>
                      </a:lnTo>
                      <a:lnTo>
                        <a:pt x="91" y="289"/>
                      </a:lnTo>
                      <a:lnTo>
                        <a:pt x="93" y="289"/>
                      </a:lnTo>
                      <a:lnTo>
                        <a:pt x="95" y="289"/>
                      </a:lnTo>
                      <a:lnTo>
                        <a:pt x="95" y="287"/>
                      </a:lnTo>
                      <a:lnTo>
                        <a:pt x="93" y="289"/>
                      </a:lnTo>
                      <a:lnTo>
                        <a:pt x="93" y="287"/>
                      </a:lnTo>
                      <a:lnTo>
                        <a:pt x="91" y="287"/>
                      </a:lnTo>
                      <a:lnTo>
                        <a:pt x="89" y="287"/>
                      </a:lnTo>
                      <a:lnTo>
                        <a:pt x="88" y="287"/>
                      </a:lnTo>
                      <a:lnTo>
                        <a:pt x="88" y="286"/>
                      </a:lnTo>
                      <a:lnTo>
                        <a:pt x="86" y="284"/>
                      </a:lnTo>
                      <a:lnTo>
                        <a:pt x="84" y="284"/>
                      </a:lnTo>
                      <a:lnTo>
                        <a:pt x="83" y="284"/>
                      </a:lnTo>
                      <a:lnTo>
                        <a:pt x="81" y="284"/>
                      </a:lnTo>
                      <a:lnTo>
                        <a:pt x="81" y="283"/>
                      </a:lnTo>
                      <a:lnTo>
                        <a:pt x="81" y="281"/>
                      </a:lnTo>
                      <a:lnTo>
                        <a:pt x="79" y="281"/>
                      </a:lnTo>
                      <a:lnTo>
                        <a:pt x="79" y="279"/>
                      </a:lnTo>
                      <a:lnTo>
                        <a:pt x="78" y="279"/>
                      </a:lnTo>
                      <a:lnTo>
                        <a:pt x="78" y="278"/>
                      </a:lnTo>
                      <a:lnTo>
                        <a:pt x="76" y="278"/>
                      </a:lnTo>
                      <a:lnTo>
                        <a:pt x="74" y="278"/>
                      </a:lnTo>
                      <a:lnTo>
                        <a:pt x="73" y="278"/>
                      </a:lnTo>
                      <a:lnTo>
                        <a:pt x="71" y="278"/>
                      </a:lnTo>
                      <a:lnTo>
                        <a:pt x="71" y="279"/>
                      </a:lnTo>
                      <a:lnTo>
                        <a:pt x="69" y="279"/>
                      </a:lnTo>
                      <a:lnTo>
                        <a:pt x="69" y="278"/>
                      </a:lnTo>
                      <a:lnTo>
                        <a:pt x="68" y="278"/>
                      </a:lnTo>
                      <a:lnTo>
                        <a:pt x="66" y="278"/>
                      </a:lnTo>
                      <a:lnTo>
                        <a:pt x="64" y="279"/>
                      </a:lnTo>
                      <a:lnTo>
                        <a:pt x="64" y="278"/>
                      </a:lnTo>
                      <a:lnTo>
                        <a:pt x="62" y="278"/>
                      </a:lnTo>
                      <a:lnTo>
                        <a:pt x="61" y="278"/>
                      </a:lnTo>
                      <a:lnTo>
                        <a:pt x="59" y="278"/>
                      </a:lnTo>
                      <a:lnTo>
                        <a:pt x="57" y="278"/>
                      </a:lnTo>
                      <a:lnTo>
                        <a:pt x="57" y="279"/>
                      </a:lnTo>
                      <a:lnTo>
                        <a:pt x="56" y="279"/>
                      </a:lnTo>
                      <a:lnTo>
                        <a:pt x="56" y="278"/>
                      </a:lnTo>
                      <a:lnTo>
                        <a:pt x="54" y="279"/>
                      </a:lnTo>
                      <a:lnTo>
                        <a:pt x="54" y="278"/>
                      </a:lnTo>
                      <a:lnTo>
                        <a:pt x="52" y="278"/>
                      </a:lnTo>
                      <a:lnTo>
                        <a:pt x="52" y="279"/>
                      </a:lnTo>
                      <a:lnTo>
                        <a:pt x="52" y="281"/>
                      </a:lnTo>
                      <a:lnTo>
                        <a:pt x="52" y="279"/>
                      </a:lnTo>
                      <a:lnTo>
                        <a:pt x="51" y="279"/>
                      </a:lnTo>
                      <a:lnTo>
                        <a:pt x="49" y="279"/>
                      </a:lnTo>
                      <a:lnTo>
                        <a:pt x="49" y="281"/>
                      </a:lnTo>
                      <a:lnTo>
                        <a:pt x="51" y="281"/>
                      </a:lnTo>
                      <a:lnTo>
                        <a:pt x="51" y="283"/>
                      </a:lnTo>
                      <a:lnTo>
                        <a:pt x="49" y="283"/>
                      </a:lnTo>
                      <a:lnTo>
                        <a:pt x="47" y="284"/>
                      </a:lnTo>
                      <a:lnTo>
                        <a:pt x="47" y="286"/>
                      </a:lnTo>
                      <a:lnTo>
                        <a:pt x="46" y="286"/>
                      </a:lnTo>
                      <a:lnTo>
                        <a:pt x="46" y="287"/>
                      </a:lnTo>
                      <a:lnTo>
                        <a:pt x="44" y="287"/>
                      </a:lnTo>
                      <a:lnTo>
                        <a:pt x="46" y="287"/>
                      </a:lnTo>
                      <a:lnTo>
                        <a:pt x="44" y="287"/>
                      </a:lnTo>
                      <a:lnTo>
                        <a:pt x="44" y="289"/>
                      </a:lnTo>
                      <a:lnTo>
                        <a:pt x="46" y="289"/>
                      </a:lnTo>
                      <a:lnTo>
                        <a:pt x="44" y="289"/>
                      </a:lnTo>
                      <a:lnTo>
                        <a:pt x="46" y="289"/>
                      </a:lnTo>
                      <a:lnTo>
                        <a:pt x="46" y="291"/>
                      </a:lnTo>
                      <a:lnTo>
                        <a:pt x="46" y="292"/>
                      </a:lnTo>
                      <a:lnTo>
                        <a:pt x="44" y="291"/>
                      </a:lnTo>
                      <a:lnTo>
                        <a:pt x="44" y="292"/>
                      </a:lnTo>
                      <a:lnTo>
                        <a:pt x="42" y="292"/>
                      </a:lnTo>
                      <a:lnTo>
                        <a:pt x="42" y="294"/>
                      </a:lnTo>
                      <a:lnTo>
                        <a:pt x="41" y="296"/>
                      </a:lnTo>
                      <a:lnTo>
                        <a:pt x="39" y="296"/>
                      </a:lnTo>
                      <a:lnTo>
                        <a:pt x="37" y="296"/>
                      </a:lnTo>
                      <a:lnTo>
                        <a:pt x="35" y="296"/>
                      </a:lnTo>
                      <a:lnTo>
                        <a:pt x="37" y="294"/>
                      </a:lnTo>
                      <a:lnTo>
                        <a:pt x="35" y="294"/>
                      </a:lnTo>
                      <a:lnTo>
                        <a:pt x="35" y="296"/>
                      </a:lnTo>
                      <a:lnTo>
                        <a:pt x="34" y="296"/>
                      </a:lnTo>
                      <a:lnTo>
                        <a:pt x="32" y="296"/>
                      </a:lnTo>
                      <a:lnTo>
                        <a:pt x="32" y="294"/>
                      </a:lnTo>
                      <a:lnTo>
                        <a:pt x="32" y="292"/>
                      </a:lnTo>
                      <a:lnTo>
                        <a:pt x="30" y="292"/>
                      </a:lnTo>
                      <a:lnTo>
                        <a:pt x="30" y="294"/>
                      </a:lnTo>
                      <a:lnTo>
                        <a:pt x="29" y="294"/>
                      </a:lnTo>
                      <a:lnTo>
                        <a:pt x="27" y="294"/>
                      </a:lnTo>
                      <a:lnTo>
                        <a:pt x="27" y="296"/>
                      </a:lnTo>
                      <a:lnTo>
                        <a:pt x="27" y="294"/>
                      </a:lnTo>
                      <a:lnTo>
                        <a:pt x="25" y="294"/>
                      </a:lnTo>
                      <a:lnTo>
                        <a:pt x="24" y="296"/>
                      </a:lnTo>
                      <a:lnTo>
                        <a:pt x="24" y="297"/>
                      </a:lnTo>
                      <a:lnTo>
                        <a:pt x="22" y="297"/>
                      </a:lnTo>
                      <a:lnTo>
                        <a:pt x="20" y="297"/>
                      </a:lnTo>
                      <a:lnTo>
                        <a:pt x="20" y="296"/>
                      </a:lnTo>
                      <a:lnTo>
                        <a:pt x="22" y="296"/>
                      </a:lnTo>
                      <a:lnTo>
                        <a:pt x="20" y="296"/>
                      </a:lnTo>
                      <a:lnTo>
                        <a:pt x="20" y="294"/>
                      </a:lnTo>
                      <a:lnTo>
                        <a:pt x="19" y="294"/>
                      </a:lnTo>
                      <a:lnTo>
                        <a:pt x="17" y="294"/>
                      </a:lnTo>
                      <a:lnTo>
                        <a:pt x="15" y="294"/>
                      </a:lnTo>
                      <a:lnTo>
                        <a:pt x="13" y="294"/>
                      </a:lnTo>
                      <a:lnTo>
                        <a:pt x="13" y="296"/>
                      </a:lnTo>
                      <a:lnTo>
                        <a:pt x="12" y="296"/>
                      </a:lnTo>
                      <a:lnTo>
                        <a:pt x="10" y="296"/>
                      </a:lnTo>
                      <a:lnTo>
                        <a:pt x="8" y="294"/>
                      </a:lnTo>
                      <a:lnTo>
                        <a:pt x="7" y="294"/>
                      </a:lnTo>
                      <a:lnTo>
                        <a:pt x="7" y="292"/>
                      </a:lnTo>
                      <a:lnTo>
                        <a:pt x="7" y="291"/>
                      </a:lnTo>
                      <a:lnTo>
                        <a:pt x="8" y="289"/>
                      </a:lnTo>
                      <a:lnTo>
                        <a:pt x="7" y="289"/>
                      </a:lnTo>
                      <a:lnTo>
                        <a:pt x="3" y="286"/>
                      </a:lnTo>
                      <a:lnTo>
                        <a:pt x="2" y="286"/>
                      </a:lnTo>
                      <a:lnTo>
                        <a:pt x="0" y="287"/>
                      </a:lnTo>
                      <a:lnTo>
                        <a:pt x="0" y="286"/>
                      </a:lnTo>
                      <a:lnTo>
                        <a:pt x="2" y="286"/>
                      </a:lnTo>
                      <a:lnTo>
                        <a:pt x="3" y="286"/>
                      </a:lnTo>
                      <a:lnTo>
                        <a:pt x="7" y="286"/>
                      </a:lnTo>
                      <a:lnTo>
                        <a:pt x="7" y="284"/>
                      </a:lnTo>
                      <a:lnTo>
                        <a:pt x="8" y="284"/>
                      </a:lnTo>
                      <a:lnTo>
                        <a:pt x="10" y="284"/>
                      </a:lnTo>
                      <a:lnTo>
                        <a:pt x="13" y="281"/>
                      </a:lnTo>
                      <a:lnTo>
                        <a:pt x="15" y="281"/>
                      </a:lnTo>
                      <a:lnTo>
                        <a:pt x="17" y="279"/>
                      </a:lnTo>
                      <a:lnTo>
                        <a:pt x="17" y="278"/>
                      </a:lnTo>
                      <a:lnTo>
                        <a:pt x="19" y="276"/>
                      </a:lnTo>
                      <a:lnTo>
                        <a:pt x="19" y="274"/>
                      </a:lnTo>
                      <a:lnTo>
                        <a:pt x="22" y="271"/>
                      </a:lnTo>
                      <a:lnTo>
                        <a:pt x="24" y="271"/>
                      </a:lnTo>
                      <a:lnTo>
                        <a:pt x="27" y="269"/>
                      </a:lnTo>
                      <a:lnTo>
                        <a:pt x="29" y="268"/>
                      </a:lnTo>
                      <a:lnTo>
                        <a:pt x="29" y="266"/>
                      </a:lnTo>
                      <a:lnTo>
                        <a:pt x="30" y="264"/>
                      </a:lnTo>
                      <a:lnTo>
                        <a:pt x="30" y="263"/>
                      </a:lnTo>
                      <a:lnTo>
                        <a:pt x="30" y="261"/>
                      </a:lnTo>
                      <a:lnTo>
                        <a:pt x="29" y="260"/>
                      </a:lnTo>
                      <a:lnTo>
                        <a:pt x="29" y="258"/>
                      </a:lnTo>
                      <a:lnTo>
                        <a:pt x="30" y="256"/>
                      </a:lnTo>
                      <a:lnTo>
                        <a:pt x="32" y="253"/>
                      </a:lnTo>
                      <a:lnTo>
                        <a:pt x="34" y="253"/>
                      </a:lnTo>
                      <a:lnTo>
                        <a:pt x="35" y="251"/>
                      </a:lnTo>
                      <a:lnTo>
                        <a:pt x="37" y="250"/>
                      </a:lnTo>
                      <a:lnTo>
                        <a:pt x="39" y="248"/>
                      </a:lnTo>
                      <a:lnTo>
                        <a:pt x="42" y="248"/>
                      </a:lnTo>
                      <a:lnTo>
                        <a:pt x="44" y="250"/>
                      </a:lnTo>
                      <a:lnTo>
                        <a:pt x="49" y="248"/>
                      </a:lnTo>
                      <a:lnTo>
                        <a:pt x="51" y="246"/>
                      </a:lnTo>
                      <a:lnTo>
                        <a:pt x="56" y="241"/>
                      </a:lnTo>
                      <a:lnTo>
                        <a:pt x="57" y="241"/>
                      </a:lnTo>
                      <a:lnTo>
                        <a:pt x="57" y="240"/>
                      </a:lnTo>
                      <a:lnTo>
                        <a:pt x="59" y="240"/>
                      </a:lnTo>
                      <a:lnTo>
                        <a:pt x="59" y="238"/>
                      </a:lnTo>
                      <a:lnTo>
                        <a:pt x="59" y="237"/>
                      </a:lnTo>
                      <a:lnTo>
                        <a:pt x="61" y="237"/>
                      </a:lnTo>
                      <a:lnTo>
                        <a:pt x="62" y="237"/>
                      </a:lnTo>
                      <a:lnTo>
                        <a:pt x="64" y="237"/>
                      </a:lnTo>
                      <a:lnTo>
                        <a:pt x="64" y="235"/>
                      </a:lnTo>
                      <a:lnTo>
                        <a:pt x="62" y="233"/>
                      </a:lnTo>
                      <a:lnTo>
                        <a:pt x="64" y="232"/>
                      </a:lnTo>
                      <a:lnTo>
                        <a:pt x="64" y="230"/>
                      </a:lnTo>
                      <a:lnTo>
                        <a:pt x="66" y="230"/>
                      </a:lnTo>
                      <a:lnTo>
                        <a:pt x="68" y="228"/>
                      </a:lnTo>
                      <a:lnTo>
                        <a:pt x="69" y="227"/>
                      </a:lnTo>
                      <a:lnTo>
                        <a:pt x="71" y="225"/>
                      </a:lnTo>
                      <a:lnTo>
                        <a:pt x="73" y="225"/>
                      </a:lnTo>
                      <a:lnTo>
                        <a:pt x="73" y="223"/>
                      </a:lnTo>
                      <a:lnTo>
                        <a:pt x="76" y="223"/>
                      </a:lnTo>
                      <a:lnTo>
                        <a:pt x="78" y="222"/>
                      </a:lnTo>
                      <a:lnTo>
                        <a:pt x="78" y="220"/>
                      </a:lnTo>
                      <a:lnTo>
                        <a:pt x="79" y="220"/>
                      </a:lnTo>
                      <a:lnTo>
                        <a:pt x="79" y="218"/>
                      </a:lnTo>
                      <a:lnTo>
                        <a:pt x="81" y="217"/>
                      </a:lnTo>
                      <a:lnTo>
                        <a:pt x="81" y="215"/>
                      </a:lnTo>
                      <a:lnTo>
                        <a:pt x="81" y="214"/>
                      </a:lnTo>
                      <a:lnTo>
                        <a:pt x="83" y="212"/>
                      </a:lnTo>
                      <a:lnTo>
                        <a:pt x="83" y="210"/>
                      </a:lnTo>
                      <a:lnTo>
                        <a:pt x="84" y="210"/>
                      </a:lnTo>
                      <a:lnTo>
                        <a:pt x="88" y="210"/>
                      </a:lnTo>
                      <a:lnTo>
                        <a:pt x="89" y="209"/>
                      </a:lnTo>
                      <a:lnTo>
                        <a:pt x="89" y="207"/>
                      </a:lnTo>
                      <a:lnTo>
                        <a:pt x="91" y="205"/>
                      </a:lnTo>
                      <a:lnTo>
                        <a:pt x="93" y="202"/>
                      </a:lnTo>
                      <a:lnTo>
                        <a:pt x="95" y="200"/>
                      </a:lnTo>
                      <a:lnTo>
                        <a:pt x="93" y="199"/>
                      </a:lnTo>
                      <a:lnTo>
                        <a:pt x="93" y="197"/>
                      </a:lnTo>
                      <a:lnTo>
                        <a:pt x="95" y="195"/>
                      </a:lnTo>
                      <a:lnTo>
                        <a:pt x="96" y="194"/>
                      </a:lnTo>
                      <a:lnTo>
                        <a:pt x="98" y="192"/>
                      </a:lnTo>
                      <a:lnTo>
                        <a:pt x="98" y="191"/>
                      </a:lnTo>
                      <a:lnTo>
                        <a:pt x="100" y="189"/>
                      </a:lnTo>
                      <a:lnTo>
                        <a:pt x="100" y="187"/>
                      </a:lnTo>
                      <a:lnTo>
                        <a:pt x="101" y="187"/>
                      </a:lnTo>
                      <a:lnTo>
                        <a:pt x="103" y="187"/>
                      </a:lnTo>
                      <a:lnTo>
                        <a:pt x="105" y="187"/>
                      </a:lnTo>
                      <a:lnTo>
                        <a:pt x="106" y="186"/>
                      </a:lnTo>
                      <a:lnTo>
                        <a:pt x="115" y="184"/>
                      </a:lnTo>
                      <a:lnTo>
                        <a:pt x="117" y="184"/>
                      </a:lnTo>
                      <a:lnTo>
                        <a:pt x="117" y="182"/>
                      </a:lnTo>
                      <a:lnTo>
                        <a:pt x="117" y="181"/>
                      </a:lnTo>
                      <a:lnTo>
                        <a:pt x="118" y="179"/>
                      </a:lnTo>
                      <a:lnTo>
                        <a:pt x="117" y="177"/>
                      </a:lnTo>
                      <a:lnTo>
                        <a:pt x="117" y="176"/>
                      </a:lnTo>
                      <a:lnTo>
                        <a:pt x="117" y="174"/>
                      </a:lnTo>
                      <a:lnTo>
                        <a:pt x="118" y="172"/>
                      </a:lnTo>
                      <a:lnTo>
                        <a:pt x="120" y="172"/>
                      </a:lnTo>
                      <a:lnTo>
                        <a:pt x="122" y="172"/>
                      </a:lnTo>
                      <a:lnTo>
                        <a:pt x="122" y="171"/>
                      </a:lnTo>
                      <a:lnTo>
                        <a:pt x="123" y="171"/>
                      </a:lnTo>
                      <a:lnTo>
                        <a:pt x="125" y="169"/>
                      </a:lnTo>
                      <a:lnTo>
                        <a:pt x="127" y="168"/>
                      </a:lnTo>
                      <a:lnTo>
                        <a:pt x="127" y="166"/>
                      </a:lnTo>
                      <a:lnTo>
                        <a:pt x="127" y="164"/>
                      </a:lnTo>
                      <a:lnTo>
                        <a:pt x="127" y="161"/>
                      </a:lnTo>
                      <a:lnTo>
                        <a:pt x="127" y="159"/>
                      </a:lnTo>
                      <a:lnTo>
                        <a:pt x="127" y="158"/>
                      </a:lnTo>
                      <a:lnTo>
                        <a:pt x="128" y="158"/>
                      </a:lnTo>
                      <a:lnTo>
                        <a:pt x="130" y="156"/>
                      </a:lnTo>
                      <a:lnTo>
                        <a:pt x="132" y="156"/>
                      </a:lnTo>
                      <a:lnTo>
                        <a:pt x="133" y="156"/>
                      </a:lnTo>
                      <a:lnTo>
                        <a:pt x="135" y="156"/>
                      </a:lnTo>
                      <a:lnTo>
                        <a:pt x="137" y="156"/>
                      </a:lnTo>
                      <a:lnTo>
                        <a:pt x="138" y="156"/>
                      </a:lnTo>
                      <a:lnTo>
                        <a:pt x="138" y="154"/>
                      </a:lnTo>
                      <a:lnTo>
                        <a:pt x="140" y="154"/>
                      </a:lnTo>
                      <a:lnTo>
                        <a:pt x="140" y="153"/>
                      </a:lnTo>
                      <a:lnTo>
                        <a:pt x="142" y="151"/>
                      </a:lnTo>
                      <a:lnTo>
                        <a:pt x="142" y="149"/>
                      </a:lnTo>
                      <a:lnTo>
                        <a:pt x="144" y="148"/>
                      </a:lnTo>
                      <a:lnTo>
                        <a:pt x="145" y="148"/>
                      </a:lnTo>
                      <a:lnTo>
                        <a:pt x="147" y="145"/>
                      </a:lnTo>
                      <a:lnTo>
                        <a:pt x="149" y="143"/>
                      </a:lnTo>
                      <a:lnTo>
                        <a:pt x="150" y="143"/>
                      </a:lnTo>
                      <a:lnTo>
                        <a:pt x="152" y="143"/>
                      </a:lnTo>
                      <a:lnTo>
                        <a:pt x="154" y="141"/>
                      </a:lnTo>
                      <a:lnTo>
                        <a:pt x="155" y="141"/>
                      </a:lnTo>
                      <a:lnTo>
                        <a:pt x="155" y="140"/>
                      </a:lnTo>
                      <a:lnTo>
                        <a:pt x="155" y="138"/>
                      </a:lnTo>
                      <a:lnTo>
                        <a:pt x="154" y="136"/>
                      </a:lnTo>
                      <a:lnTo>
                        <a:pt x="154" y="135"/>
                      </a:lnTo>
                      <a:lnTo>
                        <a:pt x="152" y="135"/>
                      </a:lnTo>
                      <a:lnTo>
                        <a:pt x="154" y="133"/>
                      </a:lnTo>
                      <a:lnTo>
                        <a:pt x="154" y="131"/>
                      </a:lnTo>
                      <a:lnTo>
                        <a:pt x="155" y="131"/>
                      </a:lnTo>
                      <a:lnTo>
                        <a:pt x="157" y="130"/>
                      </a:lnTo>
                      <a:lnTo>
                        <a:pt x="160" y="130"/>
                      </a:lnTo>
                      <a:lnTo>
                        <a:pt x="164" y="130"/>
                      </a:lnTo>
                      <a:lnTo>
                        <a:pt x="165" y="130"/>
                      </a:lnTo>
                      <a:lnTo>
                        <a:pt x="167" y="128"/>
                      </a:lnTo>
                      <a:lnTo>
                        <a:pt x="167" y="126"/>
                      </a:lnTo>
                      <a:lnTo>
                        <a:pt x="165" y="126"/>
                      </a:lnTo>
                      <a:lnTo>
                        <a:pt x="165" y="125"/>
                      </a:lnTo>
                      <a:lnTo>
                        <a:pt x="165" y="123"/>
                      </a:lnTo>
                      <a:lnTo>
                        <a:pt x="164" y="123"/>
                      </a:lnTo>
                      <a:lnTo>
                        <a:pt x="165" y="122"/>
                      </a:lnTo>
                      <a:lnTo>
                        <a:pt x="165" y="120"/>
                      </a:lnTo>
                      <a:lnTo>
                        <a:pt x="167" y="118"/>
                      </a:lnTo>
                      <a:lnTo>
                        <a:pt x="169" y="118"/>
                      </a:lnTo>
                      <a:lnTo>
                        <a:pt x="171" y="118"/>
                      </a:lnTo>
                      <a:lnTo>
                        <a:pt x="172" y="118"/>
                      </a:lnTo>
                      <a:lnTo>
                        <a:pt x="174" y="118"/>
                      </a:lnTo>
                      <a:lnTo>
                        <a:pt x="177" y="118"/>
                      </a:lnTo>
                      <a:lnTo>
                        <a:pt x="179" y="118"/>
                      </a:lnTo>
                      <a:lnTo>
                        <a:pt x="179" y="120"/>
                      </a:lnTo>
                      <a:lnTo>
                        <a:pt x="181" y="120"/>
                      </a:lnTo>
                      <a:lnTo>
                        <a:pt x="181" y="122"/>
                      </a:lnTo>
                      <a:lnTo>
                        <a:pt x="182" y="123"/>
                      </a:lnTo>
                      <a:lnTo>
                        <a:pt x="182" y="125"/>
                      </a:lnTo>
                      <a:lnTo>
                        <a:pt x="184" y="125"/>
                      </a:lnTo>
                      <a:lnTo>
                        <a:pt x="184" y="123"/>
                      </a:lnTo>
                      <a:lnTo>
                        <a:pt x="184" y="122"/>
                      </a:lnTo>
                      <a:lnTo>
                        <a:pt x="184" y="120"/>
                      </a:lnTo>
                      <a:lnTo>
                        <a:pt x="186" y="118"/>
                      </a:lnTo>
                      <a:lnTo>
                        <a:pt x="186" y="117"/>
                      </a:lnTo>
                      <a:lnTo>
                        <a:pt x="187" y="117"/>
                      </a:lnTo>
                      <a:lnTo>
                        <a:pt x="187" y="115"/>
                      </a:lnTo>
                      <a:lnTo>
                        <a:pt x="186" y="115"/>
                      </a:lnTo>
                      <a:lnTo>
                        <a:pt x="186" y="113"/>
                      </a:lnTo>
                      <a:lnTo>
                        <a:pt x="184" y="113"/>
                      </a:lnTo>
                      <a:lnTo>
                        <a:pt x="182" y="112"/>
                      </a:lnTo>
                      <a:lnTo>
                        <a:pt x="181" y="112"/>
                      </a:lnTo>
                      <a:lnTo>
                        <a:pt x="179" y="110"/>
                      </a:lnTo>
                      <a:lnTo>
                        <a:pt x="177" y="110"/>
                      </a:lnTo>
                      <a:lnTo>
                        <a:pt x="176" y="108"/>
                      </a:lnTo>
                      <a:lnTo>
                        <a:pt x="177" y="107"/>
                      </a:lnTo>
                      <a:lnTo>
                        <a:pt x="179" y="107"/>
                      </a:lnTo>
                      <a:lnTo>
                        <a:pt x="181" y="105"/>
                      </a:lnTo>
                      <a:lnTo>
                        <a:pt x="182" y="105"/>
                      </a:lnTo>
                      <a:lnTo>
                        <a:pt x="184" y="105"/>
                      </a:lnTo>
                      <a:lnTo>
                        <a:pt x="186" y="103"/>
                      </a:lnTo>
                      <a:lnTo>
                        <a:pt x="187" y="103"/>
                      </a:lnTo>
                      <a:lnTo>
                        <a:pt x="187" y="102"/>
                      </a:lnTo>
                      <a:lnTo>
                        <a:pt x="189" y="102"/>
                      </a:lnTo>
                      <a:lnTo>
                        <a:pt x="191" y="100"/>
                      </a:lnTo>
                      <a:lnTo>
                        <a:pt x="191" y="99"/>
                      </a:lnTo>
                      <a:lnTo>
                        <a:pt x="191" y="97"/>
                      </a:lnTo>
                      <a:lnTo>
                        <a:pt x="193" y="95"/>
                      </a:lnTo>
                      <a:lnTo>
                        <a:pt x="194" y="95"/>
                      </a:lnTo>
                      <a:lnTo>
                        <a:pt x="194" y="97"/>
                      </a:lnTo>
                      <a:lnTo>
                        <a:pt x="194" y="99"/>
                      </a:lnTo>
                      <a:lnTo>
                        <a:pt x="196" y="99"/>
                      </a:lnTo>
                      <a:lnTo>
                        <a:pt x="196" y="100"/>
                      </a:lnTo>
                      <a:lnTo>
                        <a:pt x="198" y="100"/>
                      </a:lnTo>
                      <a:lnTo>
                        <a:pt x="198" y="99"/>
                      </a:lnTo>
                      <a:lnTo>
                        <a:pt x="198" y="97"/>
                      </a:lnTo>
                      <a:lnTo>
                        <a:pt x="199" y="97"/>
                      </a:lnTo>
                      <a:lnTo>
                        <a:pt x="199" y="95"/>
                      </a:lnTo>
                      <a:lnTo>
                        <a:pt x="201" y="95"/>
                      </a:lnTo>
                      <a:lnTo>
                        <a:pt x="203" y="94"/>
                      </a:lnTo>
                      <a:lnTo>
                        <a:pt x="203" y="92"/>
                      </a:lnTo>
                      <a:lnTo>
                        <a:pt x="204" y="92"/>
                      </a:lnTo>
                      <a:lnTo>
                        <a:pt x="206" y="92"/>
                      </a:lnTo>
                      <a:lnTo>
                        <a:pt x="206" y="94"/>
                      </a:lnTo>
                      <a:lnTo>
                        <a:pt x="208" y="94"/>
                      </a:lnTo>
                      <a:lnTo>
                        <a:pt x="209" y="92"/>
                      </a:lnTo>
                      <a:lnTo>
                        <a:pt x="209" y="90"/>
                      </a:lnTo>
                      <a:lnTo>
                        <a:pt x="211" y="90"/>
                      </a:lnTo>
                      <a:lnTo>
                        <a:pt x="213" y="89"/>
                      </a:lnTo>
                      <a:lnTo>
                        <a:pt x="214" y="89"/>
                      </a:lnTo>
                      <a:lnTo>
                        <a:pt x="214" y="87"/>
                      </a:lnTo>
                      <a:lnTo>
                        <a:pt x="214" y="85"/>
                      </a:lnTo>
                      <a:lnTo>
                        <a:pt x="214" y="84"/>
                      </a:lnTo>
                      <a:lnTo>
                        <a:pt x="213" y="84"/>
                      </a:lnTo>
                      <a:lnTo>
                        <a:pt x="214" y="84"/>
                      </a:lnTo>
                      <a:lnTo>
                        <a:pt x="214" y="82"/>
                      </a:lnTo>
                      <a:lnTo>
                        <a:pt x="218" y="82"/>
                      </a:lnTo>
                      <a:lnTo>
                        <a:pt x="218" y="81"/>
                      </a:lnTo>
                      <a:lnTo>
                        <a:pt x="220" y="79"/>
                      </a:lnTo>
                      <a:lnTo>
                        <a:pt x="220" y="77"/>
                      </a:lnTo>
                      <a:lnTo>
                        <a:pt x="221" y="77"/>
                      </a:lnTo>
                      <a:lnTo>
                        <a:pt x="223" y="79"/>
                      </a:lnTo>
                      <a:lnTo>
                        <a:pt x="225" y="79"/>
                      </a:lnTo>
                      <a:lnTo>
                        <a:pt x="225" y="77"/>
                      </a:lnTo>
                      <a:lnTo>
                        <a:pt x="226" y="77"/>
                      </a:lnTo>
                      <a:lnTo>
                        <a:pt x="226" y="76"/>
                      </a:lnTo>
                      <a:lnTo>
                        <a:pt x="228" y="74"/>
                      </a:lnTo>
                      <a:lnTo>
                        <a:pt x="230" y="72"/>
                      </a:lnTo>
                      <a:lnTo>
                        <a:pt x="231" y="72"/>
                      </a:lnTo>
                      <a:lnTo>
                        <a:pt x="231" y="71"/>
                      </a:lnTo>
                      <a:lnTo>
                        <a:pt x="233" y="72"/>
                      </a:lnTo>
                      <a:lnTo>
                        <a:pt x="235" y="72"/>
                      </a:lnTo>
                      <a:lnTo>
                        <a:pt x="235" y="74"/>
                      </a:lnTo>
                      <a:lnTo>
                        <a:pt x="236" y="74"/>
                      </a:lnTo>
                      <a:lnTo>
                        <a:pt x="236" y="76"/>
                      </a:lnTo>
                      <a:lnTo>
                        <a:pt x="238" y="76"/>
                      </a:lnTo>
                      <a:lnTo>
                        <a:pt x="238" y="74"/>
                      </a:lnTo>
                      <a:lnTo>
                        <a:pt x="238" y="72"/>
                      </a:lnTo>
                      <a:lnTo>
                        <a:pt x="238" y="71"/>
                      </a:lnTo>
                      <a:lnTo>
                        <a:pt x="240" y="71"/>
                      </a:lnTo>
                      <a:lnTo>
                        <a:pt x="241" y="71"/>
                      </a:lnTo>
                      <a:lnTo>
                        <a:pt x="243" y="71"/>
                      </a:lnTo>
                      <a:lnTo>
                        <a:pt x="245" y="71"/>
                      </a:lnTo>
                      <a:lnTo>
                        <a:pt x="247" y="71"/>
                      </a:lnTo>
                      <a:lnTo>
                        <a:pt x="247" y="72"/>
                      </a:lnTo>
                      <a:lnTo>
                        <a:pt x="247" y="71"/>
                      </a:lnTo>
                      <a:lnTo>
                        <a:pt x="248" y="71"/>
                      </a:lnTo>
                      <a:lnTo>
                        <a:pt x="248" y="69"/>
                      </a:lnTo>
                      <a:lnTo>
                        <a:pt x="247" y="69"/>
                      </a:lnTo>
                      <a:lnTo>
                        <a:pt x="245" y="67"/>
                      </a:lnTo>
                      <a:lnTo>
                        <a:pt x="243" y="66"/>
                      </a:lnTo>
                      <a:lnTo>
                        <a:pt x="241" y="66"/>
                      </a:lnTo>
                      <a:lnTo>
                        <a:pt x="243" y="64"/>
                      </a:lnTo>
                      <a:lnTo>
                        <a:pt x="245" y="64"/>
                      </a:lnTo>
                      <a:lnTo>
                        <a:pt x="247" y="64"/>
                      </a:lnTo>
                      <a:lnTo>
                        <a:pt x="247" y="66"/>
                      </a:lnTo>
                      <a:lnTo>
                        <a:pt x="248" y="66"/>
                      </a:lnTo>
                      <a:lnTo>
                        <a:pt x="250" y="66"/>
                      </a:lnTo>
                      <a:lnTo>
                        <a:pt x="250" y="64"/>
                      </a:lnTo>
                      <a:lnTo>
                        <a:pt x="252" y="64"/>
                      </a:lnTo>
                      <a:lnTo>
                        <a:pt x="253" y="64"/>
                      </a:lnTo>
                      <a:lnTo>
                        <a:pt x="255" y="64"/>
                      </a:lnTo>
                      <a:lnTo>
                        <a:pt x="257" y="64"/>
                      </a:lnTo>
                      <a:lnTo>
                        <a:pt x="257" y="62"/>
                      </a:lnTo>
                      <a:lnTo>
                        <a:pt x="257" y="61"/>
                      </a:lnTo>
                      <a:lnTo>
                        <a:pt x="258" y="59"/>
                      </a:lnTo>
                      <a:lnTo>
                        <a:pt x="260" y="59"/>
                      </a:lnTo>
                      <a:lnTo>
                        <a:pt x="260" y="58"/>
                      </a:lnTo>
                      <a:lnTo>
                        <a:pt x="260" y="56"/>
                      </a:lnTo>
                      <a:lnTo>
                        <a:pt x="258" y="53"/>
                      </a:lnTo>
                      <a:lnTo>
                        <a:pt x="258" y="51"/>
                      </a:lnTo>
                      <a:lnTo>
                        <a:pt x="260" y="51"/>
                      </a:lnTo>
                      <a:lnTo>
                        <a:pt x="262" y="49"/>
                      </a:lnTo>
                      <a:lnTo>
                        <a:pt x="263" y="51"/>
                      </a:lnTo>
                      <a:lnTo>
                        <a:pt x="265" y="49"/>
                      </a:lnTo>
                      <a:lnTo>
                        <a:pt x="265" y="48"/>
                      </a:lnTo>
                      <a:lnTo>
                        <a:pt x="265" y="46"/>
                      </a:lnTo>
                      <a:lnTo>
                        <a:pt x="267" y="44"/>
                      </a:lnTo>
                      <a:lnTo>
                        <a:pt x="267" y="43"/>
                      </a:lnTo>
                      <a:lnTo>
                        <a:pt x="269" y="41"/>
                      </a:lnTo>
                      <a:lnTo>
                        <a:pt x="270" y="43"/>
                      </a:lnTo>
                      <a:lnTo>
                        <a:pt x="270" y="44"/>
                      </a:lnTo>
                      <a:lnTo>
                        <a:pt x="270" y="46"/>
                      </a:lnTo>
                      <a:lnTo>
                        <a:pt x="272" y="46"/>
                      </a:lnTo>
                      <a:lnTo>
                        <a:pt x="274" y="46"/>
                      </a:lnTo>
                      <a:lnTo>
                        <a:pt x="274" y="44"/>
                      </a:lnTo>
                      <a:lnTo>
                        <a:pt x="275" y="44"/>
                      </a:lnTo>
                      <a:lnTo>
                        <a:pt x="277" y="44"/>
                      </a:lnTo>
                      <a:lnTo>
                        <a:pt x="279" y="44"/>
                      </a:lnTo>
                      <a:lnTo>
                        <a:pt x="280" y="46"/>
                      </a:lnTo>
                      <a:lnTo>
                        <a:pt x="280" y="44"/>
                      </a:lnTo>
                      <a:lnTo>
                        <a:pt x="282" y="44"/>
                      </a:lnTo>
                      <a:lnTo>
                        <a:pt x="280" y="43"/>
                      </a:lnTo>
                      <a:lnTo>
                        <a:pt x="280" y="41"/>
                      </a:lnTo>
                      <a:lnTo>
                        <a:pt x="280" y="39"/>
                      </a:lnTo>
                      <a:lnTo>
                        <a:pt x="282" y="39"/>
                      </a:lnTo>
                      <a:lnTo>
                        <a:pt x="284" y="39"/>
                      </a:lnTo>
                      <a:lnTo>
                        <a:pt x="284" y="41"/>
                      </a:lnTo>
                      <a:lnTo>
                        <a:pt x="284" y="43"/>
                      </a:lnTo>
                      <a:lnTo>
                        <a:pt x="285" y="43"/>
                      </a:lnTo>
                      <a:lnTo>
                        <a:pt x="287" y="41"/>
                      </a:lnTo>
                      <a:lnTo>
                        <a:pt x="287" y="39"/>
                      </a:lnTo>
                      <a:lnTo>
                        <a:pt x="289" y="38"/>
                      </a:lnTo>
                      <a:lnTo>
                        <a:pt x="289" y="36"/>
                      </a:lnTo>
                      <a:lnTo>
                        <a:pt x="289" y="35"/>
                      </a:lnTo>
                      <a:lnTo>
                        <a:pt x="290" y="35"/>
                      </a:lnTo>
                      <a:lnTo>
                        <a:pt x="292" y="35"/>
                      </a:lnTo>
                      <a:lnTo>
                        <a:pt x="292" y="36"/>
                      </a:lnTo>
                      <a:lnTo>
                        <a:pt x="294" y="36"/>
                      </a:lnTo>
                      <a:lnTo>
                        <a:pt x="294" y="39"/>
                      </a:lnTo>
                      <a:lnTo>
                        <a:pt x="296" y="39"/>
                      </a:lnTo>
                      <a:lnTo>
                        <a:pt x="296" y="38"/>
                      </a:lnTo>
                      <a:lnTo>
                        <a:pt x="297" y="38"/>
                      </a:lnTo>
                      <a:lnTo>
                        <a:pt x="297" y="36"/>
                      </a:lnTo>
                      <a:lnTo>
                        <a:pt x="299" y="36"/>
                      </a:lnTo>
                      <a:lnTo>
                        <a:pt x="301" y="36"/>
                      </a:lnTo>
                      <a:lnTo>
                        <a:pt x="302" y="36"/>
                      </a:lnTo>
                      <a:lnTo>
                        <a:pt x="302" y="35"/>
                      </a:lnTo>
                      <a:lnTo>
                        <a:pt x="301" y="35"/>
                      </a:lnTo>
                      <a:lnTo>
                        <a:pt x="301" y="33"/>
                      </a:lnTo>
                      <a:lnTo>
                        <a:pt x="301" y="31"/>
                      </a:lnTo>
                      <a:lnTo>
                        <a:pt x="302" y="31"/>
                      </a:lnTo>
                      <a:lnTo>
                        <a:pt x="304" y="31"/>
                      </a:lnTo>
                      <a:lnTo>
                        <a:pt x="306" y="30"/>
                      </a:lnTo>
                      <a:lnTo>
                        <a:pt x="307" y="30"/>
                      </a:lnTo>
                      <a:lnTo>
                        <a:pt x="307" y="31"/>
                      </a:lnTo>
                      <a:lnTo>
                        <a:pt x="309" y="33"/>
                      </a:lnTo>
                      <a:lnTo>
                        <a:pt x="311" y="35"/>
                      </a:lnTo>
                      <a:lnTo>
                        <a:pt x="311" y="36"/>
                      </a:lnTo>
                      <a:lnTo>
                        <a:pt x="312" y="36"/>
                      </a:lnTo>
                      <a:lnTo>
                        <a:pt x="312" y="35"/>
                      </a:lnTo>
                      <a:lnTo>
                        <a:pt x="314" y="35"/>
                      </a:lnTo>
                      <a:lnTo>
                        <a:pt x="314" y="33"/>
                      </a:lnTo>
                      <a:lnTo>
                        <a:pt x="312" y="33"/>
                      </a:lnTo>
                      <a:lnTo>
                        <a:pt x="312" y="31"/>
                      </a:lnTo>
                      <a:lnTo>
                        <a:pt x="312" y="30"/>
                      </a:lnTo>
                      <a:lnTo>
                        <a:pt x="314" y="30"/>
                      </a:lnTo>
                      <a:lnTo>
                        <a:pt x="316" y="31"/>
                      </a:lnTo>
                      <a:lnTo>
                        <a:pt x="316" y="33"/>
                      </a:lnTo>
                      <a:lnTo>
                        <a:pt x="317" y="33"/>
                      </a:lnTo>
                      <a:lnTo>
                        <a:pt x="317" y="35"/>
                      </a:lnTo>
                      <a:lnTo>
                        <a:pt x="319" y="33"/>
                      </a:lnTo>
                      <a:lnTo>
                        <a:pt x="319" y="31"/>
                      </a:lnTo>
                      <a:lnTo>
                        <a:pt x="319" y="30"/>
                      </a:lnTo>
                      <a:lnTo>
                        <a:pt x="321" y="30"/>
                      </a:lnTo>
                      <a:lnTo>
                        <a:pt x="321" y="28"/>
                      </a:lnTo>
                      <a:lnTo>
                        <a:pt x="323" y="30"/>
                      </a:lnTo>
                      <a:lnTo>
                        <a:pt x="323" y="28"/>
                      </a:lnTo>
                      <a:lnTo>
                        <a:pt x="324" y="28"/>
                      </a:lnTo>
                      <a:lnTo>
                        <a:pt x="324" y="26"/>
                      </a:lnTo>
                      <a:lnTo>
                        <a:pt x="324" y="25"/>
                      </a:lnTo>
                      <a:lnTo>
                        <a:pt x="326" y="23"/>
                      </a:lnTo>
                      <a:lnTo>
                        <a:pt x="328" y="21"/>
                      </a:lnTo>
                      <a:lnTo>
                        <a:pt x="328" y="20"/>
                      </a:lnTo>
                      <a:lnTo>
                        <a:pt x="326" y="20"/>
                      </a:lnTo>
                      <a:lnTo>
                        <a:pt x="328" y="18"/>
                      </a:lnTo>
                      <a:lnTo>
                        <a:pt x="328" y="16"/>
                      </a:lnTo>
                      <a:lnTo>
                        <a:pt x="329" y="16"/>
                      </a:lnTo>
                      <a:lnTo>
                        <a:pt x="331" y="16"/>
                      </a:lnTo>
                      <a:lnTo>
                        <a:pt x="331" y="18"/>
                      </a:lnTo>
                      <a:lnTo>
                        <a:pt x="329" y="18"/>
                      </a:lnTo>
                      <a:lnTo>
                        <a:pt x="329" y="20"/>
                      </a:lnTo>
                      <a:lnTo>
                        <a:pt x="331" y="20"/>
                      </a:lnTo>
                      <a:lnTo>
                        <a:pt x="333" y="20"/>
                      </a:lnTo>
                      <a:lnTo>
                        <a:pt x="334" y="20"/>
                      </a:lnTo>
                      <a:lnTo>
                        <a:pt x="336" y="20"/>
                      </a:lnTo>
                      <a:lnTo>
                        <a:pt x="338" y="20"/>
                      </a:lnTo>
                      <a:lnTo>
                        <a:pt x="339" y="18"/>
                      </a:lnTo>
                      <a:lnTo>
                        <a:pt x="339" y="16"/>
                      </a:lnTo>
                      <a:lnTo>
                        <a:pt x="341" y="16"/>
                      </a:lnTo>
                      <a:lnTo>
                        <a:pt x="343" y="16"/>
                      </a:lnTo>
                      <a:lnTo>
                        <a:pt x="343" y="15"/>
                      </a:lnTo>
                      <a:lnTo>
                        <a:pt x="343" y="13"/>
                      </a:lnTo>
                      <a:lnTo>
                        <a:pt x="343" y="12"/>
                      </a:lnTo>
                      <a:lnTo>
                        <a:pt x="345" y="10"/>
                      </a:lnTo>
                      <a:lnTo>
                        <a:pt x="346" y="10"/>
                      </a:lnTo>
                      <a:lnTo>
                        <a:pt x="348" y="12"/>
                      </a:lnTo>
                      <a:lnTo>
                        <a:pt x="348" y="10"/>
                      </a:lnTo>
                      <a:lnTo>
                        <a:pt x="350" y="10"/>
                      </a:lnTo>
                      <a:lnTo>
                        <a:pt x="350" y="8"/>
                      </a:lnTo>
                      <a:lnTo>
                        <a:pt x="348" y="8"/>
                      </a:lnTo>
                      <a:lnTo>
                        <a:pt x="350" y="7"/>
                      </a:lnTo>
                      <a:lnTo>
                        <a:pt x="351" y="7"/>
                      </a:lnTo>
                      <a:lnTo>
                        <a:pt x="353" y="8"/>
                      </a:lnTo>
                      <a:lnTo>
                        <a:pt x="355" y="8"/>
                      </a:lnTo>
                      <a:lnTo>
                        <a:pt x="356" y="7"/>
                      </a:lnTo>
                      <a:lnTo>
                        <a:pt x="356" y="5"/>
                      </a:lnTo>
                      <a:lnTo>
                        <a:pt x="358" y="3"/>
                      </a:lnTo>
                      <a:lnTo>
                        <a:pt x="358" y="5"/>
                      </a:lnTo>
                      <a:lnTo>
                        <a:pt x="360" y="7"/>
                      </a:lnTo>
                      <a:lnTo>
                        <a:pt x="360" y="8"/>
                      </a:lnTo>
                      <a:lnTo>
                        <a:pt x="361" y="8"/>
                      </a:lnTo>
                      <a:lnTo>
                        <a:pt x="363" y="8"/>
                      </a:lnTo>
                      <a:lnTo>
                        <a:pt x="366" y="7"/>
                      </a:lnTo>
                      <a:lnTo>
                        <a:pt x="368" y="7"/>
                      </a:lnTo>
                      <a:lnTo>
                        <a:pt x="368" y="10"/>
                      </a:lnTo>
                      <a:lnTo>
                        <a:pt x="370" y="10"/>
                      </a:lnTo>
                      <a:lnTo>
                        <a:pt x="372" y="10"/>
                      </a:lnTo>
                      <a:lnTo>
                        <a:pt x="372" y="8"/>
                      </a:lnTo>
                      <a:lnTo>
                        <a:pt x="373" y="8"/>
                      </a:lnTo>
                      <a:lnTo>
                        <a:pt x="375" y="8"/>
                      </a:lnTo>
                      <a:lnTo>
                        <a:pt x="375" y="7"/>
                      </a:lnTo>
                      <a:lnTo>
                        <a:pt x="377" y="8"/>
                      </a:lnTo>
                      <a:lnTo>
                        <a:pt x="378" y="8"/>
                      </a:lnTo>
                      <a:lnTo>
                        <a:pt x="378" y="10"/>
                      </a:lnTo>
                      <a:lnTo>
                        <a:pt x="378" y="12"/>
                      </a:lnTo>
                      <a:lnTo>
                        <a:pt x="378" y="13"/>
                      </a:lnTo>
                      <a:lnTo>
                        <a:pt x="380" y="13"/>
                      </a:lnTo>
                      <a:lnTo>
                        <a:pt x="380" y="12"/>
                      </a:lnTo>
                      <a:lnTo>
                        <a:pt x="382" y="10"/>
                      </a:lnTo>
                      <a:lnTo>
                        <a:pt x="383" y="10"/>
                      </a:lnTo>
                      <a:lnTo>
                        <a:pt x="385" y="10"/>
                      </a:lnTo>
                      <a:lnTo>
                        <a:pt x="385" y="8"/>
                      </a:lnTo>
                      <a:lnTo>
                        <a:pt x="387" y="8"/>
                      </a:lnTo>
                      <a:lnTo>
                        <a:pt x="388" y="8"/>
                      </a:lnTo>
                      <a:lnTo>
                        <a:pt x="390" y="10"/>
                      </a:lnTo>
                      <a:lnTo>
                        <a:pt x="390" y="12"/>
                      </a:lnTo>
                      <a:lnTo>
                        <a:pt x="392" y="12"/>
                      </a:lnTo>
                      <a:lnTo>
                        <a:pt x="393" y="12"/>
                      </a:lnTo>
                      <a:lnTo>
                        <a:pt x="393" y="10"/>
                      </a:lnTo>
                      <a:lnTo>
                        <a:pt x="393" y="8"/>
                      </a:lnTo>
                      <a:lnTo>
                        <a:pt x="392" y="8"/>
                      </a:lnTo>
                      <a:lnTo>
                        <a:pt x="392" y="7"/>
                      </a:lnTo>
                      <a:lnTo>
                        <a:pt x="392" y="5"/>
                      </a:lnTo>
                      <a:lnTo>
                        <a:pt x="393" y="5"/>
                      </a:lnTo>
                      <a:lnTo>
                        <a:pt x="395" y="5"/>
                      </a:lnTo>
                      <a:lnTo>
                        <a:pt x="395" y="7"/>
                      </a:lnTo>
                      <a:lnTo>
                        <a:pt x="397" y="7"/>
                      </a:lnTo>
                      <a:lnTo>
                        <a:pt x="399" y="7"/>
                      </a:lnTo>
                      <a:lnTo>
                        <a:pt x="400" y="5"/>
                      </a:lnTo>
                      <a:lnTo>
                        <a:pt x="402" y="5"/>
                      </a:lnTo>
                      <a:lnTo>
                        <a:pt x="402" y="2"/>
                      </a:lnTo>
                      <a:lnTo>
                        <a:pt x="404" y="2"/>
                      </a:lnTo>
                      <a:lnTo>
                        <a:pt x="404" y="0"/>
                      </a:lnTo>
                      <a:lnTo>
                        <a:pt x="405" y="0"/>
                      </a:lnTo>
                      <a:lnTo>
                        <a:pt x="405" y="2"/>
                      </a:lnTo>
                      <a:lnTo>
                        <a:pt x="405" y="3"/>
                      </a:lnTo>
                      <a:lnTo>
                        <a:pt x="407" y="3"/>
                      </a:lnTo>
                      <a:lnTo>
                        <a:pt x="409" y="3"/>
                      </a:lnTo>
                      <a:lnTo>
                        <a:pt x="410" y="3"/>
                      </a:lnTo>
                      <a:lnTo>
                        <a:pt x="412" y="5"/>
                      </a:lnTo>
                      <a:lnTo>
                        <a:pt x="412" y="7"/>
                      </a:lnTo>
                      <a:lnTo>
                        <a:pt x="410" y="8"/>
                      </a:lnTo>
                      <a:lnTo>
                        <a:pt x="409" y="10"/>
                      </a:lnTo>
                      <a:lnTo>
                        <a:pt x="409" y="12"/>
                      </a:lnTo>
                      <a:lnTo>
                        <a:pt x="410" y="13"/>
                      </a:lnTo>
                      <a:lnTo>
                        <a:pt x="412" y="12"/>
                      </a:lnTo>
                      <a:lnTo>
                        <a:pt x="412" y="10"/>
                      </a:lnTo>
                      <a:lnTo>
                        <a:pt x="414" y="10"/>
                      </a:lnTo>
                      <a:lnTo>
                        <a:pt x="415" y="10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19" y="8"/>
                      </a:lnTo>
                      <a:lnTo>
                        <a:pt x="421" y="10"/>
                      </a:lnTo>
                      <a:lnTo>
                        <a:pt x="422" y="10"/>
                      </a:lnTo>
                      <a:lnTo>
                        <a:pt x="424" y="8"/>
                      </a:lnTo>
                      <a:lnTo>
                        <a:pt x="424" y="7"/>
                      </a:lnTo>
                      <a:lnTo>
                        <a:pt x="424" y="5"/>
                      </a:lnTo>
                      <a:lnTo>
                        <a:pt x="426" y="5"/>
                      </a:lnTo>
                      <a:lnTo>
                        <a:pt x="426" y="7"/>
                      </a:lnTo>
                      <a:lnTo>
                        <a:pt x="426" y="8"/>
                      </a:lnTo>
                      <a:lnTo>
                        <a:pt x="427" y="8"/>
                      </a:lnTo>
                      <a:lnTo>
                        <a:pt x="429" y="8"/>
                      </a:lnTo>
                      <a:lnTo>
                        <a:pt x="432" y="8"/>
                      </a:lnTo>
                      <a:lnTo>
                        <a:pt x="432" y="7"/>
                      </a:lnTo>
                      <a:lnTo>
                        <a:pt x="434" y="5"/>
                      </a:lnTo>
                      <a:lnTo>
                        <a:pt x="432" y="5"/>
                      </a:lnTo>
                      <a:lnTo>
                        <a:pt x="432" y="3"/>
                      </a:lnTo>
                      <a:lnTo>
                        <a:pt x="432" y="2"/>
                      </a:lnTo>
                      <a:lnTo>
                        <a:pt x="434" y="0"/>
                      </a:lnTo>
                      <a:lnTo>
                        <a:pt x="436" y="0"/>
                      </a:lnTo>
                      <a:lnTo>
                        <a:pt x="437" y="0"/>
                      </a:lnTo>
                      <a:lnTo>
                        <a:pt x="437" y="2"/>
                      </a:lnTo>
                      <a:lnTo>
                        <a:pt x="437" y="3"/>
                      </a:lnTo>
                      <a:lnTo>
                        <a:pt x="436" y="3"/>
                      </a:lnTo>
                      <a:lnTo>
                        <a:pt x="436" y="5"/>
                      </a:lnTo>
                      <a:lnTo>
                        <a:pt x="436" y="7"/>
                      </a:lnTo>
                      <a:lnTo>
                        <a:pt x="437" y="7"/>
                      </a:lnTo>
                      <a:lnTo>
                        <a:pt x="439" y="5"/>
                      </a:lnTo>
                      <a:lnTo>
                        <a:pt x="441" y="5"/>
                      </a:lnTo>
                      <a:lnTo>
                        <a:pt x="441" y="7"/>
                      </a:lnTo>
                      <a:lnTo>
                        <a:pt x="441" y="8"/>
                      </a:lnTo>
                      <a:lnTo>
                        <a:pt x="439" y="10"/>
                      </a:lnTo>
                      <a:lnTo>
                        <a:pt x="439" y="12"/>
                      </a:lnTo>
                      <a:lnTo>
                        <a:pt x="441" y="13"/>
                      </a:lnTo>
                      <a:lnTo>
                        <a:pt x="442" y="13"/>
                      </a:lnTo>
                      <a:lnTo>
                        <a:pt x="442" y="12"/>
                      </a:lnTo>
                      <a:lnTo>
                        <a:pt x="442" y="10"/>
                      </a:lnTo>
                      <a:lnTo>
                        <a:pt x="442" y="8"/>
                      </a:lnTo>
                      <a:lnTo>
                        <a:pt x="444" y="8"/>
                      </a:lnTo>
                      <a:lnTo>
                        <a:pt x="444" y="7"/>
                      </a:lnTo>
                      <a:lnTo>
                        <a:pt x="444" y="8"/>
                      </a:lnTo>
                      <a:lnTo>
                        <a:pt x="446" y="8"/>
                      </a:lnTo>
                      <a:lnTo>
                        <a:pt x="446" y="12"/>
                      </a:lnTo>
                      <a:lnTo>
                        <a:pt x="448" y="12"/>
                      </a:lnTo>
                      <a:lnTo>
                        <a:pt x="449" y="12"/>
                      </a:lnTo>
                      <a:lnTo>
                        <a:pt x="449" y="10"/>
                      </a:lnTo>
                      <a:lnTo>
                        <a:pt x="451" y="10"/>
                      </a:lnTo>
                      <a:lnTo>
                        <a:pt x="453" y="8"/>
                      </a:lnTo>
                      <a:lnTo>
                        <a:pt x="454" y="8"/>
                      </a:lnTo>
                      <a:lnTo>
                        <a:pt x="454" y="10"/>
                      </a:lnTo>
                      <a:lnTo>
                        <a:pt x="454" y="12"/>
                      </a:lnTo>
                      <a:lnTo>
                        <a:pt x="456" y="12"/>
                      </a:lnTo>
                      <a:lnTo>
                        <a:pt x="458" y="12"/>
                      </a:lnTo>
                      <a:lnTo>
                        <a:pt x="459" y="12"/>
                      </a:lnTo>
                      <a:lnTo>
                        <a:pt x="461" y="12"/>
                      </a:lnTo>
                      <a:lnTo>
                        <a:pt x="463" y="12"/>
                      </a:lnTo>
                      <a:lnTo>
                        <a:pt x="463" y="13"/>
                      </a:lnTo>
                      <a:lnTo>
                        <a:pt x="463" y="15"/>
                      </a:lnTo>
                      <a:lnTo>
                        <a:pt x="463" y="16"/>
                      </a:lnTo>
                      <a:lnTo>
                        <a:pt x="464" y="16"/>
                      </a:lnTo>
                      <a:lnTo>
                        <a:pt x="464" y="15"/>
                      </a:lnTo>
                      <a:lnTo>
                        <a:pt x="466" y="15"/>
                      </a:lnTo>
                      <a:lnTo>
                        <a:pt x="468" y="15"/>
                      </a:lnTo>
                      <a:lnTo>
                        <a:pt x="468" y="16"/>
                      </a:lnTo>
                      <a:lnTo>
                        <a:pt x="468" y="18"/>
                      </a:lnTo>
                      <a:lnTo>
                        <a:pt x="470" y="18"/>
                      </a:lnTo>
                      <a:lnTo>
                        <a:pt x="470" y="16"/>
                      </a:lnTo>
                      <a:lnTo>
                        <a:pt x="470" y="15"/>
                      </a:lnTo>
                      <a:lnTo>
                        <a:pt x="471" y="15"/>
                      </a:lnTo>
                      <a:lnTo>
                        <a:pt x="473" y="15"/>
                      </a:lnTo>
                      <a:lnTo>
                        <a:pt x="473" y="16"/>
                      </a:lnTo>
                      <a:lnTo>
                        <a:pt x="475" y="16"/>
                      </a:lnTo>
                      <a:lnTo>
                        <a:pt x="476" y="16"/>
                      </a:lnTo>
                      <a:lnTo>
                        <a:pt x="478" y="16"/>
                      </a:lnTo>
                      <a:lnTo>
                        <a:pt x="478" y="15"/>
                      </a:lnTo>
                      <a:lnTo>
                        <a:pt x="480" y="15"/>
                      </a:lnTo>
                      <a:lnTo>
                        <a:pt x="481" y="15"/>
                      </a:lnTo>
                      <a:lnTo>
                        <a:pt x="483" y="15"/>
                      </a:lnTo>
                      <a:lnTo>
                        <a:pt x="483" y="16"/>
                      </a:lnTo>
                      <a:lnTo>
                        <a:pt x="485" y="16"/>
                      </a:lnTo>
                      <a:lnTo>
                        <a:pt x="488" y="16"/>
                      </a:lnTo>
                      <a:lnTo>
                        <a:pt x="490" y="16"/>
                      </a:lnTo>
                      <a:lnTo>
                        <a:pt x="488" y="15"/>
                      </a:lnTo>
                      <a:lnTo>
                        <a:pt x="490" y="15"/>
                      </a:lnTo>
                      <a:lnTo>
                        <a:pt x="491" y="13"/>
                      </a:lnTo>
                      <a:lnTo>
                        <a:pt x="493" y="13"/>
                      </a:lnTo>
                      <a:lnTo>
                        <a:pt x="493" y="15"/>
                      </a:lnTo>
                      <a:lnTo>
                        <a:pt x="493" y="16"/>
                      </a:lnTo>
                      <a:lnTo>
                        <a:pt x="495" y="18"/>
                      </a:lnTo>
                      <a:lnTo>
                        <a:pt x="497" y="20"/>
                      </a:lnTo>
                      <a:lnTo>
                        <a:pt x="497" y="18"/>
                      </a:lnTo>
                      <a:lnTo>
                        <a:pt x="497" y="16"/>
                      </a:lnTo>
                      <a:lnTo>
                        <a:pt x="498" y="16"/>
                      </a:lnTo>
                      <a:lnTo>
                        <a:pt x="498" y="20"/>
                      </a:lnTo>
                      <a:lnTo>
                        <a:pt x="500" y="21"/>
                      </a:lnTo>
                      <a:lnTo>
                        <a:pt x="500" y="20"/>
                      </a:lnTo>
                      <a:lnTo>
                        <a:pt x="502" y="20"/>
                      </a:lnTo>
                      <a:lnTo>
                        <a:pt x="503" y="20"/>
                      </a:lnTo>
                      <a:lnTo>
                        <a:pt x="505" y="21"/>
                      </a:lnTo>
                      <a:lnTo>
                        <a:pt x="507" y="21"/>
                      </a:lnTo>
                      <a:lnTo>
                        <a:pt x="507" y="20"/>
                      </a:lnTo>
                      <a:lnTo>
                        <a:pt x="507" y="18"/>
                      </a:lnTo>
                      <a:lnTo>
                        <a:pt x="505" y="18"/>
                      </a:lnTo>
                      <a:lnTo>
                        <a:pt x="505" y="16"/>
                      </a:lnTo>
                      <a:lnTo>
                        <a:pt x="507" y="16"/>
                      </a:lnTo>
                      <a:lnTo>
                        <a:pt x="508" y="16"/>
                      </a:lnTo>
                      <a:lnTo>
                        <a:pt x="510" y="16"/>
                      </a:lnTo>
                      <a:lnTo>
                        <a:pt x="512" y="16"/>
                      </a:lnTo>
                      <a:lnTo>
                        <a:pt x="512" y="18"/>
                      </a:lnTo>
                      <a:lnTo>
                        <a:pt x="510" y="18"/>
                      </a:lnTo>
                      <a:lnTo>
                        <a:pt x="508" y="18"/>
                      </a:lnTo>
                      <a:lnTo>
                        <a:pt x="508" y="20"/>
                      </a:lnTo>
                      <a:lnTo>
                        <a:pt x="508" y="21"/>
                      </a:lnTo>
                      <a:lnTo>
                        <a:pt x="512" y="20"/>
                      </a:lnTo>
                      <a:lnTo>
                        <a:pt x="512" y="21"/>
                      </a:lnTo>
                      <a:lnTo>
                        <a:pt x="513" y="23"/>
                      </a:lnTo>
                      <a:lnTo>
                        <a:pt x="515" y="23"/>
                      </a:lnTo>
                      <a:lnTo>
                        <a:pt x="517" y="20"/>
                      </a:lnTo>
                      <a:lnTo>
                        <a:pt x="517" y="18"/>
                      </a:lnTo>
                      <a:lnTo>
                        <a:pt x="518" y="18"/>
                      </a:lnTo>
                      <a:lnTo>
                        <a:pt x="520" y="18"/>
                      </a:lnTo>
                      <a:lnTo>
                        <a:pt x="520" y="20"/>
                      </a:lnTo>
                      <a:lnTo>
                        <a:pt x="518" y="20"/>
                      </a:lnTo>
                      <a:lnTo>
                        <a:pt x="518" y="21"/>
                      </a:lnTo>
                      <a:lnTo>
                        <a:pt x="520" y="21"/>
                      </a:lnTo>
                      <a:lnTo>
                        <a:pt x="522" y="21"/>
                      </a:lnTo>
                      <a:lnTo>
                        <a:pt x="522" y="20"/>
                      </a:lnTo>
                      <a:lnTo>
                        <a:pt x="524" y="20"/>
                      </a:lnTo>
                      <a:lnTo>
                        <a:pt x="524" y="21"/>
                      </a:lnTo>
                      <a:lnTo>
                        <a:pt x="525" y="21"/>
                      </a:lnTo>
                      <a:lnTo>
                        <a:pt x="524" y="23"/>
                      </a:lnTo>
                      <a:lnTo>
                        <a:pt x="525" y="25"/>
                      </a:lnTo>
                      <a:lnTo>
                        <a:pt x="527" y="25"/>
                      </a:lnTo>
                      <a:lnTo>
                        <a:pt x="527" y="23"/>
                      </a:lnTo>
                      <a:lnTo>
                        <a:pt x="529" y="25"/>
                      </a:lnTo>
                      <a:lnTo>
                        <a:pt x="530" y="25"/>
                      </a:lnTo>
                      <a:lnTo>
                        <a:pt x="532" y="25"/>
                      </a:lnTo>
                      <a:lnTo>
                        <a:pt x="532" y="23"/>
                      </a:lnTo>
                      <a:lnTo>
                        <a:pt x="534" y="23"/>
                      </a:lnTo>
                      <a:lnTo>
                        <a:pt x="534" y="25"/>
                      </a:lnTo>
                      <a:lnTo>
                        <a:pt x="532" y="25"/>
                      </a:lnTo>
                      <a:lnTo>
                        <a:pt x="532" y="26"/>
                      </a:lnTo>
                      <a:lnTo>
                        <a:pt x="534" y="26"/>
                      </a:lnTo>
                      <a:lnTo>
                        <a:pt x="535" y="28"/>
                      </a:lnTo>
                      <a:lnTo>
                        <a:pt x="537" y="26"/>
                      </a:lnTo>
                      <a:lnTo>
                        <a:pt x="539" y="28"/>
                      </a:lnTo>
                      <a:lnTo>
                        <a:pt x="539" y="30"/>
                      </a:lnTo>
                      <a:lnTo>
                        <a:pt x="537" y="28"/>
                      </a:lnTo>
                      <a:lnTo>
                        <a:pt x="535" y="28"/>
                      </a:lnTo>
                      <a:lnTo>
                        <a:pt x="534" y="30"/>
                      </a:lnTo>
                      <a:lnTo>
                        <a:pt x="535" y="30"/>
                      </a:lnTo>
                      <a:lnTo>
                        <a:pt x="537" y="30"/>
                      </a:lnTo>
                      <a:lnTo>
                        <a:pt x="539" y="31"/>
                      </a:lnTo>
                      <a:lnTo>
                        <a:pt x="540" y="31"/>
                      </a:lnTo>
                      <a:lnTo>
                        <a:pt x="540" y="33"/>
                      </a:lnTo>
                      <a:lnTo>
                        <a:pt x="540" y="35"/>
                      </a:lnTo>
                      <a:lnTo>
                        <a:pt x="539" y="35"/>
                      </a:lnTo>
                      <a:lnTo>
                        <a:pt x="539" y="36"/>
                      </a:lnTo>
                      <a:lnTo>
                        <a:pt x="540" y="36"/>
                      </a:lnTo>
                      <a:lnTo>
                        <a:pt x="540" y="35"/>
                      </a:lnTo>
                      <a:lnTo>
                        <a:pt x="542" y="35"/>
                      </a:lnTo>
                      <a:lnTo>
                        <a:pt x="544" y="35"/>
                      </a:lnTo>
                      <a:lnTo>
                        <a:pt x="544" y="36"/>
                      </a:lnTo>
                      <a:lnTo>
                        <a:pt x="544" y="38"/>
                      </a:lnTo>
                      <a:lnTo>
                        <a:pt x="544" y="39"/>
                      </a:lnTo>
                      <a:lnTo>
                        <a:pt x="546" y="41"/>
                      </a:lnTo>
                      <a:lnTo>
                        <a:pt x="547" y="41"/>
                      </a:lnTo>
                      <a:lnTo>
                        <a:pt x="547" y="39"/>
                      </a:lnTo>
                      <a:lnTo>
                        <a:pt x="546" y="38"/>
                      </a:lnTo>
                      <a:lnTo>
                        <a:pt x="547" y="38"/>
                      </a:lnTo>
                      <a:lnTo>
                        <a:pt x="547" y="36"/>
                      </a:lnTo>
                      <a:lnTo>
                        <a:pt x="549" y="36"/>
                      </a:lnTo>
                      <a:lnTo>
                        <a:pt x="549" y="38"/>
                      </a:lnTo>
                      <a:lnTo>
                        <a:pt x="549" y="39"/>
                      </a:lnTo>
                      <a:lnTo>
                        <a:pt x="549" y="41"/>
                      </a:lnTo>
                      <a:lnTo>
                        <a:pt x="551" y="41"/>
                      </a:lnTo>
                      <a:lnTo>
                        <a:pt x="551" y="39"/>
                      </a:lnTo>
                      <a:lnTo>
                        <a:pt x="552" y="39"/>
                      </a:lnTo>
                      <a:lnTo>
                        <a:pt x="552" y="41"/>
                      </a:lnTo>
                      <a:lnTo>
                        <a:pt x="554" y="41"/>
                      </a:lnTo>
                      <a:lnTo>
                        <a:pt x="556" y="41"/>
                      </a:lnTo>
                      <a:lnTo>
                        <a:pt x="554" y="39"/>
                      </a:lnTo>
                      <a:lnTo>
                        <a:pt x="554" y="38"/>
                      </a:lnTo>
                      <a:lnTo>
                        <a:pt x="556" y="38"/>
                      </a:lnTo>
                      <a:lnTo>
                        <a:pt x="557" y="38"/>
                      </a:lnTo>
                      <a:lnTo>
                        <a:pt x="559" y="38"/>
                      </a:lnTo>
                      <a:lnTo>
                        <a:pt x="561" y="39"/>
                      </a:lnTo>
                      <a:lnTo>
                        <a:pt x="562" y="38"/>
                      </a:lnTo>
                      <a:lnTo>
                        <a:pt x="562" y="36"/>
                      </a:lnTo>
                      <a:lnTo>
                        <a:pt x="564" y="36"/>
                      </a:lnTo>
                      <a:lnTo>
                        <a:pt x="566" y="38"/>
                      </a:lnTo>
                      <a:lnTo>
                        <a:pt x="566" y="39"/>
                      </a:lnTo>
                      <a:lnTo>
                        <a:pt x="566" y="41"/>
                      </a:lnTo>
                      <a:lnTo>
                        <a:pt x="567" y="41"/>
                      </a:lnTo>
                      <a:lnTo>
                        <a:pt x="567" y="39"/>
                      </a:lnTo>
                      <a:lnTo>
                        <a:pt x="567" y="38"/>
                      </a:lnTo>
                      <a:lnTo>
                        <a:pt x="569" y="38"/>
                      </a:lnTo>
                      <a:lnTo>
                        <a:pt x="571" y="38"/>
                      </a:lnTo>
                      <a:lnTo>
                        <a:pt x="571" y="39"/>
                      </a:lnTo>
                      <a:lnTo>
                        <a:pt x="569" y="41"/>
                      </a:lnTo>
                      <a:lnTo>
                        <a:pt x="569" y="43"/>
                      </a:lnTo>
                      <a:lnTo>
                        <a:pt x="571" y="43"/>
                      </a:lnTo>
                      <a:lnTo>
                        <a:pt x="573" y="43"/>
                      </a:lnTo>
                      <a:lnTo>
                        <a:pt x="573" y="41"/>
                      </a:lnTo>
                      <a:lnTo>
                        <a:pt x="574" y="41"/>
                      </a:lnTo>
                      <a:lnTo>
                        <a:pt x="574" y="43"/>
                      </a:lnTo>
                      <a:lnTo>
                        <a:pt x="574" y="44"/>
                      </a:lnTo>
                      <a:lnTo>
                        <a:pt x="574" y="46"/>
                      </a:lnTo>
                      <a:lnTo>
                        <a:pt x="576" y="46"/>
                      </a:lnTo>
                      <a:lnTo>
                        <a:pt x="578" y="44"/>
                      </a:lnTo>
                      <a:lnTo>
                        <a:pt x="579" y="44"/>
                      </a:lnTo>
                      <a:lnTo>
                        <a:pt x="581" y="44"/>
                      </a:lnTo>
                      <a:lnTo>
                        <a:pt x="583" y="44"/>
                      </a:lnTo>
                      <a:lnTo>
                        <a:pt x="584" y="44"/>
                      </a:lnTo>
                      <a:lnTo>
                        <a:pt x="584" y="46"/>
                      </a:lnTo>
                      <a:lnTo>
                        <a:pt x="584" y="48"/>
                      </a:lnTo>
                      <a:lnTo>
                        <a:pt x="586" y="48"/>
                      </a:lnTo>
                      <a:lnTo>
                        <a:pt x="586" y="49"/>
                      </a:lnTo>
                      <a:lnTo>
                        <a:pt x="588" y="49"/>
                      </a:lnTo>
                      <a:lnTo>
                        <a:pt x="588" y="51"/>
                      </a:lnTo>
                      <a:lnTo>
                        <a:pt x="588" y="53"/>
                      </a:lnTo>
                      <a:lnTo>
                        <a:pt x="589" y="53"/>
                      </a:lnTo>
                      <a:lnTo>
                        <a:pt x="591" y="53"/>
                      </a:lnTo>
                      <a:lnTo>
                        <a:pt x="591" y="51"/>
                      </a:lnTo>
                      <a:lnTo>
                        <a:pt x="593" y="49"/>
                      </a:lnTo>
                      <a:lnTo>
                        <a:pt x="593" y="51"/>
                      </a:lnTo>
                      <a:lnTo>
                        <a:pt x="594" y="51"/>
                      </a:lnTo>
                      <a:lnTo>
                        <a:pt x="594" y="53"/>
                      </a:lnTo>
                      <a:lnTo>
                        <a:pt x="593" y="53"/>
                      </a:lnTo>
                      <a:lnTo>
                        <a:pt x="594" y="54"/>
                      </a:lnTo>
                      <a:lnTo>
                        <a:pt x="596" y="56"/>
                      </a:lnTo>
                      <a:lnTo>
                        <a:pt x="596" y="54"/>
                      </a:lnTo>
                      <a:lnTo>
                        <a:pt x="598" y="54"/>
                      </a:lnTo>
                      <a:lnTo>
                        <a:pt x="600" y="54"/>
                      </a:lnTo>
                      <a:lnTo>
                        <a:pt x="600" y="56"/>
                      </a:lnTo>
                      <a:lnTo>
                        <a:pt x="600" y="58"/>
                      </a:lnTo>
                      <a:lnTo>
                        <a:pt x="601" y="58"/>
                      </a:lnTo>
                      <a:lnTo>
                        <a:pt x="600" y="58"/>
                      </a:lnTo>
                      <a:lnTo>
                        <a:pt x="600" y="59"/>
                      </a:lnTo>
                      <a:lnTo>
                        <a:pt x="601" y="59"/>
                      </a:lnTo>
                      <a:lnTo>
                        <a:pt x="603" y="59"/>
                      </a:lnTo>
                      <a:lnTo>
                        <a:pt x="603" y="61"/>
                      </a:lnTo>
                      <a:lnTo>
                        <a:pt x="605" y="62"/>
                      </a:lnTo>
                      <a:lnTo>
                        <a:pt x="606" y="62"/>
                      </a:lnTo>
                      <a:lnTo>
                        <a:pt x="606" y="64"/>
                      </a:lnTo>
                      <a:lnTo>
                        <a:pt x="608" y="64"/>
                      </a:lnTo>
                      <a:lnTo>
                        <a:pt x="610" y="64"/>
                      </a:lnTo>
                      <a:lnTo>
                        <a:pt x="611" y="64"/>
                      </a:lnTo>
                      <a:lnTo>
                        <a:pt x="613" y="64"/>
                      </a:lnTo>
                      <a:lnTo>
                        <a:pt x="615" y="66"/>
                      </a:lnTo>
                      <a:lnTo>
                        <a:pt x="615" y="67"/>
                      </a:lnTo>
                      <a:lnTo>
                        <a:pt x="616" y="66"/>
                      </a:lnTo>
                      <a:lnTo>
                        <a:pt x="616" y="67"/>
                      </a:lnTo>
                      <a:lnTo>
                        <a:pt x="616" y="69"/>
                      </a:lnTo>
                      <a:lnTo>
                        <a:pt x="618" y="69"/>
                      </a:lnTo>
                      <a:lnTo>
                        <a:pt x="620" y="69"/>
                      </a:lnTo>
                      <a:lnTo>
                        <a:pt x="622" y="69"/>
                      </a:lnTo>
                      <a:lnTo>
                        <a:pt x="622" y="71"/>
                      </a:lnTo>
                      <a:lnTo>
                        <a:pt x="622" y="72"/>
                      </a:lnTo>
                      <a:lnTo>
                        <a:pt x="623" y="72"/>
                      </a:lnTo>
                      <a:lnTo>
                        <a:pt x="625" y="72"/>
                      </a:lnTo>
                      <a:lnTo>
                        <a:pt x="625" y="74"/>
                      </a:lnTo>
                      <a:lnTo>
                        <a:pt x="623" y="76"/>
                      </a:lnTo>
                      <a:lnTo>
                        <a:pt x="625" y="76"/>
                      </a:lnTo>
                      <a:lnTo>
                        <a:pt x="625" y="77"/>
                      </a:lnTo>
                      <a:lnTo>
                        <a:pt x="627" y="77"/>
                      </a:lnTo>
                      <a:lnTo>
                        <a:pt x="628" y="77"/>
                      </a:lnTo>
                      <a:lnTo>
                        <a:pt x="628" y="79"/>
                      </a:lnTo>
                      <a:lnTo>
                        <a:pt x="627" y="79"/>
                      </a:lnTo>
                      <a:lnTo>
                        <a:pt x="627" y="81"/>
                      </a:lnTo>
                      <a:lnTo>
                        <a:pt x="628" y="81"/>
                      </a:lnTo>
                      <a:lnTo>
                        <a:pt x="628" y="82"/>
                      </a:lnTo>
                      <a:lnTo>
                        <a:pt x="630" y="81"/>
                      </a:lnTo>
                      <a:lnTo>
                        <a:pt x="630" y="79"/>
                      </a:lnTo>
                      <a:lnTo>
                        <a:pt x="632" y="79"/>
                      </a:lnTo>
                      <a:lnTo>
                        <a:pt x="632" y="81"/>
                      </a:lnTo>
                      <a:lnTo>
                        <a:pt x="633" y="81"/>
                      </a:lnTo>
                      <a:lnTo>
                        <a:pt x="635" y="82"/>
                      </a:lnTo>
                      <a:lnTo>
                        <a:pt x="637" y="82"/>
                      </a:lnTo>
                      <a:lnTo>
                        <a:pt x="637" y="84"/>
                      </a:lnTo>
                      <a:lnTo>
                        <a:pt x="637" y="85"/>
                      </a:lnTo>
                      <a:lnTo>
                        <a:pt x="638" y="85"/>
                      </a:lnTo>
                      <a:lnTo>
                        <a:pt x="640" y="87"/>
                      </a:lnTo>
                      <a:lnTo>
                        <a:pt x="642" y="89"/>
                      </a:lnTo>
                      <a:lnTo>
                        <a:pt x="642" y="90"/>
                      </a:lnTo>
                      <a:lnTo>
                        <a:pt x="640" y="90"/>
                      </a:lnTo>
                      <a:lnTo>
                        <a:pt x="640" y="92"/>
                      </a:lnTo>
                      <a:lnTo>
                        <a:pt x="638" y="92"/>
                      </a:lnTo>
                      <a:lnTo>
                        <a:pt x="638" y="94"/>
                      </a:lnTo>
                      <a:lnTo>
                        <a:pt x="640" y="94"/>
                      </a:lnTo>
                      <a:lnTo>
                        <a:pt x="642" y="94"/>
                      </a:lnTo>
                      <a:lnTo>
                        <a:pt x="642" y="95"/>
                      </a:lnTo>
                      <a:lnTo>
                        <a:pt x="642" y="97"/>
                      </a:lnTo>
                      <a:lnTo>
                        <a:pt x="643" y="97"/>
                      </a:lnTo>
                      <a:lnTo>
                        <a:pt x="645" y="95"/>
                      </a:lnTo>
                      <a:lnTo>
                        <a:pt x="647" y="97"/>
                      </a:lnTo>
                      <a:lnTo>
                        <a:pt x="649" y="97"/>
                      </a:lnTo>
                      <a:lnTo>
                        <a:pt x="650" y="99"/>
                      </a:lnTo>
                      <a:lnTo>
                        <a:pt x="649" y="99"/>
                      </a:lnTo>
                      <a:lnTo>
                        <a:pt x="649" y="100"/>
                      </a:lnTo>
                      <a:lnTo>
                        <a:pt x="650" y="100"/>
                      </a:lnTo>
                      <a:lnTo>
                        <a:pt x="650" y="102"/>
                      </a:lnTo>
                      <a:lnTo>
                        <a:pt x="650" y="103"/>
                      </a:lnTo>
                      <a:lnTo>
                        <a:pt x="652" y="102"/>
                      </a:lnTo>
                      <a:lnTo>
                        <a:pt x="652" y="103"/>
                      </a:lnTo>
                      <a:lnTo>
                        <a:pt x="652" y="105"/>
                      </a:lnTo>
                      <a:lnTo>
                        <a:pt x="654" y="107"/>
                      </a:lnTo>
                      <a:lnTo>
                        <a:pt x="652" y="107"/>
                      </a:lnTo>
                      <a:lnTo>
                        <a:pt x="654" y="107"/>
                      </a:lnTo>
                      <a:lnTo>
                        <a:pt x="654" y="108"/>
                      </a:lnTo>
                      <a:lnTo>
                        <a:pt x="655" y="108"/>
                      </a:lnTo>
                      <a:lnTo>
                        <a:pt x="657" y="108"/>
                      </a:lnTo>
                      <a:lnTo>
                        <a:pt x="657" y="110"/>
                      </a:lnTo>
                      <a:lnTo>
                        <a:pt x="659" y="110"/>
                      </a:lnTo>
                      <a:lnTo>
                        <a:pt x="659" y="112"/>
                      </a:lnTo>
                      <a:lnTo>
                        <a:pt x="660" y="112"/>
                      </a:lnTo>
                      <a:lnTo>
                        <a:pt x="660" y="113"/>
                      </a:lnTo>
                      <a:lnTo>
                        <a:pt x="662" y="115"/>
                      </a:lnTo>
                      <a:lnTo>
                        <a:pt x="660" y="115"/>
                      </a:lnTo>
                      <a:lnTo>
                        <a:pt x="660" y="117"/>
                      </a:lnTo>
                      <a:lnTo>
                        <a:pt x="662" y="117"/>
                      </a:lnTo>
                      <a:lnTo>
                        <a:pt x="664" y="117"/>
                      </a:lnTo>
                      <a:lnTo>
                        <a:pt x="664" y="118"/>
                      </a:lnTo>
                      <a:lnTo>
                        <a:pt x="665" y="118"/>
                      </a:lnTo>
                      <a:lnTo>
                        <a:pt x="664" y="120"/>
                      </a:lnTo>
                      <a:lnTo>
                        <a:pt x="665" y="122"/>
                      </a:lnTo>
                      <a:lnTo>
                        <a:pt x="667" y="122"/>
                      </a:lnTo>
                      <a:lnTo>
                        <a:pt x="667" y="120"/>
                      </a:lnTo>
                      <a:lnTo>
                        <a:pt x="669" y="120"/>
                      </a:lnTo>
                      <a:lnTo>
                        <a:pt x="670" y="122"/>
                      </a:lnTo>
                      <a:lnTo>
                        <a:pt x="670" y="123"/>
                      </a:lnTo>
                      <a:lnTo>
                        <a:pt x="672" y="123"/>
                      </a:lnTo>
                      <a:lnTo>
                        <a:pt x="672" y="125"/>
                      </a:lnTo>
                      <a:lnTo>
                        <a:pt x="674" y="125"/>
                      </a:lnTo>
                      <a:lnTo>
                        <a:pt x="674" y="123"/>
                      </a:lnTo>
                      <a:lnTo>
                        <a:pt x="674" y="122"/>
                      </a:lnTo>
                      <a:lnTo>
                        <a:pt x="676" y="122"/>
                      </a:lnTo>
                      <a:lnTo>
                        <a:pt x="677" y="123"/>
                      </a:lnTo>
                      <a:lnTo>
                        <a:pt x="679" y="123"/>
                      </a:lnTo>
                      <a:lnTo>
                        <a:pt x="681" y="123"/>
                      </a:lnTo>
                      <a:lnTo>
                        <a:pt x="682" y="123"/>
                      </a:lnTo>
                      <a:lnTo>
                        <a:pt x="682" y="125"/>
                      </a:lnTo>
                      <a:lnTo>
                        <a:pt x="684" y="125"/>
                      </a:lnTo>
                      <a:lnTo>
                        <a:pt x="686" y="125"/>
                      </a:lnTo>
                      <a:lnTo>
                        <a:pt x="687" y="125"/>
                      </a:lnTo>
                      <a:lnTo>
                        <a:pt x="687" y="126"/>
                      </a:lnTo>
                      <a:lnTo>
                        <a:pt x="689" y="126"/>
                      </a:lnTo>
                      <a:lnTo>
                        <a:pt x="689" y="125"/>
                      </a:lnTo>
                      <a:lnTo>
                        <a:pt x="689" y="123"/>
                      </a:lnTo>
                      <a:lnTo>
                        <a:pt x="691" y="123"/>
                      </a:lnTo>
                      <a:lnTo>
                        <a:pt x="691" y="125"/>
                      </a:lnTo>
                      <a:lnTo>
                        <a:pt x="691" y="126"/>
                      </a:lnTo>
                      <a:lnTo>
                        <a:pt x="691" y="128"/>
                      </a:lnTo>
                      <a:lnTo>
                        <a:pt x="692" y="126"/>
                      </a:lnTo>
                      <a:lnTo>
                        <a:pt x="692" y="125"/>
                      </a:lnTo>
                      <a:lnTo>
                        <a:pt x="694" y="125"/>
                      </a:lnTo>
                      <a:lnTo>
                        <a:pt x="696" y="125"/>
                      </a:lnTo>
                      <a:lnTo>
                        <a:pt x="696" y="126"/>
                      </a:lnTo>
                      <a:lnTo>
                        <a:pt x="699" y="126"/>
                      </a:lnTo>
                      <a:lnTo>
                        <a:pt x="701" y="126"/>
                      </a:lnTo>
                      <a:lnTo>
                        <a:pt x="699" y="126"/>
                      </a:lnTo>
                      <a:lnTo>
                        <a:pt x="699" y="125"/>
                      </a:lnTo>
                      <a:lnTo>
                        <a:pt x="701" y="125"/>
                      </a:lnTo>
                      <a:lnTo>
                        <a:pt x="701" y="126"/>
                      </a:lnTo>
                      <a:lnTo>
                        <a:pt x="703" y="126"/>
                      </a:lnTo>
                      <a:lnTo>
                        <a:pt x="703" y="128"/>
                      </a:lnTo>
                      <a:lnTo>
                        <a:pt x="704" y="126"/>
                      </a:lnTo>
                      <a:lnTo>
                        <a:pt x="704" y="125"/>
                      </a:lnTo>
                      <a:lnTo>
                        <a:pt x="706" y="126"/>
                      </a:lnTo>
                      <a:lnTo>
                        <a:pt x="708" y="126"/>
                      </a:lnTo>
                      <a:lnTo>
                        <a:pt x="708" y="128"/>
                      </a:lnTo>
                      <a:lnTo>
                        <a:pt x="709" y="128"/>
                      </a:lnTo>
                      <a:lnTo>
                        <a:pt x="709" y="130"/>
                      </a:lnTo>
                      <a:lnTo>
                        <a:pt x="711" y="130"/>
                      </a:lnTo>
                      <a:lnTo>
                        <a:pt x="711" y="128"/>
                      </a:lnTo>
                      <a:lnTo>
                        <a:pt x="709" y="128"/>
                      </a:lnTo>
                      <a:lnTo>
                        <a:pt x="709" y="126"/>
                      </a:lnTo>
                      <a:lnTo>
                        <a:pt x="711" y="126"/>
                      </a:lnTo>
                      <a:lnTo>
                        <a:pt x="711" y="125"/>
                      </a:lnTo>
                      <a:lnTo>
                        <a:pt x="713" y="125"/>
                      </a:lnTo>
                      <a:lnTo>
                        <a:pt x="711" y="125"/>
                      </a:lnTo>
                      <a:lnTo>
                        <a:pt x="713" y="125"/>
                      </a:lnTo>
                      <a:lnTo>
                        <a:pt x="714" y="125"/>
                      </a:lnTo>
                      <a:lnTo>
                        <a:pt x="714" y="126"/>
                      </a:lnTo>
                      <a:lnTo>
                        <a:pt x="713" y="126"/>
                      </a:lnTo>
                      <a:lnTo>
                        <a:pt x="713" y="128"/>
                      </a:lnTo>
                      <a:lnTo>
                        <a:pt x="714" y="128"/>
                      </a:lnTo>
                      <a:lnTo>
                        <a:pt x="714" y="130"/>
                      </a:lnTo>
                      <a:lnTo>
                        <a:pt x="716" y="128"/>
                      </a:lnTo>
                      <a:lnTo>
                        <a:pt x="718" y="128"/>
                      </a:lnTo>
                      <a:lnTo>
                        <a:pt x="719" y="128"/>
                      </a:lnTo>
                      <a:lnTo>
                        <a:pt x="721" y="128"/>
                      </a:lnTo>
                      <a:lnTo>
                        <a:pt x="721" y="126"/>
                      </a:lnTo>
                      <a:lnTo>
                        <a:pt x="723" y="126"/>
                      </a:lnTo>
                      <a:lnTo>
                        <a:pt x="725" y="126"/>
                      </a:lnTo>
                      <a:lnTo>
                        <a:pt x="726" y="126"/>
                      </a:lnTo>
                      <a:lnTo>
                        <a:pt x="725" y="126"/>
                      </a:lnTo>
                      <a:lnTo>
                        <a:pt x="726" y="125"/>
                      </a:lnTo>
                      <a:lnTo>
                        <a:pt x="728" y="126"/>
                      </a:lnTo>
                      <a:lnTo>
                        <a:pt x="730" y="126"/>
                      </a:lnTo>
                      <a:lnTo>
                        <a:pt x="730" y="128"/>
                      </a:lnTo>
                      <a:lnTo>
                        <a:pt x="730" y="130"/>
                      </a:lnTo>
                      <a:lnTo>
                        <a:pt x="730" y="128"/>
                      </a:lnTo>
                      <a:lnTo>
                        <a:pt x="731" y="128"/>
                      </a:lnTo>
                      <a:lnTo>
                        <a:pt x="730" y="126"/>
                      </a:lnTo>
                      <a:lnTo>
                        <a:pt x="731" y="126"/>
                      </a:lnTo>
                      <a:lnTo>
                        <a:pt x="733" y="126"/>
                      </a:lnTo>
                      <a:lnTo>
                        <a:pt x="733" y="128"/>
                      </a:lnTo>
                      <a:lnTo>
                        <a:pt x="735" y="126"/>
                      </a:lnTo>
                      <a:lnTo>
                        <a:pt x="735" y="125"/>
                      </a:lnTo>
                      <a:lnTo>
                        <a:pt x="735" y="126"/>
                      </a:lnTo>
                      <a:lnTo>
                        <a:pt x="736" y="126"/>
                      </a:lnTo>
                      <a:lnTo>
                        <a:pt x="736" y="125"/>
                      </a:lnTo>
                      <a:lnTo>
                        <a:pt x="738" y="125"/>
                      </a:lnTo>
                      <a:lnTo>
                        <a:pt x="738" y="126"/>
                      </a:lnTo>
                      <a:lnTo>
                        <a:pt x="736" y="126"/>
                      </a:lnTo>
                      <a:lnTo>
                        <a:pt x="736" y="128"/>
                      </a:lnTo>
                      <a:lnTo>
                        <a:pt x="736" y="130"/>
                      </a:lnTo>
                      <a:lnTo>
                        <a:pt x="738" y="130"/>
                      </a:lnTo>
                      <a:lnTo>
                        <a:pt x="740" y="130"/>
                      </a:lnTo>
                      <a:lnTo>
                        <a:pt x="741" y="128"/>
                      </a:lnTo>
                      <a:lnTo>
                        <a:pt x="741" y="130"/>
                      </a:lnTo>
                      <a:lnTo>
                        <a:pt x="741" y="128"/>
                      </a:lnTo>
                      <a:lnTo>
                        <a:pt x="743" y="128"/>
                      </a:lnTo>
                      <a:lnTo>
                        <a:pt x="743" y="130"/>
                      </a:lnTo>
                      <a:lnTo>
                        <a:pt x="745" y="130"/>
                      </a:lnTo>
                      <a:lnTo>
                        <a:pt x="745" y="128"/>
                      </a:lnTo>
                      <a:lnTo>
                        <a:pt x="746" y="128"/>
                      </a:lnTo>
                      <a:lnTo>
                        <a:pt x="746" y="126"/>
                      </a:lnTo>
                      <a:lnTo>
                        <a:pt x="746" y="128"/>
                      </a:lnTo>
                      <a:lnTo>
                        <a:pt x="746" y="130"/>
                      </a:lnTo>
                      <a:lnTo>
                        <a:pt x="746" y="131"/>
                      </a:lnTo>
                      <a:lnTo>
                        <a:pt x="748" y="130"/>
                      </a:lnTo>
                      <a:lnTo>
                        <a:pt x="748" y="131"/>
                      </a:lnTo>
                      <a:lnTo>
                        <a:pt x="750" y="131"/>
                      </a:lnTo>
                      <a:lnTo>
                        <a:pt x="750" y="133"/>
                      </a:lnTo>
                      <a:lnTo>
                        <a:pt x="748" y="135"/>
                      </a:lnTo>
                      <a:lnTo>
                        <a:pt x="750" y="135"/>
                      </a:lnTo>
                      <a:lnTo>
                        <a:pt x="750" y="136"/>
                      </a:lnTo>
                      <a:lnTo>
                        <a:pt x="750" y="138"/>
                      </a:lnTo>
                      <a:lnTo>
                        <a:pt x="752" y="138"/>
                      </a:lnTo>
                      <a:lnTo>
                        <a:pt x="752" y="140"/>
                      </a:lnTo>
                      <a:lnTo>
                        <a:pt x="753" y="141"/>
                      </a:lnTo>
                      <a:lnTo>
                        <a:pt x="753" y="143"/>
                      </a:lnTo>
                      <a:lnTo>
                        <a:pt x="752" y="143"/>
                      </a:lnTo>
                      <a:lnTo>
                        <a:pt x="750" y="143"/>
                      </a:lnTo>
                      <a:lnTo>
                        <a:pt x="748" y="143"/>
                      </a:lnTo>
                      <a:lnTo>
                        <a:pt x="746" y="143"/>
                      </a:lnTo>
                      <a:lnTo>
                        <a:pt x="748" y="143"/>
                      </a:lnTo>
                      <a:lnTo>
                        <a:pt x="746" y="141"/>
                      </a:lnTo>
                      <a:lnTo>
                        <a:pt x="746" y="143"/>
                      </a:lnTo>
                      <a:lnTo>
                        <a:pt x="745" y="143"/>
                      </a:lnTo>
                      <a:lnTo>
                        <a:pt x="745" y="141"/>
                      </a:lnTo>
                      <a:lnTo>
                        <a:pt x="743" y="141"/>
                      </a:lnTo>
                      <a:lnTo>
                        <a:pt x="743" y="143"/>
                      </a:lnTo>
                      <a:lnTo>
                        <a:pt x="741" y="143"/>
                      </a:lnTo>
                      <a:lnTo>
                        <a:pt x="741" y="145"/>
                      </a:lnTo>
                      <a:lnTo>
                        <a:pt x="741" y="146"/>
                      </a:lnTo>
                      <a:lnTo>
                        <a:pt x="740" y="146"/>
                      </a:lnTo>
                      <a:lnTo>
                        <a:pt x="740" y="148"/>
                      </a:lnTo>
                      <a:lnTo>
                        <a:pt x="741" y="148"/>
                      </a:lnTo>
                      <a:lnTo>
                        <a:pt x="740" y="148"/>
                      </a:lnTo>
                      <a:lnTo>
                        <a:pt x="740" y="149"/>
                      </a:lnTo>
                      <a:lnTo>
                        <a:pt x="740" y="151"/>
                      </a:lnTo>
                      <a:lnTo>
                        <a:pt x="740" y="149"/>
                      </a:lnTo>
                      <a:lnTo>
                        <a:pt x="738" y="149"/>
                      </a:lnTo>
                      <a:lnTo>
                        <a:pt x="736" y="149"/>
                      </a:lnTo>
                      <a:lnTo>
                        <a:pt x="736" y="151"/>
                      </a:lnTo>
                      <a:lnTo>
                        <a:pt x="735" y="153"/>
                      </a:lnTo>
                      <a:lnTo>
                        <a:pt x="736" y="153"/>
                      </a:lnTo>
                      <a:lnTo>
                        <a:pt x="735" y="153"/>
                      </a:lnTo>
                      <a:lnTo>
                        <a:pt x="735" y="151"/>
                      </a:lnTo>
                      <a:lnTo>
                        <a:pt x="733" y="151"/>
                      </a:lnTo>
                      <a:lnTo>
                        <a:pt x="733" y="149"/>
                      </a:lnTo>
                      <a:lnTo>
                        <a:pt x="733" y="151"/>
                      </a:lnTo>
                      <a:lnTo>
                        <a:pt x="731" y="151"/>
                      </a:lnTo>
                      <a:lnTo>
                        <a:pt x="730" y="151"/>
                      </a:lnTo>
                      <a:lnTo>
                        <a:pt x="731" y="153"/>
                      </a:lnTo>
                      <a:lnTo>
                        <a:pt x="731" y="154"/>
                      </a:lnTo>
                      <a:lnTo>
                        <a:pt x="730" y="154"/>
                      </a:lnTo>
                      <a:lnTo>
                        <a:pt x="728" y="154"/>
                      </a:lnTo>
                      <a:lnTo>
                        <a:pt x="730" y="154"/>
                      </a:lnTo>
                      <a:lnTo>
                        <a:pt x="728" y="154"/>
                      </a:lnTo>
                      <a:lnTo>
                        <a:pt x="728" y="156"/>
                      </a:lnTo>
                      <a:lnTo>
                        <a:pt x="728" y="158"/>
                      </a:lnTo>
                      <a:lnTo>
                        <a:pt x="730" y="158"/>
                      </a:lnTo>
                      <a:lnTo>
                        <a:pt x="730" y="159"/>
                      </a:lnTo>
                      <a:lnTo>
                        <a:pt x="728" y="158"/>
                      </a:lnTo>
                      <a:lnTo>
                        <a:pt x="728" y="159"/>
                      </a:lnTo>
                      <a:lnTo>
                        <a:pt x="728" y="161"/>
                      </a:lnTo>
                      <a:lnTo>
                        <a:pt x="728" y="163"/>
                      </a:lnTo>
                      <a:lnTo>
                        <a:pt x="730" y="163"/>
                      </a:lnTo>
                      <a:lnTo>
                        <a:pt x="728" y="163"/>
                      </a:lnTo>
                      <a:lnTo>
                        <a:pt x="728" y="164"/>
                      </a:lnTo>
                      <a:lnTo>
                        <a:pt x="726" y="166"/>
                      </a:lnTo>
                      <a:lnTo>
                        <a:pt x="728" y="166"/>
                      </a:lnTo>
                      <a:lnTo>
                        <a:pt x="728" y="164"/>
                      </a:lnTo>
                      <a:lnTo>
                        <a:pt x="730" y="164"/>
                      </a:lnTo>
                      <a:lnTo>
                        <a:pt x="728" y="164"/>
                      </a:lnTo>
                      <a:lnTo>
                        <a:pt x="728" y="166"/>
                      </a:lnTo>
                      <a:lnTo>
                        <a:pt x="730" y="166"/>
                      </a:lnTo>
                      <a:lnTo>
                        <a:pt x="728" y="166"/>
                      </a:lnTo>
                      <a:lnTo>
                        <a:pt x="730" y="166"/>
                      </a:lnTo>
                      <a:lnTo>
                        <a:pt x="730" y="164"/>
                      </a:lnTo>
                      <a:lnTo>
                        <a:pt x="731" y="164"/>
                      </a:lnTo>
                      <a:lnTo>
                        <a:pt x="731" y="166"/>
                      </a:lnTo>
                      <a:lnTo>
                        <a:pt x="730" y="166"/>
                      </a:lnTo>
                      <a:lnTo>
                        <a:pt x="728" y="168"/>
                      </a:lnTo>
                      <a:lnTo>
                        <a:pt x="730" y="168"/>
                      </a:lnTo>
                      <a:lnTo>
                        <a:pt x="728" y="168"/>
                      </a:lnTo>
                      <a:lnTo>
                        <a:pt x="728" y="169"/>
                      </a:lnTo>
                      <a:lnTo>
                        <a:pt x="728" y="171"/>
                      </a:lnTo>
                      <a:lnTo>
                        <a:pt x="728" y="169"/>
                      </a:lnTo>
                      <a:lnTo>
                        <a:pt x="730" y="169"/>
                      </a:lnTo>
                      <a:lnTo>
                        <a:pt x="730" y="171"/>
                      </a:lnTo>
                      <a:lnTo>
                        <a:pt x="728" y="171"/>
                      </a:lnTo>
                      <a:lnTo>
                        <a:pt x="728" y="172"/>
                      </a:lnTo>
                      <a:lnTo>
                        <a:pt x="728" y="174"/>
                      </a:lnTo>
                      <a:lnTo>
                        <a:pt x="728" y="172"/>
                      </a:lnTo>
                      <a:lnTo>
                        <a:pt x="730" y="172"/>
                      </a:lnTo>
                      <a:lnTo>
                        <a:pt x="730" y="174"/>
                      </a:lnTo>
                      <a:lnTo>
                        <a:pt x="731" y="172"/>
                      </a:lnTo>
                      <a:lnTo>
                        <a:pt x="731" y="174"/>
                      </a:lnTo>
                      <a:lnTo>
                        <a:pt x="731" y="176"/>
                      </a:lnTo>
                      <a:lnTo>
                        <a:pt x="731" y="174"/>
                      </a:lnTo>
                      <a:lnTo>
                        <a:pt x="730" y="176"/>
                      </a:lnTo>
                      <a:lnTo>
                        <a:pt x="730" y="174"/>
                      </a:lnTo>
                      <a:lnTo>
                        <a:pt x="730" y="176"/>
                      </a:lnTo>
                      <a:lnTo>
                        <a:pt x="728" y="177"/>
                      </a:lnTo>
                      <a:lnTo>
                        <a:pt x="728" y="179"/>
                      </a:lnTo>
                      <a:lnTo>
                        <a:pt x="730" y="179"/>
                      </a:lnTo>
                      <a:lnTo>
                        <a:pt x="728" y="181"/>
                      </a:lnTo>
                      <a:lnTo>
                        <a:pt x="728" y="182"/>
                      </a:lnTo>
                      <a:lnTo>
                        <a:pt x="726" y="182"/>
                      </a:lnTo>
                      <a:lnTo>
                        <a:pt x="725" y="182"/>
                      </a:lnTo>
                      <a:lnTo>
                        <a:pt x="725" y="184"/>
                      </a:lnTo>
                      <a:lnTo>
                        <a:pt x="723" y="184"/>
                      </a:lnTo>
                      <a:lnTo>
                        <a:pt x="725" y="184"/>
                      </a:lnTo>
                      <a:lnTo>
                        <a:pt x="726" y="184"/>
                      </a:lnTo>
                      <a:lnTo>
                        <a:pt x="728" y="182"/>
                      </a:lnTo>
                      <a:lnTo>
                        <a:pt x="728" y="184"/>
                      </a:lnTo>
                      <a:lnTo>
                        <a:pt x="728" y="182"/>
                      </a:lnTo>
                      <a:lnTo>
                        <a:pt x="730" y="182"/>
                      </a:lnTo>
                      <a:lnTo>
                        <a:pt x="728" y="182"/>
                      </a:lnTo>
                      <a:lnTo>
                        <a:pt x="728" y="184"/>
                      </a:lnTo>
                      <a:lnTo>
                        <a:pt x="728" y="186"/>
                      </a:lnTo>
                      <a:lnTo>
                        <a:pt x="726" y="186"/>
                      </a:lnTo>
                      <a:lnTo>
                        <a:pt x="728" y="187"/>
                      </a:lnTo>
                      <a:lnTo>
                        <a:pt x="726" y="187"/>
                      </a:lnTo>
                      <a:lnTo>
                        <a:pt x="725" y="187"/>
                      </a:lnTo>
                      <a:lnTo>
                        <a:pt x="725" y="189"/>
                      </a:lnTo>
                      <a:lnTo>
                        <a:pt x="726" y="189"/>
                      </a:lnTo>
                      <a:lnTo>
                        <a:pt x="725" y="189"/>
                      </a:lnTo>
                      <a:lnTo>
                        <a:pt x="723" y="189"/>
                      </a:lnTo>
                      <a:lnTo>
                        <a:pt x="723" y="191"/>
                      </a:lnTo>
                      <a:lnTo>
                        <a:pt x="725" y="191"/>
                      </a:lnTo>
                      <a:lnTo>
                        <a:pt x="723" y="191"/>
                      </a:lnTo>
                      <a:lnTo>
                        <a:pt x="723" y="192"/>
                      </a:lnTo>
                      <a:lnTo>
                        <a:pt x="721" y="192"/>
                      </a:lnTo>
                      <a:lnTo>
                        <a:pt x="723" y="192"/>
                      </a:lnTo>
                      <a:lnTo>
                        <a:pt x="723" y="194"/>
                      </a:lnTo>
                      <a:lnTo>
                        <a:pt x="721" y="194"/>
                      </a:lnTo>
                      <a:lnTo>
                        <a:pt x="719" y="194"/>
                      </a:lnTo>
                      <a:lnTo>
                        <a:pt x="718" y="194"/>
                      </a:lnTo>
                      <a:lnTo>
                        <a:pt x="716" y="194"/>
                      </a:lnTo>
                      <a:lnTo>
                        <a:pt x="718" y="194"/>
                      </a:lnTo>
                      <a:lnTo>
                        <a:pt x="716" y="194"/>
                      </a:lnTo>
                      <a:lnTo>
                        <a:pt x="716" y="192"/>
                      </a:lnTo>
                      <a:lnTo>
                        <a:pt x="714" y="192"/>
                      </a:lnTo>
                      <a:lnTo>
                        <a:pt x="714" y="194"/>
                      </a:lnTo>
                      <a:lnTo>
                        <a:pt x="716" y="194"/>
                      </a:lnTo>
                      <a:lnTo>
                        <a:pt x="714" y="194"/>
                      </a:lnTo>
                      <a:lnTo>
                        <a:pt x="716" y="194"/>
                      </a:lnTo>
                      <a:lnTo>
                        <a:pt x="714" y="194"/>
                      </a:lnTo>
                      <a:lnTo>
                        <a:pt x="716" y="194"/>
                      </a:lnTo>
                      <a:lnTo>
                        <a:pt x="716" y="195"/>
                      </a:lnTo>
                      <a:lnTo>
                        <a:pt x="714" y="195"/>
                      </a:lnTo>
                      <a:lnTo>
                        <a:pt x="716" y="195"/>
                      </a:lnTo>
                      <a:lnTo>
                        <a:pt x="714" y="195"/>
                      </a:lnTo>
                      <a:lnTo>
                        <a:pt x="716" y="195"/>
                      </a:lnTo>
                      <a:lnTo>
                        <a:pt x="716" y="197"/>
                      </a:lnTo>
                      <a:lnTo>
                        <a:pt x="716" y="199"/>
                      </a:lnTo>
                      <a:lnTo>
                        <a:pt x="714" y="199"/>
                      </a:lnTo>
                      <a:lnTo>
                        <a:pt x="716" y="197"/>
                      </a:lnTo>
                      <a:lnTo>
                        <a:pt x="714" y="197"/>
                      </a:lnTo>
                      <a:lnTo>
                        <a:pt x="714" y="199"/>
                      </a:lnTo>
                      <a:lnTo>
                        <a:pt x="714" y="197"/>
                      </a:lnTo>
                      <a:lnTo>
                        <a:pt x="716" y="197"/>
                      </a:lnTo>
                      <a:lnTo>
                        <a:pt x="714" y="197"/>
                      </a:lnTo>
                      <a:lnTo>
                        <a:pt x="714" y="195"/>
                      </a:lnTo>
                      <a:lnTo>
                        <a:pt x="713" y="195"/>
                      </a:lnTo>
                      <a:lnTo>
                        <a:pt x="714" y="195"/>
                      </a:lnTo>
                      <a:lnTo>
                        <a:pt x="713" y="195"/>
                      </a:lnTo>
                      <a:lnTo>
                        <a:pt x="711" y="195"/>
                      </a:lnTo>
                      <a:lnTo>
                        <a:pt x="711" y="194"/>
                      </a:lnTo>
                      <a:lnTo>
                        <a:pt x="711" y="195"/>
                      </a:lnTo>
                      <a:lnTo>
                        <a:pt x="709" y="195"/>
                      </a:lnTo>
                      <a:lnTo>
                        <a:pt x="711" y="195"/>
                      </a:lnTo>
                      <a:lnTo>
                        <a:pt x="711" y="197"/>
                      </a:lnTo>
                      <a:lnTo>
                        <a:pt x="709" y="197"/>
                      </a:lnTo>
                      <a:lnTo>
                        <a:pt x="711" y="197"/>
                      </a:lnTo>
                      <a:lnTo>
                        <a:pt x="709" y="197"/>
                      </a:lnTo>
                      <a:lnTo>
                        <a:pt x="711" y="197"/>
                      </a:lnTo>
                      <a:lnTo>
                        <a:pt x="709" y="199"/>
                      </a:lnTo>
                      <a:lnTo>
                        <a:pt x="711" y="199"/>
                      </a:lnTo>
                      <a:lnTo>
                        <a:pt x="709" y="199"/>
                      </a:lnTo>
                      <a:lnTo>
                        <a:pt x="709" y="200"/>
                      </a:lnTo>
                      <a:lnTo>
                        <a:pt x="708" y="200"/>
                      </a:lnTo>
                      <a:lnTo>
                        <a:pt x="709" y="200"/>
                      </a:lnTo>
                      <a:lnTo>
                        <a:pt x="711" y="200"/>
                      </a:lnTo>
                      <a:lnTo>
                        <a:pt x="709" y="202"/>
                      </a:lnTo>
                      <a:lnTo>
                        <a:pt x="711" y="202"/>
                      </a:lnTo>
                      <a:lnTo>
                        <a:pt x="709" y="202"/>
                      </a:lnTo>
                      <a:lnTo>
                        <a:pt x="709" y="204"/>
                      </a:lnTo>
                      <a:lnTo>
                        <a:pt x="711" y="204"/>
                      </a:lnTo>
                      <a:lnTo>
                        <a:pt x="711" y="205"/>
                      </a:lnTo>
                      <a:lnTo>
                        <a:pt x="713" y="205"/>
                      </a:lnTo>
                      <a:lnTo>
                        <a:pt x="711" y="205"/>
                      </a:lnTo>
                      <a:lnTo>
                        <a:pt x="713" y="205"/>
                      </a:lnTo>
                      <a:lnTo>
                        <a:pt x="713" y="204"/>
                      </a:lnTo>
                      <a:lnTo>
                        <a:pt x="711" y="204"/>
                      </a:lnTo>
                      <a:lnTo>
                        <a:pt x="713" y="204"/>
                      </a:lnTo>
                      <a:lnTo>
                        <a:pt x="711" y="204"/>
                      </a:lnTo>
                      <a:lnTo>
                        <a:pt x="713" y="202"/>
                      </a:lnTo>
                      <a:lnTo>
                        <a:pt x="713" y="204"/>
                      </a:lnTo>
                      <a:lnTo>
                        <a:pt x="714" y="204"/>
                      </a:lnTo>
                      <a:lnTo>
                        <a:pt x="714" y="205"/>
                      </a:lnTo>
                      <a:lnTo>
                        <a:pt x="716" y="205"/>
                      </a:lnTo>
                      <a:lnTo>
                        <a:pt x="716" y="207"/>
                      </a:lnTo>
                      <a:lnTo>
                        <a:pt x="718" y="207"/>
                      </a:lnTo>
                      <a:lnTo>
                        <a:pt x="719" y="207"/>
                      </a:lnTo>
                      <a:lnTo>
                        <a:pt x="718" y="207"/>
                      </a:lnTo>
                      <a:lnTo>
                        <a:pt x="718" y="209"/>
                      </a:lnTo>
                      <a:lnTo>
                        <a:pt x="719" y="209"/>
                      </a:lnTo>
                      <a:lnTo>
                        <a:pt x="721" y="209"/>
                      </a:lnTo>
                      <a:lnTo>
                        <a:pt x="719" y="209"/>
                      </a:lnTo>
                      <a:lnTo>
                        <a:pt x="719" y="207"/>
                      </a:lnTo>
                      <a:lnTo>
                        <a:pt x="719" y="205"/>
                      </a:lnTo>
                      <a:lnTo>
                        <a:pt x="718" y="205"/>
                      </a:lnTo>
                      <a:lnTo>
                        <a:pt x="716" y="205"/>
                      </a:lnTo>
                      <a:lnTo>
                        <a:pt x="716" y="204"/>
                      </a:lnTo>
                      <a:lnTo>
                        <a:pt x="714" y="204"/>
                      </a:lnTo>
                      <a:lnTo>
                        <a:pt x="714" y="202"/>
                      </a:lnTo>
                      <a:lnTo>
                        <a:pt x="713" y="202"/>
                      </a:lnTo>
                      <a:lnTo>
                        <a:pt x="713" y="200"/>
                      </a:lnTo>
                      <a:lnTo>
                        <a:pt x="714" y="200"/>
                      </a:lnTo>
                      <a:lnTo>
                        <a:pt x="716" y="200"/>
                      </a:lnTo>
                      <a:lnTo>
                        <a:pt x="718" y="200"/>
                      </a:lnTo>
                      <a:lnTo>
                        <a:pt x="718" y="199"/>
                      </a:lnTo>
                      <a:lnTo>
                        <a:pt x="719" y="199"/>
                      </a:lnTo>
                      <a:lnTo>
                        <a:pt x="721" y="199"/>
                      </a:lnTo>
                      <a:lnTo>
                        <a:pt x="723" y="199"/>
                      </a:lnTo>
                      <a:lnTo>
                        <a:pt x="723" y="197"/>
                      </a:lnTo>
                      <a:lnTo>
                        <a:pt x="725" y="197"/>
                      </a:lnTo>
                      <a:lnTo>
                        <a:pt x="726" y="197"/>
                      </a:lnTo>
                      <a:lnTo>
                        <a:pt x="726" y="195"/>
                      </a:lnTo>
                      <a:lnTo>
                        <a:pt x="728" y="195"/>
                      </a:lnTo>
                      <a:lnTo>
                        <a:pt x="730" y="195"/>
                      </a:lnTo>
                      <a:lnTo>
                        <a:pt x="731" y="195"/>
                      </a:lnTo>
                      <a:lnTo>
                        <a:pt x="733" y="195"/>
                      </a:lnTo>
                      <a:lnTo>
                        <a:pt x="733" y="197"/>
                      </a:lnTo>
                      <a:lnTo>
                        <a:pt x="735" y="197"/>
                      </a:lnTo>
                      <a:lnTo>
                        <a:pt x="736" y="197"/>
                      </a:lnTo>
                      <a:lnTo>
                        <a:pt x="738" y="199"/>
                      </a:lnTo>
                      <a:lnTo>
                        <a:pt x="738" y="200"/>
                      </a:lnTo>
                      <a:lnTo>
                        <a:pt x="740" y="200"/>
                      </a:lnTo>
                      <a:lnTo>
                        <a:pt x="740" y="202"/>
                      </a:lnTo>
                      <a:lnTo>
                        <a:pt x="738" y="202"/>
                      </a:lnTo>
                      <a:lnTo>
                        <a:pt x="740" y="202"/>
                      </a:lnTo>
                      <a:lnTo>
                        <a:pt x="741" y="202"/>
                      </a:lnTo>
                      <a:lnTo>
                        <a:pt x="741" y="204"/>
                      </a:lnTo>
                      <a:lnTo>
                        <a:pt x="743" y="204"/>
                      </a:lnTo>
                      <a:lnTo>
                        <a:pt x="745" y="204"/>
                      </a:lnTo>
                      <a:lnTo>
                        <a:pt x="746" y="205"/>
                      </a:lnTo>
                      <a:lnTo>
                        <a:pt x="748" y="204"/>
                      </a:lnTo>
                      <a:lnTo>
                        <a:pt x="748" y="205"/>
                      </a:lnTo>
                      <a:lnTo>
                        <a:pt x="750" y="205"/>
                      </a:lnTo>
                      <a:lnTo>
                        <a:pt x="750" y="207"/>
                      </a:lnTo>
                      <a:lnTo>
                        <a:pt x="748" y="207"/>
                      </a:lnTo>
                      <a:lnTo>
                        <a:pt x="750" y="207"/>
                      </a:lnTo>
                      <a:lnTo>
                        <a:pt x="752" y="207"/>
                      </a:lnTo>
                      <a:lnTo>
                        <a:pt x="750" y="209"/>
                      </a:lnTo>
                      <a:lnTo>
                        <a:pt x="750" y="210"/>
                      </a:lnTo>
                      <a:lnTo>
                        <a:pt x="748" y="212"/>
                      </a:lnTo>
                      <a:lnTo>
                        <a:pt x="746" y="214"/>
                      </a:lnTo>
                      <a:lnTo>
                        <a:pt x="745" y="217"/>
                      </a:lnTo>
                      <a:lnTo>
                        <a:pt x="743" y="218"/>
                      </a:lnTo>
                      <a:lnTo>
                        <a:pt x="738" y="223"/>
                      </a:lnTo>
                      <a:lnTo>
                        <a:pt x="736" y="227"/>
                      </a:lnTo>
                      <a:lnTo>
                        <a:pt x="735" y="230"/>
                      </a:lnTo>
                      <a:lnTo>
                        <a:pt x="733" y="230"/>
                      </a:lnTo>
                      <a:lnTo>
                        <a:pt x="733" y="232"/>
                      </a:lnTo>
                      <a:lnTo>
                        <a:pt x="731" y="232"/>
                      </a:lnTo>
                      <a:lnTo>
                        <a:pt x="730" y="235"/>
                      </a:lnTo>
                      <a:lnTo>
                        <a:pt x="726" y="241"/>
                      </a:lnTo>
                      <a:lnTo>
                        <a:pt x="725" y="243"/>
                      </a:lnTo>
                      <a:lnTo>
                        <a:pt x="725" y="245"/>
                      </a:lnTo>
                      <a:lnTo>
                        <a:pt x="723" y="246"/>
                      </a:lnTo>
                      <a:lnTo>
                        <a:pt x="723" y="248"/>
                      </a:lnTo>
                      <a:lnTo>
                        <a:pt x="721" y="251"/>
                      </a:lnTo>
                      <a:lnTo>
                        <a:pt x="719" y="253"/>
                      </a:lnTo>
                      <a:lnTo>
                        <a:pt x="719" y="255"/>
                      </a:lnTo>
                      <a:lnTo>
                        <a:pt x="718" y="256"/>
                      </a:lnTo>
                      <a:lnTo>
                        <a:pt x="718" y="258"/>
                      </a:lnTo>
                      <a:lnTo>
                        <a:pt x="714" y="263"/>
                      </a:lnTo>
                      <a:lnTo>
                        <a:pt x="714" y="264"/>
                      </a:lnTo>
                      <a:lnTo>
                        <a:pt x="713" y="266"/>
                      </a:lnTo>
                      <a:lnTo>
                        <a:pt x="713" y="268"/>
                      </a:lnTo>
                      <a:lnTo>
                        <a:pt x="713" y="269"/>
                      </a:lnTo>
                      <a:lnTo>
                        <a:pt x="711" y="273"/>
                      </a:lnTo>
                      <a:lnTo>
                        <a:pt x="708" y="278"/>
                      </a:lnTo>
                      <a:lnTo>
                        <a:pt x="706" y="284"/>
                      </a:lnTo>
                      <a:lnTo>
                        <a:pt x="704" y="289"/>
                      </a:lnTo>
                      <a:lnTo>
                        <a:pt x="703" y="291"/>
                      </a:lnTo>
                      <a:lnTo>
                        <a:pt x="703" y="292"/>
                      </a:lnTo>
                      <a:lnTo>
                        <a:pt x="703" y="294"/>
                      </a:lnTo>
                      <a:lnTo>
                        <a:pt x="701" y="296"/>
                      </a:lnTo>
                      <a:lnTo>
                        <a:pt x="701" y="297"/>
                      </a:lnTo>
                      <a:lnTo>
                        <a:pt x="698" y="304"/>
                      </a:lnTo>
                      <a:lnTo>
                        <a:pt x="698" y="305"/>
                      </a:lnTo>
                      <a:lnTo>
                        <a:pt x="696" y="307"/>
                      </a:lnTo>
                      <a:lnTo>
                        <a:pt x="696" y="310"/>
                      </a:lnTo>
                      <a:lnTo>
                        <a:pt x="694" y="312"/>
                      </a:lnTo>
                      <a:lnTo>
                        <a:pt x="692" y="315"/>
                      </a:lnTo>
                      <a:lnTo>
                        <a:pt x="691" y="319"/>
                      </a:lnTo>
                      <a:lnTo>
                        <a:pt x="689" y="319"/>
                      </a:lnTo>
                      <a:lnTo>
                        <a:pt x="689" y="320"/>
                      </a:lnTo>
                      <a:lnTo>
                        <a:pt x="687" y="322"/>
                      </a:lnTo>
                      <a:lnTo>
                        <a:pt x="686" y="324"/>
                      </a:lnTo>
                      <a:lnTo>
                        <a:pt x="682" y="330"/>
                      </a:lnTo>
                      <a:lnTo>
                        <a:pt x="679" y="333"/>
                      </a:lnTo>
                      <a:lnTo>
                        <a:pt x="677" y="335"/>
                      </a:lnTo>
                      <a:lnTo>
                        <a:pt x="672" y="345"/>
                      </a:lnTo>
                      <a:lnTo>
                        <a:pt x="669" y="348"/>
                      </a:lnTo>
                      <a:lnTo>
                        <a:pt x="664" y="353"/>
                      </a:lnTo>
                      <a:lnTo>
                        <a:pt x="664" y="355"/>
                      </a:lnTo>
                      <a:lnTo>
                        <a:pt x="660" y="358"/>
                      </a:lnTo>
                      <a:lnTo>
                        <a:pt x="659" y="360"/>
                      </a:lnTo>
                      <a:lnTo>
                        <a:pt x="657" y="363"/>
                      </a:lnTo>
                      <a:lnTo>
                        <a:pt x="657" y="365"/>
                      </a:lnTo>
                      <a:lnTo>
                        <a:pt x="652" y="370"/>
                      </a:lnTo>
                      <a:lnTo>
                        <a:pt x="650" y="373"/>
                      </a:lnTo>
                      <a:lnTo>
                        <a:pt x="649" y="374"/>
                      </a:lnTo>
                      <a:lnTo>
                        <a:pt x="647" y="376"/>
                      </a:lnTo>
                      <a:lnTo>
                        <a:pt x="645" y="378"/>
                      </a:lnTo>
                      <a:lnTo>
                        <a:pt x="638" y="384"/>
                      </a:lnTo>
                      <a:lnTo>
                        <a:pt x="637" y="386"/>
                      </a:lnTo>
                      <a:lnTo>
                        <a:pt x="635" y="388"/>
                      </a:lnTo>
                      <a:lnTo>
                        <a:pt x="633" y="389"/>
                      </a:lnTo>
                      <a:lnTo>
                        <a:pt x="630" y="391"/>
                      </a:lnTo>
                      <a:lnTo>
                        <a:pt x="627" y="394"/>
                      </a:lnTo>
                      <a:lnTo>
                        <a:pt x="625" y="396"/>
                      </a:lnTo>
                      <a:lnTo>
                        <a:pt x="622" y="399"/>
                      </a:lnTo>
                      <a:lnTo>
                        <a:pt x="618" y="401"/>
                      </a:lnTo>
                      <a:lnTo>
                        <a:pt x="616" y="404"/>
                      </a:lnTo>
                      <a:lnTo>
                        <a:pt x="615" y="404"/>
                      </a:lnTo>
                      <a:lnTo>
                        <a:pt x="615" y="406"/>
                      </a:lnTo>
                      <a:lnTo>
                        <a:pt x="613" y="406"/>
                      </a:lnTo>
                      <a:lnTo>
                        <a:pt x="613" y="407"/>
                      </a:lnTo>
                      <a:lnTo>
                        <a:pt x="611" y="407"/>
                      </a:lnTo>
                      <a:lnTo>
                        <a:pt x="610" y="411"/>
                      </a:lnTo>
                      <a:lnTo>
                        <a:pt x="608" y="412"/>
                      </a:lnTo>
                      <a:lnTo>
                        <a:pt x="606" y="412"/>
                      </a:lnTo>
                      <a:lnTo>
                        <a:pt x="606" y="414"/>
                      </a:lnTo>
                      <a:lnTo>
                        <a:pt x="596" y="420"/>
                      </a:lnTo>
                      <a:lnTo>
                        <a:pt x="593" y="422"/>
                      </a:lnTo>
                      <a:lnTo>
                        <a:pt x="593" y="424"/>
                      </a:lnTo>
                      <a:lnTo>
                        <a:pt x="591" y="424"/>
                      </a:lnTo>
                      <a:lnTo>
                        <a:pt x="588" y="425"/>
                      </a:lnTo>
                      <a:lnTo>
                        <a:pt x="586" y="427"/>
                      </a:lnTo>
                      <a:lnTo>
                        <a:pt x="584" y="429"/>
                      </a:lnTo>
                      <a:lnTo>
                        <a:pt x="583" y="429"/>
                      </a:lnTo>
                      <a:lnTo>
                        <a:pt x="581" y="430"/>
                      </a:lnTo>
                      <a:lnTo>
                        <a:pt x="579" y="430"/>
                      </a:lnTo>
                      <a:lnTo>
                        <a:pt x="579" y="432"/>
                      </a:lnTo>
                      <a:lnTo>
                        <a:pt x="578" y="432"/>
                      </a:lnTo>
                      <a:lnTo>
                        <a:pt x="574" y="434"/>
                      </a:lnTo>
                      <a:lnTo>
                        <a:pt x="571" y="435"/>
                      </a:lnTo>
                      <a:lnTo>
                        <a:pt x="571" y="437"/>
                      </a:lnTo>
                      <a:lnTo>
                        <a:pt x="567" y="437"/>
                      </a:lnTo>
                      <a:lnTo>
                        <a:pt x="566" y="439"/>
                      </a:lnTo>
                      <a:lnTo>
                        <a:pt x="564" y="439"/>
                      </a:lnTo>
                      <a:lnTo>
                        <a:pt x="557" y="442"/>
                      </a:lnTo>
                      <a:lnTo>
                        <a:pt x="551" y="445"/>
                      </a:lnTo>
                      <a:lnTo>
                        <a:pt x="547" y="448"/>
                      </a:lnTo>
                      <a:lnTo>
                        <a:pt x="544" y="450"/>
                      </a:lnTo>
                      <a:lnTo>
                        <a:pt x="540" y="453"/>
                      </a:lnTo>
                      <a:lnTo>
                        <a:pt x="539" y="455"/>
                      </a:lnTo>
                      <a:lnTo>
                        <a:pt x="537" y="458"/>
                      </a:lnTo>
                      <a:lnTo>
                        <a:pt x="535" y="458"/>
                      </a:lnTo>
                      <a:lnTo>
                        <a:pt x="534" y="460"/>
                      </a:lnTo>
                      <a:lnTo>
                        <a:pt x="532" y="462"/>
                      </a:lnTo>
                      <a:lnTo>
                        <a:pt x="532" y="463"/>
                      </a:lnTo>
                      <a:lnTo>
                        <a:pt x="530" y="465"/>
                      </a:lnTo>
                      <a:lnTo>
                        <a:pt x="527" y="466"/>
                      </a:lnTo>
                      <a:lnTo>
                        <a:pt x="527" y="468"/>
                      </a:lnTo>
                      <a:lnTo>
                        <a:pt x="527" y="470"/>
                      </a:lnTo>
                      <a:lnTo>
                        <a:pt x="527" y="471"/>
                      </a:lnTo>
                      <a:lnTo>
                        <a:pt x="527" y="470"/>
                      </a:lnTo>
                      <a:lnTo>
                        <a:pt x="525" y="470"/>
                      </a:lnTo>
                      <a:lnTo>
                        <a:pt x="525" y="468"/>
                      </a:lnTo>
                      <a:lnTo>
                        <a:pt x="524" y="468"/>
                      </a:lnTo>
                      <a:lnTo>
                        <a:pt x="524" y="470"/>
                      </a:lnTo>
                      <a:lnTo>
                        <a:pt x="522" y="470"/>
                      </a:lnTo>
                      <a:lnTo>
                        <a:pt x="520" y="470"/>
                      </a:lnTo>
                      <a:lnTo>
                        <a:pt x="520" y="471"/>
                      </a:lnTo>
                      <a:lnTo>
                        <a:pt x="518" y="473"/>
                      </a:lnTo>
                      <a:lnTo>
                        <a:pt x="517" y="473"/>
                      </a:lnTo>
                      <a:lnTo>
                        <a:pt x="517" y="475"/>
                      </a:lnTo>
                      <a:lnTo>
                        <a:pt x="515" y="476"/>
                      </a:lnTo>
                      <a:lnTo>
                        <a:pt x="513" y="476"/>
                      </a:lnTo>
                      <a:lnTo>
                        <a:pt x="512" y="480"/>
                      </a:lnTo>
                      <a:lnTo>
                        <a:pt x="510" y="481"/>
                      </a:lnTo>
                      <a:lnTo>
                        <a:pt x="507" y="485"/>
                      </a:lnTo>
                      <a:lnTo>
                        <a:pt x="505" y="489"/>
                      </a:lnTo>
                      <a:lnTo>
                        <a:pt x="503" y="489"/>
                      </a:lnTo>
                      <a:lnTo>
                        <a:pt x="503" y="491"/>
                      </a:lnTo>
                      <a:lnTo>
                        <a:pt x="503" y="493"/>
                      </a:lnTo>
                      <a:lnTo>
                        <a:pt x="502" y="496"/>
                      </a:lnTo>
                      <a:lnTo>
                        <a:pt x="500" y="498"/>
                      </a:lnTo>
                      <a:lnTo>
                        <a:pt x="500" y="499"/>
                      </a:lnTo>
                      <a:lnTo>
                        <a:pt x="498" y="499"/>
                      </a:lnTo>
                      <a:lnTo>
                        <a:pt x="498" y="503"/>
                      </a:lnTo>
                      <a:lnTo>
                        <a:pt x="497" y="504"/>
                      </a:lnTo>
                      <a:lnTo>
                        <a:pt x="497" y="506"/>
                      </a:lnTo>
                      <a:lnTo>
                        <a:pt x="495" y="509"/>
                      </a:lnTo>
                      <a:lnTo>
                        <a:pt x="495" y="511"/>
                      </a:lnTo>
                      <a:lnTo>
                        <a:pt x="493" y="519"/>
                      </a:lnTo>
                      <a:lnTo>
                        <a:pt x="491" y="522"/>
                      </a:lnTo>
                      <a:lnTo>
                        <a:pt x="491" y="524"/>
                      </a:lnTo>
                      <a:lnTo>
                        <a:pt x="491" y="526"/>
                      </a:lnTo>
                      <a:lnTo>
                        <a:pt x="490" y="527"/>
                      </a:lnTo>
                      <a:lnTo>
                        <a:pt x="490" y="529"/>
                      </a:lnTo>
                      <a:lnTo>
                        <a:pt x="488" y="530"/>
                      </a:lnTo>
                      <a:lnTo>
                        <a:pt x="488" y="532"/>
                      </a:lnTo>
                      <a:lnTo>
                        <a:pt x="488" y="534"/>
                      </a:lnTo>
                      <a:lnTo>
                        <a:pt x="486" y="535"/>
                      </a:lnTo>
                      <a:lnTo>
                        <a:pt x="486" y="537"/>
                      </a:lnTo>
                      <a:lnTo>
                        <a:pt x="485" y="537"/>
                      </a:lnTo>
                      <a:lnTo>
                        <a:pt x="483" y="542"/>
                      </a:lnTo>
                      <a:lnTo>
                        <a:pt x="481" y="545"/>
                      </a:lnTo>
                      <a:lnTo>
                        <a:pt x="480" y="549"/>
                      </a:lnTo>
                      <a:lnTo>
                        <a:pt x="478" y="552"/>
                      </a:lnTo>
                      <a:lnTo>
                        <a:pt x="476" y="553"/>
                      </a:lnTo>
                      <a:lnTo>
                        <a:pt x="476" y="555"/>
                      </a:lnTo>
                      <a:lnTo>
                        <a:pt x="475" y="557"/>
                      </a:lnTo>
                      <a:lnTo>
                        <a:pt x="473" y="560"/>
                      </a:lnTo>
                      <a:lnTo>
                        <a:pt x="471" y="560"/>
                      </a:lnTo>
                      <a:lnTo>
                        <a:pt x="471" y="562"/>
                      </a:lnTo>
                      <a:lnTo>
                        <a:pt x="470" y="563"/>
                      </a:lnTo>
                      <a:lnTo>
                        <a:pt x="468" y="565"/>
                      </a:lnTo>
                      <a:lnTo>
                        <a:pt x="466" y="567"/>
                      </a:lnTo>
                      <a:lnTo>
                        <a:pt x="464" y="568"/>
                      </a:lnTo>
                      <a:lnTo>
                        <a:pt x="463" y="572"/>
                      </a:lnTo>
                      <a:lnTo>
                        <a:pt x="459" y="573"/>
                      </a:lnTo>
                      <a:lnTo>
                        <a:pt x="458" y="575"/>
                      </a:lnTo>
                      <a:lnTo>
                        <a:pt x="456" y="576"/>
                      </a:lnTo>
                      <a:lnTo>
                        <a:pt x="451" y="580"/>
                      </a:lnTo>
                      <a:lnTo>
                        <a:pt x="446" y="585"/>
                      </a:lnTo>
                      <a:lnTo>
                        <a:pt x="444" y="585"/>
                      </a:lnTo>
                      <a:lnTo>
                        <a:pt x="437" y="591"/>
                      </a:lnTo>
                      <a:lnTo>
                        <a:pt x="436" y="591"/>
                      </a:lnTo>
                      <a:lnTo>
                        <a:pt x="436" y="593"/>
                      </a:lnTo>
                      <a:lnTo>
                        <a:pt x="434" y="593"/>
                      </a:lnTo>
                      <a:lnTo>
                        <a:pt x="429" y="596"/>
                      </a:lnTo>
                      <a:lnTo>
                        <a:pt x="426" y="599"/>
                      </a:lnTo>
                      <a:lnTo>
                        <a:pt x="422" y="603"/>
                      </a:lnTo>
                      <a:lnTo>
                        <a:pt x="421" y="603"/>
                      </a:lnTo>
                      <a:lnTo>
                        <a:pt x="417" y="606"/>
                      </a:lnTo>
                      <a:lnTo>
                        <a:pt x="414" y="608"/>
                      </a:lnTo>
                      <a:lnTo>
                        <a:pt x="412" y="609"/>
                      </a:lnTo>
                      <a:lnTo>
                        <a:pt x="409" y="611"/>
                      </a:lnTo>
                      <a:lnTo>
                        <a:pt x="407" y="613"/>
                      </a:lnTo>
                      <a:lnTo>
                        <a:pt x="405" y="614"/>
                      </a:lnTo>
                      <a:lnTo>
                        <a:pt x="404" y="614"/>
                      </a:lnTo>
                      <a:lnTo>
                        <a:pt x="402" y="614"/>
                      </a:lnTo>
                      <a:lnTo>
                        <a:pt x="400" y="614"/>
                      </a:lnTo>
                      <a:lnTo>
                        <a:pt x="399" y="614"/>
                      </a:lnTo>
                      <a:lnTo>
                        <a:pt x="399" y="613"/>
                      </a:lnTo>
                      <a:lnTo>
                        <a:pt x="399" y="611"/>
                      </a:lnTo>
                      <a:lnTo>
                        <a:pt x="399" y="609"/>
                      </a:lnTo>
                      <a:lnTo>
                        <a:pt x="399" y="611"/>
                      </a:lnTo>
                      <a:lnTo>
                        <a:pt x="399" y="609"/>
                      </a:lnTo>
                      <a:lnTo>
                        <a:pt x="388" y="609"/>
                      </a:lnTo>
                      <a:lnTo>
                        <a:pt x="390" y="609"/>
                      </a:lnTo>
                      <a:lnTo>
                        <a:pt x="390" y="608"/>
                      </a:lnTo>
                      <a:lnTo>
                        <a:pt x="388" y="608"/>
                      </a:lnTo>
                      <a:lnTo>
                        <a:pt x="388" y="606"/>
                      </a:lnTo>
                      <a:lnTo>
                        <a:pt x="390" y="606"/>
                      </a:lnTo>
                      <a:lnTo>
                        <a:pt x="388" y="606"/>
                      </a:lnTo>
                      <a:lnTo>
                        <a:pt x="390" y="606"/>
                      </a:lnTo>
                      <a:lnTo>
                        <a:pt x="388" y="606"/>
                      </a:lnTo>
                      <a:lnTo>
                        <a:pt x="390" y="606"/>
                      </a:lnTo>
                      <a:lnTo>
                        <a:pt x="390" y="604"/>
                      </a:lnTo>
                      <a:lnTo>
                        <a:pt x="390" y="603"/>
                      </a:lnTo>
                      <a:lnTo>
                        <a:pt x="388" y="603"/>
                      </a:lnTo>
                      <a:lnTo>
                        <a:pt x="388" y="601"/>
                      </a:lnTo>
                      <a:lnTo>
                        <a:pt x="390" y="601"/>
                      </a:lnTo>
                      <a:lnTo>
                        <a:pt x="390" y="595"/>
                      </a:lnTo>
                      <a:lnTo>
                        <a:pt x="390" y="591"/>
                      </a:lnTo>
                      <a:lnTo>
                        <a:pt x="392" y="588"/>
                      </a:lnTo>
                      <a:lnTo>
                        <a:pt x="392" y="578"/>
                      </a:lnTo>
                      <a:lnTo>
                        <a:pt x="390" y="570"/>
                      </a:lnTo>
                      <a:lnTo>
                        <a:pt x="390" y="568"/>
                      </a:lnTo>
                      <a:lnTo>
                        <a:pt x="390" y="560"/>
                      </a:lnTo>
                      <a:lnTo>
                        <a:pt x="392" y="557"/>
                      </a:lnTo>
                      <a:lnTo>
                        <a:pt x="397" y="550"/>
                      </a:lnTo>
                      <a:lnTo>
                        <a:pt x="405" y="547"/>
                      </a:lnTo>
                      <a:lnTo>
                        <a:pt x="410" y="547"/>
                      </a:lnTo>
                      <a:lnTo>
                        <a:pt x="415" y="540"/>
                      </a:lnTo>
                      <a:lnTo>
                        <a:pt x="417" y="540"/>
                      </a:lnTo>
                      <a:lnTo>
                        <a:pt x="414" y="539"/>
                      </a:lnTo>
                      <a:lnTo>
                        <a:pt x="410" y="539"/>
                      </a:lnTo>
                      <a:lnTo>
                        <a:pt x="412" y="535"/>
                      </a:lnTo>
                      <a:lnTo>
                        <a:pt x="412" y="537"/>
                      </a:lnTo>
                      <a:lnTo>
                        <a:pt x="412" y="539"/>
                      </a:lnTo>
                      <a:lnTo>
                        <a:pt x="414" y="539"/>
                      </a:lnTo>
                      <a:lnTo>
                        <a:pt x="414" y="537"/>
                      </a:lnTo>
                      <a:lnTo>
                        <a:pt x="412" y="537"/>
                      </a:lnTo>
                      <a:lnTo>
                        <a:pt x="414" y="537"/>
                      </a:lnTo>
                      <a:lnTo>
                        <a:pt x="412" y="537"/>
                      </a:lnTo>
                      <a:lnTo>
                        <a:pt x="412" y="535"/>
                      </a:lnTo>
                      <a:lnTo>
                        <a:pt x="422" y="532"/>
                      </a:lnTo>
                      <a:lnTo>
                        <a:pt x="424" y="530"/>
                      </a:lnTo>
                      <a:lnTo>
                        <a:pt x="426" y="529"/>
                      </a:lnTo>
                      <a:lnTo>
                        <a:pt x="424" y="527"/>
                      </a:lnTo>
                      <a:lnTo>
                        <a:pt x="426" y="526"/>
                      </a:lnTo>
                      <a:lnTo>
                        <a:pt x="427" y="526"/>
                      </a:lnTo>
                      <a:lnTo>
                        <a:pt x="429" y="526"/>
                      </a:lnTo>
                      <a:lnTo>
                        <a:pt x="431" y="526"/>
                      </a:lnTo>
                      <a:lnTo>
                        <a:pt x="432" y="526"/>
                      </a:lnTo>
                      <a:lnTo>
                        <a:pt x="432" y="522"/>
                      </a:lnTo>
                      <a:lnTo>
                        <a:pt x="424" y="514"/>
                      </a:lnTo>
                      <a:close/>
                    </a:path>
                  </a:pathLst>
                </a:custGeom>
                <a:solidFill>
                  <a:srgbClr val="F79646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6" name="Freeform 6"/>
                <p:cNvSpPr>
                  <a:spLocks noChangeAspect="1"/>
                </p:cNvSpPr>
                <p:nvPr/>
              </p:nvSpPr>
              <p:spPr bwMode="auto">
                <a:xfrm>
                  <a:off x="4138257" y="4750464"/>
                  <a:ext cx="976930" cy="645622"/>
                </a:xfrm>
                <a:custGeom>
                  <a:avLst/>
                  <a:gdLst>
                    <a:gd name="T0" fmla="*/ 2147483647 w 627"/>
                    <a:gd name="T1" fmla="*/ 2147483647 h 386"/>
                    <a:gd name="T2" fmla="*/ 2147483647 w 627"/>
                    <a:gd name="T3" fmla="*/ 2147483647 h 386"/>
                    <a:gd name="T4" fmla="*/ 2147483647 w 627"/>
                    <a:gd name="T5" fmla="*/ 2147483647 h 386"/>
                    <a:gd name="T6" fmla="*/ 2147483647 w 627"/>
                    <a:gd name="T7" fmla="*/ 2147483647 h 386"/>
                    <a:gd name="T8" fmla="*/ 2147483647 w 627"/>
                    <a:gd name="T9" fmla="*/ 2147483647 h 386"/>
                    <a:gd name="T10" fmla="*/ 2147483647 w 627"/>
                    <a:gd name="T11" fmla="*/ 2147483647 h 386"/>
                    <a:gd name="T12" fmla="*/ 2147483647 w 627"/>
                    <a:gd name="T13" fmla="*/ 2147483647 h 386"/>
                    <a:gd name="T14" fmla="*/ 2147483647 w 627"/>
                    <a:gd name="T15" fmla="*/ 2147483647 h 386"/>
                    <a:gd name="T16" fmla="*/ 2147483647 w 627"/>
                    <a:gd name="T17" fmla="*/ 2147483647 h 386"/>
                    <a:gd name="T18" fmla="*/ 2147483647 w 627"/>
                    <a:gd name="T19" fmla="*/ 2147483647 h 386"/>
                    <a:gd name="T20" fmla="*/ 2147483647 w 627"/>
                    <a:gd name="T21" fmla="*/ 2147483647 h 386"/>
                    <a:gd name="T22" fmla="*/ 2147483647 w 627"/>
                    <a:gd name="T23" fmla="*/ 2147483647 h 386"/>
                    <a:gd name="T24" fmla="*/ 2147483647 w 627"/>
                    <a:gd name="T25" fmla="*/ 2147483647 h 386"/>
                    <a:gd name="T26" fmla="*/ 2147483647 w 627"/>
                    <a:gd name="T27" fmla="*/ 2147483647 h 386"/>
                    <a:gd name="T28" fmla="*/ 2147483647 w 627"/>
                    <a:gd name="T29" fmla="*/ 2147483647 h 386"/>
                    <a:gd name="T30" fmla="*/ 2147483647 w 627"/>
                    <a:gd name="T31" fmla="*/ 2147483647 h 386"/>
                    <a:gd name="T32" fmla="*/ 2147483647 w 627"/>
                    <a:gd name="T33" fmla="*/ 2147483647 h 386"/>
                    <a:gd name="T34" fmla="*/ 2147483647 w 627"/>
                    <a:gd name="T35" fmla="*/ 2147483647 h 386"/>
                    <a:gd name="T36" fmla="*/ 2147483647 w 627"/>
                    <a:gd name="T37" fmla="*/ 2147483647 h 386"/>
                    <a:gd name="T38" fmla="*/ 2147483647 w 627"/>
                    <a:gd name="T39" fmla="*/ 2147483647 h 386"/>
                    <a:gd name="T40" fmla="*/ 2147483647 w 627"/>
                    <a:gd name="T41" fmla="*/ 2147483647 h 386"/>
                    <a:gd name="T42" fmla="*/ 2147483647 w 627"/>
                    <a:gd name="T43" fmla="*/ 2147483647 h 386"/>
                    <a:gd name="T44" fmla="*/ 2147483647 w 627"/>
                    <a:gd name="T45" fmla="*/ 2147483647 h 386"/>
                    <a:gd name="T46" fmla="*/ 2147483647 w 627"/>
                    <a:gd name="T47" fmla="*/ 2147483647 h 386"/>
                    <a:gd name="T48" fmla="*/ 2147483647 w 627"/>
                    <a:gd name="T49" fmla="*/ 2147483647 h 386"/>
                    <a:gd name="T50" fmla="*/ 2147483647 w 627"/>
                    <a:gd name="T51" fmla="*/ 2147483647 h 386"/>
                    <a:gd name="T52" fmla="*/ 2147483647 w 627"/>
                    <a:gd name="T53" fmla="*/ 2147483647 h 386"/>
                    <a:gd name="T54" fmla="*/ 2147483647 w 627"/>
                    <a:gd name="T55" fmla="*/ 2147483647 h 386"/>
                    <a:gd name="T56" fmla="*/ 2147483647 w 627"/>
                    <a:gd name="T57" fmla="*/ 2147483647 h 386"/>
                    <a:gd name="T58" fmla="*/ 2147483647 w 627"/>
                    <a:gd name="T59" fmla="*/ 2147483647 h 386"/>
                    <a:gd name="T60" fmla="*/ 2147483647 w 627"/>
                    <a:gd name="T61" fmla="*/ 2147483647 h 386"/>
                    <a:gd name="T62" fmla="*/ 2147483647 w 627"/>
                    <a:gd name="T63" fmla="*/ 2147483647 h 386"/>
                    <a:gd name="T64" fmla="*/ 2147483647 w 627"/>
                    <a:gd name="T65" fmla="*/ 2147483647 h 386"/>
                    <a:gd name="T66" fmla="*/ 2147483647 w 627"/>
                    <a:gd name="T67" fmla="*/ 2147483647 h 386"/>
                    <a:gd name="T68" fmla="*/ 2147483647 w 627"/>
                    <a:gd name="T69" fmla="*/ 2147483647 h 386"/>
                    <a:gd name="T70" fmla="*/ 2147483647 w 627"/>
                    <a:gd name="T71" fmla="*/ 2147483647 h 386"/>
                    <a:gd name="T72" fmla="*/ 2147483647 w 627"/>
                    <a:gd name="T73" fmla="*/ 2147483647 h 386"/>
                    <a:gd name="T74" fmla="*/ 2147483647 w 627"/>
                    <a:gd name="T75" fmla="*/ 2147483647 h 386"/>
                    <a:gd name="T76" fmla="*/ 2147483647 w 627"/>
                    <a:gd name="T77" fmla="*/ 2147483647 h 386"/>
                    <a:gd name="T78" fmla="*/ 2147483647 w 627"/>
                    <a:gd name="T79" fmla="*/ 2147483647 h 386"/>
                    <a:gd name="T80" fmla="*/ 2147483647 w 627"/>
                    <a:gd name="T81" fmla="*/ 2147483647 h 386"/>
                    <a:gd name="T82" fmla="*/ 2147483647 w 627"/>
                    <a:gd name="T83" fmla="*/ 2147483647 h 386"/>
                    <a:gd name="T84" fmla="*/ 2147483647 w 627"/>
                    <a:gd name="T85" fmla="*/ 2147483647 h 386"/>
                    <a:gd name="T86" fmla="*/ 2147483647 w 627"/>
                    <a:gd name="T87" fmla="*/ 2147483647 h 386"/>
                    <a:gd name="T88" fmla="*/ 2147483647 w 627"/>
                    <a:gd name="T89" fmla="*/ 2147483647 h 386"/>
                    <a:gd name="T90" fmla="*/ 2147483647 w 627"/>
                    <a:gd name="T91" fmla="*/ 2147483647 h 386"/>
                    <a:gd name="T92" fmla="*/ 2147483647 w 627"/>
                    <a:gd name="T93" fmla="*/ 2147483647 h 386"/>
                    <a:gd name="T94" fmla="*/ 2147483647 w 627"/>
                    <a:gd name="T95" fmla="*/ 2147483647 h 386"/>
                    <a:gd name="T96" fmla="*/ 2147483647 w 627"/>
                    <a:gd name="T97" fmla="*/ 2147483647 h 386"/>
                    <a:gd name="T98" fmla="*/ 2147483647 w 627"/>
                    <a:gd name="T99" fmla="*/ 2147483647 h 386"/>
                    <a:gd name="T100" fmla="*/ 2147483647 w 627"/>
                    <a:gd name="T101" fmla="*/ 2147483647 h 386"/>
                    <a:gd name="T102" fmla="*/ 2147483647 w 627"/>
                    <a:gd name="T103" fmla="*/ 2147483647 h 386"/>
                    <a:gd name="T104" fmla="*/ 2147483647 w 627"/>
                    <a:gd name="T105" fmla="*/ 2147483647 h 386"/>
                    <a:gd name="T106" fmla="*/ 2147483647 w 627"/>
                    <a:gd name="T107" fmla="*/ 2147483647 h 386"/>
                    <a:gd name="T108" fmla="*/ 2147483647 w 627"/>
                    <a:gd name="T109" fmla="*/ 2147483647 h 386"/>
                    <a:gd name="T110" fmla="*/ 2147483647 w 627"/>
                    <a:gd name="T111" fmla="*/ 2147483647 h 386"/>
                    <a:gd name="T112" fmla="*/ 2147483647 w 627"/>
                    <a:gd name="T113" fmla="*/ 2147483647 h 386"/>
                    <a:gd name="T114" fmla="*/ 2147483647 w 627"/>
                    <a:gd name="T115" fmla="*/ 2147483647 h 386"/>
                    <a:gd name="T116" fmla="*/ 2147483647 w 627"/>
                    <a:gd name="T117" fmla="*/ 2147483647 h 386"/>
                    <a:gd name="T118" fmla="*/ 2147483647 w 627"/>
                    <a:gd name="T119" fmla="*/ 2147483647 h 386"/>
                    <a:gd name="T120" fmla="*/ 2147483647 w 627"/>
                    <a:gd name="T121" fmla="*/ 2147483647 h 386"/>
                    <a:gd name="T122" fmla="*/ 2147483647 w 627"/>
                    <a:gd name="T123" fmla="*/ 2147483647 h 386"/>
                    <a:gd name="T124" fmla="*/ 2147483647 w 627"/>
                    <a:gd name="T125" fmla="*/ 2147483647 h 38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27"/>
                    <a:gd name="T190" fmla="*/ 0 h 386"/>
                    <a:gd name="T191" fmla="*/ 627 w 627"/>
                    <a:gd name="T192" fmla="*/ 386 h 38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27" h="386">
                      <a:moveTo>
                        <a:pt x="115" y="28"/>
                      </a:moveTo>
                      <a:lnTo>
                        <a:pt x="115" y="26"/>
                      </a:lnTo>
                      <a:lnTo>
                        <a:pt x="117" y="26"/>
                      </a:lnTo>
                      <a:lnTo>
                        <a:pt x="119" y="26"/>
                      </a:lnTo>
                      <a:lnTo>
                        <a:pt x="120" y="24"/>
                      </a:lnTo>
                      <a:lnTo>
                        <a:pt x="120" y="23"/>
                      </a:lnTo>
                      <a:lnTo>
                        <a:pt x="122" y="23"/>
                      </a:lnTo>
                      <a:lnTo>
                        <a:pt x="124" y="23"/>
                      </a:lnTo>
                      <a:lnTo>
                        <a:pt x="127" y="21"/>
                      </a:lnTo>
                      <a:lnTo>
                        <a:pt x="130" y="19"/>
                      </a:lnTo>
                      <a:lnTo>
                        <a:pt x="132" y="19"/>
                      </a:lnTo>
                      <a:lnTo>
                        <a:pt x="134" y="19"/>
                      </a:lnTo>
                      <a:lnTo>
                        <a:pt x="136" y="19"/>
                      </a:lnTo>
                      <a:lnTo>
                        <a:pt x="137" y="18"/>
                      </a:lnTo>
                      <a:lnTo>
                        <a:pt x="139" y="16"/>
                      </a:lnTo>
                      <a:lnTo>
                        <a:pt x="139" y="14"/>
                      </a:lnTo>
                      <a:lnTo>
                        <a:pt x="141" y="14"/>
                      </a:lnTo>
                      <a:lnTo>
                        <a:pt x="141" y="13"/>
                      </a:lnTo>
                      <a:lnTo>
                        <a:pt x="142" y="13"/>
                      </a:lnTo>
                      <a:lnTo>
                        <a:pt x="144" y="9"/>
                      </a:lnTo>
                      <a:lnTo>
                        <a:pt x="146" y="9"/>
                      </a:lnTo>
                      <a:lnTo>
                        <a:pt x="146" y="11"/>
                      </a:lnTo>
                      <a:lnTo>
                        <a:pt x="146" y="13"/>
                      </a:lnTo>
                      <a:lnTo>
                        <a:pt x="147" y="11"/>
                      </a:lnTo>
                      <a:lnTo>
                        <a:pt x="149" y="11"/>
                      </a:lnTo>
                      <a:lnTo>
                        <a:pt x="149" y="9"/>
                      </a:lnTo>
                      <a:lnTo>
                        <a:pt x="151" y="9"/>
                      </a:lnTo>
                      <a:lnTo>
                        <a:pt x="151" y="8"/>
                      </a:lnTo>
                      <a:lnTo>
                        <a:pt x="152" y="8"/>
                      </a:lnTo>
                      <a:lnTo>
                        <a:pt x="152" y="6"/>
                      </a:lnTo>
                      <a:lnTo>
                        <a:pt x="154" y="6"/>
                      </a:lnTo>
                      <a:lnTo>
                        <a:pt x="156" y="5"/>
                      </a:lnTo>
                      <a:lnTo>
                        <a:pt x="157" y="5"/>
                      </a:lnTo>
                      <a:lnTo>
                        <a:pt x="161" y="3"/>
                      </a:lnTo>
                      <a:lnTo>
                        <a:pt x="163" y="3"/>
                      </a:lnTo>
                      <a:lnTo>
                        <a:pt x="164" y="5"/>
                      </a:lnTo>
                      <a:lnTo>
                        <a:pt x="166" y="5"/>
                      </a:lnTo>
                      <a:lnTo>
                        <a:pt x="168" y="8"/>
                      </a:lnTo>
                      <a:lnTo>
                        <a:pt x="169" y="8"/>
                      </a:lnTo>
                      <a:lnTo>
                        <a:pt x="171" y="6"/>
                      </a:lnTo>
                      <a:lnTo>
                        <a:pt x="173" y="6"/>
                      </a:lnTo>
                      <a:lnTo>
                        <a:pt x="174" y="6"/>
                      </a:lnTo>
                      <a:lnTo>
                        <a:pt x="176" y="8"/>
                      </a:lnTo>
                      <a:lnTo>
                        <a:pt x="178" y="8"/>
                      </a:lnTo>
                      <a:lnTo>
                        <a:pt x="179" y="9"/>
                      </a:lnTo>
                      <a:lnTo>
                        <a:pt x="181" y="9"/>
                      </a:lnTo>
                      <a:lnTo>
                        <a:pt x="183" y="9"/>
                      </a:lnTo>
                      <a:lnTo>
                        <a:pt x="185" y="9"/>
                      </a:lnTo>
                      <a:lnTo>
                        <a:pt x="186" y="8"/>
                      </a:lnTo>
                      <a:lnTo>
                        <a:pt x="188" y="6"/>
                      </a:lnTo>
                      <a:lnTo>
                        <a:pt x="190" y="6"/>
                      </a:lnTo>
                      <a:lnTo>
                        <a:pt x="191" y="5"/>
                      </a:lnTo>
                      <a:lnTo>
                        <a:pt x="193" y="5"/>
                      </a:lnTo>
                      <a:lnTo>
                        <a:pt x="193" y="3"/>
                      </a:lnTo>
                      <a:lnTo>
                        <a:pt x="195" y="3"/>
                      </a:lnTo>
                      <a:lnTo>
                        <a:pt x="195" y="5"/>
                      </a:lnTo>
                      <a:lnTo>
                        <a:pt x="196" y="6"/>
                      </a:lnTo>
                      <a:lnTo>
                        <a:pt x="198" y="8"/>
                      </a:lnTo>
                      <a:lnTo>
                        <a:pt x="200" y="8"/>
                      </a:lnTo>
                      <a:lnTo>
                        <a:pt x="201" y="9"/>
                      </a:lnTo>
                      <a:lnTo>
                        <a:pt x="203" y="9"/>
                      </a:lnTo>
                      <a:lnTo>
                        <a:pt x="205" y="8"/>
                      </a:lnTo>
                      <a:lnTo>
                        <a:pt x="206" y="8"/>
                      </a:lnTo>
                      <a:lnTo>
                        <a:pt x="208" y="8"/>
                      </a:lnTo>
                      <a:lnTo>
                        <a:pt x="210" y="8"/>
                      </a:lnTo>
                      <a:lnTo>
                        <a:pt x="212" y="8"/>
                      </a:lnTo>
                      <a:lnTo>
                        <a:pt x="213" y="9"/>
                      </a:lnTo>
                      <a:lnTo>
                        <a:pt x="215" y="9"/>
                      </a:lnTo>
                      <a:lnTo>
                        <a:pt x="217" y="9"/>
                      </a:lnTo>
                      <a:lnTo>
                        <a:pt x="218" y="9"/>
                      </a:lnTo>
                      <a:lnTo>
                        <a:pt x="220" y="9"/>
                      </a:lnTo>
                      <a:lnTo>
                        <a:pt x="222" y="9"/>
                      </a:lnTo>
                      <a:lnTo>
                        <a:pt x="223" y="9"/>
                      </a:lnTo>
                      <a:lnTo>
                        <a:pt x="225" y="8"/>
                      </a:lnTo>
                      <a:lnTo>
                        <a:pt x="227" y="8"/>
                      </a:lnTo>
                      <a:lnTo>
                        <a:pt x="227" y="9"/>
                      </a:lnTo>
                      <a:lnTo>
                        <a:pt x="228" y="9"/>
                      </a:lnTo>
                      <a:lnTo>
                        <a:pt x="228" y="11"/>
                      </a:lnTo>
                      <a:lnTo>
                        <a:pt x="228" y="13"/>
                      </a:lnTo>
                      <a:lnTo>
                        <a:pt x="228" y="14"/>
                      </a:lnTo>
                      <a:lnTo>
                        <a:pt x="230" y="13"/>
                      </a:lnTo>
                      <a:lnTo>
                        <a:pt x="232" y="13"/>
                      </a:lnTo>
                      <a:lnTo>
                        <a:pt x="232" y="11"/>
                      </a:lnTo>
                      <a:lnTo>
                        <a:pt x="233" y="11"/>
                      </a:lnTo>
                      <a:lnTo>
                        <a:pt x="235" y="11"/>
                      </a:lnTo>
                      <a:lnTo>
                        <a:pt x="235" y="9"/>
                      </a:lnTo>
                      <a:lnTo>
                        <a:pt x="233" y="8"/>
                      </a:lnTo>
                      <a:lnTo>
                        <a:pt x="233" y="6"/>
                      </a:lnTo>
                      <a:lnTo>
                        <a:pt x="235" y="6"/>
                      </a:lnTo>
                      <a:lnTo>
                        <a:pt x="235" y="5"/>
                      </a:lnTo>
                      <a:lnTo>
                        <a:pt x="235" y="1"/>
                      </a:lnTo>
                      <a:lnTo>
                        <a:pt x="237" y="1"/>
                      </a:lnTo>
                      <a:lnTo>
                        <a:pt x="237" y="0"/>
                      </a:lnTo>
                      <a:lnTo>
                        <a:pt x="239" y="0"/>
                      </a:lnTo>
                      <a:lnTo>
                        <a:pt x="240" y="0"/>
                      </a:lnTo>
                      <a:lnTo>
                        <a:pt x="242" y="0"/>
                      </a:lnTo>
                      <a:lnTo>
                        <a:pt x="244" y="1"/>
                      </a:lnTo>
                      <a:lnTo>
                        <a:pt x="245" y="1"/>
                      </a:lnTo>
                      <a:lnTo>
                        <a:pt x="247" y="1"/>
                      </a:lnTo>
                      <a:lnTo>
                        <a:pt x="249" y="1"/>
                      </a:lnTo>
                      <a:lnTo>
                        <a:pt x="250" y="1"/>
                      </a:lnTo>
                      <a:lnTo>
                        <a:pt x="250" y="3"/>
                      </a:lnTo>
                      <a:lnTo>
                        <a:pt x="254" y="3"/>
                      </a:lnTo>
                      <a:lnTo>
                        <a:pt x="255" y="5"/>
                      </a:lnTo>
                      <a:lnTo>
                        <a:pt x="257" y="5"/>
                      </a:lnTo>
                      <a:lnTo>
                        <a:pt x="257" y="6"/>
                      </a:lnTo>
                      <a:lnTo>
                        <a:pt x="259" y="6"/>
                      </a:lnTo>
                      <a:lnTo>
                        <a:pt x="261" y="8"/>
                      </a:lnTo>
                      <a:lnTo>
                        <a:pt x="261" y="9"/>
                      </a:lnTo>
                      <a:lnTo>
                        <a:pt x="262" y="9"/>
                      </a:lnTo>
                      <a:lnTo>
                        <a:pt x="264" y="9"/>
                      </a:lnTo>
                      <a:lnTo>
                        <a:pt x="266" y="9"/>
                      </a:lnTo>
                      <a:lnTo>
                        <a:pt x="267" y="9"/>
                      </a:lnTo>
                      <a:lnTo>
                        <a:pt x="269" y="8"/>
                      </a:lnTo>
                      <a:lnTo>
                        <a:pt x="271" y="8"/>
                      </a:lnTo>
                      <a:lnTo>
                        <a:pt x="272" y="8"/>
                      </a:lnTo>
                      <a:lnTo>
                        <a:pt x="274" y="9"/>
                      </a:lnTo>
                      <a:lnTo>
                        <a:pt x="276" y="11"/>
                      </a:lnTo>
                      <a:lnTo>
                        <a:pt x="276" y="13"/>
                      </a:lnTo>
                      <a:lnTo>
                        <a:pt x="277" y="13"/>
                      </a:lnTo>
                      <a:lnTo>
                        <a:pt x="279" y="13"/>
                      </a:lnTo>
                      <a:lnTo>
                        <a:pt x="281" y="13"/>
                      </a:lnTo>
                      <a:lnTo>
                        <a:pt x="282" y="13"/>
                      </a:lnTo>
                      <a:lnTo>
                        <a:pt x="284" y="13"/>
                      </a:lnTo>
                      <a:lnTo>
                        <a:pt x="286" y="13"/>
                      </a:lnTo>
                      <a:lnTo>
                        <a:pt x="288" y="14"/>
                      </a:lnTo>
                      <a:lnTo>
                        <a:pt x="289" y="14"/>
                      </a:lnTo>
                      <a:lnTo>
                        <a:pt x="291" y="16"/>
                      </a:lnTo>
                      <a:lnTo>
                        <a:pt x="293" y="16"/>
                      </a:lnTo>
                      <a:lnTo>
                        <a:pt x="293" y="14"/>
                      </a:lnTo>
                      <a:lnTo>
                        <a:pt x="294" y="14"/>
                      </a:lnTo>
                      <a:lnTo>
                        <a:pt x="296" y="14"/>
                      </a:lnTo>
                      <a:lnTo>
                        <a:pt x="296" y="16"/>
                      </a:lnTo>
                      <a:lnTo>
                        <a:pt x="298" y="14"/>
                      </a:lnTo>
                      <a:lnTo>
                        <a:pt x="299" y="14"/>
                      </a:lnTo>
                      <a:lnTo>
                        <a:pt x="301" y="13"/>
                      </a:lnTo>
                      <a:lnTo>
                        <a:pt x="303" y="11"/>
                      </a:lnTo>
                      <a:lnTo>
                        <a:pt x="304" y="11"/>
                      </a:lnTo>
                      <a:lnTo>
                        <a:pt x="304" y="13"/>
                      </a:lnTo>
                      <a:lnTo>
                        <a:pt x="306" y="13"/>
                      </a:lnTo>
                      <a:lnTo>
                        <a:pt x="308" y="13"/>
                      </a:lnTo>
                      <a:lnTo>
                        <a:pt x="309" y="13"/>
                      </a:lnTo>
                      <a:lnTo>
                        <a:pt x="311" y="13"/>
                      </a:lnTo>
                      <a:lnTo>
                        <a:pt x="313" y="13"/>
                      </a:lnTo>
                      <a:lnTo>
                        <a:pt x="315" y="14"/>
                      </a:lnTo>
                      <a:lnTo>
                        <a:pt x="316" y="13"/>
                      </a:lnTo>
                      <a:lnTo>
                        <a:pt x="318" y="13"/>
                      </a:lnTo>
                      <a:lnTo>
                        <a:pt x="320" y="13"/>
                      </a:lnTo>
                      <a:lnTo>
                        <a:pt x="320" y="14"/>
                      </a:lnTo>
                      <a:lnTo>
                        <a:pt x="321" y="14"/>
                      </a:lnTo>
                      <a:lnTo>
                        <a:pt x="321" y="16"/>
                      </a:lnTo>
                      <a:lnTo>
                        <a:pt x="323" y="18"/>
                      </a:lnTo>
                      <a:lnTo>
                        <a:pt x="325" y="19"/>
                      </a:lnTo>
                      <a:lnTo>
                        <a:pt x="326" y="19"/>
                      </a:lnTo>
                      <a:lnTo>
                        <a:pt x="328" y="19"/>
                      </a:lnTo>
                      <a:lnTo>
                        <a:pt x="328" y="21"/>
                      </a:lnTo>
                      <a:lnTo>
                        <a:pt x="330" y="21"/>
                      </a:lnTo>
                      <a:lnTo>
                        <a:pt x="331" y="21"/>
                      </a:lnTo>
                      <a:lnTo>
                        <a:pt x="333" y="21"/>
                      </a:lnTo>
                      <a:lnTo>
                        <a:pt x="335" y="23"/>
                      </a:lnTo>
                      <a:lnTo>
                        <a:pt x="337" y="23"/>
                      </a:lnTo>
                      <a:lnTo>
                        <a:pt x="338" y="23"/>
                      </a:lnTo>
                      <a:lnTo>
                        <a:pt x="340" y="23"/>
                      </a:lnTo>
                      <a:lnTo>
                        <a:pt x="343" y="24"/>
                      </a:lnTo>
                      <a:lnTo>
                        <a:pt x="345" y="24"/>
                      </a:lnTo>
                      <a:lnTo>
                        <a:pt x="347" y="24"/>
                      </a:lnTo>
                      <a:lnTo>
                        <a:pt x="348" y="24"/>
                      </a:lnTo>
                      <a:lnTo>
                        <a:pt x="350" y="26"/>
                      </a:lnTo>
                      <a:lnTo>
                        <a:pt x="352" y="24"/>
                      </a:lnTo>
                      <a:lnTo>
                        <a:pt x="353" y="24"/>
                      </a:lnTo>
                      <a:lnTo>
                        <a:pt x="355" y="24"/>
                      </a:lnTo>
                      <a:lnTo>
                        <a:pt x="357" y="26"/>
                      </a:lnTo>
                      <a:lnTo>
                        <a:pt x="358" y="28"/>
                      </a:lnTo>
                      <a:lnTo>
                        <a:pt x="360" y="28"/>
                      </a:lnTo>
                      <a:lnTo>
                        <a:pt x="360" y="29"/>
                      </a:lnTo>
                      <a:lnTo>
                        <a:pt x="360" y="31"/>
                      </a:lnTo>
                      <a:lnTo>
                        <a:pt x="362" y="31"/>
                      </a:lnTo>
                      <a:lnTo>
                        <a:pt x="362" y="32"/>
                      </a:lnTo>
                      <a:lnTo>
                        <a:pt x="364" y="32"/>
                      </a:lnTo>
                      <a:lnTo>
                        <a:pt x="364" y="34"/>
                      </a:lnTo>
                      <a:lnTo>
                        <a:pt x="364" y="36"/>
                      </a:lnTo>
                      <a:lnTo>
                        <a:pt x="364" y="37"/>
                      </a:lnTo>
                      <a:lnTo>
                        <a:pt x="364" y="39"/>
                      </a:lnTo>
                      <a:lnTo>
                        <a:pt x="365" y="39"/>
                      </a:lnTo>
                      <a:lnTo>
                        <a:pt x="367" y="39"/>
                      </a:lnTo>
                      <a:lnTo>
                        <a:pt x="369" y="39"/>
                      </a:lnTo>
                      <a:lnTo>
                        <a:pt x="369" y="41"/>
                      </a:lnTo>
                      <a:lnTo>
                        <a:pt x="370" y="41"/>
                      </a:lnTo>
                      <a:lnTo>
                        <a:pt x="372" y="39"/>
                      </a:lnTo>
                      <a:lnTo>
                        <a:pt x="374" y="36"/>
                      </a:lnTo>
                      <a:lnTo>
                        <a:pt x="375" y="34"/>
                      </a:lnTo>
                      <a:lnTo>
                        <a:pt x="377" y="34"/>
                      </a:lnTo>
                      <a:lnTo>
                        <a:pt x="379" y="34"/>
                      </a:lnTo>
                      <a:lnTo>
                        <a:pt x="379" y="36"/>
                      </a:lnTo>
                      <a:lnTo>
                        <a:pt x="380" y="36"/>
                      </a:lnTo>
                      <a:lnTo>
                        <a:pt x="380" y="37"/>
                      </a:lnTo>
                      <a:lnTo>
                        <a:pt x="382" y="37"/>
                      </a:lnTo>
                      <a:lnTo>
                        <a:pt x="384" y="36"/>
                      </a:lnTo>
                      <a:lnTo>
                        <a:pt x="384" y="34"/>
                      </a:lnTo>
                      <a:lnTo>
                        <a:pt x="385" y="34"/>
                      </a:lnTo>
                      <a:lnTo>
                        <a:pt x="387" y="36"/>
                      </a:lnTo>
                      <a:lnTo>
                        <a:pt x="389" y="36"/>
                      </a:lnTo>
                      <a:lnTo>
                        <a:pt x="389" y="37"/>
                      </a:lnTo>
                      <a:lnTo>
                        <a:pt x="391" y="37"/>
                      </a:lnTo>
                      <a:lnTo>
                        <a:pt x="391" y="39"/>
                      </a:lnTo>
                      <a:lnTo>
                        <a:pt x="392" y="39"/>
                      </a:lnTo>
                      <a:lnTo>
                        <a:pt x="392" y="37"/>
                      </a:lnTo>
                      <a:lnTo>
                        <a:pt x="394" y="37"/>
                      </a:lnTo>
                      <a:lnTo>
                        <a:pt x="396" y="39"/>
                      </a:lnTo>
                      <a:lnTo>
                        <a:pt x="397" y="39"/>
                      </a:lnTo>
                      <a:lnTo>
                        <a:pt x="399" y="39"/>
                      </a:lnTo>
                      <a:lnTo>
                        <a:pt x="399" y="37"/>
                      </a:lnTo>
                      <a:lnTo>
                        <a:pt x="399" y="36"/>
                      </a:lnTo>
                      <a:lnTo>
                        <a:pt x="401" y="36"/>
                      </a:lnTo>
                      <a:lnTo>
                        <a:pt x="402" y="36"/>
                      </a:lnTo>
                      <a:lnTo>
                        <a:pt x="404" y="36"/>
                      </a:lnTo>
                      <a:lnTo>
                        <a:pt x="406" y="36"/>
                      </a:lnTo>
                      <a:lnTo>
                        <a:pt x="406" y="37"/>
                      </a:lnTo>
                      <a:lnTo>
                        <a:pt x="407" y="37"/>
                      </a:lnTo>
                      <a:lnTo>
                        <a:pt x="407" y="39"/>
                      </a:lnTo>
                      <a:lnTo>
                        <a:pt x="409" y="39"/>
                      </a:lnTo>
                      <a:lnTo>
                        <a:pt x="411" y="39"/>
                      </a:lnTo>
                      <a:lnTo>
                        <a:pt x="411" y="37"/>
                      </a:lnTo>
                      <a:lnTo>
                        <a:pt x="413" y="37"/>
                      </a:lnTo>
                      <a:lnTo>
                        <a:pt x="414" y="37"/>
                      </a:lnTo>
                      <a:lnTo>
                        <a:pt x="416" y="37"/>
                      </a:lnTo>
                      <a:lnTo>
                        <a:pt x="416" y="39"/>
                      </a:lnTo>
                      <a:lnTo>
                        <a:pt x="418" y="39"/>
                      </a:lnTo>
                      <a:lnTo>
                        <a:pt x="419" y="39"/>
                      </a:lnTo>
                      <a:lnTo>
                        <a:pt x="421" y="39"/>
                      </a:lnTo>
                      <a:lnTo>
                        <a:pt x="423" y="39"/>
                      </a:lnTo>
                      <a:lnTo>
                        <a:pt x="424" y="39"/>
                      </a:lnTo>
                      <a:lnTo>
                        <a:pt x="424" y="37"/>
                      </a:lnTo>
                      <a:lnTo>
                        <a:pt x="426" y="37"/>
                      </a:lnTo>
                      <a:lnTo>
                        <a:pt x="428" y="39"/>
                      </a:lnTo>
                      <a:lnTo>
                        <a:pt x="428" y="37"/>
                      </a:lnTo>
                      <a:lnTo>
                        <a:pt x="429" y="37"/>
                      </a:lnTo>
                      <a:lnTo>
                        <a:pt x="431" y="36"/>
                      </a:lnTo>
                      <a:lnTo>
                        <a:pt x="431" y="37"/>
                      </a:lnTo>
                      <a:lnTo>
                        <a:pt x="433" y="37"/>
                      </a:lnTo>
                      <a:lnTo>
                        <a:pt x="434" y="36"/>
                      </a:lnTo>
                      <a:lnTo>
                        <a:pt x="434" y="34"/>
                      </a:lnTo>
                      <a:lnTo>
                        <a:pt x="436" y="36"/>
                      </a:lnTo>
                      <a:lnTo>
                        <a:pt x="438" y="36"/>
                      </a:lnTo>
                      <a:lnTo>
                        <a:pt x="438" y="37"/>
                      </a:lnTo>
                      <a:lnTo>
                        <a:pt x="440" y="37"/>
                      </a:lnTo>
                      <a:lnTo>
                        <a:pt x="440" y="36"/>
                      </a:lnTo>
                      <a:lnTo>
                        <a:pt x="440" y="34"/>
                      </a:lnTo>
                      <a:lnTo>
                        <a:pt x="441" y="34"/>
                      </a:lnTo>
                      <a:lnTo>
                        <a:pt x="443" y="36"/>
                      </a:lnTo>
                      <a:lnTo>
                        <a:pt x="443" y="37"/>
                      </a:lnTo>
                      <a:lnTo>
                        <a:pt x="443" y="39"/>
                      </a:lnTo>
                      <a:lnTo>
                        <a:pt x="441" y="39"/>
                      </a:lnTo>
                      <a:lnTo>
                        <a:pt x="441" y="41"/>
                      </a:lnTo>
                      <a:lnTo>
                        <a:pt x="443" y="41"/>
                      </a:lnTo>
                      <a:lnTo>
                        <a:pt x="443" y="42"/>
                      </a:lnTo>
                      <a:lnTo>
                        <a:pt x="445" y="42"/>
                      </a:lnTo>
                      <a:lnTo>
                        <a:pt x="446" y="42"/>
                      </a:lnTo>
                      <a:lnTo>
                        <a:pt x="448" y="42"/>
                      </a:lnTo>
                      <a:lnTo>
                        <a:pt x="448" y="44"/>
                      </a:lnTo>
                      <a:lnTo>
                        <a:pt x="448" y="46"/>
                      </a:lnTo>
                      <a:lnTo>
                        <a:pt x="448" y="47"/>
                      </a:lnTo>
                      <a:lnTo>
                        <a:pt x="448" y="49"/>
                      </a:lnTo>
                      <a:lnTo>
                        <a:pt x="450" y="49"/>
                      </a:lnTo>
                      <a:lnTo>
                        <a:pt x="451" y="49"/>
                      </a:lnTo>
                      <a:lnTo>
                        <a:pt x="451" y="51"/>
                      </a:lnTo>
                      <a:lnTo>
                        <a:pt x="453" y="51"/>
                      </a:lnTo>
                      <a:lnTo>
                        <a:pt x="455" y="51"/>
                      </a:lnTo>
                      <a:lnTo>
                        <a:pt x="456" y="51"/>
                      </a:lnTo>
                      <a:lnTo>
                        <a:pt x="458" y="52"/>
                      </a:lnTo>
                      <a:lnTo>
                        <a:pt x="460" y="54"/>
                      </a:lnTo>
                      <a:lnTo>
                        <a:pt x="461" y="54"/>
                      </a:lnTo>
                      <a:lnTo>
                        <a:pt x="463" y="54"/>
                      </a:lnTo>
                      <a:lnTo>
                        <a:pt x="463" y="52"/>
                      </a:lnTo>
                      <a:lnTo>
                        <a:pt x="465" y="54"/>
                      </a:lnTo>
                      <a:lnTo>
                        <a:pt x="465" y="55"/>
                      </a:lnTo>
                      <a:lnTo>
                        <a:pt x="465" y="57"/>
                      </a:lnTo>
                      <a:lnTo>
                        <a:pt x="467" y="57"/>
                      </a:lnTo>
                      <a:lnTo>
                        <a:pt x="467" y="59"/>
                      </a:lnTo>
                      <a:lnTo>
                        <a:pt x="468" y="57"/>
                      </a:lnTo>
                      <a:lnTo>
                        <a:pt x="467" y="59"/>
                      </a:lnTo>
                      <a:lnTo>
                        <a:pt x="468" y="59"/>
                      </a:lnTo>
                      <a:lnTo>
                        <a:pt x="470" y="59"/>
                      </a:lnTo>
                      <a:lnTo>
                        <a:pt x="470" y="60"/>
                      </a:lnTo>
                      <a:lnTo>
                        <a:pt x="472" y="60"/>
                      </a:lnTo>
                      <a:lnTo>
                        <a:pt x="472" y="62"/>
                      </a:lnTo>
                      <a:lnTo>
                        <a:pt x="472" y="64"/>
                      </a:lnTo>
                      <a:lnTo>
                        <a:pt x="472" y="65"/>
                      </a:lnTo>
                      <a:lnTo>
                        <a:pt x="473" y="65"/>
                      </a:lnTo>
                      <a:lnTo>
                        <a:pt x="473" y="67"/>
                      </a:lnTo>
                      <a:lnTo>
                        <a:pt x="473" y="69"/>
                      </a:lnTo>
                      <a:lnTo>
                        <a:pt x="475" y="69"/>
                      </a:lnTo>
                      <a:lnTo>
                        <a:pt x="475" y="70"/>
                      </a:lnTo>
                      <a:lnTo>
                        <a:pt x="475" y="72"/>
                      </a:lnTo>
                      <a:lnTo>
                        <a:pt x="475" y="74"/>
                      </a:lnTo>
                      <a:lnTo>
                        <a:pt x="475" y="75"/>
                      </a:lnTo>
                      <a:lnTo>
                        <a:pt x="473" y="75"/>
                      </a:lnTo>
                      <a:lnTo>
                        <a:pt x="473" y="77"/>
                      </a:lnTo>
                      <a:lnTo>
                        <a:pt x="475" y="77"/>
                      </a:lnTo>
                      <a:lnTo>
                        <a:pt x="477" y="77"/>
                      </a:lnTo>
                      <a:lnTo>
                        <a:pt x="478" y="77"/>
                      </a:lnTo>
                      <a:lnTo>
                        <a:pt x="477" y="78"/>
                      </a:lnTo>
                      <a:lnTo>
                        <a:pt x="478" y="78"/>
                      </a:lnTo>
                      <a:lnTo>
                        <a:pt x="478" y="80"/>
                      </a:lnTo>
                      <a:lnTo>
                        <a:pt x="477" y="78"/>
                      </a:lnTo>
                      <a:lnTo>
                        <a:pt x="477" y="80"/>
                      </a:lnTo>
                      <a:lnTo>
                        <a:pt x="475" y="80"/>
                      </a:lnTo>
                      <a:lnTo>
                        <a:pt x="477" y="80"/>
                      </a:lnTo>
                      <a:lnTo>
                        <a:pt x="477" y="82"/>
                      </a:lnTo>
                      <a:lnTo>
                        <a:pt x="478" y="82"/>
                      </a:lnTo>
                      <a:lnTo>
                        <a:pt x="478" y="83"/>
                      </a:lnTo>
                      <a:lnTo>
                        <a:pt x="480" y="83"/>
                      </a:lnTo>
                      <a:lnTo>
                        <a:pt x="480" y="85"/>
                      </a:lnTo>
                      <a:lnTo>
                        <a:pt x="480" y="83"/>
                      </a:lnTo>
                      <a:lnTo>
                        <a:pt x="478" y="83"/>
                      </a:lnTo>
                      <a:lnTo>
                        <a:pt x="477" y="85"/>
                      </a:lnTo>
                      <a:lnTo>
                        <a:pt x="477" y="87"/>
                      </a:lnTo>
                      <a:lnTo>
                        <a:pt x="477" y="88"/>
                      </a:lnTo>
                      <a:lnTo>
                        <a:pt x="477" y="87"/>
                      </a:lnTo>
                      <a:lnTo>
                        <a:pt x="475" y="87"/>
                      </a:lnTo>
                      <a:lnTo>
                        <a:pt x="477" y="88"/>
                      </a:lnTo>
                      <a:lnTo>
                        <a:pt x="475" y="88"/>
                      </a:lnTo>
                      <a:lnTo>
                        <a:pt x="475" y="90"/>
                      </a:lnTo>
                      <a:lnTo>
                        <a:pt x="477" y="90"/>
                      </a:lnTo>
                      <a:lnTo>
                        <a:pt x="475" y="90"/>
                      </a:lnTo>
                      <a:lnTo>
                        <a:pt x="475" y="92"/>
                      </a:lnTo>
                      <a:lnTo>
                        <a:pt x="477" y="93"/>
                      </a:lnTo>
                      <a:lnTo>
                        <a:pt x="477" y="95"/>
                      </a:lnTo>
                      <a:lnTo>
                        <a:pt x="477" y="97"/>
                      </a:lnTo>
                      <a:lnTo>
                        <a:pt x="477" y="98"/>
                      </a:lnTo>
                      <a:lnTo>
                        <a:pt x="475" y="98"/>
                      </a:lnTo>
                      <a:lnTo>
                        <a:pt x="475" y="100"/>
                      </a:lnTo>
                      <a:lnTo>
                        <a:pt x="477" y="100"/>
                      </a:lnTo>
                      <a:lnTo>
                        <a:pt x="475" y="100"/>
                      </a:lnTo>
                      <a:lnTo>
                        <a:pt x="477" y="101"/>
                      </a:lnTo>
                      <a:lnTo>
                        <a:pt x="477" y="103"/>
                      </a:lnTo>
                      <a:lnTo>
                        <a:pt x="475" y="103"/>
                      </a:lnTo>
                      <a:lnTo>
                        <a:pt x="477" y="103"/>
                      </a:lnTo>
                      <a:lnTo>
                        <a:pt x="478" y="105"/>
                      </a:lnTo>
                      <a:lnTo>
                        <a:pt x="478" y="106"/>
                      </a:lnTo>
                      <a:lnTo>
                        <a:pt x="480" y="106"/>
                      </a:lnTo>
                      <a:lnTo>
                        <a:pt x="480" y="108"/>
                      </a:lnTo>
                      <a:lnTo>
                        <a:pt x="482" y="108"/>
                      </a:lnTo>
                      <a:lnTo>
                        <a:pt x="482" y="110"/>
                      </a:lnTo>
                      <a:lnTo>
                        <a:pt x="482" y="111"/>
                      </a:lnTo>
                      <a:lnTo>
                        <a:pt x="480" y="111"/>
                      </a:lnTo>
                      <a:lnTo>
                        <a:pt x="480" y="113"/>
                      </a:lnTo>
                      <a:lnTo>
                        <a:pt x="480" y="115"/>
                      </a:lnTo>
                      <a:lnTo>
                        <a:pt x="480" y="116"/>
                      </a:lnTo>
                      <a:lnTo>
                        <a:pt x="482" y="116"/>
                      </a:lnTo>
                      <a:lnTo>
                        <a:pt x="480" y="116"/>
                      </a:lnTo>
                      <a:lnTo>
                        <a:pt x="480" y="118"/>
                      </a:lnTo>
                      <a:lnTo>
                        <a:pt x="482" y="118"/>
                      </a:lnTo>
                      <a:lnTo>
                        <a:pt x="480" y="119"/>
                      </a:lnTo>
                      <a:lnTo>
                        <a:pt x="478" y="119"/>
                      </a:lnTo>
                      <a:lnTo>
                        <a:pt x="478" y="121"/>
                      </a:lnTo>
                      <a:lnTo>
                        <a:pt x="477" y="121"/>
                      </a:lnTo>
                      <a:lnTo>
                        <a:pt x="478" y="121"/>
                      </a:lnTo>
                      <a:lnTo>
                        <a:pt x="477" y="123"/>
                      </a:lnTo>
                      <a:lnTo>
                        <a:pt x="477" y="121"/>
                      </a:lnTo>
                      <a:lnTo>
                        <a:pt x="477" y="123"/>
                      </a:lnTo>
                      <a:lnTo>
                        <a:pt x="477" y="124"/>
                      </a:lnTo>
                      <a:lnTo>
                        <a:pt x="478" y="124"/>
                      </a:lnTo>
                      <a:lnTo>
                        <a:pt x="478" y="126"/>
                      </a:lnTo>
                      <a:lnTo>
                        <a:pt x="478" y="124"/>
                      </a:lnTo>
                      <a:lnTo>
                        <a:pt x="480" y="124"/>
                      </a:lnTo>
                      <a:lnTo>
                        <a:pt x="480" y="126"/>
                      </a:lnTo>
                      <a:lnTo>
                        <a:pt x="480" y="128"/>
                      </a:lnTo>
                      <a:lnTo>
                        <a:pt x="482" y="128"/>
                      </a:lnTo>
                      <a:lnTo>
                        <a:pt x="482" y="129"/>
                      </a:lnTo>
                      <a:lnTo>
                        <a:pt x="483" y="129"/>
                      </a:lnTo>
                      <a:lnTo>
                        <a:pt x="485" y="128"/>
                      </a:lnTo>
                      <a:lnTo>
                        <a:pt x="485" y="129"/>
                      </a:lnTo>
                      <a:lnTo>
                        <a:pt x="485" y="131"/>
                      </a:lnTo>
                      <a:lnTo>
                        <a:pt x="487" y="131"/>
                      </a:lnTo>
                      <a:lnTo>
                        <a:pt x="487" y="133"/>
                      </a:lnTo>
                      <a:lnTo>
                        <a:pt x="485" y="133"/>
                      </a:lnTo>
                      <a:lnTo>
                        <a:pt x="487" y="133"/>
                      </a:lnTo>
                      <a:lnTo>
                        <a:pt x="487" y="134"/>
                      </a:lnTo>
                      <a:lnTo>
                        <a:pt x="487" y="136"/>
                      </a:lnTo>
                      <a:lnTo>
                        <a:pt x="489" y="136"/>
                      </a:lnTo>
                      <a:lnTo>
                        <a:pt x="489" y="138"/>
                      </a:lnTo>
                      <a:lnTo>
                        <a:pt x="487" y="138"/>
                      </a:lnTo>
                      <a:lnTo>
                        <a:pt x="489" y="138"/>
                      </a:lnTo>
                      <a:lnTo>
                        <a:pt x="487" y="138"/>
                      </a:lnTo>
                      <a:lnTo>
                        <a:pt x="489" y="138"/>
                      </a:lnTo>
                      <a:lnTo>
                        <a:pt x="490" y="138"/>
                      </a:lnTo>
                      <a:lnTo>
                        <a:pt x="490" y="139"/>
                      </a:lnTo>
                      <a:lnTo>
                        <a:pt x="490" y="141"/>
                      </a:lnTo>
                      <a:lnTo>
                        <a:pt x="492" y="141"/>
                      </a:lnTo>
                      <a:lnTo>
                        <a:pt x="492" y="142"/>
                      </a:lnTo>
                      <a:lnTo>
                        <a:pt x="494" y="142"/>
                      </a:lnTo>
                      <a:lnTo>
                        <a:pt x="494" y="144"/>
                      </a:lnTo>
                      <a:lnTo>
                        <a:pt x="495" y="144"/>
                      </a:lnTo>
                      <a:lnTo>
                        <a:pt x="495" y="146"/>
                      </a:lnTo>
                      <a:lnTo>
                        <a:pt x="497" y="146"/>
                      </a:lnTo>
                      <a:lnTo>
                        <a:pt x="497" y="147"/>
                      </a:lnTo>
                      <a:lnTo>
                        <a:pt x="497" y="146"/>
                      </a:lnTo>
                      <a:lnTo>
                        <a:pt x="499" y="147"/>
                      </a:lnTo>
                      <a:lnTo>
                        <a:pt x="499" y="146"/>
                      </a:lnTo>
                      <a:lnTo>
                        <a:pt x="499" y="147"/>
                      </a:lnTo>
                      <a:lnTo>
                        <a:pt x="500" y="147"/>
                      </a:lnTo>
                      <a:lnTo>
                        <a:pt x="499" y="147"/>
                      </a:lnTo>
                      <a:lnTo>
                        <a:pt x="500" y="147"/>
                      </a:lnTo>
                      <a:lnTo>
                        <a:pt x="502" y="149"/>
                      </a:lnTo>
                      <a:lnTo>
                        <a:pt x="502" y="151"/>
                      </a:lnTo>
                      <a:lnTo>
                        <a:pt x="502" y="152"/>
                      </a:lnTo>
                      <a:lnTo>
                        <a:pt x="502" y="154"/>
                      </a:lnTo>
                      <a:lnTo>
                        <a:pt x="500" y="156"/>
                      </a:lnTo>
                      <a:lnTo>
                        <a:pt x="502" y="156"/>
                      </a:lnTo>
                      <a:lnTo>
                        <a:pt x="502" y="157"/>
                      </a:lnTo>
                      <a:lnTo>
                        <a:pt x="504" y="157"/>
                      </a:lnTo>
                      <a:lnTo>
                        <a:pt x="504" y="159"/>
                      </a:lnTo>
                      <a:lnTo>
                        <a:pt x="505" y="159"/>
                      </a:lnTo>
                      <a:lnTo>
                        <a:pt x="505" y="161"/>
                      </a:lnTo>
                      <a:lnTo>
                        <a:pt x="505" y="162"/>
                      </a:lnTo>
                      <a:lnTo>
                        <a:pt x="507" y="162"/>
                      </a:lnTo>
                      <a:lnTo>
                        <a:pt x="507" y="164"/>
                      </a:lnTo>
                      <a:lnTo>
                        <a:pt x="509" y="164"/>
                      </a:lnTo>
                      <a:lnTo>
                        <a:pt x="509" y="165"/>
                      </a:lnTo>
                      <a:lnTo>
                        <a:pt x="510" y="165"/>
                      </a:lnTo>
                      <a:lnTo>
                        <a:pt x="510" y="167"/>
                      </a:lnTo>
                      <a:lnTo>
                        <a:pt x="512" y="167"/>
                      </a:lnTo>
                      <a:lnTo>
                        <a:pt x="512" y="165"/>
                      </a:lnTo>
                      <a:lnTo>
                        <a:pt x="512" y="167"/>
                      </a:lnTo>
                      <a:lnTo>
                        <a:pt x="514" y="167"/>
                      </a:lnTo>
                      <a:lnTo>
                        <a:pt x="516" y="167"/>
                      </a:lnTo>
                      <a:lnTo>
                        <a:pt x="514" y="167"/>
                      </a:lnTo>
                      <a:lnTo>
                        <a:pt x="516" y="167"/>
                      </a:lnTo>
                      <a:lnTo>
                        <a:pt x="514" y="169"/>
                      </a:lnTo>
                      <a:lnTo>
                        <a:pt x="512" y="169"/>
                      </a:lnTo>
                      <a:lnTo>
                        <a:pt x="512" y="170"/>
                      </a:lnTo>
                      <a:lnTo>
                        <a:pt x="512" y="172"/>
                      </a:lnTo>
                      <a:lnTo>
                        <a:pt x="510" y="172"/>
                      </a:lnTo>
                      <a:lnTo>
                        <a:pt x="510" y="174"/>
                      </a:lnTo>
                      <a:lnTo>
                        <a:pt x="512" y="174"/>
                      </a:lnTo>
                      <a:lnTo>
                        <a:pt x="510" y="175"/>
                      </a:lnTo>
                      <a:lnTo>
                        <a:pt x="510" y="177"/>
                      </a:lnTo>
                      <a:lnTo>
                        <a:pt x="510" y="179"/>
                      </a:lnTo>
                      <a:lnTo>
                        <a:pt x="510" y="180"/>
                      </a:lnTo>
                      <a:lnTo>
                        <a:pt x="509" y="180"/>
                      </a:lnTo>
                      <a:lnTo>
                        <a:pt x="509" y="182"/>
                      </a:lnTo>
                      <a:lnTo>
                        <a:pt x="507" y="182"/>
                      </a:lnTo>
                      <a:lnTo>
                        <a:pt x="505" y="182"/>
                      </a:lnTo>
                      <a:lnTo>
                        <a:pt x="507" y="184"/>
                      </a:lnTo>
                      <a:lnTo>
                        <a:pt x="507" y="185"/>
                      </a:lnTo>
                      <a:lnTo>
                        <a:pt x="507" y="187"/>
                      </a:lnTo>
                      <a:lnTo>
                        <a:pt x="505" y="187"/>
                      </a:lnTo>
                      <a:lnTo>
                        <a:pt x="504" y="187"/>
                      </a:lnTo>
                      <a:lnTo>
                        <a:pt x="504" y="188"/>
                      </a:lnTo>
                      <a:lnTo>
                        <a:pt x="505" y="190"/>
                      </a:lnTo>
                      <a:lnTo>
                        <a:pt x="504" y="190"/>
                      </a:lnTo>
                      <a:lnTo>
                        <a:pt x="505" y="190"/>
                      </a:lnTo>
                      <a:lnTo>
                        <a:pt x="505" y="192"/>
                      </a:lnTo>
                      <a:lnTo>
                        <a:pt x="504" y="192"/>
                      </a:lnTo>
                      <a:lnTo>
                        <a:pt x="505" y="193"/>
                      </a:lnTo>
                      <a:lnTo>
                        <a:pt x="504" y="193"/>
                      </a:lnTo>
                      <a:lnTo>
                        <a:pt x="504" y="195"/>
                      </a:lnTo>
                      <a:lnTo>
                        <a:pt x="505" y="195"/>
                      </a:lnTo>
                      <a:lnTo>
                        <a:pt x="505" y="197"/>
                      </a:lnTo>
                      <a:lnTo>
                        <a:pt x="504" y="197"/>
                      </a:lnTo>
                      <a:lnTo>
                        <a:pt x="505" y="197"/>
                      </a:lnTo>
                      <a:lnTo>
                        <a:pt x="505" y="198"/>
                      </a:lnTo>
                      <a:lnTo>
                        <a:pt x="507" y="198"/>
                      </a:lnTo>
                      <a:lnTo>
                        <a:pt x="507" y="200"/>
                      </a:lnTo>
                      <a:lnTo>
                        <a:pt x="509" y="200"/>
                      </a:lnTo>
                      <a:lnTo>
                        <a:pt x="510" y="200"/>
                      </a:lnTo>
                      <a:lnTo>
                        <a:pt x="512" y="200"/>
                      </a:lnTo>
                      <a:lnTo>
                        <a:pt x="514" y="200"/>
                      </a:lnTo>
                      <a:lnTo>
                        <a:pt x="514" y="198"/>
                      </a:lnTo>
                      <a:lnTo>
                        <a:pt x="516" y="198"/>
                      </a:lnTo>
                      <a:lnTo>
                        <a:pt x="517" y="198"/>
                      </a:lnTo>
                      <a:lnTo>
                        <a:pt x="519" y="198"/>
                      </a:lnTo>
                      <a:lnTo>
                        <a:pt x="521" y="198"/>
                      </a:lnTo>
                      <a:lnTo>
                        <a:pt x="522" y="198"/>
                      </a:lnTo>
                      <a:lnTo>
                        <a:pt x="522" y="200"/>
                      </a:lnTo>
                      <a:lnTo>
                        <a:pt x="524" y="200"/>
                      </a:lnTo>
                      <a:lnTo>
                        <a:pt x="524" y="198"/>
                      </a:lnTo>
                      <a:lnTo>
                        <a:pt x="526" y="198"/>
                      </a:lnTo>
                      <a:lnTo>
                        <a:pt x="527" y="198"/>
                      </a:lnTo>
                      <a:lnTo>
                        <a:pt x="529" y="198"/>
                      </a:lnTo>
                      <a:lnTo>
                        <a:pt x="529" y="197"/>
                      </a:lnTo>
                      <a:lnTo>
                        <a:pt x="531" y="197"/>
                      </a:lnTo>
                      <a:lnTo>
                        <a:pt x="531" y="195"/>
                      </a:lnTo>
                      <a:lnTo>
                        <a:pt x="532" y="195"/>
                      </a:lnTo>
                      <a:lnTo>
                        <a:pt x="534" y="195"/>
                      </a:lnTo>
                      <a:lnTo>
                        <a:pt x="532" y="197"/>
                      </a:lnTo>
                      <a:lnTo>
                        <a:pt x="534" y="197"/>
                      </a:lnTo>
                      <a:lnTo>
                        <a:pt x="536" y="197"/>
                      </a:lnTo>
                      <a:lnTo>
                        <a:pt x="536" y="198"/>
                      </a:lnTo>
                      <a:lnTo>
                        <a:pt x="537" y="198"/>
                      </a:lnTo>
                      <a:lnTo>
                        <a:pt x="539" y="198"/>
                      </a:lnTo>
                      <a:lnTo>
                        <a:pt x="541" y="198"/>
                      </a:lnTo>
                      <a:lnTo>
                        <a:pt x="543" y="198"/>
                      </a:lnTo>
                      <a:lnTo>
                        <a:pt x="544" y="198"/>
                      </a:lnTo>
                      <a:lnTo>
                        <a:pt x="546" y="197"/>
                      </a:lnTo>
                      <a:lnTo>
                        <a:pt x="546" y="198"/>
                      </a:lnTo>
                      <a:lnTo>
                        <a:pt x="548" y="197"/>
                      </a:lnTo>
                      <a:lnTo>
                        <a:pt x="548" y="198"/>
                      </a:lnTo>
                      <a:lnTo>
                        <a:pt x="549" y="198"/>
                      </a:lnTo>
                      <a:lnTo>
                        <a:pt x="548" y="198"/>
                      </a:lnTo>
                      <a:lnTo>
                        <a:pt x="548" y="197"/>
                      </a:lnTo>
                      <a:lnTo>
                        <a:pt x="549" y="197"/>
                      </a:lnTo>
                      <a:lnTo>
                        <a:pt x="551" y="197"/>
                      </a:lnTo>
                      <a:lnTo>
                        <a:pt x="553" y="198"/>
                      </a:lnTo>
                      <a:lnTo>
                        <a:pt x="554" y="198"/>
                      </a:lnTo>
                      <a:lnTo>
                        <a:pt x="554" y="200"/>
                      </a:lnTo>
                      <a:lnTo>
                        <a:pt x="556" y="200"/>
                      </a:lnTo>
                      <a:lnTo>
                        <a:pt x="556" y="198"/>
                      </a:lnTo>
                      <a:lnTo>
                        <a:pt x="558" y="198"/>
                      </a:lnTo>
                      <a:lnTo>
                        <a:pt x="558" y="200"/>
                      </a:lnTo>
                      <a:lnTo>
                        <a:pt x="559" y="200"/>
                      </a:lnTo>
                      <a:lnTo>
                        <a:pt x="559" y="198"/>
                      </a:lnTo>
                      <a:lnTo>
                        <a:pt x="559" y="200"/>
                      </a:lnTo>
                      <a:lnTo>
                        <a:pt x="559" y="198"/>
                      </a:lnTo>
                      <a:lnTo>
                        <a:pt x="561" y="198"/>
                      </a:lnTo>
                      <a:lnTo>
                        <a:pt x="563" y="198"/>
                      </a:lnTo>
                      <a:lnTo>
                        <a:pt x="563" y="200"/>
                      </a:lnTo>
                      <a:lnTo>
                        <a:pt x="563" y="198"/>
                      </a:lnTo>
                      <a:lnTo>
                        <a:pt x="563" y="197"/>
                      </a:lnTo>
                      <a:lnTo>
                        <a:pt x="565" y="198"/>
                      </a:lnTo>
                      <a:lnTo>
                        <a:pt x="565" y="200"/>
                      </a:lnTo>
                      <a:lnTo>
                        <a:pt x="566" y="200"/>
                      </a:lnTo>
                      <a:lnTo>
                        <a:pt x="566" y="202"/>
                      </a:lnTo>
                      <a:lnTo>
                        <a:pt x="566" y="200"/>
                      </a:lnTo>
                      <a:lnTo>
                        <a:pt x="568" y="200"/>
                      </a:lnTo>
                      <a:lnTo>
                        <a:pt x="568" y="198"/>
                      </a:lnTo>
                      <a:lnTo>
                        <a:pt x="570" y="198"/>
                      </a:lnTo>
                      <a:lnTo>
                        <a:pt x="571" y="198"/>
                      </a:lnTo>
                      <a:lnTo>
                        <a:pt x="573" y="198"/>
                      </a:lnTo>
                      <a:lnTo>
                        <a:pt x="575" y="198"/>
                      </a:lnTo>
                      <a:lnTo>
                        <a:pt x="575" y="200"/>
                      </a:lnTo>
                      <a:lnTo>
                        <a:pt x="575" y="202"/>
                      </a:lnTo>
                      <a:lnTo>
                        <a:pt x="576" y="202"/>
                      </a:lnTo>
                      <a:lnTo>
                        <a:pt x="578" y="202"/>
                      </a:lnTo>
                      <a:lnTo>
                        <a:pt x="576" y="202"/>
                      </a:lnTo>
                      <a:lnTo>
                        <a:pt x="578" y="203"/>
                      </a:lnTo>
                      <a:lnTo>
                        <a:pt x="580" y="203"/>
                      </a:lnTo>
                      <a:lnTo>
                        <a:pt x="580" y="205"/>
                      </a:lnTo>
                      <a:lnTo>
                        <a:pt x="581" y="203"/>
                      </a:lnTo>
                      <a:lnTo>
                        <a:pt x="581" y="205"/>
                      </a:lnTo>
                      <a:lnTo>
                        <a:pt x="581" y="207"/>
                      </a:lnTo>
                      <a:lnTo>
                        <a:pt x="580" y="207"/>
                      </a:lnTo>
                      <a:lnTo>
                        <a:pt x="580" y="208"/>
                      </a:lnTo>
                      <a:lnTo>
                        <a:pt x="578" y="208"/>
                      </a:lnTo>
                      <a:lnTo>
                        <a:pt x="576" y="210"/>
                      </a:lnTo>
                      <a:lnTo>
                        <a:pt x="576" y="211"/>
                      </a:lnTo>
                      <a:lnTo>
                        <a:pt x="575" y="213"/>
                      </a:lnTo>
                      <a:lnTo>
                        <a:pt x="575" y="215"/>
                      </a:lnTo>
                      <a:lnTo>
                        <a:pt x="575" y="216"/>
                      </a:lnTo>
                      <a:lnTo>
                        <a:pt x="576" y="216"/>
                      </a:lnTo>
                      <a:lnTo>
                        <a:pt x="578" y="216"/>
                      </a:lnTo>
                      <a:lnTo>
                        <a:pt x="576" y="216"/>
                      </a:lnTo>
                      <a:lnTo>
                        <a:pt x="576" y="218"/>
                      </a:lnTo>
                      <a:lnTo>
                        <a:pt x="576" y="216"/>
                      </a:lnTo>
                      <a:lnTo>
                        <a:pt x="576" y="218"/>
                      </a:lnTo>
                      <a:lnTo>
                        <a:pt x="576" y="220"/>
                      </a:lnTo>
                      <a:lnTo>
                        <a:pt x="576" y="218"/>
                      </a:lnTo>
                      <a:lnTo>
                        <a:pt x="575" y="218"/>
                      </a:lnTo>
                      <a:lnTo>
                        <a:pt x="575" y="220"/>
                      </a:lnTo>
                      <a:lnTo>
                        <a:pt x="575" y="221"/>
                      </a:lnTo>
                      <a:lnTo>
                        <a:pt x="575" y="223"/>
                      </a:lnTo>
                      <a:lnTo>
                        <a:pt x="576" y="223"/>
                      </a:lnTo>
                      <a:lnTo>
                        <a:pt x="575" y="223"/>
                      </a:lnTo>
                      <a:lnTo>
                        <a:pt x="575" y="225"/>
                      </a:lnTo>
                      <a:lnTo>
                        <a:pt x="575" y="226"/>
                      </a:lnTo>
                      <a:lnTo>
                        <a:pt x="573" y="226"/>
                      </a:lnTo>
                      <a:lnTo>
                        <a:pt x="573" y="228"/>
                      </a:lnTo>
                      <a:lnTo>
                        <a:pt x="571" y="230"/>
                      </a:lnTo>
                      <a:lnTo>
                        <a:pt x="573" y="230"/>
                      </a:lnTo>
                      <a:lnTo>
                        <a:pt x="571" y="230"/>
                      </a:lnTo>
                      <a:lnTo>
                        <a:pt x="573" y="230"/>
                      </a:lnTo>
                      <a:lnTo>
                        <a:pt x="573" y="231"/>
                      </a:lnTo>
                      <a:lnTo>
                        <a:pt x="575" y="233"/>
                      </a:lnTo>
                      <a:lnTo>
                        <a:pt x="573" y="233"/>
                      </a:lnTo>
                      <a:lnTo>
                        <a:pt x="575" y="233"/>
                      </a:lnTo>
                      <a:lnTo>
                        <a:pt x="576" y="233"/>
                      </a:lnTo>
                      <a:lnTo>
                        <a:pt x="576" y="234"/>
                      </a:lnTo>
                      <a:lnTo>
                        <a:pt x="576" y="236"/>
                      </a:lnTo>
                      <a:lnTo>
                        <a:pt x="578" y="238"/>
                      </a:lnTo>
                      <a:lnTo>
                        <a:pt x="580" y="238"/>
                      </a:lnTo>
                      <a:lnTo>
                        <a:pt x="580" y="236"/>
                      </a:lnTo>
                      <a:lnTo>
                        <a:pt x="580" y="234"/>
                      </a:lnTo>
                      <a:lnTo>
                        <a:pt x="581" y="234"/>
                      </a:lnTo>
                      <a:lnTo>
                        <a:pt x="581" y="233"/>
                      </a:lnTo>
                      <a:lnTo>
                        <a:pt x="583" y="233"/>
                      </a:lnTo>
                      <a:lnTo>
                        <a:pt x="583" y="231"/>
                      </a:lnTo>
                      <a:lnTo>
                        <a:pt x="583" y="230"/>
                      </a:lnTo>
                      <a:lnTo>
                        <a:pt x="585" y="230"/>
                      </a:lnTo>
                      <a:lnTo>
                        <a:pt x="585" y="228"/>
                      </a:lnTo>
                      <a:lnTo>
                        <a:pt x="586" y="228"/>
                      </a:lnTo>
                      <a:lnTo>
                        <a:pt x="588" y="228"/>
                      </a:lnTo>
                      <a:lnTo>
                        <a:pt x="590" y="228"/>
                      </a:lnTo>
                      <a:lnTo>
                        <a:pt x="590" y="226"/>
                      </a:lnTo>
                      <a:lnTo>
                        <a:pt x="592" y="226"/>
                      </a:lnTo>
                      <a:lnTo>
                        <a:pt x="592" y="228"/>
                      </a:lnTo>
                      <a:lnTo>
                        <a:pt x="593" y="228"/>
                      </a:lnTo>
                      <a:lnTo>
                        <a:pt x="593" y="230"/>
                      </a:lnTo>
                      <a:lnTo>
                        <a:pt x="595" y="230"/>
                      </a:lnTo>
                      <a:lnTo>
                        <a:pt x="595" y="231"/>
                      </a:lnTo>
                      <a:lnTo>
                        <a:pt x="597" y="231"/>
                      </a:lnTo>
                      <a:lnTo>
                        <a:pt x="598" y="231"/>
                      </a:lnTo>
                      <a:lnTo>
                        <a:pt x="598" y="233"/>
                      </a:lnTo>
                      <a:lnTo>
                        <a:pt x="600" y="233"/>
                      </a:lnTo>
                      <a:lnTo>
                        <a:pt x="600" y="231"/>
                      </a:lnTo>
                      <a:lnTo>
                        <a:pt x="600" y="230"/>
                      </a:lnTo>
                      <a:lnTo>
                        <a:pt x="602" y="230"/>
                      </a:lnTo>
                      <a:lnTo>
                        <a:pt x="602" y="231"/>
                      </a:lnTo>
                      <a:lnTo>
                        <a:pt x="603" y="231"/>
                      </a:lnTo>
                      <a:lnTo>
                        <a:pt x="603" y="230"/>
                      </a:lnTo>
                      <a:lnTo>
                        <a:pt x="602" y="230"/>
                      </a:lnTo>
                      <a:lnTo>
                        <a:pt x="603" y="230"/>
                      </a:lnTo>
                      <a:lnTo>
                        <a:pt x="603" y="228"/>
                      </a:lnTo>
                      <a:lnTo>
                        <a:pt x="605" y="228"/>
                      </a:lnTo>
                      <a:lnTo>
                        <a:pt x="605" y="226"/>
                      </a:lnTo>
                      <a:lnTo>
                        <a:pt x="605" y="228"/>
                      </a:lnTo>
                      <a:lnTo>
                        <a:pt x="607" y="228"/>
                      </a:lnTo>
                      <a:lnTo>
                        <a:pt x="607" y="230"/>
                      </a:lnTo>
                      <a:lnTo>
                        <a:pt x="608" y="230"/>
                      </a:lnTo>
                      <a:lnTo>
                        <a:pt x="607" y="230"/>
                      </a:lnTo>
                      <a:lnTo>
                        <a:pt x="608" y="230"/>
                      </a:lnTo>
                      <a:lnTo>
                        <a:pt x="608" y="231"/>
                      </a:lnTo>
                      <a:lnTo>
                        <a:pt x="608" y="233"/>
                      </a:lnTo>
                      <a:lnTo>
                        <a:pt x="608" y="234"/>
                      </a:lnTo>
                      <a:lnTo>
                        <a:pt x="608" y="236"/>
                      </a:lnTo>
                      <a:lnTo>
                        <a:pt x="610" y="236"/>
                      </a:lnTo>
                      <a:lnTo>
                        <a:pt x="610" y="238"/>
                      </a:lnTo>
                      <a:lnTo>
                        <a:pt x="610" y="239"/>
                      </a:lnTo>
                      <a:lnTo>
                        <a:pt x="612" y="239"/>
                      </a:lnTo>
                      <a:lnTo>
                        <a:pt x="612" y="241"/>
                      </a:lnTo>
                      <a:lnTo>
                        <a:pt x="613" y="241"/>
                      </a:lnTo>
                      <a:lnTo>
                        <a:pt x="613" y="243"/>
                      </a:lnTo>
                      <a:lnTo>
                        <a:pt x="613" y="244"/>
                      </a:lnTo>
                      <a:lnTo>
                        <a:pt x="612" y="244"/>
                      </a:lnTo>
                      <a:lnTo>
                        <a:pt x="612" y="246"/>
                      </a:lnTo>
                      <a:lnTo>
                        <a:pt x="610" y="246"/>
                      </a:lnTo>
                      <a:lnTo>
                        <a:pt x="612" y="246"/>
                      </a:lnTo>
                      <a:lnTo>
                        <a:pt x="612" y="248"/>
                      </a:lnTo>
                      <a:lnTo>
                        <a:pt x="613" y="248"/>
                      </a:lnTo>
                      <a:lnTo>
                        <a:pt x="615" y="249"/>
                      </a:lnTo>
                      <a:lnTo>
                        <a:pt x="617" y="249"/>
                      </a:lnTo>
                      <a:lnTo>
                        <a:pt x="617" y="251"/>
                      </a:lnTo>
                      <a:lnTo>
                        <a:pt x="619" y="251"/>
                      </a:lnTo>
                      <a:lnTo>
                        <a:pt x="620" y="251"/>
                      </a:lnTo>
                      <a:lnTo>
                        <a:pt x="622" y="251"/>
                      </a:lnTo>
                      <a:lnTo>
                        <a:pt x="624" y="251"/>
                      </a:lnTo>
                      <a:lnTo>
                        <a:pt x="624" y="249"/>
                      </a:lnTo>
                      <a:lnTo>
                        <a:pt x="624" y="248"/>
                      </a:lnTo>
                      <a:lnTo>
                        <a:pt x="624" y="249"/>
                      </a:lnTo>
                      <a:lnTo>
                        <a:pt x="625" y="249"/>
                      </a:lnTo>
                      <a:lnTo>
                        <a:pt x="625" y="248"/>
                      </a:lnTo>
                      <a:lnTo>
                        <a:pt x="627" y="249"/>
                      </a:lnTo>
                      <a:lnTo>
                        <a:pt x="625" y="249"/>
                      </a:lnTo>
                      <a:lnTo>
                        <a:pt x="627" y="249"/>
                      </a:lnTo>
                      <a:lnTo>
                        <a:pt x="625" y="251"/>
                      </a:lnTo>
                      <a:lnTo>
                        <a:pt x="624" y="251"/>
                      </a:lnTo>
                      <a:lnTo>
                        <a:pt x="624" y="253"/>
                      </a:lnTo>
                      <a:lnTo>
                        <a:pt x="622" y="254"/>
                      </a:lnTo>
                      <a:lnTo>
                        <a:pt x="620" y="254"/>
                      </a:lnTo>
                      <a:lnTo>
                        <a:pt x="620" y="256"/>
                      </a:lnTo>
                      <a:lnTo>
                        <a:pt x="619" y="256"/>
                      </a:lnTo>
                      <a:lnTo>
                        <a:pt x="620" y="257"/>
                      </a:lnTo>
                      <a:lnTo>
                        <a:pt x="619" y="257"/>
                      </a:lnTo>
                      <a:lnTo>
                        <a:pt x="617" y="259"/>
                      </a:lnTo>
                      <a:lnTo>
                        <a:pt x="613" y="262"/>
                      </a:lnTo>
                      <a:lnTo>
                        <a:pt x="612" y="264"/>
                      </a:lnTo>
                      <a:lnTo>
                        <a:pt x="612" y="266"/>
                      </a:lnTo>
                      <a:lnTo>
                        <a:pt x="610" y="267"/>
                      </a:lnTo>
                      <a:lnTo>
                        <a:pt x="610" y="269"/>
                      </a:lnTo>
                      <a:lnTo>
                        <a:pt x="608" y="271"/>
                      </a:lnTo>
                      <a:lnTo>
                        <a:pt x="608" y="272"/>
                      </a:lnTo>
                      <a:lnTo>
                        <a:pt x="605" y="272"/>
                      </a:lnTo>
                      <a:lnTo>
                        <a:pt x="603" y="272"/>
                      </a:lnTo>
                      <a:lnTo>
                        <a:pt x="602" y="274"/>
                      </a:lnTo>
                      <a:lnTo>
                        <a:pt x="600" y="274"/>
                      </a:lnTo>
                      <a:lnTo>
                        <a:pt x="598" y="274"/>
                      </a:lnTo>
                      <a:lnTo>
                        <a:pt x="598" y="276"/>
                      </a:lnTo>
                      <a:lnTo>
                        <a:pt x="600" y="276"/>
                      </a:lnTo>
                      <a:lnTo>
                        <a:pt x="600" y="277"/>
                      </a:lnTo>
                      <a:lnTo>
                        <a:pt x="600" y="279"/>
                      </a:lnTo>
                      <a:lnTo>
                        <a:pt x="602" y="277"/>
                      </a:lnTo>
                      <a:lnTo>
                        <a:pt x="602" y="279"/>
                      </a:lnTo>
                      <a:lnTo>
                        <a:pt x="600" y="279"/>
                      </a:lnTo>
                      <a:lnTo>
                        <a:pt x="600" y="280"/>
                      </a:lnTo>
                      <a:lnTo>
                        <a:pt x="598" y="280"/>
                      </a:lnTo>
                      <a:lnTo>
                        <a:pt x="597" y="280"/>
                      </a:lnTo>
                      <a:lnTo>
                        <a:pt x="595" y="282"/>
                      </a:lnTo>
                      <a:lnTo>
                        <a:pt x="593" y="282"/>
                      </a:lnTo>
                      <a:lnTo>
                        <a:pt x="593" y="284"/>
                      </a:lnTo>
                      <a:lnTo>
                        <a:pt x="592" y="284"/>
                      </a:lnTo>
                      <a:lnTo>
                        <a:pt x="590" y="285"/>
                      </a:lnTo>
                      <a:lnTo>
                        <a:pt x="588" y="287"/>
                      </a:lnTo>
                      <a:lnTo>
                        <a:pt x="586" y="289"/>
                      </a:lnTo>
                      <a:lnTo>
                        <a:pt x="586" y="290"/>
                      </a:lnTo>
                      <a:lnTo>
                        <a:pt x="585" y="292"/>
                      </a:lnTo>
                      <a:lnTo>
                        <a:pt x="583" y="294"/>
                      </a:lnTo>
                      <a:lnTo>
                        <a:pt x="580" y="299"/>
                      </a:lnTo>
                      <a:lnTo>
                        <a:pt x="580" y="302"/>
                      </a:lnTo>
                      <a:lnTo>
                        <a:pt x="578" y="303"/>
                      </a:lnTo>
                      <a:lnTo>
                        <a:pt x="578" y="305"/>
                      </a:lnTo>
                      <a:lnTo>
                        <a:pt x="578" y="307"/>
                      </a:lnTo>
                      <a:lnTo>
                        <a:pt x="576" y="307"/>
                      </a:lnTo>
                      <a:lnTo>
                        <a:pt x="575" y="307"/>
                      </a:lnTo>
                      <a:lnTo>
                        <a:pt x="575" y="308"/>
                      </a:lnTo>
                      <a:lnTo>
                        <a:pt x="576" y="308"/>
                      </a:lnTo>
                      <a:lnTo>
                        <a:pt x="575" y="308"/>
                      </a:lnTo>
                      <a:lnTo>
                        <a:pt x="575" y="310"/>
                      </a:lnTo>
                      <a:lnTo>
                        <a:pt x="576" y="310"/>
                      </a:lnTo>
                      <a:lnTo>
                        <a:pt x="575" y="312"/>
                      </a:lnTo>
                      <a:lnTo>
                        <a:pt x="575" y="313"/>
                      </a:lnTo>
                      <a:lnTo>
                        <a:pt x="573" y="317"/>
                      </a:lnTo>
                      <a:lnTo>
                        <a:pt x="573" y="318"/>
                      </a:lnTo>
                      <a:lnTo>
                        <a:pt x="571" y="318"/>
                      </a:lnTo>
                      <a:lnTo>
                        <a:pt x="570" y="318"/>
                      </a:lnTo>
                      <a:lnTo>
                        <a:pt x="568" y="317"/>
                      </a:lnTo>
                      <a:lnTo>
                        <a:pt x="566" y="317"/>
                      </a:lnTo>
                      <a:lnTo>
                        <a:pt x="566" y="318"/>
                      </a:lnTo>
                      <a:lnTo>
                        <a:pt x="565" y="318"/>
                      </a:lnTo>
                      <a:lnTo>
                        <a:pt x="559" y="318"/>
                      </a:lnTo>
                      <a:lnTo>
                        <a:pt x="537" y="318"/>
                      </a:lnTo>
                      <a:lnTo>
                        <a:pt x="539" y="320"/>
                      </a:lnTo>
                      <a:lnTo>
                        <a:pt x="537" y="320"/>
                      </a:lnTo>
                      <a:lnTo>
                        <a:pt x="537" y="318"/>
                      </a:lnTo>
                      <a:lnTo>
                        <a:pt x="537" y="320"/>
                      </a:lnTo>
                      <a:lnTo>
                        <a:pt x="536" y="320"/>
                      </a:lnTo>
                      <a:lnTo>
                        <a:pt x="536" y="321"/>
                      </a:lnTo>
                      <a:lnTo>
                        <a:pt x="534" y="321"/>
                      </a:lnTo>
                      <a:lnTo>
                        <a:pt x="532" y="321"/>
                      </a:lnTo>
                      <a:lnTo>
                        <a:pt x="531" y="321"/>
                      </a:lnTo>
                      <a:lnTo>
                        <a:pt x="531" y="320"/>
                      </a:lnTo>
                      <a:lnTo>
                        <a:pt x="531" y="321"/>
                      </a:lnTo>
                      <a:lnTo>
                        <a:pt x="531" y="320"/>
                      </a:lnTo>
                      <a:lnTo>
                        <a:pt x="529" y="321"/>
                      </a:lnTo>
                      <a:lnTo>
                        <a:pt x="531" y="321"/>
                      </a:lnTo>
                      <a:lnTo>
                        <a:pt x="529" y="321"/>
                      </a:lnTo>
                      <a:lnTo>
                        <a:pt x="527" y="321"/>
                      </a:lnTo>
                      <a:lnTo>
                        <a:pt x="527" y="320"/>
                      </a:lnTo>
                      <a:lnTo>
                        <a:pt x="527" y="321"/>
                      </a:lnTo>
                      <a:lnTo>
                        <a:pt x="526" y="320"/>
                      </a:lnTo>
                      <a:lnTo>
                        <a:pt x="526" y="321"/>
                      </a:lnTo>
                      <a:lnTo>
                        <a:pt x="526" y="320"/>
                      </a:lnTo>
                      <a:lnTo>
                        <a:pt x="526" y="321"/>
                      </a:lnTo>
                      <a:lnTo>
                        <a:pt x="524" y="321"/>
                      </a:lnTo>
                      <a:lnTo>
                        <a:pt x="524" y="320"/>
                      </a:lnTo>
                      <a:lnTo>
                        <a:pt x="524" y="321"/>
                      </a:lnTo>
                      <a:lnTo>
                        <a:pt x="522" y="320"/>
                      </a:lnTo>
                      <a:lnTo>
                        <a:pt x="522" y="321"/>
                      </a:lnTo>
                      <a:lnTo>
                        <a:pt x="521" y="321"/>
                      </a:lnTo>
                      <a:lnTo>
                        <a:pt x="519" y="321"/>
                      </a:lnTo>
                      <a:lnTo>
                        <a:pt x="519" y="320"/>
                      </a:lnTo>
                      <a:lnTo>
                        <a:pt x="517" y="320"/>
                      </a:lnTo>
                      <a:lnTo>
                        <a:pt x="517" y="321"/>
                      </a:lnTo>
                      <a:lnTo>
                        <a:pt x="516" y="321"/>
                      </a:lnTo>
                      <a:lnTo>
                        <a:pt x="514" y="321"/>
                      </a:lnTo>
                      <a:lnTo>
                        <a:pt x="514" y="323"/>
                      </a:lnTo>
                      <a:lnTo>
                        <a:pt x="512" y="323"/>
                      </a:lnTo>
                      <a:lnTo>
                        <a:pt x="510" y="325"/>
                      </a:lnTo>
                      <a:lnTo>
                        <a:pt x="510" y="326"/>
                      </a:lnTo>
                      <a:lnTo>
                        <a:pt x="509" y="326"/>
                      </a:lnTo>
                      <a:lnTo>
                        <a:pt x="509" y="328"/>
                      </a:lnTo>
                      <a:lnTo>
                        <a:pt x="507" y="328"/>
                      </a:lnTo>
                      <a:lnTo>
                        <a:pt x="505" y="328"/>
                      </a:lnTo>
                      <a:lnTo>
                        <a:pt x="507" y="330"/>
                      </a:lnTo>
                      <a:lnTo>
                        <a:pt x="505" y="330"/>
                      </a:lnTo>
                      <a:lnTo>
                        <a:pt x="507" y="330"/>
                      </a:lnTo>
                      <a:lnTo>
                        <a:pt x="505" y="330"/>
                      </a:lnTo>
                      <a:lnTo>
                        <a:pt x="505" y="331"/>
                      </a:lnTo>
                      <a:lnTo>
                        <a:pt x="505" y="330"/>
                      </a:lnTo>
                      <a:lnTo>
                        <a:pt x="504" y="330"/>
                      </a:lnTo>
                      <a:lnTo>
                        <a:pt x="504" y="331"/>
                      </a:lnTo>
                      <a:lnTo>
                        <a:pt x="502" y="331"/>
                      </a:lnTo>
                      <a:lnTo>
                        <a:pt x="502" y="333"/>
                      </a:lnTo>
                      <a:lnTo>
                        <a:pt x="502" y="331"/>
                      </a:lnTo>
                      <a:lnTo>
                        <a:pt x="500" y="333"/>
                      </a:lnTo>
                      <a:lnTo>
                        <a:pt x="499" y="333"/>
                      </a:lnTo>
                      <a:lnTo>
                        <a:pt x="499" y="335"/>
                      </a:lnTo>
                      <a:lnTo>
                        <a:pt x="499" y="333"/>
                      </a:lnTo>
                      <a:lnTo>
                        <a:pt x="499" y="335"/>
                      </a:lnTo>
                      <a:lnTo>
                        <a:pt x="497" y="335"/>
                      </a:lnTo>
                      <a:lnTo>
                        <a:pt x="495" y="335"/>
                      </a:lnTo>
                      <a:lnTo>
                        <a:pt x="494" y="335"/>
                      </a:lnTo>
                      <a:lnTo>
                        <a:pt x="495" y="335"/>
                      </a:lnTo>
                      <a:lnTo>
                        <a:pt x="495" y="336"/>
                      </a:lnTo>
                      <a:lnTo>
                        <a:pt x="494" y="335"/>
                      </a:lnTo>
                      <a:lnTo>
                        <a:pt x="494" y="336"/>
                      </a:lnTo>
                      <a:lnTo>
                        <a:pt x="492" y="336"/>
                      </a:lnTo>
                      <a:lnTo>
                        <a:pt x="492" y="335"/>
                      </a:lnTo>
                      <a:lnTo>
                        <a:pt x="492" y="336"/>
                      </a:lnTo>
                      <a:lnTo>
                        <a:pt x="492" y="335"/>
                      </a:lnTo>
                      <a:lnTo>
                        <a:pt x="490" y="335"/>
                      </a:lnTo>
                      <a:lnTo>
                        <a:pt x="490" y="336"/>
                      </a:lnTo>
                      <a:lnTo>
                        <a:pt x="489" y="336"/>
                      </a:lnTo>
                      <a:lnTo>
                        <a:pt x="489" y="338"/>
                      </a:lnTo>
                      <a:lnTo>
                        <a:pt x="489" y="336"/>
                      </a:lnTo>
                      <a:lnTo>
                        <a:pt x="489" y="338"/>
                      </a:lnTo>
                      <a:lnTo>
                        <a:pt x="487" y="338"/>
                      </a:lnTo>
                      <a:lnTo>
                        <a:pt x="489" y="338"/>
                      </a:lnTo>
                      <a:lnTo>
                        <a:pt x="487" y="338"/>
                      </a:lnTo>
                      <a:lnTo>
                        <a:pt x="487" y="340"/>
                      </a:lnTo>
                      <a:lnTo>
                        <a:pt x="487" y="341"/>
                      </a:lnTo>
                      <a:lnTo>
                        <a:pt x="485" y="341"/>
                      </a:lnTo>
                      <a:lnTo>
                        <a:pt x="483" y="340"/>
                      </a:lnTo>
                      <a:lnTo>
                        <a:pt x="483" y="341"/>
                      </a:lnTo>
                      <a:lnTo>
                        <a:pt x="483" y="340"/>
                      </a:lnTo>
                      <a:lnTo>
                        <a:pt x="483" y="341"/>
                      </a:lnTo>
                      <a:lnTo>
                        <a:pt x="482" y="341"/>
                      </a:lnTo>
                      <a:lnTo>
                        <a:pt x="482" y="343"/>
                      </a:lnTo>
                      <a:lnTo>
                        <a:pt x="480" y="341"/>
                      </a:lnTo>
                      <a:lnTo>
                        <a:pt x="480" y="340"/>
                      </a:lnTo>
                      <a:lnTo>
                        <a:pt x="478" y="340"/>
                      </a:lnTo>
                      <a:lnTo>
                        <a:pt x="478" y="341"/>
                      </a:lnTo>
                      <a:lnTo>
                        <a:pt x="478" y="340"/>
                      </a:lnTo>
                      <a:lnTo>
                        <a:pt x="478" y="341"/>
                      </a:lnTo>
                      <a:lnTo>
                        <a:pt x="477" y="341"/>
                      </a:lnTo>
                      <a:lnTo>
                        <a:pt x="477" y="340"/>
                      </a:lnTo>
                      <a:lnTo>
                        <a:pt x="475" y="340"/>
                      </a:lnTo>
                      <a:lnTo>
                        <a:pt x="473" y="340"/>
                      </a:lnTo>
                      <a:lnTo>
                        <a:pt x="475" y="340"/>
                      </a:lnTo>
                      <a:lnTo>
                        <a:pt x="475" y="338"/>
                      </a:lnTo>
                      <a:lnTo>
                        <a:pt x="473" y="338"/>
                      </a:lnTo>
                      <a:lnTo>
                        <a:pt x="473" y="340"/>
                      </a:lnTo>
                      <a:lnTo>
                        <a:pt x="472" y="340"/>
                      </a:lnTo>
                      <a:lnTo>
                        <a:pt x="472" y="338"/>
                      </a:lnTo>
                      <a:lnTo>
                        <a:pt x="473" y="338"/>
                      </a:lnTo>
                      <a:lnTo>
                        <a:pt x="472" y="338"/>
                      </a:lnTo>
                      <a:lnTo>
                        <a:pt x="470" y="338"/>
                      </a:lnTo>
                      <a:lnTo>
                        <a:pt x="468" y="338"/>
                      </a:lnTo>
                      <a:lnTo>
                        <a:pt x="470" y="338"/>
                      </a:lnTo>
                      <a:lnTo>
                        <a:pt x="470" y="336"/>
                      </a:lnTo>
                      <a:lnTo>
                        <a:pt x="468" y="336"/>
                      </a:lnTo>
                      <a:lnTo>
                        <a:pt x="468" y="335"/>
                      </a:lnTo>
                      <a:lnTo>
                        <a:pt x="467" y="335"/>
                      </a:lnTo>
                      <a:lnTo>
                        <a:pt x="465" y="336"/>
                      </a:lnTo>
                      <a:lnTo>
                        <a:pt x="465" y="335"/>
                      </a:lnTo>
                      <a:lnTo>
                        <a:pt x="465" y="333"/>
                      </a:lnTo>
                      <a:lnTo>
                        <a:pt x="463" y="333"/>
                      </a:lnTo>
                      <a:lnTo>
                        <a:pt x="463" y="331"/>
                      </a:lnTo>
                      <a:lnTo>
                        <a:pt x="461" y="331"/>
                      </a:lnTo>
                      <a:lnTo>
                        <a:pt x="461" y="330"/>
                      </a:lnTo>
                      <a:lnTo>
                        <a:pt x="460" y="330"/>
                      </a:lnTo>
                      <a:lnTo>
                        <a:pt x="461" y="330"/>
                      </a:lnTo>
                      <a:lnTo>
                        <a:pt x="461" y="331"/>
                      </a:lnTo>
                      <a:lnTo>
                        <a:pt x="460" y="331"/>
                      </a:lnTo>
                      <a:lnTo>
                        <a:pt x="460" y="330"/>
                      </a:lnTo>
                      <a:lnTo>
                        <a:pt x="460" y="331"/>
                      </a:lnTo>
                      <a:lnTo>
                        <a:pt x="458" y="331"/>
                      </a:lnTo>
                      <a:lnTo>
                        <a:pt x="458" y="330"/>
                      </a:lnTo>
                      <a:lnTo>
                        <a:pt x="458" y="328"/>
                      </a:lnTo>
                      <a:lnTo>
                        <a:pt x="456" y="328"/>
                      </a:lnTo>
                      <a:lnTo>
                        <a:pt x="456" y="330"/>
                      </a:lnTo>
                      <a:lnTo>
                        <a:pt x="456" y="328"/>
                      </a:lnTo>
                      <a:lnTo>
                        <a:pt x="455" y="328"/>
                      </a:lnTo>
                      <a:lnTo>
                        <a:pt x="455" y="326"/>
                      </a:lnTo>
                      <a:lnTo>
                        <a:pt x="455" y="328"/>
                      </a:lnTo>
                      <a:lnTo>
                        <a:pt x="455" y="326"/>
                      </a:lnTo>
                      <a:lnTo>
                        <a:pt x="455" y="325"/>
                      </a:lnTo>
                      <a:lnTo>
                        <a:pt x="455" y="326"/>
                      </a:lnTo>
                      <a:lnTo>
                        <a:pt x="453" y="326"/>
                      </a:lnTo>
                      <a:lnTo>
                        <a:pt x="453" y="325"/>
                      </a:lnTo>
                      <a:lnTo>
                        <a:pt x="451" y="325"/>
                      </a:lnTo>
                      <a:lnTo>
                        <a:pt x="451" y="323"/>
                      </a:lnTo>
                      <a:lnTo>
                        <a:pt x="450" y="323"/>
                      </a:lnTo>
                      <a:lnTo>
                        <a:pt x="448" y="323"/>
                      </a:lnTo>
                      <a:lnTo>
                        <a:pt x="446" y="323"/>
                      </a:lnTo>
                      <a:lnTo>
                        <a:pt x="445" y="323"/>
                      </a:lnTo>
                      <a:lnTo>
                        <a:pt x="445" y="321"/>
                      </a:lnTo>
                      <a:lnTo>
                        <a:pt x="446" y="321"/>
                      </a:lnTo>
                      <a:lnTo>
                        <a:pt x="445" y="321"/>
                      </a:lnTo>
                      <a:lnTo>
                        <a:pt x="443" y="321"/>
                      </a:lnTo>
                      <a:lnTo>
                        <a:pt x="443" y="323"/>
                      </a:lnTo>
                      <a:lnTo>
                        <a:pt x="445" y="323"/>
                      </a:lnTo>
                      <a:lnTo>
                        <a:pt x="443" y="323"/>
                      </a:lnTo>
                      <a:lnTo>
                        <a:pt x="443" y="325"/>
                      </a:lnTo>
                      <a:lnTo>
                        <a:pt x="441" y="326"/>
                      </a:lnTo>
                      <a:lnTo>
                        <a:pt x="441" y="325"/>
                      </a:lnTo>
                      <a:lnTo>
                        <a:pt x="443" y="325"/>
                      </a:lnTo>
                      <a:lnTo>
                        <a:pt x="443" y="323"/>
                      </a:lnTo>
                      <a:lnTo>
                        <a:pt x="443" y="321"/>
                      </a:lnTo>
                      <a:lnTo>
                        <a:pt x="441" y="321"/>
                      </a:lnTo>
                      <a:lnTo>
                        <a:pt x="440" y="321"/>
                      </a:lnTo>
                      <a:lnTo>
                        <a:pt x="438" y="321"/>
                      </a:lnTo>
                      <a:lnTo>
                        <a:pt x="438" y="323"/>
                      </a:lnTo>
                      <a:lnTo>
                        <a:pt x="440" y="325"/>
                      </a:lnTo>
                      <a:lnTo>
                        <a:pt x="438" y="325"/>
                      </a:lnTo>
                      <a:lnTo>
                        <a:pt x="438" y="323"/>
                      </a:lnTo>
                      <a:lnTo>
                        <a:pt x="436" y="323"/>
                      </a:lnTo>
                      <a:lnTo>
                        <a:pt x="434" y="323"/>
                      </a:lnTo>
                      <a:lnTo>
                        <a:pt x="433" y="323"/>
                      </a:lnTo>
                      <a:lnTo>
                        <a:pt x="433" y="325"/>
                      </a:lnTo>
                      <a:lnTo>
                        <a:pt x="431" y="325"/>
                      </a:lnTo>
                      <a:lnTo>
                        <a:pt x="431" y="323"/>
                      </a:lnTo>
                      <a:lnTo>
                        <a:pt x="431" y="325"/>
                      </a:lnTo>
                      <a:lnTo>
                        <a:pt x="429" y="325"/>
                      </a:lnTo>
                      <a:lnTo>
                        <a:pt x="429" y="326"/>
                      </a:lnTo>
                      <a:lnTo>
                        <a:pt x="429" y="325"/>
                      </a:lnTo>
                      <a:lnTo>
                        <a:pt x="428" y="325"/>
                      </a:lnTo>
                      <a:lnTo>
                        <a:pt x="428" y="326"/>
                      </a:lnTo>
                      <a:lnTo>
                        <a:pt x="428" y="325"/>
                      </a:lnTo>
                      <a:lnTo>
                        <a:pt x="426" y="325"/>
                      </a:lnTo>
                      <a:lnTo>
                        <a:pt x="426" y="326"/>
                      </a:lnTo>
                      <a:lnTo>
                        <a:pt x="424" y="326"/>
                      </a:lnTo>
                      <a:lnTo>
                        <a:pt x="424" y="325"/>
                      </a:lnTo>
                      <a:lnTo>
                        <a:pt x="426" y="323"/>
                      </a:lnTo>
                      <a:lnTo>
                        <a:pt x="424" y="323"/>
                      </a:lnTo>
                      <a:lnTo>
                        <a:pt x="423" y="323"/>
                      </a:lnTo>
                      <a:lnTo>
                        <a:pt x="423" y="325"/>
                      </a:lnTo>
                      <a:lnTo>
                        <a:pt x="424" y="325"/>
                      </a:lnTo>
                      <a:lnTo>
                        <a:pt x="424" y="323"/>
                      </a:lnTo>
                      <a:lnTo>
                        <a:pt x="424" y="325"/>
                      </a:lnTo>
                      <a:lnTo>
                        <a:pt x="424" y="326"/>
                      </a:lnTo>
                      <a:lnTo>
                        <a:pt x="423" y="326"/>
                      </a:lnTo>
                      <a:lnTo>
                        <a:pt x="423" y="328"/>
                      </a:lnTo>
                      <a:lnTo>
                        <a:pt x="421" y="326"/>
                      </a:lnTo>
                      <a:lnTo>
                        <a:pt x="419" y="326"/>
                      </a:lnTo>
                      <a:lnTo>
                        <a:pt x="419" y="325"/>
                      </a:lnTo>
                      <a:lnTo>
                        <a:pt x="418" y="326"/>
                      </a:lnTo>
                      <a:lnTo>
                        <a:pt x="418" y="325"/>
                      </a:lnTo>
                      <a:lnTo>
                        <a:pt x="418" y="323"/>
                      </a:lnTo>
                      <a:lnTo>
                        <a:pt x="416" y="323"/>
                      </a:lnTo>
                      <a:lnTo>
                        <a:pt x="414" y="323"/>
                      </a:lnTo>
                      <a:lnTo>
                        <a:pt x="416" y="325"/>
                      </a:lnTo>
                      <a:lnTo>
                        <a:pt x="414" y="325"/>
                      </a:lnTo>
                      <a:lnTo>
                        <a:pt x="413" y="325"/>
                      </a:lnTo>
                      <a:lnTo>
                        <a:pt x="411" y="325"/>
                      </a:lnTo>
                      <a:lnTo>
                        <a:pt x="411" y="326"/>
                      </a:lnTo>
                      <a:lnTo>
                        <a:pt x="409" y="326"/>
                      </a:lnTo>
                      <a:lnTo>
                        <a:pt x="409" y="328"/>
                      </a:lnTo>
                      <a:lnTo>
                        <a:pt x="407" y="328"/>
                      </a:lnTo>
                      <a:lnTo>
                        <a:pt x="409" y="330"/>
                      </a:lnTo>
                      <a:lnTo>
                        <a:pt x="407" y="330"/>
                      </a:lnTo>
                      <a:lnTo>
                        <a:pt x="407" y="331"/>
                      </a:lnTo>
                      <a:lnTo>
                        <a:pt x="409" y="331"/>
                      </a:lnTo>
                      <a:lnTo>
                        <a:pt x="407" y="331"/>
                      </a:lnTo>
                      <a:lnTo>
                        <a:pt x="409" y="331"/>
                      </a:lnTo>
                      <a:lnTo>
                        <a:pt x="409" y="333"/>
                      </a:lnTo>
                      <a:lnTo>
                        <a:pt x="407" y="333"/>
                      </a:lnTo>
                      <a:lnTo>
                        <a:pt x="406" y="331"/>
                      </a:lnTo>
                      <a:lnTo>
                        <a:pt x="406" y="330"/>
                      </a:lnTo>
                      <a:lnTo>
                        <a:pt x="404" y="331"/>
                      </a:lnTo>
                      <a:lnTo>
                        <a:pt x="404" y="330"/>
                      </a:lnTo>
                      <a:lnTo>
                        <a:pt x="406" y="330"/>
                      </a:lnTo>
                      <a:lnTo>
                        <a:pt x="404" y="328"/>
                      </a:lnTo>
                      <a:lnTo>
                        <a:pt x="402" y="326"/>
                      </a:lnTo>
                      <a:lnTo>
                        <a:pt x="401" y="326"/>
                      </a:lnTo>
                      <a:lnTo>
                        <a:pt x="399" y="326"/>
                      </a:lnTo>
                      <a:lnTo>
                        <a:pt x="397" y="326"/>
                      </a:lnTo>
                      <a:lnTo>
                        <a:pt x="397" y="325"/>
                      </a:lnTo>
                      <a:lnTo>
                        <a:pt x="397" y="323"/>
                      </a:lnTo>
                      <a:lnTo>
                        <a:pt x="396" y="323"/>
                      </a:lnTo>
                      <a:lnTo>
                        <a:pt x="394" y="323"/>
                      </a:lnTo>
                      <a:lnTo>
                        <a:pt x="394" y="321"/>
                      </a:lnTo>
                      <a:lnTo>
                        <a:pt x="394" y="323"/>
                      </a:lnTo>
                      <a:lnTo>
                        <a:pt x="392" y="323"/>
                      </a:lnTo>
                      <a:lnTo>
                        <a:pt x="391" y="323"/>
                      </a:lnTo>
                      <a:lnTo>
                        <a:pt x="389" y="323"/>
                      </a:lnTo>
                      <a:lnTo>
                        <a:pt x="387" y="323"/>
                      </a:lnTo>
                      <a:lnTo>
                        <a:pt x="387" y="325"/>
                      </a:lnTo>
                      <a:lnTo>
                        <a:pt x="387" y="323"/>
                      </a:lnTo>
                      <a:lnTo>
                        <a:pt x="387" y="321"/>
                      </a:lnTo>
                      <a:lnTo>
                        <a:pt x="385" y="321"/>
                      </a:lnTo>
                      <a:lnTo>
                        <a:pt x="385" y="320"/>
                      </a:lnTo>
                      <a:lnTo>
                        <a:pt x="384" y="321"/>
                      </a:lnTo>
                      <a:lnTo>
                        <a:pt x="384" y="323"/>
                      </a:lnTo>
                      <a:lnTo>
                        <a:pt x="382" y="323"/>
                      </a:lnTo>
                      <a:lnTo>
                        <a:pt x="384" y="325"/>
                      </a:lnTo>
                      <a:lnTo>
                        <a:pt x="385" y="325"/>
                      </a:lnTo>
                      <a:lnTo>
                        <a:pt x="387" y="325"/>
                      </a:lnTo>
                      <a:lnTo>
                        <a:pt x="387" y="326"/>
                      </a:lnTo>
                      <a:lnTo>
                        <a:pt x="385" y="326"/>
                      </a:lnTo>
                      <a:lnTo>
                        <a:pt x="384" y="326"/>
                      </a:lnTo>
                      <a:lnTo>
                        <a:pt x="382" y="326"/>
                      </a:lnTo>
                      <a:lnTo>
                        <a:pt x="380" y="326"/>
                      </a:lnTo>
                      <a:lnTo>
                        <a:pt x="379" y="326"/>
                      </a:lnTo>
                      <a:lnTo>
                        <a:pt x="379" y="328"/>
                      </a:lnTo>
                      <a:lnTo>
                        <a:pt x="377" y="330"/>
                      </a:lnTo>
                      <a:lnTo>
                        <a:pt x="377" y="331"/>
                      </a:lnTo>
                      <a:lnTo>
                        <a:pt x="377" y="333"/>
                      </a:lnTo>
                      <a:lnTo>
                        <a:pt x="375" y="333"/>
                      </a:lnTo>
                      <a:lnTo>
                        <a:pt x="375" y="335"/>
                      </a:lnTo>
                      <a:lnTo>
                        <a:pt x="374" y="336"/>
                      </a:lnTo>
                      <a:lnTo>
                        <a:pt x="372" y="338"/>
                      </a:lnTo>
                      <a:lnTo>
                        <a:pt x="370" y="340"/>
                      </a:lnTo>
                      <a:lnTo>
                        <a:pt x="370" y="341"/>
                      </a:lnTo>
                      <a:lnTo>
                        <a:pt x="372" y="343"/>
                      </a:lnTo>
                      <a:lnTo>
                        <a:pt x="370" y="343"/>
                      </a:lnTo>
                      <a:lnTo>
                        <a:pt x="369" y="343"/>
                      </a:lnTo>
                      <a:lnTo>
                        <a:pt x="369" y="341"/>
                      </a:lnTo>
                      <a:lnTo>
                        <a:pt x="367" y="341"/>
                      </a:lnTo>
                      <a:lnTo>
                        <a:pt x="365" y="341"/>
                      </a:lnTo>
                      <a:lnTo>
                        <a:pt x="364" y="341"/>
                      </a:lnTo>
                      <a:lnTo>
                        <a:pt x="362" y="343"/>
                      </a:lnTo>
                      <a:lnTo>
                        <a:pt x="360" y="343"/>
                      </a:lnTo>
                      <a:lnTo>
                        <a:pt x="360" y="344"/>
                      </a:lnTo>
                      <a:lnTo>
                        <a:pt x="360" y="346"/>
                      </a:lnTo>
                      <a:lnTo>
                        <a:pt x="358" y="344"/>
                      </a:lnTo>
                      <a:lnTo>
                        <a:pt x="358" y="343"/>
                      </a:lnTo>
                      <a:lnTo>
                        <a:pt x="357" y="343"/>
                      </a:lnTo>
                      <a:lnTo>
                        <a:pt x="355" y="344"/>
                      </a:lnTo>
                      <a:lnTo>
                        <a:pt x="355" y="346"/>
                      </a:lnTo>
                      <a:lnTo>
                        <a:pt x="353" y="348"/>
                      </a:lnTo>
                      <a:lnTo>
                        <a:pt x="353" y="346"/>
                      </a:lnTo>
                      <a:lnTo>
                        <a:pt x="353" y="344"/>
                      </a:lnTo>
                      <a:lnTo>
                        <a:pt x="353" y="343"/>
                      </a:lnTo>
                      <a:lnTo>
                        <a:pt x="352" y="341"/>
                      </a:lnTo>
                      <a:lnTo>
                        <a:pt x="350" y="341"/>
                      </a:lnTo>
                      <a:lnTo>
                        <a:pt x="350" y="343"/>
                      </a:lnTo>
                      <a:lnTo>
                        <a:pt x="350" y="344"/>
                      </a:lnTo>
                      <a:lnTo>
                        <a:pt x="350" y="346"/>
                      </a:lnTo>
                      <a:lnTo>
                        <a:pt x="348" y="344"/>
                      </a:lnTo>
                      <a:lnTo>
                        <a:pt x="347" y="344"/>
                      </a:lnTo>
                      <a:lnTo>
                        <a:pt x="347" y="343"/>
                      </a:lnTo>
                      <a:lnTo>
                        <a:pt x="345" y="341"/>
                      </a:lnTo>
                      <a:lnTo>
                        <a:pt x="340" y="343"/>
                      </a:lnTo>
                      <a:lnTo>
                        <a:pt x="338" y="343"/>
                      </a:lnTo>
                      <a:lnTo>
                        <a:pt x="337" y="341"/>
                      </a:lnTo>
                      <a:lnTo>
                        <a:pt x="337" y="343"/>
                      </a:lnTo>
                      <a:lnTo>
                        <a:pt x="335" y="343"/>
                      </a:lnTo>
                      <a:lnTo>
                        <a:pt x="335" y="344"/>
                      </a:lnTo>
                      <a:lnTo>
                        <a:pt x="335" y="346"/>
                      </a:lnTo>
                      <a:lnTo>
                        <a:pt x="333" y="346"/>
                      </a:lnTo>
                      <a:lnTo>
                        <a:pt x="331" y="346"/>
                      </a:lnTo>
                      <a:lnTo>
                        <a:pt x="330" y="346"/>
                      </a:lnTo>
                      <a:lnTo>
                        <a:pt x="328" y="346"/>
                      </a:lnTo>
                      <a:lnTo>
                        <a:pt x="330" y="348"/>
                      </a:lnTo>
                      <a:lnTo>
                        <a:pt x="328" y="348"/>
                      </a:lnTo>
                      <a:lnTo>
                        <a:pt x="326" y="348"/>
                      </a:lnTo>
                      <a:lnTo>
                        <a:pt x="325" y="348"/>
                      </a:lnTo>
                      <a:lnTo>
                        <a:pt x="323" y="349"/>
                      </a:lnTo>
                      <a:lnTo>
                        <a:pt x="321" y="349"/>
                      </a:lnTo>
                      <a:lnTo>
                        <a:pt x="321" y="351"/>
                      </a:lnTo>
                      <a:lnTo>
                        <a:pt x="320" y="351"/>
                      </a:lnTo>
                      <a:lnTo>
                        <a:pt x="320" y="353"/>
                      </a:lnTo>
                      <a:lnTo>
                        <a:pt x="321" y="353"/>
                      </a:lnTo>
                      <a:lnTo>
                        <a:pt x="320" y="353"/>
                      </a:lnTo>
                      <a:lnTo>
                        <a:pt x="320" y="354"/>
                      </a:lnTo>
                      <a:lnTo>
                        <a:pt x="321" y="354"/>
                      </a:lnTo>
                      <a:lnTo>
                        <a:pt x="320" y="354"/>
                      </a:lnTo>
                      <a:lnTo>
                        <a:pt x="320" y="356"/>
                      </a:lnTo>
                      <a:lnTo>
                        <a:pt x="318" y="356"/>
                      </a:lnTo>
                      <a:lnTo>
                        <a:pt x="318" y="358"/>
                      </a:lnTo>
                      <a:lnTo>
                        <a:pt x="316" y="358"/>
                      </a:lnTo>
                      <a:lnTo>
                        <a:pt x="316" y="359"/>
                      </a:lnTo>
                      <a:lnTo>
                        <a:pt x="316" y="361"/>
                      </a:lnTo>
                      <a:lnTo>
                        <a:pt x="318" y="361"/>
                      </a:lnTo>
                      <a:lnTo>
                        <a:pt x="318" y="363"/>
                      </a:lnTo>
                      <a:lnTo>
                        <a:pt x="320" y="363"/>
                      </a:lnTo>
                      <a:lnTo>
                        <a:pt x="320" y="364"/>
                      </a:lnTo>
                      <a:lnTo>
                        <a:pt x="321" y="364"/>
                      </a:lnTo>
                      <a:lnTo>
                        <a:pt x="320" y="364"/>
                      </a:lnTo>
                      <a:lnTo>
                        <a:pt x="320" y="366"/>
                      </a:lnTo>
                      <a:lnTo>
                        <a:pt x="318" y="366"/>
                      </a:lnTo>
                      <a:lnTo>
                        <a:pt x="320" y="366"/>
                      </a:lnTo>
                      <a:lnTo>
                        <a:pt x="318" y="366"/>
                      </a:lnTo>
                      <a:lnTo>
                        <a:pt x="318" y="367"/>
                      </a:lnTo>
                      <a:lnTo>
                        <a:pt x="320" y="367"/>
                      </a:lnTo>
                      <a:lnTo>
                        <a:pt x="321" y="367"/>
                      </a:lnTo>
                      <a:lnTo>
                        <a:pt x="321" y="369"/>
                      </a:lnTo>
                      <a:lnTo>
                        <a:pt x="321" y="371"/>
                      </a:lnTo>
                      <a:lnTo>
                        <a:pt x="323" y="371"/>
                      </a:lnTo>
                      <a:lnTo>
                        <a:pt x="323" y="372"/>
                      </a:lnTo>
                      <a:lnTo>
                        <a:pt x="325" y="372"/>
                      </a:lnTo>
                      <a:lnTo>
                        <a:pt x="323" y="372"/>
                      </a:lnTo>
                      <a:lnTo>
                        <a:pt x="323" y="374"/>
                      </a:lnTo>
                      <a:lnTo>
                        <a:pt x="323" y="376"/>
                      </a:lnTo>
                      <a:lnTo>
                        <a:pt x="321" y="376"/>
                      </a:lnTo>
                      <a:lnTo>
                        <a:pt x="323" y="377"/>
                      </a:lnTo>
                      <a:lnTo>
                        <a:pt x="321" y="377"/>
                      </a:lnTo>
                      <a:lnTo>
                        <a:pt x="321" y="379"/>
                      </a:lnTo>
                      <a:lnTo>
                        <a:pt x="321" y="377"/>
                      </a:lnTo>
                      <a:lnTo>
                        <a:pt x="321" y="379"/>
                      </a:lnTo>
                      <a:lnTo>
                        <a:pt x="321" y="377"/>
                      </a:lnTo>
                      <a:lnTo>
                        <a:pt x="320" y="379"/>
                      </a:lnTo>
                      <a:lnTo>
                        <a:pt x="320" y="377"/>
                      </a:lnTo>
                      <a:lnTo>
                        <a:pt x="320" y="379"/>
                      </a:lnTo>
                      <a:lnTo>
                        <a:pt x="318" y="379"/>
                      </a:lnTo>
                      <a:lnTo>
                        <a:pt x="318" y="381"/>
                      </a:lnTo>
                      <a:lnTo>
                        <a:pt x="316" y="381"/>
                      </a:lnTo>
                      <a:lnTo>
                        <a:pt x="315" y="381"/>
                      </a:lnTo>
                      <a:lnTo>
                        <a:pt x="313" y="381"/>
                      </a:lnTo>
                      <a:lnTo>
                        <a:pt x="311" y="381"/>
                      </a:lnTo>
                      <a:lnTo>
                        <a:pt x="309" y="381"/>
                      </a:lnTo>
                      <a:lnTo>
                        <a:pt x="308" y="381"/>
                      </a:lnTo>
                      <a:lnTo>
                        <a:pt x="308" y="382"/>
                      </a:lnTo>
                      <a:lnTo>
                        <a:pt x="306" y="382"/>
                      </a:lnTo>
                      <a:lnTo>
                        <a:pt x="308" y="384"/>
                      </a:lnTo>
                      <a:lnTo>
                        <a:pt x="308" y="386"/>
                      </a:lnTo>
                      <a:lnTo>
                        <a:pt x="306" y="386"/>
                      </a:lnTo>
                      <a:lnTo>
                        <a:pt x="304" y="386"/>
                      </a:lnTo>
                      <a:lnTo>
                        <a:pt x="306" y="386"/>
                      </a:lnTo>
                      <a:lnTo>
                        <a:pt x="304" y="384"/>
                      </a:lnTo>
                      <a:lnTo>
                        <a:pt x="303" y="384"/>
                      </a:lnTo>
                      <a:lnTo>
                        <a:pt x="303" y="382"/>
                      </a:lnTo>
                      <a:lnTo>
                        <a:pt x="301" y="381"/>
                      </a:lnTo>
                      <a:lnTo>
                        <a:pt x="301" y="379"/>
                      </a:lnTo>
                      <a:lnTo>
                        <a:pt x="301" y="377"/>
                      </a:lnTo>
                      <a:lnTo>
                        <a:pt x="299" y="377"/>
                      </a:lnTo>
                      <a:lnTo>
                        <a:pt x="298" y="377"/>
                      </a:lnTo>
                      <a:lnTo>
                        <a:pt x="298" y="376"/>
                      </a:lnTo>
                      <a:lnTo>
                        <a:pt x="298" y="374"/>
                      </a:lnTo>
                      <a:lnTo>
                        <a:pt x="296" y="374"/>
                      </a:lnTo>
                      <a:lnTo>
                        <a:pt x="294" y="376"/>
                      </a:lnTo>
                      <a:lnTo>
                        <a:pt x="293" y="374"/>
                      </a:lnTo>
                      <a:lnTo>
                        <a:pt x="293" y="376"/>
                      </a:lnTo>
                      <a:lnTo>
                        <a:pt x="291" y="374"/>
                      </a:lnTo>
                      <a:lnTo>
                        <a:pt x="289" y="374"/>
                      </a:lnTo>
                      <a:lnTo>
                        <a:pt x="288" y="374"/>
                      </a:lnTo>
                      <a:lnTo>
                        <a:pt x="286" y="374"/>
                      </a:lnTo>
                      <a:lnTo>
                        <a:pt x="284" y="376"/>
                      </a:lnTo>
                      <a:lnTo>
                        <a:pt x="284" y="374"/>
                      </a:lnTo>
                      <a:lnTo>
                        <a:pt x="282" y="372"/>
                      </a:lnTo>
                      <a:lnTo>
                        <a:pt x="281" y="372"/>
                      </a:lnTo>
                      <a:lnTo>
                        <a:pt x="279" y="372"/>
                      </a:lnTo>
                      <a:lnTo>
                        <a:pt x="279" y="374"/>
                      </a:lnTo>
                      <a:lnTo>
                        <a:pt x="277" y="374"/>
                      </a:lnTo>
                      <a:lnTo>
                        <a:pt x="276" y="374"/>
                      </a:lnTo>
                      <a:lnTo>
                        <a:pt x="274" y="374"/>
                      </a:lnTo>
                      <a:lnTo>
                        <a:pt x="272" y="374"/>
                      </a:lnTo>
                      <a:lnTo>
                        <a:pt x="271" y="374"/>
                      </a:lnTo>
                      <a:lnTo>
                        <a:pt x="271" y="376"/>
                      </a:lnTo>
                      <a:lnTo>
                        <a:pt x="269" y="376"/>
                      </a:lnTo>
                      <a:lnTo>
                        <a:pt x="269" y="374"/>
                      </a:lnTo>
                      <a:lnTo>
                        <a:pt x="267" y="374"/>
                      </a:lnTo>
                      <a:lnTo>
                        <a:pt x="264" y="374"/>
                      </a:lnTo>
                      <a:lnTo>
                        <a:pt x="264" y="376"/>
                      </a:lnTo>
                      <a:lnTo>
                        <a:pt x="264" y="374"/>
                      </a:lnTo>
                      <a:lnTo>
                        <a:pt x="262" y="376"/>
                      </a:lnTo>
                      <a:lnTo>
                        <a:pt x="261" y="376"/>
                      </a:lnTo>
                      <a:lnTo>
                        <a:pt x="261" y="374"/>
                      </a:lnTo>
                      <a:lnTo>
                        <a:pt x="259" y="374"/>
                      </a:lnTo>
                      <a:lnTo>
                        <a:pt x="257" y="374"/>
                      </a:lnTo>
                      <a:lnTo>
                        <a:pt x="255" y="374"/>
                      </a:lnTo>
                      <a:lnTo>
                        <a:pt x="255" y="372"/>
                      </a:lnTo>
                      <a:lnTo>
                        <a:pt x="254" y="372"/>
                      </a:lnTo>
                      <a:lnTo>
                        <a:pt x="254" y="374"/>
                      </a:lnTo>
                      <a:lnTo>
                        <a:pt x="252" y="372"/>
                      </a:lnTo>
                      <a:lnTo>
                        <a:pt x="250" y="372"/>
                      </a:lnTo>
                      <a:lnTo>
                        <a:pt x="249" y="372"/>
                      </a:lnTo>
                      <a:lnTo>
                        <a:pt x="249" y="371"/>
                      </a:lnTo>
                      <a:lnTo>
                        <a:pt x="247" y="371"/>
                      </a:lnTo>
                      <a:lnTo>
                        <a:pt x="245" y="369"/>
                      </a:lnTo>
                      <a:lnTo>
                        <a:pt x="244" y="369"/>
                      </a:lnTo>
                      <a:lnTo>
                        <a:pt x="242" y="369"/>
                      </a:lnTo>
                      <a:lnTo>
                        <a:pt x="242" y="367"/>
                      </a:lnTo>
                      <a:lnTo>
                        <a:pt x="240" y="367"/>
                      </a:lnTo>
                      <a:lnTo>
                        <a:pt x="240" y="366"/>
                      </a:lnTo>
                      <a:lnTo>
                        <a:pt x="240" y="364"/>
                      </a:lnTo>
                      <a:lnTo>
                        <a:pt x="239" y="364"/>
                      </a:lnTo>
                      <a:lnTo>
                        <a:pt x="237" y="364"/>
                      </a:lnTo>
                      <a:lnTo>
                        <a:pt x="235" y="364"/>
                      </a:lnTo>
                      <a:lnTo>
                        <a:pt x="233" y="363"/>
                      </a:lnTo>
                      <a:lnTo>
                        <a:pt x="232" y="361"/>
                      </a:lnTo>
                      <a:lnTo>
                        <a:pt x="230" y="363"/>
                      </a:lnTo>
                      <a:lnTo>
                        <a:pt x="228" y="363"/>
                      </a:lnTo>
                      <a:lnTo>
                        <a:pt x="227" y="363"/>
                      </a:lnTo>
                      <a:lnTo>
                        <a:pt x="225" y="363"/>
                      </a:lnTo>
                      <a:lnTo>
                        <a:pt x="223" y="363"/>
                      </a:lnTo>
                      <a:lnTo>
                        <a:pt x="222" y="363"/>
                      </a:lnTo>
                      <a:lnTo>
                        <a:pt x="222" y="361"/>
                      </a:lnTo>
                      <a:lnTo>
                        <a:pt x="220" y="361"/>
                      </a:lnTo>
                      <a:lnTo>
                        <a:pt x="218" y="361"/>
                      </a:lnTo>
                      <a:lnTo>
                        <a:pt x="217" y="361"/>
                      </a:lnTo>
                      <a:lnTo>
                        <a:pt x="215" y="361"/>
                      </a:lnTo>
                      <a:lnTo>
                        <a:pt x="213" y="361"/>
                      </a:lnTo>
                      <a:lnTo>
                        <a:pt x="213" y="359"/>
                      </a:lnTo>
                      <a:lnTo>
                        <a:pt x="212" y="359"/>
                      </a:lnTo>
                      <a:lnTo>
                        <a:pt x="210" y="359"/>
                      </a:lnTo>
                      <a:lnTo>
                        <a:pt x="210" y="361"/>
                      </a:lnTo>
                      <a:lnTo>
                        <a:pt x="208" y="361"/>
                      </a:lnTo>
                      <a:lnTo>
                        <a:pt x="206" y="361"/>
                      </a:lnTo>
                      <a:lnTo>
                        <a:pt x="205" y="361"/>
                      </a:lnTo>
                      <a:lnTo>
                        <a:pt x="205" y="359"/>
                      </a:lnTo>
                      <a:lnTo>
                        <a:pt x="203" y="359"/>
                      </a:lnTo>
                      <a:lnTo>
                        <a:pt x="201" y="359"/>
                      </a:lnTo>
                      <a:lnTo>
                        <a:pt x="201" y="358"/>
                      </a:lnTo>
                      <a:lnTo>
                        <a:pt x="200" y="358"/>
                      </a:lnTo>
                      <a:lnTo>
                        <a:pt x="198" y="358"/>
                      </a:lnTo>
                      <a:lnTo>
                        <a:pt x="196" y="358"/>
                      </a:lnTo>
                      <a:lnTo>
                        <a:pt x="195" y="358"/>
                      </a:lnTo>
                      <a:lnTo>
                        <a:pt x="193" y="358"/>
                      </a:lnTo>
                      <a:lnTo>
                        <a:pt x="193" y="359"/>
                      </a:lnTo>
                      <a:lnTo>
                        <a:pt x="191" y="359"/>
                      </a:lnTo>
                      <a:lnTo>
                        <a:pt x="191" y="358"/>
                      </a:lnTo>
                      <a:lnTo>
                        <a:pt x="191" y="356"/>
                      </a:lnTo>
                      <a:lnTo>
                        <a:pt x="190" y="356"/>
                      </a:lnTo>
                      <a:lnTo>
                        <a:pt x="188" y="356"/>
                      </a:lnTo>
                      <a:lnTo>
                        <a:pt x="188" y="354"/>
                      </a:lnTo>
                      <a:lnTo>
                        <a:pt x="186" y="354"/>
                      </a:lnTo>
                      <a:lnTo>
                        <a:pt x="186" y="353"/>
                      </a:lnTo>
                      <a:lnTo>
                        <a:pt x="185" y="353"/>
                      </a:lnTo>
                      <a:lnTo>
                        <a:pt x="183" y="353"/>
                      </a:lnTo>
                      <a:lnTo>
                        <a:pt x="181" y="353"/>
                      </a:lnTo>
                      <a:lnTo>
                        <a:pt x="179" y="353"/>
                      </a:lnTo>
                      <a:lnTo>
                        <a:pt x="179" y="351"/>
                      </a:lnTo>
                      <a:lnTo>
                        <a:pt x="179" y="353"/>
                      </a:lnTo>
                      <a:lnTo>
                        <a:pt x="178" y="353"/>
                      </a:lnTo>
                      <a:lnTo>
                        <a:pt x="176" y="353"/>
                      </a:lnTo>
                      <a:lnTo>
                        <a:pt x="174" y="353"/>
                      </a:lnTo>
                      <a:lnTo>
                        <a:pt x="173" y="353"/>
                      </a:lnTo>
                      <a:lnTo>
                        <a:pt x="171" y="353"/>
                      </a:lnTo>
                      <a:lnTo>
                        <a:pt x="169" y="353"/>
                      </a:lnTo>
                      <a:lnTo>
                        <a:pt x="168" y="353"/>
                      </a:lnTo>
                      <a:lnTo>
                        <a:pt x="166" y="354"/>
                      </a:lnTo>
                      <a:lnTo>
                        <a:pt x="166" y="353"/>
                      </a:lnTo>
                      <a:lnTo>
                        <a:pt x="164" y="353"/>
                      </a:lnTo>
                      <a:lnTo>
                        <a:pt x="164" y="354"/>
                      </a:lnTo>
                      <a:lnTo>
                        <a:pt x="164" y="353"/>
                      </a:lnTo>
                      <a:lnTo>
                        <a:pt x="163" y="353"/>
                      </a:lnTo>
                      <a:lnTo>
                        <a:pt x="163" y="354"/>
                      </a:lnTo>
                      <a:lnTo>
                        <a:pt x="161" y="354"/>
                      </a:lnTo>
                      <a:lnTo>
                        <a:pt x="159" y="354"/>
                      </a:lnTo>
                      <a:lnTo>
                        <a:pt x="157" y="354"/>
                      </a:lnTo>
                      <a:lnTo>
                        <a:pt x="157" y="353"/>
                      </a:lnTo>
                      <a:lnTo>
                        <a:pt x="156" y="353"/>
                      </a:lnTo>
                      <a:lnTo>
                        <a:pt x="154" y="353"/>
                      </a:lnTo>
                      <a:lnTo>
                        <a:pt x="154" y="354"/>
                      </a:lnTo>
                      <a:lnTo>
                        <a:pt x="152" y="354"/>
                      </a:lnTo>
                      <a:lnTo>
                        <a:pt x="151" y="354"/>
                      </a:lnTo>
                      <a:lnTo>
                        <a:pt x="151" y="356"/>
                      </a:lnTo>
                      <a:lnTo>
                        <a:pt x="149" y="356"/>
                      </a:lnTo>
                      <a:lnTo>
                        <a:pt x="147" y="356"/>
                      </a:lnTo>
                      <a:lnTo>
                        <a:pt x="146" y="356"/>
                      </a:lnTo>
                      <a:lnTo>
                        <a:pt x="144" y="356"/>
                      </a:lnTo>
                      <a:lnTo>
                        <a:pt x="144" y="354"/>
                      </a:lnTo>
                      <a:lnTo>
                        <a:pt x="142" y="354"/>
                      </a:lnTo>
                      <a:lnTo>
                        <a:pt x="142" y="353"/>
                      </a:lnTo>
                      <a:lnTo>
                        <a:pt x="141" y="353"/>
                      </a:lnTo>
                      <a:lnTo>
                        <a:pt x="139" y="353"/>
                      </a:lnTo>
                      <a:lnTo>
                        <a:pt x="137" y="353"/>
                      </a:lnTo>
                      <a:lnTo>
                        <a:pt x="137" y="351"/>
                      </a:lnTo>
                      <a:lnTo>
                        <a:pt x="136" y="351"/>
                      </a:lnTo>
                      <a:lnTo>
                        <a:pt x="136" y="349"/>
                      </a:lnTo>
                      <a:lnTo>
                        <a:pt x="134" y="351"/>
                      </a:lnTo>
                      <a:lnTo>
                        <a:pt x="134" y="349"/>
                      </a:lnTo>
                      <a:lnTo>
                        <a:pt x="132" y="349"/>
                      </a:lnTo>
                      <a:lnTo>
                        <a:pt x="132" y="348"/>
                      </a:lnTo>
                      <a:lnTo>
                        <a:pt x="130" y="348"/>
                      </a:lnTo>
                      <a:lnTo>
                        <a:pt x="130" y="346"/>
                      </a:lnTo>
                      <a:lnTo>
                        <a:pt x="130" y="348"/>
                      </a:lnTo>
                      <a:lnTo>
                        <a:pt x="130" y="346"/>
                      </a:lnTo>
                      <a:lnTo>
                        <a:pt x="129" y="344"/>
                      </a:lnTo>
                      <a:lnTo>
                        <a:pt x="129" y="343"/>
                      </a:lnTo>
                      <a:lnTo>
                        <a:pt x="127" y="343"/>
                      </a:lnTo>
                      <a:lnTo>
                        <a:pt x="127" y="344"/>
                      </a:lnTo>
                      <a:lnTo>
                        <a:pt x="125" y="344"/>
                      </a:lnTo>
                      <a:lnTo>
                        <a:pt x="125" y="343"/>
                      </a:lnTo>
                      <a:lnTo>
                        <a:pt x="124" y="344"/>
                      </a:lnTo>
                      <a:lnTo>
                        <a:pt x="124" y="343"/>
                      </a:lnTo>
                      <a:lnTo>
                        <a:pt x="122" y="343"/>
                      </a:lnTo>
                      <a:lnTo>
                        <a:pt x="122" y="344"/>
                      </a:lnTo>
                      <a:lnTo>
                        <a:pt x="122" y="343"/>
                      </a:lnTo>
                      <a:lnTo>
                        <a:pt x="120" y="343"/>
                      </a:lnTo>
                      <a:lnTo>
                        <a:pt x="119" y="343"/>
                      </a:lnTo>
                      <a:lnTo>
                        <a:pt x="117" y="343"/>
                      </a:lnTo>
                      <a:lnTo>
                        <a:pt x="117" y="344"/>
                      </a:lnTo>
                      <a:lnTo>
                        <a:pt x="115" y="344"/>
                      </a:lnTo>
                      <a:lnTo>
                        <a:pt x="115" y="346"/>
                      </a:lnTo>
                      <a:lnTo>
                        <a:pt x="114" y="346"/>
                      </a:lnTo>
                      <a:lnTo>
                        <a:pt x="112" y="346"/>
                      </a:lnTo>
                      <a:lnTo>
                        <a:pt x="112" y="348"/>
                      </a:lnTo>
                      <a:lnTo>
                        <a:pt x="110" y="348"/>
                      </a:lnTo>
                      <a:lnTo>
                        <a:pt x="108" y="348"/>
                      </a:lnTo>
                      <a:lnTo>
                        <a:pt x="107" y="348"/>
                      </a:lnTo>
                      <a:lnTo>
                        <a:pt x="105" y="348"/>
                      </a:lnTo>
                      <a:lnTo>
                        <a:pt x="103" y="348"/>
                      </a:lnTo>
                      <a:lnTo>
                        <a:pt x="102" y="348"/>
                      </a:lnTo>
                      <a:lnTo>
                        <a:pt x="102" y="346"/>
                      </a:lnTo>
                      <a:lnTo>
                        <a:pt x="100" y="346"/>
                      </a:lnTo>
                      <a:lnTo>
                        <a:pt x="100" y="344"/>
                      </a:lnTo>
                      <a:lnTo>
                        <a:pt x="98" y="344"/>
                      </a:lnTo>
                      <a:lnTo>
                        <a:pt x="97" y="344"/>
                      </a:lnTo>
                      <a:lnTo>
                        <a:pt x="95" y="344"/>
                      </a:lnTo>
                      <a:lnTo>
                        <a:pt x="95" y="343"/>
                      </a:lnTo>
                      <a:lnTo>
                        <a:pt x="95" y="344"/>
                      </a:lnTo>
                      <a:lnTo>
                        <a:pt x="93" y="343"/>
                      </a:lnTo>
                      <a:lnTo>
                        <a:pt x="95" y="343"/>
                      </a:lnTo>
                      <a:lnTo>
                        <a:pt x="93" y="343"/>
                      </a:lnTo>
                      <a:lnTo>
                        <a:pt x="93" y="341"/>
                      </a:lnTo>
                      <a:lnTo>
                        <a:pt x="93" y="340"/>
                      </a:lnTo>
                      <a:lnTo>
                        <a:pt x="93" y="338"/>
                      </a:lnTo>
                      <a:lnTo>
                        <a:pt x="92" y="338"/>
                      </a:lnTo>
                      <a:lnTo>
                        <a:pt x="92" y="336"/>
                      </a:lnTo>
                      <a:lnTo>
                        <a:pt x="90" y="336"/>
                      </a:lnTo>
                      <a:lnTo>
                        <a:pt x="90" y="335"/>
                      </a:lnTo>
                      <a:lnTo>
                        <a:pt x="88" y="335"/>
                      </a:lnTo>
                      <a:lnTo>
                        <a:pt x="88" y="333"/>
                      </a:lnTo>
                      <a:lnTo>
                        <a:pt x="87" y="331"/>
                      </a:lnTo>
                      <a:lnTo>
                        <a:pt x="87" y="333"/>
                      </a:lnTo>
                      <a:lnTo>
                        <a:pt x="87" y="331"/>
                      </a:lnTo>
                      <a:lnTo>
                        <a:pt x="85" y="331"/>
                      </a:lnTo>
                      <a:lnTo>
                        <a:pt x="85" y="330"/>
                      </a:lnTo>
                      <a:lnTo>
                        <a:pt x="85" y="328"/>
                      </a:lnTo>
                      <a:lnTo>
                        <a:pt x="85" y="326"/>
                      </a:lnTo>
                      <a:lnTo>
                        <a:pt x="87" y="326"/>
                      </a:lnTo>
                      <a:lnTo>
                        <a:pt x="85" y="326"/>
                      </a:lnTo>
                      <a:lnTo>
                        <a:pt x="85" y="325"/>
                      </a:lnTo>
                      <a:lnTo>
                        <a:pt x="83" y="325"/>
                      </a:lnTo>
                      <a:lnTo>
                        <a:pt x="83" y="323"/>
                      </a:lnTo>
                      <a:lnTo>
                        <a:pt x="83" y="325"/>
                      </a:lnTo>
                      <a:lnTo>
                        <a:pt x="83" y="323"/>
                      </a:lnTo>
                      <a:lnTo>
                        <a:pt x="81" y="323"/>
                      </a:lnTo>
                      <a:lnTo>
                        <a:pt x="81" y="321"/>
                      </a:lnTo>
                      <a:lnTo>
                        <a:pt x="80" y="321"/>
                      </a:lnTo>
                      <a:lnTo>
                        <a:pt x="81" y="321"/>
                      </a:lnTo>
                      <a:lnTo>
                        <a:pt x="80" y="321"/>
                      </a:lnTo>
                      <a:lnTo>
                        <a:pt x="80" y="320"/>
                      </a:lnTo>
                      <a:lnTo>
                        <a:pt x="78" y="320"/>
                      </a:lnTo>
                      <a:lnTo>
                        <a:pt x="78" y="318"/>
                      </a:lnTo>
                      <a:lnTo>
                        <a:pt x="78" y="320"/>
                      </a:lnTo>
                      <a:lnTo>
                        <a:pt x="76" y="320"/>
                      </a:lnTo>
                      <a:lnTo>
                        <a:pt x="76" y="318"/>
                      </a:lnTo>
                      <a:lnTo>
                        <a:pt x="78" y="318"/>
                      </a:lnTo>
                      <a:lnTo>
                        <a:pt x="76" y="318"/>
                      </a:lnTo>
                      <a:lnTo>
                        <a:pt x="75" y="318"/>
                      </a:lnTo>
                      <a:lnTo>
                        <a:pt x="76" y="317"/>
                      </a:lnTo>
                      <a:lnTo>
                        <a:pt x="75" y="317"/>
                      </a:lnTo>
                      <a:lnTo>
                        <a:pt x="75" y="315"/>
                      </a:lnTo>
                      <a:lnTo>
                        <a:pt x="75" y="313"/>
                      </a:lnTo>
                      <a:lnTo>
                        <a:pt x="76" y="313"/>
                      </a:lnTo>
                      <a:lnTo>
                        <a:pt x="76" y="312"/>
                      </a:lnTo>
                      <a:lnTo>
                        <a:pt x="76" y="310"/>
                      </a:lnTo>
                      <a:lnTo>
                        <a:pt x="75" y="310"/>
                      </a:lnTo>
                      <a:lnTo>
                        <a:pt x="76" y="310"/>
                      </a:lnTo>
                      <a:lnTo>
                        <a:pt x="75" y="310"/>
                      </a:lnTo>
                      <a:lnTo>
                        <a:pt x="75" y="308"/>
                      </a:lnTo>
                      <a:lnTo>
                        <a:pt x="76" y="308"/>
                      </a:lnTo>
                      <a:lnTo>
                        <a:pt x="75" y="308"/>
                      </a:lnTo>
                      <a:lnTo>
                        <a:pt x="76" y="307"/>
                      </a:lnTo>
                      <a:lnTo>
                        <a:pt x="75" y="307"/>
                      </a:lnTo>
                      <a:lnTo>
                        <a:pt x="76" y="307"/>
                      </a:lnTo>
                      <a:lnTo>
                        <a:pt x="75" y="307"/>
                      </a:lnTo>
                      <a:lnTo>
                        <a:pt x="75" y="305"/>
                      </a:lnTo>
                      <a:lnTo>
                        <a:pt x="75" y="303"/>
                      </a:lnTo>
                      <a:lnTo>
                        <a:pt x="76" y="303"/>
                      </a:lnTo>
                      <a:lnTo>
                        <a:pt x="76" y="302"/>
                      </a:lnTo>
                      <a:lnTo>
                        <a:pt x="75" y="302"/>
                      </a:lnTo>
                      <a:lnTo>
                        <a:pt x="75" y="300"/>
                      </a:lnTo>
                      <a:lnTo>
                        <a:pt x="76" y="300"/>
                      </a:lnTo>
                      <a:lnTo>
                        <a:pt x="75" y="299"/>
                      </a:lnTo>
                      <a:lnTo>
                        <a:pt x="73" y="299"/>
                      </a:lnTo>
                      <a:lnTo>
                        <a:pt x="75" y="299"/>
                      </a:lnTo>
                      <a:lnTo>
                        <a:pt x="75" y="297"/>
                      </a:lnTo>
                      <a:lnTo>
                        <a:pt x="76" y="297"/>
                      </a:lnTo>
                      <a:lnTo>
                        <a:pt x="75" y="297"/>
                      </a:lnTo>
                      <a:lnTo>
                        <a:pt x="73" y="297"/>
                      </a:lnTo>
                      <a:lnTo>
                        <a:pt x="73" y="295"/>
                      </a:lnTo>
                      <a:lnTo>
                        <a:pt x="73" y="294"/>
                      </a:lnTo>
                      <a:lnTo>
                        <a:pt x="73" y="295"/>
                      </a:lnTo>
                      <a:lnTo>
                        <a:pt x="73" y="294"/>
                      </a:lnTo>
                      <a:lnTo>
                        <a:pt x="71" y="294"/>
                      </a:lnTo>
                      <a:lnTo>
                        <a:pt x="73" y="294"/>
                      </a:lnTo>
                      <a:lnTo>
                        <a:pt x="73" y="292"/>
                      </a:lnTo>
                      <a:lnTo>
                        <a:pt x="71" y="292"/>
                      </a:lnTo>
                      <a:lnTo>
                        <a:pt x="73" y="292"/>
                      </a:lnTo>
                      <a:lnTo>
                        <a:pt x="73" y="294"/>
                      </a:lnTo>
                      <a:lnTo>
                        <a:pt x="75" y="294"/>
                      </a:lnTo>
                      <a:lnTo>
                        <a:pt x="75" y="292"/>
                      </a:lnTo>
                      <a:lnTo>
                        <a:pt x="73" y="292"/>
                      </a:lnTo>
                      <a:lnTo>
                        <a:pt x="75" y="292"/>
                      </a:lnTo>
                      <a:lnTo>
                        <a:pt x="73" y="290"/>
                      </a:lnTo>
                      <a:lnTo>
                        <a:pt x="73" y="292"/>
                      </a:lnTo>
                      <a:lnTo>
                        <a:pt x="73" y="290"/>
                      </a:lnTo>
                      <a:lnTo>
                        <a:pt x="73" y="289"/>
                      </a:lnTo>
                      <a:lnTo>
                        <a:pt x="71" y="289"/>
                      </a:lnTo>
                      <a:lnTo>
                        <a:pt x="70" y="289"/>
                      </a:lnTo>
                      <a:lnTo>
                        <a:pt x="71" y="289"/>
                      </a:lnTo>
                      <a:lnTo>
                        <a:pt x="71" y="287"/>
                      </a:lnTo>
                      <a:lnTo>
                        <a:pt x="71" y="289"/>
                      </a:lnTo>
                      <a:lnTo>
                        <a:pt x="71" y="287"/>
                      </a:lnTo>
                      <a:lnTo>
                        <a:pt x="70" y="287"/>
                      </a:lnTo>
                      <a:lnTo>
                        <a:pt x="70" y="285"/>
                      </a:lnTo>
                      <a:lnTo>
                        <a:pt x="71" y="285"/>
                      </a:lnTo>
                      <a:lnTo>
                        <a:pt x="70" y="285"/>
                      </a:lnTo>
                      <a:lnTo>
                        <a:pt x="68" y="287"/>
                      </a:lnTo>
                      <a:lnTo>
                        <a:pt x="68" y="285"/>
                      </a:lnTo>
                      <a:lnTo>
                        <a:pt x="68" y="287"/>
                      </a:lnTo>
                      <a:lnTo>
                        <a:pt x="68" y="285"/>
                      </a:lnTo>
                      <a:lnTo>
                        <a:pt x="66" y="285"/>
                      </a:lnTo>
                      <a:lnTo>
                        <a:pt x="65" y="285"/>
                      </a:lnTo>
                      <a:lnTo>
                        <a:pt x="66" y="285"/>
                      </a:lnTo>
                      <a:lnTo>
                        <a:pt x="65" y="284"/>
                      </a:lnTo>
                      <a:lnTo>
                        <a:pt x="65" y="285"/>
                      </a:lnTo>
                      <a:lnTo>
                        <a:pt x="65" y="287"/>
                      </a:lnTo>
                      <a:lnTo>
                        <a:pt x="63" y="287"/>
                      </a:lnTo>
                      <a:lnTo>
                        <a:pt x="63" y="285"/>
                      </a:lnTo>
                      <a:lnTo>
                        <a:pt x="63" y="284"/>
                      </a:lnTo>
                      <a:lnTo>
                        <a:pt x="63" y="285"/>
                      </a:lnTo>
                      <a:lnTo>
                        <a:pt x="63" y="284"/>
                      </a:lnTo>
                      <a:lnTo>
                        <a:pt x="61" y="282"/>
                      </a:lnTo>
                      <a:lnTo>
                        <a:pt x="60" y="282"/>
                      </a:lnTo>
                      <a:lnTo>
                        <a:pt x="60" y="280"/>
                      </a:lnTo>
                      <a:lnTo>
                        <a:pt x="58" y="280"/>
                      </a:lnTo>
                      <a:lnTo>
                        <a:pt x="56" y="280"/>
                      </a:lnTo>
                      <a:lnTo>
                        <a:pt x="56" y="282"/>
                      </a:lnTo>
                      <a:lnTo>
                        <a:pt x="54" y="282"/>
                      </a:lnTo>
                      <a:lnTo>
                        <a:pt x="54" y="280"/>
                      </a:lnTo>
                      <a:lnTo>
                        <a:pt x="53" y="280"/>
                      </a:lnTo>
                      <a:lnTo>
                        <a:pt x="53" y="279"/>
                      </a:lnTo>
                      <a:lnTo>
                        <a:pt x="53" y="280"/>
                      </a:lnTo>
                      <a:lnTo>
                        <a:pt x="51" y="280"/>
                      </a:lnTo>
                      <a:lnTo>
                        <a:pt x="51" y="282"/>
                      </a:lnTo>
                      <a:lnTo>
                        <a:pt x="51" y="284"/>
                      </a:lnTo>
                      <a:lnTo>
                        <a:pt x="51" y="285"/>
                      </a:lnTo>
                      <a:lnTo>
                        <a:pt x="49" y="285"/>
                      </a:lnTo>
                      <a:lnTo>
                        <a:pt x="49" y="284"/>
                      </a:lnTo>
                      <a:lnTo>
                        <a:pt x="49" y="282"/>
                      </a:lnTo>
                      <a:lnTo>
                        <a:pt x="48" y="280"/>
                      </a:lnTo>
                      <a:lnTo>
                        <a:pt x="49" y="279"/>
                      </a:lnTo>
                      <a:lnTo>
                        <a:pt x="49" y="277"/>
                      </a:lnTo>
                      <a:lnTo>
                        <a:pt x="51" y="276"/>
                      </a:lnTo>
                      <a:lnTo>
                        <a:pt x="51" y="274"/>
                      </a:lnTo>
                      <a:lnTo>
                        <a:pt x="49" y="274"/>
                      </a:lnTo>
                      <a:lnTo>
                        <a:pt x="48" y="276"/>
                      </a:lnTo>
                      <a:lnTo>
                        <a:pt x="46" y="276"/>
                      </a:lnTo>
                      <a:lnTo>
                        <a:pt x="46" y="277"/>
                      </a:lnTo>
                      <a:lnTo>
                        <a:pt x="44" y="277"/>
                      </a:lnTo>
                      <a:lnTo>
                        <a:pt x="44" y="279"/>
                      </a:lnTo>
                      <a:lnTo>
                        <a:pt x="43" y="279"/>
                      </a:lnTo>
                      <a:lnTo>
                        <a:pt x="43" y="277"/>
                      </a:lnTo>
                      <a:lnTo>
                        <a:pt x="41" y="277"/>
                      </a:lnTo>
                      <a:lnTo>
                        <a:pt x="41" y="279"/>
                      </a:lnTo>
                      <a:lnTo>
                        <a:pt x="41" y="280"/>
                      </a:lnTo>
                      <a:lnTo>
                        <a:pt x="43" y="280"/>
                      </a:lnTo>
                      <a:lnTo>
                        <a:pt x="44" y="282"/>
                      </a:lnTo>
                      <a:lnTo>
                        <a:pt x="43" y="282"/>
                      </a:lnTo>
                      <a:lnTo>
                        <a:pt x="41" y="282"/>
                      </a:lnTo>
                      <a:lnTo>
                        <a:pt x="39" y="280"/>
                      </a:lnTo>
                      <a:lnTo>
                        <a:pt x="38" y="280"/>
                      </a:lnTo>
                      <a:lnTo>
                        <a:pt x="38" y="282"/>
                      </a:lnTo>
                      <a:lnTo>
                        <a:pt x="38" y="284"/>
                      </a:lnTo>
                      <a:lnTo>
                        <a:pt x="36" y="284"/>
                      </a:lnTo>
                      <a:lnTo>
                        <a:pt x="36" y="282"/>
                      </a:lnTo>
                      <a:lnTo>
                        <a:pt x="34" y="282"/>
                      </a:lnTo>
                      <a:lnTo>
                        <a:pt x="34" y="280"/>
                      </a:lnTo>
                      <a:lnTo>
                        <a:pt x="34" y="279"/>
                      </a:lnTo>
                      <a:lnTo>
                        <a:pt x="32" y="279"/>
                      </a:lnTo>
                      <a:lnTo>
                        <a:pt x="31" y="280"/>
                      </a:lnTo>
                      <a:lnTo>
                        <a:pt x="29" y="280"/>
                      </a:lnTo>
                      <a:lnTo>
                        <a:pt x="27" y="284"/>
                      </a:lnTo>
                      <a:lnTo>
                        <a:pt x="26" y="284"/>
                      </a:lnTo>
                      <a:lnTo>
                        <a:pt x="24" y="282"/>
                      </a:lnTo>
                      <a:lnTo>
                        <a:pt x="24" y="284"/>
                      </a:lnTo>
                      <a:lnTo>
                        <a:pt x="22" y="284"/>
                      </a:lnTo>
                      <a:lnTo>
                        <a:pt x="22" y="285"/>
                      </a:lnTo>
                      <a:lnTo>
                        <a:pt x="22" y="287"/>
                      </a:lnTo>
                      <a:lnTo>
                        <a:pt x="21" y="289"/>
                      </a:lnTo>
                      <a:lnTo>
                        <a:pt x="19" y="289"/>
                      </a:lnTo>
                      <a:lnTo>
                        <a:pt x="19" y="290"/>
                      </a:lnTo>
                      <a:lnTo>
                        <a:pt x="19" y="292"/>
                      </a:lnTo>
                      <a:lnTo>
                        <a:pt x="17" y="290"/>
                      </a:lnTo>
                      <a:lnTo>
                        <a:pt x="17" y="289"/>
                      </a:lnTo>
                      <a:lnTo>
                        <a:pt x="16" y="287"/>
                      </a:lnTo>
                      <a:lnTo>
                        <a:pt x="14" y="285"/>
                      </a:lnTo>
                      <a:lnTo>
                        <a:pt x="12" y="285"/>
                      </a:lnTo>
                      <a:lnTo>
                        <a:pt x="11" y="285"/>
                      </a:lnTo>
                      <a:lnTo>
                        <a:pt x="9" y="285"/>
                      </a:lnTo>
                      <a:lnTo>
                        <a:pt x="9" y="284"/>
                      </a:lnTo>
                      <a:lnTo>
                        <a:pt x="7" y="282"/>
                      </a:lnTo>
                      <a:lnTo>
                        <a:pt x="5" y="282"/>
                      </a:lnTo>
                      <a:lnTo>
                        <a:pt x="4" y="282"/>
                      </a:lnTo>
                      <a:lnTo>
                        <a:pt x="4" y="280"/>
                      </a:lnTo>
                      <a:lnTo>
                        <a:pt x="4" y="279"/>
                      </a:lnTo>
                      <a:lnTo>
                        <a:pt x="4" y="277"/>
                      </a:lnTo>
                      <a:lnTo>
                        <a:pt x="4" y="276"/>
                      </a:lnTo>
                      <a:lnTo>
                        <a:pt x="2" y="274"/>
                      </a:lnTo>
                      <a:lnTo>
                        <a:pt x="4" y="272"/>
                      </a:lnTo>
                      <a:lnTo>
                        <a:pt x="2" y="272"/>
                      </a:lnTo>
                      <a:lnTo>
                        <a:pt x="2" y="271"/>
                      </a:lnTo>
                      <a:lnTo>
                        <a:pt x="0" y="271"/>
                      </a:lnTo>
                      <a:lnTo>
                        <a:pt x="2" y="271"/>
                      </a:lnTo>
                      <a:lnTo>
                        <a:pt x="2" y="269"/>
                      </a:lnTo>
                      <a:lnTo>
                        <a:pt x="4" y="267"/>
                      </a:lnTo>
                      <a:lnTo>
                        <a:pt x="4" y="266"/>
                      </a:lnTo>
                      <a:lnTo>
                        <a:pt x="4" y="264"/>
                      </a:lnTo>
                      <a:lnTo>
                        <a:pt x="5" y="264"/>
                      </a:lnTo>
                      <a:lnTo>
                        <a:pt x="5" y="262"/>
                      </a:lnTo>
                      <a:lnTo>
                        <a:pt x="7" y="262"/>
                      </a:lnTo>
                      <a:lnTo>
                        <a:pt x="7" y="261"/>
                      </a:lnTo>
                      <a:lnTo>
                        <a:pt x="9" y="261"/>
                      </a:lnTo>
                      <a:lnTo>
                        <a:pt x="9" y="259"/>
                      </a:lnTo>
                      <a:lnTo>
                        <a:pt x="11" y="257"/>
                      </a:lnTo>
                      <a:lnTo>
                        <a:pt x="12" y="256"/>
                      </a:lnTo>
                      <a:lnTo>
                        <a:pt x="14" y="254"/>
                      </a:lnTo>
                      <a:lnTo>
                        <a:pt x="14" y="253"/>
                      </a:lnTo>
                      <a:lnTo>
                        <a:pt x="14" y="251"/>
                      </a:lnTo>
                      <a:lnTo>
                        <a:pt x="14" y="249"/>
                      </a:lnTo>
                      <a:lnTo>
                        <a:pt x="16" y="248"/>
                      </a:lnTo>
                      <a:lnTo>
                        <a:pt x="16" y="246"/>
                      </a:lnTo>
                      <a:lnTo>
                        <a:pt x="17" y="246"/>
                      </a:lnTo>
                      <a:lnTo>
                        <a:pt x="17" y="244"/>
                      </a:lnTo>
                      <a:lnTo>
                        <a:pt x="19" y="244"/>
                      </a:lnTo>
                      <a:lnTo>
                        <a:pt x="19" y="243"/>
                      </a:lnTo>
                      <a:lnTo>
                        <a:pt x="19" y="241"/>
                      </a:lnTo>
                      <a:lnTo>
                        <a:pt x="17" y="239"/>
                      </a:lnTo>
                      <a:lnTo>
                        <a:pt x="17" y="238"/>
                      </a:lnTo>
                      <a:lnTo>
                        <a:pt x="16" y="238"/>
                      </a:lnTo>
                      <a:lnTo>
                        <a:pt x="16" y="236"/>
                      </a:lnTo>
                      <a:lnTo>
                        <a:pt x="17" y="236"/>
                      </a:lnTo>
                      <a:lnTo>
                        <a:pt x="17" y="234"/>
                      </a:lnTo>
                      <a:lnTo>
                        <a:pt x="16" y="234"/>
                      </a:lnTo>
                      <a:lnTo>
                        <a:pt x="16" y="233"/>
                      </a:lnTo>
                      <a:lnTo>
                        <a:pt x="16" y="231"/>
                      </a:lnTo>
                      <a:lnTo>
                        <a:pt x="17" y="230"/>
                      </a:lnTo>
                      <a:lnTo>
                        <a:pt x="17" y="228"/>
                      </a:lnTo>
                      <a:lnTo>
                        <a:pt x="17" y="225"/>
                      </a:lnTo>
                      <a:lnTo>
                        <a:pt x="17" y="223"/>
                      </a:lnTo>
                      <a:lnTo>
                        <a:pt x="19" y="221"/>
                      </a:lnTo>
                      <a:lnTo>
                        <a:pt x="21" y="220"/>
                      </a:lnTo>
                      <a:lnTo>
                        <a:pt x="21" y="218"/>
                      </a:lnTo>
                      <a:lnTo>
                        <a:pt x="21" y="216"/>
                      </a:lnTo>
                      <a:lnTo>
                        <a:pt x="21" y="215"/>
                      </a:lnTo>
                      <a:lnTo>
                        <a:pt x="21" y="213"/>
                      </a:lnTo>
                      <a:lnTo>
                        <a:pt x="22" y="211"/>
                      </a:lnTo>
                      <a:lnTo>
                        <a:pt x="22" y="210"/>
                      </a:lnTo>
                      <a:lnTo>
                        <a:pt x="22" y="208"/>
                      </a:lnTo>
                      <a:lnTo>
                        <a:pt x="24" y="207"/>
                      </a:lnTo>
                      <a:lnTo>
                        <a:pt x="26" y="205"/>
                      </a:lnTo>
                      <a:lnTo>
                        <a:pt x="26" y="203"/>
                      </a:lnTo>
                      <a:lnTo>
                        <a:pt x="27" y="202"/>
                      </a:lnTo>
                      <a:lnTo>
                        <a:pt x="27" y="200"/>
                      </a:lnTo>
                      <a:lnTo>
                        <a:pt x="29" y="197"/>
                      </a:lnTo>
                      <a:lnTo>
                        <a:pt x="29" y="195"/>
                      </a:lnTo>
                      <a:lnTo>
                        <a:pt x="29" y="193"/>
                      </a:lnTo>
                      <a:lnTo>
                        <a:pt x="29" y="190"/>
                      </a:lnTo>
                      <a:lnTo>
                        <a:pt x="29" y="188"/>
                      </a:lnTo>
                      <a:lnTo>
                        <a:pt x="29" y="187"/>
                      </a:lnTo>
                      <a:lnTo>
                        <a:pt x="27" y="185"/>
                      </a:lnTo>
                      <a:lnTo>
                        <a:pt x="27" y="184"/>
                      </a:lnTo>
                      <a:lnTo>
                        <a:pt x="27" y="182"/>
                      </a:lnTo>
                      <a:lnTo>
                        <a:pt x="29" y="180"/>
                      </a:lnTo>
                      <a:lnTo>
                        <a:pt x="29" y="179"/>
                      </a:lnTo>
                      <a:lnTo>
                        <a:pt x="31" y="175"/>
                      </a:lnTo>
                      <a:lnTo>
                        <a:pt x="32" y="175"/>
                      </a:lnTo>
                      <a:lnTo>
                        <a:pt x="32" y="174"/>
                      </a:lnTo>
                      <a:lnTo>
                        <a:pt x="34" y="172"/>
                      </a:lnTo>
                      <a:lnTo>
                        <a:pt x="34" y="170"/>
                      </a:lnTo>
                      <a:lnTo>
                        <a:pt x="36" y="170"/>
                      </a:lnTo>
                      <a:lnTo>
                        <a:pt x="36" y="169"/>
                      </a:lnTo>
                      <a:lnTo>
                        <a:pt x="34" y="165"/>
                      </a:lnTo>
                      <a:lnTo>
                        <a:pt x="34" y="164"/>
                      </a:lnTo>
                      <a:lnTo>
                        <a:pt x="32" y="162"/>
                      </a:lnTo>
                      <a:lnTo>
                        <a:pt x="32" y="161"/>
                      </a:lnTo>
                      <a:lnTo>
                        <a:pt x="29" y="159"/>
                      </a:lnTo>
                      <a:lnTo>
                        <a:pt x="29" y="156"/>
                      </a:lnTo>
                      <a:lnTo>
                        <a:pt x="29" y="154"/>
                      </a:lnTo>
                      <a:lnTo>
                        <a:pt x="29" y="152"/>
                      </a:lnTo>
                      <a:lnTo>
                        <a:pt x="27" y="152"/>
                      </a:lnTo>
                      <a:lnTo>
                        <a:pt x="27" y="151"/>
                      </a:lnTo>
                      <a:lnTo>
                        <a:pt x="27" y="149"/>
                      </a:lnTo>
                      <a:lnTo>
                        <a:pt x="27" y="147"/>
                      </a:lnTo>
                      <a:lnTo>
                        <a:pt x="29" y="146"/>
                      </a:lnTo>
                      <a:lnTo>
                        <a:pt x="31" y="146"/>
                      </a:lnTo>
                      <a:lnTo>
                        <a:pt x="31" y="144"/>
                      </a:lnTo>
                      <a:lnTo>
                        <a:pt x="32" y="144"/>
                      </a:lnTo>
                      <a:lnTo>
                        <a:pt x="32" y="142"/>
                      </a:lnTo>
                      <a:lnTo>
                        <a:pt x="34" y="142"/>
                      </a:lnTo>
                      <a:lnTo>
                        <a:pt x="34" y="141"/>
                      </a:lnTo>
                      <a:lnTo>
                        <a:pt x="36" y="141"/>
                      </a:lnTo>
                      <a:lnTo>
                        <a:pt x="38" y="141"/>
                      </a:lnTo>
                      <a:lnTo>
                        <a:pt x="39" y="139"/>
                      </a:lnTo>
                      <a:lnTo>
                        <a:pt x="41" y="138"/>
                      </a:lnTo>
                      <a:lnTo>
                        <a:pt x="43" y="136"/>
                      </a:lnTo>
                      <a:lnTo>
                        <a:pt x="46" y="134"/>
                      </a:lnTo>
                      <a:lnTo>
                        <a:pt x="48" y="134"/>
                      </a:lnTo>
                      <a:lnTo>
                        <a:pt x="49" y="133"/>
                      </a:lnTo>
                      <a:lnTo>
                        <a:pt x="51" y="131"/>
                      </a:lnTo>
                      <a:lnTo>
                        <a:pt x="51" y="128"/>
                      </a:lnTo>
                      <a:lnTo>
                        <a:pt x="53" y="126"/>
                      </a:lnTo>
                      <a:lnTo>
                        <a:pt x="53" y="124"/>
                      </a:lnTo>
                      <a:lnTo>
                        <a:pt x="53" y="123"/>
                      </a:lnTo>
                      <a:lnTo>
                        <a:pt x="51" y="123"/>
                      </a:lnTo>
                      <a:lnTo>
                        <a:pt x="51" y="121"/>
                      </a:lnTo>
                      <a:lnTo>
                        <a:pt x="53" y="121"/>
                      </a:lnTo>
                      <a:lnTo>
                        <a:pt x="53" y="119"/>
                      </a:lnTo>
                      <a:lnTo>
                        <a:pt x="51" y="119"/>
                      </a:lnTo>
                      <a:lnTo>
                        <a:pt x="53" y="118"/>
                      </a:lnTo>
                      <a:lnTo>
                        <a:pt x="53" y="116"/>
                      </a:lnTo>
                      <a:lnTo>
                        <a:pt x="53" y="115"/>
                      </a:lnTo>
                      <a:lnTo>
                        <a:pt x="53" y="113"/>
                      </a:lnTo>
                      <a:lnTo>
                        <a:pt x="54" y="113"/>
                      </a:lnTo>
                      <a:lnTo>
                        <a:pt x="54" y="111"/>
                      </a:lnTo>
                      <a:lnTo>
                        <a:pt x="54" y="110"/>
                      </a:lnTo>
                      <a:lnTo>
                        <a:pt x="54" y="106"/>
                      </a:lnTo>
                      <a:lnTo>
                        <a:pt x="56" y="105"/>
                      </a:lnTo>
                      <a:lnTo>
                        <a:pt x="56" y="103"/>
                      </a:lnTo>
                      <a:lnTo>
                        <a:pt x="58" y="103"/>
                      </a:lnTo>
                      <a:lnTo>
                        <a:pt x="58" y="101"/>
                      </a:lnTo>
                      <a:lnTo>
                        <a:pt x="58" y="100"/>
                      </a:lnTo>
                      <a:lnTo>
                        <a:pt x="58" y="98"/>
                      </a:lnTo>
                      <a:lnTo>
                        <a:pt x="58" y="97"/>
                      </a:lnTo>
                      <a:lnTo>
                        <a:pt x="60" y="95"/>
                      </a:lnTo>
                      <a:lnTo>
                        <a:pt x="60" y="92"/>
                      </a:lnTo>
                      <a:lnTo>
                        <a:pt x="60" y="90"/>
                      </a:lnTo>
                      <a:lnTo>
                        <a:pt x="61" y="88"/>
                      </a:lnTo>
                      <a:lnTo>
                        <a:pt x="61" y="87"/>
                      </a:lnTo>
                      <a:lnTo>
                        <a:pt x="63" y="85"/>
                      </a:lnTo>
                      <a:lnTo>
                        <a:pt x="65" y="85"/>
                      </a:lnTo>
                      <a:lnTo>
                        <a:pt x="66" y="85"/>
                      </a:lnTo>
                      <a:lnTo>
                        <a:pt x="68" y="83"/>
                      </a:lnTo>
                      <a:lnTo>
                        <a:pt x="70" y="83"/>
                      </a:lnTo>
                      <a:lnTo>
                        <a:pt x="71" y="82"/>
                      </a:lnTo>
                      <a:lnTo>
                        <a:pt x="73" y="82"/>
                      </a:lnTo>
                      <a:lnTo>
                        <a:pt x="76" y="80"/>
                      </a:lnTo>
                      <a:lnTo>
                        <a:pt x="78" y="78"/>
                      </a:lnTo>
                      <a:lnTo>
                        <a:pt x="80" y="78"/>
                      </a:lnTo>
                      <a:lnTo>
                        <a:pt x="81" y="78"/>
                      </a:lnTo>
                      <a:lnTo>
                        <a:pt x="81" y="77"/>
                      </a:lnTo>
                      <a:lnTo>
                        <a:pt x="83" y="77"/>
                      </a:lnTo>
                      <a:lnTo>
                        <a:pt x="83" y="75"/>
                      </a:lnTo>
                      <a:lnTo>
                        <a:pt x="85" y="74"/>
                      </a:lnTo>
                      <a:lnTo>
                        <a:pt x="87" y="70"/>
                      </a:lnTo>
                      <a:lnTo>
                        <a:pt x="88" y="69"/>
                      </a:lnTo>
                      <a:lnTo>
                        <a:pt x="88" y="67"/>
                      </a:lnTo>
                      <a:lnTo>
                        <a:pt x="88" y="64"/>
                      </a:lnTo>
                      <a:lnTo>
                        <a:pt x="90" y="62"/>
                      </a:lnTo>
                      <a:lnTo>
                        <a:pt x="90" y="60"/>
                      </a:lnTo>
                      <a:lnTo>
                        <a:pt x="92" y="60"/>
                      </a:lnTo>
                      <a:lnTo>
                        <a:pt x="92" y="59"/>
                      </a:lnTo>
                      <a:lnTo>
                        <a:pt x="92" y="57"/>
                      </a:lnTo>
                      <a:lnTo>
                        <a:pt x="93" y="57"/>
                      </a:lnTo>
                      <a:lnTo>
                        <a:pt x="93" y="55"/>
                      </a:lnTo>
                      <a:lnTo>
                        <a:pt x="95" y="55"/>
                      </a:lnTo>
                      <a:lnTo>
                        <a:pt x="95" y="54"/>
                      </a:lnTo>
                      <a:lnTo>
                        <a:pt x="95" y="51"/>
                      </a:lnTo>
                      <a:lnTo>
                        <a:pt x="95" y="47"/>
                      </a:lnTo>
                      <a:lnTo>
                        <a:pt x="95" y="46"/>
                      </a:lnTo>
                      <a:lnTo>
                        <a:pt x="95" y="44"/>
                      </a:lnTo>
                      <a:lnTo>
                        <a:pt x="97" y="41"/>
                      </a:lnTo>
                      <a:lnTo>
                        <a:pt x="98" y="39"/>
                      </a:lnTo>
                      <a:lnTo>
                        <a:pt x="100" y="39"/>
                      </a:lnTo>
                      <a:lnTo>
                        <a:pt x="102" y="36"/>
                      </a:lnTo>
                      <a:lnTo>
                        <a:pt x="103" y="36"/>
                      </a:lnTo>
                      <a:lnTo>
                        <a:pt x="103" y="34"/>
                      </a:lnTo>
                      <a:lnTo>
                        <a:pt x="105" y="32"/>
                      </a:lnTo>
                      <a:lnTo>
                        <a:pt x="107" y="32"/>
                      </a:lnTo>
                      <a:lnTo>
                        <a:pt x="108" y="31"/>
                      </a:lnTo>
                      <a:lnTo>
                        <a:pt x="110" y="31"/>
                      </a:lnTo>
                      <a:lnTo>
                        <a:pt x="112" y="29"/>
                      </a:lnTo>
                      <a:lnTo>
                        <a:pt x="114" y="29"/>
                      </a:lnTo>
                      <a:lnTo>
                        <a:pt x="115" y="28"/>
                      </a:lnTo>
                      <a:close/>
                    </a:path>
                  </a:pathLst>
                </a:custGeom>
                <a:solidFill>
                  <a:srgbClr val="F79646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7" name="Freeform 7"/>
                <p:cNvSpPr>
                  <a:spLocks noChangeAspect="1" noEditPoints="1"/>
                </p:cNvSpPr>
                <p:nvPr/>
              </p:nvSpPr>
              <p:spPr bwMode="auto">
                <a:xfrm>
                  <a:off x="4255356" y="5279005"/>
                  <a:ext cx="816339" cy="525195"/>
                </a:xfrm>
                <a:custGeom>
                  <a:avLst/>
                  <a:gdLst>
                    <a:gd name="T0" fmla="*/ 2147483647 w 523"/>
                    <a:gd name="T1" fmla="*/ 2147483647 h 312"/>
                    <a:gd name="T2" fmla="*/ 2147483647 w 523"/>
                    <a:gd name="T3" fmla="*/ 2147483647 h 312"/>
                    <a:gd name="T4" fmla="*/ 2147483647 w 523"/>
                    <a:gd name="T5" fmla="*/ 2147483647 h 312"/>
                    <a:gd name="T6" fmla="*/ 2147483647 w 523"/>
                    <a:gd name="T7" fmla="*/ 2147483647 h 312"/>
                    <a:gd name="T8" fmla="*/ 2147483647 w 523"/>
                    <a:gd name="T9" fmla="*/ 2147483647 h 312"/>
                    <a:gd name="T10" fmla="*/ 2147483647 w 523"/>
                    <a:gd name="T11" fmla="*/ 2147483647 h 312"/>
                    <a:gd name="T12" fmla="*/ 2147483647 w 523"/>
                    <a:gd name="T13" fmla="*/ 2147483647 h 312"/>
                    <a:gd name="T14" fmla="*/ 2147483647 w 523"/>
                    <a:gd name="T15" fmla="*/ 2147483647 h 312"/>
                    <a:gd name="T16" fmla="*/ 2147483647 w 523"/>
                    <a:gd name="T17" fmla="*/ 2147483647 h 312"/>
                    <a:gd name="T18" fmla="*/ 2147483647 w 523"/>
                    <a:gd name="T19" fmla="*/ 2147483647 h 312"/>
                    <a:gd name="T20" fmla="*/ 2147483647 w 523"/>
                    <a:gd name="T21" fmla="*/ 2147483647 h 312"/>
                    <a:gd name="T22" fmla="*/ 2147483647 w 523"/>
                    <a:gd name="T23" fmla="*/ 2147483647 h 312"/>
                    <a:gd name="T24" fmla="*/ 2147483647 w 523"/>
                    <a:gd name="T25" fmla="*/ 2147483647 h 312"/>
                    <a:gd name="T26" fmla="*/ 2147483647 w 523"/>
                    <a:gd name="T27" fmla="*/ 2147483647 h 312"/>
                    <a:gd name="T28" fmla="*/ 2147483647 w 523"/>
                    <a:gd name="T29" fmla="*/ 2147483647 h 312"/>
                    <a:gd name="T30" fmla="*/ 2147483647 w 523"/>
                    <a:gd name="T31" fmla="*/ 2147483647 h 312"/>
                    <a:gd name="T32" fmla="*/ 2147483647 w 523"/>
                    <a:gd name="T33" fmla="*/ 2147483647 h 312"/>
                    <a:gd name="T34" fmla="*/ 2147483647 w 523"/>
                    <a:gd name="T35" fmla="*/ 2147483647 h 312"/>
                    <a:gd name="T36" fmla="*/ 2147483647 w 523"/>
                    <a:gd name="T37" fmla="*/ 2147483647 h 312"/>
                    <a:gd name="T38" fmla="*/ 2147483647 w 523"/>
                    <a:gd name="T39" fmla="*/ 2147483647 h 312"/>
                    <a:gd name="T40" fmla="*/ 2147483647 w 523"/>
                    <a:gd name="T41" fmla="*/ 2147483647 h 312"/>
                    <a:gd name="T42" fmla="*/ 2147483647 w 523"/>
                    <a:gd name="T43" fmla="*/ 2147483647 h 312"/>
                    <a:gd name="T44" fmla="*/ 2147483647 w 523"/>
                    <a:gd name="T45" fmla="*/ 2147483647 h 312"/>
                    <a:gd name="T46" fmla="*/ 2147483647 w 523"/>
                    <a:gd name="T47" fmla="*/ 2147483647 h 312"/>
                    <a:gd name="T48" fmla="*/ 2147483647 w 523"/>
                    <a:gd name="T49" fmla="*/ 2147483647 h 312"/>
                    <a:gd name="T50" fmla="*/ 2147483647 w 523"/>
                    <a:gd name="T51" fmla="*/ 2147483647 h 312"/>
                    <a:gd name="T52" fmla="*/ 2147483647 w 523"/>
                    <a:gd name="T53" fmla="*/ 2147483647 h 312"/>
                    <a:gd name="T54" fmla="*/ 2147483647 w 523"/>
                    <a:gd name="T55" fmla="*/ 2147483647 h 312"/>
                    <a:gd name="T56" fmla="*/ 2147483647 w 523"/>
                    <a:gd name="T57" fmla="*/ 2147483647 h 312"/>
                    <a:gd name="T58" fmla="*/ 2147483647 w 523"/>
                    <a:gd name="T59" fmla="*/ 2147483647 h 312"/>
                    <a:gd name="T60" fmla="*/ 2147483647 w 523"/>
                    <a:gd name="T61" fmla="*/ 2147483647 h 312"/>
                    <a:gd name="T62" fmla="*/ 2147483647 w 523"/>
                    <a:gd name="T63" fmla="*/ 2147483647 h 312"/>
                    <a:gd name="T64" fmla="*/ 2147483647 w 523"/>
                    <a:gd name="T65" fmla="*/ 2147483647 h 312"/>
                    <a:gd name="T66" fmla="*/ 2147483647 w 523"/>
                    <a:gd name="T67" fmla="*/ 2147483647 h 312"/>
                    <a:gd name="T68" fmla="*/ 2147483647 w 523"/>
                    <a:gd name="T69" fmla="*/ 2147483647 h 312"/>
                    <a:gd name="T70" fmla="*/ 2147483647 w 523"/>
                    <a:gd name="T71" fmla="*/ 2147483647 h 312"/>
                    <a:gd name="T72" fmla="*/ 2147483647 w 523"/>
                    <a:gd name="T73" fmla="*/ 2147483647 h 312"/>
                    <a:gd name="T74" fmla="*/ 2147483647 w 523"/>
                    <a:gd name="T75" fmla="*/ 2147483647 h 312"/>
                    <a:gd name="T76" fmla="*/ 2147483647 w 523"/>
                    <a:gd name="T77" fmla="*/ 2147483647 h 312"/>
                    <a:gd name="T78" fmla="*/ 2147483647 w 523"/>
                    <a:gd name="T79" fmla="*/ 2147483647 h 312"/>
                    <a:gd name="T80" fmla="*/ 2147483647 w 523"/>
                    <a:gd name="T81" fmla="*/ 2147483647 h 312"/>
                    <a:gd name="T82" fmla="*/ 2147483647 w 523"/>
                    <a:gd name="T83" fmla="*/ 2147483647 h 312"/>
                    <a:gd name="T84" fmla="*/ 2147483647 w 523"/>
                    <a:gd name="T85" fmla="*/ 2147483647 h 312"/>
                    <a:gd name="T86" fmla="*/ 2147483647 w 523"/>
                    <a:gd name="T87" fmla="*/ 2147483647 h 312"/>
                    <a:gd name="T88" fmla="*/ 2147483647 w 523"/>
                    <a:gd name="T89" fmla="*/ 2147483647 h 312"/>
                    <a:gd name="T90" fmla="*/ 2147483647 w 523"/>
                    <a:gd name="T91" fmla="*/ 2147483647 h 312"/>
                    <a:gd name="T92" fmla="*/ 2147483647 w 523"/>
                    <a:gd name="T93" fmla="*/ 2147483647 h 312"/>
                    <a:gd name="T94" fmla="*/ 2147483647 w 523"/>
                    <a:gd name="T95" fmla="*/ 2147483647 h 312"/>
                    <a:gd name="T96" fmla="*/ 2147483647 w 523"/>
                    <a:gd name="T97" fmla="*/ 2147483647 h 312"/>
                    <a:gd name="T98" fmla="*/ 2147483647 w 523"/>
                    <a:gd name="T99" fmla="*/ 2147483647 h 312"/>
                    <a:gd name="T100" fmla="*/ 2147483647 w 523"/>
                    <a:gd name="T101" fmla="*/ 2147483647 h 312"/>
                    <a:gd name="T102" fmla="*/ 2147483647 w 523"/>
                    <a:gd name="T103" fmla="*/ 2147483647 h 312"/>
                    <a:gd name="T104" fmla="*/ 2147483647 w 523"/>
                    <a:gd name="T105" fmla="*/ 2147483647 h 312"/>
                    <a:gd name="T106" fmla="*/ 2147483647 w 523"/>
                    <a:gd name="T107" fmla="*/ 2147483647 h 312"/>
                    <a:gd name="T108" fmla="*/ 2147483647 w 523"/>
                    <a:gd name="T109" fmla="*/ 2147483647 h 312"/>
                    <a:gd name="T110" fmla="*/ 2147483647 w 523"/>
                    <a:gd name="T111" fmla="*/ 2147483647 h 312"/>
                    <a:gd name="T112" fmla="*/ 2147483647 w 523"/>
                    <a:gd name="T113" fmla="*/ 2147483647 h 312"/>
                    <a:gd name="T114" fmla="*/ 2147483647 w 523"/>
                    <a:gd name="T115" fmla="*/ 2147483647 h 312"/>
                    <a:gd name="T116" fmla="*/ 2147483647 w 523"/>
                    <a:gd name="T117" fmla="*/ 2147483647 h 312"/>
                    <a:gd name="T118" fmla="*/ 2147483647 w 523"/>
                    <a:gd name="T119" fmla="*/ 2147483647 h 312"/>
                    <a:gd name="T120" fmla="*/ 2147483647 w 523"/>
                    <a:gd name="T121" fmla="*/ 2147483647 h 312"/>
                    <a:gd name="T122" fmla="*/ 2147483647 w 523"/>
                    <a:gd name="T123" fmla="*/ 2147483647 h 312"/>
                    <a:gd name="T124" fmla="*/ 2147483647 w 523"/>
                    <a:gd name="T125" fmla="*/ 2147483647 h 31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523"/>
                    <a:gd name="T190" fmla="*/ 0 h 312"/>
                    <a:gd name="T191" fmla="*/ 523 w 523"/>
                    <a:gd name="T192" fmla="*/ 312 h 31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523" h="312">
                      <a:moveTo>
                        <a:pt x="437" y="6"/>
                      </a:moveTo>
                      <a:lnTo>
                        <a:pt x="439" y="6"/>
                      </a:lnTo>
                      <a:lnTo>
                        <a:pt x="439" y="4"/>
                      </a:lnTo>
                      <a:lnTo>
                        <a:pt x="441" y="4"/>
                      </a:lnTo>
                      <a:lnTo>
                        <a:pt x="442" y="4"/>
                      </a:lnTo>
                      <a:lnTo>
                        <a:pt x="442" y="3"/>
                      </a:lnTo>
                      <a:lnTo>
                        <a:pt x="444" y="3"/>
                      </a:lnTo>
                      <a:lnTo>
                        <a:pt x="444" y="4"/>
                      </a:lnTo>
                      <a:lnTo>
                        <a:pt x="446" y="4"/>
                      </a:lnTo>
                      <a:lnTo>
                        <a:pt x="447" y="4"/>
                      </a:lnTo>
                      <a:lnTo>
                        <a:pt x="447" y="3"/>
                      </a:lnTo>
                      <a:lnTo>
                        <a:pt x="449" y="4"/>
                      </a:lnTo>
                      <a:lnTo>
                        <a:pt x="449" y="3"/>
                      </a:lnTo>
                      <a:lnTo>
                        <a:pt x="449" y="4"/>
                      </a:lnTo>
                      <a:lnTo>
                        <a:pt x="451" y="4"/>
                      </a:lnTo>
                      <a:lnTo>
                        <a:pt x="451" y="3"/>
                      </a:lnTo>
                      <a:lnTo>
                        <a:pt x="451" y="4"/>
                      </a:lnTo>
                      <a:lnTo>
                        <a:pt x="451" y="3"/>
                      </a:lnTo>
                      <a:lnTo>
                        <a:pt x="452" y="4"/>
                      </a:lnTo>
                      <a:lnTo>
                        <a:pt x="452" y="3"/>
                      </a:lnTo>
                      <a:lnTo>
                        <a:pt x="452" y="4"/>
                      </a:lnTo>
                      <a:lnTo>
                        <a:pt x="454" y="4"/>
                      </a:lnTo>
                      <a:lnTo>
                        <a:pt x="456" y="4"/>
                      </a:lnTo>
                      <a:lnTo>
                        <a:pt x="454" y="4"/>
                      </a:lnTo>
                      <a:lnTo>
                        <a:pt x="456" y="3"/>
                      </a:lnTo>
                      <a:lnTo>
                        <a:pt x="456" y="4"/>
                      </a:lnTo>
                      <a:lnTo>
                        <a:pt x="456" y="3"/>
                      </a:lnTo>
                      <a:lnTo>
                        <a:pt x="456" y="4"/>
                      </a:lnTo>
                      <a:lnTo>
                        <a:pt x="457" y="4"/>
                      </a:lnTo>
                      <a:lnTo>
                        <a:pt x="459" y="4"/>
                      </a:lnTo>
                      <a:lnTo>
                        <a:pt x="461" y="4"/>
                      </a:lnTo>
                      <a:lnTo>
                        <a:pt x="461" y="3"/>
                      </a:lnTo>
                      <a:lnTo>
                        <a:pt x="462" y="3"/>
                      </a:lnTo>
                      <a:lnTo>
                        <a:pt x="462" y="1"/>
                      </a:lnTo>
                      <a:lnTo>
                        <a:pt x="462" y="3"/>
                      </a:lnTo>
                      <a:lnTo>
                        <a:pt x="464" y="3"/>
                      </a:lnTo>
                      <a:lnTo>
                        <a:pt x="462" y="1"/>
                      </a:lnTo>
                      <a:lnTo>
                        <a:pt x="484" y="1"/>
                      </a:lnTo>
                      <a:lnTo>
                        <a:pt x="490" y="1"/>
                      </a:lnTo>
                      <a:lnTo>
                        <a:pt x="491" y="1"/>
                      </a:lnTo>
                      <a:lnTo>
                        <a:pt x="491" y="0"/>
                      </a:lnTo>
                      <a:lnTo>
                        <a:pt x="493" y="0"/>
                      </a:lnTo>
                      <a:lnTo>
                        <a:pt x="495" y="1"/>
                      </a:lnTo>
                      <a:lnTo>
                        <a:pt x="496" y="1"/>
                      </a:lnTo>
                      <a:lnTo>
                        <a:pt x="498" y="1"/>
                      </a:lnTo>
                      <a:lnTo>
                        <a:pt x="496" y="3"/>
                      </a:lnTo>
                      <a:lnTo>
                        <a:pt x="496" y="4"/>
                      </a:lnTo>
                      <a:lnTo>
                        <a:pt x="496" y="8"/>
                      </a:lnTo>
                      <a:lnTo>
                        <a:pt x="496" y="9"/>
                      </a:lnTo>
                      <a:lnTo>
                        <a:pt x="496" y="13"/>
                      </a:lnTo>
                      <a:lnTo>
                        <a:pt x="496" y="14"/>
                      </a:lnTo>
                      <a:lnTo>
                        <a:pt x="498" y="16"/>
                      </a:lnTo>
                      <a:lnTo>
                        <a:pt x="498" y="18"/>
                      </a:lnTo>
                      <a:lnTo>
                        <a:pt x="498" y="19"/>
                      </a:lnTo>
                      <a:lnTo>
                        <a:pt x="500" y="19"/>
                      </a:lnTo>
                      <a:lnTo>
                        <a:pt x="500" y="21"/>
                      </a:lnTo>
                      <a:lnTo>
                        <a:pt x="501" y="19"/>
                      </a:lnTo>
                      <a:lnTo>
                        <a:pt x="503" y="19"/>
                      </a:lnTo>
                      <a:lnTo>
                        <a:pt x="503" y="18"/>
                      </a:lnTo>
                      <a:lnTo>
                        <a:pt x="503" y="19"/>
                      </a:lnTo>
                      <a:lnTo>
                        <a:pt x="505" y="19"/>
                      </a:lnTo>
                      <a:lnTo>
                        <a:pt x="503" y="21"/>
                      </a:lnTo>
                      <a:lnTo>
                        <a:pt x="505" y="23"/>
                      </a:lnTo>
                      <a:lnTo>
                        <a:pt x="505" y="24"/>
                      </a:lnTo>
                      <a:lnTo>
                        <a:pt x="506" y="24"/>
                      </a:lnTo>
                      <a:lnTo>
                        <a:pt x="506" y="23"/>
                      </a:lnTo>
                      <a:lnTo>
                        <a:pt x="506" y="24"/>
                      </a:lnTo>
                      <a:lnTo>
                        <a:pt x="506" y="26"/>
                      </a:lnTo>
                      <a:lnTo>
                        <a:pt x="506" y="24"/>
                      </a:lnTo>
                      <a:lnTo>
                        <a:pt x="506" y="26"/>
                      </a:lnTo>
                      <a:lnTo>
                        <a:pt x="505" y="27"/>
                      </a:lnTo>
                      <a:lnTo>
                        <a:pt x="503" y="31"/>
                      </a:lnTo>
                      <a:lnTo>
                        <a:pt x="501" y="34"/>
                      </a:lnTo>
                      <a:lnTo>
                        <a:pt x="501" y="36"/>
                      </a:lnTo>
                      <a:lnTo>
                        <a:pt x="500" y="37"/>
                      </a:lnTo>
                      <a:lnTo>
                        <a:pt x="498" y="39"/>
                      </a:lnTo>
                      <a:lnTo>
                        <a:pt x="498" y="41"/>
                      </a:lnTo>
                      <a:lnTo>
                        <a:pt x="498" y="42"/>
                      </a:lnTo>
                      <a:lnTo>
                        <a:pt x="496" y="42"/>
                      </a:lnTo>
                      <a:lnTo>
                        <a:pt x="498" y="44"/>
                      </a:lnTo>
                      <a:lnTo>
                        <a:pt x="498" y="46"/>
                      </a:lnTo>
                      <a:lnTo>
                        <a:pt x="496" y="47"/>
                      </a:lnTo>
                      <a:lnTo>
                        <a:pt x="495" y="49"/>
                      </a:lnTo>
                      <a:lnTo>
                        <a:pt x="495" y="50"/>
                      </a:lnTo>
                      <a:lnTo>
                        <a:pt x="493" y="54"/>
                      </a:lnTo>
                      <a:lnTo>
                        <a:pt x="491" y="54"/>
                      </a:lnTo>
                      <a:lnTo>
                        <a:pt x="491" y="55"/>
                      </a:lnTo>
                      <a:lnTo>
                        <a:pt x="491" y="57"/>
                      </a:lnTo>
                      <a:lnTo>
                        <a:pt x="490" y="59"/>
                      </a:lnTo>
                      <a:lnTo>
                        <a:pt x="491" y="59"/>
                      </a:lnTo>
                      <a:lnTo>
                        <a:pt x="490" y="59"/>
                      </a:lnTo>
                      <a:lnTo>
                        <a:pt x="490" y="60"/>
                      </a:lnTo>
                      <a:lnTo>
                        <a:pt x="490" y="62"/>
                      </a:lnTo>
                      <a:lnTo>
                        <a:pt x="490" y="65"/>
                      </a:lnTo>
                      <a:lnTo>
                        <a:pt x="488" y="65"/>
                      </a:lnTo>
                      <a:lnTo>
                        <a:pt x="490" y="67"/>
                      </a:lnTo>
                      <a:lnTo>
                        <a:pt x="490" y="69"/>
                      </a:lnTo>
                      <a:lnTo>
                        <a:pt x="490" y="70"/>
                      </a:lnTo>
                      <a:lnTo>
                        <a:pt x="490" y="72"/>
                      </a:lnTo>
                      <a:lnTo>
                        <a:pt x="490" y="73"/>
                      </a:lnTo>
                      <a:lnTo>
                        <a:pt x="491" y="73"/>
                      </a:lnTo>
                      <a:lnTo>
                        <a:pt x="493" y="73"/>
                      </a:lnTo>
                      <a:lnTo>
                        <a:pt x="493" y="75"/>
                      </a:lnTo>
                      <a:lnTo>
                        <a:pt x="495" y="75"/>
                      </a:lnTo>
                      <a:lnTo>
                        <a:pt x="496" y="75"/>
                      </a:lnTo>
                      <a:lnTo>
                        <a:pt x="496" y="73"/>
                      </a:lnTo>
                      <a:lnTo>
                        <a:pt x="498" y="73"/>
                      </a:lnTo>
                      <a:lnTo>
                        <a:pt x="498" y="75"/>
                      </a:lnTo>
                      <a:lnTo>
                        <a:pt x="498" y="77"/>
                      </a:lnTo>
                      <a:lnTo>
                        <a:pt x="496" y="78"/>
                      </a:lnTo>
                      <a:lnTo>
                        <a:pt x="496" y="80"/>
                      </a:lnTo>
                      <a:lnTo>
                        <a:pt x="496" y="78"/>
                      </a:lnTo>
                      <a:lnTo>
                        <a:pt x="496" y="80"/>
                      </a:lnTo>
                      <a:lnTo>
                        <a:pt x="496" y="78"/>
                      </a:lnTo>
                      <a:lnTo>
                        <a:pt x="495" y="80"/>
                      </a:lnTo>
                      <a:lnTo>
                        <a:pt x="495" y="82"/>
                      </a:lnTo>
                      <a:lnTo>
                        <a:pt x="493" y="82"/>
                      </a:lnTo>
                      <a:lnTo>
                        <a:pt x="493" y="85"/>
                      </a:lnTo>
                      <a:lnTo>
                        <a:pt x="493" y="87"/>
                      </a:lnTo>
                      <a:lnTo>
                        <a:pt x="493" y="88"/>
                      </a:lnTo>
                      <a:lnTo>
                        <a:pt x="495" y="88"/>
                      </a:lnTo>
                      <a:lnTo>
                        <a:pt x="495" y="90"/>
                      </a:lnTo>
                      <a:lnTo>
                        <a:pt x="495" y="92"/>
                      </a:lnTo>
                      <a:lnTo>
                        <a:pt x="495" y="93"/>
                      </a:lnTo>
                      <a:lnTo>
                        <a:pt x="493" y="93"/>
                      </a:lnTo>
                      <a:lnTo>
                        <a:pt x="495" y="93"/>
                      </a:lnTo>
                      <a:lnTo>
                        <a:pt x="495" y="95"/>
                      </a:lnTo>
                      <a:lnTo>
                        <a:pt x="495" y="96"/>
                      </a:lnTo>
                      <a:lnTo>
                        <a:pt x="496" y="96"/>
                      </a:lnTo>
                      <a:lnTo>
                        <a:pt x="496" y="95"/>
                      </a:lnTo>
                      <a:lnTo>
                        <a:pt x="498" y="95"/>
                      </a:lnTo>
                      <a:lnTo>
                        <a:pt x="498" y="96"/>
                      </a:lnTo>
                      <a:lnTo>
                        <a:pt x="500" y="96"/>
                      </a:lnTo>
                      <a:lnTo>
                        <a:pt x="500" y="98"/>
                      </a:lnTo>
                      <a:lnTo>
                        <a:pt x="498" y="98"/>
                      </a:lnTo>
                      <a:lnTo>
                        <a:pt x="500" y="100"/>
                      </a:lnTo>
                      <a:lnTo>
                        <a:pt x="498" y="100"/>
                      </a:lnTo>
                      <a:lnTo>
                        <a:pt x="498" y="101"/>
                      </a:lnTo>
                      <a:lnTo>
                        <a:pt x="498" y="103"/>
                      </a:lnTo>
                      <a:lnTo>
                        <a:pt x="496" y="105"/>
                      </a:lnTo>
                      <a:lnTo>
                        <a:pt x="496" y="106"/>
                      </a:lnTo>
                      <a:lnTo>
                        <a:pt x="498" y="108"/>
                      </a:lnTo>
                      <a:lnTo>
                        <a:pt x="498" y="110"/>
                      </a:lnTo>
                      <a:lnTo>
                        <a:pt x="500" y="110"/>
                      </a:lnTo>
                      <a:lnTo>
                        <a:pt x="501" y="110"/>
                      </a:lnTo>
                      <a:lnTo>
                        <a:pt x="503" y="110"/>
                      </a:lnTo>
                      <a:lnTo>
                        <a:pt x="503" y="108"/>
                      </a:lnTo>
                      <a:lnTo>
                        <a:pt x="505" y="108"/>
                      </a:lnTo>
                      <a:lnTo>
                        <a:pt x="505" y="106"/>
                      </a:lnTo>
                      <a:lnTo>
                        <a:pt x="503" y="108"/>
                      </a:lnTo>
                      <a:lnTo>
                        <a:pt x="503" y="106"/>
                      </a:lnTo>
                      <a:lnTo>
                        <a:pt x="505" y="106"/>
                      </a:lnTo>
                      <a:lnTo>
                        <a:pt x="506" y="106"/>
                      </a:lnTo>
                      <a:lnTo>
                        <a:pt x="505" y="106"/>
                      </a:lnTo>
                      <a:lnTo>
                        <a:pt x="505" y="108"/>
                      </a:lnTo>
                      <a:lnTo>
                        <a:pt x="506" y="108"/>
                      </a:lnTo>
                      <a:lnTo>
                        <a:pt x="506" y="110"/>
                      </a:lnTo>
                      <a:lnTo>
                        <a:pt x="508" y="110"/>
                      </a:lnTo>
                      <a:lnTo>
                        <a:pt x="508" y="108"/>
                      </a:lnTo>
                      <a:lnTo>
                        <a:pt x="508" y="110"/>
                      </a:lnTo>
                      <a:lnTo>
                        <a:pt x="510" y="108"/>
                      </a:lnTo>
                      <a:lnTo>
                        <a:pt x="510" y="110"/>
                      </a:lnTo>
                      <a:lnTo>
                        <a:pt x="508" y="110"/>
                      </a:lnTo>
                      <a:lnTo>
                        <a:pt x="508" y="111"/>
                      </a:lnTo>
                      <a:lnTo>
                        <a:pt x="506" y="111"/>
                      </a:lnTo>
                      <a:lnTo>
                        <a:pt x="506" y="113"/>
                      </a:lnTo>
                      <a:lnTo>
                        <a:pt x="506" y="115"/>
                      </a:lnTo>
                      <a:lnTo>
                        <a:pt x="508" y="115"/>
                      </a:lnTo>
                      <a:lnTo>
                        <a:pt x="506" y="115"/>
                      </a:lnTo>
                      <a:lnTo>
                        <a:pt x="506" y="116"/>
                      </a:lnTo>
                      <a:lnTo>
                        <a:pt x="506" y="115"/>
                      </a:lnTo>
                      <a:lnTo>
                        <a:pt x="506" y="116"/>
                      </a:lnTo>
                      <a:lnTo>
                        <a:pt x="505" y="116"/>
                      </a:lnTo>
                      <a:lnTo>
                        <a:pt x="505" y="115"/>
                      </a:lnTo>
                      <a:lnTo>
                        <a:pt x="506" y="115"/>
                      </a:lnTo>
                      <a:lnTo>
                        <a:pt x="506" y="113"/>
                      </a:lnTo>
                      <a:lnTo>
                        <a:pt x="505" y="113"/>
                      </a:lnTo>
                      <a:lnTo>
                        <a:pt x="503" y="113"/>
                      </a:lnTo>
                      <a:lnTo>
                        <a:pt x="501" y="113"/>
                      </a:lnTo>
                      <a:lnTo>
                        <a:pt x="501" y="115"/>
                      </a:lnTo>
                      <a:lnTo>
                        <a:pt x="501" y="113"/>
                      </a:lnTo>
                      <a:lnTo>
                        <a:pt x="501" y="115"/>
                      </a:lnTo>
                      <a:lnTo>
                        <a:pt x="500" y="115"/>
                      </a:lnTo>
                      <a:lnTo>
                        <a:pt x="498" y="115"/>
                      </a:lnTo>
                      <a:lnTo>
                        <a:pt x="496" y="116"/>
                      </a:lnTo>
                      <a:lnTo>
                        <a:pt x="496" y="118"/>
                      </a:lnTo>
                      <a:lnTo>
                        <a:pt x="495" y="119"/>
                      </a:lnTo>
                      <a:lnTo>
                        <a:pt x="496" y="121"/>
                      </a:lnTo>
                      <a:lnTo>
                        <a:pt x="496" y="123"/>
                      </a:lnTo>
                      <a:lnTo>
                        <a:pt x="496" y="124"/>
                      </a:lnTo>
                      <a:lnTo>
                        <a:pt x="498" y="124"/>
                      </a:lnTo>
                      <a:lnTo>
                        <a:pt x="500" y="124"/>
                      </a:lnTo>
                      <a:lnTo>
                        <a:pt x="501" y="124"/>
                      </a:lnTo>
                      <a:lnTo>
                        <a:pt x="501" y="123"/>
                      </a:lnTo>
                      <a:lnTo>
                        <a:pt x="501" y="124"/>
                      </a:lnTo>
                      <a:lnTo>
                        <a:pt x="501" y="123"/>
                      </a:lnTo>
                      <a:lnTo>
                        <a:pt x="503" y="123"/>
                      </a:lnTo>
                      <a:lnTo>
                        <a:pt x="503" y="124"/>
                      </a:lnTo>
                      <a:lnTo>
                        <a:pt x="503" y="126"/>
                      </a:lnTo>
                      <a:lnTo>
                        <a:pt x="505" y="126"/>
                      </a:lnTo>
                      <a:lnTo>
                        <a:pt x="503" y="126"/>
                      </a:lnTo>
                      <a:lnTo>
                        <a:pt x="503" y="128"/>
                      </a:lnTo>
                      <a:lnTo>
                        <a:pt x="505" y="128"/>
                      </a:lnTo>
                      <a:lnTo>
                        <a:pt x="503" y="128"/>
                      </a:lnTo>
                      <a:lnTo>
                        <a:pt x="503" y="129"/>
                      </a:lnTo>
                      <a:lnTo>
                        <a:pt x="505" y="129"/>
                      </a:lnTo>
                      <a:lnTo>
                        <a:pt x="505" y="131"/>
                      </a:lnTo>
                      <a:lnTo>
                        <a:pt x="503" y="131"/>
                      </a:lnTo>
                      <a:lnTo>
                        <a:pt x="503" y="129"/>
                      </a:lnTo>
                      <a:lnTo>
                        <a:pt x="501" y="129"/>
                      </a:lnTo>
                      <a:lnTo>
                        <a:pt x="501" y="131"/>
                      </a:lnTo>
                      <a:lnTo>
                        <a:pt x="500" y="131"/>
                      </a:lnTo>
                      <a:lnTo>
                        <a:pt x="501" y="131"/>
                      </a:lnTo>
                      <a:lnTo>
                        <a:pt x="500" y="131"/>
                      </a:lnTo>
                      <a:lnTo>
                        <a:pt x="500" y="133"/>
                      </a:lnTo>
                      <a:lnTo>
                        <a:pt x="501" y="133"/>
                      </a:lnTo>
                      <a:lnTo>
                        <a:pt x="500" y="133"/>
                      </a:lnTo>
                      <a:lnTo>
                        <a:pt x="500" y="134"/>
                      </a:lnTo>
                      <a:lnTo>
                        <a:pt x="501" y="134"/>
                      </a:lnTo>
                      <a:lnTo>
                        <a:pt x="500" y="134"/>
                      </a:lnTo>
                      <a:lnTo>
                        <a:pt x="500" y="136"/>
                      </a:lnTo>
                      <a:lnTo>
                        <a:pt x="498" y="136"/>
                      </a:lnTo>
                      <a:lnTo>
                        <a:pt x="498" y="134"/>
                      </a:lnTo>
                      <a:lnTo>
                        <a:pt x="496" y="134"/>
                      </a:lnTo>
                      <a:lnTo>
                        <a:pt x="495" y="134"/>
                      </a:lnTo>
                      <a:lnTo>
                        <a:pt x="495" y="136"/>
                      </a:lnTo>
                      <a:lnTo>
                        <a:pt x="495" y="138"/>
                      </a:lnTo>
                      <a:lnTo>
                        <a:pt x="493" y="138"/>
                      </a:lnTo>
                      <a:lnTo>
                        <a:pt x="493" y="139"/>
                      </a:lnTo>
                      <a:lnTo>
                        <a:pt x="493" y="141"/>
                      </a:lnTo>
                      <a:lnTo>
                        <a:pt x="493" y="142"/>
                      </a:lnTo>
                      <a:lnTo>
                        <a:pt x="495" y="142"/>
                      </a:lnTo>
                      <a:lnTo>
                        <a:pt x="495" y="144"/>
                      </a:lnTo>
                      <a:lnTo>
                        <a:pt x="495" y="146"/>
                      </a:lnTo>
                      <a:lnTo>
                        <a:pt x="496" y="146"/>
                      </a:lnTo>
                      <a:lnTo>
                        <a:pt x="495" y="147"/>
                      </a:lnTo>
                      <a:lnTo>
                        <a:pt x="496" y="147"/>
                      </a:lnTo>
                      <a:lnTo>
                        <a:pt x="496" y="149"/>
                      </a:lnTo>
                      <a:lnTo>
                        <a:pt x="498" y="149"/>
                      </a:lnTo>
                      <a:lnTo>
                        <a:pt x="500" y="149"/>
                      </a:lnTo>
                      <a:lnTo>
                        <a:pt x="500" y="151"/>
                      </a:lnTo>
                      <a:lnTo>
                        <a:pt x="500" y="152"/>
                      </a:lnTo>
                      <a:lnTo>
                        <a:pt x="498" y="152"/>
                      </a:lnTo>
                      <a:lnTo>
                        <a:pt x="496" y="152"/>
                      </a:lnTo>
                      <a:lnTo>
                        <a:pt x="498" y="152"/>
                      </a:lnTo>
                      <a:lnTo>
                        <a:pt x="496" y="152"/>
                      </a:lnTo>
                      <a:lnTo>
                        <a:pt x="498" y="152"/>
                      </a:lnTo>
                      <a:lnTo>
                        <a:pt x="498" y="151"/>
                      </a:lnTo>
                      <a:lnTo>
                        <a:pt x="496" y="151"/>
                      </a:lnTo>
                      <a:lnTo>
                        <a:pt x="495" y="151"/>
                      </a:lnTo>
                      <a:lnTo>
                        <a:pt x="495" y="152"/>
                      </a:lnTo>
                      <a:lnTo>
                        <a:pt x="495" y="154"/>
                      </a:lnTo>
                      <a:lnTo>
                        <a:pt x="493" y="154"/>
                      </a:lnTo>
                      <a:lnTo>
                        <a:pt x="491" y="156"/>
                      </a:lnTo>
                      <a:lnTo>
                        <a:pt x="493" y="156"/>
                      </a:lnTo>
                      <a:lnTo>
                        <a:pt x="493" y="157"/>
                      </a:lnTo>
                      <a:lnTo>
                        <a:pt x="493" y="159"/>
                      </a:lnTo>
                      <a:lnTo>
                        <a:pt x="495" y="159"/>
                      </a:lnTo>
                      <a:lnTo>
                        <a:pt x="493" y="161"/>
                      </a:lnTo>
                      <a:lnTo>
                        <a:pt x="493" y="162"/>
                      </a:lnTo>
                      <a:lnTo>
                        <a:pt x="493" y="164"/>
                      </a:lnTo>
                      <a:lnTo>
                        <a:pt x="495" y="164"/>
                      </a:lnTo>
                      <a:lnTo>
                        <a:pt x="496" y="165"/>
                      </a:lnTo>
                      <a:lnTo>
                        <a:pt x="495" y="165"/>
                      </a:lnTo>
                      <a:lnTo>
                        <a:pt x="496" y="165"/>
                      </a:lnTo>
                      <a:lnTo>
                        <a:pt x="495" y="165"/>
                      </a:lnTo>
                      <a:lnTo>
                        <a:pt x="496" y="167"/>
                      </a:lnTo>
                      <a:lnTo>
                        <a:pt x="495" y="167"/>
                      </a:lnTo>
                      <a:lnTo>
                        <a:pt x="493" y="169"/>
                      </a:lnTo>
                      <a:lnTo>
                        <a:pt x="495" y="169"/>
                      </a:lnTo>
                      <a:lnTo>
                        <a:pt x="495" y="170"/>
                      </a:lnTo>
                      <a:lnTo>
                        <a:pt x="495" y="172"/>
                      </a:lnTo>
                      <a:lnTo>
                        <a:pt x="496" y="172"/>
                      </a:lnTo>
                      <a:lnTo>
                        <a:pt x="498" y="172"/>
                      </a:lnTo>
                      <a:lnTo>
                        <a:pt x="498" y="174"/>
                      </a:lnTo>
                      <a:lnTo>
                        <a:pt x="500" y="174"/>
                      </a:lnTo>
                      <a:lnTo>
                        <a:pt x="498" y="174"/>
                      </a:lnTo>
                      <a:lnTo>
                        <a:pt x="496" y="175"/>
                      </a:lnTo>
                      <a:lnTo>
                        <a:pt x="496" y="177"/>
                      </a:lnTo>
                      <a:lnTo>
                        <a:pt x="498" y="177"/>
                      </a:lnTo>
                      <a:lnTo>
                        <a:pt x="500" y="177"/>
                      </a:lnTo>
                      <a:lnTo>
                        <a:pt x="500" y="179"/>
                      </a:lnTo>
                      <a:lnTo>
                        <a:pt x="498" y="179"/>
                      </a:lnTo>
                      <a:lnTo>
                        <a:pt x="498" y="180"/>
                      </a:lnTo>
                      <a:lnTo>
                        <a:pt x="496" y="180"/>
                      </a:lnTo>
                      <a:lnTo>
                        <a:pt x="495" y="182"/>
                      </a:lnTo>
                      <a:lnTo>
                        <a:pt x="495" y="184"/>
                      </a:lnTo>
                      <a:lnTo>
                        <a:pt x="495" y="185"/>
                      </a:lnTo>
                      <a:lnTo>
                        <a:pt x="495" y="188"/>
                      </a:lnTo>
                      <a:lnTo>
                        <a:pt x="495" y="190"/>
                      </a:lnTo>
                      <a:lnTo>
                        <a:pt x="496" y="190"/>
                      </a:lnTo>
                      <a:lnTo>
                        <a:pt x="496" y="188"/>
                      </a:lnTo>
                      <a:lnTo>
                        <a:pt x="496" y="190"/>
                      </a:lnTo>
                      <a:lnTo>
                        <a:pt x="496" y="192"/>
                      </a:lnTo>
                      <a:lnTo>
                        <a:pt x="496" y="190"/>
                      </a:lnTo>
                      <a:lnTo>
                        <a:pt x="496" y="192"/>
                      </a:lnTo>
                      <a:lnTo>
                        <a:pt x="496" y="193"/>
                      </a:lnTo>
                      <a:lnTo>
                        <a:pt x="495" y="193"/>
                      </a:lnTo>
                      <a:lnTo>
                        <a:pt x="495" y="195"/>
                      </a:lnTo>
                      <a:lnTo>
                        <a:pt x="495" y="197"/>
                      </a:lnTo>
                      <a:lnTo>
                        <a:pt x="493" y="197"/>
                      </a:lnTo>
                      <a:lnTo>
                        <a:pt x="493" y="198"/>
                      </a:lnTo>
                      <a:lnTo>
                        <a:pt x="495" y="198"/>
                      </a:lnTo>
                      <a:lnTo>
                        <a:pt x="493" y="198"/>
                      </a:lnTo>
                      <a:lnTo>
                        <a:pt x="495" y="198"/>
                      </a:lnTo>
                      <a:lnTo>
                        <a:pt x="493" y="198"/>
                      </a:lnTo>
                      <a:lnTo>
                        <a:pt x="493" y="200"/>
                      </a:lnTo>
                      <a:lnTo>
                        <a:pt x="493" y="202"/>
                      </a:lnTo>
                      <a:lnTo>
                        <a:pt x="491" y="202"/>
                      </a:lnTo>
                      <a:lnTo>
                        <a:pt x="491" y="205"/>
                      </a:lnTo>
                      <a:lnTo>
                        <a:pt x="491" y="206"/>
                      </a:lnTo>
                      <a:lnTo>
                        <a:pt x="491" y="208"/>
                      </a:lnTo>
                      <a:lnTo>
                        <a:pt x="491" y="210"/>
                      </a:lnTo>
                      <a:lnTo>
                        <a:pt x="493" y="210"/>
                      </a:lnTo>
                      <a:lnTo>
                        <a:pt x="491" y="208"/>
                      </a:lnTo>
                      <a:lnTo>
                        <a:pt x="493" y="208"/>
                      </a:lnTo>
                      <a:lnTo>
                        <a:pt x="493" y="210"/>
                      </a:lnTo>
                      <a:lnTo>
                        <a:pt x="491" y="210"/>
                      </a:lnTo>
                      <a:lnTo>
                        <a:pt x="490" y="211"/>
                      </a:lnTo>
                      <a:lnTo>
                        <a:pt x="488" y="213"/>
                      </a:lnTo>
                      <a:lnTo>
                        <a:pt x="488" y="215"/>
                      </a:lnTo>
                      <a:lnTo>
                        <a:pt x="486" y="218"/>
                      </a:lnTo>
                      <a:lnTo>
                        <a:pt x="488" y="220"/>
                      </a:lnTo>
                      <a:lnTo>
                        <a:pt x="488" y="218"/>
                      </a:lnTo>
                      <a:lnTo>
                        <a:pt x="488" y="220"/>
                      </a:lnTo>
                      <a:lnTo>
                        <a:pt x="486" y="220"/>
                      </a:lnTo>
                      <a:lnTo>
                        <a:pt x="484" y="221"/>
                      </a:lnTo>
                      <a:lnTo>
                        <a:pt x="483" y="223"/>
                      </a:lnTo>
                      <a:lnTo>
                        <a:pt x="483" y="225"/>
                      </a:lnTo>
                      <a:lnTo>
                        <a:pt x="483" y="226"/>
                      </a:lnTo>
                      <a:lnTo>
                        <a:pt x="484" y="226"/>
                      </a:lnTo>
                      <a:lnTo>
                        <a:pt x="483" y="226"/>
                      </a:lnTo>
                      <a:lnTo>
                        <a:pt x="484" y="226"/>
                      </a:lnTo>
                      <a:lnTo>
                        <a:pt x="483" y="226"/>
                      </a:lnTo>
                      <a:lnTo>
                        <a:pt x="483" y="228"/>
                      </a:lnTo>
                      <a:lnTo>
                        <a:pt x="481" y="229"/>
                      </a:lnTo>
                      <a:lnTo>
                        <a:pt x="481" y="231"/>
                      </a:lnTo>
                      <a:lnTo>
                        <a:pt x="481" y="233"/>
                      </a:lnTo>
                      <a:lnTo>
                        <a:pt x="483" y="233"/>
                      </a:lnTo>
                      <a:lnTo>
                        <a:pt x="483" y="234"/>
                      </a:lnTo>
                      <a:lnTo>
                        <a:pt x="483" y="233"/>
                      </a:lnTo>
                      <a:lnTo>
                        <a:pt x="483" y="234"/>
                      </a:lnTo>
                      <a:lnTo>
                        <a:pt x="481" y="236"/>
                      </a:lnTo>
                      <a:lnTo>
                        <a:pt x="481" y="238"/>
                      </a:lnTo>
                      <a:lnTo>
                        <a:pt x="479" y="238"/>
                      </a:lnTo>
                      <a:lnTo>
                        <a:pt x="479" y="239"/>
                      </a:lnTo>
                      <a:lnTo>
                        <a:pt x="479" y="241"/>
                      </a:lnTo>
                      <a:lnTo>
                        <a:pt x="479" y="239"/>
                      </a:lnTo>
                      <a:lnTo>
                        <a:pt x="478" y="239"/>
                      </a:lnTo>
                      <a:lnTo>
                        <a:pt x="478" y="241"/>
                      </a:lnTo>
                      <a:lnTo>
                        <a:pt x="476" y="243"/>
                      </a:lnTo>
                      <a:lnTo>
                        <a:pt x="476" y="244"/>
                      </a:lnTo>
                      <a:lnTo>
                        <a:pt x="474" y="244"/>
                      </a:lnTo>
                      <a:lnTo>
                        <a:pt x="473" y="244"/>
                      </a:lnTo>
                      <a:lnTo>
                        <a:pt x="468" y="246"/>
                      </a:lnTo>
                      <a:lnTo>
                        <a:pt x="461" y="249"/>
                      </a:lnTo>
                      <a:lnTo>
                        <a:pt x="449" y="257"/>
                      </a:lnTo>
                      <a:lnTo>
                        <a:pt x="444" y="259"/>
                      </a:lnTo>
                      <a:lnTo>
                        <a:pt x="442" y="261"/>
                      </a:lnTo>
                      <a:lnTo>
                        <a:pt x="441" y="262"/>
                      </a:lnTo>
                      <a:lnTo>
                        <a:pt x="439" y="264"/>
                      </a:lnTo>
                      <a:lnTo>
                        <a:pt x="435" y="266"/>
                      </a:lnTo>
                      <a:lnTo>
                        <a:pt x="432" y="269"/>
                      </a:lnTo>
                      <a:lnTo>
                        <a:pt x="429" y="271"/>
                      </a:lnTo>
                      <a:lnTo>
                        <a:pt x="429" y="272"/>
                      </a:lnTo>
                      <a:lnTo>
                        <a:pt x="427" y="272"/>
                      </a:lnTo>
                      <a:lnTo>
                        <a:pt x="425" y="274"/>
                      </a:lnTo>
                      <a:lnTo>
                        <a:pt x="424" y="275"/>
                      </a:lnTo>
                      <a:lnTo>
                        <a:pt x="419" y="279"/>
                      </a:lnTo>
                      <a:lnTo>
                        <a:pt x="419" y="280"/>
                      </a:lnTo>
                      <a:lnTo>
                        <a:pt x="415" y="282"/>
                      </a:lnTo>
                      <a:lnTo>
                        <a:pt x="412" y="287"/>
                      </a:lnTo>
                      <a:lnTo>
                        <a:pt x="410" y="289"/>
                      </a:lnTo>
                      <a:lnTo>
                        <a:pt x="408" y="290"/>
                      </a:lnTo>
                      <a:lnTo>
                        <a:pt x="407" y="292"/>
                      </a:lnTo>
                      <a:lnTo>
                        <a:pt x="405" y="295"/>
                      </a:lnTo>
                      <a:lnTo>
                        <a:pt x="402" y="297"/>
                      </a:lnTo>
                      <a:lnTo>
                        <a:pt x="397" y="303"/>
                      </a:lnTo>
                      <a:lnTo>
                        <a:pt x="392" y="308"/>
                      </a:lnTo>
                      <a:lnTo>
                        <a:pt x="392" y="310"/>
                      </a:lnTo>
                      <a:lnTo>
                        <a:pt x="390" y="310"/>
                      </a:lnTo>
                      <a:lnTo>
                        <a:pt x="388" y="310"/>
                      </a:lnTo>
                      <a:lnTo>
                        <a:pt x="390" y="310"/>
                      </a:lnTo>
                      <a:lnTo>
                        <a:pt x="390" y="308"/>
                      </a:lnTo>
                      <a:lnTo>
                        <a:pt x="388" y="308"/>
                      </a:lnTo>
                      <a:lnTo>
                        <a:pt x="388" y="307"/>
                      </a:lnTo>
                      <a:lnTo>
                        <a:pt x="386" y="308"/>
                      </a:lnTo>
                      <a:lnTo>
                        <a:pt x="385" y="307"/>
                      </a:lnTo>
                      <a:lnTo>
                        <a:pt x="383" y="307"/>
                      </a:lnTo>
                      <a:lnTo>
                        <a:pt x="381" y="307"/>
                      </a:lnTo>
                      <a:lnTo>
                        <a:pt x="381" y="305"/>
                      </a:lnTo>
                      <a:lnTo>
                        <a:pt x="380" y="305"/>
                      </a:lnTo>
                      <a:lnTo>
                        <a:pt x="378" y="305"/>
                      </a:lnTo>
                      <a:lnTo>
                        <a:pt x="380" y="305"/>
                      </a:lnTo>
                      <a:lnTo>
                        <a:pt x="380" y="303"/>
                      </a:lnTo>
                      <a:lnTo>
                        <a:pt x="378" y="303"/>
                      </a:lnTo>
                      <a:lnTo>
                        <a:pt x="378" y="302"/>
                      </a:lnTo>
                      <a:lnTo>
                        <a:pt x="376" y="300"/>
                      </a:lnTo>
                      <a:lnTo>
                        <a:pt x="375" y="300"/>
                      </a:lnTo>
                      <a:lnTo>
                        <a:pt x="373" y="300"/>
                      </a:lnTo>
                      <a:lnTo>
                        <a:pt x="373" y="298"/>
                      </a:lnTo>
                      <a:lnTo>
                        <a:pt x="371" y="298"/>
                      </a:lnTo>
                      <a:lnTo>
                        <a:pt x="370" y="298"/>
                      </a:lnTo>
                      <a:lnTo>
                        <a:pt x="368" y="298"/>
                      </a:lnTo>
                      <a:lnTo>
                        <a:pt x="366" y="298"/>
                      </a:lnTo>
                      <a:lnTo>
                        <a:pt x="366" y="300"/>
                      </a:lnTo>
                      <a:lnTo>
                        <a:pt x="365" y="300"/>
                      </a:lnTo>
                      <a:lnTo>
                        <a:pt x="363" y="300"/>
                      </a:lnTo>
                      <a:lnTo>
                        <a:pt x="363" y="302"/>
                      </a:lnTo>
                      <a:lnTo>
                        <a:pt x="361" y="302"/>
                      </a:lnTo>
                      <a:lnTo>
                        <a:pt x="359" y="302"/>
                      </a:lnTo>
                      <a:lnTo>
                        <a:pt x="358" y="302"/>
                      </a:lnTo>
                      <a:lnTo>
                        <a:pt x="358" y="303"/>
                      </a:lnTo>
                      <a:lnTo>
                        <a:pt x="356" y="303"/>
                      </a:lnTo>
                      <a:lnTo>
                        <a:pt x="354" y="303"/>
                      </a:lnTo>
                      <a:lnTo>
                        <a:pt x="353" y="303"/>
                      </a:lnTo>
                      <a:lnTo>
                        <a:pt x="353" y="305"/>
                      </a:lnTo>
                      <a:lnTo>
                        <a:pt x="354" y="305"/>
                      </a:lnTo>
                      <a:lnTo>
                        <a:pt x="354" y="307"/>
                      </a:lnTo>
                      <a:lnTo>
                        <a:pt x="356" y="307"/>
                      </a:lnTo>
                      <a:lnTo>
                        <a:pt x="356" y="308"/>
                      </a:lnTo>
                      <a:lnTo>
                        <a:pt x="358" y="308"/>
                      </a:lnTo>
                      <a:lnTo>
                        <a:pt x="359" y="308"/>
                      </a:lnTo>
                      <a:lnTo>
                        <a:pt x="359" y="310"/>
                      </a:lnTo>
                      <a:lnTo>
                        <a:pt x="359" y="312"/>
                      </a:lnTo>
                      <a:lnTo>
                        <a:pt x="361" y="312"/>
                      </a:lnTo>
                      <a:lnTo>
                        <a:pt x="359" y="312"/>
                      </a:lnTo>
                      <a:lnTo>
                        <a:pt x="358" y="312"/>
                      </a:lnTo>
                      <a:lnTo>
                        <a:pt x="358" y="310"/>
                      </a:lnTo>
                      <a:lnTo>
                        <a:pt x="359" y="310"/>
                      </a:lnTo>
                      <a:lnTo>
                        <a:pt x="358" y="310"/>
                      </a:lnTo>
                      <a:lnTo>
                        <a:pt x="356" y="310"/>
                      </a:lnTo>
                      <a:lnTo>
                        <a:pt x="356" y="308"/>
                      </a:lnTo>
                      <a:lnTo>
                        <a:pt x="354" y="308"/>
                      </a:lnTo>
                      <a:lnTo>
                        <a:pt x="354" y="307"/>
                      </a:lnTo>
                      <a:lnTo>
                        <a:pt x="353" y="307"/>
                      </a:lnTo>
                      <a:lnTo>
                        <a:pt x="353" y="305"/>
                      </a:lnTo>
                      <a:lnTo>
                        <a:pt x="351" y="307"/>
                      </a:lnTo>
                      <a:lnTo>
                        <a:pt x="353" y="307"/>
                      </a:lnTo>
                      <a:lnTo>
                        <a:pt x="351" y="307"/>
                      </a:lnTo>
                      <a:lnTo>
                        <a:pt x="353" y="307"/>
                      </a:lnTo>
                      <a:lnTo>
                        <a:pt x="353" y="308"/>
                      </a:lnTo>
                      <a:lnTo>
                        <a:pt x="351" y="308"/>
                      </a:lnTo>
                      <a:lnTo>
                        <a:pt x="353" y="308"/>
                      </a:lnTo>
                      <a:lnTo>
                        <a:pt x="351" y="308"/>
                      </a:lnTo>
                      <a:lnTo>
                        <a:pt x="351" y="307"/>
                      </a:lnTo>
                      <a:lnTo>
                        <a:pt x="349" y="307"/>
                      </a:lnTo>
                      <a:lnTo>
                        <a:pt x="349" y="305"/>
                      </a:lnTo>
                      <a:lnTo>
                        <a:pt x="351" y="305"/>
                      </a:lnTo>
                      <a:lnTo>
                        <a:pt x="349" y="305"/>
                      </a:lnTo>
                      <a:lnTo>
                        <a:pt x="351" y="303"/>
                      </a:lnTo>
                      <a:lnTo>
                        <a:pt x="349" y="303"/>
                      </a:lnTo>
                      <a:lnTo>
                        <a:pt x="348" y="303"/>
                      </a:lnTo>
                      <a:lnTo>
                        <a:pt x="349" y="303"/>
                      </a:lnTo>
                      <a:lnTo>
                        <a:pt x="349" y="302"/>
                      </a:lnTo>
                      <a:lnTo>
                        <a:pt x="351" y="302"/>
                      </a:lnTo>
                      <a:lnTo>
                        <a:pt x="349" y="302"/>
                      </a:lnTo>
                      <a:lnTo>
                        <a:pt x="351" y="300"/>
                      </a:lnTo>
                      <a:lnTo>
                        <a:pt x="349" y="300"/>
                      </a:lnTo>
                      <a:lnTo>
                        <a:pt x="351" y="300"/>
                      </a:lnTo>
                      <a:lnTo>
                        <a:pt x="349" y="300"/>
                      </a:lnTo>
                      <a:lnTo>
                        <a:pt x="351" y="300"/>
                      </a:lnTo>
                      <a:lnTo>
                        <a:pt x="351" y="298"/>
                      </a:lnTo>
                      <a:lnTo>
                        <a:pt x="349" y="298"/>
                      </a:lnTo>
                      <a:lnTo>
                        <a:pt x="351" y="298"/>
                      </a:lnTo>
                      <a:lnTo>
                        <a:pt x="351" y="297"/>
                      </a:lnTo>
                      <a:lnTo>
                        <a:pt x="351" y="298"/>
                      </a:lnTo>
                      <a:lnTo>
                        <a:pt x="353" y="298"/>
                      </a:lnTo>
                      <a:lnTo>
                        <a:pt x="354" y="298"/>
                      </a:lnTo>
                      <a:lnTo>
                        <a:pt x="353" y="298"/>
                      </a:lnTo>
                      <a:lnTo>
                        <a:pt x="354" y="298"/>
                      </a:lnTo>
                      <a:lnTo>
                        <a:pt x="354" y="300"/>
                      </a:lnTo>
                      <a:lnTo>
                        <a:pt x="356" y="300"/>
                      </a:lnTo>
                      <a:lnTo>
                        <a:pt x="354" y="300"/>
                      </a:lnTo>
                      <a:lnTo>
                        <a:pt x="354" y="302"/>
                      </a:lnTo>
                      <a:lnTo>
                        <a:pt x="354" y="300"/>
                      </a:lnTo>
                      <a:lnTo>
                        <a:pt x="356" y="300"/>
                      </a:lnTo>
                      <a:lnTo>
                        <a:pt x="354" y="302"/>
                      </a:lnTo>
                      <a:lnTo>
                        <a:pt x="356" y="302"/>
                      </a:lnTo>
                      <a:lnTo>
                        <a:pt x="356" y="300"/>
                      </a:lnTo>
                      <a:lnTo>
                        <a:pt x="356" y="298"/>
                      </a:lnTo>
                      <a:lnTo>
                        <a:pt x="354" y="298"/>
                      </a:lnTo>
                      <a:lnTo>
                        <a:pt x="356" y="298"/>
                      </a:lnTo>
                      <a:lnTo>
                        <a:pt x="354" y="298"/>
                      </a:lnTo>
                      <a:lnTo>
                        <a:pt x="356" y="298"/>
                      </a:lnTo>
                      <a:lnTo>
                        <a:pt x="356" y="297"/>
                      </a:lnTo>
                      <a:lnTo>
                        <a:pt x="354" y="297"/>
                      </a:lnTo>
                      <a:lnTo>
                        <a:pt x="356" y="297"/>
                      </a:lnTo>
                      <a:lnTo>
                        <a:pt x="354" y="297"/>
                      </a:lnTo>
                      <a:lnTo>
                        <a:pt x="356" y="297"/>
                      </a:lnTo>
                      <a:lnTo>
                        <a:pt x="354" y="297"/>
                      </a:lnTo>
                      <a:lnTo>
                        <a:pt x="354" y="295"/>
                      </a:lnTo>
                      <a:lnTo>
                        <a:pt x="356" y="295"/>
                      </a:lnTo>
                      <a:lnTo>
                        <a:pt x="356" y="297"/>
                      </a:lnTo>
                      <a:lnTo>
                        <a:pt x="358" y="297"/>
                      </a:lnTo>
                      <a:lnTo>
                        <a:pt x="356" y="297"/>
                      </a:lnTo>
                      <a:lnTo>
                        <a:pt x="358" y="297"/>
                      </a:lnTo>
                      <a:lnTo>
                        <a:pt x="359" y="297"/>
                      </a:lnTo>
                      <a:lnTo>
                        <a:pt x="361" y="297"/>
                      </a:lnTo>
                      <a:lnTo>
                        <a:pt x="363" y="297"/>
                      </a:lnTo>
                      <a:lnTo>
                        <a:pt x="363" y="295"/>
                      </a:lnTo>
                      <a:lnTo>
                        <a:pt x="361" y="295"/>
                      </a:lnTo>
                      <a:lnTo>
                        <a:pt x="363" y="295"/>
                      </a:lnTo>
                      <a:lnTo>
                        <a:pt x="363" y="294"/>
                      </a:lnTo>
                      <a:lnTo>
                        <a:pt x="365" y="294"/>
                      </a:lnTo>
                      <a:lnTo>
                        <a:pt x="363" y="294"/>
                      </a:lnTo>
                      <a:lnTo>
                        <a:pt x="363" y="292"/>
                      </a:lnTo>
                      <a:lnTo>
                        <a:pt x="365" y="292"/>
                      </a:lnTo>
                      <a:lnTo>
                        <a:pt x="366" y="292"/>
                      </a:lnTo>
                      <a:lnTo>
                        <a:pt x="365" y="292"/>
                      </a:lnTo>
                      <a:lnTo>
                        <a:pt x="365" y="290"/>
                      </a:lnTo>
                      <a:lnTo>
                        <a:pt x="366" y="290"/>
                      </a:lnTo>
                      <a:lnTo>
                        <a:pt x="368" y="290"/>
                      </a:lnTo>
                      <a:lnTo>
                        <a:pt x="366" y="289"/>
                      </a:lnTo>
                      <a:lnTo>
                        <a:pt x="368" y="289"/>
                      </a:lnTo>
                      <a:lnTo>
                        <a:pt x="368" y="287"/>
                      </a:lnTo>
                      <a:lnTo>
                        <a:pt x="368" y="285"/>
                      </a:lnTo>
                      <a:lnTo>
                        <a:pt x="370" y="285"/>
                      </a:lnTo>
                      <a:lnTo>
                        <a:pt x="368" y="285"/>
                      </a:lnTo>
                      <a:lnTo>
                        <a:pt x="368" y="287"/>
                      </a:lnTo>
                      <a:lnTo>
                        <a:pt x="368" y="285"/>
                      </a:lnTo>
                      <a:lnTo>
                        <a:pt x="366" y="287"/>
                      </a:lnTo>
                      <a:lnTo>
                        <a:pt x="365" y="287"/>
                      </a:lnTo>
                      <a:lnTo>
                        <a:pt x="363" y="287"/>
                      </a:lnTo>
                      <a:lnTo>
                        <a:pt x="365" y="287"/>
                      </a:lnTo>
                      <a:lnTo>
                        <a:pt x="365" y="285"/>
                      </a:lnTo>
                      <a:lnTo>
                        <a:pt x="366" y="285"/>
                      </a:lnTo>
                      <a:lnTo>
                        <a:pt x="368" y="285"/>
                      </a:lnTo>
                      <a:lnTo>
                        <a:pt x="368" y="284"/>
                      </a:lnTo>
                      <a:lnTo>
                        <a:pt x="370" y="282"/>
                      </a:lnTo>
                      <a:lnTo>
                        <a:pt x="368" y="282"/>
                      </a:lnTo>
                      <a:lnTo>
                        <a:pt x="368" y="280"/>
                      </a:lnTo>
                      <a:lnTo>
                        <a:pt x="370" y="279"/>
                      </a:lnTo>
                      <a:lnTo>
                        <a:pt x="370" y="277"/>
                      </a:lnTo>
                      <a:lnTo>
                        <a:pt x="370" y="279"/>
                      </a:lnTo>
                      <a:lnTo>
                        <a:pt x="371" y="277"/>
                      </a:lnTo>
                      <a:lnTo>
                        <a:pt x="371" y="279"/>
                      </a:lnTo>
                      <a:lnTo>
                        <a:pt x="371" y="277"/>
                      </a:lnTo>
                      <a:lnTo>
                        <a:pt x="371" y="275"/>
                      </a:lnTo>
                      <a:lnTo>
                        <a:pt x="370" y="277"/>
                      </a:lnTo>
                      <a:lnTo>
                        <a:pt x="370" y="275"/>
                      </a:lnTo>
                      <a:lnTo>
                        <a:pt x="368" y="275"/>
                      </a:lnTo>
                      <a:lnTo>
                        <a:pt x="368" y="277"/>
                      </a:lnTo>
                      <a:lnTo>
                        <a:pt x="368" y="275"/>
                      </a:lnTo>
                      <a:lnTo>
                        <a:pt x="368" y="274"/>
                      </a:lnTo>
                      <a:lnTo>
                        <a:pt x="370" y="274"/>
                      </a:lnTo>
                      <a:lnTo>
                        <a:pt x="370" y="272"/>
                      </a:lnTo>
                      <a:lnTo>
                        <a:pt x="368" y="272"/>
                      </a:lnTo>
                      <a:lnTo>
                        <a:pt x="368" y="274"/>
                      </a:lnTo>
                      <a:lnTo>
                        <a:pt x="368" y="272"/>
                      </a:lnTo>
                      <a:lnTo>
                        <a:pt x="368" y="271"/>
                      </a:lnTo>
                      <a:lnTo>
                        <a:pt x="370" y="271"/>
                      </a:lnTo>
                      <a:lnTo>
                        <a:pt x="368" y="271"/>
                      </a:lnTo>
                      <a:lnTo>
                        <a:pt x="370" y="269"/>
                      </a:lnTo>
                      <a:lnTo>
                        <a:pt x="371" y="269"/>
                      </a:lnTo>
                      <a:lnTo>
                        <a:pt x="371" y="267"/>
                      </a:lnTo>
                      <a:lnTo>
                        <a:pt x="370" y="267"/>
                      </a:lnTo>
                      <a:lnTo>
                        <a:pt x="370" y="269"/>
                      </a:lnTo>
                      <a:lnTo>
                        <a:pt x="368" y="269"/>
                      </a:lnTo>
                      <a:lnTo>
                        <a:pt x="370" y="269"/>
                      </a:lnTo>
                      <a:lnTo>
                        <a:pt x="368" y="269"/>
                      </a:lnTo>
                      <a:lnTo>
                        <a:pt x="368" y="267"/>
                      </a:lnTo>
                      <a:lnTo>
                        <a:pt x="370" y="267"/>
                      </a:lnTo>
                      <a:lnTo>
                        <a:pt x="368" y="267"/>
                      </a:lnTo>
                      <a:lnTo>
                        <a:pt x="368" y="269"/>
                      </a:lnTo>
                      <a:lnTo>
                        <a:pt x="366" y="269"/>
                      </a:lnTo>
                      <a:lnTo>
                        <a:pt x="368" y="267"/>
                      </a:lnTo>
                      <a:lnTo>
                        <a:pt x="368" y="266"/>
                      </a:lnTo>
                      <a:lnTo>
                        <a:pt x="370" y="266"/>
                      </a:lnTo>
                      <a:lnTo>
                        <a:pt x="368" y="266"/>
                      </a:lnTo>
                      <a:lnTo>
                        <a:pt x="368" y="264"/>
                      </a:lnTo>
                      <a:lnTo>
                        <a:pt x="368" y="262"/>
                      </a:lnTo>
                      <a:lnTo>
                        <a:pt x="368" y="261"/>
                      </a:lnTo>
                      <a:lnTo>
                        <a:pt x="370" y="262"/>
                      </a:lnTo>
                      <a:lnTo>
                        <a:pt x="370" y="261"/>
                      </a:lnTo>
                      <a:lnTo>
                        <a:pt x="368" y="261"/>
                      </a:lnTo>
                      <a:lnTo>
                        <a:pt x="368" y="259"/>
                      </a:lnTo>
                      <a:lnTo>
                        <a:pt x="368" y="257"/>
                      </a:lnTo>
                      <a:lnTo>
                        <a:pt x="370" y="257"/>
                      </a:lnTo>
                      <a:lnTo>
                        <a:pt x="368" y="257"/>
                      </a:lnTo>
                      <a:lnTo>
                        <a:pt x="370" y="257"/>
                      </a:lnTo>
                      <a:lnTo>
                        <a:pt x="371" y="257"/>
                      </a:lnTo>
                      <a:lnTo>
                        <a:pt x="371" y="256"/>
                      </a:lnTo>
                      <a:lnTo>
                        <a:pt x="370" y="254"/>
                      </a:lnTo>
                      <a:lnTo>
                        <a:pt x="371" y="254"/>
                      </a:lnTo>
                      <a:lnTo>
                        <a:pt x="373" y="254"/>
                      </a:lnTo>
                      <a:lnTo>
                        <a:pt x="373" y="252"/>
                      </a:lnTo>
                      <a:lnTo>
                        <a:pt x="373" y="254"/>
                      </a:lnTo>
                      <a:lnTo>
                        <a:pt x="375" y="254"/>
                      </a:lnTo>
                      <a:lnTo>
                        <a:pt x="375" y="256"/>
                      </a:lnTo>
                      <a:lnTo>
                        <a:pt x="376" y="256"/>
                      </a:lnTo>
                      <a:lnTo>
                        <a:pt x="375" y="256"/>
                      </a:lnTo>
                      <a:lnTo>
                        <a:pt x="376" y="254"/>
                      </a:lnTo>
                      <a:lnTo>
                        <a:pt x="376" y="252"/>
                      </a:lnTo>
                      <a:lnTo>
                        <a:pt x="378" y="252"/>
                      </a:lnTo>
                      <a:lnTo>
                        <a:pt x="380" y="252"/>
                      </a:lnTo>
                      <a:lnTo>
                        <a:pt x="380" y="254"/>
                      </a:lnTo>
                      <a:lnTo>
                        <a:pt x="380" y="252"/>
                      </a:lnTo>
                      <a:lnTo>
                        <a:pt x="380" y="251"/>
                      </a:lnTo>
                      <a:lnTo>
                        <a:pt x="381" y="251"/>
                      </a:lnTo>
                      <a:lnTo>
                        <a:pt x="380" y="251"/>
                      </a:lnTo>
                      <a:lnTo>
                        <a:pt x="380" y="249"/>
                      </a:lnTo>
                      <a:lnTo>
                        <a:pt x="381" y="249"/>
                      </a:lnTo>
                      <a:lnTo>
                        <a:pt x="381" y="248"/>
                      </a:lnTo>
                      <a:lnTo>
                        <a:pt x="381" y="246"/>
                      </a:lnTo>
                      <a:lnTo>
                        <a:pt x="383" y="246"/>
                      </a:lnTo>
                      <a:lnTo>
                        <a:pt x="383" y="244"/>
                      </a:lnTo>
                      <a:lnTo>
                        <a:pt x="385" y="244"/>
                      </a:lnTo>
                      <a:lnTo>
                        <a:pt x="385" y="246"/>
                      </a:lnTo>
                      <a:lnTo>
                        <a:pt x="386" y="246"/>
                      </a:lnTo>
                      <a:lnTo>
                        <a:pt x="386" y="244"/>
                      </a:lnTo>
                      <a:lnTo>
                        <a:pt x="388" y="246"/>
                      </a:lnTo>
                      <a:lnTo>
                        <a:pt x="386" y="246"/>
                      </a:lnTo>
                      <a:lnTo>
                        <a:pt x="388" y="246"/>
                      </a:lnTo>
                      <a:lnTo>
                        <a:pt x="390" y="246"/>
                      </a:lnTo>
                      <a:lnTo>
                        <a:pt x="392" y="246"/>
                      </a:lnTo>
                      <a:lnTo>
                        <a:pt x="393" y="246"/>
                      </a:lnTo>
                      <a:lnTo>
                        <a:pt x="393" y="244"/>
                      </a:lnTo>
                      <a:lnTo>
                        <a:pt x="392" y="243"/>
                      </a:lnTo>
                      <a:lnTo>
                        <a:pt x="392" y="241"/>
                      </a:lnTo>
                      <a:lnTo>
                        <a:pt x="390" y="241"/>
                      </a:lnTo>
                      <a:lnTo>
                        <a:pt x="390" y="239"/>
                      </a:lnTo>
                      <a:lnTo>
                        <a:pt x="390" y="238"/>
                      </a:lnTo>
                      <a:lnTo>
                        <a:pt x="388" y="238"/>
                      </a:lnTo>
                      <a:lnTo>
                        <a:pt x="390" y="236"/>
                      </a:lnTo>
                      <a:lnTo>
                        <a:pt x="390" y="234"/>
                      </a:lnTo>
                      <a:lnTo>
                        <a:pt x="388" y="234"/>
                      </a:lnTo>
                      <a:lnTo>
                        <a:pt x="388" y="233"/>
                      </a:lnTo>
                      <a:lnTo>
                        <a:pt x="386" y="234"/>
                      </a:lnTo>
                      <a:lnTo>
                        <a:pt x="386" y="233"/>
                      </a:lnTo>
                      <a:lnTo>
                        <a:pt x="386" y="231"/>
                      </a:lnTo>
                      <a:lnTo>
                        <a:pt x="386" y="229"/>
                      </a:lnTo>
                      <a:lnTo>
                        <a:pt x="386" y="231"/>
                      </a:lnTo>
                      <a:lnTo>
                        <a:pt x="385" y="231"/>
                      </a:lnTo>
                      <a:lnTo>
                        <a:pt x="385" y="233"/>
                      </a:lnTo>
                      <a:lnTo>
                        <a:pt x="383" y="233"/>
                      </a:lnTo>
                      <a:lnTo>
                        <a:pt x="383" y="231"/>
                      </a:lnTo>
                      <a:lnTo>
                        <a:pt x="381" y="231"/>
                      </a:lnTo>
                      <a:lnTo>
                        <a:pt x="381" y="233"/>
                      </a:lnTo>
                      <a:lnTo>
                        <a:pt x="381" y="231"/>
                      </a:lnTo>
                      <a:lnTo>
                        <a:pt x="380" y="233"/>
                      </a:lnTo>
                      <a:lnTo>
                        <a:pt x="378" y="233"/>
                      </a:lnTo>
                      <a:lnTo>
                        <a:pt x="376" y="233"/>
                      </a:lnTo>
                      <a:lnTo>
                        <a:pt x="376" y="231"/>
                      </a:lnTo>
                      <a:lnTo>
                        <a:pt x="376" y="229"/>
                      </a:lnTo>
                      <a:lnTo>
                        <a:pt x="378" y="229"/>
                      </a:lnTo>
                      <a:lnTo>
                        <a:pt x="378" y="228"/>
                      </a:lnTo>
                      <a:lnTo>
                        <a:pt x="376" y="228"/>
                      </a:lnTo>
                      <a:lnTo>
                        <a:pt x="376" y="229"/>
                      </a:lnTo>
                      <a:lnTo>
                        <a:pt x="375" y="229"/>
                      </a:lnTo>
                      <a:lnTo>
                        <a:pt x="375" y="228"/>
                      </a:lnTo>
                      <a:lnTo>
                        <a:pt x="375" y="229"/>
                      </a:lnTo>
                      <a:lnTo>
                        <a:pt x="373" y="231"/>
                      </a:lnTo>
                      <a:lnTo>
                        <a:pt x="373" y="229"/>
                      </a:lnTo>
                      <a:lnTo>
                        <a:pt x="371" y="229"/>
                      </a:lnTo>
                      <a:lnTo>
                        <a:pt x="370" y="229"/>
                      </a:lnTo>
                      <a:lnTo>
                        <a:pt x="371" y="231"/>
                      </a:lnTo>
                      <a:lnTo>
                        <a:pt x="370" y="231"/>
                      </a:lnTo>
                      <a:lnTo>
                        <a:pt x="370" y="233"/>
                      </a:lnTo>
                      <a:lnTo>
                        <a:pt x="370" y="231"/>
                      </a:lnTo>
                      <a:lnTo>
                        <a:pt x="370" y="229"/>
                      </a:lnTo>
                      <a:lnTo>
                        <a:pt x="368" y="229"/>
                      </a:lnTo>
                      <a:lnTo>
                        <a:pt x="366" y="228"/>
                      </a:lnTo>
                      <a:lnTo>
                        <a:pt x="365" y="229"/>
                      </a:lnTo>
                      <a:lnTo>
                        <a:pt x="366" y="229"/>
                      </a:lnTo>
                      <a:lnTo>
                        <a:pt x="365" y="229"/>
                      </a:lnTo>
                      <a:lnTo>
                        <a:pt x="363" y="229"/>
                      </a:lnTo>
                      <a:lnTo>
                        <a:pt x="361" y="229"/>
                      </a:lnTo>
                      <a:lnTo>
                        <a:pt x="361" y="231"/>
                      </a:lnTo>
                      <a:lnTo>
                        <a:pt x="359" y="231"/>
                      </a:lnTo>
                      <a:lnTo>
                        <a:pt x="358" y="231"/>
                      </a:lnTo>
                      <a:lnTo>
                        <a:pt x="356" y="231"/>
                      </a:lnTo>
                      <a:lnTo>
                        <a:pt x="354" y="233"/>
                      </a:lnTo>
                      <a:lnTo>
                        <a:pt x="354" y="231"/>
                      </a:lnTo>
                      <a:lnTo>
                        <a:pt x="353" y="231"/>
                      </a:lnTo>
                      <a:lnTo>
                        <a:pt x="353" y="229"/>
                      </a:lnTo>
                      <a:lnTo>
                        <a:pt x="354" y="229"/>
                      </a:lnTo>
                      <a:lnTo>
                        <a:pt x="354" y="228"/>
                      </a:lnTo>
                      <a:lnTo>
                        <a:pt x="353" y="228"/>
                      </a:lnTo>
                      <a:lnTo>
                        <a:pt x="351" y="228"/>
                      </a:lnTo>
                      <a:lnTo>
                        <a:pt x="353" y="228"/>
                      </a:lnTo>
                      <a:lnTo>
                        <a:pt x="351" y="228"/>
                      </a:lnTo>
                      <a:lnTo>
                        <a:pt x="351" y="229"/>
                      </a:lnTo>
                      <a:lnTo>
                        <a:pt x="349" y="229"/>
                      </a:lnTo>
                      <a:lnTo>
                        <a:pt x="349" y="231"/>
                      </a:lnTo>
                      <a:lnTo>
                        <a:pt x="351" y="231"/>
                      </a:lnTo>
                      <a:lnTo>
                        <a:pt x="351" y="233"/>
                      </a:lnTo>
                      <a:lnTo>
                        <a:pt x="349" y="233"/>
                      </a:lnTo>
                      <a:lnTo>
                        <a:pt x="349" y="231"/>
                      </a:lnTo>
                      <a:lnTo>
                        <a:pt x="348" y="231"/>
                      </a:lnTo>
                      <a:lnTo>
                        <a:pt x="348" y="229"/>
                      </a:lnTo>
                      <a:lnTo>
                        <a:pt x="346" y="229"/>
                      </a:lnTo>
                      <a:lnTo>
                        <a:pt x="344" y="228"/>
                      </a:lnTo>
                      <a:lnTo>
                        <a:pt x="344" y="229"/>
                      </a:lnTo>
                      <a:lnTo>
                        <a:pt x="343" y="231"/>
                      </a:lnTo>
                      <a:lnTo>
                        <a:pt x="343" y="229"/>
                      </a:lnTo>
                      <a:lnTo>
                        <a:pt x="341" y="229"/>
                      </a:lnTo>
                      <a:lnTo>
                        <a:pt x="341" y="228"/>
                      </a:lnTo>
                      <a:lnTo>
                        <a:pt x="339" y="228"/>
                      </a:lnTo>
                      <a:lnTo>
                        <a:pt x="339" y="229"/>
                      </a:lnTo>
                      <a:lnTo>
                        <a:pt x="341" y="229"/>
                      </a:lnTo>
                      <a:lnTo>
                        <a:pt x="339" y="229"/>
                      </a:lnTo>
                      <a:lnTo>
                        <a:pt x="336" y="229"/>
                      </a:lnTo>
                      <a:lnTo>
                        <a:pt x="336" y="228"/>
                      </a:lnTo>
                      <a:lnTo>
                        <a:pt x="334" y="228"/>
                      </a:lnTo>
                      <a:lnTo>
                        <a:pt x="332" y="228"/>
                      </a:lnTo>
                      <a:lnTo>
                        <a:pt x="332" y="229"/>
                      </a:lnTo>
                      <a:lnTo>
                        <a:pt x="331" y="231"/>
                      </a:lnTo>
                      <a:lnTo>
                        <a:pt x="331" y="229"/>
                      </a:lnTo>
                      <a:lnTo>
                        <a:pt x="331" y="228"/>
                      </a:lnTo>
                      <a:lnTo>
                        <a:pt x="331" y="226"/>
                      </a:lnTo>
                      <a:lnTo>
                        <a:pt x="329" y="226"/>
                      </a:lnTo>
                      <a:lnTo>
                        <a:pt x="329" y="228"/>
                      </a:lnTo>
                      <a:lnTo>
                        <a:pt x="329" y="229"/>
                      </a:lnTo>
                      <a:lnTo>
                        <a:pt x="327" y="229"/>
                      </a:lnTo>
                      <a:lnTo>
                        <a:pt x="327" y="228"/>
                      </a:lnTo>
                      <a:lnTo>
                        <a:pt x="326" y="228"/>
                      </a:lnTo>
                      <a:lnTo>
                        <a:pt x="324" y="228"/>
                      </a:lnTo>
                      <a:lnTo>
                        <a:pt x="322" y="228"/>
                      </a:lnTo>
                      <a:lnTo>
                        <a:pt x="322" y="226"/>
                      </a:lnTo>
                      <a:lnTo>
                        <a:pt x="321" y="226"/>
                      </a:lnTo>
                      <a:lnTo>
                        <a:pt x="319" y="226"/>
                      </a:lnTo>
                      <a:lnTo>
                        <a:pt x="317" y="226"/>
                      </a:lnTo>
                      <a:lnTo>
                        <a:pt x="316" y="225"/>
                      </a:lnTo>
                      <a:lnTo>
                        <a:pt x="314" y="225"/>
                      </a:lnTo>
                      <a:lnTo>
                        <a:pt x="314" y="226"/>
                      </a:lnTo>
                      <a:lnTo>
                        <a:pt x="314" y="228"/>
                      </a:lnTo>
                      <a:lnTo>
                        <a:pt x="312" y="228"/>
                      </a:lnTo>
                      <a:lnTo>
                        <a:pt x="312" y="226"/>
                      </a:lnTo>
                      <a:lnTo>
                        <a:pt x="310" y="226"/>
                      </a:lnTo>
                      <a:lnTo>
                        <a:pt x="310" y="225"/>
                      </a:lnTo>
                      <a:lnTo>
                        <a:pt x="309" y="223"/>
                      </a:lnTo>
                      <a:lnTo>
                        <a:pt x="307" y="223"/>
                      </a:lnTo>
                      <a:lnTo>
                        <a:pt x="307" y="225"/>
                      </a:lnTo>
                      <a:lnTo>
                        <a:pt x="305" y="225"/>
                      </a:lnTo>
                      <a:lnTo>
                        <a:pt x="304" y="223"/>
                      </a:lnTo>
                      <a:lnTo>
                        <a:pt x="305" y="221"/>
                      </a:lnTo>
                      <a:lnTo>
                        <a:pt x="304" y="221"/>
                      </a:lnTo>
                      <a:lnTo>
                        <a:pt x="304" y="220"/>
                      </a:lnTo>
                      <a:lnTo>
                        <a:pt x="302" y="220"/>
                      </a:lnTo>
                      <a:lnTo>
                        <a:pt x="300" y="220"/>
                      </a:lnTo>
                      <a:lnTo>
                        <a:pt x="300" y="218"/>
                      </a:lnTo>
                      <a:lnTo>
                        <a:pt x="302" y="218"/>
                      </a:lnTo>
                      <a:lnTo>
                        <a:pt x="300" y="216"/>
                      </a:lnTo>
                      <a:lnTo>
                        <a:pt x="300" y="215"/>
                      </a:lnTo>
                      <a:lnTo>
                        <a:pt x="299" y="215"/>
                      </a:lnTo>
                      <a:lnTo>
                        <a:pt x="299" y="213"/>
                      </a:lnTo>
                      <a:lnTo>
                        <a:pt x="297" y="213"/>
                      </a:lnTo>
                      <a:lnTo>
                        <a:pt x="297" y="211"/>
                      </a:lnTo>
                      <a:lnTo>
                        <a:pt x="295" y="211"/>
                      </a:lnTo>
                      <a:lnTo>
                        <a:pt x="294" y="211"/>
                      </a:lnTo>
                      <a:lnTo>
                        <a:pt x="294" y="210"/>
                      </a:lnTo>
                      <a:lnTo>
                        <a:pt x="292" y="210"/>
                      </a:lnTo>
                      <a:lnTo>
                        <a:pt x="294" y="210"/>
                      </a:lnTo>
                      <a:lnTo>
                        <a:pt x="292" y="208"/>
                      </a:lnTo>
                      <a:lnTo>
                        <a:pt x="292" y="206"/>
                      </a:lnTo>
                      <a:lnTo>
                        <a:pt x="292" y="205"/>
                      </a:lnTo>
                      <a:lnTo>
                        <a:pt x="290" y="206"/>
                      </a:lnTo>
                      <a:lnTo>
                        <a:pt x="290" y="205"/>
                      </a:lnTo>
                      <a:lnTo>
                        <a:pt x="290" y="203"/>
                      </a:lnTo>
                      <a:lnTo>
                        <a:pt x="289" y="203"/>
                      </a:lnTo>
                      <a:lnTo>
                        <a:pt x="289" y="202"/>
                      </a:lnTo>
                      <a:lnTo>
                        <a:pt x="290" y="202"/>
                      </a:lnTo>
                      <a:lnTo>
                        <a:pt x="289" y="200"/>
                      </a:lnTo>
                      <a:lnTo>
                        <a:pt x="287" y="200"/>
                      </a:lnTo>
                      <a:lnTo>
                        <a:pt x="285" y="198"/>
                      </a:lnTo>
                      <a:lnTo>
                        <a:pt x="283" y="200"/>
                      </a:lnTo>
                      <a:lnTo>
                        <a:pt x="282" y="200"/>
                      </a:lnTo>
                      <a:lnTo>
                        <a:pt x="282" y="198"/>
                      </a:lnTo>
                      <a:lnTo>
                        <a:pt x="282" y="197"/>
                      </a:lnTo>
                      <a:lnTo>
                        <a:pt x="280" y="197"/>
                      </a:lnTo>
                      <a:lnTo>
                        <a:pt x="278" y="197"/>
                      </a:lnTo>
                      <a:lnTo>
                        <a:pt x="278" y="195"/>
                      </a:lnTo>
                      <a:lnTo>
                        <a:pt x="280" y="195"/>
                      </a:lnTo>
                      <a:lnTo>
                        <a:pt x="280" y="193"/>
                      </a:lnTo>
                      <a:lnTo>
                        <a:pt x="282" y="193"/>
                      </a:lnTo>
                      <a:lnTo>
                        <a:pt x="282" y="192"/>
                      </a:lnTo>
                      <a:lnTo>
                        <a:pt x="280" y="190"/>
                      </a:lnTo>
                      <a:lnTo>
                        <a:pt x="278" y="188"/>
                      </a:lnTo>
                      <a:lnTo>
                        <a:pt x="277" y="188"/>
                      </a:lnTo>
                      <a:lnTo>
                        <a:pt x="277" y="187"/>
                      </a:lnTo>
                      <a:lnTo>
                        <a:pt x="277" y="185"/>
                      </a:lnTo>
                      <a:lnTo>
                        <a:pt x="275" y="185"/>
                      </a:lnTo>
                      <a:lnTo>
                        <a:pt x="273" y="184"/>
                      </a:lnTo>
                      <a:lnTo>
                        <a:pt x="272" y="184"/>
                      </a:lnTo>
                      <a:lnTo>
                        <a:pt x="272" y="182"/>
                      </a:lnTo>
                      <a:lnTo>
                        <a:pt x="270" y="182"/>
                      </a:lnTo>
                      <a:lnTo>
                        <a:pt x="270" y="184"/>
                      </a:lnTo>
                      <a:lnTo>
                        <a:pt x="268" y="185"/>
                      </a:lnTo>
                      <a:lnTo>
                        <a:pt x="268" y="184"/>
                      </a:lnTo>
                      <a:lnTo>
                        <a:pt x="267" y="184"/>
                      </a:lnTo>
                      <a:lnTo>
                        <a:pt x="267" y="182"/>
                      </a:lnTo>
                      <a:lnTo>
                        <a:pt x="268" y="182"/>
                      </a:lnTo>
                      <a:lnTo>
                        <a:pt x="268" y="180"/>
                      </a:lnTo>
                      <a:lnTo>
                        <a:pt x="267" y="180"/>
                      </a:lnTo>
                      <a:lnTo>
                        <a:pt x="265" y="180"/>
                      </a:lnTo>
                      <a:lnTo>
                        <a:pt x="265" y="179"/>
                      </a:lnTo>
                      <a:lnTo>
                        <a:pt x="263" y="179"/>
                      </a:lnTo>
                      <a:lnTo>
                        <a:pt x="265" y="177"/>
                      </a:lnTo>
                      <a:lnTo>
                        <a:pt x="265" y="175"/>
                      </a:lnTo>
                      <a:lnTo>
                        <a:pt x="263" y="175"/>
                      </a:lnTo>
                      <a:lnTo>
                        <a:pt x="262" y="175"/>
                      </a:lnTo>
                      <a:lnTo>
                        <a:pt x="262" y="174"/>
                      </a:lnTo>
                      <a:lnTo>
                        <a:pt x="262" y="172"/>
                      </a:lnTo>
                      <a:lnTo>
                        <a:pt x="260" y="172"/>
                      </a:lnTo>
                      <a:lnTo>
                        <a:pt x="258" y="172"/>
                      </a:lnTo>
                      <a:lnTo>
                        <a:pt x="256" y="172"/>
                      </a:lnTo>
                      <a:lnTo>
                        <a:pt x="256" y="170"/>
                      </a:lnTo>
                      <a:lnTo>
                        <a:pt x="256" y="169"/>
                      </a:lnTo>
                      <a:lnTo>
                        <a:pt x="255" y="170"/>
                      </a:lnTo>
                      <a:lnTo>
                        <a:pt x="255" y="169"/>
                      </a:lnTo>
                      <a:lnTo>
                        <a:pt x="253" y="167"/>
                      </a:lnTo>
                      <a:lnTo>
                        <a:pt x="251" y="167"/>
                      </a:lnTo>
                      <a:lnTo>
                        <a:pt x="250" y="167"/>
                      </a:lnTo>
                      <a:lnTo>
                        <a:pt x="248" y="167"/>
                      </a:lnTo>
                      <a:lnTo>
                        <a:pt x="246" y="167"/>
                      </a:lnTo>
                      <a:lnTo>
                        <a:pt x="246" y="165"/>
                      </a:lnTo>
                      <a:lnTo>
                        <a:pt x="245" y="165"/>
                      </a:lnTo>
                      <a:lnTo>
                        <a:pt x="243" y="164"/>
                      </a:lnTo>
                      <a:lnTo>
                        <a:pt x="243" y="162"/>
                      </a:lnTo>
                      <a:lnTo>
                        <a:pt x="241" y="162"/>
                      </a:lnTo>
                      <a:lnTo>
                        <a:pt x="240" y="162"/>
                      </a:lnTo>
                      <a:lnTo>
                        <a:pt x="240" y="161"/>
                      </a:lnTo>
                      <a:lnTo>
                        <a:pt x="241" y="161"/>
                      </a:lnTo>
                      <a:lnTo>
                        <a:pt x="240" y="161"/>
                      </a:lnTo>
                      <a:lnTo>
                        <a:pt x="240" y="159"/>
                      </a:lnTo>
                      <a:lnTo>
                        <a:pt x="240" y="157"/>
                      </a:lnTo>
                      <a:lnTo>
                        <a:pt x="238" y="157"/>
                      </a:lnTo>
                      <a:lnTo>
                        <a:pt x="236" y="157"/>
                      </a:lnTo>
                      <a:lnTo>
                        <a:pt x="236" y="159"/>
                      </a:lnTo>
                      <a:lnTo>
                        <a:pt x="234" y="157"/>
                      </a:lnTo>
                      <a:lnTo>
                        <a:pt x="233" y="156"/>
                      </a:lnTo>
                      <a:lnTo>
                        <a:pt x="234" y="156"/>
                      </a:lnTo>
                      <a:lnTo>
                        <a:pt x="234" y="154"/>
                      </a:lnTo>
                      <a:lnTo>
                        <a:pt x="233" y="154"/>
                      </a:lnTo>
                      <a:lnTo>
                        <a:pt x="233" y="152"/>
                      </a:lnTo>
                      <a:lnTo>
                        <a:pt x="231" y="154"/>
                      </a:lnTo>
                      <a:lnTo>
                        <a:pt x="231" y="156"/>
                      </a:lnTo>
                      <a:lnTo>
                        <a:pt x="229" y="156"/>
                      </a:lnTo>
                      <a:lnTo>
                        <a:pt x="228" y="156"/>
                      </a:lnTo>
                      <a:lnTo>
                        <a:pt x="228" y="154"/>
                      </a:lnTo>
                      <a:lnTo>
                        <a:pt x="228" y="152"/>
                      </a:lnTo>
                      <a:lnTo>
                        <a:pt x="226" y="152"/>
                      </a:lnTo>
                      <a:lnTo>
                        <a:pt x="226" y="151"/>
                      </a:lnTo>
                      <a:lnTo>
                        <a:pt x="224" y="151"/>
                      </a:lnTo>
                      <a:lnTo>
                        <a:pt x="224" y="149"/>
                      </a:lnTo>
                      <a:lnTo>
                        <a:pt x="224" y="147"/>
                      </a:lnTo>
                      <a:lnTo>
                        <a:pt x="223" y="147"/>
                      </a:lnTo>
                      <a:lnTo>
                        <a:pt x="221" y="147"/>
                      </a:lnTo>
                      <a:lnTo>
                        <a:pt x="219" y="147"/>
                      </a:lnTo>
                      <a:lnTo>
                        <a:pt x="218" y="147"/>
                      </a:lnTo>
                      <a:lnTo>
                        <a:pt x="216" y="149"/>
                      </a:lnTo>
                      <a:lnTo>
                        <a:pt x="214" y="149"/>
                      </a:lnTo>
                      <a:lnTo>
                        <a:pt x="214" y="147"/>
                      </a:lnTo>
                      <a:lnTo>
                        <a:pt x="214" y="146"/>
                      </a:lnTo>
                      <a:lnTo>
                        <a:pt x="214" y="144"/>
                      </a:lnTo>
                      <a:lnTo>
                        <a:pt x="213" y="144"/>
                      </a:lnTo>
                      <a:lnTo>
                        <a:pt x="213" y="146"/>
                      </a:lnTo>
                      <a:lnTo>
                        <a:pt x="211" y="146"/>
                      </a:lnTo>
                      <a:lnTo>
                        <a:pt x="209" y="146"/>
                      </a:lnTo>
                      <a:lnTo>
                        <a:pt x="209" y="144"/>
                      </a:lnTo>
                      <a:lnTo>
                        <a:pt x="211" y="142"/>
                      </a:lnTo>
                      <a:lnTo>
                        <a:pt x="211" y="141"/>
                      </a:lnTo>
                      <a:lnTo>
                        <a:pt x="209" y="141"/>
                      </a:lnTo>
                      <a:lnTo>
                        <a:pt x="207" y="141"/>
                      </a:lnTo>
                      <a:lnTo>
                        <a:pt x="207" y="142"/>
                      </a:lnTo>
                      <a:lnTo>
                        <a:pt x="207" y="144"/>
                      </a:lnTo>
                      <a:lnTo>
                        <a:pt x="206" y="144"/>
                      </a:lnTo>
                      <a:lnTo>
                        <a:pt x="206" y="142"/>
                      </a:lnTo>
                      <a:lnTo>
                        <a:pt x="206" y="141"/>
                      </a:lnTo>
                      <a:lnTo>
                        <a:pt x="204" y="139"/>
                      </a:lnTo>
                      <a:lnTo>
                        <a:pt x="202" y="139"/>
                      </a:lnTo>
                      <a:lnTo>
                        <a:pt x="202" y="141"/>
                      </a:lnTo>
                      <a:lnTo>
                        <a:pt x="201" y="142"/>
                      </a:lnTo>
                      <a:lnTo>
                        <a:pt x="199" y="141"/>
                      </a:lnTo>
                      <a:lnTo>
                        <a:pt x="197" y="141"/>
                      </a:lnTo>
                      <a:lnTo>
                        <a:pt x="196" y="141"/>
                      </a:lnTo>
                      <a:lnTo>
                        <a:pt x="194" y="141"/>
                      </a:lnTo>
                      <a:lnTo>
                        <a:pt x="194" y="142"/>
                      </a:lnTo>
                      <a:lnTo>
                        <a:pt x="196" y="144"/>
                      </a:lnTo>
                      <a:lnTo>
                        <a:pt x="194" y="144"/>
                      </a:lnTo>
                      <a:lnTo>
                        <a:pt x="192" y="144"/>
                      </a:lnTo>
                      <a:lnTo>
                        <a:pt x="192" y="142"/>
                      </a:lnTo>
                      <a:lnTo>
                        <a:pt x="191" y="142"/>
                      </a:lnTo>
                      <a:lnTo>
                        <a:pt x="191" y="144"/>
                      </a:lnTo>
                      <a:lnTo>
                        <a:pt x="189" y="144"/>
                      </a:lnTo>
                      <a:lnTo>
                        <a:pt x="189" y="142"/>
                      </a:lnTo>
                      <a:lnTo>
                        <a:pt x="189" y="141"/>
                      </a:lnTo>
                      <a:lnTo>
                        <a:pt x="189" y="139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6" y="141"/>
                      </a:lnTo>
                      <a:lnTo>
                        <a:pt x="187" y="142"/>
                      </a:lnTo>
                      <a:lnTo>
                        <a:pt x="187" y="144"/>
                      </a:lnTo>
                      <a:lnTo>
                        <a:pt x="186" y="144"/>
                      </a:lnTo>
                      <a:lnTo>
                        <a:pt x="184" y="142"/>
                      </a:lnTo>
                      <a:lnTo>
                        <a:pt x="184" y="141"/>
                      </a:lnTo>
                      <a:lnTo>
                        <a:pt x="184" y="139"/>
                      </a:lnTo>
                      <a:lnTo>
                        <a:pt x="184" y="138"/>
                      </a:lnTo>
                      <a:lnTo>
                        <a:pt x="182" y="138"/>
                      </a:lnTo>
                      <a:lnTo>
                        <a:pt x="180" y="138"/>
                      </a:lnTo>
                      <a:lnTo>
                        <a:pt x="180" y="139"/>
                      </a:lnTo>
                      <a:lnTo>
                        <a:pt x="179" y="139"/>
                      </a:lnTo>
                      <a:lnTo>
                        <a:pt x="179" y="138"/>
                      </a:lnTo>
                      <a:lnTo>
                        <a:pt x="180" y="138"/>
                      </a:lnTo>
                      <a:lnTo>
                        <a:pt x="180" y="136"/>
                      </a:lnTo>
                      <a:lnTo>
                        <a:pt x="180" y="134"/>
                      </a:lnTo>
                      <a:lnTo>
                        <a:pt x="179" y="134"/>
                      </a:lnTo>
                      <a:lnTo>
                        <a:pt x="177" y="133"/>
                      </a:lnTo>
                      <a:lnTo>
                        <a:pt x="175" y="133"/>
                      </a:lnTo>
                      <a:lnTo>
                        <a:pt x="174" y="133"/>
                      </a:lnTo>
                      <a:lnTo>
                        <a:pt x="175" y="131"/>
                      </a:lnTo>
                      <a:lnTo>
                        <a:pt x="177" y="131"/>
                      </a:lnTo>
                      <a:lnTo>
                        <a:pt x="179" y="133"/>
                      </a:lnTo>
                      <a:lnTo>
                        <a:pt x="179" y="131"/>
                      </a:lnTo>
                      <a:lnTo>
                        <a:pt x="177" y="129"/>
                      </a:lnTo>
                      <a:lnTo>
                        <a:pt x="175" y="131"/>
                      </a:lnTo>
                      <a:lnTo>
                        <a:pt x="174" y="129"/>
                      </a:lnTo>
                      <a:lnTo>
                        <a:pt x="172" y="129"/>
                      </a:lnTo>
                      <a:lnTo>
                        <a:pt x="172" y="128"/>
                      </a:lnTo>
                      <a:lnTo>
                        <a:pt x="174" y="128"/>
                      </a:lnTo>
                      <a:lnTo>
                        <a:pt x="174" y="126"/>
                      </a:lnTo>
                      <a:lnTo>
                        <a:pt x="172" y="126"/>
                      </a:lnTo>
                      <a:lnTo>
                        <a:pt x="172" y="128"/>
                      </a:lnTo>
                      <a:lnTo>
                        <a:pt x="170" y="128"/>
                      </a:lnTo>
                      <a:lnTo>
                        <a:pt x="169" y="128"/>
                      </a:lnTo>
                      <a:lnTo>
                        <a:pt x="167" y="126"/>
                      </a:lnTo>
                      <a:lnTo>
                        <a:pt x="167" y="128"/>
                      </a:lnTo>
                      <a:lnTo>
                        <a:pt x="165" y="128"/>
                      </a:lnTo>
                      <a:lnTo>
                        <a:pt x="164" y="126"/>
                      </a:lnTo>
                      <a:lnTo>
                        <a:pt x="165" y="124"/>
                      </a:lnTo>
                      <a:lnTo>
                        <a:pt x="164" y="124"/>
                      </a:lnTo>
                      <a:lnTo>
                        <a:pt x="164" y="123"/>
                      </a:lnTo>
                      <a:lnTo>
                        <a:pt x="162" y="123"/>
                      </a:lnTo>
                      <a:lnTo>
                        <a:pt x="162" y="124"/>
                      </a:lnTo>
                      <a:lnTo>
                        <a:pt x="160" y="124"/>
                      </a:lnTo>
                      <a:lnTo>
                        <a:pt x="158" y="124"/>
                      </a:lnTo>
                      <a:lnTo>
                        <a:pt x="158" y="123"/>
                      </a:lnTo>
                      <a:lnTo>
                        <a:pt x="160" y="123"/>
                      </a:lnTo>
                      <a:lnTo>
                        <a:pt x="160" y="121"/>
                      </a:lnTo>
                      <a:lnTo>
                        <a:pt x="158" y="121"/>
                      </a:lnTo>
                      <a:lnTo>
                        <a:pt x="157" y="121"/>
                      </a:lnTo>
                      <a:lnTo>
                        <a:pt x="157" y="123"/>
                      </a:lnTo>
                      <a:lnTo>
                        <a:pt x="155" y="126"/>
                      </a:lnTo>
                      <a:lnTo>
                        <a:pt x="153" y="126"/>
                      </a:lnTo>
                      <a:lnTo>
                        <a:pt x="152" y="124"/>
                      </a:lnTo>
                      <a:lnTo>
                        <a:pt x="152" y="123"/>
                      </a:lnTo>
                      <a:lnTo>
                        <a:pt x="148" y="124"/>
                      </a:lnTo>
                      <a:lnTo>
                        <a:pt x="148" y="123"/>
                      </a:lnTo>
                      <a:lnTo>
                        <a:pt x="148" y="121"/>
                      </a:lnTo>
                      <a:lnTo>
                        <a:pt x="150" y="121"/>
                      </a:lnTo>
                      <a:lnTo>
                        <a:pt x="152" y="121"/>
                      </a:lnTo>
                      <a:lnTo>
                        <a:pt x="152" y="119"/>
                      </a:lnTo>
                      <a:lnTo>
                        <a:pt x="150" y="119"/>
                      </a:lnTo>
                      <a:lnTo>
                        <a:pt x="148" y="119"/>
                      </a:lnTo>
                      <a:lnTo>
                        <a:pt x="147" y="119"/>
                      </a:lnTo>
                      <a:lnTo>
                        <a:pt x="145" y="119"/>
                      </a:lnTo>
                      <a:lnTo>
                        <a:pt x="145" y="121"/>
                      </a:lnTo>
                      <a:lnTo>
                        <a:pt x="147" y="121"/>
                      </a:lnTo>
                      <a:lnTo>
                        <a:pt x="147" y="123"/>
                      </a:lnTo>
                      <a:lnTo>
                        <a:pt x="147" y="124"/>
                      </a:lnTo>
                      <a:lnTo>
                        <a:pt x="145" y="124"/>
                      </a:lnTo>
                      <a:lnTo>
                        <a:pt x="143" y="123"/>
                      </a:lnTo>
                      <a:lnTo>
                        <a:pt x="142" y="123"/>
                      </a:lnTo>
                      <a:lnTo>
                        <a:pt x="140" y="123"/>
                      </a:lnTo>
                      <a:lnTo>
                        <a:pt x="140" y="124"/>
                      </a:lnTo>
                      <a:lnTo>
                        <a:pt x="138" y="123"/>
                      </a:lnTo>
                      <a:lnTo>
                        <a:pt x="138" y="119"/>
                      </a:lnTo>
                      <a:lnTo>
                        <a:pt x="137" y="119"/>
                      </a:lnTo>
                      <a:lnTo>
                        <a:pt x="137" y="121"/>
                      </a:lnTo>
                      <a:lnTo>
                        <a:pt x="137" y="123"/>
                      </a:lnTo>
                      <a:lnTo>
                        <a:pt x="135" y="121"/>
                      </a:lnTo>
                      <a:lnTo>
                        <a:pt x="133" y="119"/>
                      </a:lnTo>
                      <a:lnTo>
                        <a:pt x="133" y="118"/>
                      </a:lnTo>
                      <a:lnTo>
                        <a:pt x="133" y="116"/>
                      </a:lnTo>
                      <a:lnTo>
                        <a:pt x="131" y="116"/>
                      </a:lnTo>
                      <a:lnTo>
                        <a:pt x="130" y="118"/>
                      </a:lnTo>
                      <a:lnTo>
                        <a:pt x="128" y="118"/>
                      </a:lnTo>
                      <a:lnTo>
                        <a:pt x="130" y="119"/>
                      </a:lnTo>
                      <a:lnTo>
                        <a:pt x="128" y="119"/>
                      </a:lnTo>
                      <a:lnTo>
                        <a:pt x="125" y="119"/>
                      </a:lnTo>
                      <a:lnTo>
                        <a:pt x="123" y="119"/>
                      </a:lnTo>
                      <a:lnTo>
                        <a:pt x="123" y="118"/>
                      </a:lnTo>
                      <a:lnTo>
                        <a:pt x="121" y="118"/>
                      </a:lnTo>
                      <a:lnTo>
                        <a:pt x="120" y="118"/>
                      </a:lnTo>
                      <a:lnTo>
                        <a:pt x="118" y="118"/>
                      </a:lnTo>
                      <a:lnTo>
                        <a:pt x="118" y="119"/>
                      </a:lnTo>
                      <a:lnTo>
                        <a:pt x="116" y="119"/>
                      </a:lnTo>
                      <a:lnTo>
                        <a:pt x="115" y="119"/>
                      </a:lnTo>
                      <a:lnTo>
                        <a:pt x="113" y="119"/>
                      </a:lnTo>
                      <a:lnTo>
                        <a:pt x="113" y="118"/>
                      </a:lnTo>
                      <a:lnTo>
                        <a:pt x="111" y="118"/>
                      </a:lnTo>
                      <a:lnTo>
                        <a:pt x="110" y="118"/>
                      </a:lnTo>
                      <a:lnTo>
                        <a:pt x="110" y="119"/>
                      </a:lnTo>
                      <a:lnTo>
                        <a:pt x="110" y="121"/>
                      </a:lnTo>
                      <a:lnTo>
                        <a:pt x="108" y="121"/>
                      </a:lnTo>
                      <a:lnTo>
                        <a:pt x="108" y="119"/>
                      </a:lnTo>
                      <a:lnTo>
                        <a:pt x="108" y="118"/>
                      </a:lnTo>
                      <a:lnTo>
                        <a:pt x="106" y="118"/>
                      </a:lnTo>
                      <a:lnTo>
                        <a:pt x="104" y="118"/>
                      </a:lnTo>
                      <a:lnTo>
                        <a:pt x="104" y="119"/>
                      </a:lnTo>
                      <a:lnTo>
                        <a:pt x="103" y="119"/>
                      </a:lnTo>
                      <a:lnTo>
                        <a:pt x="103" y="118"/>
                      </a:lnTo>
                      <a:lnTo>
                        <a:pt x="103" y="116"/>
                      </a:lnTo>
                      <a:lnTo>
                        <a:pt x="103" y="115"/>
                      </a:lnTo>
                      <a:lnTo>
                        <a:pt x="101" y="115"/>
                      </a:lnTo>
                      <a:lnTo>
                        <a:pt x="99" y="115"/>
                      </a:lnTo>
                      <a:lnTo>
                        <a:pt x="98" y="115"/>
                      </a:lnTo>
                      <a:lnTo>
                        <a:pt x="96" y="115"/>
                      </a:lnTo>
                      <a:lnTo>
                        <a:pt x="94" y="115"/>
                      </a:lnTo>
                      <a:lnTo>
                        <a:pt x="94" y="113"/>
                      </a:lnTo>
                      <a:lnTo>
                        <a:pt x="94" y="111"/>
                      </a:lnTo>
                      <a:lnTo>
                        <a:pt x="93" y="111"/>
                      </a:lnTo>
                      <a:lnTo>
                        <a:pt x="91" y="113"/>
                      </a:lnTo>
                      <a:lnTo>
                        <a:pt x="89" y="113"/>
                      </a:lnTo>
                      <a:lnTo>
                        <a:pt x="89" y="115"/>
                      </a:lnTo>
                      <a:lnTo>
                        <a:pt x="88" y="115"/>
                      </a:lnTo>
                      <a:lnTo>
                        <a:pt x="86" y="115"/>
                      </a:lnTo>
                      <a:lnTo>
                        <a:pt x="86" y="111"/>
                      </a:lnTo>
                      <a:lnTo>
                        <a:pt x="84" y="111"/>
                      </a:lnTo>
                      <a:lnTo>
                        <a:pt x="84" y="110"/>
                      </a:lnTo>
                      <a:lnTo>
                        <a:pt x="84" y="111"/>
                      </a:lnTo>
                      <a:lnTo>
                        <a:pt x="82" y="111"/>
                      </a:lnTo>
                      <a:lnTo>
                        <a:pt x="82" y="113"/>
                      </a:lnTo>
                      <a:lnTo>
                        <a:pt x="82" y="115"/>
                      </a:lnTo>
                      <a:lnTo>
                        <a:pt x="82" y="116"/>
                      </a:lnTo>
                      <a:lnTo>
                        <a:pt x="81" y="116"/>
                      </a:lnTo>
                      <a:lnTo>
                        <a:pt x="79" y="115"/>
                      </a:lnTo>
                      <a:lnTo>
                        <a:pt x="79" y="113"/>
                      </a:lnTo>
                      <a:lnTo>
                        <a:pt x="81" y="111"/>
                      </a:lnTo>
                      <a:lnTo>
                        <a:pt x="81" y="110"/>
                      </a:lnTo>
                      <a:lnTo>
                        <a:pt x="81" y="108"/>
                      </a:lnTo>
                      <a:lnTo>
                        <a:pt x="79" y="108"/>
                      </a:lnTo>
                      <a:lnTo>
                        <a:pt x="77" y="110"/>
                      </a:lnTo>
                      <a:lnTo>
                        <a:pt x="76" y="110"/>
                      </a:lnTo>
                      <a:lnTo>
                        <a:pt x="76" y="108"/>
                      </a:lnTo>
                      <a:lnTo>
                        <a:pt x="76" y="106"/>
                      </a:lnTo>
                      <a:lnTo>
                        <a:pt x="77" y="106"/>
                      </a:lnTo>
                      <a:lnTo>
                        <a:pt x="77" y="105"/>
                      </a:lnTo>
                      <a:lnTo>
                        <a:pt x="77" y="103"/>
                      </a:lnTo>
                      <a:lnTo>
                        <a:pt x="76" y="103"/>
                      </a:lnTo>
                      <a:lnTo>
                        <a:pt x="74" y="103"/>
                      </a:lnTo>
                      <a:lnTo>
                        <a:pt x="72" y="105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4" y="108"/>
                      </a:lnTo>
                      <a:lnTo>
                        <a:pt x="72" y="110"/>
                      </a:lnTo>
                      <a:lnTo>
                        <a:pt x="72" y="111"/>
                      </a:lnTo>
                      <a:lnTo>
                        <a:pt x="69" y="111"/>
                      </a:lnTo>
                      <a:lnTo>
                        <a:pt x="67" y="111"/>
                      </a:lnTo>
                      <a:lnTo>
                        <a:pt x="66" y="111"/>
                      </a:lnTo>
                      <a:lnTo>
                        <a:pt x="66" y="110"/>
                      </a:lnTo>
                      <a:lnTo>
                        <a:pt x="66" y="108"/>
                      </a:lnTo>
                      <a:lnTo>
                        <a:pt x="64" y="108"/>
                      </a:lnTo>
                      <a:lnTo>
                        <a:pt x="64" y="110"/>
                      </a:lnTo>
                      <a:lnTo>
                        <a:pt x="64" y="111"/>
                      </a:lnTo>
                      <a:lnTo>
                        <a:pt x="62" y="113"/>
                      </a:lnTo>
                      <a:lnTo>
                        <a:pt x="61" y="113"/>
                      </a:lnTo>
                      <a:lnTo>
                        <a:pt x="59" y="111"/>
                      </a:lnTo>
                      <a:lnTo>
                        <a:pt x="57" y="111"/>
                      </a:lnTo>
                      <a:lnTo>
                        <a:pt x="55" y="111"/>
                      </a:lnTo>
                      <a:lnTo>
                        <a:pt x="55" y="113"/>
                      </a:lnTo>
                      <a:lnTo>
                        <a:pt x="54" y="113"/>
                      </a:lnTo>
                      <a:lnTo>
                        <a:pt x="52" y="113"/>
                      </a:lnTo>
                      <a:lnTo>
                        <a:pt x="52" y="115"/>
                      </a:lnTo>
                      <a:lnTo>
                        <a:pt x="50" y="116"/>
                      </a:lnTo>
                      <a:lnTo>
                        <a:pt x="49" y="115"/>
                      </a:lnTo>
                      <a:lnTo>
                        <a:pt x="49" y="113"/>
                      </a:lnTo>
                      <a:lnTo>
                        <a:pt x="50" y="111"/>
                      </a:lnTo>
                      <a:lnTo>
                        <a:pt x="52" y="110"/>
                      </a:lnTo>
                      <a:lnTo>
                        <a:pt x="52" y="108"/>
                      </a:lnTo>
                      <a:lnTo>
                        <a:pt x="50" y="106"/>
                      </a:lnTo>
                      <a:lnTo>
                        <a:pt x="49" y="106"/>
                      </a:lnTo>
                      <a:lnTo>
                        <a:pt x="47" y="106"/>
                      </a:lnTo>
                      <a:lnTo>
                        <a:pt x="45" y="106"/>
                      </a:lnTo>
                      <a:lnTo>
                        <a:pt x="45" y="105"/>
                      </a:lnTo>
                      <a:lnTo>
                        <a:pt x="45" y="103"/>
                      </a:lnTo>
                      <a:lnTo>
                        <a:pt x="44" y="103"/>
                      </a:lnTo>
                      <a:lnTo>
                        <a:pt x="44" y="105"/>
                      </a:lnTo>
                      <a:lnTo>
                        <a:pt x="42" y="105"/>
                      </a:lnTo>
                      <a:lnTo>
                        <a:pt x="42" y="108"/>
                      </a:lnTo>
                      <a:lnTo>
                        <a:pt x="40" y="108"/>
                      </a:lnTo>
                      <a:lnTo>
                        <a:pt x="39" y="110"/>
                      </a:lnTo>
                      <a:lnTo>
                        <a:pt x="37" y="110"/>
                      </a:lnTo>
                      <a:lnTo>
                        <a:pt x="35" y="110"/>
                      </a:lnTo>
                      <a:lnTo>
                        <a:pt x="35" y="108"/>
                      </a:lnTo>
                      <a:lnTo>
                        <a:pt x="33" y="108"/>
                      </a:lnTo>
                      <a:lnTo>
                        <a:pt x="32" y="108"/>
                      </a:lnTo>
                      <a:lnTo>
                        <a:pt x="32" y="110"/>
                      </a:lnTo>
                      <a:lnTo>
                        <a:pt x="32" y="111"/>
                      </a:lnTo>
                      <a:lnTo>
                        <a:pt x="33" y="111"/>
                      </a:lnTo>
                      <a:lnTo>
                        <a:pt x="33" y="113"/>
                      </a:lnTo>
                      <a:lnTo>
                        <a:pt x="33" y="115"/>
                      </a:lnTo>
                      <a:lnTo>
                        <a:pt x="32" y="115"/>
                      </a:lnTo>
                      <a:lnTo>
                        <a:pt x="30" y="115"/>
                      </a:lnTo>
                      <a:lnTo>
                        <a:pt x="30" y="113"/>
                      </a:lnTo>
                      <a:lnTo>
                        <a:pt x="28" y="111"/>
                      </a:lnTo>
                      <a:lnTo>
                        <a:pt x="27" y="111"/>
                      </a:lnTo>
                      <a:lnTo>
                        <a:pt x="25" y="111"/>
                      </a:lnTo>
                      <a:lnTo>
                        <a:pt x="25" y="113"/>
                      </a:lnTo>
                      <a:lnTo>
                        <a:pt x="23" y="113"/>
                      </a:lnTo>
                      <a:lnTo>
                        <a:pt x="22" y="113"/>
                      </a:lnTo>
                      <a:lnTo>
                        <a:pt x="20" y="115"/>
                      </a:lnTo>
                      <a:lnTo>
                        <a:pt x="20" y="116"/>
                      </a:lnTo>
                      <a:lnTo>
                        <a:pt x="18" y="116"/>
                      </a:lnTo>
                      <a:lnTo>
                        <a:pt x="18" y="115"/>
                      </a:lnTo>
                      <a:lnTo>
                        <a:pt x="18" y="113"/>
                      </a:lnTo>
                      <a:lnTo>
                        <a:pt x="18" y="111"/>
                      </a:lnTo>
                      <a:lnTo>
                        <a:pt x="17" y="111"/>
                      </a:lnTo>
                      <a:lnTo>
                        <a:pt x="15" y="110"/>
                      </a:lnTo>
                      <a:lnTo>
                        <a:pt x="15" y="111"/>
                      </a:lnTo>
                      <a:lnTo>
                        <a:pt x="13" y="111"/>
                      </a:lnTo>
                      <a:lnTo>
                        <a:pt x="12" y="111"/>
                      </a:lnTo>
                      <a:lnTo>
                        <a:pt x="12" y="113"/>
                      </a:lnTo>
                      <a:lnTo>
                        <a:pt x="10" y="113"/>
                      </a:lnTo>
                      <a:lnTo>
                        <a:pt x="8" y="113"/>
                      </a:lnTo>
                      <a:lnTo>
                        <a:pt x="8" y="110"/>
                      </a:lnTo>
                      <a:lnTo>
                        <a:pt x="6" y="110"/>
                      </a:lnTo>
                      <a:lnTo>
                        <a:pt x="3" y="111"/>
                      </a:lnTo>
                      <a:lnTo>
                        <a:pt x="1" y="111"/>
                      </a:lnTo>
                      <a:lnTo>
                        <a:pt x="0" y="110"/>
                      </a:lnTo>
                      <a:lnTo>
                        <a:pt x="1" y="110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08"/>
                      </a:lnTo>
                      <a:lnTo>
                        <a:pt x="3" y="108"/>
                      </a:lnTo>
                      <a:lnTo>
                        <a:pt x="1" y="108"/>
                      </a:lnTo>
                      <a:lnTo>
                        <a:pt x="3" y="108"/>
                      </a:lnTo>
                      <a:lnTo>
                        <a:pt x="3" y="106"/>
                      </a:lnTo>
                      <a:lnTo>
                        <a:pt x="1" y="105"/>
                      </a:lnTo>
                      <a:lnTo>
                        <a:pt x="3" y="105"/>
                      </a:lnTo>
                      <a:lnTo>
                        <a:pt x="3" y="106"/>
                      </a:lnTo>
                      <a:lnTo>
                        <a:pt x="5" y="106"/>
                      </a:lnTo>
                      <a:lnTo>
                        <a:pt x="5" y="105"/>
                      </a:lnTo>
                      <a:lnTo>
                        <a:pt x="6" y="105"/>
                      </a:lnTo>
                      <a:lnTo>
                        <a:pt x="3" y="103"/>
                      </a:lnTo>
                      <a:lnTo>
                        <a:pt x="5" y="101"/>
                      </a:lnTo>
                      <a:lnTo>
                        <a:pt x="5" y="103"/>
                      </a:lnTo>
                      <a:lnTo>
                        <a:pt x="6" y="103"/>
                      </a:lnTo>
                      <a:lnTo>
                        <a:pt x="6" y="101"/>
                      </a:lnTo>
                      <a:lnTo>
                        <a:pt x="5" y="101"/>
                      </a:lnTo>
                      <a:lnTo>
                        <a:pt x="5" y="100"/>
                      </a:lnTo>
                      <a:lnTo>
                        <a:pt x="3" y="100"/>
                      </a:lnTo>
                      <a:lnTo>
                        <a:pt x="5" y="100"/>
                      </a:lnTo>
                      <a:lnTo>
                        <a:pt x="5" y="101"/>
                      </a:lnTo>
                      <a:lnTo>
                        <a:pt x="6" y="101"/>
                      </a:lnTo>
                      <a:lnTo>
                        <a:pt x="8" y="101"/>
                      </a:lnTo>
                      <a:lnTo>
                        <a:pt x="6" y="101"/>
                      </a:lnTo>
                      <a:lnTo>
                        <a:pt x="6" y="100"/>
                      </a:lnTo>
                      <a:lnTo>
                        <a:pt x="5" y="98"/>
                      </a:lnTo>
                      <a:lnTo>
                        <a:pt x="6" y="98"/>
                      </a:lnTo>
                      <a:lnTo>
                        <a:pt x="6" y="100"/>
                      </a:lnTo>
                      <a:lnTo>
                        <a:pt x="8" y="100"/>
                      </a:lnTo>
                      <a:lnTo>
                        <a:pt x="8" y="98"/>
                      </a:lnTo>
                      <a:lnTo>
                        <a:pt x="8" y="96"/>
                      </a:lnTo>
                      <a:lnTo>
                        <a:pt x="10" y="96"/>
                      </a:lnTo>
                      <a:lnTo>
                        <a:pt x="10" y="95"/>
                      </a:lnTo>
                      <a:lnTo>
                        <a:pt x="12" y="95"/>
                      </a:lnTo>
                      <a:lnTo>
                        <a:pt x="12" y="93"/>
                      </a:lnTo>
                      <a:lnTo>
                        <a:pt x="10" y="93"/>
                      </a:lnTo>
                      <a:lnTo>
                        <a:pt x="10" y="92"/>
                      </a:lnTo>
                      <a:lnTo>
                        <a:pt x="12" y="92"/>
                      </a:lnTo>
                      <a:lnTo>
                        <a:pt x="13" y="92"/>
                      </a:lnTo>
                      <a:lnTo>
                        <a:pt x="13" y="90"/>
                      </a:lnTo>
                      <a:lnTo>
                        <a:pt x="15" y="90"/>
                      </a:lnTo>
                      <a:lnTo>
                        <a:pt x="17" y="90"/>
                      </a:lnTo>
                      <a:lnTo>
                        <a:pt x="15" y="90"/>
                      </a:lnTo>
                      <a:lnTo>
                        <a:pt x="13" y="90"/>
                      </a:lnTo>
                      <a:lnTo>
                        <a:pt x="13" y="88"/>
                      </a:lnTo>
                      <a:lnTo>
                        <a:pt x="15" y="88"/>
                      </a:lnTo>
                      <a:lnTo>
                        <a:pt x="17" y="88"/>
                      </a:lnTo>
                      <a:lnTo>
                        <a:pt x="17" y="87"/>
                      </a:lnTo>
                      <a:lnTo>
                        <a:pt x="15" y="87"/>
                      </a:lnTo>
                      <a:lnTo>
                        <a:pt x="17" y="87"/>
                      </a:lnTo>
                      <a:lnTo>
                        <a:pt x="17" y="85"/>
                      </a:lnTo>
                      <a:lnTo>
                        <a:pt x="15" y="85"/>
                      </a:lnTo>
                      <a:lnTo>
                        <a:pt x="13" y="85"/>
                      </a:lnTo>
                      <a:lnTo>
                        <a:pt x="15" y="83"/>
                      </a:lnTo>
                      <a:lnTo>
                        <a:pt x="13" y="83"/>
                      </a:lnTo>
                      <a:lnTo>
                        <a:pt x="13" y="82"/>
                      </a:lnTo>
                      <a:lnTo>
                        <a:pt x="15" y="83"/>
                      </a:lnTo>
                      <a:lnTo>
                        <a:pt x="17" y="83"/>
                      </a:lnTo>
                      <a:lnTo>
                        <a:pt x="17" y="82"/>
                      </a:lnTo>
                      <a:lnTo>
                        <a:pt x="15" y="82"/>
                      </a:lnTo>
                      <a:lnTo>
                        <a:pt x="13" y="82"/>
                      </a:lnTo>
                      <a:lnTo>
                        <a:pt x="13" y="80"/>
                      </a:lnTo>
                      <a:lnTo>
                        <a:pt x="15" y="80"/>
                      </a:lnTo>
                      <a:lnTo>
                        <a:pt x="13" y="80"/>
                      </a:lnTo>
                      <a:lnTo>
                        <a:pt x="13" y="78"/>
                      </a:lnTo>
                      <a:lnTo>
                        <a:pt x="13" y="77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3" y="75"/>
                      </a:lnTo>
                      <a:lnTo>
                        <a:pt x="13" y="73"/>
                      </a:lnTo>
                      <a:lnTo>
                        <a:pt x="12" y="73"/>
                      </a:lnTo>
                      <a:lnTo>
                        <a:pt x="12" y="75"/>
                      </a:lnTo>
                      <a:lnTo>
                        <a:pt x="10" y="75"/>
                      </a:lnTo>
                      <a:lnTo>
                        <a:pt x="10" y="73"/>
                      </a:lnTo>
                      <a:lnTo>
                        <a:pt x="12" y="73"/>
                      </a:lnTo>
                      <a:lnTo>
                        <a:pt x="12" y="72"/>
                      </a:lnTo>
                      <a:lnTo>
                        <a:pt x="10" y="72"/>
                      </a:lnTo>
                      <a:lnTo>
                        <a:pt x="10" y="70"/>
                      </a:lnTo>
                      <a:lnTo>
                        <a:pt x="10" y="72"/>
                      </a:lnTo>
                      <a:lnTo>
                        <a:pt x="8" y="72"/>
                      </a:lnTo>
                      <a:lnTo>
                        <a:pt x="10" y="70"/>
                      </a:lnTo>
                      <a:lnTo>
                        <a:pt x="8" y="70"/>
                      </a:lnTo>
                      <a:lnTo>
                        <a:pt x="8" y="69"/>
                      </a:lnTo>
                      <a:lnTo>
                        <a:pt x="8" y="70"/>
                      </a:lnTo>
                      <a:lnTo>
                        <a:pt x="10" y="70"/>
                      </a:lnTo>
                      <a:lnTo>
                        <a:pt x="10" y="69"/>
                      </a:lnTo>
                      <a:lnTo>
                        <a:pt x="10" y="67"/>
                      </a:lnTo>
                      <a:lnTo>
                        <a:pt x="10" y="65"/>
                      </a:lnTo>
                      <a:lnTo>
                        <a:pt x="10" y="67"/>
                      </a:lnTo>
                      <a:lnTo>
                        <a:pt x="12" y="67"/>
                      </a:lnTo>
                      <a:lnTo>
                        <a:pt x="12" y="65"/>
                      </a:lnTo>
                      <a:lnTo>
                        <a:pt x="10" y="65"/>
                      </a:lnTo>
                      <a:lnTo>
                        <a:pt x="12" y="65"/>
                      </a:lnTo>
                      <a:lnTo>
                        <a:pt x="12" y="64"/>
                      </a:lnTo>
                      <a:lnTo>
                        <a:pt x="10" y="64"/>
                      </a:lnTo>
                      <a:lnTo>
                        <a:pt x="10" y="62"/>
                      </a:lnTo>
                      <a:lnTo>
                        <a:pt x="10" y="64"/>
                      </a:lnTo>
                      <a:lnTo>
                        <a:pt x="8" y="62"/>
                      </a:lnTo>
                      <a:lnTo>
                        <a:pt x="10" y="62"/>
                      </a:lnTo>
                      <a:lnTo>
                        <a:pt x="10" y="60"/>
                      </a:lnTo>
                      <a:lnTo>
                        <a:pt x="10" y="59"/>
                      </a:lnTo>
                      <a:lnTo>
                        <a:pt x="12" y="59"/>
                      </a:lnTo>
                      <a:lnTo>
                        <a:pt x="10" y="57"/>
                      </a:lnTo>
                      <a:lnTo>
                        <a:pt x="12" y="57"/>
                      </a:lnTo>
                      <a:lnTo>
                        <a:pt x="12" y="55"/>
                      </a:lnTo>
                      <a:lnTo>
                        <a:pt x="13" y="55"/>
                      </a:lnTo>
                      <a:lnTo>
                        <a:pt x="12" y="55"/>
                      </a:lnTo>
                      <a:lnTo>
                        <a:pt x="10" y="55"/>
                      </a:lnTo>
                      <a:lnTo>
                        <a:pt x="12" y="55"/>
                      </a:lnTo>
                      <a:lnTo>
                        <a:pt x="12" y="54"/>
                      </a:lnTo>
                      <a:lnTo>
                        <a:pt x="10" y="54"/>
                      </a:lnTo>
                      <a:lnTo>
                        <a:pt x="12" y="54"/>
                      </a:lnTo>
                      <a:lnTo>
                        <a:pt x="12" y="52"/>
                      </a:lnTo>
                      <a:lnTo>
                        <a:pt x="12" y="50"/>
                      </a:lnTo>
                      <a:lnTo>
                        <a:pt x="10" y="50"/>
                      </a:lnTo>
                      <a:lnTo>
                        <a:pt x="12" y="49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3" y="49"/>
                      </a:lnTo>
                      <a:lnTo>
                        <a:pt x="13" y="47"/>
                      </a:lnTo>
                      <a:lnTo>
                        <a:pt x="12" y="47"/>
                      </a:lnTo>
                      <a:lnTo>
                        <a:pt x="13" y="46"/>
                      </a:lnTo>
                      <a:lnTo>
                        <a:pt x="13" y="47"/>
                      </a:lnTo>
                      <a:lnTo>
                        <a:pt x="13" y="46"/>
                      </a:lnTo>
                      <a:lnTo>
                        <a:pt x="13" y="44"/>
                      </a:lnTo>
                      <a:lnTo>
                        <a:pt x="15" y="44"/>
                      </a:lnTo>
                      <a:lnTo>
                        <a:pt x="15" y="42"/>
                      </a:lnTo>
                      <a:lnTo>
                        <a:pt x="13" y="42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3" y="37"/>
                      </a:lnTo>
                      <a:lnTo>
                        <a:pt x="15" y="37"/>
                      </a:lnTo>
                      <a:lnTo>
                        <a:pt x="15" y="36"/>
                      </a:lnTo>
                      <a:lnTo>
                        <a:pt x="13" y="36"/>
                      </a:lnTo>
                      <a:lnTo>
                        <a:pt x="15" y="36"/>
                      </a:lnTo>
                      <a:lnTo>
                        <a:pt x="15" y="34"/>
                      </a:lnTo>
                      <a:lnTo>
                        <a:pt x="17" y="34"/>
                      </a:lnTo>
                      <a:lnTo>
                        <a:pt x="17" y="32"/>
                      </a:lnTo>
                      <a:lnTo>
                        <a:pt x="17" y="31"/>
                      </a:lnTo>
                      <a:lnTo>
                        <a:pt x="18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18" y="26"/>
                      </a:lnTo>
                      <a:lnTo>
                        <a:pt x="20" y="26"/>
                      </a:lnTo>
                      <a:lnTo>
                        <a:pt x="18" y="26"/>
                      </a:lnTo>
                      <a:lnTo>
                        <a:pt x="20" y="27"/>
                      </a:lnTo>
                      <a:lnTo>
                        <a:pt x="20" y="26"/>
                      </a:lnTo>
                      <a:lnTo>
                        <a:pt x="20" y="27"/>
                      </a:lnTo>
                      <a:lnTo>
                        <a:pt x="22" y="27"/>
                      </a:lnTo>
                      <a:lnTo>
                        <a:pt x="23" y="27"/>
                      </a:lnTo>
                      <a:lnTo>
                        <a:pt x="25" y="27"/>
                      </a:lnTo>
                      <a:lnTo>
                        <a:pt x="25" y="29"/>
                      </a:lnTo>
                      <a:lnTo>
                        <a:pt x="27" y="29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30" y="31"/>
                      </a:lnTo>
                      <a:lnTo>
                        <a:pt x="32" y="31"/>
                      </a:lnTo>
                      <a:lnTo>
                        <a:pt x="33" y="31"/>
                      </a:lnTo>
                      <a:lnTo>
                        <a:pt x="35" y="31"/>
                      </a:lnTo>
                      <a:lnTo>
                        <a:pt x="37" y="31"/>
                      </a:lnTo>
                      <a:lnTo>
                        <a:pt x="37" y="29"/>
                      </a:lnTo>
                      <a:lnTo>
                        <a:pt x="39" y="29"/>
                      </a:lnTo>
                      <a:lnTo>
                        <a:pt x="40" y="29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2" y="26"/>
                      </a:lnTo>
                      <a:lnTo>
                        <a:pt x="44" y="26"/>
                      </a:lnTo>
                      <a:lnTo>
                        <a:pt x="45" y="26"/>
                      </a:lnTo>
                      <a:lnTo>
                        <a:pt x="47" y="26"/>
                      </a:lnTo>
                      <a:lnTo>
                        <a:pt x="47" y="27"/>
                      </a:lnTo>
                      <a:lnTo>
                        <a:pt x="47" y="26"/>
                      </a:lnTo>
                      <a:lnTo>
                        <a:pt x="49" y="26"/>
                      </a:lnTo>
                      <a:lnTo>
                        <a:pt x="49" y="27"/>
                      </a:lnTo>
                      <a:lnTo>
                        <a:pt x="50" y="26"/>
                      </a:lnTo>
                      <a:lnTo>
                        <a:pt x="50" y="27"/>
                      </a:lnTo>
                      <a:lnTo>
                        <a:pt x="52" y="27"/>
                      </a:lnTo>
                      <a:lnTo>
                        <a:pt x="52" y="26"/>
                      </a:lnTo>
                      <a:lnTo>
                        <a:pt x="54" y="26"/>
                      </a:lnTo>
                      <a:lnTo>
                        <a:pt x="54" y="27"/>
                      </a:lnTo>
                      <a:lnTo>
                        <a:pt x="55" y="29"/>
                      </a:lnTo>
                      <a:lnTo>
                        <a:pt x="55" y="31"/>
                      </a:lnTo>
                      <a:lnTo>
                        <a:pt x="55" y="29"/>
                      </a:lnTo>
                      <a:lnTo>
                        <a:pt x="55" y="31"/>
                      </a:lnTo>
                      <a:lnTo>
                        <a:pt x="57" y="31"/>
                      </a:lnTo>
                      <a:lnTo>
                        <a:pt x="57" y="32"/>
                      </a:lnTo>
                      <a:lnTo>
                        <a:pt x="59" y="32"/>
                      </a:lnTo>
                      <a:lnTo>
                        <a:pt x="59" y="34"/>
                      </a:lnTo>
                      <a:lnTo>
                        <a:pt x="61" y="32"/>
                      </a:lnTo>
                      <a:lnTo>
                        <a:pt x="61" y="34"/>
                      </a:lnTo>
                      <a:lnTo>
                        <a:pt x="62" y="34"/>
                      </a:lnTo>
                      <a:lnTo>
                        <a:pt x="62" y="36"/>
                      </a:lnTo>
                      <a:lnTo>
                        <a:pt x="64" y="36"/>
                      </a:lnTo>
                      <a:lnTo>
                        <a:pt x="66" y="36"/>
                      </a:lnTo>
                      <a:lnTo>
                        <a:pt x="67" y="36"/>
                      </a:lnTo>
                      <a:lnTo>
                        <a:pt x="67" y="37"/>
                      </a:lnTo>
                      <a:lnTo>
                        <a:pt x="69" y="37"/>
                      </a:lnTo>
                      <a:lnTo>
                        <a:pt x="69" y="39"/>
                      </a:lnTo>
                      <a:lnTo>
                        <a:pt x="71" y="39"/>
                      </a:lnTo>
                      <a:lnTo>
                        <a:pt x="72" y="39"/>
                      </a:lnTo>
                      <a:lnTo>
                        <a:pt x="74" y="39"/>
                      </a:lnTo>
                      <a:lnTo>
                        <a:pt x="76" y="39"/>
                      </a:lnTo>
                      <a:lnTo>
                        <a:pt x="76" y="37"/>
                      </a:lnTo>
                      <a:lnTo>
                        <a:pt x="77" y="37"/>
                      </a:lnTo>
                      <a:lnTo>
                        <a:pt x="79" y="37"/>
                      </a:lnTo>
                      <a:lnTo>
                        <a:pt x="79" y="36"/>
                      </a:lnTo>
                      <a:lnTo>
                        <a:pt x="81" y="36"/>
                      </a:lnTo>
                      <a:lnTo>
                        <a:pt x="82" y="36"/>
                      </a:lnTo>
                      <a:lnTo>
                        <a:pt x="82" y="37"/>
                      </a:lnTo>
                      <a:lnTo>
                        <a:pt x="84" y="37"/>
                      </a:lnTo>
                      <a:lnTo>
                        <a:pt x="86" y="37"/>
                      </a:lnTo>
                      <a:lnTo>
                        <a:pt x="88" y="37"/>
                      </a:lnTo>
                      <a:lnTo>
                        <a:pt x="88" y="36"/>
                      </a:lnTo>
                      <a:lnTo>
                        <a:pt x="89" y="36"/>
                      </a:lnTo>
                      <a:lnTo>
                        <a:pt x="89" y="37"/>
                      </a:lnTo>
                      <a:lnTo>
                        <a:pt x="89" y="36"/>
                      </a:lnTo>
                      <a:lnTo>
                        <a:pt x="91" y="36"/>
                      </a:lnTo>
                      <a:lnTo>
                        <a:pt x="91" y="37"/>
                      </a:lnTo>
                      <a:lnTo>
                        <a:pt x="93" y="36"/>
                      </a:lnTo>
                      <a:lnTo>
                        <a:pt x="94" y="36"/>
                      </a:lnTo>
                      <a:lnTo>
                        <a:pt x="96" y="36"/>
                      </a:lnTo>
                      <a:lnTo>
                        <a:pt x="98" y="36"/>
                      </a:lnTo>
                      <a:lnTo>
                        <a:pt x="99" y="36"/>
                      </a:lnTo>
                      <a:lnTo>
                        <a:pt x="101" y="36"/>
                      </a:lnTo>
                      <a:lnTo>
                        <a:pt x="103" y="36"/>
                      </a:lnTo>
                      <a:lnTo>
                        <a:pt x="104" y="36"/>
                      </a:lnTo>
                      <a:lnTo>
                        <a:pt x="104" y="34"/>
                      </a:lnTo>
                      <a:lnTo>
                        <a:pt x="104" y="36"/>
                      </a:lnTo>
                      <a:lnTo>
                        <a:pt x="106" y="36"/>
                      </a:lnTo>
                      <a:lnTo>
                        <a:pt x="108" y="36"/>
                      </a:lnTo>
                      <a:lnTo>
                        <a:pt x="110" y="36"/>
                      </a:lnTo>
                      <a:lnTo>
                        <a:pt x="111" y="36"/>
                      </a:lnTo>
                      <a:lnTo>
                        <a:pt x="111" y="37"/>
                      </a:lnTo>
                      <a:lnTo>
                        <a:pt x="113" y="37"/>
                      </a:lnTo>
                      <a:lnTo>
                        <a:pt x="113" y="39"/>
                      </a:lnTo>
                      <a:lnTo>
                        <a:pt x="115" y="39"/>
                      </a:lnTo>
                      <a:lnTo>
                        <a:pt x="116" y="39"/>
                      </a:lnTo>
                      <a:lnTo>
                        <a:pt x="116" y="41"/>
                      </a:lnTo>
                      <a:lnTo>
                        <a:pt x="116" y="42"/>
                      </a:lnTo>
                      <a:lnTo>
                        <a:pt x="118" y="42"/>
                      </a:lnTo>
                      <a:lnTo>
                        <a:pt x="118" y="41"/>
                      </a:lnTo>
                      <a:lnTo>
                        <a:pt x="120" y="41"/>
                      </a:lnTo>
                      <a:lnTo>
                        <a:pt x="121" y="41"/>
                      </a:lnTo>
                      <a:lnTo>
                        <a:pt x="123" y="41"/>
                      </a:lnTo>
                      <a:lnTo>
                        <a:pt x="125" y="41"/>
                      </a:lnTo>
                      <a:lnTo>
                        <a:pt x="126" y="41"/>
                      </a:lnTo>
                      <a:lnTo>
                        <a:pt x="126" y="42"/>
                      </a:lnTo>
                      <a:lnTo>
                        <a:pt x="128" y="42"/>
                      </a:lnTo>
                      <a:lnTo>
                        <a:pt x="130" y="42"/>
                      </a:lnTo>
                      <a:lnTo>
                        <a:pt x="130" y="44"/>
                      </a:lnTo>
                      <a:lnTo>
                        <a:pt x="131" y="44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5" y="42"/>
                      </a:lnTo>
                      <a:lnTo>
                        <a:pt x="137" y="42"/>
                      </a:lnTo>
                      <a:lnTo>
                        <a:pt x="138" y="42"/>
                      </a:lnTo>
                      <a:lnTo>
                        <a:pt x="138" y="44"/>
                      </a:lnTo>
                      <a:lnTo>
                        <a:pt x="140" y="44"/>
                      </a:lnTo>
                      <a:lnTo>
                        <a:pt x="142" y="44"/>
                      </a:lnTo>
                      <a:lnTo>
                        <a:pt x="143" y="44"/>
                      </a:lnTo>
                      <a:lnTo>
                        <a:pt x="145" y="44"/>
                      </a:lnTo>
                      <a:lnTo>
                        <a:pt x="147" y="44"/>
                      </a:lnTo>
                      <a:lnTo>
                        <a:pt x="147" y="46"/>
                      </a:lnTo>
                      <a:lnTo>
                        <a:pt x="148" y="46"/>
                      </a:lnTo>
                      <a:lnTo>
                        <a:pt x="150" y="46"/>
                      </a:lnTo>
                      <a:lnTo>
                        <a:pt x="152" y="46"/>
                      </a:lnTo>
                      <a:lnTo>
                        <a:pt x="153" y="46"/>
                      </a:lnTo>
                      <a:lnTo>
                        <a:pt x="155" y="46"/>
                      </a:lnTo>
                      <a:lnTo>
                        <a:pt x="157" y="44"/>
                      </a:lnTo>
                      <a:lnTo>
                        <a:pt x="158" y="46"/>
                      </a:lnTo>
                      <a:lnTo>
                        <a:pt x="160" y="47"/>
                      </a:lnTo>
                      <a:lnTo>
                        <a:pt x="162" y="47"/>
                      </a:lnTo>
                      <a:lnTo>
                        <a:pt x="164" y="47"/>
                      </a:lnTo>
                      <a:lnTo>
                        <a:pt x="165" y="47"/>
                      </a:lnTo>
                      <a:lnTo>
                        <a:pt x="165" y="49"/>
                      </a:lnTo>
                      <a:lnTo>
                        <a:pt x="165" y="50"/>
                      </a:lnTo>
                      <a:lnTo>
                        <a:pt x="167" y="50"/>
                      </a:lnTo>
                      <a:lnTo>
                        <a:pt x="167" y="52"/>
                      </a:lnTo>
                      <a:lnTo>
                        <a:pt x="169" y="52"/>
                      </a:lnTo>
                      <a:lnTo>
                        <a:pt x="170" y="52"/>
                      </a:lnTo>
                      <a:lnTo>
                        <a:pt x="172" y="54"/>
                      </a:lnTo>
                      <a:lnTo>
                        <a:pt x="174" y="54"/>
                      </a:lnTo>
                      <a:lnTo>
                        <a:pt x="174" y="55"/>
                      </a:lnTo>
                      <a:lnTo>
                        <a:pt x="175" y="55"/>
                      </a:lnTo>
                      <a:lnTo>
                        <a:pt x="177" y="55"/>
                      </a:lnTo>
                      <a:lnTo>
                        <a:pt x="179" y="57"/>
                      </a:lnTo>
                      <a:lnTo>
                        <a:pt x="179" y="55"/>
                      </a:lnTo>
                      <a:lnTo>
                        <a:pt x="180" y="55"/>
                      </a:lnTo>
                      <a:lnTo>
                        <a:pt x="180" y="57"/>
                      </a:lnTo>
                      <a:lnTo>
                        <a:pt x="182" y="57"/>
                      </a:lnTo>
                      <a:lnTo>
                        <a:pt x="184" y="57"/>
                      </a:lnTo>
                      <a:lnTo>
                        <a:pt x="186" y="57"/>
                      </a:lnTo>
                      <a:lnTo>
                        <a:pt x="186" y="59"/>
                      </a:lnTo>
                      <a:lnTo>
                        <a:pt x="187" y="59"/>
                      </a:lnTo>
                      <a:lnTo>
                        <a:pt x="189" y="57"/>
                      </a:lnTo>
                      <a:lnTo>
                        <a:pt x="189" y="59"/>
                      </a:lnTo>
                      <a:lnTo>
                        <a:pt x="189" y="57"/>
                      </a:lnTo>
                      <a:lnTo>
                        <a:pt x="192" y="57"/>
                      </a:lnTo>
                      <a:lnTo>
                        <a:pt x="194" y="57"/>
                      </a:lnTo>
                      <a:lnTo>
                        <a:pt x="194" y="59"/>
                      </a:lnTo>
                      <a:lnTo>
                        <a:pt x="196" y="59"/>
                      </a:lnTo>
                      <a:lnTo>
                        <a:pt x="196" y="57"/>
                      </a:lnTo>
                      <a:lnTo>
                        <a:pt x="197" y="57"/>
                      </a:lnTo>
                      <a:lnTo>
                        <a:pt x="199" y="57"/>
                      </a:lnTo>
                      <a:lnTo>
                        <a:pt x="201" y="57"/>
                      </a:lnTo>
                      <a:lnTo>
                        <a:pt x="202" y="57"/>
                      </a:lnTo>
                      <a:lnTo>
                        <a:pt x="204" y="57"/>
                      </a:lnTo>
                      <a:lnTo>
                        <a:pt x="204" y="55"/>
                      </a:lnTo>
                      <a:lnTo>
                        <a:pt x="206" y="55"/>
                      </a:lnTo>
                      <a:lnTo>
                        <a:pt x="207" y="55"/>
                      </a:lnTo>
                      <a:lnTo>
                        <a:pt x="209" y="57"/>
                      </a:lnTo>
                      <a:lnTo>
                        <a:pt x="209" y="59"/>
                      </a:lnTo>
                      <a:lnTo>
                        <a:pt x="211" y="57"/>
                      </a:lnTo>
                      <a:lnTo>
                        <a:pt x="213" y="57"/>
                      </a:lnTo>
                      <a:lnTo>
                        <a:pt x="214" y="57"/>
                      </a:lnTo>
                      <a:lnTo>
                        <a:pt x="216" y="57"/>
                      </a:lnTo>
                      <a:lnTo>
                        <a:pt x="218" y="59"/>
                      </a:lnTo>
                      <a:lnTo>
                        <a:pt x="218" y="57"/>
                      </a:lnTo>
                      <a:lnTo>
                        <a:pt x="219" y="59"/>
                      </a:lnTo>
                      <a:lnTo>
                        <a:pt x="221" y="57"/>
                      </a:lnTo>
                      <a:lnTo>
                        <a:pt x="223" y="57"/>
                      </a:lnTo>
                      <a:lnTo>
                        <a:pt x="223" y="59"/>
                      </a:lnTo>
                      <a:lnTo>
                        <a:pt x="223" y="60"/>
                      </a:lnTo>
                      <a:lnTo>
                        <a:pt x="224" y="60"/>
                      </a:lnTo>
                      <a:lnTo>
                        <a:pt x="226" y="60"/>
                      </a:lnTo>
                      <a:lnTo>
                        <a:pt x="226" y="62"/>
                      </a:lnTo>
                      <a:lnTo>
                        <a:pt x="226" y="64"/>
                      </a:lnTo>
                      <a:lnTo>
                        <a:pt x="228" y="65"/>
                      </a:lnTo>
                      <a:lnTo>
                        <a:pt x="228" y="67"/>
                      </a:lnTo>
                      <a:lnTo>
                        <a:pt x="229" y="67"/>
                      </a:lnTo>
                      <a:lnTo>
                        <a:pt x="231" y="69"/>
                      </a:lnTo>
                      <a:lnTo>
                        <a:pt x="229" y="69"/>
                      </a:lnTo>
                      <a:lnTo>
                        <a:pt x="231" y="69"/>
                      </a:lnTo>
                      <a:lnTo>
                        <a:pt x="233" y="69"/>
                      </a:lnTo>
                      <a:lnTo>
                        <a:pt x="233" y="67"/>
                      </a:lnTo>
                      <a:lnTo>
                        <a:pt x="231" y="65"/>
                      </a:lnTo>
                      <a:lnTo>
                        <a:pt x="233" y="65"/>
                      </a:lnTo>
                      <a:lnTo>
                        <a:pt x="233" y="64"/>
                      </a:lnTo>
                      <a:lnTo>
                        <a:pt x="234" y="64"/>
                      </a:lnTo>
                      <a:lnTo>
                        <a:pt x="236" y="64"/>
                      </a:lnTo>
                      <a:lnTo>
                        <a:pt x="238" y="64"/>
                      </a:lnTo>
                      <a:lnTo>
                        <a:pt x="240" y="64"/>
                      </a:lnTo>
                      <a:lnTo>
                        <a:pt x="241" y="64"/>
                      </a:lnTo>
                      <a:lnTo>
                        <a:pt x="243" y="64"/>
                      </a:lnTo>
                      <a:lnTo>
                        <a:pt x="243" y="62"/>
                      </a:lnTo>
                      <a:lnTo>
                        <a:pt x="245" y="62"/>
                      </a:lnTo>
                      <a:lnTo>
                        <a:pt x="245" y="60"/>
                      </a:lnTo>
                      <a:lnTo>
                        <a:pt x="245" y="62"/>
                      </a:lnTo>
                      <a:lnTo>
                        <a:pt x="246" y="60"/>
                      </a:lnTo>
                      <a:lnTo>
                        <a:pt x="246" y="62"/>
                      </a:lnTo>
                      <a:lnTo>
                        <a:pt x="246" y="60"/>
                      </a:lnTo>
                      <a:lnTo>
                        <a:pt x="246" y="62"/>
                      </a:lnTo>
                      <a:lnTo>
                        <a:pt x="246" y="60"/>
                      </a:lnTo>
                      <a:lnTo>
                        <a:pt x="248" y="60"/>
                      </a:lnTo>
                      <a:lnTo>
                        <a:pt x="246" y="59"/>
                      </a:lnTo>
                      <a:lnTo>
                        <a:pt x="248" y="59"/>
                      </a:lnTo>
                      <a:lnTo>
                        <a:pt x="248" y="57"/>
                      </a:lnTo>
                      <a:lnTo>
                        <a:pt x="248" y="55"/>
                      </a:lnTo>
                      <a:lnTo>
                        <a:pt x="250" y="55"/>
                      </a:lnTo>
                      <a:lnTo>
                        <a:pt x="248" y="55"/>
                      </a:lnTo>
                      <a:lnTo>
                        <a:pt x="248" y="54"/>
                      </a:lnTo>
                      <a:lnTo>
                        <a:pt x="246" y="54"/>
                      </a:lnTo>
                      <a:lnTo>
                        <a:pt x="246" y="52"/>
                      </a:lnTo>
                      <a:lnTo>
                        <a:pt x="246" y="50"/>
                      </a:lnTo>
                      <a:lnTo>
                        <a:pt x="245" y="50"/>
                      </a:lnTo>
                      <a:lnTo>
                        <a:pt x="243" y="50"/>
                      </a:lnTo>
                      <a:lnTo>
                        <a:pt x="243" y="49"/>
                      </a:lnTo>
                      <a:lnTo>
                        <a:pt x="245" y="49"/>
                      </a:lnTo>
                      <a:lnTo>
                        <a:pt x="243" y="49"/>
                      </a:lnTo>
                      <a:lnTo>
                        <a:pt x="245" y="49"/>
                      </a:lnTo>
                      <a:lnTo>
                        <a:pt x="245" y="47"/>
                      </a:lnTo>
                      <a:lnTo>
                        <a:pt x="246" y="47"/>
                      </a:lnTo>
                      <a:lnTo>
                        <a:pt x="245" y="47"/>
                      </a:lnTo>
                      <a:lnTo>
                        <a:pt x="245" y="46"/>
                      </a:lnTo>
                      <a:lnTo>
                        <a:pt x="243" y="46"/>
                      </a:lnTo>
                      <a:lnTo>
                        <a:pt x="243" y="44"/>
                      </a:lnTo>
                      <a:lnTo>
                        <a:pt x="241" y="44"/>
                      </a:lnTo>
                      <a:lnTo>
                        <a:pt x="241" y="42"/>
                      </a:lnTo>
                      <a:lnTo>
                        <a:pt x="241" y="41"/>
                      </a:lnTo>
                      <a:lnTo>
                        <a:pt x="243" y="41"/>
                      </a:lnTo>
                      <a:lnTo>
                        <a:pt x="243" y="39"/>
                      </a:lnTo>
                      <a:lnTo>
                        <a:pt x="245" y="39"/>
                      </a:lnTo>
                      <a:lnTo>
                        <a:pt x="245" y="37"/>
                      </a:lnTo>
                      <a:lnTo>
                        <a:pt x="246" y="37"/>
                      </a:lnTo>
                      <a:lnTo>
                        <a:pt x="245" y="37"/>
                      </a:lnTo>
                      <a:lnTo>
                        <a:pt x="245" y="36"/>
                      </a:lnTo>
                      <a:lnTo>
                        <a:pt x="246" y="36"/>
                      </a:lnTo>
                      <a:lnTo>
                        <a:pt x="245" y="36"/>
                      </a:lnTo>
                      <a:lnTo>
                        <a:pt x="245" y="34"/>
                      </a:lnTo>
                      <a:lnTo>
                        <a:pt x="246" y="34"/>
                      </a:lnTo>
                      <a:lnTo>
                        <a:pt x="246" y="32"/>
                      </a:lnTo>
                      <a:lnTo>
                        <a:pt x="248" y="32"/>
                      </a:lnTo>
                      <a:lnTo>
                        <a:pt x="250" y="31"/>
                      </a:lnTo>
                      <a:lnTo>
                        <a:pt x="251" y="31"/>
                      </a:lnTo>
                      <a:lnTo>
                        <a:pt x="253" y="31"/>
                      </a:lnTo>
                      <a:lnTo>
                        <a:pt x="255" y="31"/>
                      </a:lnTo>
                      <a:lnTo>
                        <a:pt x="253" y="29"/>
                      </a:lnTo>
                      <a:lnTo>
                        <a:pt x="255" y="29"/>
                      </a:lnTo>
                      <a:lnTo>
                        <a:pt x="256" y="29"/>
                      </a:lnTo>
                      <a:lnTo>
                        <a:pt x="258" y="29"/>
                      </a:lnTo>
                      <a:lnTo>
                        <a:pt x="260" y="29"/>
                      </a:lnTo>
                      <a:lnTo>
                        <a:pt x="260" y="27"/>
                      </a:lnTo>
                      <a:lnTo>
                        <a:pt x="260" y="26"/>
                      </a:lnTo>
                      <a:lnTo>
                        <a:pt x="262" y="26"/>
                      </a:lnTo>
                      <a:lnTo>
                        <a:pt x="262" y="24"/>
                      </a:lnTo>
                      <a:lnTo>
                        <a:pt x="263" y="26"/>
                      </a:lnTo>
                      <a:lnTo>
                        <a:pt x="265" y="26"/>
                      </a:lnTo>
                      <a:lnTo>
                        <a:pt x="270" y="24"/>
                      </a:lnTo>
                      <a:lnTo>
                        <a:pt x="272" y="26"/>
                      </a:lnTo>
                      <a:lnTo>
                        <a:pt x="272" y="27"/>
                      </a:lnTo>
                      <a:lnTo>
                        <a:pt x="273" y="27"/>
                      </a:lnTo>
                      <a:lnTo>
                        <a:pt x="275" y="29"/>
                      </a:lnTo>
                      <a:lnTo>
                        <a:pt x="275" y="27"/>
                      </a:lnTo>
                      <a:lnTo>
                        <a:pt x="275" y="26"/>
                      </a:lnTo>
                      <a:lnTo>
                        <a:pt x="275" y="24"/>
                      </a:lnTo>
                      <a:lnTo>
                        <a:pt x="277" y="24"/>
                      </a:lnTo>
                      <a:lnTo>
                        <a:pt x="278" y="26"/>
                      </a:lnTo>
                      <a:lnTo>
                        <a:pt x="278" y="27"/>
                      </a:lnTo>
                      <a:lnTo>
                        <a:pt x="278" y="29"/>
                      </a:lnTo>
                      <a:lnTo>
                        <a:pt x="278" y="31"/>
                      </a:lnTo>
                      <a:lnTo>
                        <a:pt x="280" y="29"/>
                      </a:lnTo>
                      <a:lnTo>
                        <a:pt x="280" y="27"/>
                      </a:lnTo>
                      <a:lnTo>
                        <a:pt x="282" y="26"/>
                      </a:lnTo>
                      <a:lnTo>
                        <a:pt x="283" y="26"/>
                      </a:lnTo>
                      <a:lnTo>
                        <a:pt x="283" y="27"/>
                      </a:lnTo>
                      <a:lnTo>
                        <a:pt x="285" y="29"/>
                      </a:lnTo>
                      <a:lnTo>
                        <a:pt x="285" y="27"/>
                      </a:lnTo>
                      <a:lnTo>
                        <a:pt x="285" y="26"/>
                      </a:lnTo>
                      <a:lnTo>
                        <a:pt x="287" y="26"/>
                      </a:lnTo>
                      <a:lnTo>
                        <a:pt x="289" y="24"/>
                      </a:lnTo>
                      <a:lnTo>
                        <a:pt x="290" y="24"/>
                      </a:lnTo>
                      <a:lnTo>
                        <a:pt x="292" y="24"/>
                      </a:lnTo>
                      <a:lnTo>
                        <a:pt x="294" y="24"/>
                      </a:lnTo>
                      <a:lnTo>
                        <a:pt x="294" y="26"/>
                      </a:lnTo>
                      <a:lnTo>
                        <a:pt x="295" y="26"/>
                      </a:lnTo>
                      <a:lnTo>
                        <a:pt x="297" y="26"/>
                      </a:lnTo>
                      <a:lnTo>
                        <a:pt x="295" y="24"/>
                      </a:lnTo>
                      <a:lnTo>
                        <a:pt x="295" y="23"/>
                      </a:lnTo>
                      <a:lnTo>
                        <a:pt x="297" y="21"/>
                      </a:lnTo>
                      <a:lnTo>
                        <a:pt x="299" y="19"/>
                      </a:lnTo>
                      <a:lnTo>
                        <a:pt x="300" y="18"/>
                      </a:lnTo>
                      <a:lnTo>
                        <a:pt x="300" y="16"/>
                      </a:lnTo>
                      <a:lnTo>
                        <a:pt x="302" y="16"/>
                      </a:lnTo>
                      <a:lnTo>
                        <a:pt x="302" y="14"/>
                      </a:lnTo>
                      <a:lnTo>
                        <a:pt x="302" y="13"/>
                      </a:lnTo>
                      <a:lnTo>
                        <a:pt x="304" y="11"/>
                      </a:lnTo>
                      <a:lnTo>
                        <a:pt x="304" y="9"/>
                      </a:lnTo>
                      <a:lnTo>
                        <a:pt x="305" y="9"/>
                      </a:lnTo>
                      <a:lnTo>
                        <a:pt x="307" y="9"/>
                      </a:lnTo>
                      <a:lnTo>
                        <a:pt x="309" y="9"/>
                      </a:lnTo>
                      <a:lnTo>
                        <a:pt x="310" y="9"/>
                      </a:lnTo>
                      <a:lnTo>
                        <a:pt x="312" y="9"/>
                      </a:lnTo>
                      <a:lnTo>
                        <a:pt x="312" y="8"/>
                      </a:lnTo>
                      <a:lnTo>
                        <a:pt x="310" y="8"/>
                      </a:lnTo>
                      <a:lnTo>
                        <a:pt x="309" y="8"/>
                      </a:lnTo>
                      <a:lnTo>
                        <a:pt x="307" y="6"/>
                      </a:lnTo>
                      <a:lnTo>
                        <a:pt x="309" y="6"/>
                      </a:lnTo>
                      <a:lnTo>
                        <a:pt x="309" y="4"/>
                      </a:lnTo>
                      <a:lnTo>
                        <a:pt x="310" y="3"/>
                      </a:lnTo>
                      <a:lnTo>
                        <a:pt x="310" y="4"/>
                      </a:lnTo>
                      <a:lnTo>
                        <a:pt x="312" y="4"/>
                      </a:lnTo>
                      <a:lnTo>
                        <a:pt x="312" y="6"/>
                      </a:lnTo>
                      <a:lnTo>
                        <a:pt x="312" y="8"/>
                      </a:lnTo>
                      <a:lnTo>
                        <a:pt x="312" y="6"/>
                      </a:lnTo>
                      <a:lnTo>
                        <a:pt x="314" y="6"/>
                      </a:lnTo>
                      <a:lnTo>
                        <a:pt x="316" y="6"/>
                      </a:lnTo>
                      <a:lnTo>
                        <a:pt x="317" y="6"/>
                      </a:lnTo>
                      <a:lnTo>
                        <a:pt x="319" y="6"/>
                      </a:lnTo>
                      <a:lnTo>
                        <a:pt x="319" y="4"/>
                      </a:lnTo>
                      <a:lnTo>
                        <a:pt x="319" y="6"/>
                      </a:lnTo>
                      <a:lnTo>
                        <a:pt x="321" y="6"/>
                      </a:lnTo>
                      <a:lnTo>
                        <a:pt x="322" y="6"/>
                      </a:lnTo>
                      <a:lnTo>
                        <a:pt x="322" y="8"/>
                      </a:lnTo>
                      <a:lnTo>
                        <a:pt x="322" y="9"/>
                      </a:lnTo>
                      <a:lnTo>
                        <a:pt x="324" y="9"/>
                      </a:lnTo>
                      <a:lnTo>
                        <a:pt x="326" y="9"/>
                      </a:lnTo>
                      <a:lnTo>
                        <a:pt x="327" y="9"/>
                      </a:lnTo>
                      <a:lnTo>
                        <a:pt x="329" y="11"/>
                      </a:lnTo>
                      <a:lnTo>
                        <a:pt x="331" y="13"/>
                      </a:lnTo>
                      <a:lnTo>
                        <a:pt x="329" y="13"/>
                      </a:lnTo>
                      <a:lnTo>
                        <a:pt x="329" y="14"/>
                      </a:lnTo>
                      <a:lnTo>
                        <a:pt x="331" y="13"/>
                      </a:lnTo>
                      <a:lnTo>
                        <a:pt x="331" y="14"/>
                      </a:lnTo>
                      <a:lnTo>
                        <a:pt x="332" y="16"/>
                      </a:lnTo>
                      <a:lnTo>
                        <a:pt x="334" y="16"/>
                      </a:lnTo>
                      <a:lnTo>
                        <a:pt x="334" y="14"/>
                      </a:lnTo>
                      <a:lnTo>
                        <a:pt x="332" y="14"/>
                      </a:lnTo>
                      <a:lnTo>
                        <a:pt x="334" y="14"/>
                      </a:lnTo>
                      <a:lnTo>
                        <a:pt x="332" y="14"/>
                      </a:lnTo>
                      <a:lnTo>
                        <a:pt x="332" y="13"/>
                      </a:lnTo>
                      <a:lnTo>
                        <a:pt x="334" y="13"/>
                      </a:lnTo>
                      <a:lnTo>
                        <a:pt x="332" y="11"/>
                      </a:lnTo>
                      <a:lnTo>
                        <a:pt x="334" y="11"/>
                      </a:lnTo>
                      <a:lnTo>
                        <a:pt x="334" y="9"/>
                      </a:lnTo>
                      <a:lnTo>
                        <a:pt x="336" y="9"/>
                      </a:lnTo>
                      <a:lnTo>
                        <a:pt x="336" y="8"/>
                      </a:lnTo>
                      <a:lnTo>
                        <a:pt x="338" y="8"/>
                      </a:lnTo>
                      <a:lnTo>
                        <a:pt x="339" y="8"/>
                      </a:lnTo>
                      <a:lnTo>
                        <a:pt x="341" y="8"/>
                      </a:lnTo>
                      <a:lnTo>
                        <a:pt x="339" y="6"/>
                      </a:lnTo>
                      <a:lnTo>
                        <a:pt x="341" y="6"/>
                      </a:lnTo>
                      <a:lnTo>
                        <a:pt x="343" y="6"/>
                      </a:lnTo>
                      <a:lnTo>
                        <a:pt x="343" y="8"/>
                      </a:lnTo>
                      <a:lnTo>
                        <a:pt x="343" y="9"/>
                      </a:lnTo>
                      <a:lnTo>
                        <a:pt x="344" y="8"/>
                      </a:lnTo>
                      <a:lnTo>
                        <a:pt x="344" y="9"/>
                      </a:lnTo>
                      <a:lnTo>
                        <a:pt x="346" y="9"/>
                      </a:lnTo>
                      <a:lnTo>
                        <a:pt x="348" y="11"/>
                      </a:lnTo>
                      <a:lnTo>
                        <a:pt x="348" y="9"/>
                      </a:lnTo>
                      <a:lnTo>
                        <a:pt x="349" y="9"/>
                      </a:lnTo>
                      <a:lnTo>
                        <a:pt x="349" y="8"/>
                      </a:lnTo>
                      <a:lnTo>
                        <a:pt x="349" y="6"/>
                      </a:lnTo>
                      <a:lnTo>
                        <a:pt x="349" y="8"/>
                      </a:lnTo>
                      <a:lnTo>
                        <a:pt x="348" y="8"/>
                      </a:lnTo>
                      <a:lnTo>
                        <a:pt x="348" y="6"/>
                      </a:lnTo>
                      <a:lnTo>
                        <a:pt x="349" y="6"/>
                      </a:lnTo>
                      <a:lnTo>
                        <a:pt x="351" y="6"/>
                      </a:lnTo>
                      <a:lnTo>
                        <a:pt x="349" y="8"/>
                      </a:lnTo>
                      <a:lnTo>
                        <a:pt x="349" y="9"/>
                      </a:lnTo>
                      <a:lnTo>
                        <a:pt x="351" y="9"/>
                      </a:lnTo>
                      <a:lnTo>
                        <a:pt x="351" y="8"/>
                      </a:lnTo>
                      <a:lnTo>
                        <a:pt x="353" y="8"/>
                      </a:lnTo>
                      <a:lnTo>
                        <a:pt x="353" y="9"/>
                      </a:lnTo>
                      <a:lnTo>
                        <a:pt x="353" y="8"/>
                      </a:lnTo>
                      <a:lnTo>
                        <a:pt x="354" y="8"/>
                      </a:lnTo>
                      <a:lnTo>
                        <a:pt x="354" y="9"/>
                      </a:lnTo>
                      <a:lnTo>
                        <a:pt x="354" y="8"/>
                      </a:lnTo>
                      <a:lnTo>
                        <a:pt x="356" y="8"/>
                      </a:lnTo>
                      <a:lnTo>
                        <a:pt x="356" y="6"/>
                      </a:lnTo>
                      <a:lnTo>
                        <a:pt x="356" y="8"/>
                      </a:lnTo>
                      <a:lnTo>
                        <a:pt x="358" y="8"/>
                      </a:lnTo>
                      <a:lnTo>
                        <a:pt x="358" y="6"/>
                      </a:lnTo>
                      <a:lnTo>
                        <a:pt x="359" y="6"/>
                      </a:lnTo>
                      <a:lnTo>
                        <a:pt x="361" y="6"/>
                      </a:lnTo>
                      <a:lnTo>
                        <a:pt x="363" y="6"/>
                      </a:lnTo>
                      <a:lnTo>
                        <a:pt x="363" y="8"/>
                      </a:lnTo>
                      <a:lnTo>
                        <a:pt x="365" y="8"/>
                      </a:lnTo>
                      <a:lnTo>
                        <a:pt x="363" y="6"/>
                      </a:lnTo>
                      <a:lnTo>
                        <a:pt x="363" y="4"/>
                      </a:lnTo>
                      <a:lnTo>
                        <a:pt x="365" y="4"/>
                      </a:lnTo>
                      <a:lnTo>
                        <a:pt x="366" y="4"/>
                      </a:lnTo>
                      <a:lnTo>
                        <a:pt x="368" y="4"/>
                      </a:lnTo>
                      <a:lnTo>
                        <a:pt x="368" y="6"/>
                      </a:lnTo>
                      <a:lnTo>
                        <a:pt x="368" y="8"/>
                      </a:lnTo>
                      <a:lnTo>
                        <a:pt x="366" y="8"/>
                      </a:lnTo>
                      <a:lnTo>
                        <a:pt x="366" y="9"/>
                      </a:lnTo>
                      <a:lnTo>
                        <a:pt x="368" y="8"/>
                      </a:lnTo>
                      <a:lnTo>
                        <a:pt x="368" y="6"/>
                      </a:lnTo>
                      <a:lnTo>
                        <a:pt x="370" y="6"/>
                      </a:lnTo>
                      <a:lnTo>
                        <a:pt x="368" y="6"/>
                      </a:lnTo>
                      <a:lnTo>
                        <a:pt x="368" y="4"/>
                      </a:lnTo>
                      <a:lnTo>
                        <a:pt x="370" y="4"/>
                      </a:lnTo>
                      <a:lnTo>
                        <a:pt x="371" y="4"/>
                      </a:lnTo>
                      <a:lnTo>
                        <a:pt x="370" y="4"/>
                      </a:lnTo>
                      <a:lnTo>
                        <a:pt x="370" y="6"/>
                      </a:lnTo>
                      <a:lnTo>
                        <a:pt x="371" y="6"/>
                      </a:lnTo>
                      <a:lnTo>
                        <a:pt x="373" y="6"/>
                      </a:lnTo>
                      <a:lnTo>
                        <a:pt x="375" y="6"/>
                      </a:lnTo>
                      <a:lnTo>
                        <a:pt x="376" y="6"/>
                      </a:lnTo>
                      <a:lnTo>
                        <a:pt x="376" y="8"/>
                      </a:lnTo>
                      <a:lnTo>
                        <a:pt x="378" y="8"/>
                      </a:lnTo>
                      <a:lnTo>
                        <a:pt x="378" y="9"/>
                      </a:lnTo>
                      <a:lnTo>
                        <a:pt x="380" y="9"/>
                      </a:lnTo>
                      <a:lnTo>
                        <a:pt x="380" y="8"/>
                      </a:lnTo>
                      <a:lnTo>
                        <a:pt x="380" y="9"/>
                      </a:lnTo>
                      <a:lnTo>
                        <a:pt x="380" y="11"/>
                      </a:lnTo>
                      <a:lnTo>
                        <a:pt x="380" y="9"/>
                      </a:lnTo>
                      <a:lnTo>
                        <a:pt x="380" y="11"/>
                      </a:lnTo>
                      <a:lnTo>
                        <a:pt x="381" y="11"/>
                      </a:lnTo>
                      <a:lnTo>
                        <a:pt x="381" y="13"/>
                      </a:lnTo>
                      <a:lnTo>
                        <a:pt x="381" y="11"/>
                      </a:lnTo>
                      <a:lnTo>
                        <a:pt x="383" y="11"/>
                      </a:lnTo>
                      <a:lnTo>
                        <a:pt x="383" y="13"/>
                      </a:lnTo>
                      <a:lnTo>
                        <a:pt x="383" y="14"/>
                      </a:lnTo>
                      <a:lnTo>
                        <a:pt x="385" y="14"/>
                      </a:lnTo>
                      <a:lnTo>
                        <a:pt x="385" y="13"/>
                      </a:lnTo>
                      <a:lnTo>
                        <a:pt x="385" y="14"/>
                      </a:lnTo>
                      <a:lnTo>
                        <a:pt x="386" y="14"/>
                      </a:lnTo>
                      <a:lnTo>
                        <a:pt x="386" y="13"/>
                      </a:lnTo>
                      <a:lnTo>
                        <a:pt x="385" y="13"/>
                      </a:lnTo>
                      <a:lnTo>
                        <a:pt x="386" y="13"/>
                      </a:lnTo>
                      <a:lnTo>
                        <a:pt x="386" y="14"/>
                      </a:lnTo>
                      <a:lnTo>
                        <a:pt x="388" y="14"/>
                      </a:lnTo>
                      <a:lnTo>
                        <a:pt x="388" y="16"/>
                      </a:lnTo>
                      <a:lnTo>
                        <a:pt x="390" y="16"/>
                      </a:lnTo>
                      <a:lnTo>
                        <a:pt x="390" y="18"/>
                      </a:lnTo>
                      <a:lnTo>
                        <a:pt x="390" y="19"/>
                      </a:lnTo>
                      <a:lnTo>
                        <a:pt x="392" y="18"/>
                      </a:lnTo>
                      <a:lnTo>
                        <a:pt x="393" y="18"/>
                      </a:lnTo>
                      <a:lnTo>
                        <a:pt x="393" y="19"/>
                      </a:lnTo>
                      <a:lnTo>
                        <a:pt x="395" y="19"/>
                      </a:lnTo>
                      <a:lnTo>
                        <a:pt x="395" y="21"/>
                      </a:lnTo>
                      <a:lnTo>
                        <a:pt x="393" y="21"/>
                      </a:lnTo>
                      <a:lnTo>
                        <a:pt x="395" y="21"/>
                      </a:lnTo>
                      <a:lnTo>
                        <a:pt x="397" y="21"/>
                      </a:lnTo>
                      <a:lnTo>
                        <a:pt x="398" y="21"/>
                      </a:lnTo>
                      <a:lnTo>
                        <a:pt x="397" y="21"/>
                      </a:lnTo>
                      <a:lnTo>
                        <a:pt x="397" y="23"/>
                      </a:lnTo>
                      <a:lnTo>
                        <a:pt x="398" y="23"/>
                      </a:lnTo>
                      <a:lnTo>
                        <a:pt x="398" y="21"/>
                      </a:lnTo>
                      <a:lnTo>
                        <a:pt x="400" y="21"/>
                      </a:lnTo>
                      <a:lnTo>
                        <a:pt x="400" y="23"/>
                      </a:lnTo>
                      <a:lnTo>
                        <a:pt x="398" y="23"/>
                      </a:lnTo>
                      <a:lnTo>
                        <a:pt x="400" y="23"/>
                      </a:lnTo>
                      <a:lnTo>
                        <a:pt x="402" y="23"/>
                      </a:lnTo>
                      <a:lnTo>
                        <a:pt x="402" y="24"/>
                      </a:lnTo>
                      <a:lnTo>
                        <a:pt x="403" y="24"/>
                      </a:lnTo>
                      <a:lnTo>
                        <a:pt x="403" y="23"/>
                      </a:lnTo>
                      <a:lnTo>
                        <a:pt x="403" y="24"/>
                      </a:lnTo>
                      <a:lnTo>
                        <a:pt x="403" y="23"/>
                      </a:lnTo>
                      <a:lnTo>
                        <a:pt x="405" y="23"/>
                      </a:lnTo>
                      <a:lnTo>
                        <a:pt x="405" y="24"/>
                      </a:lnTo>
                      <a:lnTo>
                        <a:pt x="407" y="26"/>
                      </a:lnTo>
                      <a:lnTo>
                        <a:pt x="407" y="24"/>
                      </a:lnTo>
                      <a:lnTo>
                        <a:pt x="408" y="24"/>
                      </a:lnTo>
                      <a:lnTo>
                        <a:pt x="408" y="23"/>
                      </a:lnTo>
                      <a:lnTo>
                        <a:pt x="408" y="24"/>
                      </a:lnTo>
                      <a:lnTo>
                        <a:pt x="408" y="23"/>
                      </a:lnTo>
                      <a:lnTo>
                        <a:pt x="410" y="24"/>
                      </a:lnTo>
                      <a:lnTo>
                        <a:pt x="412" y="24"/>
                      </a:lnTo>
                      <a:lnTo>
                        <a:pt x="412" y="23"/>
                      </a:lnTo>
                      <a:lnTo>
                        <a:pt x="412" y="21"/>
                      </a:lnTo>
                      <a:lnTo>
                        <a:pt x="414" y="21"/>
                      </a:lnTo>
                      <a:lnTo>
                        <a:pt x="412" y="21"/>
                      </a:lnTo>
                      <a:lnTo>
                        <a:pt x="414" y="21"/>
                      </a:lnTo>
                      <a:lnTo>
                        <a:pt x="414" y="19"/>
                      </a:lnTo>
                      <a:lnTo>
                        <a:pt x="414" y="21"/>
                      </a:lnTo>
                      <a:lnTo>
                        <a:pt x="414" y="19"/>
                      </a:lnTo>
                      <a:lnTo>
                        <a:pt x="415" y="19"/>
                      </a:lnTo>
                      <a:lnTo>
                        <a:pt x="415" y="18"/>
                      </a:lnTo>
                      <a:lnTo>
                        <a:pt x="417" y="18"/>
                      </a:lnTo>
                      <a:lnTo>
                        <a:pt x="417" y="19"/>
                      </a:lnTo>
                      <a:lnTo>
                        <a:pt x="417" y="18"/>
                      </a:lnTo>
                      <a:lnTo>
                        <a:pt x="417" y="19"/>
                      </a:lnTo>
                      <a:lnTo>
                        <a:pt x="419" y="19"/>
                      </a:lnTo>
                      <a:lnTo>
                        <a:pt x="419" y="18"/>
                      </a:lnTo>
                      <a:lnTo>
                        <a:pt x="420" y="19"/>
                      </a:lnTo>
                      <a:lnTo>
                        <a:pt x="420" y="18"/>
                      </a:lnTo>
                      <a:lnTo>
                        <a:pt x="419" y="18"/>
                      </a:lnTo>
                      <a:lnTo>
                        <a:pt x="420" y="18"/>
                      </a:lnTo>
                      <a:lnTo>
                        <a:pt x="422" y="18"/>
                      </a:lnTo>
                      <a:lnTo>
                        <a:pt x="424" y="18"/>
                      </a:lnTo>
                      <a:lnTo>
                        <a:pt x="424" y="16"/>
                      </a:lnTo>
                      <a:lnTo>
                        <a:pt x="424" y="18"/>
                      </a:lnTo>
                      <a:lnTo>
                        <a:pt x="424" y="16"/>
                      </a:lnTo>
                      <a:lnTo>
                        <a:pt x="425" y="16"/>
                      </a:lnTo>
                      <a:lnTo>
                        <a:pt x="427" y="14"/>
                      </a:lnTo>
                      <a:lnTo>
                        <a:pt x="427" y="16"/>
                      </a:lnTo>
                      <a:lnTo>
                        <a:pt x="427" y="14"/>
                      </a:lnTo>
                      <a:lnTo>
                        <a:pt x="429" y="14"/>
                      </a:lnTo>
                      <a:lnTo>
                        <a:pt x="429" y="13"/>
                      </a:lnTo>
                      <a:lnTo>
                        <a:pt x="430" y="13"/>
                      </a:lnTo>
                      <a:lnTo>
                        <a:pt x="430" y="14"/>
                      </a:lnTo>
                      <a:lnTo>
                        <a:pt x="430" y="13"/>
                      </a:lnTo>
                      <a:lnTo>
                        <a:pt x="432" y="13"/>
                      </a:lnTo>
                      <a:lnTo>
                        <a:pt x="430" y="13"/>
                      </a:lnTo>
                      <a:lnTo>
                        <a:pt x="432" y="13"/>
                      </a:lnTo>
                      <a:lnTo>
                        <a:pt x="430" y="11"/>
                      </a:lnTo>
                      <a:lnTo>
                        <a:pt x="432" y="11"/>
                      </a:lnTo>
                      <a:lnTo>
                        <a:pt x="434" y="11"/>
                      </a:lnTo>
                      <a:lnTo>
                        <a:pt x="434" y="9"/>
                      </a:lnTo>
                      <a:lnTo>
                        <a:pt x="435" y="9"/>
                      </a:lnTo>
                      <a:lnTo>
                        <a:pt x="435" y="8"/>
                      </a:lnTo>
                      <a:lnTo>
                        <a:pt x="437" y="6"/>
                      </a:lnTo>
                      <a:close/>
                      <a:moveTo>
                        <a:pt x="508" y="19"/>
                      </a:moveTo>
                      <a:lnTo>
                        <a:pt x="508" y="18"/>
                      </a:lnTo>
                      <a:lnTo>
                        <a:pt x="508" y="19"/>
                      </a:lnTo>
                      <a:close/>
                      <a:moveTo>
                        <a:pt x="508" y="21"/>
                      </a:moveTo>
                      <a:lnTo>
                        <a:pt x="508" y="19"/>
                      </a:lnTo>
                      <a:lnTo>
                        <a:pt x="508" y="21"/>
                      </a:lnTo>
                      <a:close/>
                      <a:moveTo>
                        <a:pt x="508" y="21"/>
                      </a:moveTo>
                      <a:lnTo>
                        <a:pt x="508" y="19"/>
                      </a:lnTo>
                      <a:lnTo>
                        <a:pt x="508" y="21"/>
                      </a:lnTo>
                      <a:close/>
                      <a:moveTo>
                        <a:pt x="506" y="23"/>
                      </a:moveTo>
                      <a:lnTo>
                        <a:pt x="508" y="23"/>
                      </a:lnTo>
                      <a:lnTo>
                        <a:pt x="506" y="23"/>
                      </a:lnTo>
                      <a:close/>
                      <a:moveTo>
                        <a:pt x="500" y="46"/>
                      </a:moveTo>
                      <a:lnTo>
                        <a:pt x="498" y="46"/>
                      </a:lnTo>
                      <a:lnTo>
                        <a:pt x="500" y="46"/>
                      </a:lnTo>
                      <a:close/>
                      <a:moveTo>
                        <a:pt x="500" y="47"/>
                      </a:moveTo>
                      <a:lnTo>
                        <a:pt x="498" y="47"/>
                      </a:lnTo>
                      <a:lnTo>
                        <a:pt x="498" y="46"/>
                      </a:lnTo>
                      <a:lnTo>
                        <a:pt x="500" y="47"/>
                      </a:lnTo>
                      <a:close/>
                      <a:moveTo>
                        <a:pt x="491" y="210"/>
                      </a:moveTo>
                      <a:lnTo>
                        <a:pt x="493" y="210"/>
                      </a:lnTo>
                      <a:lnTo>
                        <a:pt x="491" y="210"/>
                      </a:lnTo>
                      <a:close/>
                      <a:moveTo>
                        <a:pt x="491" y="211"/>
                      </a:moveTo>
                      <a:lnTo>
                        <a:pt x="491" y="210"/>
                      </a:lnTo>
                      <a:lnTo>
                        <a:pt x="491" y="211"/>
                      </a:lnTo>
                      <a:close/>
                      <a:moveTo>
                        <a:pt x="493" y="218"/>
                      </a:moveTo>
                      <a:lnTo>
                        <a:pt x="493" y="216"/>
                      </a:lnTo>
                      <a:lnTo>
                        <a:pt x="493" y="218"/>
                      </a:lnTo>
                      <a:close/>
                      <a:moveTo>
                        <a:pt x="503" y="182"/>
                      </a:moveTo>
                      <a:lnTo>
                        <a:pt x="501" y="182"/>
                      </a:lnTo>
                      <a:lnTo>
                        <a:pt x="503" y="182"/>
                      </a:lnTo>
                      <a:close/>
                      <a:moveTo>
                        <a:pt x="500" y="175"/>
                      </a:moveTo>
                      <a:lnTo>
                        <a:pt x="498" y="175"/>
                      </a:lnTo>
                      <a:lnTo>
                        <a:pt x="500" y="174"/>
                      </a:lnTo>
                      <a:lnTo>
                        <a:pt x="500" y="175"/>
                      </a:lnTo>
                      <a:close/>
                      <a:moveTo>
                        <a:pt x="495" y="187"/>
                      </a:moveTo>
                      <a:lnTo>
                        <a:pt x="496" y="187"/>
                      </a:lnTo>
                      <a:lnTo>
                        <a:pt x="495" y="187"/>
                      </a:lnTo>
                      <a:close/>
                      <a:moveTo>
                        <a:pt x="522" y="121"/>
                      </a:moveTo>
                      <a:lnTo>
                        <a:pt x="523" y="121"/>
                      </a:lnTo>
                      <a:lnTo>
                        <a:pt x="522" y="121"/>
                      </a:lnTo>
                      <a:close/>
                      <a:moveTo>
                        <a:pt x="520" y="123"/>
                      </a:moveTo>
                      <a:lnTo>
                        <a:pt x="518" y="123"/>
                      </a:lnTo>
                      <a:lnTo>
                        <a:pt x="518" y="121"/>
                      </a:lnTo>
                      <a:lnTo>
                        <a:pt x="520" y="121"/>
                      </a:lnTo>
                      <a:lnTo>
                        <a:pt x="520" y="123"/>
                      </a:lnTo>
                      <a:close/>
                      <a:moveTo>
                        <a:pt x="503" y="124"/>
                      </a:moveTo>
                      <a:lnTo>
                        <a:pt x="503" y="123"/>
                      </a:lnTo>
                      <a:lnTo>
                        <a:pt x="503" y="124"/>
                      </a:lnTo>
                      <a:close/>
                      <a:moveTo>
                        <a:pt x="500" y="136"/>
                      </a:moveTo>
                      <a:lnTo>
                        <a:pt x="500" y="134"/>
                      </a:lnTo>
                      <a:lnTo>
                        <a:pt x="500" y="136"/>
                      </a:lnTo>
                      <a:close/>
                      <a:moveTo>
                        <a:pt x="506" y="136"/>
                      </a:moveTo>
                      <a:lnTo>
                        <a:pt x="508" y="136"/>
                      </a:lnTo>
                      <a:lnTo>
                        <a:pt x="510" y="134"/>
                      </a:lnTo>
                      <a:lnTo>
                        <a:pt x="511" y="134"/>
                      </a:lnTo>
                      <a:lnTo>
                        <a:pt x="513" y="134"/>
                      </a:lnTo>
                      <a:lnTo>
                        <a:pt x="513" y="133"/>
                      </a:lnTo>
                      <a:lnTo>
                        <a:pt x="513" y="134"/>
                      </a:lnTo>
                      <a:lnTo>
                        <a:pt x="513" y="133"/>
                      </a:lnTo>
                      <a:lnTo>
                        <a:pt x="513" y="131"/>
                      </a:lnTo>
                      <a:lnTo>
                        <a:pt x="515" y="131"/>
                      </a:lnTo>
                      <a:lnTo>
                        <a:pt x="515" y="133"/>
                      </a:lnTo>
                      <a:lnTo>
                        <a:pt x="517" y="134"/>
                      </a:lnTo>
                      <a:lnTo>
                        <a:pt x="517" y="136"/>
                      </a:lnTo>
                      <a:lnTo>
                        <a:pt x="518" y="136"/>
                      </a:lnTo>
                      <a:lnTo>
                        <a:pt x="520" y="136"/>
                      </a:lnTo>
                      <a:lnTo>
                        <a:pt x="520" y="138"/>
                      </a:lnTo>
                      <a:lnTo>
                        <a:pt x="518" y="138"/>
                      </a:lnTo>
                      <a:lnTo>
                        <a:pt x="518" y="139"/>
                      </a:lnTo>
                      <a:lnTo>
                        <a:pt x="518" y="141"/>
                      </a:lnTo>
                      <a:lnTo>
                        <a:pt x="517" y="141"/>
                      </a:lnTo>
                      <a:lnTo>
                        <a:pt x="515" y="142"/>
                      </a:lnTo>
                      <a:lnTo>
                        <a:pt x="515" y="144"/>
                      </a:lnTo>
                      <a:lnTo>
                        <a:pt x="513" y="146"/>
                      </a:lnTo>
                      <a:lnTo>
                        <a:pt x="513" y="147"/>
                      </a:lnTo>
                      <a:lnTo>
                        <a:pt x="513" y="149"/>
                      </a:lnTo>
                      <a:lnTo>
                        <a:pt x="515" y="149"/>
                      </a:lnTo>
                      <a:lnTo>
                        <a:pt x="515" y="151"/>
                      </a:lnTo>
                      <a:lnTo>
                        <a:pt x="513" y="151"/>
                      </a:lnTo>
                      <a:lnTo>
                        <a:pt x="513" y="152"/>
                      </a:lnTo>
                      <a:lnTo>
                        <a:pt x="511" y="152"/>
                      </a:lnTo>
                      <a:lnTo>
                        <a:pt x="511" y="154"/>
                      </a:lnTo>
                      <a:lnTo>
                        <a:pt x="510" y="156"/>
                      </a:lnTo>
                      <a:lnTo>
                        <a:pt x="508" y="157"/>
                      </a:lnTo>
                      <a:lnTo>
                        <a:pt x="508" y="159"/>
                      </a:lnTo>
                      <a:lnTo>
                        <a:pt x="506" y="161"/>
                      </a:lnTo>
                      <a:lnTo>
                        <a:pt x="506" y="162"/>
                      </a:lnTo>
                      <a:lnTo>
                        <a:pt x="506" y="164"/>
                      </a:lnTo>
                      <a:lnTo>
                        <a:pt x="506" y="165"/>
                      </a:lnTo>
                      <a:lnTo>
                        <a:pt x="506" y="164"/>
                      </a:lnTo>
                      <a:lnTo>
                        <a:pt x="506" y="165"/>
                      </a:lnTo>
                      <a:lnTo>
                        <a:pt x="508" y="165"/>
                      </a:lnTo>
                      <a:lnTo>
                        <a:pt x="508" y="167"/>
                      </a:lnTo>
                      <a:lnTo>
                        <a:pt x="508" y="169"/>
                      </a:lnTo>
                      <a:lnTo>
                        <a:pt x="506" y="169"/>
                      </a:lnTo>
                      <a:lnTo>
                        <a:pt x="506" y="167"/>
                      </a:lnTo>
                      <a:lnTo>
                        <a:pt x="505" y="167"/>
                      </a:lnTo>
                      <a:lnTo>
                        <a:pt x="503" y="169"/>
                      </a:lnTo>
                      <a:lnTo>
                        <a:pt x="503" y="170"/>
                      </a:lnTo>
                      <a:lnTo>
                        <a:pt x="503" y="172"/>
                      </a:lnTo>
                      <a:lnTo>
                        <a:pt x="501" y="172"/>
                      </a:lnTo>
                      <a:lnTo>
                        <a:pt x="501" y="174"/>
                      </a:lnTo>
                      <a:lnTo>
                        <a:pt x="501" y="172"/>
                      </a:lnTo>
                      <a:lnTo>
                        <a:pt x="500" y="172"/>
                      </a:lnTo>
                      <a:lnTo>
                        <a:pt x="500" y="170"/>
                      </a:lnTo>
                      <a:lnTo>
                        <a:pt x="501" y="170"/>
                      </a:lnTo>
                      <a:lnTo>
                        <a:pt x="500" y="170"/>
                      </a:lnTo>
                      <a:lnTo>
                        <a:pt x="500" y="169"/>
                      </a:lnTo>
                      <a:lnTo>
                        <a:pt x="501" y="169"/>
                      </a:lnTo>
                      <a:lnTo>
                        <a:pt x="500" y="169"/>
                      </a:lnTo>
                      <a:lnTo>
                        <a:pt x="500" y="167"/>
                      </a:lnTo>
                      <a:lnTo>
                        <a:pt x="500" y="165"/>
                      </a:lnTo>
                      <a:lnTo>
                        <a:pt x="498" y="165"/>
                      </a:lnTo>
                      <a:lnTo>
                        <a:pt x="500" y="165"/>
                      </a:lnTo>
                      <a:lnTo>
                        <a:pt x="501" y="165"/>
                      </a:lnTo>
                      <a:lnTo>
                        <a:pt x="501" y="164"/>
                      </a:lnTo>
                      <a:lnTo>
                        <a:pt x="501" y="162"/>
                      </a:lnTo>
                      <a:lnTo>
                        <a:pt x="500" y="162"/>
                      </a:lnTo>
                      <a:lnTo>
                        <a:pt x="501" y="161"/>
                      </a:lnTo>
                      <a:lnTo>
                        <a:pt x="501" y="159"/>
                      </a:lnTo>
                      <a:lnTo>
                        <a:pt x="500" y="159"/>
                      </a:lnTo>
                      <a:lnTo>
                        <a:pt x="500" y="157"/>
                      </a:lnTo>
                      <a:lnTo>
                        <a:pt x="501" y="156"/>
                      </a:lnTo>
                      <a:lnTo>
                        <a:pt x="503" y="156"/>
                      </a:lnTo>
                      <a:lnTo>
                        <a:pt x="505" y="156"/>
                      </a:lnTo>
                      <a:lnTo>
                        <a:pt x="505" y="154"/>
                      </a:lnTo>
                      <a:lnTo>
                        <a:pt x="503" y="152"/>
                      </a:lnTo>
                      <a:lnTo>
                        <a:pt x="501" y="152"/>
                      </a:lnTo>
                      <a:lnTo>
                        <a:pt x="501" y="151"/>
                      </a:lnTo>
                      <a:lnTo>
                        <a:pt x="500" y="151"/>
                      </a:lnTo>
                      <a:lnTo>
                        <a:pt x="501" y="151"/>
                      </a:lnTo>
                      <a:lnTo>
                        <a:pt x="501" y="149"/>
                      </a:lnTo>
                      <a:lnTo>
                        <a:pt x="503" y="149"/>
                      </a:lnTo>
                      <a:lnTo>
                        <a:pt x="503" y="147"/>
                      </a:lnTo>
                      <a:lnTo>
                        <a:pt x="503" y="149"/>
                      </a:lnTo>
                      <a:lnTo>
                        <a:pt x="505" y="149"/>
                      </a:lnTo>
                      <a:lnTo>
                        <a:pt x="505" y="147"/>
                      </a:lnTo>
                      <a:lnTo>
                        <a:pt x="505" y="146"/>
                      </a:lnTo>
                      <a:lnTo>
                        <a:pt x="506" y="146"/>
                      </a:lnTo>
                      <a:lnTo>
                        <a:pt x="505" y="146"/>
                      </a:lnTo>
                      <a:lnTo>
                        <a:pt x="503" y="146"/>
                      </a:lnTo>
                      <a:lnTo>
                        <a:pt x="505" y="144"/>
                      </a:lnTo>
                      <a:lnTo>
                        <a:pt x="503" y="144"/>
                      </a:lnTo>
                      <a:lnTo>
                        <a:pt x="505" y="144"/>
                      </a:lnTo>
                      <a:lnTo>
                        <a:pt x="505" y="142"/>
                      </a:lnTo>
                      <a:lnTo>
                        <a:pt x="505" y="141"/>
                      </a:lnTo>
                      <a:lnTo>
                        <a:pt x="503" y="141"/>
                      </a:lnTo>
                      <a:lnTo>
                        <a:pt x="503" y="139"/>
                      </a:lnTo>
                      <a:lnTo>
                        <a:pt x="505" y="138"/>
                      </a:lnTo>
                      <a:lnTo>
                        <a:pt x="505" y="139"/>
                      </a:lnTo>
                      <a:lnTo>
                        <a:pt x="505" y="138"/>
                      </a:lnTo>
                      <a:lnTo>
                        <a:pt x="503" y="138"/>
                      </a:lnTo>
                      <a:lnTo>
                        <a:pt x="501" y="138"/>
                      </a:lnTo>
                      <a:lnTo>
                        <a:pt x="503" y="138"/>
                      </a:lnTo>
                      <a:lnTo>
                        <a:pt x="503" y="136"/>
                      </a:lnTo>
                      <a:lnTo>
                        <a:pt x="505" y="136"/>
                      </a:lnTo>
                      <a:lnTo>
                        <a:pt x="506" y="136"/>
                      </a:lnTo>
                      <a:close/>
                      <a:moveTo>
                        <a:pt x="520" y="134"/>
                      </a:moveTo>
                      <a:lnTo>
                        <a:pt x="518" y="134"/>
                      </a:lnTo>
                      <a:lnTo>
                        <a:pt x="520" y="134"/>
                      </a:lnTo>
                      <a:close/>
                      <a:moveTo>
                        <a:pt x="500" y="139"/>
                      </a:moveTo>
                      <a:lnTo>
                        <a:pt x="501" y="139"/>
                      </a:lnTo>
                      <a:lnTo>
                        <a:pt x="500" y="139"/>
                      </a:lnTo>
                      <a:close/>
                      <a:moveTo>
                        <a:pt x="501" y="147"/>
                      </a:moveTo>
                      <a:lnTo>
                        <a:pt x="501" y="146"/>
                      </a:lnTo>
                      <a:lnTo>
                        <a:pt x="501" y="147"/>
                      </a:lnTo>
                      <a:close/>
                      <a:moveTo>
                        <a:pt x="517" y="152"/>
                      </a:moveTo>
                      <a:lnTo>
                        <a:pt x="518" y="152"/>
                      </a:lnTo>
                      <a:lnTo>
                        <a:pt x="517" y="152"/>
                      </a:lnTo>
                      <a:close/>
                      <a:moveTo>
                        <a:pt x="510" y="159"/>
                      </a:moveTo>
                      <a:lnTo>
                        <a:pt x="510" y="161"/>
                      </a:lnTo>
                      <a:lnTo>
                        <a:pt x="510" y="159"/>
                      </a:lnTo>
                      <a:close/>
                      <a:moveTo>
                        <a:pt x="503" y="172"/>
                      </a:moveTo>
                      <a:lnTo>
                        <a:pt x="505" y="172"/>
                      </a:lnTo>
                      <a:lnTo>
                        <a:pt x="503" y="172"/>
                      </a:lnTo>
                      <a:close/>
                      <a:moveTo>
                        <a:pt x="503" y="174"/>
                      </a:moveTo>
                      <a:lnTo>
                        <a:pt x="505" y="172"/>
                      </a:lnTo>
                      <a:lnTo>
                        <a:pt x="505" y="174"/>
                      </a:lnTo>
                      <a:lnTo>
                        <a:pt x="503" y="174"/>
                      </a:lnTo>
                      <a:close/>
                      <a:moveTo>
                        <a:pt x="506" y="174"/>
                      </a:moveTo>
                      <a:lnTo>
                        <a:pt x="506" y="172"/>
                      </a:lnTo>
                      <a:lnTo>
                        <a:pt x="506" y="174"/>
                      </a:lnTo>
                      <a:close/>
                      <a:moveTo>
                        <a:pt x="501" y="110"/>
                      </a:moveTo>
                      <a:lnTo>
                        <a:pt x="501" y="108"/>
                      </a:lnTo>
                      <a:lnTo>
                        <a:pt x="503" y="108"/>
                      </a:lnTo>
                      <a:lnTo>
                        <a:pt x="501" y="110"/>
                      </a:lnTo>
                      <a:close/>
                      <a:moveTo>
                        <a:pt x="515" y="113"/>
                      </a:moveTo>
                      <a:lnTo>
                        <a:pt x="515" y="111"/>
                      </a:lnTo>
                      <a:lnTo>
                        <a:pt x="515" y="113"/>
                      </a:lnTo>
                      <a:close/>
                      <a:moveTo>
                        <a:pt x="517" y="113"/>
                      </a:moveTo>
                      <a:lnTo>
                        <a:pt x="517" y="111"/>
                      </a:lnTo>
                      <a:lnTo>
                        <a:pt x="517" y="113"/>
                      </a:lnTo>
                      <a:close/>
                      <a:moveTo>
                        <a:pt x="510" y="115"/>
                      </a:moveTo>
                      <a:lnTo>
                        <a:pt x="508" y="115"/>
                      </a:lnTo>
                      <a:lnTo>
                        <a:pt x="510" y="115"/>
                      </a:lnTo>
                      <a:close/>
                    </a:path>
                  </a:pathLst>
                </a:custGeom>
                <a:solidFill>
                  <a:srgbClr val="F79646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8" name="Freeform 8"/>
                <p:cNvSpPr>
                  <a:spLocks noChangeAspect="1" noEditPoints="1"/>
                </p:cNvSpPr>
                <p:nvPr/>
              </p:nvSpPr>
              <p:spPr bwMode="auto">
                <a:xfrm>
                  <a:off x="4355726" y="4322279"/>
                  <a:ext cx="1328223" cy="853024"/>
                </a:xfrm>
                <a:custGeom>
                  <a:avLst/>
                  <a:gdLst>
                    <a:gd name="T0" fmla="*/ 2147483647 w 850"/>
                    <a:gd name="T1" fmla="*/ 2147483647 h 510"/>
                    <a:gd name="T2" fmla="*/ 2147483647 w 850"/>
                    <a:gd name="T3" fmla="*/ 2147483647 h 510"/>
                    <a:gd name="T4" fmla="*/ 2147483647 w 850"/>
                    <a:gd name="T5" fmla="*/ 2147483647 h 510"/>
                    <a:gd name="T6" fmla="*/ 2147483647 w 850"/>
                    <a:gd name="T7" fmla="*/ 2147483647 h 510"/>
                    <a:gd name="T8" fmla="*/ 2147483647 w 850"/>
                    <a:gd name="T9" fmla="*/ 2147483647 h 510"/>
                    <a:gd name="T10" fmla="*/ 2147483647 w 850"/>
                    <a:gd name="T11" fmla="*/ 2147483647 h 510"/>
                    <a:gd name="T12" fmla="*/ 2147483647 w 850"/>
                    <a:gd name="T13" fmla="*/ 2147483647 h 510"/>
                    <a:gd name="T14" fmla="*/ 2147483647 w 850"/>
                    <a:gd name="T15" fmla="*/ 2147483647 h 510"/>
                    <a:gd name="T16" fmla="*/ 2147483647 w 850"/>
                    <a:gd name="T17" fmla="*/ 2147483647 h 510"/>
                    <a:gd name="T18" fmla="*/ 2147483647 w 850"/>
                    <a:gd name="T19" fmla="*/ 2147483647 h 510"/>
                    <a:gd name="T20" fmla="*/ 2147483647 w 850"/>
                    <a:gd name="T21" fmla="*/ 2147483647 h 510"/>
                    <a:gd name="T22" fmla="*/ 2147483647 w 850"/>
                    <a:gd name="T23" fmla="*/ 2147483647 h 510"/>
                    <a:gd name="T24" fmla="*/ 2147483647 w 850"/>
                    <a:gd name="T25" fmla="*/ 2147483647 h 510"/>
                    <a:gd name="T26" fmla="*/ 2147483647 w 850"/>
                    <a:gd name="T27" fmla="*/ 2147483647 h 510"/>
                    <a:gd name="T28" fmla="*/ 2147483647 w 850"/>
                    <a:gd name="T29" fmla="*/ 2147483647 h 510"/>
                    <a:gd name="T30" fmla="*/ 2147483647 w 850"/>
                    <a:gd name="T31" fmla="*/ 2147483647 h 510"/>
                    <a:gd name="T32" fmla="*/ 2147483647 w 850"/>
                    <a:gd name="T33" fmla="*/ 2147483647 h 510"/>
                    <a:gd name="T34" fmla="*/ 2147483647 w 850"/>
                    <a:gd name="T35" fmla="*/ 2147483647 h 510"/>
                    <a:gd name="T36" fmla="*/ 2147483647 w 850"/>
                    <a:gd name="T37" fmla="*/ 2147483647 h 510"/>
                    <a:gd name="T38" fmla="*/ 2147483647 w 850"/>
                    <a:gd name="T39" fmla="*/ 2147483647 h 510"/>
                    <a:gd name="T40" fmla="*/ 2147483647 w 850"/>
                    <a:gd name="T41" fmla="*/ 2147483647 h 510"/>
                    <a:gd name="T42" fmla="*/ 2147483647 w 850"/>
                    <a:gd name="T43" fmla="*/ 2147483647 h 510"/>
                    <a:gd name="T44" fmla="*/ 2147483647 w 850"/>
                    <a:gd name="T45" fmla="*/ 2147483647 h 510"/>
                    <a:gd name="T46" fmla="*/ 2147483647 w 850"/>
                    <a:gd name="T47" fmla="*/ 2147483647 h 510"/>
                    <a:gd name="T48" fmla="*/ 2147483647 w 850"/>
                    <a:gd name="T49" fmla="*/ 2147483647 h 510"/>
                    <a:gd name="T50" fmla="*/ 2147483647 w 850"/>
                    <a:gd name="T51" fmla="*/ 2147483647 h 510"/>
                    <a:gd name="T52" fmla="*/ 2147483647 w 850"/>
                    <a:gd name="T53" fmla="*/ 2147483647 h 510"/>
                    <a:gd name="T54" fmla="*/ 2147483647 w 850"/>
                    <a:gd name="T55" fmla="*/ 2147483647 h 510"/>
                    <a:gd name="T56" fmla="*/ 2147483647 w 850"/>
                    <a:gd name="T57" fmla="*/ 2147483647 h 510"/>
                    <a:gd name="T58" fmla="*/ 2147483647 w 850"/>
                    <a:gd name="T59" fmla="*/ 2147483647 h 510"/>
                    <a:gd name="T60" fmla="*/ 2147483647 w 850"/>
                    <a:gd name="T61" fmla="*/ 2147483647 h 510"/>
                    <a:gd name="T62" fmla="*/ 2147483647 w 850"/>
                    <a:gd name="T63" fmla="*/ 2147483647 h 510"/>
                    <a:gd name="T64" fmla="*/ 2147483647 w 850"/>
                    <a:gd name="T65" fmla="*/ 2147483647 h 510"/>
                    <a:gd name="T66" fmla="*/ 2147483647 w 850"/>
                    <a:gd name="T67" fmla="*/ 2147483647 h 510"/>
                    <a:gd name="T68" fmla="*/ 2147483647 w 850"/>
                    <a:gd name="T69" fmla="*/ 2147483647 h 510"/>
                    <a:gd name="T70" fmla="*/ 2147483647 w 850"/>
                    <a:gd name="T71" fmla="*/ 2147483647 h 510"/>
                    <a:gd name="T72" fmla="*/ 2147483647 w 850"/>
                    <a:gd name="T73" fmla="*/ 2147483647 h 510"/>
                    <a:gd name="T74" fmla="*/ 2147483647 w 850"/>
                    <a:gd name="T75" fmla="*/ 2147483647 h 510"/>
                    <a:gd name="T76" fmla="*/ 2147483647 w 850"/>
                    <a:gd name="T77" fmla="*/ 2147483647 h 510"/>
                    <a:gd name="T78" fmla="*/ 2147483647 w 850"/>
                    <a:gd name="T79" fmla="*/ 2147483647 h 510"/>
                    <a:gd name="T80" fmla="*/ 2147483647 w 850"/>
                    <a:gd name="T81" fmla="*/ 2147483647 h 510"/>
                    <a:gd name="T82" fmla="*/ 2147483647 w 850"/>
                    <a:gd name="T83" fmla="*/ 2147483647 h 510"/>
                    <a:gd name="T84" fmla="*/ 2147483647 w 850"/>
                    <a:gd name="T85" fmla="*/ 2147483647 h 510"/>
                    <a:gd name="T86" fmla="*/ 2147483647 w 850"/>
                    <a:gd name="T87" fmla="*/ 2147483647 h 510"/>
                    <a:gd name="T88" fmla="*/ 2147483647 w 850"/>
                    <a:gd name="T89" fmla="*/ 2147483647 h 510"/>
                    <a:gd name="T90" fmla="*/ 2147483647 w 850"/>
                    <a:gd name="T91" fmla="*/ 2147483647 h 510"/>
                    <a:gd name="T92" fmla="*/ 2147483647 w 850"/>
                    <a:gd name="T93" fmla="*/ 2147483647 h 510"/>
                    <a:gd name="T94" fmla="*/ 2147483647 w 850"/>
                    <a:gd name="T95" fmla="*/ 2147483647 h 510"/>
                    <a:gd name="T96" fmla="*/ 2147483647 w 850"/>
                    <a:gd name="T97" fmla="*/ 2147483647 h 510"/>
                    <a:gd name="T98" fmla="*/ 2147483647 w 850"/>
                    <a:gd name="T99" fmla="*/ 2147483647 h 510"/>
                    <a:gd name="T100" fmla="*/ 2147483647 w 850"/>
                    <a:gd name="T101" fmla="*/ 2147483647 h 510"/>
                    <a:gd name="T102" fmla="*/ 2147483647 w 850"/>
                    <a:gd name="T103" fmla="*/ 2147483647 h 510"/>
                    <a:gd name="T104" fmla="*/ 2147483647 w 850"/>
                    <a:gd name="T105" fmla="*/ 2147483647 h 510"/>
                    <a:gd name="T106" fmla="*/ 2147483647 w 850"/>
                    <a:gd name="T107" fmla="*/ 2147483647 h 510"/>
                    <a:gd name="T108" fmla="*/ 2147483647 w 850"/>
                    <a:gd name="T109" fmla="*/ 2147483647 h 510"/>
                    <a:gd name="T110" fmla="*/ 2147483647 w 850"/>
                    <a:gd name="T111" fmla="*/ 2147483647 h 510"/>
                    <a:gd name="T112" fmla="*/ 2147483647 w 850"/>
                    <a:gd name="T113" fmla="*/ 2147483647 h 510"/>
                    <a:gd name="T114" fmla="*/ 2147483647 w 850"/>
                    <a:gd name="T115" fmla="*/ 2147483647 h 510"/>
                    <a:gd name="T116" fmla="*/ 2147483647 w 850"/>
                    <a:gd name="T117" fmla="*/ 2147483647 h 510"/>
                    <a:gd name="T118" fmla="*/ 2147483647 w 850"/>
                    <a:gd name="T119" fmla="*/ 2147483647 h 510"/>
                    <a:gd name="T120" fmla="*/ 2147483647 w 850"/>
                    <a:gd name="T121" fmla="*/ 2147483647 h 510"/>
                    <a:gd name="T122" fmla="*/ 2147483647 w 850"/>
                    <a:gd name="T123" fmla="*/ 2147483647 h 510"/>
                    <a:gd name="T124" fmla="*/ 2147483647 w 850"/>
                    <a:gd name="T125" fmla="*/ 2147483647 h 51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50"/>
                    <a:gd name="T190" fmla="*/ 0 h 510"/>
                    <a:gd name="T191" fmla="*/ 850 w 850"/>
                    <a:gd name="T192" fmla="*/ 510 h 51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50" h="510">
                      <a:moveTo>
                        <a:pt x="714" y="261"/>
                      </a:moveTo>
                      <a:lnTo>
                        <a:pt x="716" y="261"/>
                      </a:lnTo>
                      <a:lnTo>
                        <a:pt x="716" y="262"/>
                      </a:lnTo>
                      <a:lnTo>
                        <a:pt x="716" y="264"/>
                      </a:lnTo>
                      <a:lnTo>
                        <a:pt x="714" y="264"/>
                      </a:lnTo>
                      <a:lnTo>
                        <a:pt x="714" y="266"/>
                      </a:lnTo>
                      <a:lnTo>
                        <a:pt x="716" y="266"/>
                      </a:lnTo>
                      <a:lnTo>
                        <a:pt x="716" y="264"/>
                      </a:lnTo>
                      <a:lnTo>
                        <a:pt x="718" y="264"/>
                      </a:lnTo>
                      <a:lnTo>
                        <a:pt x="719" y="264"/>
                      </a:lnTo>
                      <a:lnTo>
                        <a:pt x="721" y="264"/>
                      </a:lnTo>
                      <a:lnTo>
                        <a:pt x="721" y="262"/>
                      </a:lnTo>
                      <a:lnTo>
                        <a:pt x="723" y="262"/>
                      </a:lnTo>
                      <a:lnTo>
                        <a:pt x="723" y="261"/>
                      </a:lnTo>
                      <a:lnTo>
                        <a:pt x="725" y="261"/>
                      </a:lnTo>
                      <a:lnTo>
                        <a:pt x="725" y="259"/>
                      </a:lnTo>
                      <a:lnTo>
                        <a:pt x="726" y="259"/>
                      </a:lnTo>
                      <a:lnTo>
                        <a:pt x="726" y="261"/>
                      </a:lnTo>
                      <a:lnTo>
                        <a:pt x="728" y="261"/>
                      </a:lnTo>
                      <a:lnTo>
                        <a:pt x="730" y="262"/>
                      </a:lnTo>
                      <a:lnTo>
                        <a:pt x="731" y="262"/>
                      </a:lnTo>
                      <a:lnTo>
                        <a:pt x="730" y="264"/>
                      </a:lnTo>
                      <a:lnTo>
                        <a:pt x="731" y="264"/>
                      </a:lnTo>
                      <a:lnTo>
                        <a:pt x="730" y="264"/>
                      </a:lnTo>
                      <a:lnTo>
                        <a:pt x="731" y="264"/>
                      </a:lnTo>
                      <a:lnTo>
                        <a:pt x="733" y="264"/>
                      </a:lnTo>
                      <a:lnTo>
                        <a:pt x="735" y="262"/>
                      </a:lnTo>
                      <a:lnTo>
                        <a:pt x="735" y="264"/>
                      </a:lnTo>
                      <a:lnTo>
                        <a:pt x="736" y="262"/>
                      </a:lnTo>
                      <a:lnTo>
                        <a:pt x="738" y="262"/>
                      </a:lnTo>
                      <a:lnTo>
                        <a:pt x="738" y="261"/>
                      </a:lnTo>
                      <a:lnTo>
                        <a:pt x="740" y="261"/>
                      </a:lnTo>
                      <a:lnTo>
                        <a:pt x="741" y="261"/>
                      </a:lnTo>
                      <a:lnTo>
                        <a:pt x="743" y="261"/>
                      </a:lnTo>
                      <a:lnTo>
                        <a:pt x="745" y="261"/>
                      </a:lnTo>
                      <a:lnTo>
                        <a:pt x="745" y="259"/>
                      </a:lnTo>
                      <a:lnTo>
                        <a:pt x="745" y="258"/>
                      </a:lnTo>
                      <a:lnTo>
                        <a:pt x="746" y="258"/>
                      </a:lnTo>
                      <a:lnTo>
                        <a:pt x="748" y="258"/>
                      </a:lnTo>
                      <a:lnTo>
                        <a:pt x="748" y="256"/>
                      </a:lnTo>
                      <a:lnTo>
                        <a:pt x="750" y="256"/>
                      </a:lnTo>
                      <a:lnTo>
                        <a:pt x="752" y="256"/>
                      </a:lnTo>
                      <a:lnTo>
                        <a:pt x="753" y="256"/>
                      </a:lnTo>
                      <a:lnTo>
                        <a:pt x="753" y="254"/>
                      </a:lnTo>
                      <a:lnTo>
                        <a:pt x="753" y="253"/>
                      </a:lnTo>
                      <a:lnTo>
                        <a:pt x="755" y="253"/>
                      </a:lnTo>
                      <a:lnTo>
                        <a:pt x="755" y="251"/>
                      </a:lnTo>
                      <a:lnTo>
                        <a:pt x="757" y="251"/>
                      </a:lnTo>
                      <a:lnTo>
                        <a:pt x="758" y="251"/>
                      </a:lnTo>
                      <a:lnTo>
                        <a:pt x="758" y="249"/>
                      </a:lnTo>
                      <a:lnTo>
                        <a:pt x="760" y="249"/>
                      </a:lnTo>
                      <a:lnTo>
                        <a:pt x="762" y="249"/>
                      </a:lnTo>
                      <a:lnTo>
                        <a:pt x="763" y="248"/>
                      </a:lnTo>
                      <a:lnTo>
                        <a:pt x="765" y="248"/>
                      </a:lnTo>
                      <a:lnTo>
                        <a:pt x="767" y="248"/>
                      </a:lnTo>
                      <a:lnTo>
                        <a:pt x="768" y="248"/>
                      </a:lnTo>
                      <a:lnTo>
                        <a:pt x="770" y="248"/>
                      </a:lnTo>
                      <a:lnTo>
                        <a:pt x="772" y="248"/>
                      </a:lnTo>
                      <a:lnTo>
                        <a:pt x="774" y="248"/>
                      </a:lnTo>
                      <a:lnTo>
                        <a:pt x="774" y="246"/>
                      </a:lnTo>
                      <a:lnTo>
                        <a:pt x="775" y="246"/>
                      </a:lnTo>
                      <a:lnTo>
                        <a:pt x="777" y="246"/>
                      </a:lnTo>
                      <a:lnTo>
                        <a:pt x="779" y="246"/>
                      </a:lnTo>
                      <a:lnTo>
                        <a:pt x="780" y="244"/>
                      </a:lnTo>
                      <a:lnTo>
                        <a:pt x="782" y="244"/>
                      </a:lnTo>
                      <a:lnTo>
                        <a:pt x="782" y="243"/>
                      </a:lnTo>
                      <a:lnTo>
                        <a:pt x="784" y="244"/>
                      </a:lnTo>
                      <a:lnTo>
                        <a:pt x="785" y="244"/>
                      </a:lnTo>
                      <a:lnTo>
                        <a:pt x="785" y="243"/>
                      </a:lnTo>
                      <a:lnTo>
                        <a:pt x="787" y="243"/>
                      </a:lnTo>
                      <a:lnTo>
                        <a:pt x="787" y="241"/>
                      </a:lnTo>
                      <a:lnTo>
                        <a:pt x="789" y="241"/>
                      </a:lnTo>
                      <a:lnTo>
                        <a:pt x="789" y="243"/>
                      </a:lnTo>
                      <a:lnTo>
                        <a:pt x="790" y="243"/>
                      </a:lnTo>
                      <a:lnTo>
                        <a:pt x="792" y="243"/>
                      </a:lnTo>
                      <a:lnTo>
                        <a:pt x="794" y="243"/>
                      </a:lnTo>
                      <a:lnTo>
                        <a:pt x="794" y="244"/>
                      </a:lnTo>
                      <a:lnTo>
                        <a:pt x="795" y="244"/>
                      </a:lnTo>
                      <a:lnTo>
                        <a:pt x="794" y="244"/>
                      </a:lnTo>
                      <a:lnTo>
                        <a:pt x="795" y="244"/>
                      </a:lnTo>
                      <a:lnTo>
                        <a:pt x="795" y="246"/>
                      </a:lnTo>
                      <a:lnTo>
                        <a:pt x="795" y="248"/>
                      </a:lnTo>
                      <a:lnTo>
                        <a:pt x="795" y="249"/>
                      </a:lnTo>
                      <a:lnTo>
                        <a:pt x="797" y="249"/>
                      </a:lnTo>
                      <a:lnTo>
                        <a:pt x="797" y="251"/>
                      </a:lnTo>
                      <a:lnTo>
                        <a:pt x="795" y="251"/>
                      </a:lnTo>
                      <a:lnTo>
                        <a:pt x="797" y="253"/>
                      </a:lnTo>
                      <a:lnTo>
                        <a:pt x="797" y="251"/>
                      </a:lnTo>
                      <a:lnTo>
                        <a:pt x="799" y="253"/>
                      </a:lnTo>
                      <a:lnTo>
                        <a:pt x="801" y="254"/>
                      </a:lnTo>
                      <a:lnTo>
                        <a:pt x="801" y="256"/>
                      </a:lnTo>
                      <a:lnTo>
                        <a:pt x="802" y="256"/>
                      </a:lnTo>
                      <a:lnTo>
                        <a:pt x="804" y="256"/>
                      </a:lnTo>
                      <a:lnTo>
                        <a:pt x="804" y="258"/>
                      </a:lnTo>
                      <a:lnTo>
                        <a:pt x="802" y="258"/>
                      </a:lnTo>
                      <a:lnTo>
                        <a:pt x="802" y="259"/>
                      </a:lnTo>
                      <a:lnTo>
                        <a:pt x="804" y="259"/>
                      </a:lnTo>
                      <a:lnTo>
                        <a:pt x="802" y="259"/>
                      </a:lnTo>
                      <a:lnTo>
                        <a:pt x="802" y="261"/>
                      </a:lnTo>
                      <a:lnTo>
                        <a:pt x="804" y="261"/>
                      </a:lnTo>
                      <a:lnTo>
                        <a:pt x="806" y="261"/>
                      </a:lnTo>
                      <a:lnTo>
                        <a:pt x="807" y="261"/>
                      </a:lnTo>
                      <a:lnTo>
                        <a:pt x="807" y="262"/>
                      </a:lnTo>
                      <a:lnTo>
                        <a:pt x="809" y="262"/>
                      </a:lnTo>
                      <a:lnTo>
                        <a:pt x="809" y="261"/>
                      </a:lnTo>
                      <a:lnTo>
                        <a:pt x="811" y="259"/>
                      </a:lnTo>
                      <a:lnTo>
                        <a:pt x="811" y="261"/>
                      </a:lnTo>
                      <a:lnTo>
                        <a:pt x="812" y="261"/>
                      </a:lnTo>
                      <a:lnTo>
                        <a:pt x="814" y="261"/>
                      </a:lnTo>
                      <a:lnTo>
                        <a:pt x="814" y="262"/>
                      </a:lnTo>
                      <a:lnTo>
                        <a:pt x="814" y="264"/>
                      </a:lnTo>
                      <a:lnTo>
                        <a:pt x="814" y="262"/>
                      </a:lnTo>
                      <a:lnTo>
                        <a:pt x="816" y="262"/>
                      </a:lnTo>
                      <a:lnTo>
                        <a:pt x="816" y="264"/>
                      </a:lnTo>
                      <a:lnTo>
                        <a:pt x="817" y="262"/>
                      </a:lnTo>
                      <a:lnTo>
                        <a:pt x="817" y="261"/>
                      </a:lnTo>
                      <a:lnTo>
                        <a:pt x="819" y="261"/>
                      </a:lnTo>
                      <a:lnTo>
                        <a:pt x="821" y="261"/>
                      </a:lnTo>
                      <a:lnTo>
                        <a:pt x="822" y="261"/>
                      </a:lnTo>
                      <a:lnTo>
                        <a:pt x="822" y="259"/>
                      </a:lnTo>
                      <a:lnTo>
                        <a:pt x="824" y="259"/>
                      </a:lnTo>
                      <a:lnTo>
                        <a:pt x="826" y="261"/>
                      </a:lnTo>
                      <a:lnTo>
                        <a:pt x="826" y="259"/>
                      </a:lnTo>
                      <a:lnTo>
                        <a:pt x="826" y="258"/>
                      </a:lnTo>
                      <a:lnTo>
                        <a:pt x="828" y="258"/>
                      </a:lnTo>
                      <a:lnTo>
                        <a:pt x="829" y="258"/>
                      </a:lnTo>
                      <a:lnTo>
                        <a:pt x="829" y="259"/>
                      </a:lnTo>
                      <a:lnTo>
                        <a:pt x="829" y="261"/>
                      </a:lnTo>
                      <a:lnTo>
                        <a:pt x="831" y="261"/>
                      </a:lnTo>
                      <a:lnTo>
                        <a:pt x="831" y="259"/>
                      </a:lnTo>
                      <a:lnTo>
                        <a:pt x="833" y="259"/>
                      </a:lnTo>
                      <a:lnTo>
                        <a:pt x="834" y="259"/>
                      </a:lnTo>
                      <a:lnTo>
                        <a:pt x="836" y="259"/>
                      </a:lnTo>
                      <a:lnTo>
                        <a:pt x="836" y="261"/>
                      </a:lnTo>
                      <a:lnTo>
                        <a:pt x="838" y="261"/>
                      </a:lnTo>
                      <a:lnTo>
                        <a:pt x="838" y="259"/>
                      </a:lnTo>
                      <a:lnTo>
                        <a:pt x="839" y="259"/>
                      </a:lnTo>
                      <a:lnTo>
                        <a:pt x="839" y="261"/>
                      </a:lnTo>
                      <a:lnTo>
                        <a:pt x="841" y="261"/>
                      </a:lnTo>
                      <a:lnTo>
                        <a:pt x="843" y="261"/>
                      </a:lnTo>
                      <a:lnTo>
                        <a:pt x="844" y="261"/>
                      </a:lnTo>
                      <a:lnTo>
                        <a:pt x="844" y="262"/>
                      </a:lnTo>
                      <a:lnTo>
                        <a:pt x="846" y="262"/>
                      </a:lnTo>
                      <a:lnTo>
                        <a:pt x="846" y="264"/>
                      </a:lnTo>
                      <a:lnTo>
                        <a:pt x="848" y="266"/>
                      </a:lnTo>
                      <a:lnTo>
                        <a:pt x="848" y="267"/>
                      </a:lnTo>
                      <a:lnTo>
                        <a:pt x="850" y="267"/>
                      </a:lnTo>
                      <a:lnTo>
                        <a:pt x="848" y="267"/>
                      </a:lnTo>
                      <a:lnTo>
                        <a:pt x="848" y="269"/>
                      </a:lnTo>
                      <a:lnTo>
                        <a:pt x="846" y="271"/>
                      </a:lnTo>
                      <a:lnTo>
                        <a:pt x="844" y="271"/>
                      </a:lnTo>
                      <a:lnTo>
                        <a:pt x="846" y="271"/>
                      </a:lnTo>
                      <a:lnTo>
                        <a:pt x="844" y="272"/>
                      </a:lnTo>
                      <a:lnTo>
                        <a:pt x="843" y="272"/>
                      </a:lnTo>
                      <a:lnTo>
                        <a:pt x="841" y="274"/>
                      </a:lnTo>
                      <a:lnTo>
                        <a:pt x="839" y="276"/>
                      </a:lnTo>
                      <a:lnTo>
                        <a:pt x="839" y="277"/>
                      </a:lnTo>
                      <a:lnTo>
                        <a:pt x="841" y="277"/>
                      </a:lnTo>
                      <a:lnTo>
                        <a:pt x="841" y="279"/>
                      </a:lnTo>
                      <a:lnTo>
                        <a:pt x="839" y="279"/>
                      </a:lnTo>
                      <a:lnTo>
                        <a:pt x="839" y="281"/>
                      </a:lnTo>
                      <a:lnTo>
                        <a:pt x="838" y="282"/>
                      </a:lnTo>
                      <a:lnTo>
                        <a:pt x="838" y="281"/>
                      </a:lnTo>
                      <a:lnTo>
                        <a:pt x="836" y="281"/>
                      </a:lnTo>
                      <a:lnTo>
                        <a:pt x="834" y="281"/>
                      </a:lnTo>
                      <a:lnTo>
                        <a:pt x="834" y="282"/>
                      </a:lnTo>
                      <a:lnTo>
                        <a:pt x="833" y="282"/>
                      </a:lnTo>
                      <a:lnTo>
                        <a:pt x="834" y="282"/>
                      </a:lnTo>
                      <a:lnTo>
                        <a:pt x="833" y="282"/>
                      </a:lnTo>
                      <a:lnTo>
                        <a:pt x="831" y="282"/>
                      </a:lnTo>
                      <a:lnTo>
                        <a:pt x="829" y="284"/>
                      </a:lnTo>
                      <a:lnTo>
                        <a:pt x="828" y="284"/>
                      </a:lnTo>
                      <a:lnTo>
                        <a:pt x="826" y="284"/>
                      </a:lnTo>
                      <a:lnTo>
                        <a:pt x="826" y="282"/>
                      </a:lnTo>
                      <a:lnTo>
                        <a:pt x="824" y="282"/>
                      </a:lnTo>
                      <a:lnTo>
                        <a:pt x="824" y="284"/>
                      </a:lnTo>
                      <a:lnTo>
                        <a:pt x="822" y="284"/>
                      </a:lnTo>
                      <a:lnTo>
                        <a:pt x="822" y="285"/>
                      </a:lnTo>
                      <a:lnTo>
                        <a:pt x="821" y="285"/>
                      </a:lnTo>
                      <a:lnTo>
                        <a:pt x="819" y="285"/>
                      </a:lnTo>
                      <a:lnTo>
                        <a:pt x="819" y="284"/>
                      </a:lnTo>
                      <a:lnTo>
                        <a:pt x="819" y="282"/>
                      </a:lnTo>
                      <a:lnTo>
                        <a:pt x="817" y="282"/>
                      </a:lnTo>
                      <a:lnTo>
                        <a:pt x="816" y="284"/>
                      </a:lnTo>
                      <a:lnTo>
                        <a:pt x="814" y="284"/>
                      </a:lnTo>
                      <a:lnTo>
                        <a:pt x="812" y="285"/>
                      </a:lnTo>
                      <a:lnTo>
                        <a:pt x="812" y="287"/>
                      </a:lnTo>
                      <a:lnTo>
                        <a:pt x="811" y="287"/>
                      </a:lnTo>
                      <a:lnTo>
                        <a:pt x="811" y="285"/>
                      </a:lnTo>
                      <a:lnTo>
                        <a:pt x="809" y="285"/>
                      </a:lnTo>
                      <a:lnTo>
                        <a:pt x="807" y="285"/>
                      </a:lnTo>
                      <a:lnTo>
                        <a:pt x="807" y="287"/>
                      </a:lnTo>
                      <a:lnTo>
                        <a:pt x="807" y="285"/>
                      </a:lnTo>
                      <a:lnTo>
                        <a:pt x="806" y="287"/>
                      </a:lnTo>
                      <a:lnTo>
                        <a:pt x="804" y="287"/>
                      </a:lnTo>
                      <a:lnTo>
                        <a:pt x="804" y="289"/>
                      </a:lnTo>
                      <a:lnTo>
                        <a:pt x="802" y="289"/>
                      </a:lnTo>
                      <a:lnTo>
                        <a:pt x="802" y="290"/>
                      </a:lnTo>
                      <a:lnTo>
                        <a:pt x="801" y="290"/>
                      </a:lnTo>
                      <a:lnTo>
                        <a:pt x="801" y="289"/>
                      </a:lnTo>
                      <a:lnTo>
                        <a:pt x="801" y="290"/>
                      </a:lnTo>
                      <a:lnTo>
                        <a:pt x="799" y="290"/>
                      </a:lnTo>
                      <a:lnTo>
                        <a:pt x="797" y="290"/>
                      </a:lnTo>
                      <a:lnTo>
                        <a:pt x="795" y="290"/>
                      </a:lnTo>
                      <a:lnTo>
                        <a:pt x="795" y="292"/>
                      </a:lnTo>
                      <a:lnTo>
                        <a:pt x="794" y="292"/>
                      </a:lnTo>
                      <a:lnTo>
                        <a:pt x="794" y="294"/>
                      </a:lnTo>
                      <a:lnTo>
                        <a:pt x="792" y="294"/>
                      </a:lnTo>
                      <a:lnTo>
                        <a:pt x="794" y="294"/>
                      </a:lnTo>
                      <a:lnTo>
                        <a:pt x="792" y="294"/>
                      </a:lnTo>
                      <a:lnTo>
                        <a:pt x="792" y="295"/>
                      </a:lnTo>
                      <a:lnTo>
                        <a:pt x="790" y="295"/>
                      </a:lnTo>
                      <a:lnTo>
                        <a:pt x="789" y="295"/>
                      </a:lnTo>
                      <a:lnTo>
                        <a:pt x="789" y="297"/>
                      </a:lnTo>
                      <a:lnTo>
                        <a:pt x="789" y="299"/>
                      </a:lnTo>
                      <a:lnTo>
                        <a:pt x="789" y="300"/>
                      </a:lnTo>
                      <a:lnTo>
                        <a:pt x="789" y="302"/>
                      </a:lnTo>
                      <a:lnTo>
                        <a:pt x="787" y="302"/>
                      </a:lnTo>
                      <a:lnTo>
                        <a:pt x="787" y="304"/>
                      </a:lnTo>
                      <a:lnTo>
                        <a:pt x="787" y="305"/>
                      </a:lnTo>
                      <a:lnTo>
                        <a:pt x="787" y="307"/>
                      </a:lnTo>
                      <a:lnTo>
                        <a:pt x="787" y="308"/>
                      </a:lnTo>
                      <a:lnTo>
                        <a:pt x="787" y="310"/>
                      </a:lnTo>
                      <a:lnTo>
                        <a:pt x="785" y="310"/>
                      </a:lnTo>
                      <a:lnTo>
                        <a:pt x="785" y="312"/>
                      </a:lnTo>
                      <a:lnTo>
                        <a:pt x="784" y="312"/>
                      </a:lnTo>
                      <a:lnTo>
                        <a:pt x="784" y="313"/>
                      </a:lnTo>
                      <a:lnTo>
                        <a:pt x="782" y="313"/>
                      </a:lnTo>
                      <a:lnTo>
                        <a:pt x="780" y="315"/>
                      </a:lnTo>
                      <a:lnTo>
                        <a:pt x="780" y="317"/>
                      </a:lnTo>
                      <a:lnTo>
                        <a:pt x="780" y="318"/>
                      </a:lnTo>
                      <a:lnTo>
                        <a:pt x="780" y="320"/>
                      </a:lnTo>
                      <a:lnTo>
                        <a:pt x="782" y="320"/>
                      </a:lnTo>
                      <a:lnTo>
                        <a:pt x="784" y="320"/>
                      </a:lnTo>
                      <a:lnTo>
                        <a:pt x="785" y="320"/>
                      </a:lnTo>
                      <a:lnTo>
                        <a:pt x="785" y="322"/>
                      </a:lnTo>
                      <a:lnTo>
                        <a:pt x="785" y="323"/>
                      </a:lnTo>
                      <a:lnTo>
                        <a:pt x="787" y="323"/>
                      </a:lnTo>
                      <a:lnTo>
                        <a:pt x="790" y="325"/>
                      </a:lnTo>
                      <a:lnTo>
                        <a:pt x="789" y="325"/>
                      </a:lnTo>
                      <a:lnTo>
                        <a:pt x="790" y="325"/>
                      </a:lnTo>
                      <a:lnTo>
                        <a:pt x="790" y="327"/>
                      </a:lnTo>
                      <a:lnTo>
                        <a:pt x="790" y="328"/>
                      </a:lnTo>
                      <a:lnTo>
                        <a:pt x="792" y="328"/>
                      </a:lnTo>
                      <a:lnTo>
                        <a:pt x="792" y="330"/>
                      </a:lnTo>
                      <a:lnTo>
                        <a:pt x="794" y="330"/>
                      </a:lnTo>
                      <a:lnTo>
                        <a:pt x="795" y="331"/>
                      </a:lnTo>
                      <a:lnTo>
                        <a:pt x="794" y="331"/>
                      </a:lnTo>
                      <a:lnTo>
                        <a:pt x="794" y="330"/>
                      </a:lnTo>
                      <a:lnTo>
                        <a:pt x="794" y="331"/>
                      </a:lnTo>
                      <a:lnTo>
                        <a:pt x="794" y="330"/>
                      </a:lnTo>
                      <a:lnTo>
                        <a:pt x="792" y="331"/>
                      </a:lnTo>
                      <a:lnTo>
                        <a:pt x="790" y="331"/>
                      </a:lnTo>
                      <a:lnTo>
                        <a:pt x="789" y="331"/>
                      </a:lnTo>
                      <a:lnTo>
                        <a:pt x="787" y="331"/>
                      </a:lnTo>
                      <a:lnTo>
                        <a:pt x="785" y="331"/>
                      </a:lnTo>
                      <a:lnTo>
                        <a:pt x="785" y="333"/>
                      </a:lnTo>
                      <a:lnTo>
                        <a:pt x="784" y="333"/>
                      </a:lnTo>
                      <a:lnTo>
                        <a:pt x="784" y="331"/>
                      </a:lnTo>
                      <a:lnTo>
                        <a:pt x="785" y="331"/>
                      </a:lnTo>
                      <a:lnTo>
                        <a:pt x="784" y="331"/>
                      </a:lnTo>
                      <a:lnTo>
                        <a:pt x="785" y="331"/>
                      </a:lnTo>
                      <a:lnTo>
                        <a:pt x="784" y="330"/>
                      </a:lnTo>
                      <a:lnTo>
                        <a:pt x="782" y="330"/>
                      </a:lnTo>
                      <a:lnTo>
                        <a:pt x="780" y="330"/>
                      </a:lnTo>
                      <a:lnTo>
                        <a:pt x="780" y="331"/>
                      </a:lnTo>
                      <a:lnTo>
                        <a:pt x="780" y="330"/>
                      </a:lnTo>
                      <a:lnTo>
                        <a:pt x="780" y="328"/>
                      </a:lnTo>
                      <a:lnTo>
                        <a:pt x="779" y="328"/>
                      </a:lnTo>
                      <a:lnTo>
                        <a:pt x="777" y="328"/>
                      </a:lnTo>
                      <a:lnTo>
                        <a:pt x="777" y="330"/>
                      </a:lnTo>
                      <a:lnTo>
                        <a:pt x="775" y="330"/>
                      </a:lnTo>
                      <a:lnTo>
                        <a:pt x="774" y="330"/>
                      </a:lnTo>
                      <a:lnTo>
                        <a:pt x="774" y="331"/>
                      </a:lnTo>
                      <a:lnTo>
                        <a:pt x="774" y="333"/>
                      </a:lnTo>
                      <a:lnTo>
                        <a:pt x="772" y="333"/>
                      </a:lnTo>
                      <a:lnTo>
                        <a:pt x="770" y="333"/>
                      </a:lnTo>
                      <a:lnTo>
                        <a:pt x="768" y="335"/>
                      </a:lnTo>
                      <a:lnTo>
                        <a:pt x="767" y="335"/>
                      </a:lnTo>
                      <a:lnTo>
                        <a:pt x="765" y="335"/>
                      </a:lnTo>
                      <a:lnTo>
                        <a:pt x="765" y="336"/>
                      </a:lnTo>
                      <a:lnTo>
                        <a:pt x="765" y="335"/>
                      </a:lnTo>
                      <a:lnTo>
                        <a:pt x="763" y="335"/>
                      </a:lnTo>
                      <a:lnTo>
                        <a:pt x="763" y="336"/>
                      </a:lnTo>
                      <a:lnTo>
                        <a:pt x="763" y="338"/>
                      </a:lnTo>
                      <a:lnTo>
                        <a:pt x="763" y="340"/>
                      </a:lnTo>
                      <a:lnTo>
                        <a:pt x="765" y="338"/>
                      </a:lnTo>
                      <a:lnTo>
                        <a:pt x="767" y="338"/>
                      </a:lnTo>
                      <a:lnTo>
                        <a:pt x="765" y="338"/>
                      </a:lnTo>
                      <a:lnTo>
                        <a:pt x="767" y="340"/>
                      </a:lnTo>
                      <a:lnTo>
                        <a:pt x="765" y="340"/>
                      </a:lnTo>
                      <a:lnTo>
                        <a:pt x="763" y="340"/>
                      </a:lnTo>
                      <a:lnTo>
                        <a:pt x="763" y="341"/>
                      </a:lnTo>
                      <a:lnTo>
                        <a:pt x="762" y="341"/>
                      </a:lnTo>
                      <a:lnTo>
                        <a:pt x="762" y="343"/>
                      </a:lnTo>
                      <a:lnTo>
                        <a:pt x="763" y="343"/>
                      </a:lnTo>
                      <a:lnTo>
                        <a:pt x="762" y="343"/>
                      </a:lnTo>
                      <a:lnTo>
                        <a:pt x="762" y="345"/>
                      </a:lnTo>
                      <a:lnTo>
                        <a:pt x="762" y="343"/>
                      </a:lnTo>
                      <a:lnTo>
                        <a:pt x="760" y="343"/>
                      </a:lnTo>
                      <a:lnTo>
                        <a:pt x="760" y="341"/>
                      </a:lnTo>
                      <a:lnTo>
                        <a:pt x="760" y="343"/>
                      </a:lnTo>
                      <a:lnTo>
                        <a:pt x="760" y="341"/>
                      </a:lnTo>
                      <a:lnTo>
                        <a:pt x="758" y="343"/>
                      </a:lnTo>
                      <a:lnTo>
                        <a:pt x="758" y="345"/>
                      </a:lnTo>
                      <a:lnTo>
                        <a:pt x="760" y="345"/>
                      </a:lnTo>
                      <a:lnTo>
                        <a:pt x="758" y="345"/>
                      </a:lnTo>
                      <a:lnTo>
                        <a:pt x="760" y="345"/>
                      </a:lnTo>
                      <a:lnTo>
                        <a:pt x="758" y="345"/>
                      </a:lnTo>
                      <a:lnTo>
                        <a:pt x="757" y="345"/>
                      </a:lnTo>
                      <a:lnTo>
                        <a:pt x="757" y="343"/>
                      </a:lnTo>
                      <a:lnTo>
                        <a:pt x="757" y="345"/>
                      </a:lnTo>
                      <a:lnTo>
                        <a:pt x="757" y="343"/>
                      </a:lnTo>
                      <a:lnTo>
                        <a:pt x="755" y="343"/>
                      </a:lnTo>
                      <a:lnTo>
                        <a:pt x="753" y="343"/>
                      </a:lnTo>
                      <a:lnTo>
                        <a:pt x="753" y="341"/>
                      </a:lnTo>
                      <a:lnTo>
                        <a:pt x="753" y="343"/>
                      </a:lnTo>
                      <a:lnTo>
                        <a:pt x="753" y="345"/>
                      </a:lnTo>
                      <a:lnTo>
                        <a:pt x="753" y="346"/>
                      </a:lnTo>
                      <a:lnTo>
                        <a:pt x="755" y="346"/>
                      </a:lnTo>
                      <a:lnTo>
                        <a:pt x="753" y="346"/>
                      </a:lnTo>
                      <a:lnTo>
                        <a:pt x="752" y="346"/>
                      </a:lnTo>
                      <a:lnTo>
                        <a:pt x="752" y="345"/>
                      </a:lnTo>
                      <a:lnTo>
                        <a:pt x="750" y="345"/>
                      </a:lnTo>
                      <a:lnTo>
                        <a:pt x="748" y="345"/>
                      </a:lnTo>
                      <a:lnTo>
                        <a:pt x="748" y="346"/>
                      </a:lnTo>
                      <a:lnTo>
                        <a:pt x="748" y="348"/>
                      </a:lnTo>
                      <a:lnTo>
                        <a:pt x="748" y="350"/>
                      </a:lnTo>
                      <a:lnTo>
                        <a:pt x="750" y="350"/>
                      </a:lnTo>
                      <a:lnTo>
                        <a:pt x="748" y="350"/>
                      </a:lnTo>
                      <a:lnTo>
                        <a:pt x="750" y="350"/>
                      </a:lnTo>
                      <a:lnTo>
                        <a:pt x="750" y="351"/>
                      </a:lnTo>
                      <a:lnTo>
                        <a:pt x="748" y="350"/>
                      </a:lnTo>
                      <a:lnTo>
                        <a:pt x="748" y="351"/>
                      </a:lnTo>
                      <a:lnTo>
                        <a:pt x="748" y="350"/>
                      </a:lnTo>
                      <a:lnTo>
                        <a:pt x="748" y="351"/>
                      </a:lnTo>
                      <a:lnTo>
                        <a:pt x="746" y="351"/>
                      </a:lnTo>
                      <a:lnTo>
                        <a:pt x="745" y="351"/>
                      </a:lnTo>
                      <a:lnTo>
                        <a:pt x="743" y="351"/>
                      </a:lnTo>
                      <a:lnTo>
                        <a:pt x="743" y="350"/>
                      </a:lnTo>
                      <a:lnTo>
                        <a:pt x="741" y="350"/>
                      </a:lnTo>
                      <a:lnTo>
                        <a:pt x="740" y="350"/>
                      </a:lnTo>
                      <a:lnTo>
                        <a:pt x="738" y="351"/>
                      </a:lnTo>
                      <a:lnTo>
                        <a:pt x="736" y="351"/>
                      </a:lnTo>
                      <a:lnTo>
                        <a:pt x="736" y="353"/>
                      </a:lnTo>
                      <a:lnTo>
                        <a:pt x="735" y="354"/>
                      </a:lnTo>
                      <a:lnTo>
                        <a:pt x="733" y="354"/>
                      </a:lnTo>
                      <a:lnTo>
                        <a:pt x="731" y="354"/>
                      </a:lnTo>
                      <a:lnTo>
                        <a:pt x="730" y="354"/>
                      </a:lnTo>
                      <a:lnTo>
                        <a:pt x="730" y="356"/>
                      </a:lnTo>
                      <a:lnTo>
                        <a:pt x="728" y="358"/>
                      </a:lnTo>
                      <a:lnTo>
                        <a:pt x="728" y="359"/>
                      </a:lnTo>
                      <a:lnTo>
                        <a:pt x="728" y="361"/>
                      </a:lnTo>
                      <a:lnTo>
                        <a:pt x="730" y="363"/>
                      </a:lnTo>
                      <a:lnTo>
                        <a:pt x="730" y="364"/>
                      </a:lnTo>
                      <a:lnTo>
                        <a:pt x="730" y="363"/>
                      </a:lnTo>
                      <a:lnTo>
                        <a:pt x="731" y="364"/>
                      </a:lnTo>
                      <a:lnTo>
                        <a:pt x="731" y="363"/>
                      </a:lnTo>
                      <a:lnTo>
                        <a:pt x="731" y="364"/>
                      </a:lnTo>
                      <a:lnTo>
                        <a:pt x="731" y="366"/>
                      </a:lnTo>
                      <a:lnTo>
                        <a:pt x="730" y="366"/>
                      </a:lnTo>
                      <a:lnTo>
                        <a:pt x="731" y="366"/>
                      </a:lnTo>
                      <a:lnTo>
                        <a:pt x="731" y="368"/>
                      </a:lnTo>
                      <a:lnTo>
                        <a:pt x="731" y="369"/>
                      </a:lnTo>
                      <a:lnTo>
                        <a:pt x="731" y="371"/>
                      </a:lnTo>
                      <a:lnTo>
                        <a:pt x="731" y="372"/>
                      </a:lnTo>
                      <a:lnTo>
                        <a:pt x="730" y="372"/>
                      </a:lnTo>
                      <a:lnTo>
                        <a:pt x="728" y="374"/>
                      </a:lnTo>
                      <a:lnTo>
                        <a:pt x="728" y="372"/>
                      </a:lnTo>
                      <a:lnTo>
                        <a:pt x="728" y="374"/>
                      </a:lnTo>
                      <a:lnTo>
                        <a:pt x="726" y="372"/>
                      </a:lnTo>
                      <a:lnTo>
                        <a:pt x="725" y="372"/>
                      </a:lnTo>
                      <a:lnTo>
                        <a:pt x="723" y="372"/>
                      </a:lnTo>
                      <a:lnTo>
                        <a:pt x="723" y="374"/>
                      </a:lnTo>
                      <a:lnTo>
                        <a:pt x="721" y="374"/>
                      </a:lnTo>
                      <a:lnTo>
                        <a:pt x="719" y="374"/>
                      </a:lnTo>
                      <a:lnTo>
                        <a:pt x="719" y="372"/>
                      </a:lnTo>
                      <a:lnTo>
                        <a:pt x="718" y="372"/>
                      </a:lnTo>
                      <a:lnTo>
                        <a:pt x="719" y="372"/>
                      </a:lnTo>
                      <a:lnTo>
                        <a:pt x="718" y="372"/>
                      </a:lnTo>
                      <a:lnTo>
                        <a:pt x="718" y="371"/>
                      </a:lnTo>
                      <a:lnTo>
                        <a:pt x="716" y="371"/>
                      </a:lnTo>
                      <a:lnTo>
                        <a:pt x="718" y="371"/>
                      </a:lnTo>
                      <a:lnTo>
                        <a:pt x="716" y="371"/>
                      </a:lnTo>
                      <a:lnTo>
                        <a:pt x="716" y="369"/>
                      </a:lnTo>
                      <a:lnTo>
                        <a:pt x="714" y="369"/>
                      </a:lnTo>
                      <a:lnTo>
                        <a:pt x="713" y="371"/>
                      </a:lnTo>
                      <a:lnTo>
                        <a:pt x="713" y="369"/>
                      </a:lnTo>
                      <a:lnTo>
                        <a:pt x="713" y="371"/>
                      </a:lnTo>
                      <a:lnTo>
                        <a:pt x="711" y="371"/>
                      </a:lnTo>
                      <a:lnTo>
                        <a:pt x="709" y="371"/>
                      </a:lnTo>
                      <a:lnTo>
                        <a:pt x="709" y="369"/>
                      </a:lnTo>
                      <a:lnTo>
                        <a:pt x="708" y="369"/>
                      </a:lnTo>
                      <a:lnTo>
                        <a:pt x="708" y="368"/>
                      </a:lnTo>
                      <a:lnTo>
                        <a:pt x="708" y="369"/>
                      </a:lnTo>
                      <a:lnTo>
                        <a:pt x="706" y="369"/>
                      </a:lnTo>
                      <a:lnTo>
                        <a:pt x="706" y="368"/>
                      </a:lnTo>
                      <a:lnTo>
                        <a:pt x="704" y="368"/>
                      </a:lnTo>
                      <a:lnTo>
                        <a:pt x="704" y="369"/>
                      </a:lnTo>
                      <a:lnTo>
                        <a:pt x="703" y="369"/>
                      </a:lnTo>
                      <a:lnTo>
                        <a:pt x="704" y="368"/>
                      </a:lnTo>
                      <a:lnTo>
                        <a:pt x="703" y="368"/>
                      </a:lnTo>
                      <a:lnTo>
                        <a:pt x="701" y="368"/>
                      </a:lnTo>
                      <a:lnTo>
                        <a:pt x="699" y="368"/>
                      </a:lnTo>
                      <a:lnTo>
                        <a:pt x="698" y="368"/>
                      </a:lnTo>
                      <a:lnTo>
                        <a:pt x="696" y="368"/>
                      </a:lnTo>
                      <a:lnTo>
                        <a:pt x="694" y="368"/>
                      </a:lnTo>
                      <a:lnTo>
                        <a:pt x="692" y="368"/>
                      </a:lnTo>
                      <a:lnTo>
                        <a:pt x="694" y="368"/>
                      </a:lnTo>
                      <a:lnTo>
                        <a:pt x="692" y="368"/>
                      </a:lnTo>
                      <a:lnTo>
                        <a:pt x="692" y="366"/>
                      </a:lnTo>
                      <a:lnTo>
                        <a:pt x="691" y="366"/>
                      </a:lnTo>
                      <a:lnTo>
                        <a:pt x="689" y="366"/>
                      </a:lnTo>
                      <a:lnTo>
                        <a:pt x="687" y="368"/>
                      </a:lnTo>
                      <a:lnTo>
                        <a:pt x="686" y="368"/>
                      </a:lnTo>
                      <a:lnTo>
                        <a:pt x="684" y="368"/>
                      </a:lnTo>
                      <a:lnTo>
                        <a:pt x="679" y="369"/>
                      </a:lnTo>
                      <a:lnTo>
                        <a:pt x="677" y="369"/>
                      </a:lnTo>
                      <a:lnTo>
                        <a:pt x="676" y="369"/>
                      </a:lnTo>
                      <a:lnTo>
                        <a:pt x="676" y="371"/>
                      </a:lnTo>
                      <a:lnTo>
                        <a:pt x="674" y="371"/>
                      </a:lnTo>
                      <a:lnTo>
                        <a:pt x="672" y="371"/>
                      </a:lnTo>
                      <a:lnTo>
                        <a:pt x="670" y="371"/>
                      </a:lnTo>
                      <a:lnTo>
                        <a:pt x="670" y="372"/>
                      </a:lnTo>
                      <a:lnTo>
                        <a:pt x="670" y="374"/>
                      </a:lnTo>
                      <a:lnTo>
                        <a:pt x="670" y="372"/>
                      </a:lnTo>
                      <a:lnTo>
                        <a:pt x="669" y="372"/>
                      </a:lnTo>
                      <a:lnTo>
                        <a:pt x="667" y="372"/>
                      </a:lnTo>
                      <a:lnTo>
                        <a:pt x="665" y="372"/>
                      </a:lnTo>
                      <a:lnTo>
                        <a:pt x="664" y="374"/>
                      </a:lnTo>
                      <a:lnTo>
                        <a:pt x="662" y="374"/>
                      </a:lnTo>
                      <a:lnTo>
                        <a:pt x="662" y="376"/>
                      </a:lnTo>
                      <a:lnTo>
                        <a:pt x="660" y="376"/>
                      </a:lnTo>
                      <a:lnTo>
                        <a:pt x="662" y="376"/>
                      </a:lnTo>
                      <a:lnTo>
                        <a:pt x="662" y="377"/>
                      </a:lnTo>
                      <a:lnTo>
                        <a:pt x="660" y="377"/>
                      </a:lnTo>
                      <a:lnTo>
                        <a:pt x="662" y="379"/>
                      </a:lnTo>
                      <a:lnTo>
                        <a:pt x="660" y="379"/>
                      </a:lnTo>
                      <a:lnTo>
                        <a:pt x="660" y="381"/>
                      </a:lnTo>
                      <a:lnTo>
                        <a:pt x="659" y="381"/>
                      </a:lnTo>
                      <a:lnTo>
                        <a:pt x="659" y="382"/>
                      </a:lnTo>
                      <a:lnTo>
                        <a:pt x="657" y="382"/>
                      </a:lnTo>
                      <a:lnTo>
                        <a:pt x="657" y="384"/>
                      </a:lnTo>
                      <a:lnTo>
                        <a:pt x="659" y="384"/>
                      </a:lnTo>
                      <a:lnTo>
                        <a:pt x="659" y="382"/>
                      </a:lnTo>
                      <a:lnTo>
                        <a:pt x="659" y="384"/>
                      </a:lnTo>
                      <a:lnTo>
                        <a:pt x="659" y="386"/>
                      </a:lnTo>
                      <a:lnTo>
                        <a:pt x="657" y="386"/>
                      </a:lnTo>
                      <a:lnTo>
                        <a:pt x="657" y="387"/>
                      </a:lnTo>
                      <a:lnTo>
                        <a:pt x="655" y="389"/>
                      </a:lnTo>
                      <a:lnTo>
                        <a:pt x="655" y="387"/>
                      </a:lnTo>
                      <a:lnTo>
                        <a:pt x="654" y="387"/>
                      </a:lnTo>
                      <a:lnTo>
                        <a:pt x="652" y="387"/>
                      </a:lnTo>
                      <a:lnTo>
                        <a:pt x="650" y="389"/>
                      </a:lnTo>
                      <a:lnTo>
                        <a:pt x="649" y="389"/>
                      </a:lnTo>
                      <a:lnTo>
                        <a:pt x="649" y="391"/>
                      </a:lnTo>
                      <a:lnTo>
                        <a:pt x="650" y="391"/>
                      </a:lnTo>
                      <a:lnTo>
                        <a:pt x="649" y="391"/>
                      </a:lnTo>
                      <a:lnTo>
                        <a:pt x="649" y="392"/>
                      </a:lnTo>
                      <a:lnTo>
                        <a:pt x="647" y="394"/>
                      </a:lnTo>
                      <a:lnTo>
                        <a:pt x="647" y="392"/>
                      </a:lnTo>
                      <a:lnTo>
                        <a:pt x="647" y="391"/>
                      </a:lnTo>
                      <a:lnTo>
                        <a:pt x="645" y="391"/>
                      </a:lnTo>
                      <a:lnTo>
                        <a:pt x="645" y="392"/>
                      </a:lnTo>
                      <a:lnTo>
                        <a:pt x="645" y="391"/>
                      </a:lnTo>
                      <a:lnTo>
                        <a:pt x="643" y="391"/>
                      </a:lnTo>
                      <a:lnTo>
                        <a:pt x="643" y="389"/>
                      </a:lnTo>
                      <a:lnTo>
                        <a:pt x="645" y="389"/>
                      </a:lnTo>
                      <a:lnTo>
                        <a:pt x="645" y="387"/>
                      </a:lnTo>
                      <a:lnTo>
                        <a:pt x="643" y="386"/>
                      </a:lnTo>
                      <a:lnTo>
                        <a:pt x="642" y="386"/>
                      </a:lnTo>
                      <a:lnTo>
                        <a:pt x="640" y="386"/>
                      </a:lnTo>
                      <a:lnTo>
                        <a:pt x="640" y="387"/>
                      </a:lnTo>
                      <a:lnTo>
                        <a:pt x="638" y="387"/>
                      </a:lnTo>
                      <a:lnTo>
                        <a:pt x="640" y="387"/>
                      </a:lnTo>
                      <a:lnTo>
                        <a:pt x="638" y="386"/>
                      </a:lnTo>
                      <a:lnTo>
                        <a:pt x="638" y="387"/>
                      </a:lnTo>
                      <a:lnTo>
                        <a:pt x="638" y="389"/>
                      </a:lnTo>
                      <a:lnTo>
                        <a:pt x="637" y="389"/>
                      </a:lnTo>
                      <a:lnTo>
                        <a:pt x="638" y="389"/>
                      </a:lnTo>
                      <a:lnTo>
                        <a:pt x="637" y="389"/>
                      </a:lnTo>
                      <a:lnTo>
                        <a:pt x="637" y="391"/>
                      </a:lnTo>
                      <a:lnTo>
                        <a:pt x="638" y="391"/>
                      </a:lnTo>
                      <a:lnTo>
                        <a:pt x="637" y="391"/>
                      </a:lnTo>
                      <a:lnTo>
                        <a:pt x="637" y="392"/>
                      </a:lnTo>
                      <a:lnTo>
                        <a:pt x="637" y="391"/>
                      </a:lnTo>
                      <a:lnTo>
                        <a:pt x="635" y="391"/>
                      </a:lnTo>
                      <a:lnTo>
                        <a:pt x="633" y="391"/>
                      </a:lnTo>
                      <a:lnTo>
                        <a:pt x="630" y="391"/>
                      </a:lnTo>
                      <a:lnTo>
                        <a:pt x="627" y="392"/>
                      </a:lnTo>
                      <a:lnTo>
                        <a:pt x="625" y="392"/>
                      </a:lnTo>
                      <a:lnTo>
                        <a:pt x="620" y="395"/>
                      </a:lnTo>
                      <a:lnTo>
                        <a:pt x="616" y="397"/>
                      </a:lnTo>
                      <a:lnTo>
                        <a:pt x="613" y="399"/>
                      </a:lnTo>
                      <a:lnTo>
                        <a:pt x="610" y="400"/>
                      </a:lnTo>
                      <a:lnTo>
                        <a:pt x="606" y="402"/>
                      </a:lnTo>
                      <a:lnTo>
                        <a:pt x="603" y="404"/>
                      </a:lnTo>
                      <a:lnTo>
                        <a:pt x="603" y="405"/>
                      </a:lnTo>
                      <a:lnTo>
                        <a:pt x="600" y="407"/>
                      </a:lnTo>
                      <a:lnTo>
                        <a:pt x="598" y="407"/>
                      </a:lnTo>
                      <a:lnTo>
                        <a:pt x="594" y="409"/>
                      </a:lnTo>
                      <a:lnTo>
                        <a:pt x="593" y="410"/>
                      </a:lnTo>
                      <a:lnTo>
                        <a:pt x="591" y="412"/>
                      </a:lnTo>
                      <a:lnTo>
                        <a:pt x="589" y="412"/>
                      </a:lnTo>
                      <a:lnTo>
                        <a:pt x="588" y="414"/>
                      </a:lnTo>
                      <a:lnTo>
                        <a:pt x="586" y="415"/>
                      </a:lnTo>
                      <a:lnTo>
                        <a:pt x="583" y="417"/>
                      </a:lnTo>
                      <a:lnTo>
                        <a:pt x="581" y="418"/>
                      </a:lnTo>
                      <a:lnTo>
                        <a:pt x="579" y="418"/>
                      </a:lnTo>
                      <a:lnTo>
                        <a:pt x="579" y="420"/>
                      </a:lnTo>
                      <a:lnTo>
                        <a:pt x="579" y="422"/>
                      </a:lnTo>
                      <a:lnTo>
                        <a:pt x="579" y="423"/>
                      </a:lnTo>
                      <a:lnTo>
                        <a:pt x="578" y="423"/>
                      </a:lnTo>
                      <a:lnTo>
                        <a:pt x="578" y="425"/>
                      </a:lnTo>
                      <a:lnTo>
                        <a:pt x="578" y="427"/>
                      </a:lnTo>
                      <a:lnTo>
                        <a:pt x="579" y="427"/>
                      </a:lnTo>
                      <a:lnTo>
                        <a:pt x="578" y="427"/>
                      </a:lnTo>
                      <a:lnTo>
                        <a:pt x="578" y="428"/>
                      </a:lnTo>
                      <a:lnTo>
                        <a:pt x="576" y="428"/>
                      </a:lnTo>
                      <a:lnTo>
                        <a:pt x="578" y="428"/>
                      </a:lnTo>
                      <a:lnTo>
                        <a:pt x="576" y="428"/>
                      </a:lnTo>
                      <a:lnTo>
                        <a:pt x="574" y="428"/>
                      </a:lnTo>
                      <a:lnTo>
                        <a:pt x="574" y="430"/>
                      </a:lnTo>
                      <a:lnTo>
                        <a:pt x="573" y="430"/>
                      </a:lnTo>
                      <a:lnTo>
                        <a:pt x="571" y="430"/>
                      </a:lnTo>
                      <a:lnTo>
                        <a:pt x="571" y="432"/>
                      </a:lnTo>
                      <a:lnTo>
                        <a:pt x="569" y="432"/>
                      </a:lnTo>
                      <a:lnTo>
                        <a:pt x="567" y="433"/>
                      </a:lnTo>
                      <a:lnTo>
                        <a:pt x="566" y="435"/>
                      </a:lnTo>
                      <a:lnTo>
                        <a:pt x="564" y="435"/>
                      </a:lnTo>
                      <a:lnTo>
                        <a:pt x="562" y="437"/>
                      </a:lnTo>
                      <a:lnTo>
                        <a:pt x="562" y="438"/>
                      </a:lnTo>
                      <a:lnTo>
                        <a:pt x="561" y="438"/>
                      </a:lnTo>
                      <a:lnTo>
                        <a:pt x="559" y="440"/>
                      </a:lnTo>
                      <a:lnTo>
                        <a:pt x="557" y="440"/>
                      </a:lnTo>
                      <a:lnTo>
                        <a:pt x="559" y="441"/>
                      </a:lnTo>
                      <a:lnTo>
                        <a:pt x="557" y="441"/>
                      </a:lnTo>
                      <a:lnTo>
                        <a:pt x="556" y="441"/>
                      </a:lnTo>
                      <a:lnTo>
                        <a:pt x="556" y="443"/>
                      </a:lnTo>
                      <a:lnTo>
                        <a:pt x="554" y="443"/>
                      </a:lnTo>
                      <a:lnTo>
                        <a:pt x="552" y="443"/>
                      </a:lnTo>
                      <a:lnTo>
                        <a:pt x="552" y="445"/>
                      </a:lnTo>
                      <a:lnTo>
                        <a:pt x="549" y="446"/>
                      </a:lnTo>
                      <a:lnTo>
                        <a:pt x="545" y="448"/>
                      </a:lnTo>
                      <a:lnTo>
                        <a:pt x="542" y="450"/>
                      </a:lnTo>
                      <a:lnTo>
                        <a:pt x="540" y="451"/>
                      </a:lnTo>
                      <a:lnTo>
                        <a:pt x="539" y="451"/>
                      </a:lnTo>
                      <a:lnTo>
                        <a:pt x="539" y="453"/>
                      </a:lnTo>
                      <a:lnTo>
                        <a:pt x="537" y="453"/>
                      </a:lnTo>
                      <a:lnTo>
                        <a:pt x="535" y="455"/>
                      </a:lnTo>
                      <a:lnTo>
                        <a:pt x="534" y="455"/>
                      </a:lnTo>
                      <a:lnTo>
                        <a:pt x="529" y="456"/>
                      </a:lnTo>
                      <a:lnTo>
                        <a:pt x="529" y="458"/>
                      </a:lnTo>
                      <a:lnTo>
                        <a:pt x="527" y="458"/>
                      </a:lnTo>
                      <a:lnTo>
                        <a:pt x="525" y="460"/>
                      </a:lnTo>
                      <a:lnTo>
                        <a:pt x="524" y="460"/>
                      </a:lnTo>
                      <a:lnTo>
                        <a:pt x="522" y="461"/>
                      </a:lnTo>
                      <a:lnTo>
                        <a:pt x="520" y="463"/>
                      </a:lnTo>
                      <a:lnTo>
                        <a:pt x="518" y="464"/>
                      </a:lnTo>
                      <a:lnTo>
                        <a:pt x="517" y="466"/>
                      </a:lnTo>
                      <a:lnTo>
                        <a:pt x="515" y="466"/>
                      </a:lnTo>
                      <a:lnTo>
                        <a:pt x="513" y="468"/>
                      </a:lnTo>
                      <a:lnTo>
                        <a:pt x="508" y="471"/>
                      </a:lnTo>
                      <a:lnTo>
                        <a:pt x="507" y="473"/>
                      </a:lnTo>
                      <a:lnTo>
                        <a:pt x="503" y="476"/>
                      </a:lnTo>
                      <a:lnTo>
                        <a:pt x="500" y="479"/>
                      </a:lnTo>
                      <a:lnTo>
                        <a:pt x="498" y="481"/>
                      </a:lnTo>
                      <a:lnTo>
                        <a:pt x="497" y="483"/>
                      </a:lnTo>
                      <a:lnTo>
                        <a:pt x="497" y="484"/>
                      </a:lnTo>
                      <a:lnTo>
                        <a:pt x="495" y="484"/>
                      </a:lnTo>
                      <a:lnTo>
                        <a:pt x="495" y="486"/>
                      </a:lnTo>
                      <a:lnTo>
                        <a:pt x="493" y="486"/>
                      </a:lnTo>
                      <a:lnTo>
                        <a:pt x="493" y="487"/>
                      </a:lnTo>
                      <a:lnTo>
                        <a:pt x="495" y="489"/>
                      </a:lnTo>
                      <a:lnTo>
                        <a:pt x="495" y="491"/>
                      </a:lnTo>
                      <a:lnTo>
                        <a:pt x="493" y="492"/>
                      </a:lnTo>
                      <a:lnTo>
                        <a:pt x="493" y="494"/>
                      </a:lnTo>
                      <a:lnTo>
                        <a:pt x="493" y="496"/>
                      </a:lnTo>
                      <a:lnTo>
                        <a:pt x="493" y="497"/>
                      </a:lnTo>
                      <a:lnTo>
                        <a:pt x="493" y="496"/>
                      </a:lnTo>
                      <a:lnTo>
                        <a:pt x="491" y="496"/>
                      </a:lnTo>
                      <a:lnTo>
                        <a:pt x="491" y="497"/>
                      </a:lnTo>
                      <a:lnTo>
                        <a:pt x="490" y="497"/>
                      </a:lnTo>
                      <a:lnTo>
                        <a:pt x="488" y="499"/>
                      </a:lnTo>
                      <a:lnTo>
                        <a:pt x="486" y="501"/>
                      </a:lnTo>
                      <a:lnTo>
                        <a:pt x="485" y="501"/>
                      </a:lnTo>
                      <a:lnTo>
                        <a:pt x="485" y="502"/>
                      </a:lnTo>
                      <a:lnTo>
                        <a:pt x="481" y="504"/>
                      </a:lnTo>
                      <a:lnTo>
                        <a:pt x="481" y="506"/>
                      </a:lnTo>
                      <a:lnTo>
                        <a:pt x="480" y="506"/>
                      </a:lnTo>
                      <a:lnTo>
                        <a:pt x="478" y="509"/>
                      </a:lnTo>
                      <a:lnTo>
                        <a:pt x="476" y="510"/>
                      </a:lnTo>
                      <a:lnTo>
                        <a:pt x="475" y="509"/>
                      </a:lnTo>
                      <a:lnTo>
                        <a:pt x="476" y="509"/>
                      </a:lnTo>
                      <a:lnTo>
                        <a:pt x="476" y="507"/>
                      </a:lnTo>
                      <a:lnTo>
                        <a:pt x="478" y="507"/>
                      </a:lnTo>
                      <a:lnTo>
                        <a:pt x="480" y="506"/>
                      </a:lnTo>
                      <a:lnTo>
                        <a:pt x="480" y="504"/>
                      </a:lnTo>
                      <a:lnTo>
                        <a:pt x="481" y="504"/>
                      </a:lnTo>
                      <a:lnTo>
                        <a:pt x="483" y="502"/>
                      </a:lnTo>
                      <a:lnTo>
                        <a:pt x="481" y="502"/>
                      </a:lnTo>
                      <a:lnTo>
                        <a:pt x="483" y="502"/>
                      </a:lnTo>
                      <a:lnTo>
                        <a:pt x="481" y="501"/>
                      </a:lnTo>
                      <a:lnTo>
                        <a:pt x="481" y="502"/>
                      </a:lnTo>
                      <a:lnTo>
                        <a:pt x="480" y="502"/>
                      </a:lnTo>
                      <a:lnTo>
                        <a:pt x="480" y="501"/>
                      </a:lnTo>
                      <a:lnTo>
                        <a:pt x="480" y="502"/>
                      </a:lnTo>
                      <a:lnTo>
                        <a:pt x="480" y="504"/>
                      </a:lnTo>
                      <a:lnTo>
                        <a:pt x="478" y="504"/>
                      </a:lnTo>
                      <a:lnTo>
                        <a:pt x="476" y="504"/>
                      </a:lnTo>
                      <a:lnTo>
                        <a:pt x="475" y="504"/>
                      </a:lnTo>
                      <a:lnTo>
                        <a:pt x="473" y="504"/>
                      </a:lnTo>
                      <a:lnTo>
                        <a:pt x="473" y="502"/>
                      </a:lnTo>
                      <a:lnTo>
                        <a:pt x="471" y="502"/>
                      </a:lnTo>
                      <a:lnTo>
                        <a:pt x="469" y="501"/>
                      </a:lnTo>
                      <a:lnTo>
                        <a:pt x="468" y="501"/>
                      </a:lnTo>
                      <a:lnTo>
                        <a:pt x="468" y="499"/>
                      </a:lnTo>
                      <a:lnTo>
                        <a:pt x="466" y="499"/>
                      </a:lnTo>
                      <a:lnTo>
                        <a:pt x="468" y="499"/>
                      </a:lnTo>
                      <a:lnTo>
                        <a:pt x="468" y="497"/>
                      </a:lnTo>
                      <a:lnTo>
                        <a:pt x="469" y="497"/>
                      </a:lnTo>
                      <a:lnTo>
                        <a:pt x="469" y="496"/>
                      </a:lnTo>
                      <a:lnTo>
                        <a:pt x="469" y="494"/>
                      </a:lnTo>
                      <a:lnTo>
                        <a:pt x="468" y="494"/>
                      </a:lnTo>
                      <a:lnTo>
                        <a:pt x="468" y="492"/>
                      </a:lnTo>
                      <a:lnTo>
                        <a:pt x="466" y="492"/>
                      </a:lnTo>
                      <a:lnTo>
                        <a:pt x="466" y="491"/>
                      </a:lnTo>
                      <a:lnTo>
                        <a:pt x="466" y="489"/>
                      </a:lnTo>
                      <a:lnTo>
                        <a:pt x="464" y="489"/>
                      </a:lnTo>
                      <a:lnTo>
                        <a:pt x="464" y="487"/>
                      </a:lnTo>
                      <a:lnTo>
                        <a:pt x="464" y="486"/>
                      </a:lnTo>
                      <a:lnTo>
                        <a:pt x="464" y="484"/>
                      </a:lnTo>
                      <a:lnTo>
                        <a:pt x="464" y="483"/>
                      </a:lnTo>
                      <a:lnTo>
                        <a:pt x="463" y="483"/>
                      </a:lnTo>
                      <a:lnTo>
                        <a:pt x="464" y="483"/>
                      </a:lnTo>
                      <a:lnTo>
                        <a:pt x="463" y="483"/>
                      </a:lnTo>
                      <a:lnTo>
                        <a:pt x="463" y="481"/>
                      </a:lnTo>
                      <a:lnTo>
                        <a:pt x="461" y="481"/>
                      </a:lnTo>
                      <a:lnTo>
                        <a:pt x="461" y="479"/>
                      </a:lnTo>
                      <a:lnTo>
                        <a:pt x="461" y="481"/>
                      </a:lnTo>
                      <a:lnTo>
                        <a:pt x="459" y="481"/>
                      </a:lnTo>
                      <a:lnTo>
                        <a:pt x="459" y="483"/>
                      </a:lnTo>
                      <a:lnTo>
                        <a:pt x="458" y="483"/>
                      </a:lnTo>
                      <a:lnTo>
                        <a:pt x="459" y="483"/>
                      </a:lnTo>
                      <a:lnTo>
                        <a:pt x="459" y="484"/>
                      </a:lnTo>
                      <a:lnTo>
                        <a:pt x="458" y="484"/>
                      </a:lnTo>
                      <a:lnTo>
                        <a:pt x="458" y="483"/>
                      </a:lnTo>
                      <a:lnTo>
                        <a:pt x="456" y="483"/>
                      </a:lnTo>
                      <a:lnTo>
                        <a:pt x="456" y="484"/>
                      </a:lnTo>
                      <a:lnTo>
                        <a:pt x="456" y="486"/>
                      </a:lnTo>
                      <a:lnTo>
                        <a:pt x="454" y="486"/>
                      </a:lnTo>
                      <a:lnTo>
                        <a:pt x="454" y="484"/>
                      </a:lnTo>
                      <a:lnTo>
                        <a:pt x="453" y="484"/>
                      </a:lnTo>
                      <a:lnTo>
                        <a:pt x="451" y="484"/>
                      </a:lnTo>
                      <a:lnTo>
                        <a:pt x="451" y="483"/>
                      </a:lnTo>
                      <a:lnTo>
                        <a:pt x="449" y="483"/>
                      </a:lnTo>
                      <a:lnTo>
                        <a:pt x="449" y="481"/>
                      </a:lnTo>
                      <a:lnTo>
                        <a:pt x="448" y="481"/>
                      </a:lnTo>
                      <a:lnTo>
                        <a:pt x="448" y="479"/>
                      </a:lnTo>
                      <a:lnTo>
                        <a:pt x="446" y="479"/>
                      </a:lnTo>
                      <a:lnTo>
                        <a:pt x="446" y="481"/>
                      </a:lnTo>
                      <a:lnTo>
                        <a:pt x="444" y="481"/>
                      </a:lnTo>
                      <a:lnTo>
                        <a:pt x="442" y="481"/>
                      </a:lnTo>
                      <a:lnTo>
                        <a:pt x="441" y="481"/>
                      </a:lnTo>
                      <a:lnTo>
                        <a:pt x="441" y="483"/>
                      </a:lnTo>
                      <a:lnTo>
                        <a:pt x="439" y="483"/>
                      </a:lnTo>
                      <a:lnTo>
                        <a:pt x="439" y="484"/>
                      </a:lnTo>
                      <a:lnTo>
                        <a:pt x="439" y="486"/>
                      </a:lnTo>
                      <a:lnTo>
                        <a:pt x="437" y="486"/>
                      </a:lnTo>
                      <a:lnTo>
                        <a:pt x="437" y="487"/>
                      </a:lnTo>
                      <a:lnTo>
                        <a:pt x="436" y="487"/>
                      </a:lnTo>
                      <a:lnTo>
                        <a:pt x="436" y="489"/>
                      </a:lnTo>
                      <a:lnTo>
                        <a:pt x="436" y="491"/>
                      </a:lnTo>
                      <a:lnTo>
                        <a:pt x="434" y="491"/>
                      </a:lnTo>
                      <a:lnTo>
                        <a:pt x="432" y="489"/>
                      </a:lnTo>
                      <a:lnTo>
                        <a:pt x="432" y="487"/>
                      </a:lnTo>
                      <a:lnTo>
                        <a:pt x="432" y="486"/>
                      </a:lnTo>
                      <a:lnTo>
                        <a:pt x="431" y="486"/>
                      </a:lnTo>
                      <a:lnTo>
                        <a:pt x="429" y="486"/>
                      </a:lnTo>
                      <a:lnTo>
                        <a:pt x="431" y="486"/>
                      </a:lnTo>
                      <a:lnTo>
                        <a:pt x="429" y="484"/>
                      </a:lnTo>
                      <a:lnTo>
                        <a:pt x="429" y="483"/>
                      </a:lnTo>
                      <a:lnTo>
                        <a:pt x="427" y="483"/>
                      </a:lnTo>
                      <a:lnTo>
                        <a:pt x="429" y="483"/>
                      </a:lnTo>
                      <a:lnTo>
                        <a:pt x="427" y="483"/>
                      </a:lnTo>
                      <a:lnTo>
                        <a:pt x="429" y="481"/>
                      </a:lnTo>
                      <a:lnTo>
                        <a:pt x="429" y="479"/>
                      </a:lnTo>
                      <a:lnTo>
                        <a:pt x="431" y="479"/>
                      </a:lnTo>
                      <a:lnTo>
                        <a:pt x="431" y="478"/>
                      </a:lnTo>
                      <a:lnTo>
                        <a:pt x="431" y="476"/>
                      </a:lnTo>
                      <a:lnTo>
                        <a:pt x="432" y="476"/>
                      </a:lnTo>
                      <a:lnTo>
                        <a:pt x="431" y="476"/>
                      </a:lnTo>
                      <a:lnTo>
                        <a:pt x="431" y="474"/>
                      </a:lnTo>
                      <a:lnTo>
                        <a:pt x="431" y="473"/>
                      </a:lnTo>
                      <a:lnTo>
                        <a:pt x="431" y="471"/>
                      </a:lnTo>
                      <a:lnTo>
                        <a:pt x="432" y="471"/>
                      </a:lnTo>
                      <a:lnTo>
                        <a:pt x="432" y="473"/>
                      </a:lnTo>
                      <a:lnTo>
                        <a:pt x="432" y="471"/>
                      </a:lnTo>
                      <a:lnTo>
                        <a:pt x="432" y="469"/>
                      </a:lnTo>
                      <a:lnTo>
                        <a:pt x="432" y="471"/>
                      </a:lnTo>
                      <a:lnTo>
                        <a:pt x="432" y="469"/>
                      </a:lnTo>
                      <a:lnTo>
                        <a:pt x="434" y="469"/>
                      </a:lnTo>
                      <a:lnTo>
                        <a:pt x="432" y="469"/>
                      </a:lnTo>
                      <a:lnTo>
                        <a:pt x="431" y="469"/>
                      </a:lnTo>
                      <a:lnTo>
                        <a:pt x="431" y="468"/>
                      </a:lnTo>
                      <a:lnTo>
                        <a:pt x="431" y="466"/>
                      </a:lnTo>
                      <a:lnTo>
                        <a:pt x="432" y="464"/>
                      </a:lnTo>
                      <a:lnTo>
                        <a:pt x="432" y="463"/>
                      </a:lnTo>
                      <a:lnTo>
                        <a:pt x="434" y="461"/>
                      </a:lnTo>
                      <a:lnTo>
                        <a:pt x="436" y="461"/>
                      </a:lnTo>
                      <a:lnTo>
                        <a:pt x="436" y="460"/>
                      </a:lnTo>
                      <a:lnTo>
                        <a:pt x="437" y="460"/>
                      </a:lnTo>
                      <a:lnTo>
                        <a:pt x="437" y="458"/>
                      </a:lnTo>
                      <a:lnTo>
                        <a:pt x="437" y="456"/>
                      </a:lnTo>
                      <a:lnTo>
                        <a:pt x="436" y="458"/>
                      </a:lnTo>
                      <a:lnTo>
                        <a:pt x="436" y="456"/>
                      </a:lnTo>
                      <a:lnTo>
                        <a:pt x="434" y="456"/>
                      </a:lnTo>
                      <a:lnTo>
                        <a:pt x="432" y="455"/>
                      </a:lnTo>
                      <a:lnTo>
                        <a:pt x="434" y="455"/>
                      </a:lnTo>
                      <a:lnTo>
                        <a:pt x="432" y="455"/>
                      </a:lnTo>
                      <a:lnTo>
                        <a:pt x="431" y="455"/>
                      </a:lnTo>
                      <a:lnTo>
                        <a:pt x="431" y="453"/>
                      </a:lnTo>
                      <a:lnTo>
                        <a:pt x="431" y="451"/>
                      </a:lnTo>
                      <a:lnTo>
                        <a:pt x="429" y="451"/>
                      </a:lnTo>
                      <a:lnTo>
                        <a:pt x="427" y="451"/>
                      </a:lnTo>
                      <a:lnTo>
                        <a:pt x="426" y="451"/>
                      </a:lnTo>
                      <a:lnTo>
                        <a:pt x="424" y="451"/>
                      </a:lnTo>
                      <a:lnTo>
                        <a:pt x="424" y="453"/>
                      </a:lnTo>
                      <a:lnTo>
                        <a:pt x="422" y="453"/>
                      </a:lnTo>
                      <a:lnTo>
                        <a:pt x="422" y="455"/>
                      </a:lnTo>
                      <a:lnTo>
                        <a:pt x="422" y="453"/>
                      </a:lnTo>
                      <a:lnTo>
                        <a:pt x="421" y="453"/>
                      </a:lnTo>
                      <a:lnTo>
                        <a:pt x="421" y="451"/>
                      </a:lnTo>
                      <a:lnTo>
                        <a:pt x="419" y="450"/>
                      </a:lnTo>
                      <a:lnTo>
                        <a:pt x="419" y="451"/>
                      </a:lnTo>
                      <a:lnTo>
                        <a:pt x="419" y="453"/>
                      </a:lnTo>
                      <a:lnTo>
                        <a:pt x="419" y="451"/>
                      </a:lnTo>
                      <a:lnTo>
                        <a:pt x="417" y="451"/>
                      </a:lnTo>
                      <a:lnTo>
                        <a:pt x="415" y="451"/>
                      </a:lnTo>
                      <a:lnTo>
                        <a:pt x="415" y="453"/>
                      </a:lnTo>
                      <a:lnTo>
                        <a:pt x="415" y="451"/>
                      </a:lnTo>
                      <a:lnTo>
                        <a:pt x="415" y="453"/>
                      </a:lnTo>
                      <a:lnTo>
                        <a:pt x="414" y="453"/>
                      </a:lnTo>
                      <a:lnTo>
                        <a:pt x="414" y="451"/>
                      </a:lnTo>
                      <a:lnTo>
                        <a:pt x="412" y="451"/>
                      </a:lnTo>
                      <a:lnTo>
                        <a:pt x="412" y="453"/>
                      </a:lnTo>
                      <a:lnTo>
                        <a:pt x="410" y="453"/>
                      </a:lnTo>
                      <a:lnTo>
                        <a:pt x="410" y="451"/>
                      </a:lnTo>
                      <a:lnTo>
                        <a:pt x="409" y="451"/>
                      </a:lnTo>
                      <a:lnTo>
                        <a:pt x="407" y="450"/>
                      </a:lnTo>
                      <a:lnTo>
                        <a:pt x="405" y="450"/>
                      </a:lnTo>
                      <a:lnTo>
                        <a:pt x="404" y="450"/>
                      </a:lnTo>
                      <a:lnTo>
                        <a:pt x="404" y="451"/>
                      </a:lnTo>
                      <a:lnTo>
                        <a:pt x="405" y="451"/>
                      </a:lnTo>
                      <a:lnTo>
                        <a:pt x="404" y="451"/>
                      </a:lnTo>
                      <a:lnTo>
                        <a:pt x="404" y="450"/>
                      </a:lnTo>
                      <a:lnTo>
                        <a:pt x="402" y="451"/>
                      </a:lnTo>
                      <a:lnTo>
                        <a:pt x="402" y="450"/>
                      </a:lnTo>
                      <a:lnTo>
                        <a:pt x="400" y="451"/>
                      </a:lnTo>
                      <a:lnTo>
                        <a:pt x="399" y="451"/>
                      </a:lnTo>
                      <a:lnTo>
                        <a:pt x="397" y="451"/>
                      </a:lnTo>
                      <a:lnTo>
                        <a:pt x="395" y="451"/>
                      </a:lnTo>
                      <a:lnTo>
                        <a:pt x="393" y="451"/>
                      </a:lnTo>
                      <a:lnTo>
                        <a:pt x="392" y="451"/>
                      </a:lnTo>
                      <a:lnTo>
                        <a:pt x="392" y="450"/>
                      </a:lnTo>
                      <a:lnTo>
                        <a:pt x="390" y="450"/>
                      </a:lnTo>
                      <a:lnTo>
                        <a:pt x="388" y="450"/>
                      </a:lnTo>
                      <a:lnTo>
                        <a:pt x="390" y="448"/>
                      </a:lnTo>
                      <a:lnTo>
                        <a:pt x="388" y="448"/>
                      </a:lnTo>
                      <a:lnTo>
                        <a:pt x="387" y="448"/>
                      </a:lnTo>
                      <a:lnTo>
                        <a:pt x="387" y="450"/>
                      </a:lnTo>
                      <a:lnTo>
                        <a:pt x="385" y="450"/>
                      </a:lnTo>
                      <a:lnTo>
                        <a:pt x="385" y="451"/>
                      </a:lnTo>
                      <a:lnTo>
                        <a:pt x="383" y="451"/>
                      </a:lnTo>
                      <a:lnTo>
                        <a:pt x="382" y="451"/>
                      </a:lnTo>
                      <a:lnTo>
                        <a:pt x="380" y="451"/>
                      </a:lnTo>
                      <a:lnTo>
                        <a:pt x="380" y="453"/>
                      </a:lnTo>
                      <a:lnTo>
                        <a:pt x="378" y="453"/>
                      </a:lnTo>
                      <a:lnTo>
                        <a:pt x="378" y="451"/>
                      </a:lnTo>
                      <a:lnTo>
                        <a:pt x="377" y="451"/>
                      </a:lnTo>
                      <a:lnTo>
                        <a:pt x="375" y="451"/>
                      </a:lnTo>
                      <a:lnTo>
                        <a:pt x="373" y="451"/>
                      </a:lnTo>
                      <a:lnTo>
                        <a:pt x="372" y="451"/>
                      </a:lnTo>
                      <a:lnTo>
                        <a:pt x="370" y="451"/>
                      </a:lnTo>
                      <a:lnTo>
                        <a:pt x="370" y="453"/>
                      </a:lnTo>
                      <a:lnTo>
                        <a:pt x="368" y="453"/>
                      </a:lnTo>
                      <a:lnTo>
                        <a:pt x="366" y="453"/>
                      </a:lnTo>
                      <a:lnTo>
                        <a:pt x="365" y="453"/>
                      </a:lnTo>
                      <a:lnTo>
                        <a:pt x="363" y="453"/>
                      </a:lnTo>
                      <a:lnTo>
                        <a:pt x="363" y="451"/>
                      </a:lnTo>
                      <a:lnTo>
                        <a:pt x="361" y="451"/>
                      </a:lnTo>
                      <a:lnTo>
                        <a:pt x="361" y="450"/>
                      </a:lnTo>
                      <a:lnTo>
                        <a:pt x="360" y="450"/>
                      </a:lnTo>
                      <a:lnTo>
                        <a:pt x="361" y="450"/>
                      </a:lnTo>
                      <a:lnTo>
                        <a:pt x="361" y="448"/>
                      </a:lnTo>
                      <a:lnTo>
                        <a:pt x="360" y="448"/>
                      </a:lnTo>
                      <a:lnTo>
                        <a:pt x="360" y="446"/>
                      </a:lnTo>
                      <a:lnTo>
                        <a:pt x="361" y="446"/>
                      </a:lnTo>
                      <a:lnTo>
                        <a:pt x="360" y="445"/>
                      </a:lnTo>
                      <a:lnTo>
                        <a:pt x="361" y="445"/>
                      </a:lnTo>
                      <a:lnTo>
                        <a:pt x="361" y="443"/>
                      </a:lnTo>
                      <a:lnTo>
                        <a:pt x="360" y="443"/>
                      </a:lnTo>
                      <a:lnTo>
                        <a:pt x="361" y="443"/>
                      </a:lnTo>
                      <a:lnTo>
                        <a:pt x="360" y="441"/>
                      </a:lnTo>
                      <a:lnTo>
                        <a:pt x="360" y="440"/>
                      </a:lnTo>
                      <a:lnTo>
                        <a:pt x="361" y="440"/>
                      </a:lnTo>
                      <a:lnTo>
                        <a:pt x="363" y="440"/>
                      </a:lnTo>
                      <a:lnTo>
                        <a:pt x="363" y="438"/>
                      </a:lnTo>
                      <a:lnTo>
                        <a:pt x="363" y="437"/>
                      </a:lnTo>
                      <a:lnTo>
                        <a:pt x="361" y="435"/>
                      </a:lnTo>
                      <a:lnTo>
                        <a:pt x="363" y="435"/>
                      </a:lnTo>
                      <a:lnTo>
                        <a:pt x="365" y="435"/>
                      </a:lnTo>
                      <a:lnTo>
                        <a:pt x="365" y="433"/>
                      </a:lnTo>
                      <a:lnTo>
                        <a:pt x="366" y="433"/>
                      </a:lnTo>
                      <a:lnTo>
                        <a:pt x="366" y="432"/>
                      </a:lnTo>
                      <a:lnTo>
                        <a:pt x="366" y="430"/>
                      </a:lnTo>
                      <a:lnTo>
                        <a:pt x="366" y="428"/>
                      </a:lnTo>
                      <a:lnTo>
                        <a:pt x="368" y="427"/>
                      </a:lnTo>
                      <a:lnTo>
                        <a:pt x="366" y="427"/>
                      </a:lnTo>
                      <a:lnTo>
                        <a:pt x="366" y="425"/>
                      </a:lnTo>
                      <a:lnTo>
                        <a:pt x="368" y="425"/>
                      </a:lnTo>
                      <a:lnTo>
                        <a:pt x="368" y="423"/>
                      </a:lnTo>
                      <a:lnTo>
                        <a:pt x="368" y="422"/>
                      </a:lnTo>
                      <a:lnTo>
                        <a:pt x="370" y="422"/>
                      </a:lnTo>
                      <a:lnTo>
                        <a:pt x="372" y="420"/>
                      </a:lnTo>
                      <a:lnTo>
                        <a:pt x="370" y="420"/>
                      </a:lnTo>
                      <a:lnTo>
                        <a:pt x="372" y="420"/>
                      </a:lnTo>
                      <a:lnTo>
                        <a:pt x="370" y="420"/>
                      </a:lnTo>
                      <a:lnTo>
                        <a:pt x="368" y="420"/>
                      </a:lnTo>
                      <a:lnTo>
                        <a:pt x="368" y="418"/>
                      </a:lnTo>
                      <a:lnTo>
                        <a:pt x="368" y="420"/>
                      </a:lnTo>
                      <a:lnTo>
                        <a:pt x="366" y="420"/>
                      </a:lnTo>
                      <a:lnTo>
                        <a:pt x="366" y="418"/>
                      </a:lnTo>
                      <a:lnTo>
                        <a:pt x="365" y="418"/>
                      </a:lnTo>
                      <a:lnTo>
                        <a:pt x="365" y="417"/>
                      </a:lnTo>
                      <a:lnTo>
                        <a:pt x="363" y="417"/>
                      </a:lnTo>
                      <a:lnTo>
                        <a:pt x="363" y="415"/>
                      </a:lnTo>
                      <a:lnTo>
                        <a:pt x="361" y="415"/>
                      </a:lnTo>
                      <a:lnTo>
                        <a:pt x="361" y="414"/>
                      </a:lnTo>
                      <a:lnTo>
                        <a:pt x="361" y="412"/>
                      </a:lnTo>
                      <a:lnTo>
                        <a:pt x="360" y="412"/>
                      </a:lnTo>
                      <a:lnTo>
                        <a:pt x="360" y="410"/>
                      </a:lnTo>
                      <a:lnTo>
                        <a:pt x="358" y="410"/>
                      </a:lnTo>
                      <a:lnTo>
                        <a:pt x="358" y="409"/>
                      </a:lnTo>
                      <a:lnTo>
                        <a:pt x="356" y="409"/>
                      </a:lnTo>
                      <a:lnTo>
                        <a:pt x="358" y="407"/>
                      </a:lnTo>
                      <a:lnTo>
                        <a:pt x="358" y="405"/>
                      </a:lnTo>
                      <a:lnTo>
                        <a:pt x="358" y="404"/>
                      </a:lnTo>
                      <a:lnTo>
                        <a:pt x="358" y="402"/>
                      </a:lnTo>
                      <a:lnTo>
                        <a:pt x="356" y="400"/>
                      </a:lnTo>
                      <a:lnTo>
                        <a:pt x="355" y="400"/>
                      </a:lnTo>
                      <a:lnTo>
                        <a:pt x="356" y="400"/>
                      </a:lnTo>
                      <a:lnTo>
                        <a:pt x="355" y="400"/>
                      </a:lnTo>
                      <a:lnTo>
                        <a:pt x="355" y="399"/>
                      </a:lnTo>
                      <a:lnTo>
                        <a:pt x="355" y="400"/>
                      </a:lnTo>
                      <a:lnTo>
                        <a:pt x="353" y="399"/>
                      </a:lnTo>
                      <a:lnTo>
                        <a:pt x="353" y="400"/>
                      </a:lnTo>
                      <a:lnTo>
                        <a:pt x="353" y="399"/>
                      </a:lnTo>
                      <a:lnTo>
                        <a:pt x="351" y="399"/>
                      </a:lnTo>
                      <a:lnTo>
                        <a:pt x="351" y="397"/>
                      </a:lnTo>
                      <a:lnTo>
                        <a:pt x="350" y="397"/>
                      </a:lnTo>
                      <a:lnTo>
                        <a:pt x="350" y="395"/>
                      </a:lnTo>
                      <a:lnTo>
                        <a:pt x="348" y="395"/>
                      </a:lnTo>
                      <a:lnTo>
                        <a:pt x="348" y="394"/>
                      </a:lnTo>
                      <a:lnTo>
                        <a:pt x="346" y="394"/>
                      </a:lnTo>
                      <a:lnTo>
                        <a:pt x="346" y="392"/>
                      </a:lnTo>
                      <a:lnTo>
                        <a:pt x="346" y="391"/>
                      </a:lnTo>
                      <a:lnTo>
                        <a:pt x="345" y="391"/>
                      </a:lnTo>
                      <a:lnTo>
                        <a:pt x="343" y="391"/>
                      </a:lnTo>
                      <a:lnTo>
                        <a:pt x="345" y="391"/>
                      </a:lnTo>
                      <a:lnTo>
                        <a:pt x="343" y="391"/>
                      </a:lnTo>
                      <a:lnTo>
                        <a:pt x="345" y="391"/>
                      </a:lnTo>
                      <a:lnTo>
                        <a:pt x="345" y="389"/>
                      </a:lnTo>
                      <a:lnTo>
                        <a:pt x="343" y="389"/>
                      </a:lnTo>
                      <a:lnTo>
                        <a:pt x="343" y="387"/>
                      </a:lnTo>
                      <a:lnTo>
                        <a:pt x="343" y="386"/>
                      </a:lnTo>
                      <a:lnTo>
                        <a:pt x="341" y="386"/>
                      </a:lnTo>
                      <a:lnTo>
                        <a:pt x="343" y="386"/>
                      </a:lnTo>
                      <a:lnTo>
                        <a:pt x="343" y="384"/>
                      </a:lnTo>
                      <a:lnTo>
                        <a:pt x="341" y="384"/>
                      </a:lnTo>
                      <a:lnTo>
                        <a:pt x="341" y="382"/>
                      </a:lnTo>
                      <a:lnTo>
                        <a:pt x="341" y="381"/>
                      </a:lnTo>
                      <a:lnTo>
                        <a:pt x="339" y="382"/>
                      </a:lnTo>
                      <a:lnTo>
                        <a:pt x="338" y="382"/>
                      </a:lnTo>
                      <a:lnTo>
                        <a:pt x="338" y="381"/>
                      </a:lnTo>
                      <a:lnTo>
                        <a:pt x="336" y="381"/>
                      </a:lnTo>
                      <a:lnTo>
                        <a:pt x="336" y="379"/>
                      </a:lnTo>
                      <a:lnTo>
                        <a:pt x="336" y="377"/>
                      </a:lnTo>
                      <a:lnTo>
                        <a:pt x="334" y="377"/>
                      </a:lnTo>
                      <a:lnTo>
                        <a:pt x="334" y="379"/>
                      </a:lnTo>
                      <a:lnTo>
                        <a:pt x="334" y="377"/>
                      </a:lnTo>
                      <a:lnTo>
                        <a:pt x="333" y="377"/>
                      </a:lnTo>
                      <a:lnTo>
                        <a:pt x="333" y="376"/>
                      </a:lnTo>
                      <a:lnTo>
                        <a:pt x="333" y="374"/>
                      </a:lnTo>
                      <a:lnTo>
                        <a:pt x="333" y="376"/>
                      </a:lnTo>
                      <a:lnTo>
                        <a:pt x="334" y="374"/>
                      </a:lnTo>
                      <a:lnTo>
                        <a:pt x="333" y="374"/>
                      </a:lnTo>
                      <a:lnTo>
                        <a:pt x="334" y="374"/>
                      </a:lnTo>
                      <a:lnTo>
                        <a:pt x="334" y="372"/>
                      </a:lnTo>
                      <a:lnTo>
                        <a:pt x="336" y="372"/>
                      </a:lnTo>
                      <a:lnTo>
                        <a:pt x="338" y="371"/>
                      </a:lnTo>
                      <a:lnTo>
                        <a:pt x="336" y="371"/>
                      </a:lnTo>
                      <a:lnTo>
                        <a:pt x="336" y="369"/>
                      </a:lnTo>
                      <a:lnTo>
                        <a:pt x="338" y="369"/>
                      </a:lnTo>
                      <a:lnTo>
                        <a:pt x="336" y="369"/>
                      </a:lnTo>
                      <a:lnTo>
                        <a:pt x="336" y="368"/>
                      </a:lnTo>
                      <a:lnTo>
                        <a:pt x="336" y="366"/>
                      </a:lnTo>
                      <a:lnTo>
                        <a:pt x="336" y="364"/>
                      </a:lnTo>
                      <a:lnTo>
                        <a:pt x="338" y="364"/>
                      </a:lnTo>
                      <a:lnTo>
                        <a:pt x="338" y="363"/>
                      </a:lnTo>
                      <a:lnTo>
                        <a:pt x="338" y="361"/>
                      </a:lnTo>
                      <a:lnTo>
                        <a:pt x="336" y="361"/>
                      </a:lnTo>
                      <a:lnTo>
                        <a:pt x="336" y="359"/>
                      </a:lnTo>
                      <a:lnTo>
                        <a:pt x="334" y="359"/>
                      </a:lnTo>
                      <a:lnTo>
                        <a:pt x="334" y="358"/>
                      </a:lnTo>
                      <a:lnTo>
                        <a:pt x="333" y="356"/>
                      </a:lnTo>
                      <a:lnTo>
                        <a:pt x="331" y="356"/>
                      </a:lnTo>
                      <a:lnTo>
                        <a:pt x="333" y="356"/>
                      </a:lnTo>
                      <a:lnTo>
                        <a:pt x="333" y="354"/>
                      </a:lnTo>
                      <a:lnTo>
                        <a:pt x="331" y="353"/>
                      </a:lnTo>
                      <a:lnTo>
                        <a:pt x="333" y="353"/>
                      </a:lnTo>
                      <a:lnTo>
                        <a:pt x="331" y="353"/>
                      </a:lnTo>
                      <a:lnTo>
                        <a:pt x="331" y="351"/>
                      </a:lnTo>
                      <a:lnTo>
                        <a:pt x="333" y="351"/>
                      </a:lnTo>
                      <a:lnTo>
                        <a:pt x="333" y="350"/>
                      </a:lnTo>
                      <a:lnTo>
                        <a:pt x="333" y="348"/>
                      </a:lnTo>
                      <a:lnTo>
                        <a:pt x="333" y="346"/>
                      </a:lnTo>
                      <a:lnTo>
                        <a:pt x="331" y="345"/>
                      </a:lnTo>
                      <a:lnTo>
                        <a:pt x="331" y="343"/>
                      </a:lnTo>
                      <a:lnTo>
                        <a:pt x="333" y="343"/>
                      </a:lnTo>
                      <a:lnTo>
                        <a:pt x="331" y="343"/>
                      </a:lnTo>
                      <a:lnTo>
                        <a:pt x="331" y="341"/>
                      </a:lnTo>
                      <a:lnTo>
                        <a:pt x="333" y="341"/>
                      </a:lnTo>
                      <a:lnTo>
                        <a:pt x="331" y="340"/>
                      </a:lnTo>
                      <a:lnTo>
                        <a:pt x="333" y="340"/>
                      </a:lnTo>
                      <a:lnTo>
                        <a:pt x="333" y="341"/>
                      </a:lnTo>
                      <a:lnTo>
                        <a:pt x="333" y="340"/>
                      </a:lnTo>
                      <a:lnTo>
                        <a:pt x="333" y="338"/>
                      </a:lnTo>
                      <a:lnTo>
                        <a:pt x="334" y="336"/>
                      </a:lnTo>
                      <a:lnTo>
                        <a:pt x="336" y="336"/>
                      </a:lnTo>
                      <a:lnTo>
                        <a:pt x="336" y="338"/>
                      </a:lnTo>
                      <a:lnTo>
                        <a:pt x="336" y="336"/>
                      </a:lnTo>
                      <a:lnTo>
                        <a:pt x="334" y="336"/>
                      </a:lnTo>
                      <a:lnTo>
                        <a:pt x="334" y="335"/>
                      </a:lnTo>
                      <a:lnTo>
                        <a:pt x="333" y="335"/>
                      </a:lnTo>
                      <a:lnTo>
                        <a:pt x="333" y="333"/>
                      </a:lnTo>
                      <a:lnTo>
                        <a:pt x="331" y="333"/>
                      </a:lnTo>
                      <a:lnTo>
                        <a:pt x="333" y="333"/>
                      </a:lnTo>
                      <a:lnTo>
                        <a:pt x="333" y="331"/>
                      </a:lnTo>
                      <a:lnTo>
                        <a:pt x="334" y="333"/>
                      </a:lnTo>
                      <a:lnTo>
                        <a:pt x="334" y="331"/>
                      </a:lnTo>
                      <a:lnTo>
                        <a:pt x="333" y="331"/>
                      </a:lnTo>
                      <a:lnTo>
                        <a:pt x="334" y="330"/>
                      </a:lnTo>
                      <a:lnTo>
                        <a:pt x="333" y="330"/>
                      </a:lnTo>
                      <a:lnTo>
                        <a:pt x="331" y="330"/>
                      </a:lnTo>
                      <a:lnTo>
                        <a:pt x="329" y="330"/>
                      </a:lnTo>
                      <a:lnTo>
                        <a:pt x="329" y="328"/>
                      </a:lnTo>
                      <a:lnTo>
                        <a:pt x="331" y="328"/>
                      </a:lnTo>
                      <a:lnTo>
                        <a:pt x="331" y="327"/>
                      </a:lnTo>
                      <a:lnTo>
                        <a:pt x="331" y="325"/>
                      </a:lnTo>
                      <a:lnTo>
                        <a:pt x="331" y="323"/>
                      </a:lnTo>
                      <a:lnTo>
                        <a:pt x="331" y="322"/>
                      </a:lnTo>
                      <a:lnTo>
                        <a:pt x="329" y="322"/>
                      </a:lnTo>
                      <a:lnTo>
                        <a:pt x="329" y="320"/>
                      </a:lnTo>
                      <a:lnTo>
                        <a:pt x="329" y="318"/>
                      </a:lnTo>
                      <a:lnTo>
                        <a:pt x="328" y="318"/>
                      </a:lnTo>
                      <a:lnTo>
                        <a:pt x="328" y="317"/>
                      </a:lnTo>
                      <a:lnTo>
                        <a:pt x="328" y="315"/>
                      </a:lnTo>
                      <a:lnTo>
                        <a:pt x="328" y="313"/>
                      </a:lnTo>
                      <a:lnTo>
                        <a:pt x="326" y="313"/>
                      </a:lnTo>
                      <a:lnTo>
                        <a:pt x="326" y="312"/>
                      </a:lnTo>
                      <a:lnTo>
                        <a:pt x="324" y="312"/>
                      </a:lnTo>
                      <a:lnTo>
                        <a:pt x="323" y="312"/>
                      </a:lnTo>
                      <a:lnTo>
                        <a:pt x="324" y="310"/>
                      </a:lnTo>
                      <a:lnTo>
                        <a:pt x="323" y="312"/>
                      </a:lnTo>
                      <a:lnTo>
                        <a:pt x="323" y="310"/>
                      </a:lnTo>
                      <a:lnTo>
                        <a:pt x="321" y="310"/>
                      </a:lnTo>
                      <a:lnTo>
                        <a:pt x="321" y="308"/>
                      </a:lnTo>
                      <a:lnTo>
                        <a:pt x="321" y="307"/>
                      </a:lnTo>
                      <a:lnTo>
                        <a:pt x="319" y="305"/>
                      </a:lnTo>
                      <a:lnTo>
                        <a:pt x="319" y="307"/>
                      </a:lnTo>
                      <a:lnTo>
                        <a:pt x="317" y="307"/>
                      </a:lnTo>
                      <a:lnTo>
                        <a:pt x="316" y="307"/>
                      </a:lnTo>
                      <a:lnTo>
                        <a:pt x="314" y="305"/>
                      </a:lnTo>
                      <a:lnTo>
                        <a:pt x="312" y="304"/>
                      </a:lnTo>
                      <a:lnTo>
                        <a:pt x="311" y="304"/>
                      </a:lnTo>
                      <a:lnTo>
                        <a:pt x="309" y="304"/>
                      </a:lnTo>
                      <a:lnTo>
                        <a:pt x="307" y="304"/>
                      </a:lnTo>
                      <a:lnTo>
                        <a:pt x="307" y="302"/>
                      </a:lnTo>
                      <a:lnTo>
                        <a:pt x="306" y="302"/>
                      </a:lnTo>
                      <a:lnTo>
                        <a:pt x="304" y="302"/>
                      </a:lnTo>
                      <a:lnTo>
                        <a:pt x="304" y="300"/>
                      </a:lnTo>
                      <a:lnTo>
                        <a:pt x="304" y="299"/>
                      </a:lnTo>
                      <a:lnTo>
                        <a:pt x="304" y="297"/>
                      </a:lnTo>
                      <a:lnTo>
                        <a:pt x="304" y="295"/>
                      </a:lnTo>
                      <a:lnTo>
                        <a:pt x="302" y="295"/>
                      </a:lnTo>
                      <a:lnTo>
                        <a:pt x="301" y="295"/>
                      </a:lnTo>
                      <a:lnTo>
                        <a:pt x="299" y="295"/>
                      </a:lnTo>
                      <a:lnTo>
                        <a:pt x="299" y="294"/>
                      </a:lnTo>
                      <a:lnTo>
                        <a:pt x="297" y="294"/>
                      </a:lnTo>
                      <a:lnTo>
                        <a:pt x="297" y="292"/>
                      </a:lnTo>
                      <a:lnTo>
                        <a:pt x="299" y="292"/>
                      </a:lnTo>
                      <a:lnTo>
                        <a:pt x="299" y="290"/>
                      </a:lnTo>
                      <a:lnTo>
                        <a:pt x="299" y="289"/>
                      </a:lnTo>
                      <a:lnTo>
                        <a:pt x="297" y="287"/>
                      </a:lnTo>
                      <a:lnTo>
                        <a:pt x="296" y="287"/>
                      </a:lnTo>
                      <a:lnTo>
                        <a:pt x="296" y="289"/>
                      </a:lnTo>
                      <a:lnTo>
                        <a:pt x="296" y="290"/>
                      </a:lnTo>
                      <a:lnTo>
                        <a:pt x="294" y="290"/>
                      </a:lnTo>
                      <a:lnTo>
                        <a:pt x="294" y="289"/>
                      </a:lnTo>
                      <a:lnTo>
                        <a:pt x="292" y="289"/>
                      </a:lnTo>
                      <a:lnTo>
                        <a:pt x="290" y="287"/>
                      </a:lnTo>
                      <a:lnTo>
                        <a:pt x="290" y="289"/>
                      </a:lnTo>
                      <a:lnTo>
                        <a:pt x="289" y="290"/>
                      </a:lnTo>
                      <a:lnTo>
                        <a:pt x="287" y="290"/>
                      </a:lnTo>
                      <a:lnTo>
                        <a:pt x="287" y="289"/>
                      </a:lnTo>
                      <a:lnTo>
                        <a:pt x="285" y="290"/>
                      </a:lnTo>
                      <a:lnTo>
                        <a:pt x="284" y="290"/>
                      </a:lnTo>
                      <a:lnTo>
                        <a:pt x="284" y="292"/>
                      </a:lnTo>
                      <a:lnTo>
                        <a:pt x="282" y="290"/>
                      </a:lnTo>
                      <a:lnTo>
                        <a:pt x="280" y="290"/>
                      </a:lnTo>
                      <a:lnTo>
                        <a:pt x="280" y="292"/>
                      </a:lnTo>
                      <a:lnTo>
                        <a:pt x="279" y="292"/>
                      </a:lnTo>
                      <a:lnTo>
                        <a:pt x="277" y="292"/>
                      </a:lnTo>
                      <a:lnTo>
                        <a:pt x="275" y="292"/>
                      </a:lnTo>
                      <a:lnTo>
                        <a:pt x="274" y="292"/>
                      </a:lnTo>
                      <a:lnTo>
                        <a:pt x="272" y="292"/>
                      </a:lnTo>
                      <a:lnTo>
                        <a:pt x="272" y="290"/>
                      </a:lnTo>
                      <a:lnTo>
                        <a:pt x="270" y="290"/>
                      </a:lnTo>
                      <a:lnTo>
                        <a:pt x="269" y="290"/>
                      </a:lnTo>
                      <a:lnTo>
                        <a:pt x="267" y="290"/>
                      </a:lnTo>
                      <a:lnTo>
                        <a:pt x="267" y="292"/>
                      </a:lnTo>
                      <a:lnTo>
                        <a:pt x="265" y="292"/>
                      </a:lnTo>
                      <a:lnTo>
                        <a:pt x="263" y="292"/>
                      </a:lnTo>
                      <a:lnTo>
                        <a:pt x="263" y="290"/>
                      </a:lnTo>
                      <a:lnTo>
                        <a:pt x="262" y="290"/>
                      </a:lnTo>
                      <a:lnTo>
                        <a:pt x="262" y="289"/>
                      </a:lnTo>
                      <a:lnTo>
                        <a:pt x="260" y="289"/>
                      </a:lnTo>
                      <a:lnTo>
                        <a:pt x="258" y="289"/>
                      </a:lnTo>
                      <a:lnTo>
                        <a:pt x="257" y="289"/>
                      </a:lnTo>
                      <a:lnTo>
                        <a:pt x="255" y="289"/>
                      </a:lnTo>
                      <a:lnTo>
                        <a:pt x="255" y="290"/>
                      </a:lnTo>
                      <a:lnTo>
                        <a:pt x="255" y="292"/>
                      </a:lnTo>
                      <a:lnTo>
                        <a:pt x="253" y="292"/>
                      </a:lnTo>
                      <a:lnTo>
                        <a:pt x="252" y="292"/>
                      </a:lnTo>
                      <a:lnTo>
                        <a:pt x="250" y="290"/>
                      </a:lnTo>
                      <a:lnTo>
                        <a:pt x="248" y="290"/>
                      </a:lnTo>
                      <a:lnTo>
                        <a:pt x="248" y="292"/>
                      </a:lnTo>
                      <a:lnTo>
                        <a:pt x="247" y="292"/>
                      </a:lnTo>
                      <a:lnTo>
                        <a:pt x="247" y="290"/>
                      </a:lnTo>
                      <a:lnTo>
                        <a:pt x="245" y="290"/>
                      </a:lnTo>
                      <a:lnTo>
                        <a:pt x="245" y="289"/>
                      </a:lnTo>
                      <a:lnTo>
                        <a:pt x="243" y="289"/>
                      </a:lnTo>
                      <a:lnTo>
                        <a:pt x="241" y="287"/>
                      </a:lnTo>
                      <a:lnTo>
                        <a:pt x="240" y="287"/>
                      </a:lnTo>
                      <a:lnTo>
                        <a:pt x="240" y="289"/>
                      </a:lnTo>
                      <a:lnTo>
                        <a:pt x="238" y="290"/>
                      </a:lnTo>
                      <a:lnTo>
                        <a:pt x="236" y="290"/>
                      </a:lnTo>
                      <a:lnTo>
                        <a:pt x="236" y="289"/>
                      </a:lnTo>
                      <a:lnTo>
                        <a:pt x="235" y="289"/>
                      </a:lnTo>
                      <a:lnTo>
                        <a:pt x="235" y="287"/>
                      </a:lnTo>
                      <a:lnTo>
                        <a:pt x="233" y="287"/>
                      </a:lnTo>
                      <a:lnTo>
                        <a:pt x="231" y="287"/>
                      </a:lnTo>
                      <a:lnTo>
                        <a:pt x="230" y="289"/>
                      </a:lnTo>
                      <a:lnTo>
                        <a:pt x="228" y="292"/>
                      </a:lnTo>
                      <a:lnTo>
                        <a:pt x="226" y="294"/>
                      </a:lnTo>
                      <a:lnTo>
                        <a:pt x="225" y="294"/>
                      </a:lnTo>
                      <a:lnTo>
                        <a:pt x="225" y="292"/>
                      </a:lnTo>
                      <a:lnTo>
                        <a:pt x="223" y="292"/>
                      </a:lnTo>
                      <a:lnTo>
                        <a:pt x="221" y="292"/>
                      </a:lnTo>
                      <a:lnTo>
                        <a:pt x="220" y="292"/>
                      </a:lnTo>
                      <a:lnTo>
                        <a:pt x="220" y="290"/>
                      </a:lnTo>
                      <a:lnTo>
                        <a:pt x="220" y="289"/>
                      </a:lnTo>
                      <a:lnTo>
                        <a:pt x="220" y="287"/>
                      </a:lnTo>
                      <a:lnTo>
                        <a:pt x="220" y="285"/>
                      </a:lnTo>
                      <a:lnTo>
                        <a:pt x="218" y="285"/>
                      </a:lnTo>
                      <a:lnTo>
                        <a:pt x="218" y="284"/>
                      </a:lnTo>
                      <a:lnTo>
                        <a:pt x="216" y="284"/>
                      </a:lnTo>
                      <a:lnTo>
                        <a:pt x="216" y="282"/>
                      </a:lnTo>
                      <a:lnTo>
                        <a:pt x="216" y="281"/>
                      </a:lnTo>
                      <a:lnTo>
                        <a:pt x="214" y="281"/>
                      </a:lnTo>
                      <a:lnTo>
                        <a:pt x="213" y="279"/>
                      </a:lnTo>
                      <a:lnTo>
                        <a:pt x="211" y="277"/>
                      </a:lnTo>
                      <a:lnTo>
                        <a:pt x="209" y="277"/>
                      </a:lnTo>
                      <a:lnTo>
                        <a:pt x="208" y="277"/>
                      </a:lnTo>
                      <a:lnTo>
                        <a:pt x="206" y="279"/>
                      </a:lnTo>
                      <a:lnTo>
                        <a:pt x="204" y="277"/>
                      </a:lnTo>
                      <a:lnTo>
                        <a:pt x="203" y="277"/>
                      </a:lnTo>
                      <a:lnTo>
                        <a:pt x="201" y="277"/>
                      </a:lnTo>
                      <a:lnTo>
                        <a:pt x="199" y="277"/>
                      </a:lnTo>
                      <a:lnTo>
                        <a:pt x="196" y="276"/>
                      </a:lnTo>
                      <a:lnTo>
                        <a:pt x="194" y="276"/>
                      </a:lnTo>
                      <a:lnTo>
                        <a:pt x="193" y="276"/>
                      </a:lnTo>
                      <a:lnTo>
                        <a:pt x="191" y="276"/>
                      </a:lnTo>
                      <a:lnTo>
                        <a:pt x="189" y="274"/>
                      </a:lnTo>
                      <a:lnTo>
                        <a:pt x="187" y="274"/>
                      </a:lnTo>
                      <a:lnTo>
                        <a:pt x="186" y="274"/>
                      </a:lnTo>
                      <a:lnTo>
                        <a:pt x="184" y="274"/>
                      </a:lnTo>
                      <a:lnTo>
                        <a:pt x="184" y="272"/>
                      </a:lnTo>
                      <a:lnTo>
                        <a:pt x="182" y="272"/>
                      </a:lnTo>
                      <a:lnTo>
                        <a:pt x="181" y="272"/>
                      </a:lnTo>
                      <a:lnTo>
                        <a:pt x="179" y="271"/>
                      </a:lnTo>
                      <a:lnTo>
                        <a:pt x="177" y="269"/>
                      </a:lnTo>
                      <a:lnTo>
                        <a:pt x="177" y="267"/>
                      </a:lnTo>
                      <a:lnTo>
                        <a:pt x="176" y="267"/>
                      </a:lnTo>
                      <a:lnTo>
                        <a:pt x="176" y="266"/>
                      </a:lnTo>
                      <a:lnTo>
                        <a:pt x="174" y="266"/>
                      </a:lnTo>
                      <a:lnTo>
                        <a:pt x="172" y="266"/>
                      </a:lnTo>
                      <a:lnTo>
                        <a:pt x="171" y="267"/>
                      </a:lnTo>
                      <a:lnTo>
                        <a:pt x="169" y="266"/>
                      </a:lnTo>
                      <a:lnTo>
                        <a:pt x="167" y="266"/>
                      </a:lnTo>
                      <a:lnTo>
                        <a:pt x="165" y="266"/>
                      </a:lnTo>
                      <a:lnTo>
                        <a:pt x="164" y="266"/>
                      </a:lnTo>
                      <a:lnTo>
                        <a:pt x="162" y="266"/>
                      </a:lnTo>
                      <a:lnTo>
                        <a:pt x="160" y="266"/>
                      </a:lnTo>
                      <a:lnTo>
                        <a:pt x="160" y="264"/>
                      </a:lnTo>
                      <a:lnTo>
                        <a:pt x="159" y="264"/>
                      </a:lnTo>
                      <a:lnTo>
                        <a:pt x="157" y="266"/>
                      </a:lnTo>
                      <a:lnTo>
                        <a:pt x="155" y="267"/>
                      </a:lnTo>
                      <a:lnTo>
                        <a:pt x="154" y="267"/>
                      </a:lnTo>
                      <a:lnTo>
                        <a:pt x="152" y="269"/>
                      </a:lnTo>
                      <a:lnTo>
                        <a:pt x="152" y="267"/>
                      </a:lnTo>
                      <a:lnTo>
                        <a:pt x="150" y="267"/>
                      </a:lnTo>
                      <a:lnTo>
                        <a:pt x="149" y="267"/>
                      </a:lnTo>
                      <a:lnTo>
                        <a:pt x="149" y="269"/>
                      </a:lnTo>
                      <a:lnTo>
                        <a:pt x="147" y="269"/>
                      </a:lnTo>
                      <a:lnTo>
                        <a:pt x="145" y="267"/>
                      </a:lnTo>
                      <a:lnTo>
                        <a:pt x="144" y="267"/>
                      </a:lnTo>
                      <a:lnTo>
                        <a:pt x="142" y="266"/>
                      </a:lnTo>
                      <a:lnTo>
                        <a:pt x="140" y="266"/>
                      </a:lnTo>
                      <a:lnTo>
                        <a:pt x="138" y="266"/>
                      </a:lnTo>
                      <a:lnTo>
                        <a:pt x="137" y="266"/>
                      </a:lnTo>
                      <a:lnTo>
                        <a:pt x="135" y="266"/>
                      </a:lnTo>
                      <a:lnTo>
                        <a:pt x="133" y="266"/>
                      </a:lnTo>
                      <a:lnTo>
                        <a:pt x="132" y="266"/>
                      </a:lnTo>
                      <a:lnTo>
                        <a:pt x="132" y="264"/>
                      </a:lnTo>
                      <a:lnTo>
                        <a:pt x="130" y="262"/>
                      </a:lnTo>
                      <a:lnTo>
                        <a:pt x="128" y="261"/>
                      </a:lnTo>
                      <a:lnTo>
                        <a:pt x="127" y="261"/>
                      </a:lnTo>
                      <a:lnTo>
                        <a:pt x="125" y="261"/>
                      </a:lnTo>
                      <a:lnTo>
                        <a:pt x="123" y="262"/>
                      </a:lnTo>
                      <a:lnTo>
                        <a:pt x="122" y="262"/>
                      </a:lnTo>
                      <a:lnTo>
                        <a:pt x="120" y="262"/>
                      </a:lnTo>
                      <a:lnTo>
                        <a:pt x="118" y="262"/>
                      </a:lnTo>
                      <a:lnTo>
                        <a:pt x="117" y="262"/>
                      </a:lnTo>
                      <a:lnTo>
                        <a:pt x="117" y="261"/>
                      </a:lnTo>
                      <a:lnTo>
                        <a:pt x="115" y="259"/>
                      </a:lnTo>
                      <a:lnTo>
                        <a:pt x="113" y="259"/>
                      </a:lnTo>
                      <a:lnTo>
                        <a:pt x="113" y="258"/>
                      </a:lnTo>
                      <a:lnTo>
                        <a:pt x="111" y="258"/>
                      </a:lnTo>
                      <a:lnTo>
                        <a:pt x="110" y="256"/>
                      </a:lnTo>
                      <a:lnTo>
                        <a:pt x="106" y="256"/>
                      </a:lnTo>
                      <a:lnTo>
                        <a:pt x="106" y="254"/>
                      </a:lnTo>
                      <a:lnTo>
                        <a:pt x="105" y="254"/>
                      </a:lnTo>
                      <a:lnTo>
                        <a:pt x="103" y="254"/>
                      </a:lnTo>
                      <a:lnTo>
                        <a:pt x="101" y="254"/>
                      </a:lnTo>
                      <a:lnTo>
                        <a:pt x="100" y="254"/>
                      </a:lnTo>
                      <a:lnTo>
                        <a:pt x="98" y="253"/>
                      </a:lnTo>
                      <a:lnTo>
                        <a:pt x="96" y="253"/>
                      </a:lnTo>
                      <a:lnTo>
                        <a:pt x="95" y="253"/>
                      </a:lnTo>
                      <a:lnTo>
                        <a:pt x="93" y="253"/>
                      </a:lnTo>
                      <a:lnTo>
                        <a:pt x="93" y="254"/>
                      </a:lnTo>
                      <a:lnTo>
                        <a:pt x="91" y="254"/>
                      </a:lnTo>
                      <a:lnTo>
                        <a:pt x="91" y="258"/>
                      </a:lnTo>
                      <a:lnTo>
                        <a:pt x="91" y="259"/>
                      </a:lnTo>
                      <a:lnTo>
                        <a:pt x="89" y="259"/>
                      </a:lnTo>
                      <a:lnTo>
                        <a:pt x="89" y="261"/>
                      </a:lnTo>
                      <a:lnTo>
                        <a:pt x="91" y="262"/>
                      </a:lnTo>
                      <a:lnTo>
                        <a:pt x="91" y="264"/>
                      </a:lnTo>
                      <a:lnTo>
                        <a:pt x="89" y="264"/>
                      </a:lnTo>
                      <a:lnTo>
                        <a:pt x="88" y="264"/>
                      </a:lnTo>
                      <a:lnTo>
                        <a:pt x="88" y="266"/>
                      </a:lnTo>
                      <a:lnTo>
                        <a:pt x="86" y="266"/>
                      </a:lnTo>
                      <a:lnTo>
                        <a:pt x="84" y="267"/>
                      </a:lnTo>
                      <a:lnTo>
                        <a:pt x="84" y="266"/>
                      </a:lnTo>
                      <a:lnTo>
                        <a:pt x="84" y="264"/>
                      </a:lnTo>
                      <a:lnTo>
                        <a:pt x="84" y="262"/>
                      </a:lnTo>
                      <a:lnTo>
                        <a:pt x="83" y="262"/>
                      </a:lnTo>
                      <a:lnTo>
                        <a:pt x="83" y="261"/>
                      </a:lnTo>
                      <a:lnTo>
                        <a:pt x="81" y="261"/>
                      </a:lnTo>
                      <a:lnTo>
                        <a:pt x="79" y="262"/>
                      </a:lnTo>
                      <a:lnTo>
                        <a:pt x="78" y="262"/>
                      </a:lnTo>
                      <a:lnTo>
                        <a:pt x="76" y="262"/>
                      </a:lnTo>
                      <a:lnTo>
                        <a:pt x="74" y="262"/>
                      </a:lnTo>
                      <a:lnTo>
                        <a:pt x="73" y="262"/>
                      </a:lnTo>
                      <a:lnTo>
                        <a:pt x="71" y="262"/>
                      </a:lnTo>
                      <a:lnTo>
                        <a:pt x="69" y="262"/>
                      </a:lnTo>
                      <a:lnTo>
                        <a:pt x="68" y="261"/>
                      </a:lnTo>
                      <a:lnTo>
                        <a:pt x="66" y="261"/>
                      </a:lnTo>
                      <a:lnTo>
                        <a:pt x="64" y="261"/>
                      </a:lnTo>
                      <a:lnTo>
                        <a:pt x="62" y="261"/>
                      </a:lnTo>
                      <a:lnTo>
                        <a:pt x="61" y="261"/>
                      </a:lnTo>
                      <a:lnTo>
                        <a:pt x="59" y="262"/>
                      </a:lnTo>
                      <a:lnTo>
                        <a:pt x="57" y="262"/>
                      </a:lnTo>
                      <a:lnTo>
                        <a:pt x="56" y="261"/>
                      </a:lnTo>
                      <a:lnTo>
                        <a:pt x="54" y="261"/>
                      </a:lnTo>
                      <a:lnTo>
                        <a:pt x="52" y="259"/>
                      </a:lnTo>
                      <a:lnTo>
                        <a:pt x="51" y="258"/>
                      </a:lnTo>
                      <a:lnTo>
                        <a:pt x="51" y="256"/>
                      </a:lnTo>
                      <a:lnTo>
                        <a:pt x="49" y="256"/>
                      </a:lnTo>
                      <a:lnTo>
                        <a:pt x="49" y="258"/>
                      </a:lnTo>
                      <a:lnTo>
                        <a:pt x="47" y="258"/>
                      </a:lnTo>
                      <a:lnTo>
                        <a:pt x="46" y="259"/>
                      </a:lnTo>
                      <a:lnTo>
                        <a:pt x="44" y="259"/>
                      </a:lnTo>
                      <a:lnTo>
                        <a:pt x="42" y="261"/>
                      </a:lnTo>
                      <a:lnTo>
                        <a:pt x="41" y="262"/>
                      </a:lnTo>
                      <a:lnTo>
                        <a:pt x="39" y="262"/>
                      </a:lnTo>
                      <a:lnTo>
                        <a:pt x="37" y="262"/>
                      </a:lnTo>
                      <a:lnTo>
                        <a:pt x="35" y="262"/>
                      </a:lnTo>
                      <a:lnTo>
                        <a:pt x="34" y="261"/>
                      </a:lnTo>
                      <a:lnTo>
                        <a:pt x="32" y="261"/>
                      </a:lnTo>
                      <a:lnTo>
                        <a:pt x="30" y="259"/>
                      </a:lnTo>
                      <a:lnTo>
                        <a:pt x="29" y="259"/>
                      </a:lnTo>
                      <a:lnTo>
                        <a:pt x="27" y="259"/>
                      </a:lnTo>
                      <a:lnTo>
                        <a:pt x="25" y="261"/>
                      </a:lnTo>
                      <a:lnTo>
                        <a:pt x="24" y="261"/>
                      </a:lnTo>
                      <a:lnTo>
                        <a:pt x="22" y="258"/>
                      </a:lnTo>
                      <a:lnTo>
                        <a:pt x="20" y="258"/>
                      </a:lnTo>
                      <a:lnTo>
                        <a:pt x="19" y="256"/>
                      </a:lnTo>
                      <a:lnTo>
                        <a:pt x="17" y="256"/>
                      </a:lnTo>
                      <a:lnTo>
                        <a:pt x="13" y="258"/>
                      </a:lnTo>
                      <a:lnTo>
                        <a:pt x="12" y="258"/>
                      </a:lnTo>
                      <a:lnTo>
                        <a:pt x="10" y="259"/>
                      </a:lnTo>
                      <a:lnTo>
                        <a:pt x="8" y="259"/>
                      </a:lnTo>
                      <a:lnTo>
                        <a:pt x="8" y="261"/>
                      </a:lnTo>
                      <a:lnTo>
                        <a:pt x="7" y="261"/>
                      </a:lnTo>
                      <a:lnTo>
                        <a:pt x="7" y="262"/>
                      </a:lnTo>
                      <a:lnTo>
                        <a:pt x="5" y="262"/>
                      </a:lnTo>
                      <a:lnTo>
                        <a:pt x="5" y="264"/>
                      </a:lnTo>
                      <a:lnTo>
                        <a:pt x="3" y="264"/>
                      </a:lnTo>
                      <a:lnTo>
                        <a:pt x="2" y="266"/>
                      </a:lnTo>
                      <a:lnTo>
                        <a:pt x="2" y="264"/>
                      </a:lnTo>
                      <a:lnTo>
                        <a:pt x="2" y="262"/>
                      </a:lnTo>
                      <a:lnTo>
                        <a:pt x="0" y="262"/>
                      </a:lnTo>
                      <a:lnTo>
                        <a:pt x="0" y="261"/>
                      </a:lnTo>
                      <a:lnTo>
                        <a:pt x="0" y="259"/>
                      </a:lnTo>
                      <a:lnTo>
                        <a:pt x="2" y="258"/>
                      </a:lnTo>
                      <a:lnTo>
                        <a:pt x="2" y="256"/>
                      </a:lnTo>
                      <a:lnTo>
                        <a:pt x="3" y="256"/>
                      </a:lnTo>
                      <a:lnTo>
                        <a:pt x="5" y="254"/>
                      </a:lnTo>
                      <a:lnTo>
                        <a:pt x="7" y="253"/>
                      </a:lnTo>
                      <a:lnTo>
                        <a:pt x="8" y="253"/>
                      </a:lnTo>
                      <a:lnTo>
                        <a:pt x="10" y="253"/>
                      </a:lnTo>
                      <a:lnTo>
                        <a:pt x="10" y="249"/>
                      </a:lnTo>
                      <a:lnTo>
                        <a:pt x="12" y="249"/>
                      </a:lnTo>
                      <a:lnTo>
                        <a:pt x="15" y="248"/>
                      </a:lnTo>
                      <a:lnTo>
                        <a:pt x="19" y="248"/>
                      </a:lnTo>
                      <a:lnTo>
                        <a:pt x="20" y="248"/>
                      </a:lnTo>
                      <a:lnTo>
                        <a:pt x="22" y="246"/>
                      </a:lnTo>
                      <a:lnTo>
                        <a:pt x="24" y="246"/>
                      </a:lnTo>
                      <a:lnTo>
                        <a:pt x="25" y="244"/>
                      </a:lnTo>
                      <a:lnTo>
                        <a:pt x="25" y="243"/>
                      </a:lnTo>
                      <a:lnTo>
                        <a:pt x="27" y="243"/>
                      </a:lnTo>
                      <a:lnTo>
                        <a:pt x="27" y="241"/>
                      </a:lnTo>
                      <a:lnTo>
                        <a:pt x="29" y="241"/>
                      </a:lnTo>
                      <a:lnTo>
                        <a:pt x="29" y="239"/>
                      </a:lnTo>
                      <a:lnTo>
                        <a:pt x="30" y="239"/>
                      </a:lnTo>
                      <a:lnTo>
                        <a:pt x="32" y="238"/>
                      </a:lnTo>
                      <a:lnTo>
                        <a:pt x="34" y="238"/>
                      </a:lnTo>
                      <a:lnTo>
                        <a:pt x="35" y="236"/>
                      </a:lnTo>
                      <a:lnTo>
                        <a:pt x="37" y="235"/>
                      </a:lnTo>
                      <a:lnTo>
                        <a:pt x="39" y="235"/>
                      </a:lnTo>
                      <a:lnTo>
                        <a:pt x="41" y="233"/>
                      </a:lnTo>
                      <a:lnTo>
                        <a:pt x="42" y="233"/>
                      </a:lnTo>
                      <a:lnTo>
                        <a:pt x="44" y="233"/>
                      </a:lnTo>
                      <a:lnTo>
                        <a:pt x="44" y="231"/>
                      </a:lnTo>
                      <a:lnTo>
                        <a:pt x="46" y="231"/>
                      </a:lnTo>
                      <a:lnTo>
                        <a:pt x="46" y="230"/>
                      </a:lnTo>
                      <a:lnTo>
                        <a:pt x="47" y="230"/>
                      </a:lnTo>
                      <a:lnTo>
                        <a:pt x="49" y="230"/>
                      </a:lnTo>
                      <a:lnTo>
                        <a:pt x="51" y="228"/>
                      </a:lnTo>
                      <a:lnTo>
                        <a:pt x="54" y="226"/>
                      </a:lnTo>
                      <a:lnTo>
                        <a:pt x="56" y="226"/>
                      </a:lnTo>
                      <a:lnTo>
                        <a:pt x="57" y="225"/>
                      </a:lnTo>
                      <a:lnTo>
                        <a:pt x="59" y="225"/>
                      </a:lnTo>
                      <a:lnTo>
                        <a:pt x="61" y="223"/>
                      </a:lnTo>
                      <a:lnTo>
                        <a:pt x="62" y="221"/>
                      </a:lnTo>
                      <a:lnTo>
                        <a:pt x="64" y="221"/>
                      </a:lnTo>
                      <a:lnTo>
                        <a:pt x="64" y="220"/>
                      </a:lnTo>
                      <a:lnTo>
                        <a:pt x="66" y="218"/>
                      </a:lnTo>
                      <a:lnTo>
                        <a:pt x="68" y="218"/>
                      </a:lnTo>
                      <a:lnTo>
                        <a:pt x="68" y="216"/>
                      </a:lnTo>
                      <a:lnTo>
                        <a:pt x="68" y="215"/>
                      </a:lnTo>
                      <a:lnTo>
                        <a:pt x="69" y="215"/>
                      </a:lnTo>
                      <a:lnTo>
                        <a:pt x="71" y="213"/>
                      </a:lnTo>
                      <a:lnTo>
                        <a:pt x="73" y="212"/>
                      </a:lnTo>
                      <a:lnTo>
                        <a:pt x="73" y="210"/>
                      </a:lnTo>
                      <a:lnTo>
                        <a:pt x="73" y="208"/>
                      </a:lnTo>
                      <a:lnTo>
                        <a:pt x="74" y="207"/>
                      </a:lnTo>
                      <a:lnTo>
                        <a:pt x="74" y="205"/>
                      </a:lnTo>
                      <a:lnTo>
                        <a:pt x="74" y="203"/>
                      </a:lnTo>
                      <a:lnTo>
                        <a:pt x="76" y="202"/>
                      </a:lnTo>
                      <a:lnTo>
                        <a:pt x="76" y="200"/>
                      </a:lnTo>
                      <a:lnTo>
                        <a:pt x="78" y="198"/>
                      </a:lnTo>
                      <a:lnTo>
                        <a:pt x="79" y="197"/>
                      </a:lnTo>
                      <a:lnTo>
                        <a:pt x="81" y="197"/>
                      </a:lnTo>
                      <a:lnTo>
                        <a:pt x="81" y="195"/>
                      </a:lnTo>
                      <a:lnTo>
                        <a:pt x="83" y="195"/>
                      </a:lnTo>
                      <a:lnTo>
                        <a:pt x="83" y="193"/>
                      </a:lnTo>
                      <a:lnTo>
                        <a:pt x="84" y="193"/>
                      </a:lnTo>
                      <a:lnTo>
                        <a:pt x="86" y="192"/>
                      </a:lnTo>
                      <a:lnTo>
                        <a:pt x="88" y="190"/>
                      </a:lnTo>
                      <a:lnTo>
                        <a:pt x="88" y="189"/>
                      </a:lnTo>
                      <a:lnTo>
                        <a:pt x="88" y="187"/>
                      </a:lnTo>
                      <a:lnTo>
                        <a:pt x="89" y="185"/>
                      </a:lnTo>
                      <a:lnTo>
                        <a:pt x="89" y="184"/>
                      </a:lnTo>
                      <a:lnTo>
                        <a:pt x="91" y="182"/>
                      </a:lnTo>
                      <a:lnTo>
                        <a:pt x="93" y="182"/>
                      </a:lnTo>
                      <a:lnTo>
                        <a:pt x="95" y="182"/>
                      </a:lnTo>
                      <a:lnTo>
                        <a:pt x="96" y="180"/>
                      </a:lnTo>
                      <a:lnTo>
                        <a:pt x="98" y="179"/>
                      </a:lnTo>
                      <a:lnTo>
                        <a:pt x="100" y="177"/>
                      </a:lnTo>
                      <a:lnTo>
                        <a:pt x="100" y="175"/>
                      </a:lnTo>
                      <a:lnTo>
                        <a:pt x="101" y="174"/>
                      </a:lnTo>
                      <a:lnTo>
                        <a:pt x="101" y="172"/>
                      </a:lnTo>
                      <a:lnTo>
                        <a:pt x="101" y="170"/>
                      </a:lnTo>
                      <a:lnTo>
                        <a:pt x="100" y="170"/>
                      </a:lnTo>
                      <a:lnTo>
                        <a:pt x="100" y="169"/>
                      </a:lnTo>
                      <a:lnTo>
                        <a:pt x="100" y="167"/>
                      </a:lnTo>
                      <a:lnTo>
                        <a:pt x="98" y="167"/>
                      </a:lnTo>
                      <a:lnTo>
                        <a:pt x="98" y="166"/>
                      </a:lnTo>
                      <a:lnTo>
                        <a:pt x="96" y="166"/>
                      </a:lnTo>
                      <a:lnTo>
                        <a:pt x="96" y="164"/>
                      </a:lnTo>
                      <a:lnTo>
                        <a:pt x="96" y="162"/>
                      </a:lnTo>
                      <a:lnTo>
                        <a:pt x="98" y="161"/>
                      </a:lnTo>
                      <a:lnTo>
                        <a:pt x="98" y="159"/>
                      </a:lnTo>
                      <a:lnTo>
                        <a:pt x="100" y="159"/>
                      </a:lnTo>
                      <a:lnTo>
                        <a:pt x="101" y="159"/>
                      </a:lnTo>
                      <a:lnTo>
                        <a:pt x="105" y="159"/>
                      </a:lnTo>
                      <a:lnTo>
                        <a:pt x="106" y="161"/>
                      </a:lnTo>
                      <a:lnTo>
                        <a:pt x="106" y="159"/>
                      </a:lnTo>
                      <a:lnTo>
                        <a:pt x="108" y="159"/>
                      </a:lnTo>
                      <a:lnTo>
                        <a:pt x="110" y="157"/>
                      </a:lnTo>
                      <a:lnTo>
                        <a:pt x="110" y="156"/>
                      </a:lnTo>
                      <a:lnTo>
                        <a:pt x="111" y="156"/>
                      </a:lnTo>
                      <a:lnTo>
                        <a:pt x="111" y="154"/>
                      </a:lnTo>
                      <a:lnTo>
                        <a:pt x="113" y="154"/>
                      </a:lnTo>
                      <a:lnTo>
                        <a:pt x="113" y="152"/>
                      </a:lnTo>
                      <a:lnTo>
                        <a:pt x="113" y="151"/>
                      </a:lnTo>
                      <a:lnTo>
                        <a:pt x="113" y="149"/>
                      </a:lnTo>
                      <a:lnTo>
                        <a:pt x="115" y="148"/>
                      </a:lnTo>
                      <a:lnTo>
                        <a:pt x="117" y="146"/>
                      </a:lnTo>
                      <a:lnTo>
                        <a:pt x="118" y="144"/>
                      </a:lnTo>
                      <a:lnTo>
                        <a:pt x="118" y="143"/>
                      </a:lnTo>
                      <a:lnTo>
                        <a:pt x="118" y="141"/>
                      </a:lnTo>
                      <a:lnTo>
                        <a:pt x="120" y="139"/>
                      </a:lnTo>
                      <a:lnTo>
                        <a:pt x="120" y="138"/>
                      </a:lnTo>
                      <a:lnTo>
                        <a:pt x="120" y="136"/>
                      </a:lnTo>
                      <a:lnTo>
                        <a:pt x="118" y="134"/>
                      </a:lnTo>
                      <a:lnTo>
                        <a:pt x="118" y="133"/>
                      </a:lnTo>
                      <a:lnTo>
                        <a:pt x="118" y="131"/>
                      </a:lnTo>
                      <a:lnTo>
                        <a:pt x="117" y="131"/>
                      </a:lnTo>
                      <a:lnTo>
                        <a:pt x="117" y="129"/>
                      </a:lnTo>
                      <a:lnTo>
                        <a:pt x="118" y="129"/>
                      </a:lnTo>
                      <a:lnTo>
                        <a:pt x="117" y="126"/>
                      </a:lnTo>
                      <a:lnTo>
                        <a:pt x="117" y="125"/>
                      </a:lnTo>
                      <a:lnTo>
                        <a:pt x="118" y="125"/>
                      </a:lnTo>
                      <a:lnTo>
                        <a:pt x="120" y="125"/>
                      </a:lnTo>
                      <a:lnTo>
                        <a:pt x="122" y="125"/>
                      </a:lnTo>
                      <a:lnTo>
                        <a:pt x="123" y="125"/>
                      </a:lnTo>
                      <a:lnTo>
                        <a:pt x="123" y="123"/>
                      </a:lnTo>
                      <a:lnTo>
                        <a:pt x="125" y="123"/>
                      </a:lnTo>
                      <a:lnTo>
                        <a:pt x="125" y="121"/>
                      </a:lnTo>
                      <a:lnTo>
                        <a:pt x="127" y="121"/>
                      </a:lnTo>
                      <a:lnTo>
                        <a:pt x="127" y="120"/>
                      </a:lnTo>
                      <a:lnTo>
                        <a:pt x="127" y="118"/>
                      </a:lnTo>
                      <a:lnTo>
                        <a:pt x="127" y="116"/>
                      </a:lnTo>
                      <a:lnTo>
                        <a:pt x="128" y="115"/>
                      </a:lnTo>
                      <a:lnTo>
                        <a:pt x="128" y="113"/>
                      </a:lnTo>
                      <a:lnTo>
                        <a:pt x="130" y="113"/>
                      </a:lnTo>
                      <a:lnTo>
                        <a:pt x="130" y="111"/>
                      </a:lnTo>
                      <a:lnTo>
                        <a:pt x="132" y="111"/>
                      </a:lnTo>
                      <a:lnTo>
                        <a:pt x="132" y="110"/>
                      </a:lnTo>
                      <a:lnTo>
                        <a:pt x="133" y="110"/>
                      </a:lnTo>
                      <a:lnTo>
                        <a:pt x="135" y="110"/>
                      </a:lnTo>
                      <a:lnTo>
                        <a:pt x="137" y="110"/>
                      </a:lnTo>
                      <a:lnTo>
                        <a:pt x="138" y="110"/>
                      </a:lnTo>
                      <a:lnTo>
                        <a:pt x="138" y="108"/>
                      </a:lnTo>
                      <a:lnTo>
                        <a:pt x="140" y="108"/>
                      </a:lnTo>
                      <a:lnTo>
                        <a:pt x="142" y="106"/>
                      </a:lnTo>
                      <a:lnTo>
                        <a:pt x="142" y="105"/>
                      </a:lnTo>
                      <a:lnTo>
                        <a:pt x="142" y="103"/>
                      </a:lnTo>
                      <a:lnTo>
                        <a:pt x="142" y="102"/>
                      </a:lnTo>
                      <a:lnTo>
                        <a:pt x="140" y="100"/>
                      </a:lnTo>
                      <a:lnTo>
                        <a:pt x="140" y="97"/>
                      </a:lnTo>
                      <a:lnTo>
                        <a:pt x="142" y="93"/>
                      </a:lnTo>
                      <a:lnTo>
                        <a:pt x="140" y="93"/>
                      </a:lnTo>
                      <a:lnTo>
                        <a:pt x="140" y="92"/>
                      </a:lnTo>
                      <a:lnTo>
                        <a:pt x="142" y="92"/>
                      </a:lnTo>
                      <a:lnTo>
                        <a:pt x="140" y="90"/>
                      </a:lnTo>
                      <a:lnTo>
                        <a:pt x="140" y="88"/>
                      </a:lnTo>
                      <a:lnTo>
                        <a:pt x="142" y="85"/>
                      </a:lnTo>
                      <a:lnTo>
                        <a:pt x="142" y="83"/>
                      </a:lnTo>
                      <a:lnTo>
                        <a:pt x="144" y="82"/>
                      </a:lnTo>
                      <a:lnTo>
                        <a:pt x="144" y="80"/>
                      </a:lnTo>
                      <a:lnTo>
                        <a:pt x="145" y="79"/>
                      </a:lnTo>
                      <a:lnTo>
                        <a:pt x="147" y="77"/>
                      </a:lnTo>
                      <a:lnTo>
                        <a:pt x="150" y="75"/>
                      </a:lnTo>
                      <a:lnTo>
                        <a:pt x="150" y="74"/>
                      </a:lnTo>
                      <a:lnTo>
                        <a:pt x="152" y="74"/>
                      </a:lnTo>
                      <a:lnTo>
                        <a:pt x="154" y="72"/>
                      </a:lnTo>
                      <a:lnTo>
                        <a:pt x="154" y="70"/>
                      </a:lnTo>
                      <a:lnTo>
                        <a:pt x="155" y="67"/>
                      </a:lnTo>
                      <a:lnTo>
                        <a:pt x="157" y="67"/>
                      </a:lnTo>
                      <a:lnTo>
                        <a:pt x="157" y="65"/>
                      </a:lnTo>
                      <a:lnTo>
                        <a:pt x="159" y="64"/>
                      </a:lnTo>
                      <a:lnTo>
                        <a:pt x="160" y="64"/>
                      </a:lnTo>
                      <a:lnTo>
                        <a:pt x="162" y="62"/>
                      </a:lnTo>
                      <a:lnTo>
                        <a:pt x="165" y="57"/>
                      </a:lnTo>
                      <a:lnTo>
                        <a:pt x="165" y="56"/>
                      </a:lnTo>
                      <a:lnTo>
                        <a:pt x="167" y="54"/>
                      </a:lnTo>
                      <a:lnTo>
                        <a:pt x="167" y="52"/>
                      </a:lnTo>
                      <a:lnTo>
                        <a:pt x="171" y="51"/>
                      </a:lnTo>
                      <a:lnTo>
                        <a:pt x="172" y="51"/>
                      </a:lnTo>
                      <a:lnTo>
                        <a:pt x="177" y="49"/>
                      </a:lnTo>
                      <a:lnTo>
                        <a:pt x="182" y="49"/>
                      </a:lnTo>
                      <a:lnTo>
                        <a:pt x="184" y="49"/>
                      </a:lnTo>
                      <a:lnTo>
                        <a:pt x="186" y="49"/>
                      </a:lnTo>
                      <a:lnTo>
                        <a:pt x="187" y="47"/>
                      </a:lnTo>
                      <a:lnTo>
                        <a:pt x="189" y="47"/>
                      </a:lnTo>
                      <a:lnTo>
                        <a:pt x="191" y="46"/>
                      </a:lnTo>
                      <a:lnTo>
                        <a:pt x="194" y="44"/>
                      </a:lnTo>
                      <a:lnTo>
                        <a:pt x="194" y="42"/>
                      </a:lnTo>
                      <a:lnTo>
                        <a:pt x="196" y="41"/>
                      </a:lnTo>
                      <a:lnTo>
                        <a:pt x="196" y="39"/>
                      </a:lnTo>
                      <a:lnTo>
                        <a:pt x="198" y="36"/>
                      </a:lnTo>
                      <a:lnTo>
                        <a:pt x="198" y="34"/>
                      </a:lnTo>
                      <a:lnTo>
                        <a:pt x="199" y="31"/>
                      </a:lnTo>
                      <a:lnTo>
                        <a:pt x="199" y="29"/>
                      </a:lnTo>
                      <a:lnTo>
                        <a:pt x="201" y="29"/>
                      </a:lnTo>
                      <a:lnTo>
                        <a:pt x="201" y="28"/>
                      </a:lnTo>
                      <a:lnTo>
                        <a:pt x="203" y="26"/>
                      </a:lnTo>
                      <a:lnTo>
                        <a:pt x="203" y="24"/>
                      </a:lnTo>
                      <a:lnTo>
                        <a:pt x="203" y="23"/>
                      </a:lnTo>
                      <a:lnTo>
                        <a:pt x="204" y="23"/>
                      </a:lnTo>
                      <a:lnTo>
                        <a:pt x="206" y="23"/>
                      </a:lnTo>
                      <a:lnTo>
                        <a:pt x="206" y="21"/>
                      </a:lnTo>
                      <a:lnTo>
                        <a:pt x="208" y="21"/>
                      </a:lnTo>
                      <a:lnTo>
                        <a:pt x="209" y="21"/>
                      </a:lnTo>
                      <a:lnTo>
                        <a:pt x="209" y="19"/>
                      </a:lnTo>
                      <a:lnTo>
                        <a:pt x="211" y="19"/>
                      </a:lnTo>
                      <a:lnTo>
                        <a:pt x="213" y="19"/>
                      </a:lnTo>
                      <a:lnTo>
                        <a:pt x="213" y="18"/>
                      </a:lnTo>
                      <a:lnTo>
                        <a:pt x="214" y="18"/>
                      </a:lnTo>
                      <a:lnTo>
                        <a:pt x="216" y="18"/>
                      </a:lnTo>
                      <a:lnTo>
                        <a:pt x="218" y="16"/>
                      </a:lnTo>
                      <a:lnTo>
                        <a:pt x="220" y="16"/>
                      </a:lnTo>
                      <a:lnTo>
                        <a:pt x="220" y="14"/>
                      </a:lnTo>
                      <a:lnTo>
                        <a:pt x="221" y="14"/>
                      </a:lnTo>
                      <a:lnTo>
                        <a:pt x="226" y="13"/>
                      </a:lnTo>
                      <a:lnTo>
                        <a:pt x="228" y="13"/>
                      </a:lnTo>
                      <a:lnTo>
                        <a:pt x="230" y="13"/>
                      </a:lnTo>
                      <a:lnTo>
                        <a:pt x="231" y="11"/>
                      </a:lnTo>
                      <a:lnTo>
                        <a:pt x="233" y="11"/>
                      </a:lnTo>
                      <a:lnTo>
                        <a:pt x="235" y="8"/>
                      </a:lnTo>
                      <a:lnTo>
                        <a:pt x="236" y="8"/>
                      </a:lnTo>
                      <a:lnTo>
                        <a:pt x="238" y="8"/>
                      </a:lnTo>
                      <a:lnTo>
                        <a:pt x="238" y="6"/>
                      </a:lnTo>
                      <a:lnTo>
                        <a:pt x="240" y="5"/>
                      </a:lnTo>
                      <a:lnTo>
                        <a:pt x="240" y="3"/>
                      </a:lnTo>
                      <a:lnTo>
                        <a:pt x="241" y="3"/>
                      </a:lnTo>
                      <a:lnTo>
                        <a:pt x="243" y="3"/>
                      </a:lnTo>
                      <a:lnTo>
                        <a:pt x="245" y="1"/>
                      </a:lnTo>
                      <a:lnTo>
                        <a:pt x="247" y="1"/>
                      </a:lnTo>
                      <a:lnTo>
                        <a:pt x="248" y="1"/>
                      </a:lnTo>
                      <a:lnTo>
                        <a:pt x="250" y="0"/>
                      </a:lnTo>
                      <a:lnTo>
                        <a:pt x="252" y="0"/>
                      </a:lnTo>
                      <a:lnTo>
                        <a:pt x="253" y="1"/>
                      </a:lnTo>
                      <a:lnTo>
                        <a:pt x="255" y="1"/>
                      </a:lnTo>
                      <a:lnTo>
                        <a:pt x="258" y="3"/>
                      </a:lnTo>
                      <a:lnTo>
                        <a:pt x="258" y="5"/>
                      </a:lnTo>
                      <a:lnTo>
                        <a:pt x="260" y="5"/>
                      </a:lnTo>
                      <a:lnTo>
                        <a:pt x="260" y="6"/>
                      </a:lnTo>
                      <a:lnTo>
                        <a:pt x="262" y="6"/>
                      </a:lnTo>
                      <a:lnTo>
                        <a:pt x="262" y="8"/>
                      </a:lnTo>
                      <a:lnTo>
                        <a:pt x="263" y="8"/>
                      </a:lnTo>
                      <a:lnTo>
                        <a:pt x="265" y="8"/>
                      </a:lnTo>
                      <a:lnTo>
                        <a:pt x="267" y="8"/>
                      </a:lnTo>
                      <a:lnTo>
                        <a:pt x="269" y="8"/>
                      </a:lnTo>
                      <a:lnTo>
                        <a:pt x="272" y="8"/>
                      </a:lnTo>
                      <a:lnTo>
                        <a:pt x="275" y="8"/>
                      </a:lnTo>
                      <a:lnTo>
                        <a:pt x="277" y="8"/>
                      </a:lnTo>
                      <a:lnTo>
                        <a:pt x="279" y="8"/>
                      </a:lnTo>
                      <a:lnTo>
                        <a:pt x="280" y="10"/>
                      </a:lnTo>
                      <a:lnTo>
                        <a:pt x="282" y="8"/>
                      </a:lnTo>
                      <a:lnTo>
                        <a:pt x="285" y="8"/>
                      </a:lnTo>
                      <a:lnTo>
                        <a:pt x="287" y="10"/>
                      </a:lnTo>
                      <a:lnTo>
                        <a:pt x="289" y="10"/>
                      </a:lnTo>
                      <a:lnTo>
                        <a:pt x="289" y="11"/>
                      </a:lnTo>
                      <a:lnTo>
                        <a:pt x="290" y="13"/>
                      </a:lnTo>
                      <a:lnTo>
                        <a:pt x="294" y="13"/>
                      </a:lnTo>
                      <a:lnTo>
                        <a:pt x="296" y="13"/>
                      </a:lnTo>
                      <a:lnTo>
                        <a:pt x="297" y="13"/>
                      </a:lnTo>
                      <a:lnTo>
                        <a:pt x="299" y="13"/>
                      </a:lnTo>
                      <a:lnTo>
                        <a:pt x="301" y="13"/>
                      </a:lnTo>
                      <a:lnTo>
                        <a:pt x="302" y="14"/>
                      </a:lnTo>
                      <a:lnTo>
                        <a:pt x="304" y="14"/>
                      </a:lnTo>
                      <a:lnTo>
                        <a:pt x="306" y="14"/>
                      </a:lnTo>
                      <a:lnTo>
                        <a:pt x="309" y="14"/>
                      </a:lnTo>
                      <a:lnTo>
                        <a:pt x="311" y="14"/>
                      </a:lnTo>
                      <a:lnTo>
                        <a:pt x="314" y="14"/>
                      </a:lnTo>
                      <a:lnTo>
                        <a:pt x="316" y="13"/>
                      </a:lnTo>
                      <a:lnTo>
                        <a:pt x="319" y="13"/>
                      </a:lnTo>
                      <a:lnTo>
                        <a:pt x="321" y="13"/>
                      </a:lnTo>
                      <a:lnTo>
                        <a:pt x="323" y="14"/>
                      </a:lnTo>
                      <a:lnTo>
                        <a:pt x="324" y="14"/>
                      </a:lnTo>
                      <a:lnTo>
                        <a:pt x="326" y="13"/>
                      </a:lnTo>
                      <a:lnTo>
                        <a:pt x="326" y="14"/>
                      </a:lnTo>
                      <a:lnTo>
                        <a:pt x="328" y="14"/>
                      </a:lnTo>
                      <a:lnTo>
                        <a:pt x="329" y="14"/>
                      </a:lnTo>
                      <a:lnTo>
                        <a:pt x="331" y="13"/>
                      </a:lnTo>
                      <a:lnTo>
                        <a:pt x="333" y="13"/>
                      </a:lnTo>
                      <a:lnTo>
                        <a:pt x="334" y="11"/>
                      </a:lnTo>
                      <a:lnTo>
                        <a:pt x="336" y="11"/>
                      </a:lnTo>
                      <a:lnTo>
                        <a:pt x="338" y="11"/>
                      </a:lnTo>
                      <a:lnTo>
                        <a:pt x="339" y="11"/>
                      </a:lnTo>
                      <a:lnTo>
                        <a:pt x="341" y="13"/>
                      </a:lnTo>
                      <a:lnTo>
                        <a:pt x="343" y="13"/>
                      </a:lnTo>
                      <a:lnTo>
                        <a:pt x="343" y="14"/>
                      </a:lnTo>
                      <a:lnTo>
                        <a:pt x="343" y="16"/>
                      </a:lnTo>
                      <a:lnTo>
                        <a:pt x="345" y="16"/>
                      </a:lnTo>
                      <a:lnTo>
                        <a:pt x="346" y="18"/>
                      </a:lnTo>
                      <a:lnTo>
                        <a:pt x="348" y="18"/>
                      </a:lnTo>
                      <a:lnTo>
                        <a:pt x="350" y="18"/>
                      </a:lnTo>
                      <a:lnTo>
                        <a:pt x="351" y="18"/>
                      </a:lnTo>
                      <a:lnTo>
                        <a:pt x="353" y="19"/>
                      </a:lnTo>
                      <a:lnTo>
                        <a:pt x="355" y="19"/>
                      </a:lnTo>
                      <a:lnTo>
                        <a:pt x="356" y="19"/>
                      </a:lnTo>
                      <a:lnTo>
                        <a:pt x="358" y="18"/>
                      </a:lnTo>
                      <a:lnTo>
                        <a:pt x="360" y="16"/>
                      </a:lnTo>
                      <a:lnTo>
                        <a:pt x="361" y="16"/>
                      </a:lnTo>
                      <a:lnTo>
                        <a:pt x="363" y="16"/>
                      </a:lnTo>
                      <a:lnTo>
                        <a:pt x="365" y="16"/>
                      </a:lnTo>
                      <a:lnTo>
                        <a:pt x="366" y="16"/>
                      </a:lnTo>
                      <a:lnTo>
                        <a:pt x="366" y="18"/>
                      </a:lnTo>
                      <a:lnTo>
                        <a:pt x="366" y="19"/>
                      </a:lnTo>
                      <a:lnTo>
                        <a:pt x="365" y="21"/>
                      </a:lnTo>
                      <a:lnTo>
                        <a:pt x="363" y="21"/>
                      </a:lnTo>
                      <a:lnTo>
                        <a:pt x="361" y="21"/>
                      </a:lnTo>
                      <a:lnTo>
                        <a:pt x="361" y="23"/>
                      </a:lnTo>
                      <a:lnTo>
                        <a:pt x="361" y="26"/>
                      </a:lnTo>
                      <a:lnTo>
                        <a:pt x="361" y="28"/>
                      </a:lnTo>
                      <a:lnTo>
                        <a:pt x="361" y="29"/>
                      </a:lnTo>
                      <a:lnTo>
                        <a:pt x="361" y="31"/>
                      </a:lnTo>
                      <a:lnTo>
                        <a:pt x="361" y="33"/>
                      </a:lnTo>
                      <a:lnTo>
                        <a:pt x="361" y="36"/>
                      </a:lnTo>
                      <a:lnTo>
                        <a:pt x="363" y="37"/>
                      </a:lnTo>
                      <a:lnTo>
                        <a:pt x="363" y="39"/>
                      </a:lnTo>
                      <a:lnTo>
                        <a:pt x="365" y="39"/>
                      </a:lnTo>
                      <a:lnTo>
                        <a:pt x="365" y="41"/>
                      </a:lnTo>
                      <a:lnTo>
                        <a:pt x="365" y="42"/>
                      </a:lnTo>
                      <a:lnTo>
                        <a:pt x="365" y="44"/>
                      </a:lnTo>
                      <a:lnTo>
                        <a:pt x="366" y="46"/>
                      </a:lnTo>
                      <a:lnTo>
                        <a:pt x="368" y="47"/>
                      </a:lnTo>
                      <a:lnTo>
                        <a:pt x="368" y="49"/>
                      </a:lnTo>
                      <a:lnTo>
                        <a:pt x="370" y="47"/>
                      </a:lnTo>
                      <a:lnTo>
                        <a:pt x="370" y="49"/>
                      </a:lnTo>
                      <a:lnTo>
                        <a:pt x="372" y="49"/>
                      </a:lnTo>
                      <a:lnTo>
                        <a:pt x="373" y="49"/>
                      </a:lnTo>
                      <a:lnTo>
                        <a:pt x="375" y="47"/>
                      </a:lnTo>
                      <a:lnTo>
                        <a:pt x="377" y="46"/>
                      </a:lnTo>
                      <a:lnTo>
                        <a:pt x="378" y="46"/>
                      </a:lnTo>
                      <a:lnTo>
                        <a:pt x="378" y="44"/>
                      </a:lnTo>
                      <a:lnTo>
                        <a:pt x="380" y="42"/>
                      </a:lnTo>
                      <a:lnTo>
                        <a:pt x="382" y="39"/>
                      </a:lnTo>
                      <a:lnTo>
                        <a:pt x="382" y="37"/>
                      </a:lnTo>
                      <a:lnTo>
                        <a:pt x="383" y="37"/>
                      </a:lnTo>
                      <a:lnTo>
                        <a:pt x="383" y="36"/>
                      </a:lnTo>
                      <a:lnTo>
                        <a:pt x="383" y="34"/>
                      </a:lnTo>
                      <a:lnTo>
                        <a:pt x="385" y="34"/>
                      </a:lnTo>
                      <a:lnTo>
                        <a:pt x="387" y="34"/>
                      </a:lnTo>
                      <a:lnTo>
                        <a:pt x="388" y="34"/>
                      </a:lnTo>
                      <a:lnTo>
                        <a:pt x="390" y="34"/>
                      </a:lnTo>
                      <a:lnTo>
                        <a:pt x="390" y="36"/>
                      </a:lnTo>
                      <a:lnTo>
                        <a:pt x="392" y="36"/>
                      </a:lnTo>
                      <a:lnTo>
                        <a:pt x="393" y="39"/>
                      </a:lnTo>
                      <a:lnTo>
                        <a:pt x="393" y="44"/>
                      </a:lnTo>
                      <a:lnTo>
                        <a:pt x="393" y="46"/>
                      </a:lnTo>
                      <a:lnTo>
                        <a:pt x="393" y="47"/>
                      </a:lnTo>
                      <a:lnTo>
                        <a:pt x="393" y="49"/>
                      </a:lnTo>
                      <a:lnTo>
                        <a:pt x="393" y="51"/>
                      </a:lnTo>
                      <a:lnTo>
                        <a:pt x="393" y="52"/>
                      </a:lnTo>
                      <a:lnTo>
                        <a:pt x="393" y="54"/>
                      </a:lnTo>
                      <a:lnTo>
                        <a:pt x="393" y="56"/>
                      </a:lnTo>
                      <a:lnTo>
                        <a:pt x="393" y="57"/>
                      </a:lnTo>
                      <a:lnTo>
                        <a:pt x="395" y="57"/>
                      </a:lnTo>
                      <a:lnTo>
                        <a:pt x="397" y="59"/>
                      </a:lnTo>
                      <a:lnTo>
                        <a:pt x="399" y="59"/>
                      </a:lnTo>
                      <a:lnTo>
                        <a:pt x="399" y="60"/>
                      </a:lnTo>
                      <a:lnTo>
                        <a:pt x="400" y="60"/>
                      </a:lnTo>
                      <a:lnTo>
                        <a:pt x="402" y="60"/>
                      </a:lnTo>
                      <a:lnTo>
                        <a:pt x="402" y="59"/>
                      </a:lnTo>
                      <a:lnTo>
                        <a:pt x="402" y="57"/>
                      </a:lnTo>
                      <a:lnTo>
                        <a:pt x="402" y="56"/>
                      </a:lnTo>
                      <a:lnTo>
                        <a:pt x="402" y="54"/>
                      </a:lnTo>
                      <a:lnTo>
                        <a:pt x="402" y="52"/>
                      </a:lnTo>
                      <a:lnTo>
                        <a:pt x="402" y="51"/>
                      </a:lnTo>
                      <a:lnTo>
                        <a:pt x="402" y="49"/>
                      </a:lnTo>
                      <a:lnTo>
                        <a:pt x="400" y="47"/>
                      </a:lnTo>
                      <a:lnTo>
                        <a:pt x="400" y="46"/>
                      </a:lnTo>
                      <a:lnTo>
                        <a:pt x="400" y="44"/>
                      </a:lnTo>
                      <a:lnTo>
                        <a:pt x="402" y="44"/>
                      </a:lnTo>
                      <a:lnTo>
                        <a:pt x="402" y="42"/>
                      </a:lnTo>
                      <a:lnTo>
                        <a:pt x="404" y="41"/>
                      </a:lnTo>
                      <a:lnTo>
                        <a:pt x="404" y="39"/>
                      </a:lnTo>
                      <a:lnTo>
                        <a:pt x="404" y="37"/>
                      </a:lnTo>
                      <a:lnTo>
                        <a:pt x="404" y="36"/>
                      </a:lnTo>
                      <a:lnTo>
                        <a:pt x="405" y="36"/>
                      </a:lnTo>
                      <a:lnTo>
                        <a:pt x="407" y="34"/>
                      </a:lnTo>
                      <a:lnTo>
                        <a:pt x="409" y="36"/>
                      </a:lnTo>
                      <a:lnTo>
                        <a:pt x="410" y="36"/>
                      </a:lnTo>
                      <a:lnTo>
                        <a:pt x="412" y="34"/>
                      </a:lnTo>
                      <a:lnTo>
                        <a:pt x="414" y="34"/>
                      </a:lnTo>
                      <a:lnTo>
                        <a:pt x="415" y="34"/>
                      </a:lnTo>
                      <a:lnTo>
                        <a:pt x="417" y="34"/>
                      </a:lnTo>
                      <a:lnTo>
                        <a:pt x="419" y="36"/>
                      </a:lnTo>
                      <a:lnTo>
                        <a:pt x="421" y="34"/>
                      </a:lnTo>
                      <a:lnTo>
                        <a:pt x="422" y="36"/>
                      </a:lnTo>
                      <a:lnTo>
                        <a:pt x="424" y="36"/>
                      </a:lnTo>
                      <a:lnTo>
                        <a:pt x="426" y="34"/>
                      </a:lnTo>
                      <a:lnTo>
                        <a:pt x="427" y="34"/>
                      </a:lnTo>
                      <a:lnTo>
                        <a:pt x="427" y="33"/>
                      </a:lnTo>
                      <a:lnTo>
                        <a:pt x="429" y="33"/>
                      </a:lnTo>
                      <a:lnTo>
                        <a:pt x="431" y="33"/>
                      </a:lnTo>
                      <a:lnTo>
                        <a:pt x="432" y="33"/>
                      </a:lnTo>
                      <a:lnTo>
                        <a:pt x="434" y="33"/>
                      </a:lnTo>
                      <a:lnTo>
                        <a:pt x="436" y="33"/>
                      </a:lnTo>
                      <a:lnTo>
                        <a:pt x="437" y="33"/>
                      </a:lnTo>
                      <a:lnTo>
                        <a:pt x="439" y="33"/>
                      </a:lnTo>
                      <a:lnTo>
                        <a:pt x="441" y="33"/>
                      </a:lnTo>
                      <a:lnTo>
                        <a:pt x="442" y="33"/>
                      </a:lnTo>
                      <a:lnTo>
                        <a:pt x="442" y="31"/>
                      </a:lnTo>
                      <a:lnTo>
                        <a:pt x="444" y="31"/>
                      </a:lnTo>
                      <a:lnTo>
                        <a:pt x="446" y="31"/>
                      </a:lnTo>
                      <a:lnTo>
                        <a:pt x="448" y="31"/>
                      </a:lnTo>
                      <a:lnTo>
                        <a:pt x="449" y="31"/>
                      </a:lnTo>
                      <a:lnTo>
                        <a:pt x="451" y="31"/>
                      </a:lnTo>
                      <a:lnTo>
                        <a:pt x="453" y="31"/>
                      </a:lnTo>
                      <a:lnTo>
                        <a:pt x="454" y="31"/>
                      </a:lnTo>
                      <a:lnTo>
                        <a:pt x="456" y="31"/>
                      </a:lnTo>
                      <a:lnTo>
                        <a:pt x="458" y="31"/>
                      </a:lnTo>
                      <a:lnTo>
                        <a:pt x="458" y="33"/>
                      </a:lnTo>
                      <a:lnTo>
                        <a:pt x="459" y="33"/>
                      </a:lnTo>
                      <a:lnTo>
                        <a:pt x="461" y="33"/>
                      </a:lnTo>
                      <a:lnTo>
                        <a:pt x="463" y="33"/>
                      </a:lnTo>
                      <a:lnTo>
                        <a:pt x="464" y="33"/>
                      </a:lnTo>
                      <a:lnTo>
                        <a:pt x="464" y="31"/>
                      </a:lnTo>
                      <a:lnTo>
                        <a:pt x="463" y="29"/>
                      </a:lnTo>
                      <a:lnTo>
                        <a:pt x="461" y="28"/>
                      </a:lnTo>
                      <a:lnTo>
                        <a:pt x="461" y="26"/>
                      </a:lnTo>
                      <a:lnTo>
                        <a:pt x="461" y="24"/>
                      </a:lnTo>
                      <a:lnTo>
                        <a:pt x="461" y="23"/>
                      </a:lnTo>
                      <a:lnTo>
                        <a:pt x="463" y="23"/>
                      </a:lnTo>
                      <a:lnTo>
                        <a:pt x="464" y="23"/>
                      </a:lnTo>
                      <a:lnTo>
                        <a:pt x="464" y="24"/>
                      </a:lnTo>
                      <a:lnTo>
                        <a:pt x="466" y="24"/>
                      </a:lnTo>
                      <a:lnTo>
                        <a:pt x="466" y="26"/>
                      </a:lnTo>
                      <a:lnTo>
                        <a:pt x="468" y="28"/>
                      </a:lnTo>
                      <a:lnTo>
                        <a:pt x="468" y="29"/>
                      </a:lnTo>
                      <a:lnTo>
                        <a:pt x="469" y="29"/>
                      </a:lnTo>
                      <a:lnTo>
                        <a:pt x="471" y="31"/>
                      </a:lnTo>
                      <a:lnTo>
                        <a:pt x="473" y="33"/>
                      </a:lnTo>
                      <a:lnTo>
                        <a:pt x="475" y="33"/>
                      </a:lnTo>
                      <a:lnTo>
                        <a:pt x="475" y="34"/>
                      </a:lnTo>
                      <a:lnTo>
                        <a:pt x="476" y="34"/>
                      </a:lnTo>
                      <a:lnTo>
                        <a:pt x="478" y="34"/>
                      </a:lnTo>
                      <a:lnTo>
                        <a:pt x="480" y="33"/>
                      </a:lnTo>
                      <a:lnTo>
                        <a:pt x="481" y="33"/>
                      </a:lnTo>
                      <a:lnTo>
                        <a:pt x="481" y="31"/>
                      </a:lnTo>
                      <a:lnTo>
                        <a:pt x="483" y="31"/>
                      </a:lnTo>
                      <a:lnTo>
                        <a:pt x="485" y="31"/>
                      </a:lnTo>
                      <a:lnTo>
                        <a:pt x="485" y="29"/>
                      </a:lnTo>
                      <a:lnTo>
                        <a:pt x="486" y="28"/>
                      </a:lnTo>
                      <a:lnTo>
                        <a:pt x="486" y="24"/>
                      </a:lnTo>
                      <a:lnTo>
                        <a:pt x="486" y="23"/>
                      </a:lnTo>
                      <a:lnTo>
                        <a:pt x="490" y="24"/>
                      </a:lnTo>
                      <a:lnTo>
                        <a:pt x="490" y="26"/>
                      </a:lnTo>
                      <a:lnTo>
                        <a:pt x="490" y="28"/>
                      </a:lnTo>
                      <a:lnTo>
                        <a:pt x="490" y="29"/>
                      </a:lnTo>
                      <a:lnTo>
                        <a:pt x="491" y="29"/>
                      </a:lnTo>
                      <a:lnTo>
                        <a:pt x="491" y="31"/>
                      </a:lnTo>
                      <a:lnTo>
                        <a:pt x="493" y="31"/>
                      </a:lnTo>
                      <a:lnTo>
                        <a:pt x="495" y="31"/>
                      </a:lnTo>
                      <a:lnTo>
                        <a:pt x="497" y="29"/>
                      </a:lnTo>
                      <a:lnTo>
                        <a:pt x="497" y="28"/>
                      </a:lnTo>
                      <a:lnTo>
                        <a:pt x="497" y="26"/>
                      </a:lnTo>
                      <a:lnTo>
                        <a:pt x="498" y="26"/>
                      </a:lnTo>
                      <a:lnTo>
                        <a:pt x="498" y="24"/>
                      </a:lnTo>
                      <a:lnTo>
                        <a:pt x="497" y="24"/>
                      </a:lnTo>
                      <a:lnTo>
                        <a:pt x="497" y="23"/>
                      </a:lnTo>
                      <a:lnTo>
                        <a:pt x="497" y="21"/>
                      </a:lnTo>
                      <a:lnTo>
                        <a:pt x="498" y="21"/>
                      </a:lnTo>
                      <a:lnTo>
                        <a:pt x="498" y="19"/>
                      </a:lnTo>
                      <a:lnTo>
                        <a:pt x="500" y="19"/>
                      </a:lnTo>
                      <a:lnTo>
                        <a:pt x="502" y="19"/>
                      </a:lnTo>
                      <a:lnTo>
                        <a:pt x="503" y="19"/>
                      </a:lnTo>
                      <a:lnTo>
                        <a:pt x="507" y="19"/>
                      </a:lnTo>
                      <a:lnTo>
                        <a:pt x="508" y="19"/>
                      </a:lnTo>
                      <a:lnTo>
                        <a:pt x="510" y="19"/>
                      </a:lnTo>
                      <a:lnTo>
                        <a:pt x="512" y="18"/>
                      </a:lnTo>
                      <a:lnTo>
                        <a:pt x="513" y="18"/>
                      </a:lnTo>
                      <a:lnTo>
                        <a:pt x="513" y="19"/>
                      </a:lnTo>
                      <a:lnTo>
                        <a:pt x="515" y="19"/>
                      </a:lnTo>
                      <a:lnTo>
                        <a:pt x="515" y="21"/>
                      </a:lnTo>
                      <a:lnTo>
                        <a:pt x="517" y="23"/>
                      </a:lnTo>
                      <a:lnTo>
                        <a:pt x="518" y="24"/>
                      </a:lnTo>
                      <a:lnTo>
                        <a:pt x="520" y="24"/>
                      </a:lnTo>
                      <a:lnTo>
                        <a:pt x="522" y="24"/>
                      </a:lnTo>
                      <a:lnTo>
                        <a:pt x="522" y="23"/>
                      </a:lnTo>
                      <a:lnTo>
                        <a:pt x="524" y="23"/>
                      </a:lnTo>
                      <a:lnTo>
                        <a:pt x="524" y="21"/>
                      </a:lnTo>
                      <a:lnTo>
                        <a:pt x="524" y="19"/>
                      </a:lnTo>
                      <a:lnTo>
                        <a:pt x="525" y="19"/>
                      </a:lnTo>
                      <a:lnTo>
                        <a:pt x="527" y="19"/>
                      </a:lnTo>
                      <a:lnTo>
                        <a:pt x="529" y="19"/>
                      </a:lnTo>
                      <a:lnTo>
                        <a:pt x="529" y="18"/>
                      </a:lnTo>
                      <a:lnTo>
                        <a:pt x="530" y="19"/>
                      </a:lnTo>
                      <a:lnTo>
                        <a:pt x="532" y="18"/>
                      </a:lnTo>
                      <a:lnTo>
                        <a:pt x="534" y="18"/>
                      </a:lnTo>
                      <a:lnTo>
                        <a:pt x="535" y="16"/>
                      </a:lnTo>
                      <a:lnTo>
                        <a:pt x="535" y="18"/>
                      </a:lnTo>
                      <a:lnTo>
                        <a:pt x="537" y="18"/>
                      </a:lnTo>
                      <a:lnTo>
                        <a:pt x="537" y="19"/>
                      </a:lnTo>
                      <a:lnTo>
                        <a:pt x="539" y="19"/>
                      </a:lnTo>
                      <a:lnTo>
                        <a:pt x="539" y="21"/>
                      </a:lnTo>
                      <a:lnTo>
                        <a:pt x="539" y="23"/>
                      </a:lnTo>
                      <a:lnTo>
                        <a:pt x="537" y="23"/>
                      </a:lnTo>
                      <a:lnTo>
                        <a:pt x="539" y="24"/>
                      </a:lnTo>
                      <a:lnTo>
                        <a:pt x="539" y="26"/>
                      </a:lnTo>
                      <a:lnTo>
                        <a:pt x="540" y="26"/>
                      </a:lnTo>
                      <a:lnTo>
                        <a:pt x="540" y="28"/>
                      </a:lnTo>
                      <a:lnTo>
                        <a:pt x="542" y="28"/>
                      </a:lnTo>
                      <a:lnTo>
                        <a:pt x="544" y="28"/>
                      </a:lnTo>
                      <a:lnTo>
                        <a:pt x="545" y="29"/>
                      </a:lnTo>
                      <a:lnTo>
                        <a:pt x="547" y="29"/>
                      </a:lnTo>
                      <a:lnTo>
                        <a:pt x="547" y="31"/>
                      </a:lnTo>
                      <a:lnTo>
                        <a:pt x="549" y="31"/>
                      </a:lnTo>
                      <a:lnTo>
                        <a:pt x="551" y="31"/>
                      </a:lnTo>
                      <a:lnTo>
                        <a:pt x="551" y="33"/>
                      </a:lnTo>
                      <a:lnTo>
                        <a:pt x="552" y="34"/>
                      </a:lnTo>
                      <a:lnTo>
                        <a:pt x="554" y="34"/>
                      </a:lnTo>
                      <a:lnTo>
                        <a:pt x="556" y="34"/>
                      </a:lnTo>
                      <a:lnTo>
                        <a:pt x="556" y="36"/>
                      </a:lnTo>
                      <a:lnTo>
                        <a:pt x="556" y="37"/>
                      </a:lnTo>
                      <a:lnTo>
                        <a:pt x="556" y="39"/>
                      </a:lnTo>
                      <a:lnTo>
                        <a:pt x="557" y="39"/>
                      </a:lnTo>
                      <a:lnTo>
                        <a:pt x="557" y="41"/>
                      </a:lnTo>
                      <a:lnTo>
                        <a:pt x="557" y="42"/>
                      </a:lnTo>
                      <a:lnTo>
                        <a:pt x="557" y="44"/>
                      </a:lnTo>
                      <a:lnTo>
                        <a:pt x="556" y="44"/>
                      </a:lnTo>
                      <a:lnTo>
                        <a:pt x="556" y="46"/>
                      </a:lnTo>
                      <a:lnTo>
                        <a:pt x="554" y="46"/>
                      </a:lnTo>
                      <a:lnTo>
                        <a:pt x="554" y="47"/>
                      </a:lnTo>
                      <a:lnTo>
                        <a:pt x="552" y="47"/>
                      </a:lnTo>
                      <a:lnTo>
                        <a:pt x="552" y="49"/>
                      </a:lnTo>
                      <a:lnTo>
                        <a:pt x="552" y="51"/>
                      </a:lnTo>
                      <a:lnTo>
                        <a:pt x="552" y="52"/>
                      </a:lnTo>
                      <a:lnTo>
                        <a:pt x="552" y="54"/>
                      </a:lnTo>
                      <a:lnTo>
                        <a:pt x="552" y="56"/>
                      </a:lnTo>
                      <a:lnTo>
                        <a:pt x="552" y="57"/>
                      </a:lnTo>
                      <a:lnTo>
                        <a:pt x="552" y="59"/>
                      </a:lnTo>
                      <a:lnTo>
                        <a:pt x="552" y="60"/>
                      </a:lnTo>
                      <a:lnTo>
                        <a:pt x="552" y="62"/>
                      </a:lnTo>
                      <a:lnTo>
                        <a:pt x="554" y="62"/>
                      </a:lnTo>
                      <a:lnTo>
                        <a:pt x="554" y="64"/>
                      </a:lnTo>
                      <a:lnTo>
                        <a:pt x="556" y="64"/>
                      </a:lnTo>
                      <a:lnTo>
                        <a:pt x="557" y="64"/>
                      </a:lnTo>
                      <a:lnTo>
                        <a:pt x="557" y="65"/>
                      </a:lnTo>
                      <a:lnTo>
                        <a:pt x="559" y="65"/>
                      </a:lnTo>
                      <a:lnTo>
                        <a:pt x="559" y="67"/>
                      </a:lnTo>
                      <a:lnTo>
                        <a:pt x="561" y="67"/>
                      </a:lnTo>
                      <a:lnTo>
                        <a:pt x="562" y="67"/>
                      </a:lnTo>
                      <a:lnTo>
                        <a:pt x="564" y="67"/>
                      </a:lnTo>
                      <a:lnTo>
                        <a:pt x="564" y="69"/>
                      </a:lnTo>
                      <a:lnTo>
                        <a:pt x="566" y="69"/>
                      </a:lnTo>
                      <a:lnTo>
                        <a:pt x="566" y="70"/>
                      </a:lnTo>
                      <a:lnTo>
                        <a:pt x="567" y="72"/>
                      </a:lnTo>
                      <a:lnTo>
                        <a:pt x="566" y="72"/>
                      </a:lnTo>
                      <a:lnTo>
                        <a:pt x="567" y="74"/>
                      </a:lnTo>
                      <a:lnTo>
                        <a:pt x="567" y="75"/>
                      </a:lnTo>
                      <a:lnTo>
                        <a:pt x="567" y="77"/>
                      </a:lnTo>
                      <a:lnTo>
                        <a:pt x="569" y="77"/>
                      </a:lnTo>
                      <a:lnTo>
                        <a:pt x="569" y="79"/>
                      </a:lnTo>
                      <a:lnTo>
                        <a:pt x="571" y="80"/>
                      </a:lnTo>
                      <a:lnTo>
                        <a:pt x="571" y="82"/>
                      </a:lnTo>
                      <a:lnTo>
                        <a:pt x="569" y="82"/>
                      </a:lnTo>
                      <a:lnTo>
                        <a:pt x="571" y="83"/>
                      </a:lnTo>
                      <a:lnTo>
                        <a:pt x="569" y="83"/>
                      </a:lnTo>
                      <a:lnTo>
                        <a:pt x="569" y="85"/>
                      </a:lnTo>
                      <a:lnTo>
                        <a:pt x="567" y="85"/>
                      </a:lnTo>
                      <a:lnTo>
                        <a:pt x="566" y="85"/>
                      </a:lnTo>
                      <a:lnTo>
                        <a:pt x="564" y="85"/>
                      </a:lnTo>
                      <a:lnTo>
                        <a:pt x="564" y="87"/>
                      </a:lnTo>
                      <a:lnTo>
                        <a:pt x="562" y="87"/>
                      </a:lnTo>
                      <a:lnTo>
                        <a:pt x="562" y="88"/>
                      </a:lnTo>
                      <a:lnTo>
                        <a:pt x="562" y="90"/>
                      </a:lnTo>
                      <a:lnTo>
                        <a:pt x="562" y="92"/>
                      </a:lnTo>
                      <a:lnTo>
                        <a:pt x="561" y="92"/>
                      </a:lnTo>
                      <a:lnTo>
                        <a:pt x="559" y="92"/>
                      </a:lnTo>
                      <a:lnTo>
                        <a:pt x="559" y="93"/>
                      </a:lnTo>
                      <a:lnTo>
                        <a:pt x="559" y="95"/>
                      </a:lnTo>
                      <a:lnTo>
                        <a:pt x="559" y="97"/>
                      </a:lnTo>
                      <a:lnTo>
                        <a:pt x="559" y="98"/>
                      </a:lnTo>
                      <a:lnTo>
                        <a:pt x="557" y="102"/>
                      </a:lnTo>
                      <a:lnTo>
                        <a:pt x="559" y="105"/>
                      </a:lnTo>
                      <a:lnTo>
                        <a:pt x="562" y="106"/>
                      </a:lnTo>
                      <a:lnTo>
                        <a:pt x="561" y="106"/>
                      </a:lnTo>
                      <a:lnTo>
                        <a:pt x="562" y="108"/>
                      </a:lnTo>
                      <a:lnTo>
                        <a:pt x="564" y="108"/>
                      </a:lnTo>
                      <a:lnTo>
                        <a:pt x="564" y="110"/>
                      </a:lnTo>
                      <a:lnTo>
                        <a:pt x="566" y="110"/>
                      </a:lnTo>
                      <a:lnTo>
                        <a:pt x="566" y="111"/>
                      </a:lnTo>
                      <a:lnTo>
                        <a:pt x="566" y="113"/>
                      </a:lnTo>
                      <a:lnTo>
                        <a:pt x="564" y="115"/>
                      </a:lnTo>
                      <a:lnTo>
                        <a:pt x="566" y="115"/>
                      </a:lnTo>
                      <a:lnTo>
                        <a:pt x="566" y="116"/>
                      </a:lnTo>
                      <a:lnTo>
                        <a:pt x="566" y="118"/>
                      </a:lnTo>
                      <a:lnTo>
                        <a:pt x="566" y="121"/>
                      </a:lnTo>
                      <a:lnTo>
                        <a:pt x="567" y="120"/>
                      </a:lnTo>
                      <a:lnTo>
                        <a:pt x="567" y="121"/>
                      </a:lnTo>
                      <a:lnTo>
                        <a:pt x="569" y="121"/>
                      </a:lnTo>
                      <a:lnTo>
                        <a:pt x="569" y="123"/>
                      </a:lnTo>
                      <a:lnTo>
                        <a:pt x="567" y="123"/>
                      </a:lnTo>
                      <a:lnTo>
                        <a:pt x="567" y="125"/>
                      </a:lnTo>
                      <a:lnTo>
                        <a:pt x="567" y="126"/>
                      </a:lnTo>
                      <a:lnTo>
                        <a:pt x="569" y="126"/>
                      </a:lnTo>
                      <a:lnTo>
                        <a:pt x="567" y="128"/>
                      </a:lnTo>
                      <a:lnTo>
                        <a:pt x="569" y="128"/>
                      </a:lnTo>
                      <a:lnTo>
                        <a:pt x="569" y="129"/>
                      </a:lnTo>
                      <a:lnTo>
                        <a:pt x="569" y="131"/>
                      </a:lnTo>
                      <a:lnTo>
                        <a:pt x="571" y="131"/>
                      </a:lnTo>
                      <a:lnTo>
                        <a:pt x="571" y="133"/>
                      </a:lnTo>
                      <a:lnTo>
                        <a:pt x="571" y="131"/>
                      </a:lnTo>
                      <a:lnTo>
                        <a:pt x="573" y="131"/>
                      </a:lnTo>
                      <a:lnTo>
                        <a:pt x="574" y="131"/>
                      </a:lnTo>
                      <a:lnTo>
                        <a:pt x="573" y="133"/>
                      </a:lnTo>
                      <a:lnTo>
                        <a:pt x="573" y="134"/>
                      </a:lnTo>
                      <a:lnTo>
                        <a:pt x="574" y="134"/>
                      </a:lnTo>
                      <a:lnTo>
                        <a:pt x="574" y="136"/>
                      </a:lnTo>
                      <a:lnTo>
                        <a:pt x="576" y="136"/>
                      </a:lnTo>
                      <a:lnTo>
                        <a:pt x="576" y="138"/>
                      </a:lnTo>
                      <a:lnTo>
                        <a:pt x="576" y="139"/>
                      </a:lnTo>
                      <a:lnTo>
                        <a:pt x="578" y="139"/>
                      </a:lnTo>
                      <a:lnTo>
                        <a:pt x="578" y="141"/>
                      </a:lnTo>
                      <a:lnTo>
                        <a:pt x="576" y="141"/>
                      </a:lnTo>
                      <a:lnTo>
                        <a:pt x="578" y="141"/>
                      </a:lnTo>
                      <a:lnTo>
                        <a:pt x="578" y="143"/>
                      </a:lnTo>
                      <a:lnTo>
                        <a:pt x="578" y="144"/>
                      </a:lnTo>
                      <a:lnTo>
                        <a:pt x="579" y="144"/>
                      </a:lnTo>
                      <a:lnTo>
                        <a:pt x="579" y="146"/>
                      </a:lnTo>
                      <a:lnTo>
                        <a:pt x="579" y="148"/>
                      </a:lnTo>
                      <a:lnTo>
                        <a:pt x="579" y="149"/>
                      </a:lnTo>
                      <a:lnTo>
                        <a:pt x="578" y="149"/>
                      </a:lnTo>
                      <a:lnTo>
                        <a:pt x="579" y="149"/>
                      </a:lnTo>
                      <a:lnTo>
                        <a:pt x="579" y="151"/>
                      </a:lnTo>
                      <a:lnTo>
                        <a:pt x="581" y="151"/>
                      </a:lnTo>
                      <a:lnTo>
                        <a:pt x="581" y="152"/>
                      </a:lnTo>
                      <a:lnTo>
                        <a:pt x="581" y="151"/>
                      </a:lnTo>
                      <a:lnTo>
                        <a:pt x="583" y="151"/>
                      </a:lnTo>
                      <a:lnTo>
                        <a:pt x="584" y="151"/>
                      </a:lnTo>
                      <a:lnTo>
                        <a:pt x="586" y="151"/>
                      </a:lnTo>
                      <a:lnTo>
                        <a:pt x="588" y="152"/>
                      </a:lnTo>
                      <a:lnTo>
                        <a:pt x="588" y="151"/>
                      </a:lnTo>
                      <a:lnTo>
                        <a:pt x="589" y="151"/>
                      </a:lnTo>
                      <a:lnTo>
                        <a:pt x="591" y="149"/>
                      </a:lnTo>
                      <a:lnTo>
                        <a:pt x="593" y="149"/>
                      </a:lnTo>
                      <a:lnTo>
                        <a:pt x="593" y="148"/>
                      </a:lnTo>
                      <a:lnTo>
                        <a:pt x="594" y="148"/>
                      </a:lnTo>
                      <a:lnTo>
                        <a:pt x="596" y="148"/>
                      </a:lnTo>
                      <a:lnTo>
                        <a:pt x="594" y="148"/>
                      </a:lnTo>
                      <a:lnTo>
                        <a:pt x="594" y="146"/>
                      </a:lnTo>
                      <a:lnTo>
                        <a:pt x="596" y="146"/>
                      </a:lnTo>
                      <a:lnTo>
                        <a:pt x="598" y="146"/>
                      </a:lnTo>
                      <a:lnTo>
                        <a:pt x="600" y="146"/>
                      </a:lnTo>
                      <a:lnTo>
                        <a:pt x="600" y="148"/>
                      </a:lnTo>
                      <a:lnTo>
                        <a:pt x="600" y="146"/>
                      </a:lnTo>
                      <a:lnTo>
                        <a:pt x="601" y="146"/>
                      </a:lnTo>
                      <a:lnTo>
                        <a:pt x="603" y="146"/>
                      </a:lnTo>
                      <a:lnTo>
                        <a:pt x="603" y="148"/>
                      </a:lnTo>
                      <a:lnTo>
                        <a:pt x="605" y="148"/>
                      </a:lnTo>
                      <a:lnTo>
                        <a:pt x="605" y="149"/>
                      </a:lnTo>
                      <a:lnTo>
                        <a:pt x="606" y="149"/>
                      </a:lnTo>
                      <a:lnTo>
                        <a:pt x="606" y="148"/>
                      </a:lnTo>
                      <a:lnTo>
                        <a:pt x="606" y="149"/>
                      </a:lnTo>
                      <a:lnTo>
                        <a:pt x="608" y="149"/>
                      </a:lnTo>
                      <a:lnTo>
                        <a:pt x="608" y="148"/>
                      </a:lnTo>
                      <a:lnTo>
                        <a:pt x="610" y="148"/>
                      </a:lnTo>
                      <a:lnTo>
                        <a:pt x="611" y="148"/>
                      </a:lnTo>
                      <a:lnTo>
                        <a:pt x="611" y="146"/>
                      </a:lnTo>
                      <a:lnTo>
                        <a:pt x="613" y="146"/>
                      </a:lnTo>
                      <a:lnTo>
                        <a:pt x="613" y="148"/>
                      </a:lnTo>
                      <a:lnTo>
                        <a:pt x="613" y="149"/>
                      </a:lnTo>
                      <a:lnTo>
                        <a:pt x="615" y="149"/>
                      </a:lnTo>
                      <a:lnTo>
                        <a:pt x="613" y="149"/>
                      </a:lnTo>
                      <a:lnTo>
                        <a:pt x="615" y="151"/>
                      </a:lnTo>
                      <a:lnTo>
                        <a:pt x="616" y="151"/>
                      </a:lnTo>
                      <a:lnTo>
                        <a:pt x="616" y="152"/>
                      </a:lnTo>
                      <a:lnTo>
                        <a:pt x="616" y="154"/>
                      </a:lnTo>
                      <a:lnTo>
                        <a:pt x="618" y="152"/>
                      </a:lnTo>
                      <a:lnTo>
                        <a:pt x="620" y="152"/>
                      </a:lnTo>
                      <a:lnTo>
                        <a:pt x="621" y="152"/>
                      </a:lnTo>
                      <a:lnTo>
                        <a:pt x="623" y="152"/>
                      </a:lnTo>
                      <a:lnTo>
                        <a:pt x="623" y="154"/>
                      </a:lnTo>
                      <a:lnTo>
                        <a:pt x="625" y="154"/>
                      </a:lnTo>
                      <a:lnTo>
                        <a:pt x="625" y="156"/>
                      </a:lnTo>
                      <a:lnTo>
                        <a:pt x="627" y="156"/>
                      </a:lnTo>
                      <a:lnTo>
                        <a:pt x="627" y="157"/>
                      </a:lnTo>
                      <a:lnTo>
                        <a:pt x="625" y="159"/>
                      </a:lnTo>
                      <a:lnTo>
                        <a:pt x="625" y="161"/>
                      </a:lnTo>
                      <a:lnTo>
                        <a:pt x="625" y="162"/>
                      </a:lnTo>
                      <a:lnTo>
                        <a:pt x="627" y="162"/>
                      </a:lnTo>
                      <a:lnTo>
                        <a:pt x="627" y="164"/>
                      </a:lnTo>
                      <a:lnTo>
                        <a:pt x="627" y="166"/>
                      </a:lnTo>
                      <a:lnTo>
                        <a:pt x="625" y="166"/>
                      </a:lnTo>
                      <a:lnTo>
                        <a:pt x="625" y="167"/>
                      </a:lnTo>
                      <a:lnTo>
                        <a:pt x="625" y="169"/>
                      </a:lnTo>
                      <a:lnTo>
                        <a:pt x="623" y="169"/>
                      </a:lnTo>
                      <a:lnTo>
                        <a:pt x="623" y="170"/>
                      </a:lnTo>
                      <a:lnTo>
                        <a:pt x="621" y="170"/>
                      </a:lnTo>
                      <a:lnTo>
                        <a:pt x="621" y="172"/>
                      </a:lnTo>
                      <a:lnTo>
                        <a:pt x="623" y="172"/>
                      </a:lnTo>
                      <a:lnTo>
                        <a:pt x="621" y="172"/>
                      </a:lnTo>
                      <a:lnTo>
                        <a:pt x="621" y="174"/>
                      </a:lnTo>
                      <a:lnTo>
                        <a:pt x="621" y="175"/>
                      </a:lnTo>
                      <a:lnTo>
                        <a:pt x="620" y="175"/>
                      </a:lnTo>
                      <a:lnTo>
                        <a:pt x="618" y="175"/>
                      </a:lnTo>
                      <a:lnTo>
                        <a:pt x="616" y="175"/>
                      </a:lnTo>
                      <a:lnTo>
                        <a:pt x="615" y="174"/>
                      </a:lnTo>
                      <a:lnTo>
                        <a:pt x="615" y="175"/>
                      </a:lnTo>
                      <a:lnTo>
                        <a:pt x="615" y="177"/>
                      </a:lnTo>
                      <a:lnTo>
                        <a:pt x="615" y="179"/>
                      </a:lnTo>
                      <a:lnTo>
                        <a:pt x="615" y="180"/>
                      </a:lnTo>
                      <a:lnTo>
                        <a:pt x="615" y="182"/>
                      </a:lnTo>
                      <a:lnTo>
                        <a:pt x="615" y="184"/>
                      </a:lnTo>
                      <a:lnTo>
                        <a:pt x="613" y="184"/>
                      </a:lnTo>
                      <a:lnTo>
                        <a:pt x="613" y="185"/>
                      </a:lnTo>
                      <a:lnTo>
                        <a:pt x="611" y="187"/>
                      </a:lnTo>
                      <a:lnTo>
                        <a:pt x="610" y="189"/>
                      </a:lnTo>
                      <a:lnTo>
                        <a:pt x="610" y="190"/>
                      </a:lnTo>
                      <a:lnTo>
                        <a:pt x="611" y="190"/>
                      </a:lnTo>
                      <a:lnTo>
                        <a:pt x="611" y="192"/>
                      </a:lnTo>
                      <a:lnTo>
                        <a:pt x="611" y="193"/>
                      </a:lnTo>
                      <a:lnTo>
                        <a:pt x="613" y="193"/>
                      </a:lnTo>
                      <a:lnTo>
                        <a:pt x="613" y="195"/>
                      </a:lnTo>
                      <a:lnTo>
                        <a:pt x="611" y="195"/>
                      </a:lnTo>
                      <a:lnTo>
                        <a:pt x="611" y="197"/>
                      </a:lnTo>
                      <a:lnTo>
                        <a:pt x="611" y="198"/>
                      </a:lnTo>
                      <a:lnTo>
                        <a:pt x="613" y="198"/>
                      </a:lnTo>
                      <a:lnTo>
                        <a:pt x="613" y="200"/>
                      </a:lnTo>
                      <a:lnTo>
                        <a:pt x="613" y="202"/>
                      </a:lnTo>
                      <a:lnTo>
                        <a:pt x="615" y="203"/>
                      </a:lnTo>
                      <a:lnTo>
                        <a:pt x="616" y="203"/>
                      </a:lnTo>
                      <a:lnTo>
                        <a:pt x="616" y="205"/>
                      </a:lnTo>
                      <a:lnTo>
                        <a:pt x="616" y="207"/>
                      </a:lnTo>
                      <a:lnTo>
                        <a:pt x="615" y="207"/>
                      </a:lnTo>
                      <a:lnTo>
                        <a:pt x="615" y="205"/>
                      </a:lnTo>
                      <a:lnTo>
                        <a:pt x="613" y="205"/>
                      </a:lnTo>
                      <a:lnTo>
                        <a:pt x="613" y="207"/>
                      </a:lnTo>
                      <a:lnTo>
                        <a:pt x="611" y="207"/>
                      </a:lnTo>
                      <a:lnTo>
                        <a:pt x="610" y="207"/>
                      </a:lnTo>
                      <a:lnTo>
                        <a:pt x="610" y="208"/>
                      </a:lnTo>
                      <a:lnTo>
                        <a:pt x="610" y="210"/>
                      </a:lnTo>
                      <a:lnTo>
                        <a:pt x="611" y="210"/>
                      </a:lnTo>
                      <a:lnTo>
                        <a:pt x="611" y="212"/>
                      </a:lnTo>
                      <a:lnTo>
                        <a:pt x="610" y="212"/>
                      </a:lnTo>
                      <a:lnTo>
                        <a:pt x="608" y="212"/>
                      </a:lnTo>
                      <a:lnTo>
                        <a:pt x="606" y="212"/>
                      </a:lnTo>
                      <a:lnTo>
                        <a:pt x="606" y="213"/>
                      </a:lnTo>
                      <a:lnTo>
                        <a:pt x="608" y="213"/>
                      </a:lnTo>
                      <a:lnTo>
                        <a:pt x="610" y="213"/>
                      </a:lnTo>
                      <a:lnTo>
                        <a:pt x="611" y="213"/>
                      </a:lnTo>
                      <a:lnTo>
                        <a:pt x="613" y="213"/>
                      </a:lnTo>
                      <a:lnTo>
                        <a:pt x="615" y="213"/>
                      </a:lnTo>
                      <a:lnTo>
                        <a:pt x="615" y="215"/>
                      </a:lnTo>
                      <a:lnTo>
                        <a:pt x="616" y="215"/>
                      </a:lnTo>
                      <a:lnTo>
                        <a:pt x="616" y="216"/>
                      </a:lnTo>
                      <a:lnTo>
                        <a:pt x="618" y="216"/>
                      </a:lnTo>
                      <a:lnTo>
                        <a:pt x="616" y="218"/>
                      </a:lnTo>
                      <a:lnTo>
                        <a:pt x="615" y="218"/>
                      </a:lnTo>
                      <a:lnTo>
                        <a:pt x="613" y="220"/>
                      </a:lnTo>
                      <a:lnTo>
                        <a:pt x="613" y="221"/>
                      </a:lnTo>
                      <a:lnTo>
                        <a:pt x="611" y="221"/>
                      </a:lnTo>
                      <a:lnTo>
                        <a:pt x="611" y="220"/>
                      </a:lnTo>
                      <a:lnTo>
                        <a:pt x="611" y="221"/>
                      </a:lnTo>
                      <a:lnTo>
                        <a:pt x="610" y="223"/>
                      </a:lnTo>
                      <a:lnTo>
                        <a:pt x="610" y="225"/>
                      </a:lnTo>
                      <a:lnTo>
                        <a:pt x="610" y="226"/>
                      </a:lnTo>
                      <a:lnTo>
                        <a:pt x="608" y="226"/>
                      </a:lnTo>
                      <a:lnTo>
                        <a:pt x="610" y="226"/>
                      </a:lnTo>
                      <a:lnTo>
                        <a:pt x="610" y="228"/>
                      </a:lnTo>
                      <a:lnTo>
                        <a:pt x="608" y="228"/>
                      </a:lnTo>
                      <a:lnTo>
                        <a:pt x="606" y="228"/>
                      </a:lnTo>
                      <a:lnTo>
                        <a:pt x="606" y="230"/>
                      </a:lnTo>
                      <a:lnTo>
                        <a:pt x="608" y="230"/>
                      </a:lnTo>
                      <a:lnTo>
                        <a:pt x="608" y="231"/>
                      </a:lnTo>
                      <a:lnTo>
                        <a:pt x="606" y="231"/>
                      </a:lnTo>
                      <a:lnTo>
                        <a:pt x="608" y="231"/>
                      </a:lnTo>
                      <a:lnTo>
                        <a:pt x="608" y="233"/>
                      </a:lnTo>
                      <a:lnTo>
                        <a:pt x="606" y="233"/>
                      </a:lnTo>
                      <a:lnTo>
                        <a:pt x="606" y="235"/>
                      </a:lnTo>
                      <a:lnTo>
                        <a:pt x="608" y="235"/>
                      </a:lnTo>
                      <a:lnTo>
                        <a:pt x="608" y="236"/>
                      </a:lnTo>
                      <a:lnTo>
                        <a:pt x="610" y="236"/>
                      </a:lnTo>
                      <a:lnTo>
                        <a:pt x="610" y="238"/>
                      </a:lnTo>
                      <a:lnTo>
                        <a:pt x="611" y="238"/>
                      </a:lnTo>
                      <a:lnTo>
                        <a:pt x="611" y="239"/>
                      </a:lnTo>
                      <a:lnTo>
                        <a:pt x="611" y="241"/>
                      </a:lnTo>
                      <a:lnTo>
                        <a:pt x="611" y="243"/>
                      </a:lnTo>
                      <a:lnTo>
                        <a:pt x="613" y="243"/>
                      </a:lnTo>
                      <a:lnTo>
                        <a:pt x="613" y="244"/>
                      </a:lnTo>
                      <a:lnTo>
                        <a:pt x="615" y="244"/>
                      </a:lnTo>
                      <a:lnTo>
                        <a:pt x="616" y="244"/>
                      </a:lnTo>
                      <a:lnTo>
                        <a:pt x="618" y="246"/>
                      </a:lnTo>
                      <a:lnTo>
                        <a:pt x="618" y="244"/>
                      </a:lnTo>
                      <a:lnTo>
                        <a:pt x="620" y="244"/>
                      </a:lnTo>
                      <a:lnTo>
                        <a:pt x="620" y="246"/>
                      </a:lnTo>
                      <a:lnTo>
                        <a:pt x="621" y="246"/>
                      </a:lnTo>
                      <a:lnTo>
                        <a:pt x="623" y="246"/>
                      </a:lnTo>
                      <a:lnTo>
                        <a:pt x="621" y="248"/>
                      </a:lnTo>
                      <a:lnTo>
                        <a:pt x="623" y="248"/>
                      </a:lnTo>
                      <a:lnTo>
                        <a:pt x="625" y="248"/>
                      </a:lnTo>
                      <a:lnTo>
                        <a:pt x="623" y="249"/>
                      </a:lnTo>
                      <a:lnTo>
                        <a:pt x="627" y="251"/>
                      </a:lnTo>
                      <a:lnTo>
                        <a:pt x="627" y="253"/>
                      </a:lnTo>
                      <a:lnTo>
                        <a:pt x="628" y="251"/>
                      </a:lnTo>
                      <a:lnTo>
                        <a:pt x="628" y="253"/>
                      </a:lnTo>
                      <a:lnTo>
                        <a:pt x="630" y="253"/>
                      </a:lnTo>
                      <a:lnTo>
                        <a:pt x="632" y="253"/>
                      </a:lnTo>
                      <a:lnTo>
                        <a:pt x="633" y="254"/>
                      </a:lnTo>
                      <a:lnTo>
                        <a:pt x="635" y="254"/>
                      </a:lnTo>
                      <a:lnTo>
                        <a:pt x="637" y="254"/>
                      </a:lnTo>
                      <a:lnTo>
                        <a:pt x="635" y="254"/>
                      </a:lnTo>
                      <a:lnTo>
                        <a:pt x="635" y="256"/>
                      </a:lnTo>
                      <a:lnTo>
                        <a:pt x="633" y="256"/>
                      </a:lnTo>
                      <a:lnTo>
                        <a:pt x="633" y="258"/>
                      </a:lnTo>
                      <a:lnTo>
                        <a:pt x="635" y="258"/>
                      </a:lnTo>
                      <a:lnTo>
                        <a:pt x="635" y="259"/>
                      </a:lnTo>
                      <a:lnTo>
                        <a:pt x="635" y="261"/>
                      </a:lnTo>
                      <a:lnTo>
                        <a:pt x="637" y="262"/>
                      </a:lnTo>
                      <a:lnTo>
                        <a:pt x="635" y="262"/>
                      </a:lnTo>
                      <a:lnTo>
                        <a:pt x="635" y="264"/>
                      </a:lnTo>
                      <a:lnTo>
                        <a:pt x="637" y="264"/>
                      </a:lnTo>
                      <a:lnTo>
                        <a:pt x="637" y="266"/>
                      </a:lnTo>
                      <a:lnTo>
                        <a:pt x="635" y="266"/>
                      </a:lnTo>
                      <a:lnTo>
                        <a:pt x="637" y="266"/>
                      </a:lnTo>
                      <a:lnTo>
                        <a:pt x="635" y="266"/>
                      </a:lnTo>
                      <a:lnTo>
                        <a:pt x="633" y="266"/>
                      </a:lnTo>
                      <a:lnTo>
                        <a:pt x="632" y="266"/>
                      </a:lnTo>
                      <a:lnTo>
                        <a:pt x="630" y="267"/>
                      </a:lnTo>
                      <a:lnTo>
                        <a:pt x="630" y="266"/>
                      </a:lnTo>
                      <a:lnTo>
                        <a:pt x="630" y="267"/>
                      </a:lnTo>
                      <a:lnTo>
                        <a:pt x="628" y="267"/>
                      </a:lnTo>
                      <a:lnTo>
                        <a:pt x="630" y="267"/>
                      </a:lnTo>
                      <a:lnTo>
                        <a:pt x="630" y="269"/>
                      </a:lnTo>
                      <a:lnTo>
                        <a:pt x="632" y="269"/>
                      </a:lnTo>
                      <a:lnTo>
                        <a:pt x="632" y="271"/>
                      </a:lnTo>
                      <a:lnTo>
                        <a:pt x="632" y="272"/>
                      </a:lnTo>
                      <a:lnTo>
                        <a:pt x="632" y="271"/>
                      </a:lnTo>
                      <a:lnTo>
                        <a:pt x="632" y="272"/>
                      </a:lnTo>
                      <a:lnTo>
                        <a:pt x="633" y="271"/>
                      </a:lnTo>
                      <a:lnTo>
                        <a:pt x="633" y="272"/>
                      </a:lnTo>
                      <a:lnTo>
                        <a:pt x="635" y="272"/>
                      </a:lnTo>
                      <a:lnTo>
                        <a:pt x="637" y="272"/>
                      </a:lnTo>
                      <a:lnTo>
                        <a:pt x="638" y="272"/>
                      </a:lnTo>
                      <a:lnTo>
                        <a:pt x="638" y="274"/>
                      </a:lnTo>
                      <a:lnTo>
                        <a:pt x="640" y="274"/>
                      </a:lnTo>
                      <a:lnTo>
                        <a:pt x="642" y="274"/>
                      </a:lnTo>
                      <a:lnTo>
                        <a:pt x="643" y="274"/>
                      </a:lnTo>
                      <a:lnTo>
                        <a:pt x="643" y="276"/>
                      </a:lnTo>
                      <a:lnTo>
                        <a:pt x="642" y="276"/>
                      </a:lnTo>
                      <a:lnTo>
                        <a:pt x="642" y="277"/>
                      </a:lnTo>
                      <a:lnTo>
                        <a:pt x="640" y="277"/>
                      </a:lnTo>
                      <a:lnTo>
                        <a:pt x="640" y="279"/>
                      </a:lnTo>
                      <a:lnTo>
                        <a:pt x="638" y="281"/>
                      </a:lnTo>
                      <a:lnTo>
                        <a:pt x="640" y="282"/>
                      </a:lnTo>
                      <a:lnTo>
                        <a:pt x="638" y="282"/>
                      </a:lnTo>
                      <a:lnTo>
                        <a:pt x="638" y="284"/>
                      </a:lnTo>
                      <a:lnTo>
                        <a:pt x="638" y="285"/>
                      </a:lnTo>
                      <a:lnTo>
                        <a:pt x="640" y="285"/>
                      </a:lnTo>
                      <a:lnTo>
                        <a:pt x="640" y="287"/>
                      </a:lnTo>
                      <a:lnTo>
                        <a:pt x="642" y="287"/>
                      </a:lnTo>
                      <a:lnTo>
                        <a:pt x="643" y="287"/>
                      </a:lnTo>
                      <a:lnTo>
                        <a:pt x="645" y="285"/>
                      </a:lnTo>
                      <a:lnTo>
                        <a:pt x="645" y="287"/>
                      </a:lnTo>
                      <a:lnTo>
                        <a:pt x="647" y="287"/>
                      </a:lnTo>
                      <a:lnTo>
                        <a:pt x="647" y="285"/>
                      </a:lnTo>
                      <a:lnTo>
                        <a:pt x="649" y="285"/>
                      </a:lnTo>
                      <a:lnTo>
                        <a:pt x="650" y="285"/>
                      </a:lnTo>
                      <a:lnTo>
                        <a:pt x="650" y="287"/>
                      </a:lnTo>
                      <a:lnTo>
                        <a:pt x="652" y="287"/>
                      </a:lnTo>
                      <a:lnTo>
                        <a:pt x="652" y="285"/>
                      </a:lnTo>
                      <a:lnTo>
                        <a:pt x="654" y="285"/>
                      </a:lnTo>
                      <a:lnTo>
                        <a:pt x="655" y="285"/>
                      </a:lnTo>
                      <a:lnTo>
                        <a:pt x="657" y="284"/>
                      </a:lnTo>
                      <a:lnTo>
                        <a:pt x="659" y="284"/>
                      </a:lnTo>
                      <a:lnTo>
                        <a:pt x="660" y="284"/>
                      </a:lnTo>
                      <a:lnTo>
                        <a:pt x="660" y="285"/>
                      </a:lnTo>
                      <a:lnTo>
                        <a:pt x="662" y="285"/>
                      </a:lnTo>
                      <a:lnTo>
                        <a:pt x="662" y="287"/>
                      </a:lnTo>
                      <a:lnTo>
                        <a:pt x="660" y="287"/>
                      </a:lnTo>
                      <a:lnTo>
                        <a:pt x="660" y="289"/>
                      </a:lnTo>
                      <a:lnTo>
                        <a:pt x="662" y="290"/>
                      </a:lnTo>
                      <a:lnTo>
                        <a:pt x="662" y="289"/>
                      </a:lnTo>
                      <a:lnTo>
                        <a:pt x="664" y="289"/>
                      </a:lnTo>
                      <a:lnTo>
                        <a:pt x="664" y="287"/>
                      </a:lnTo>
                      <a:lnTo>
                        <a:pt x="665" y="287"/>
                      </a:lnTo>
                      <a:lnTo>
                        <a:pt x="667" y="287"/>
                      </a:lnTo>
                      <a:lnTo>
                        <a:pt x="669" y="287"/>
                      </a:lnTo>
                      <a:lnTo>
                        <a:pt x="670" y="287"/>
                      </a:lnTo>
                      <a:lnTo>
                        <a:pt x="672" y="285"/>
                      </a:lnTo>
                      <a:lnTo>
                        <a:pt x="672" y="287"/>
                      </a:lnTo>
                      <a:lnTo>
                        <a:pt x="674" y="285"/>
                      </a:lnTo>
                      <a:lnTo>
                        <a:pt x="674" y="287"/>
                      </a:lnTo>
                      <a:lnTo>
                        <a:pt x="674" y="285"/>
                      </a:lnTo>
                      <a:lnTo>
                        <a:pt x="676" y="285"/>
                      </a:lnTo>
                      <a:lnTo>
                        <a:pt x="676" y="284"/>
                      </a:lnTo>
                      <a:lnTo>
                        <a:pt x="677" y="284"/>
                      </a:lnTo>
                      <a:lnTo>
                        <a:pt x="679" y="284"/>
                      </a:lnTo>
                      <a:lnTo>
                        <a:pt x="679" y="282"/>
                      </a:lnTo>
                      <a:lnTo>
                        <a:pt x="681" y="282"/>
                      </a:lnTo>
                      <a:lnTo>
                        <a:pt x="682" y="281"/>
                      </a:lnTo>
                      <a:lnTo>
                        <a:pt x="684" y="281"/>
                      </a:lnTo>
                      <a:lnTo>
                        <a:pt x="684" y="282"/>
                      </a:lnTo>
                      <a:lnTo>
                        <a:pt x="686" y="282"/>
                      </a:lnTo>
                      <a:lnTo>
                        <a:pt x="684" y="282"/>
                      </a:lnTo>
                      <a:lnTo>
                        <a:pt x="684" y="284"/>
                      </a:lnTo>
                      <a:lnTo>
                        <a:pt x="686" y="284"/>
                      </a:lnTo>
                      <a:lnTo>
                        <a:pt x="686" y="285"/>
                      </a:lnTo>
                      <a:lnTo>
                        <a:pt x="687" y="285"/>
                      </a:lnTo>
                      <a:lnTo>
                        <a:pt x="687" y="284"/>
                      </a:lnTo>
                      <a:lnTo>
                        <a:pt x="687" y="282"/>
                      </a:lnTo>
                      <a:lnTo>
                        <a:pt x="689" y="282"/>
                      </a:lnTo>
                      <a:lnTo>
                        <a:pt x="689" y="281"/>
                      </a:lnTo>
                      <a:lnTo>
                        <a:pt x="691" y="281"/>
                      </a:lnTo>
                      <a:lnTo>
                        <a:pt x="691" y="282"/>
                      </a:lnTo>
                      <a:lnTo>
                        <a:pt x="691" y="281"/>
                      </a:lnTo>
                      <a:lnTo>
                        <a:pt x="692" y="281"/>
                      </a:lnTo>
                      <a:lnTo>
                        <a:pt x="692" y="282"/>
                      </a:lnTo>
                      <a:lnTo>
                        <a:pt x="692" y="281"/>
                      </a:lnTo>
                      <a:lnTo>
                        <a:pt x="692" y="282"/>
                      </a:lnTo>
                      <a:lnTo>
                        <a:pt x="694" y="282"/>
                      </a:lnTo>
                      <a:lnTo>
                        <a:pt x="694" y="284"/>
                      </a:lnTo>
                      <a:lnTo>
                        <a:pt x="696" y="284"/>
                      </a:lnTo>
                      <a:lnTo>
                        <a:pt x="696" y="282"/>
                      </a:lnTo>
                      <a:lnTo>
                        <a:pt x="696" y="279"/>
                      </a:lnTo>
                      <a:lnTo>
                        <a:pt x="698" y="279"/>
                      </a:lnTo>
                      <a:lnTo>
                        <a:pt x="698" y="277"/>
                      </a:lnTo>
                      <a:lnTo>
                        <a:pt x="699" y="277"/>
                      </a:lnTo>
                      <a:lnTo>
                        <a:pt x="699" y="279"/>
                      </a:lnTo>
                      <a:lnTo>
                        <a:pt x="701" y="279"/>
                      </a:lnTo>
                      <a:lnTo>
                        <a:pt x="701" y="281"/>
                      </a:lnTo>
                      <a:lnTo>
                        <a:pt x="701" y="279"/>
                      </a:lnTo>
                      <a:lnTo>
                        <a:pt x="701" y="277"/>
                      </a:lnTo>
                      <a:lnTo>
                        <a:pt x="701" y="276"/>
                      </a:lnTo>
                      <a:lnTo>
                        <a:pt x="701" y="277"/>
                      </a:lnTo>
                      <a:lnTo>
                        <a:pt x="701" y="276"/>
                      </a:lnTo>
                      <a:lnTo>
                        <a:pt x="703" y="276"/>
                      </a:lnTo>
                      <a:lnTo>
                        <a:pt x="701" y="274"/>
                      </a:lnTo>
                      <a:lnTo>
                        <a:pt x="701" y="272"/>
                      </a:lnTo>
                      <a:lnTo>
                        <a:pt x="701" y="271"/>
                      </a:lnTo>
                      <a:lnTo>
                        <a:pt x="699" y="271"/>
                      </a:lnTo>
                      <a:lnTo>
                        <a:pt x="698" y="271"/>
                      </a:lnTo>
                      <a:lnTo>
                        <a:pt x="696" y="272"/>
                      </a:lnTo>
                      <a:lnTo>
                        <a:pt x="694" y="272"/>
                      </a:lnTo>
                      <a:lnTo>
                        <a:pt x="692" y="272"/>
                      </a:lnTo>
                      <a:lnTo>
                        <a:pt x="692" y="271"/>
                      </a:lnTo>
                      <a:lnTo>
                        <a:pt x="691" y="271"/>
                      </a:lnTo>
                      <a:lnTo>
                        <a:pt x="692" y="271"/>
                      </a:lnTo>
                      <a:lnTo>
                        <a:pt x="692" y="269"/>
                      </a:lnTo>
                      <a:lnTo>
                        <a:pt x="694" y="269"/>
                      </a:lnTo>
                      <a:lnTo>
                        <a:pt x="696" y="267"/>
                      </a:lnTo>
                      <a:lnTo>
                        <a:pt x="698" y="267"/>
                      </a:lnTo>
                      <a:lnTo>
                        <a:pt x="698" y="266"/>
                      </a:lnTo>
                      <a:lnTo>
                        <a:pt x="699" y="266"/>
                      </a:lnTo>
                      <a:lnTo>
                        <a:pt x="701" y="266"/>
                      </a:lnTo>
                      <a:lnTo>
                        <a:pt x="703" y="266"/>
                      </a:lnTo>
                      <a:lnTo>
                        <a:pt x="703" y="264"/>
                      </a:lnTo>
                      <a:lnTo>
                        <a:pt x="704" y="264"/>
                      </a:lnTo>
                      <a:lnTo>
                        <a:pt x="703" y="264"/>
                      </a:lnTo>
                      <a:lnTo>
                        <a:pt x="701" y="262"/>
                      </a:lnTo>
                      <a:lnTo>
                        <a:pt x="701" y="261"/>
                      </a:lnTo>
                      <a:lnTo>
                        <a:pt x="701" y="262"/>
                      </a:lnTo>
                      <a:lnTo>
                        <a:pt x="701" y="261"/>
                      </a:lnTo>
                      <a:lnTo>
                        <a:pt x="699" y="261"/>
                      </a:lnTo>
                      <a:lnTo>
                        <a:pt x="699" y="259"/>
                      </a:lnTo>
                      <a:lnTo>
                        <a:pt x="701" y="259"/>
                      </a:lnTo>
                      <a:lnTo>
                        <a:pt x="701" y="258"/>
                      </a:lnTo>
                      <a:lnTo>
                        <a:pt x="703" y="258"/>
                      </a:lnTo>
                      <a:lnTo>
                        <a:pt x="703" y="259"/>
                      </a:lnTo>
                      <a:lnTo>
                        <a:pt x="704" y="258"/>
                      </a:lnTo>
                      <a:lnTo>
                        <a:pt x="706" y="258"/>
                      </a:lnTo>
                      <a:lnTo>
                        <a:pt x="706" y="259"/>
                      </a:lnTo>
                      <a:lnTo>
                        <a:pt x="708" y="259"/>
                      </a:lnTo>
                      <a:lnTo>
                        <a:pt x="706" y="259"/>
                      </a:lnTo>
                      <a:lnTo>
                        <a:pt x="706" y="261"/>
                      </a:lnTo>
                      <a:lnTo>
                        <a:pt x="706" y="262"/>
                      </a:lnTo>
                      <a:lnTo>
                        <a:pt x="704" y="262"/>
                      </a:lnTo>
                      <a:lnTo>
                        <a:pt x="704" y="264"/>
                      </a:lnTo>
                      <a:lnTo>
                        <a:pt x="706" y="264"/>
                      </a:lnTo>
                      <a:lnTo>
                        <a:pt x="708" y="264"/>
                      </a:lnTo>
                      <a:lnTo>
                        <a:pt x="709" y="264"/>
                      </a:lnTo>
                      <a:lnTo>
                        <a:pt x="711" y="264"/>
                      </a:lnTo>
                      <a:lnTo>
                        <a:pt x="711" y="262"/>
                      </a:lnTo>
                      <a:lnTo>
                        <a:pt x="713" y="262"/>
                      </a:lnTo>
                      <a:lnTo>
                        <a:pt x="713" y="261"/>
                      </a:lnTo>
                      <a:lnTo>
                        <a:pt x="714" y="261"/>
                      </a:lnTo>
                      <a:lnTo>
                        <a:pt x="713" y="261"/>
                      </a:lnTo>
                      <a:lnTo>
                        <a:pt x="714" y="261"/>
                      </a:lnTo>
                      <a:close/>
                      <a:moveTo>
                        <a:pt x="701" y="369"/>
                      </a:moveTo>
                      <a:lnTo>
                        <a:pt x="703" y="369"/>
                      </a:lnTo>
                      <a:lnTo>
                        <a:pt x="701" y="369"/>
                      </a:lnTo>
                      <a:close/>
                      <a:moveTo>
                        <a:pt x="719" y="374"/>
                      </a:moveTo>
                      <a:lnTo>
                        <a:pt x="719" y="376"/>
                      </a:lnTo>
                      <a:lnTo>
                        <a:pt x="719" y="374"/>
                      </a:lnTo>
                      <a:close/>
                      <a:moveTo>
                        <a:pt x="694" y="376"/>
                      </a:moveTo>
                      <a:lnTo>
                        <a:pt x="696" y="376"/>
                      </a:lnTo>
                      <a:lnTo>
                        <a:pt x="694" y="376"/>
                      </a:lnTo>
                      <a:close/>
                      <a:moveTo>
                        <a:pt x="745" y="366"/>
                      </a:moveTo>
                      <a:lnTo>
                        <a:pt x="745" y="368"/>
                      </a:lnTo>
                      <a:lnTo>
                        <a:pt x="746" y="368"/>
                      </a:lnTo>
                      <a:lnTo>
                        <a:pt x="748" y="368"/>
                      </a:lnTo>
                      <a:lnTo>
                        <a:pt x="748" y="369"/>
                      </a:lnTo>
                      <a:lnTo>
                        <a:pt x="746" y="369"/>
                      </a:lnTo>
                      <a:lnTo>
                        <a:pt x="746" y="371"/>
                      </a:lnTo>
                      <a:lnTo>
                        <a:pt x="746" y="372"/>
                      </a:lnTo>
                      <a:lnTo>
                        <a:pt x="746" y="374"/>
                      </a:lnTo>
                      <a:lnTo>
                        <a:pt x="746" y="372"/>
                      </a:lnTo>
                      <a:lnTo>
                        <a:pt x="746" y="374"/>
                      </a:lnTo>
                      <a:lnTo>
                        <a:pt x="748" y="374"/>
                      </a:lnTo>
                      <a:lnTo>
                        <a:pt x="746" y="374"/>
                      </a:lnTo>
                      <a:lnTo>
                        <a:pt x="745" y="374"/>
                      </a:lnTo>
                      <a:lnTo>
                        <a:pt x="743" y="374"/>
                      </a:lnTo>
                      <a:lnTo>
                        <a:pt x="743" y="376"/>
                      </a:lnTo>
                      <a:lnTo>
                        <a:pt x="741" y="376"/>
                      </a:lnTo>
                      <a:lnTo>
                        <a:pt x="743" y="376"/>
                      </a:lnTo>
                      <a:lnTo>
                        <a:pt x="741" y="376"/>
                      </a:lnTo>
                      <a:lnTo>
                        <a:pt x="741" y="377"/>
                      </a:lnTo>
                      <a:lnTo>
                        <a:pt x="743" y="377"/>
                      </a:lnTo>
                      <a:lnTo>
                        <a:pt x="743" y="379"/>
                      </a:lnTo>
                      <a:lnTo>
                        <a:pt x="745" y="379"/>
                      </a:lnTo>
                      <a:lnTo>
                        <a:pt x="746" y="379"/>
                      </a:lnTo>
                      <a:lnTo>
                        <a:pt x="748" y="379"/>
                      </a:lnTo>
                      <a:lnTo>
                        <a:pt x="748" y="381"/>
                      </a:lnTo>
                      <a:lnTo>
                        <a:pt x="746" y="381"/>
                      </a:lnTo>
                      <a:lnTo>
                        <a:pt x="746" y="382"/>
                      </a:lnTo>
                      <a:lnTo>
                        <a:pt x="746" y="384"/>
                      </a:lnTo>
                      <a:lnTo>
                        <a:pt x="748" y="384"/>
                      </a:lnTo>
                      <a:lnTo>
                        <a:pt x="746" y="384"/>
                      </a:lnTo>
                      <a:lnTo>
                        <a:pt x="746" y="386"/>
                      </a:lnTo>
                      <a:lnTo>
                        <a:pt x="745" y="386"/>
                      </a:lnTo>
                      <a:lnTo>
                        <a:pt x="743" y="386"/>
                      </a:lnTo>
                      <a:lnTo>
                        <a:pt x="743" y="384"/>
                      </a:lnTo>
                      <a:lnTo>
                        <a:pt x="741" y="384"/>
                      </a:lnTo>
                      <a:lnTo>
                        <a:pt x="743" y="382"/>
                      </a:lnTo>
                      <a:lnTo>
                        <a:pt x="743" y="381"/>
                      </a:lnTo>
                      <a:lnTo>
                        <a:pt x="741" y="381"/>
                      </a:lnTo>
                      <a:lnTo>
                        <a:pt x="740" y="381"/>
                      </a:lnTo>
                      <a:lnTo>
                        <a:pt x="738" y="381"/>
                      </a:lnTo>
                      <a:lnTo>
                        <a:pt x="736" y="382"/>
                      </a:lnTo>
                      <a:lnTo>
                        <a:pt x="738" y="382"/>
                      </a:lnTo>
                      <a:lnTo>
                        <a:pt x="736" y="382"/>
                      </a:lnTo>
                      <a:lnTo>
                        <a:pt x="736" y="381"/>
                      </a:lnTo>
                      <a:lnTo>
                        <a:pt x="736" y="382"/>
                      </a:lnTo>
                      <a:lnTo>
                        <a:pt x="735" y="382"/>
                      </a:lnTo>
                      <a:lnTo>
                        <a:pt x="733" y="382"/>
                      </a:lnTo>
                      <a:lnTo>
                        <a:pt x="731" y="382"/>
                      </a:lnTo>
                      <a:lnTo>
                        <a:pt x="731" y="384"/>
                      </a:lnTo>
                      <a:lnTo>
                        <a:pt x="730" y="384"/>
                      </a:lnTo>
                      <a:lnTo>
                        <a:pt x="728" y="384"/>
                      </a:lnTo>
                      <a:lnTo>
                        <a:pt x="728" y="382"/>
                      </a:lnTo>
                      <a:lnTo>
                        <a:pt x="726" y="382"/>
                      </a:lnTo>
                      <a:lnTo>
                        <a:pt x="726" y="381"/>
                      </a:lnTo>
                      <a:lnTo>
                        <a:pt x="726" y="379"/>
                      </a:lnTo>
                      <a:lnTo>
                        <a:pt x="726" y="377"/>
                      </a:lnTo>
                      <a:lnTo>
                        <a:pt x="728" y="377"/>
                      </a:lnTo>
                      <a:lnTo>
                        <a:pt x="728" y="376"/>
                      </a:lnTo>
                      <a:lnTo>
                        <a:pt x="730" y="376"/>
                      </a:lnTo>
                      <a:lnTo>
                        <a:pt x="730" y="374"/>
                      </a:lnTo>
                      <a:lnTo>
                        <a:pt x="731" y="374"/>
                      </a:lnTo>
                      <a:lnTo>
                        <a:pt x="733" y="372"/>
                      </a:lnTo>
                      <a:lnTo>
                        <a:pt x="735" y="372"/>
                      </a:lnTo>
                      <a:lnTo>
                        <a:pt x="735" y="371"/>
                      </a:lnTo>
                      <a:lnTo>
                        <a:pt x="735" y="369"/>
                      </a:lnTo>
                      <a:lnTo>
                        <a:pt x="735" y="368"/>
                      </a:lnTo>
                      <a:lnTo>
                        <a:pt x="736" y="368"/>
                      </a:lnTo>
                      <a:lnTo>
                        <a:pt x="736" y="366"/>
                      </a:lnTo>
                      <a:lnTo>
                        <a:pt x="736" y="364"/>
                      </a:lnTo>
                      <a:lnTo>
                        <a:pt x="738" y="364"/>
                      </a:lnTo>
                      <a:lnTo>
                        <a:pt x="738" y="363"/>
                      </a:lnTo>
                      <a:lnTo>
                        <a:pt x="740" y="363"/>
                      </a:lnTo>
                      <a:lnTo>
                        <a:pt x="740" y="364"/>
                      </a:lnTo>
                      <a:lnTo>
                        <a:pt x="741" y="364"/>
                      </a:lnTo>
                      <a:lnTo>
                        <a:pt x="743" y="364"/>
                      </a:lnTo>
                      <a:lnTo>
                        <a:pt x="745" y="366"/>
                      </a:lnTo>
                      <a:close/>
                      <a:moveTo>
                        <a:pt x="767" y="364"/>
                      </a:moveTo>
                      <a:lnTo>
                        <a:pt x="767" y="366"/>
                      </a:lnTo>
                      <a:lnTo>
                        <a:pt x="768" y="366"/>
                      </a:lnTo>
                      <a:lnTo>
                        <a:pt x="768" y="368"/>
                      </a:lnTo>
                      <a:lnTo>
                        <a:pt x="767" y="368"/>
                      </a:lnTo>
                      <a:lnTo>
                        <a:pt x="767" y="366"/>
                      </a:lnTo>
                      <a:lnTo>
                        <a:pt x="768" y="366"/>
                      </a:lnTo>
                      <a:lnTo>
                        <a:pt x="767" y="366"/>
                      </a:lnTo>
                      <a:lnTo>
                        <a:pt x="767" y="364"/>
                      </a:lnTo>
                      <a:close/>
                      <a:moveTo>
                        <a:pt x="767" y="364"/>
                      </a:moveTo>
                      <a:lnTo>
                        <a:pt x="767" y="366"/>
                      </a:lnTo>
                      <a:lnTo>
                        <a:pt x="767" y="364"/>
                      </a:lnTo>
                      <a:close/>
                      <a:moveTo>
                        <a:pt x="755" y="371"/>
                      </a:moveTo>
                      <a:lnTo>
                        <a:pt x="755" y="369"/>
                      </a:lnTo>
                      <a:lnTo>
                        <a:pt x="757" y="369"/>
                      </a:lnTo>
                      <a:lnTo>
                        <a:pt x="757" y="371"/>
                      </a:lnTo>
                      <a:lnTo>
                        <a:pt x="758" y="371"/>
                      </a:lnTo>
                      <a:lnTo>
                        <a:pt x="758" y="372"/>
                      </a:lnTo>
                      <a:lnTo>
                        <a:pt x="758" y="371"/>
                      </a:lnTo>
                      <a:lnTo>
                        <a:pt x="757" y="371"/>
                      </a:lnTo>
                      <a:lnTo>
                        <a:pt x="757" y="372"/>
                      </a:lnTo>
                      <a:lnTo>
                        <a:pt x="755" y="372"/>
                      </a:lnTo>
                      <a:lnTo>
                        <a:pt x="755" y="371"/>
                      </a:lnTo>
                      <a:lnTo>
                        <a:pt x="753" y="371"/>
                      </a:lnTo>
                      <a:lnTo>
                        <a:pt x="755" y="371"/>
                      </a:lnTo>
                      <a:close/>
                      <a:moveTo>
                        <a:pt x="741" y="351"/>
                      </a:moveTo>
                      <a:lnTo>
                        <a:pt x="743" y="351"/>
                      </a:lnTo>
                      <a:lnTo>
                        <a:pt x="743" y="353"/>
                      </a:lnTo>
                      <a:lnTo>
                        <a:pt x="741" y="353"/>
                      </a:lnTo>
                      <a:lnTo>
                        <a:pt x="741" y="351"/>
                      </a:lnTo>
                      <a:close/>
                      <a:moveTo>
                        <a:pt x="774" y="333"/>
                      </a:moveTo>
                      <a:lnTo>
                        <a:pt x="775" y="331"/>
                      </a:lnTo>
                      <a:lnTo>
                        <a:pt x="775" y="333"/>
                      </a:lnTo>
                      <a:lnTo>
                        <a:pt x="774" y="333"/>
                      </a:lnTo>
                      <a:close/>
                      <a:moveTo>
                        <a:pt x="784" y="335"/>
                      </a:moveTo>
                      <a:lnTo>
                        <a:pt x="784" y="333"/>
                      </a:lnTo>
                      <a:lnTo>
                        <a:pt x="784" y="335"/>
                      </a:lnTo>
                      <a:close/>
                      <a:moveTo>
                        <a:pt x="784" y="335"/>
                      </a:moveTo>
                      <a:lnTo>
                        <a:pt x="784" y="336"/>
                      </a:lnTo>
                      <a:lnTo>
                        <a:pt x="782" y="336"/>
                      </a:lnTo>
                      <a:lnTo>
                        <a:pt x="784" y="335"/>
                      </a:lnTo>
                      <a:close/>
                      <a:moveTo>
                        <a:pt x="762" y="348"/>
                      </a:moveTo>
                      <a:lnTo>
                        <a:pt x="762" y="350"/>
                      </a:lnTo>
                      <a:lnTo>
                        <a:pt x="762" y="348"/>
                      </a:lnTo>
                      <a:lnTo>
                        <a:pt x="762" y="346"/>
                      </a:lnTo>
                      <a:lnTo>
                        <a:pt x="762" y="345"/>
                      </a:lnTo>
                      <a:lnTo>
                        <a:pt x="762" y="346"/>
                      </a:lnTo>
                      <a:lnTo>
                        <a:pt x="763" y="346"/>
                      </a:lnTo>
                      <a:lnTo>
                        <a:pt x="763" y="345"/>
                      </a:lnTo>
                      <a:lnTo>
                        <a:pt x="765" y="345"/>
                      </a:lnTo>
                      <a:lnTo>
                        <a:pt x="765" y="346"/>
                      </a:lnTo>
                      <a:lnTo>
                        <a:pt x="765" y="348"/>
                      </a:lnTo>
                      <a:lnTo>
                        <a:pt x="763" y="346"/>
                      </a:lnTo>
                      <a:lnTo>
                        <a:pt x="763" y="348"/>
                      </a:lnTo>
                      <a:lnTo>
                        <a:pt x="762" y="348"/>
                      </a:lnTo>
                      <a:close/>
                      <a:moveTo>
                        <a:pt x="755" y="348"/>
                      </a:moveTo>
                      <a:lnTo>
                        <a:pt x="755" y="350"/>
                      </a:lnTo>
                      <a:lnTo>
                        <a:pt x="753" y="350"/>
                      </a:lnTo>
                      <a:lnTo>
                        <a:pt x="755" y="348"/>
                      </a:lnTo>
                      <a:close/>
                      <a:moveTo>
                        <a:pt x="657" y="386"/>
                      </a:moveTo>
                      <a:lnTo>
                        <a:pt x="657" y="387"/>
                      </a:lnTo>
                      <a:lnTo>
                        <a:pt x="657" y="386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9" name="Freeform 9"/>
                <p:cNvSpPr>
                  <a:spLocks noChangeAspect="1"/>
                </p:cNvSpPr>
                <p:nvPr/>
              </p:nvSpPr>
              <p:spPr bwMode="auto">
                <a:xfrm>
                  <a:off x="4670217" y="3472599"/>
                  <a:ext cx="1652752" cy="1338078"/>
                </a:xfrm>
                <a:custGeom>
                  <a:avLst/>
                  <a:gdLst>
                    <a:gd name="T0" fmla="*/ 2147483647 w 1061"/>
                    <a:gd name="T1" fmla="*/ 2147483647 h 801"/>
                    <a:gd name="T2" fmla="*/ 2147483647 w 1061"/>
                    <a:gd name="T3" fmla="*/ 2147483647 h 801"/>
                    <a:gd name="T4" fmla="*/ 2147483647 w 1061"/>
                    <a:gd name="T5" fmla="*/ 2147483647 h 801"/>
                    <a:gd name="T6" fmla="*/ 2147483647 w 1061"/>
                    <a:gd name="T7" fmla="*/ 2147483647 h 801"/>
                    <a:gd name="T8" fmla="*/ 2147483647 w 1061"/>
                    <a:gd name="T9" fmla="*/ 2147483647 h 801"/>
                    <a:gd name="T10" fmla="*/ 2147483647 w 1061"/>
                    <a:gd name="T11" fmla="*/ 2147483647 h 801"/>
                    <a:gd name="T12" fmla="*/ 2147483647 w 1061"/>
                    <a:gd name="T13" fmla="*/ 2147483647 h 801"/>
                    <a:gd name="T14" fmla="*/ 2147483647 w 1061"/>
                    <a:gd name="T15" fmla="*/ 2147483647 h 801"/>
                    <a:gd name="T16" fmla="*/ 2147483647 w 1061"/>
                    <a:gd name="T17" fmla="*/ 2147483647 h 801"/>
                    <a:gd name="T18" fmla="*/ 2147483647 w 1061"/>
                    <a:gd name="T19" fmla="*/ 2147483647 h 801"/>
                    <a:gd name="T20" fmla="*/ 2147483647 w 1061"/>
                    <a:gd name="T21" fmla="*/ 2147483647 h 801"/>
                    <a:gd name="T22" fmla="*/ 2147483647 w 1061"/>
                    <a:gd name="T23" fmla="*/ 2147483647 h 801"/>
                    <a:gd name="T24" fmla="*/ 2147483647 w 1061"/>
                    <a:gd name="T25" fmla="*/ 2147483647 h 801"/>
                    <a:gd name="T26" fmla="*/ 2147483647 w 1061"/>
                    <a:gd name="T27" fmla="*/ 2147483647 h 801"/>
                    <a:gd name="T28" fmla="*/ 2147483647 w 1061"/>
                    <a:gd name="T29" fmla="*/ 2147483647 h 801"/>
                    <a:gd name="T30" fmla="*/ 2147483647 w 1061"/>
                    <a:gd name="T31" fmla="*/ 2147483647 h 801"/>
                    <a:gd name="T32" fmla="*/ 2147483647 w 1061"/>
                    <a:gd name="T33" fmla="*/ 2147483647 h 801"/>
                    <a:gd name="T34" fmla="*/ 2147483647 w 1061"/>
                    <a:gd name="T35" fmla="*/ 2147483647 h 801"/>
                    <a:gd name="T36" fmla="*/ 2147483647 w 1061"/>
                    <a:gd name="T37" fmla="*/ 2147483647 h 801"/>
                    <a:gd name="T38" fmla="*/ 2147483647 w 1061"/>
                    <a:gd name="T39" fmla="*/ 2147483647 h 801"/>
                    <a:gd name="T40" fmla="*/ 2147483647 w 1061"/>
                    <a:gd name="T41" fmla="*/ 2147483647 h 801"/>
                    <a:gd name="T42" fmla="*/ 2147483647 w 1061"/>
                    <a:gd name="T43" fmla="*/ 2147483647 h 801"/>
                    <a:gd name="T44" fmla="*/ 2147483647 w 1061"/>
                    <a:gd name="T45" fmla="*/ 2147483647 h 801"/>
                    <a:gd name="T46" fmla="*/ 2147483647 w 1061"/>
                    <a:gd name="T47" fmla="*/ 2147483647 h 801"/>
                    <a:gd name="T48" fmla="*/ 2147483647 w 1061"/>
                    <a:gd name="T49" fmla="*/ 2147483647 h 801"/>
                    <a:gd name="T50" fmla="*/ 2147483647 w 1061"/>
                    <a:gd name="T51" fmla="*/ 2147483647 h 801"/>
                    <a:gd name="T52" fmla="*/ 2147483647 w 1061"/>
                    <a:gd name="T53" fmla="*/ 2147483647 h 801"/>
                    <a:gd name="T54" fmla="*/ 2147483647 w 1061"/>
                    <a:gd name="T55" fmla="*/ 2147483647 h 801"/>
                    <a:gd name="T56" fmla="*/ 2147483647 w 1061"/>
                    <a:gd name="T57" fmla="*/ 2147483647 h 801"/>
                    <a:gd name="T58" fmla="*/ 2147483647 w 1061"/>
                    <a:gd name="T59" fmla="*/ 2147483647 h 801"/>
                    <a:gd name="T60" fmla="*/ 2147483647 w 1061"/>
                    <a:gd name="T61" fmla="*/ 2147483647 h 801"/>
                    <a:gd name="T62" fmla="*/ 2147483647 w 1061"/>
                    <a:gd name="T63" fmla="*/ 2147483647 h 801"/>
                    <a:gd name="T64" fmla="*/ 2147483647 w 1061"/>
                    <a:gd name="T65" fmla="*/ 2147483647 h 801"/>
                    <a:gd name="T66" fmla="*/ 2147483647 w 1061"/>
                    <a:gd name="T67" fmla="*/ 2147483647 h 801"/>
                    <a:gd name="T68" fmla="*/ 2147483647 w 1061"/>
                    <a:gd name="T69" fmla="*/ 2147483647 h 801"/>
                    <a:gd name="T70" fmla="*/ 2147483647 w 1061"/>
                    <a:gd name="T71" fmla="*/ 2147483647 h 801"/>
                    <a:gd name="T72" fmla="*/ 2147483647 w 1061"/>
                    <a:gd name="T73" fmla="*/ 2147483647 h 801"/>
                    <a:gd name="T74" fmla="*/ 2147483647 w 1061"/>
                    <a:gd name="T75" fmla="*/ 2147483647 h 801"/>
                    <a:gd name="T76" fmla="*/ 2147483647 w 1061"/>
                    <a:gd name="T77" fmla="*/ 2147483647 h 801"/>
                    <a:gd name="T78" fmla="*/ 2147483647 w 1061"/>
                    <a:gd name="T79" fmla="*/ 2147483647 h 801"/>
                    <a:gd name="T80" fmla="*/ 2147483647 w 1061"/>
                    <a:gd name="T81" fmla="*/ 2147483647 h 801"/>
                    <a:gd name="T82" fmla="*/ 2147483647 w 1061"/>
                    <a:gd name="T83" fmla="*/ 2147483647 h 801"/>
                    <a:gd name="T84" fmla="*/ 2147483647 w 1061"/>
                    <a:gd name="T85" fmla="*/ 2147483647 h 801"/>
                    <a:gd name="T86" fmla="*/ 2147483647 w 1061"/>
                    <a:gd name="T87" fmla="*/ 2147483647 h 801"/>
                    <a:gd name="T88" fmla="*/ 2147483647 w 1061"/>
                    <a:gd name="T89" fmla="*/ 2147483647 h 801"/>
                    <a:gd name="T90" fmla="*/ 2147483647 w 1061"/>
                    <a:gd name="T91" fmla="*/ 2147483647 h 801"/>
                    <a:gd name="T92" fmla="*/ 2147483647 w 1061"/>
                    <a:gd name="T93" fmla="*/ 2147483647 h 801"/>
                    <a:gd name="T94" fmla="*/ 2147483647 w 1061"/>
                    <a:gd name="T95" fmla="*/ 2147483647 h 801"/>
                    <a:gd name="T96" fmla="*/ 2147483647 w 1061"/>
                    <a:gd name="T97" fmla="*/ 2147483647 h 801"/>
                    <a:gd name="T98" fmla="*/ 2147483647 w 1061"/>
                    <a:gd name="T99" fmla="*/ 2147483647 h 801"/>
                    <a:gd name="T100" fmla="*/ 2147483647 w 1061"/>
                    <a:gd name="T101" fmla="*/ 2147483647 h 801"/>
                    <a:gd name="T102" fmla="*/ 2147483647 w 1061"/>
                    <a:gd name="T103" fmla="*/ 2147483647 h 801"/>
                    <a:gd name="T104" fmla="*/ 2147483647 w 1061"/>
                    <a:gd name="T105" fmla="*/ 2147483647 h 801"/>
                    <a:gd name="T106" fmla="*/ 2147483647 w 1061"/>
                    <a:gd name="T107" fmla="*/ 2147483647 h 801"/>
                    <a:gd name="T108" fmla="*/ 2147483647 w 1061"/>
                    <a:gd name="T109" fmla="*/ 2147483647 h 801"/>
                    <a:gd name="T110" fmla="*/ 2147483647 w 1061"/>
                    <a:gd name="T111" fmla="*/ 2147483647 h 801"/>
                    <a:gd name="T112" fmla="*/ 2147483647 w 1061"/>
                    <a:gd name="T113" fmla="*/ 2147483647 h 801"/>
                    <a:gd name="T114" fmla="*/ 2147483647 w 1061"/>
                    <a:gd name="T115" fmla="*/ 2147483647 h 801"/>
                    <a:gd name="T116" fmla="*/ 2147483647 w 1061"/>
                    <a:gd name="T117" fmla="*/ 2147483647 h 801"/>
                    <a:gd name="T118" fmla="*/ 2147483647 w 1061"/>
                    <a:gd name="T119" fmla="*/ 2147483647 h 801"/>
                    <a:gd name="T120" fmla="*/ 2147483647 w 1061"/>
                    <a:gd name="T121" fmla="*/ 2147483647 h 801"/>
                    <a:gd name="T122" fmla="*/ 2147483647 w 1061"/>
                    <a:gd name="T123" fmla="*/ 2147483647 h 80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061"/>
                    <a:gd name="T187" fmla="*/ 0 h 801"/>
                    <a:gd name="T188" fmla="*/ 1061 w 1061"/>
                    <a:gd name="T189" fmla="*/ 801 h 80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061" h="801">
                      <a:moveTo>
                        <a:pt x="1055" y="189"/>
                      </a:moveTo>
                      <a:lnTo>
                        <a:pt x="1054" y="189"/>
                      </a:lnTo>
                      <a:lnTo>
                        <a:pt x="1052" y="189"/>
                      </a:lnTo>
                      <a:lnTo>
                        <a:pt x="1052" y="190"/>
                      </a:lnTo>
                      <a:lnTo>
                        <a:pt x="1052" y="192"/>
                      </a:lnTo>
                      <a:lnTo>
                        <a:pt x="1050" y="192"/>
                      </a:lnTo>
                      <a:lnTo>
                        <a:pt x="1049" y="192"/>
                      </a:lnTo>
                      <a:lnTo>
                        <a:pt x="1049" y="190"/>
                      </a:lnTo>
                      <a:lnTo>
                        <a:pt x="1049" y="192"/>
                      </a:lnTo>
                      <a:lnTo>
                        <a:pt x="1047" y="192"/>
                      </a:lnTo>
                      <a:lnTo>
                        <a:pt x="1049" y="192"/>
                      </a:lnTo>
                      <a:lnTo>
                        <a:pt x="1047" y="194"/>
                      </a:lnTo>
                      <a:lnTo>
                        <a:pt x="1045" y="194"/>
                      </a:lnTo>
                      <a:lnTo>
                        <a:pt x="1045" y="195"/>
                      </a:lnTo>
                      <a:lnTo>
                        <a:pt x="1044" y="199"/>
                      </a:lnTo>
                      <a:lnTo>
                        <a:pt x="1044" y="200"/>
                      </a:lnTo>
                      <a:lnTo>
                        <a:pt x="1042" y="202"/>
                      </a:lnTo>
                      <a:lnTo>
                        <a:pt x="1042" y="204"/>
                      </a:lnTo>
                      <a:lnTo>
                        <a:pt x="1042" y="205"/>
                      </a:lnTo>
                      <a:lnTo>
                        <a:pt x="1040" y="205"/>
                      </a:lnTo>
                      <a:lnTo>
                        <a:pt x="1039" y="204"/>
                      </a:lnTo>
                      <a:lnTo>
                        <a:pt x="1039" y="202"/>
                      </a:lnTo>
                      <a:lnTo>
                        <a:pt x="1039" y="200"/>
                      </a:lnTo>
                      <a:lnTo>
                        <a:pt x="1039" y="202"/>
                      </a:lnTo>
                      <a:lnTo>
                        <a:pt x="1037" y="202"/>
                      </a:lnTo>
                      <a:lnTo>
                        <a:pt x="1037" y="204"/>
                      </a:lnTo>
                      <a:lnTo>
                        <a:pt x="1037" y="205"/>
                      </a:lnTo>
                      <a:lnTo>
                        <a:pt x="1035" y="205"/>
                      </a:lnTo>
                      <a:lnTo>
                        <a:pt x="1035" y="207"/>
                      </a:lnTo>
                      <a:lnTo>
                        <a:pt x="1034" y="209"/>
                      </a:lnTo>
                      <a:lnTo>
                        <a:pt x="1032" y="210"/>
                      </a:lnTo>
                      <a:lnTo>
                        <a:pt x="1032" y="212"/>
                      </a:lnTo>
                      <a:lnTo>
                        <a:pt x="1030" y="212"/>
                      </a:lnTo>
                      <a:lnTo>
                        <a:pt x="1032" y="212"/>
                      </a:lnTo>
                      <a:lnTo>
                        <a:pt x="1032" y="213"/>
                      </a:lnTo>
                      <a:lnTo>
                        <a:pt x="1034" y="213"/>
                      </a:lnTo>
                      <a:lnTo>
                        <a:pt x="1034" y="215"/>
                      </a:lnTo>
                      <a:lnTo>
                        <a:pt x="1032" y="215"/>
                      </a:lnTo>
                      <a:lnTo>
                        <a:pt x="1032" y="217"/>
                      </a:lnTo>
                      <a:lnTo>
                        <a:pt x="1030" y="217"/>
                      </a:lnTo>
                      <a:lnTo>
                        <a:pt x="1030" y="215"/>
                      </a:lnTo>
                      <a:lnTo>
                        <a:pt x="1028" y="215"/>
                      </a:lnTo>
                      <a:lnTo>
                        <a:pt x="1027" y="215"/>
                      </a:lnTo>
                      <a:lnTo>
                        <a:pt x="1025" y="213"/>
                      </a:lnTo>
                      <a:lnTo>
                        <a:pt x="1025" y="215"/>
                      </a:lnTo>
                      <a:lnTo>
                        <a:pt x="1023" y="215"/>
                      </a:lnTo>
                      <a:lnTo>
                        <a:pt x="1022" y="215"/>
                      </a:lnTo>
                      <a:lnTo>
                        <a:pt x="1020" y="217"/>
                      </a:lnTo>
                      <a:lnTo>
                        <a:pt x="1020" y="218"/>
                      </a:lnTo>
                      <a:lnTo>
                        <a:pt x="1020" y="220"/>
                      </a:lnTo>
                      <a:lnTo>
                        <a:pt x="1020" y="222"/>
                      </a:lnTo>
                      <a:lnTo>
                        <a:pt x="1018" y="223"/>
                      </a:lnTo>
                      <a:lnTo>
                        <a:pt x="1018" y="225"/>
                      </a:lnTo>
                      <a:lnTo>
                        <a:pt x="1018" y="227"/>
                      </a:lnTo>
                      <a:lnTo>
                        <a:pt x="1018" y="228"/>
                      </a:lnTo>
                      <a:lnTo>
                        <a:pt x="1018" y="230"/>
                      </a:lnTo>
                      <a:lnTo>
                        <a:pt x="1017" y="232"/>
                      </a:lnTo>
                      <a:lnTo>
                        <a:pt x="1017" y="233"/>
                      </a:lnTo>
                      <a:lnTo>
                        <a:pt x="1015" y="233"/>
                      </a:lnTo>
                      <a:lnTo>
                        <a:pt x="1015" y="235"/>
                      </a:lnTo>
                      <a:lnTo>
                        <a:pt x="1017" y="235"/>
                      </a:lnTo>
                      <a:lnTo>
                        <a:pt x="1017" y="236"/>
                      </a:lnTo>
                      <a:lnTo>
                        <a:pt x="1020" y="236"/>
                      </a:lnTo>
                      <a:lnTo>
                        <a:pt x="1022" y="236"/>
                      </a:lnTo>
                      <a:lnTo>
                        <a:pt x="1022" y="235"/>
                      </a:lnTo>
                      <a:lnTo>
                        <a:pt x="1022" y="236"/>
                      </a:lnTo>
                      <a:lnTo>
                        <a:pt x="1023" y="236"/>
                      </a:lnTo>
                      <a:lnTo>
                        <a:pt x="1023" y="238"/>
                      </a:lnTo>
                      <a:lnTo>
                        <a:pt x="1023" y="240"/>
                      </a:lnTo>
                      <a:lnTo>
                        <a:pt x="1023" y="241"/>
                      </a:lnTo>
                      <a:lnTo>
                        <a:pt x="1022" y="241"/>
                      </a:lnTo>
                      <a:lnTo>
                        <a:pt x="1022" y="243"/>
                      </a:lnTo>
                      <a:lnTo>
                        <a:pt x="1022" y="245"/>
                      </a:lnTo>
                      <a:lnTo>
                        <a:pt x="1020" y="245"/>
                      </a:lnTo>
                      <a:lnTo>
                        <a:pt x="1020" y="246"/>
                      </a:lnTo>
                      <a:lnTo>
                        <a:pt x="1018" y="245"/>
                      </a:lnTo>
                      <a:lnTo>
                        <a:pt x="1018" y="246"/>
                      </a:lnTo>
                      <a:lnTo>
                        <a:pt x="1017" y="246"/>
                      </a:lnTo>
                      <a:lnTo>
                        <a:pt x="1015" y="245"/>
                      </a:lnTo>
                      <a:lnTo>
                        <a:pt x="1013" y="245"/>
                      </a:lnTo>
                      <a:lnTo>
                        <a:pt x="1013" y="243"/>
                      </a:lnTo>
                      <a:lnTo>
                        <a:pt x="1012" y="243"/>
                      </a:lnTo>
                      <a:lnTo>
                        <a:pt x="1012" y="245"/>
                      </a:lnTo>
                      <a:lnTo>
                        <a:pt x="1010" y="245"/>
                      </a:lnTo>
                      <a:lnTo>
                        <a:pt x="1008" y="245"/>
                      </a:lnTo>
                      <a:lnTo>
                        <a:pt x="1006" y="245"/>
                      </a:lnTo>
                      <a:lnTo>
                        <a:pt x="1005" y="245"/>
                      </a:lnTo>
                      <a:lnTo>
                        <a:pt x="1005" y="243"/>
                      </a:lnTo>
                      <a:lnTo>
                        <a:pt x="1003" y="243"/>
                      </a:lnTo>
                      <a:lnTo>
                        <a:pt x="1001" y="243"/>
                      </a:lnTo>
                      <a:lnTo>
                        <a:pt x="1001" y="245"/>
                      </a:lnTo>
                      <a:lnTo>
                        <a:pt x="1001" y="246"/>
                      </a:lnTo>
                      <a:lnTo>
                        <a:pt x="1000" y="246"/>
                      </a:lnTo>
                      <a:lnTo>
                        <a:pt x="1000" y="248"/>
                      </a:lnTo>
                      <a:lnTo>
                        <a:pt x="1000" y="250"/>
                      </a:lnTo>
                      <a:lnTo>
                        <a:pt x="998" y="250"/>
                      </a:lnTo>
                      <a:lnTo>
                        <a:pt x="998" y="251"/>
                      </a:lnTo>
                      <a:lnTo>
                        <a:pt x="998" y="253"/>
                      </a:lnTo>
                      <a:lnTo>
                        <a:pt x="996" y="253"/>
                      </a:lnTo>
                      <a:lnTo>
                        <a:pt x="995" y="253"/>
                      </a:lnTo>
                      <a:lnTo>
                        <a:pt x="995" y="255"/>
                      </a:lnTo>
                      <a:lnTo>
                        <a:pt x="995" y="256"/>
                      </a:lnTo>
                      <a:lnTo>
                        <a:pt x="995" y="258"/>
                      </a:lnTo>
                      <a:lnTo>
                        <a:pt x="995" y="259"/>
                      </a:lnTo>
                      <a:lnTo>
                        <a:pt x="993" y="259"/>
                      </a:lnTo>
                      <a:lnTo>
                        <a:pt x="993" y="261"/>
                      </a:lnTo>
                      <a:lnTo>
                        <a:pt x="993" y="263"/>
                      </a:lnTo>
                      <a:lnTo>
                        <a:pt x="995" y="263"/>
                      </a:lnTo>
                      <a:lnTo>
                        <a:pt x="995" y="264"/>
                      </a:lnTo>
                      <a:lnTo>
                        <a:pt x="995" y="266"/>
                      </a:lnTo>
                      <a:lnTo>
                        <a:pt x="993" y="266"/>
                      </a:lnTo>
                      <a:lnTo>
                        <a:pt x="993" y="268"/>
                      </a:lnTo>
                      <a:lnTo>
                        <a:pt x="993" y="269"/>
                      </a:lnTo>
                      <a:lnTo>
                        <a:pt x="993" y="271"/>
                      </a:lnTo>
                      <a:lnTo>
                        <a:pt x="995" y="271"/>
                      </a:lnTo>
                      <a:lnTo>
                        <a:pt x="995" y="273"/>
                      </a:lnTo>
                      <a:lnTo>
                        <a:pt x="995" y="274"/>
                      </a:lnTo>
                      <a:lnTo>
                        <a:pt x="995" y="276"/>
                      </a:lnTo>
                      <a:lnTo>
                        <a:pt x="993" y="277"/>
                      </a:lnTo>
                      <a:lnTo>
                        <a:pt x="995" y="277"/>
                      </a:lnTo>
                      <a:lnTo>
                        <a:pt x="995" y="279"/>
                      </a:lnTo>
                      <a:lnTo>
                        <a:pt x="995" y="281"/>
                      </a:lnTo>
                      <a:lnTo>
                        <a:pt x="993" y="282"/>
                      </a:lnTo>
                      <a:lnTo>
                        <a:pt x="991" y="284"/>
                      </a:lnTo>
                      <a:lnTo>
                        <a:pt x="990" y="284"/>
                      </a:lnTo>
                      <a:lnTo>
                        <a:pt x="990" y="286"/>
                      </a:lnTo>
                      <a:lnTo>
                        <a:pt x="991" y="286"/>
                      </a:lnTo>
                      <a:lnTo>
                        <a:pt x="990" y="287"/>
                      </a:lnTo>
                      <a:lnTo>
                        <a:pt x="991" y="287"/>
                      </a:lnTo>
                      <a:lnTo>
                        <a:pt x="991" y="289"/>
                      </a:lnTo>
                      <a:lnTo>
                        <a:pt x="990" y="289"/>
                      </a:lnTo>
                      <a:lnTo>
                        <a:pt x="991" y="291"/>
                      </a:lnTo>
                      <a:lnTo>
                        <a:pt x="990" y="291"/>
                      </a:lnTo>
                      <a:lnTo>
                        <a:pt x="988" y="292"/>
                      </a:lnTo>
                      <a:lnTo>
                        <a:pt x="990" y="292"/>
                      </a:lnTo>
                      <a:lnTo>
                        <a:pt x="991" y="294"/>
                      </a:lnTo>
                      <a:lnTo>
                        <a:pt x="991" y="292"/>
                      </a:lnTo>
                      <a:lnTo>
                        <a:pt x="993" y="292"/>
                      </a:lnTo>
                      <a:lnTo>
                        <a:pt x="995" y="294"/>
                      </a:lnTo>
                      <a:lnTo>
                        <a:pt x="995" y="296"/>
                      </a:lnTo>
                      <a:lnTo>
                        <a:pt x="996" y="296"/>
                      </a:lnTo>
                      <a:lnTo>
                        <a:pt x="998" y="296"/>
                      </a:lnTo>
                      <a:lnTo>
                        <a:pt x="998" y="297"/>
                      </a:lnTo>
                      <a:lnTo>
                        <a:pt x="1000" y="297"/>
                      </a:lnTo>
                      <a:lnTo>
                        <a:pt x="1000" y="299"/>
                      </a:lnTo>
                      <a:lnTo>
                        <a:pt x="1001" y="299"/>
                      </a:lnTo>
                      <a:lnTo>
                        <a:pt x="1001" y="300"/>
                      </a:lnTo>
                      <a:lnTo>
                        <a:pt x="1001" y="302"/>
                      </a:lnTo>
                      <a:lnTo>
                        <a:pt x="1001" y="304"/>
                      </a:lnTo>
                      <a:lnTo>
                        <a:pt x="1003" y="304"/>
                      </a:lnTo>
                      <a:lnTo>
                        <a:pt x="1003" y="305"/>
                      </a:lnTo>
                      <a:lnTo>
                        <a:pt x="1003" y="307"/>
                      </a:lnTo>
                      <a:lnTo>
                        <a:pt x="1005" y="307"/>
                      </a:lnTo>
                      <a:lnTo>
                        <a:pt x="1006" y="307"/>
                      </a:lnTo>
                      <a:lnTo>
                        <a:pt x="1008" y="307"/>
                      </a:lnTo>
                      <a:lnTo>
                        <a:pt x="1008" y="309"/>
                      </a:lnTo>
                      <a:lnTo>
                        <a:pt x="1008" y="310"/>
                      </a:lnTo>
                      <a:lnTo>
                        <a:pt x="1010" y="310"/>
                      </a:lnTo>
                      <a:lnTo>
                        <a:pt x="1010" y="312"/>
                      </a:lnTo>
                      <a:lnTo>
                        <a:pt x="1012" y="310"/>
                      </a:lnTo>
                      <a:lnTo>
                        <a:pt x="1013" y="312"/>
                      </a:lnTo>
                      <a:lnTo>
                        <a:pt x="1013" y="314"/>
                      </a:lnTo>
                      <a:lnTo>
                        <a:pt x="1015" y="312"/>
                      </a:lnTo>
                      <a:lnTo>
                        <a:pt x="1015" y="310"/>
                      </a:lnTo>
                      <a:lnTo>
                        <a:pt x="1015" y="312"/>
                      </a:lnTo>
                      <a:lnTo>
                        <a:pt x="1017" y="314"/>
                      </a:lnTo>
                      <a:lnTo>
                        <a:pt x="1017" y="315"/>
                      </a:lnTo>
                      <a:lnTo>
                        <a:pt x="1018" y="315"/>
                      </a:lnTo>
                      <a:lnTo>
                        <a:pt x="1018" y="317"/>
                      </a:lnTo>
                      <a:lnTo>
                        <a:pt x="1018" y="319"/>
                      </a:lnTo>
                      <a:lnTo>
                        <a:pt x="1020" y="319"/>
                      </a:lnTo>
                      <a:lnTo>
                        <a:pt x="1020" y="320"/>
                      </a:lnTo>
                      <a:lnTo>
                        <a:pt x="1022" y="322"/>
                      </a:lnTo>
                      <a:lnTo>
                        <a:pt x="1023" y="320"/>
                      </a:lnTo>
                      <a:lnTo>
                        <a:pt x="1023" y="322"/>
                      </a:lnTo>
                      <a:lnTo>
                        <a:pt x="1025" y="322"/>
                      </a:lnTo>
                      <a:lnTo>
                        <a:pt x="1027" y="322"/>
                      </a:lnTo>
                      <a:lnTo>
                        <a:pt x="1027" y="323"/>
                      </a:lnTo>
                      <a:lnTo>
                        <a:pt x="1027" y="325"/>
                      </a:lnTo>
                      <a:lnTo>
                        <a:pt x="1027" y="327"/>
                      </a:lnTo>
                      <a:lnTo>
                        <a:pt x="1027" y="328"/>
                      </a:lnTo>
                      <a:lnTo>
                        <a:pt x="1028" y="328"/>
                      </a:lnTo>
                      <a:lnTo>
                        <a:pt x="1028" y="330"/>
                      </a:lnTo>
                      <a:lnTo>
                        <a:pt x="1028" y="332"/>
                      </a:lnTo>
                      <a:lnTo>
                        <a:pt x="1028" y="330"/>
                      </a:lnTo>
                      <a:lnTo>
                        <a:pt x="1028" y="332"/>
                      </a:lnTo>
                      <a:lnTo>
                        <a:pt x="1030" y="332"/>
                      </a:lnTo>
                      <a:lnTo>
                        <a:pt x="1030" y="333"/>
                      </a:lnTo>
                      <a:lnTo>
                        <a:pt x="1027" y="337"/>
                      </a:lnTo>
                      <a:lnTo>
                        <a:pt x="1022" y="340"/>
                      </a:lnTo>
                      <a:lnTo>
                        <a:pt x="1023" y="342"/>
                      </a:lnTo>
                      <a:lnTo>
                        <a:pt x="1025" y="343"/>
                      </a:lnTo>
                      <a:lnTo>
                        <a:pt x="1027" y="343"/>
                      </a:lnTo>
                      <a:lnTo>
                        <a:pt x="1027" y="345"/>
                      </a:lnTo>
                      <a:lnTo>
                        <a:pt x="1025" y="345"/>
                      </a:lnTo>
                      <a:lnTo>
                        <a:pt x="1023" y="345"/>
                      </a:lnTo>
                      <a:lnTo>
                        <a:pt x="1023" y="343"/>
                      </a:lnTo>
                      <a:lnTo>
                        <a:pt x="1022" y="343"/>
                      </a:lnTo>
                      <a:lnTo>
                        <a:pt x="1020" y="343"/>
                      </a:lnTo>
                      <a:lnTo>
                        <a:pt x="1020" y="342"/>
                      </a:lnTo>
                      <a:lnTo>
                        <a:pt x="1018" y="342"/>
                      </a:lnTo>
                      <a:lnTo>
                        <a:pt x="1017" y="342"/>
                      </a:lnTo>
                      <a:lnTo>
                        <a:pt x="1017" y="340"/>
                      </a:lnTo>
                      <a:lnTo>
                        <a:pt x="1015" y="340"/>
                      </a:lnTo>
                      <a:lnTo>
                        <a:pt x="1013" y="340"/>
                      </a:lnTo>
                      <a:lnTo>
                        <a:pt x="1012" y="340"/>
                      </a:lnTo>
                      <a:lnTo>
                        <a:pt x="1010" y="340"/>
                      </a:lnTo>
                      <a:lnTo>
                        <a:pt x="1008" y="340"/>
                      </a:lnTo>
                      <a:lnTo>
                        <a:pt x="1006" y="340"/>
                      </a:lnTo>
                      <a:lnTo>
                        <a:pt x="1005" y="340"/>
                      </a:lnTo>
                      <a:lnTo>
                        <a:pt x="1003" y="340"/>
                      </a:lnTo>
                      <a:lnTo>
                        <a:pt x="1001" y="340"/>
                      </a:lnTo>
                      <a:lnTo>
                        <a:pt x="1001" y="338"/>
                      </a:lnTo>
                      <a:lnTo>
                        <a:pt x="1000" y="338"/>
                      </a:lnTo>
                      <a:lnTo>
                        <a:pt x="998" y="337"/>
                      </a:lnTo>
                      <a:lnTo>
                        <a:pt x="996" y="337"/>
                      </a:lnTo>
                      <a:lnTo>
                        <a:pt x="996" y="338"/>
                      </a:lnTo>
                      <a:lnTo>
                        <a:pt x="995" y="338"/>
                      </a:lnTo>
                      <a:lnTo>
                        <a:pt x="993" y="338"/>
                      </a:lnTo>
                      <a:lnTo>
                        <a:pt x="991" y="338"/>
                      </a:lnTo>
                      <a:lnTo>
                        <a:pt x="991" y="340"/>
                      </a:lnTo>
                      <a:lnTo>
                        <a:pt x="991" y="342"/>
                      </a:lnTo>
                      <a:lnTo>
                        <a:pt x="991" y="340"/>
                      </a:lnTo>
                      <a:lnTo>
                        <a:pt x="990" y="342"/>
                      </a:lnTo>
                      <a:lnTo>
                        <a:pt x="990" y="343"/>
                      </a:lnTo>
                      <a:lnTo>
                        <a:pt x="988" y="343"/>
                      </a:lnTo>
                      <a:lnTo>
                        <a:pt x="990" y="343"/>
                      </a:lnTo>
                      <a:lnTo>
                        <a:pt x="988" y="343"/>
                      </a:lnTo>
                      <a:lnTo>
                        <a:pt x="988" y="345"/>
                      </a:lnTo>
                      <a:lnTo>
                        <a:pt x="988" y="346"/>
                      </a:lnTo>
                      <a:lnTo>
                        <a:pt x="986" y="346"/>
                      </a:lnTo>
                      <a:lnTo>
                        <a:pt x="986" y="348"/>
                      </a:lnTo>
                      <a:lnTo>
                        <a:pt x="985" y="348"/>
                      </a:lnTo>
                      <a:lnTo>
                        <a:pt x="983" y="348"/>
                      </a:lnTo>
                      <a:lnTo>
                        <a:pt x="981" y="348"/>
                      </a:lnTo>
                      <a:lnTo>
                        <a:pt x="979" y="348"/>
                      </a:lnTo>
                      <a:lnTo>
                        <a:pt x="981" y="348"/>
                      </a:lnTo>
                      <a:lnTo>
                        <a:pt x="979" y="348"/>
                      </a:lnTo>
                      <a:lnTo>
                        <a:pt x="979" y="346"/>
                      </a:lnTo>
                      <a:lnTo>
                        <a:pt x="978" y="346"/>
                      </a:lnTo>
                      <a:lnTo>
                        <a:pt x="976" y="346"/>
                      </a:lnTo>
                      <a:lnTo>
                        <a:pt x="976" y="348"/>
                      </a:lnTo>
                      <a:lnTo>
                        <a:pt x="976" y="346"/>
                      </a:lnTo>
                      <a:lnTo>
                        <a:pt x="974" y="346"/>
                      </a:lnTo>
                      <a:lnTo>
                        <a:pt x="976" y="345"/>
                      </a:lnTo>
                      <a:lnTo>
                        <a:pt x="974" y="345"/>
                      </a:lnTo>
                      <a:lnTo>
                        <a:pt x="973" y="345"/>
                      </a:lnTo>
                      <a:lnTo>
                        <a:pt x="973" y="343"/>
                      </a:lnTo>
                      <a:lnTo>
                        <a:pt x="971" y="343"/>
                      </a:lnTo>
                      <a:lnTo>
                        <a:pt x="971" y="342"/>
                      </a:lnTo>
                      <a:lnTo>
                        <a:pt x="971" y="343"/>
                      </a:lnTo>
                      <a:lnTo>
                        <a:pt x="969" y="343"/>
                      </a:lnTo>
                      <a:lnTo>
                        <a:pt x="968" y="343"/>
                      </a:lnTo>
                      <a:lnTo>
                        <a:pt x="968" y="345"/>
                      </a:lnTo>
                      <a:lnTo>
                        <a:pt x="966" y="345"/>
                      </a:lnTo>
                      <a:lnTo>
                        <a:pt x="964" y="345"/>
                      </a:lnTo>
                      <a:lnTo>
                        <a:pt x="964" y="343"/>
                      </a:lnTo>
                      <a:lnTo>
                        <a:pt x="963" y="345"/>
                      </a:lnTo>
                      <a:lnTo>
                        <a:pt x="963" y="346"/>
                      </a:lnTo>
                      <a:lnTo>
                        <a:pt x="974" y="356"/>
                      </a:lnTo>
                      <a:lnTo>
                        <a:pt x="974" y="358"/>
                      </a:lnTo>
                      <a:lnTo>
                        <a:pt x="974" y="360"/>
                      </a:lnTo>
                      <a:lnTo>
                        <a:pt x="974" y="361"/>
                      </a:lnTo>
                      <a:lnTo>
                        <a:pt x="973" y="361"/>
                      </a:lnTo>
                      <a:lnTo>
                        <a:pt x="971" y="361"/>
                      </a:lnTo>
                      <a:lnTo>
                        <a:pt x="969" y="361"/>
                      </a:lnTo>
                      <a:lnTo>
                        <a:pt x="968" y="360"/>
                      </a:lnTo>
                      <a:lnTo>
                        <a:pt x="968" y="361"/>
                      </a:lnTo>
                      <a:lnTo>
                        <a:pt x="968" y="360"/>
                      </a:lnTo>
                      <a:lnTo>
                        <a:pt x="966" y="360"/>
                      </a:lnTo>
                      <a:lnTo>
                        <a:pt x="966" y="358"/>
                      </a:lnTo>
                      <a:lnTo>
                        <a:pt x="964" y="358"/>
                      </a:lnTo>
                      <a:lnTo>
                        <a:pt x="963" y="358"/>
                      </a:lnTo>
                      <a:lnTo>
                        <a:pt x="963" y="356"/>
                      </a:lnTo>
                      <a:lnTo>
                        <a:pt x="963" y="358"/>
                      </a:lnTo>
                      <a:lnTo>
                        <a:pt x="961" y="358"/>
                      </a:lnTo>
                      <a:lnTo>
                        <a:pt x="959" y="358"/>
                      </a:lnTo>
                      <a:lnTo>
                        <a:pt x="959" y="360"/>
                      </a:lnTo>
                      <a:lnTo>
                        <a:pt x="958" y="360"/>
                      </a:lnTo>
                      <a:lnTo>
                        <a:pt x="958" y="358"/>
                      </a:lnTo>
                      <a:lnTo>
                        <a:pt x="958" y="360"/>
                      </a:lnTo>
                      <a:lnTo>
                        <a:pt x="958" y="361"/>
                      </a:lnTo>
                      <a:lnTo>
                        <a:pt x="956" y="361"/>
                      </a:lnTo>
                      <a:lnTo>
                        <a:pt x="956" y="360"/>
                      </a:lnTo>
                      <a:lnTo>
                        <a:pt x="954" y="360"/>
                      </a:lnTo>
                      <a:lnTo>
                        <a:pt x="954" y="361"/>
                      </a:lnTo>
                      <a:lnTo>
                        <a:pt x="954" y="363"/>
                      </a:lnTo>
                      <a:lnTo>
                        <a:pt x="952" y="361"/>
                      </a:lnTo>
                      <a:lnTo>
                        <a:pt x="952" y="363"/>
                      </a:lnTo>
                      <a:lnTo>
                        <a:pt x="951" y="361"/>
                      </a:lnTo>
                      <a:lnTo>
                        <a:pt x="949" y="363"/>
                      </a:lnTo>
                      <a:lnTo>
                        <a:pt x="949" y="361"/>
                      </a:lnTo>
                      <a:lnTo>
                        <a:pt x="947" y="361"/>
                      </a:lnTo>
                      <a:lnTo>
                        <a:pt x="947" y="363"/>
                      </a:lnTo>
                      <a:lnTo>
                        <a:pt x="947" y="361"/>
                      </a:lnTo>
                      <a:lnTo>
                        <a:pt x="947" y="363"/>
                      </a:lnTo>
                      <a:lnTo>
                        <a:pt x="946" y="363"/>
                      </a:lnTo>
                      <a:lnTo>
                        <a:pt x="944" y="365"/>
                      </a:lnTo>
                      <a:lnTo>
                        <a:pt x="944" y="366"/>
                      </a:lnTo>
                      <a:lnTo>
                        <a:pt x="942" y="366"/>
                      </a:lnTo>
                      <a:lnTo>
                        <a:pt x="944" y="368"/>
                      </a:lnTo>
                      <a:lnTo>
                        <a:pt x="942" y="368"/>
                      </a:lnTo>
                      <a:lnTo>
                        <a:pt x="944" y="369"/>
                      </a:lnTo>
                      <a:lnTo>
                        <a:pt x="942" y="369"/>
                      </a:lnTo>
                      <a:lnTo>
                        <a:pt x="944" y="369"/>
                      </a:lnTo>
                      <a:lnTo>
                        <a:pt x="942" y="371"/>
                      </a:lnTo>
                      <a:lnTo>
                        <a:pt x="941" y="373"/>
                      </a:lnTo>
                      <a:lnTo>
                        <a:pt x="939" y="373"/>
                      </a:lnTo>
                      <a:lnTo>
                        <a:pt x="939" y="374"/>
                      </a:lnTo>
                      <a:lnTo>
                        <a:pt x="937" y="374"/>
                      </a:lnTo>
                      <a:lnTo>
                        <a:pt x="937" y="376"/>
                      </a:lnTo>
                      <a:lnTo>
                        <a:pt x="937" y="378"/>
                      </a:lnTo>
                      <a:lnTo>
                        <a:pt x="939" y="378"/>
                      </a:lnTo>
                      <a:lnTo>
                        <a:pt x="939" y="379"/>
                      </a:lnTo>
                      <a:lnTo>
                        <a:pt x="939" y="381"/>
                      </a:lnTo>
                      <a:lnTo>
                        <a:pt x="937" y="383"/>
                      </a:lnTo>
                      <a:lnTo>
                        <a:pt x="937" y="381"/>
                      </a:lnTo>
                      <a:lnTo>
                        <a:pt x="937" y="383"/>
                      </a:lnTo>
                      <a:lnTo>
                        <a:pt x="937" y="384"/>
                      </a:lnTo>
                      <a:lnTo>
                        <a:pt x="939" y="384"/>
                      </a:lnTo>
                      <a:lnTo>
                        <a:pt x="937" y="384"/>
                      </a:lnTo>
                      <a:lnTo>
                        <a:pt x="936" y="386"/>
                      </a:lnTo>
                      <a:lnTo>
                        <a:pt x="936" y="388"/>
                      </a:lnTo>
                      <a:lnTo>
                        <a:pt x="951" y="389"/>
                      </a:lnTo>
                      <a:lnTo>
                        <a:pt x="951" y="391"/>
                      </a:lnTo>
                      <a:lnTo>
                        <a:pt x="949" y="402"/>
                      </a:lnTo>
                      <a:lnTo>
                        <a:pt x="949" y="404"/>
                      </a:lnTo>
                      <a:lnTo>
                        <a:pt x="947" y="404"/>
                      </a:lnTo>
                      <a:lnTo>
                        <a:pt x="947" y="406"/>
                      </a:lnTo>
                      <a:lnTo>
                        <a:pt x="949" y="406"/>
                      </a:lnTo>
                      <a:lnTo>
                        <a:pt x="949" y="407"/>
                      </a:lnTo>
                      <a:lnTo>
                        <a:pt x="949" y="406"/>
                      </a:lnTo>
                      <a:lnTo>
                        <a:pt x="949" y="407"/>
                      </a:lnTo>
                      <a:lnTo>
                        <a:pt x="951" y="407"/>
                      </a:lnTo>
                      <a:lnTo>
                        <a:pt x="952" y="407"/>
                      </a:lnTo>
                      <a:lnTo>
                        <a:pt x="954" y="409"/>
                      </a:lnTo>
                      <a:lnTo>
                        <a:pt x="956" y="409"/>
                      </a:lnTo>
                      <a:lnTo>
                        <a:pt x="958" y="409"/>
                      </a:lnTo>
                      <a:lnTo>
                        <a:pt x="958" y="411"/>
                      </a:lnTo>
                      <a:lnTo>
                        <a:pt x="958" y="414"/>
                      </a:lnTo>
                      <a:lnTo>
                        <a:pt x="958" y="417"/>
                      </a:lnTo>
                      <a:lnTo>
                        <a:pt x="959" y="419"/>
                      </a:lnTo>
                      <a:lnTo>
                        <a:pt x="959" y="420"/>
                      </a:lnTo>
                      <a:lnTo>
                        <a:pt x="961" y="420"/>
                      </a:lnTo>
                      <a:lnTo>
                        <a:pt x="961" y="422"/>
                      </a:lnTo>
                      <a:lnTo>
                        <a:pt x="959" y="422"/>
                      </a:lnTo>
                      <a:lnTo>
                        <a:pt x="959" y="424"/>
                      </a:lnTo>
                      <a:lnTo>
                        <a:pt x="958" y="424"/>
                      </a:lnTo>
                      <a:lnTo>
                        <a:pt x="958" y="422"/>
                      </a:lnTo>
                      <a:lnTo>
                        <a:pt x="958" y="424"/>
                      </a:lnTo>
                      <a:lnTo>
                        <a:pt x="956" y="424"/>
                      </a:lnTo>
                      <a:lnTo>
                        <a:pt x="952" y="424"/>
                      </a:lnTo>
                      <a:lnTo>
                        <a:pt x="951" y="424"/>
                      </a:lnTo>
                      <a:lnTo>
                        <a:pt x="944" y="424"/>
                      </a:lnTo>
                      <a:lnTo>
                        <a:pt x="942" y="424"/>
                      </a:lnTo>
                      <a:lnTo>
                        <a:pt x="942" y="422"/>
                      </a:lnTo>
                      <a:lnTo>
                        <a:pt x="941" y="422"/>
                      </a:lnTo>
                      <a:lnTo>
                        <a:pt x="941" y="420"/>
                      </a:lnTo>
                      <a:lnTo>
                        <a:pt x="939" y="420"/>
                      </a:lnTo>
                      <a:lnTo>
                        <a:pt x="930" y="420"/>
                      </a:lnTo>
                      <a:lnTo>
                        <a:pt x="930" y="422"/>
                      </a:lnTo>
                      <a:lnTo>
                        <a:pt x="929" y="422"/>
                      </a:lnTo>
                      <a:lnTo>
                        <a:pt x="930" y="424"/>
                      </a:lnTo>
                      <a:lnTo>
                        <a:pt x="929" y="424"/>
                      </a:lnTo>
                      <a:lnTo>
                        <a:pt x="929" y="425"/>
                      </a:lnTo>
                      <a:lnTo>
                        <a:pt x="930" y="425"/>
                      </a:lnTo>
                      <a:lnTo>
                        <a:pt x="929" y="425"/>
                      </a:lnTo>
                      <a:lnTo>
                        <a:pt x="930" y="425"/>
                      </a:lnTo>
                      <a:lnTo>
                        <a:pt x="930" y="427"/>
                      </a:lnTo>
                      <a:lnTo>
                        <a:pt x="932" y="427"/>
                      </a:lnTo>
                      <a:lnTo>
                        <a:pt x="932" y="425"/>
                      </a:lnTo>
                      <a:lnTo>
                        <a:pt x="934" y="425"/>
                      </a:lnTo>
                      <a:lnTo>
                        <a:pt x="934" y="427"/>
                      </a:lnTo>
                      <a:lnTo>
                        <a:pt x="936" y="427"/>
                      </a:lnTo>
                      <a:lnTo>
                        <a:pt x="936" y="425"/>
                      </a:lnTo>
                      <a:lnTo>
                        <a:pt x="936" y="427"/>
                      </a:lnTo>
                      <a:lnTo>
                        <a:pt x="937" y="425"/>
                      </a:lnTo>
                      <a:lnTo>
                        <a:pt x="937" y="427"/>
                      </a:lnTo>
                      <a:lnTo>
                        <a:pt x="937" y="429"/>
                      </a:lnTo>
                      <a:lnTo>
                        <a:pt x="939" y="429"/>
                      </a:lnTo>
                      <a:lnTo>
                        <a:pt x="941" y="429"/>
                      </a:lnTo>
                      <a:lnTo>
                        <a:pt x="941" y="430"/>
                      </a:lnTo>
                      <a:lnTo>
                        <a:pt x="942" y="430"/>
                      </a:lnTo>
                      <a:lnTo>
                        <a:pt x="942" y="432"/>
                      </a:lnTo>
                      <a:lnTo>
                        <a:pt x="941" y="432"/>
                      </a:lnTo>
                      <a:lnTo>
                        <a:pt x="942" y="432"/>
                      </a:lnTo>
                      <a:lnTo>
                        <a:pt x="942" y="434"/>
                      </a:lnTo>
                      <a:lnTo>
                        <a:pt x="944" y="434"/>
                      </a:lnTo>
                      <a:lnTo>
                        <a:pt x="946" y="434"/>
                      </a:lnTo>
                      <a:lnTo>
                        <a:pt x="946" y="435"/>
                      </a:lnTo>
                      <a:lnTo>
                        <a:pt x="947" y="435"/>
                      </a:lnTo>
                      <a:lnTo>
                        <a:pt x="947" y="437"/>
                      </a:lnTo>
                      <a:lnTo>
                        <a:pt x="949" y="437"/>
                      </a:lnTo>
                      <a:lnTo>
                        <a:pt x="951" y="437"/>
                      </a:lnTo>
                      <a:lnTo>
                        <a:pt x="949" y="438"/>
                      </a:lnTo>
                      <a:lnTo>
                        <a:pt x="947" y="438"/>
                      </a:lnTo>
                      <a:lnTo>
                        <a:pt x="947" y="440"/>
                      </a:lnTo>
                      <a:lnTo>
                        <a:pt x="946" y="440"/>
                      </a:lnTo>
                      <a:lnTo>
                        <a:pt x="946" y="442"/>
                      </a:lnTo>
                      <a:lnTo>
                        <a:pt x="947" y="442"/>
                      </a:lnTo>
                      <a:lnTo>
                        <a:pt x="947" y="443"/>
                      </a:lnTo>
                      <a:lnTo>
                        <a:pt x="946" y="443"/>
                      </a:lnTo>
                      <a:lnTo>
                        <a:pt x="947" y="443"/>
                      </a:lnTo>
                      <a:lnTo>
                        <a:pt x="947" y="445"/>
                      </a:lnTo>
                      <a:lnTo>
                        <a:pt x="949" y="445"/>
                      </a:lnTo>
                      <a:lnTo>
                        <a:pt x="951" y="445"/>
                      </a:lnTo>
                      <a:lnTo>
                        <a:pt x="951" y="447"/>
                      </a:lnTo>
                      <a:lnTo>
                        <a:pt x="951" y="445"/>
                      </a:lnTo>
                      <a:lnTo>
                        <a:pt x="951" y="447"/>
                      </a:lnTo>
                      <a:lnTo>
                        <a:pt x="952" y="447"/>
                      </a:lnTo>
                      <a:lnTo>
                        <a:pt x="952" y="448"/>
                      </a:lnTo>
                      <a:lnTo>
                        <a:pt x="954" y="448"/>
                      </a:lnTo>
                      <a:lnTo>
                        <a:pt x="954" y="450"/>
                      </a:lnTo>
                      <a:lnTo>
                        <a:pt x="956" y="450"/>
                      </a:lnTo>
                      <a:lnTo>
                        <a:pt x="958" y="452"/>
                      </a:lnTo>
                      <a:lnTo>
                        <a:pt x="956" y="452"/>
                      </a:lnTo>
                      <a:lnTo>
                        <a:pt x="958" y="452"/>
                      </a:lnTo>
                      <a:lnTo>
                        <a:pt x="958" y="453"/>
                      </a:lnTo>
                      <a:lnTo>
                        <a:pt x="958" y="455"/>
                      </a:lnTo>
                      <a:lnTo>
                        <a:pt x="959" y="457"/>
                      </a:lnTo>
                      <a:lnTo>
                        <a:pt x="959" y="455"/>
                      </a:lnTo>
                      <a:lnTo>
                        <a:pt x="959" y="457"/>
                      </a:lnTo>
                      <a:lnTo>
                        <a:pt x="959" y="458"/>
                      </a:lnTo>
                      <a:lnTo>
                        <a:pt x="959" y="460"/>
                      </a:lnTo>
                      <a:lnTo>
                        <a:pt x="958" y="460"/>
                      </a:lnTo>
                      <a:lnTo>
                        <a:pt x="958" y="461"/>
                      </a:lnTo>
                      <a:lnTo>
                        <a:pt x="959" y="461"/>
                      </a:lnTo>
                      <a:lnTo>
                        <a:pt x="961" y="461"/>
                      </a:lnTo>
                      <a:lnTo>
                        <a:pt x="961" y="463"/>
                      </a:lnTo>
                      <a:lnTo>
                        <a:pt x="959" y="463"/>
                      </a:lnTo>
                      <a:lnTo>
                        <a:pt x="961" y="465"/>
                      </a:lnTo>
                      <a:lnTo>
                        <a:pt x="959" y="465"/>
                      </a:lnTo>
                      <a:lnTo>
                        <a:pt x="959" y="463"/>
                      </a:lnTo>
                      <a:lnTo>
                        <a:pt x="959" y="465"/>
                      </a:lnTo>
                      <a:lnTo>
                        <a:pt x="958" y="465"/>
                      </a:lnTo>
                      <a:lnTo>
                        <a:pt x="959" y="465"/>
                      </a:lnTo>
                      <a:lnTo>
                        <a:pt x="959" y="466"/>
                      </a:lnTo>
                      <a:lnTo>
                        <a:pt x="961" y="466"/>
                      </a:lnTo>
                      <a:lnTo>
                        <a:pt x="961" y="468"/>
                      </a:lnTo>
                      <a:lnTo>
                        <a:pt x="959" y="468"/>
                      </a:lnTo>
                      <a:lnTo>
                        <a:pt x="961" y="470"/>
                      </a:lnTo>
                      <a:lnTo>
                        <a:pt x="959" y="470"/>
                      </a:lnTo>
                      <a:lnTo>
                        <a:pt x="959" y="471"/>
                      </a:lnTo>
                      <a:lnTo>
                        <a:pt x="958" y="471"/>
                      </a:lnTo>
                      <a:lnTo>
                        <a:pt x="959" y="471"/>
                      </a:lnTo>
                      <a:lnTo>
                        <a:pt x="959" y="473"/>
                      </a:lnTo>
                      <a:lnTo>
                        <a:pt x="959" y="475"/>
                      </a:lnTo>
                      <a:lnTo>
                        <a:pt x="958" y="475"/>
                      </a:lnTo>
                      <a:lnTo>
                        <a:pt x="956" y="476"/>
                      </a:lnTo>
                      <a:lnTo>
                        <a:pt x="956" y="478"/>
                      </a:lnTo>
                      <a:lnTo>
                        <a:pt x="956" y="479"/>
                      </a:lnTo>
                      <a:lnTo>
                        <a:pt x="956" y="481"/>
                      </a:lnTo>
                      <a:lnTo>
                        <a:pt x="958" y="481"/>
                      </a:lnTo>
                      <a:lnTo>
                        <a:pt x="958" y="483"/>
                      </a:lnTo>
                      <a:lnTo>
                        <a:pt x="956" y="483"/>
                      </a:lnTo>
                      <a:lnTo>
                        <a:pt x="956" y="484"/>
                      </a:lnTo>
                      <a:lnTo>
                        <a:pt x="954" y="486"/>
                      </a:lnTo>
                      <a:lnTo>
                        <a:pt x="952" y="486"/>
                      </a:lnTo>
                      <a:lnTo>
                        <a:pt x="951" y="486"/>
                      </a:lnTo>
                      <a:lnTo>
                        <a:pt x="949" y="484"/>
                      </a:lnTo>
                      <a:lnTo>
                        <a:pt x="947" y="484"/>
                      </a:lnTo>
                      <a:lnTo>
                        <a:pt x="947" y="486"/>
                      </a:lnTo>
                      <a:lnTo>
                        <a:pt x="949" y="486"/>
                      </a:lnTo>
                      <a:lnTo>
                        <a:pt x="949" y="488"/>
                      </a:lnTo>
                      <a:lnTo>
                        <a:pt x="949" y="489"/>
                      </a:lnTo>
                      <a:lnTo>
                        <a:pt x="949" y="491"/>
                      </a:lnTo>
                      <a:lnTo>
                        <a:pt x="947" y="493"/>
                      </a:lnTo>
                      <a:lnTo>
                        <a:pt x="946" y="493"/>
                      </a:lnTo>
                      <a:lnTo>
                        <a:pt x="946" y="494"/>
                      </a:lnTo>
                      <a:lnTo>
                        <a:pt x="944" y="494"/>
                      </a:lnTo>
                      <a:lnTo>
                        <a:pt x="942" y="494"/>
                      </a:lnTo>
                      <a:lnTo>
                        <a:pt x="942" y="496"/>
                      </a:lnTo>
                      <a:lnTo>
                        <a:pt x="942" y="498"/>
                      </a:lnTo>
                      <a:lnTo>
                        <a:pt x="941" y="498"/>
                      </a:lnTo>
                      <a:lnTo>
                        <a:pt x="941" y="499"/>
                      </a:lnTo>
                      <a:lnTo>
                        <a:pt x="939" y="499"/>
                      </a:lnTo>
                      <a:lnTo>
                        <a:pt x="939" y="501"/>
                      </a:lnTo>
                      <a:lnTo>
                        <a:pt x="937" y="499"/>
                      </a:lnTo>
                      <a:lnTo>
                        <a:pt x="937" y="501"/>
                      </a:lnTo>
                      <a:lnTo>
                        <a:pt x="936" y="502"/>
                      </a:lnTo>
                      <a:lnTo>
                        <a:pt x="936" y="504"/>
                      </a:lnTo>
                      <a:lnTo>
                        <a:pt x="936" y="506"/>
                      </a:lnTo>
                      <a:lnTo>
                        <a:pt x="936" y="507"/>
                      </a:lnTo>
                      <a:lnTo>
                        <a:pt x="934" y="507"/>
                      </a:lnTo>
                      <a:lnTo>
                        <a:pt x="936" y="509"/>
                      </a:lnTo>
                      <a:lnTo>
                        <a:pt x="936" y="511"/>
                      </a:lnTo>
                      <a:lnTo>
                        <a:pt x="937" y="512"/>
                      </a:lnTo>
                      <a:lnTo>
                        <a:pt x="937" y="514"/>
                      </a:lnTo>
                      <a:lnTo>
                        <a:pt x="936" y="514"/>
                      </a:lnTo>
                      <a:lnTo>
                        <a:pt x="936" y="516"/>
                      </a:lnTo>
                      <a:lnTo>
                        <a:pt x="936" y="517"/>
                      </a:lnTo>
                      <a:lnTo>
                        <a:pt x="936" y="519"/>
                      </a:lnTo>
                      <a:lnTo>
                        <a:pt x="936" y="521"/>
                      </a:lnTo>
                      <a:lnTo>
                        <a:pt x="934" y="521"/>
                      </a:lnTo>
                      <a:lnTo>
                        <a:pt x="934" y="522"/>
                      </a:lnTo>
                      <a:lnTo>
                        <a:pt x="932" y="522"/>
                      </a:lnTo>
                      <a:lnTo>
                        <a:pt x="930" y="522"/>
                      </a:lnTo>
                      <a:lnTo>
                        <a:pt x="930" y="524"/>
                      </a:lnTo>
                      <a:lnTo>
                        <a:pt x="930" y="525"/>
                      </a:lnTo>
                      <a:lnTo>
                        <a:pt x="929" y="525"/>
                      </a:lnTo>
                      <a:lnTo>
                        <a:pt x="927" y="525"/>
                      </a:lnTo>
                      <a:lnTo>
                        <a:pt x="925" y="525"/>
                      </a:lnTo>
                      <a:lnTo>
                        <a:pt x="924" y="525"/>
                      </a:lnTo>
                      <a:lnTo>
                        <a:pt x="924" y="527"/>
                      </a:lnTo>
                      <a:lnTo>
                        <a:pt x="924" y="529"/>
                      </a:lnTo>
                      <a:lnTo>
                        <a:pt x="922" y="529"/>
                      </a:lnTo>
                      <a:lnTo>
                        <a:pt x="924" y="530"/>
                      </a:lnTo>
                      <a:lnTo>
                        <a:pt x="924" y="532"/>
                      </a:lnTo>
                      <a:lnTo>
                        <a:pt x="922" y="534"/>
                      </a:lnTo>
                      <a:lnTo>
                        <a:pt x="924" y="534"/>
                      </a:lnTo>
                      <a:lnTo>
                        <a:pt x="922" y="534"/>
                      </a:lnTo>
                      <a:lnTo>
                        <a:pt x="922" y="535"/>
                      </a:lnTo>
                      <a:lnTo>
                        <a:pt x="920" y="537"/>
                      </a:lnTo>
                      <a:lnTo>
                        <a:pt x="920" y="539"/>
                      </a:lnTo>
                      <a:lnTo>
                        <a:pt x="920" y="540"/>
                      </a:lnTo>
                      <a:lnTo>
                        <a:pt x="920" y="542"/>
                      </a:lnTo>
                      <a:lnTo>
                        <a:pt x="919" y="542"/>
                      </a:lnTo>
                      <a:lnTo>
                        <a:pt x="920" y="542"/>
                      </a:lnTo>
                      <a:lnTo>
                        <a:pt x="919" y="542"/>
                      </a:lnTo>
                      <a:lnTo>
                        <a:pt x="919" y="544"/>
                      </a:lnTo>
                      <a:lnTo>
                        <a:pt x="919" y="545"/>
                      </a:lnTo>
                      <a:lnTo>
                        <a:pt x="917" y="545"/>
                      </a:lnTo>
                      <a:lnTo>
                        <a:pt x="917" y="547"/>
                      </a:lnTo>
                      <a:lnTo>
                        <a:pt x="917" y="548"/>
                      </a:lnTo>
                      <a:lnTo>
                        <a:pt x="915" y="548"/>
                      </a:lnTo>
                      <a:lnTo>
                        <a:pt x="915" y="550"/>
                      </a:lnTo>
                      <a:lnTo>
                        <a:pt x="914" y="548"/>
                      </a:lnTo>
                      <a:lnTo>
                        <a:pt x="914" y="550"/>
                      </a:lnTo>
                      <a:lnTo>
                        <a:pt x="890" y="550"/>
                      </a:lnTo>
                      <a:lnTo>
                        <a:pt x="882" y="550"/>
                      </a:lnTo>
                      <a:lnTo>
                        <a:pt x="880" y="550"/>
                      </a:lnTo>
                      <a:lnTo>
                        <a:pt x="880" y="552"/>
                      </a:lnTo>
                      <a:lnTo>
                        <a:pt x="880" y="553"/>
                      </a:lnTo>
                      <a:lnTo>
                        <a:pt x="880" y="555"/>
                      </a:lnTo>
                      <a:lnTo>
                        <a:pt x="878" y="557"/>
                      </a:lnTo>
                      <a:lnTo>
                        <a:pt x="880" y="557"/>
                      </a:lnTo>
                      <a:lnTo>
                        <a:pt x="878" y="558"/>
                      </a:lnTo>
                      <a:lnTo>
                        <a:pt x="876" y="558"/>
                      </a:lnTo>
                      <a:lnTo>
                        <a:pt x="876" y="560"/>
                      </a:lnTo>
                      <a:lnTo>
                        <a:pt x="875" y="560"/>
                      </a:lnTo>
                      <a:lnTo>
                        <a:pt x="875" y="562"/>
                      </a:lnTo>
                      <a:lnTo>
                        <a:pt x="873" y="562"/>
                      </a:lnTo>
                      <a:lnTo>
                        <a:pt x="871" y="562"/>
                      </a:lnTo>
                      <a:lnTo>
                        <a:pt x="873" y="562"/>
                      </a:lnTo>
                      <a:lnTo>
                        <a:pt x="873" y="563"/>
                      </a:lnTo>
                      <a:lnTo>
                        <a:pt x="871" y="563"/>
                      </a:lnTo>
                      <a:lnTo>
                        <a:pt x="871" y="565"/>
                      </a:lnTo>
                      <a:lnTo>
                        <a:pt x="873" y="567"/>
                      </a:lnTo>
                      <a:lnTo>
                        <a:pt x="873" y="568"/>
                      </a:lnTo>
                      <a:lnTo>
                        <a:pt x="873" y="570"/>
                      </a:lnTo>
                      <a:lnTo>
                        <a:pt x="875" y="570"/>
                      </a:lnTo>
                      <a:lnTo>
                        <a:pt x="876" y="570"/>
                      </a:lnTo>
                      <a:lnTo>
                        <a:pt x="876" y="571"/>
                      </a:lnTo>
                      <a:lnTo>
                        <a:pt x="876" y="573"/>
                      </a:lnTo>
                      <a:lnTo>
                        <a:pt x="876" y="575"/>
                      </a:lnTo>
                      <a:lnTo>
                        <a:pt x="876" y="576"/>
                      </a:lnTo>
                      <a:lnTo>
                        <a:pt x="876" y="578"/>
                      </a:lnTo>
                      <a:lnTo>
                        <a:pt x="876" y="580"/>
                      </a:lnTo>
                      <a:lnTo>
                        <a:pt x="876" y="581"/>
                      </a:lnTo>
                      <a:lnTo>
                        <a:pt x="875" y="581"/>
                      </a:lnTo>
                      <a:lnTo>
                        <a:pt x="875" y="583"/>
                      </a:lnTo>
                      <a:lnTo>
                        <a:pt x="875" y="581"/>
                      </a:lnTo>
                      <a:lnTo>
                        <a:pt x="875" y="583"/>
                      </a:lnTo>
                      <a:lnTo>
                        <a:pt x="873" y="583"/>
                      </a:lnTo>
                      <a:lnTo>
                        <a:pt x="873" y="585"/>
                      </a:lnTo>
                      <a:lnTo>
                        <a:pt x="873" y="586"/>
                      </a:lnTo>
                      <a:lnTo>
                        <a:pt x="871" y="588"/>
                      </a:lnTo>
                      <a:lnTo>
                        <a:pt x="873" y="588"/>
                      </a:lnTo>
                      <a:lnTo>
                        <a:pt x="875" y="588"/>
                      </a:lnTo>
                      <a:lnTo>
                        <a:pt x="875" y="590"/>
                      </a:lnTo>
                      <a:lnTo>
                        <a:pt x="876" y="590"/>
                      </a:lnTo>
                      <a:lnTo>
                        <a:pt x="876" y="591"/>
                      </a:lnTo>
                      <a:lnTo>
                        <a:pt x="875" y="591"/>
                      </a:lnTo>
                      <a:lnTo>
                        <a:pt x="875" y="593"/>
                      </a:lnTo>
                      <a:lnTo>
                        <a:pt x="873" y="593"/>
                      </a:lnTo>
                      <a:lnTo>
                        <a:pt x="873" y="594"/>
                      </a:lnTo>
                      <a:lnTo>
                        <a:pt x="871" y="594"/>
                      </a:lnTo>
                      <a:lnTo>
                        <a:pt x="871" y="596"/>
                      </a:lnTo>
                      <a:lnTo>
                        <a:pt x="871" y="598"/>
                      </a:lnTo>
                      <a:lnTo>
                        <a:pt x="871" y="599"/>
                      </a:lnTo>
                      <a:lnTo>
                        <a:pt x="870" y="599"/>
                      </a:lnTo>
                      <a:lnTo>
                        <a:pt x="870" y="601"/>
                      </a:lnTo>
                      <a:lnTo>
                        <a:pt x="870" y="603"/>
                      </a:lnTo>
                      <a:lnTo>
                        <a:pt x="868" y="603"/>
                      </a:lnTo>
                      <a:lnTo>
                        <a:pt x="868" y="604"/>
                      </a:lnTo>
                      <a:lnTo>
                        <a:pt x="866" y="604"/>
                      </a:lnTo>
                      <a:lnTo>
                        <a:pt x="865" y="604"/>
                      </a:lnTo>
                      <a:lnTo>
                        <a:pt x="865" y="606"/>
                      </a:lnTo>
                      <a:lnTo>
                        <a:pt x="865" y="608"/>
                      </a:lnTo>
                      <a:lnTo>
                        <a:pt x="865" y="609"/>
                      </a:lnTo>
                      <a:lnTo>
                        <a:pt x="863" y="609"/>
                      </a:lnTo>
                      <a:lnTo>
                        <a:pt x="863" y="611"/>
                      </a:lnTo>
                      <a:lnTo>
                        <a:pt x="863" y="613"/>
                      </a:lnTo>
                      <a:lnTo>
                        <a:pt x="861" y="613"/>
                      </a:lnTo>
                      <a:lnTo>
                        <a:pt x="861" y="614"/>
                      </a:lnTo>
                      <a:lnTo>
                        <a:pt x="861" y="616"/>
                      </a:lnTo>
                      <a:lnTo>
                        <a:pt x="860" y="616"/>
                      </a:lnTo>
                      <a:lnTo>
                        <a:pt x="860" y="617"/>
                      </a:lnTo>
                      <a:lnTo>
                        <a:pt x="858" y="617"/>
                      </a:lnTo>
                      <a:lnTo>
                        <a:pt x="858" y="616"/>
                      </a:lnTo>
                      <a:lnTo>
                        <a:pt x="858" y="617"/>
                      </a:lnTo>
                      <a:lnTo>
                        <a:pt x="856" y="617"/>
                      </a:lnTo>
                      <a:lnTo>
                        <a:pt x="856" y="616"/>
                      </a:lnTo>
                      <a:lnTo>
                        <a:pt x="854" y="617"/>
                      </a:lnTo>
                      <a:lnTo>
                        <a:pt x="854" y="616"/>
                      </a:lnTo>
                      <a:lnTo>
                        <a:pt x="853" y="617"/>
                      </a:lnTo>
                      <a:lnTo>
                        <a:pt x="851" y="617"/>
                      </a:lnTo>
                      <a:lnTo>
                        <a:pt x="849" y="617"/>
                      </a:lnTo>
                      <a:lnTo>
                        <a:pt x="848" y="617"/>
                      </a:lnTo>
                      <a:lnTo>
                        <a:pt x="848" y="619"/>
                      </a:lnTo>
                      <a:lnTo>
                        <a:pt x="846" y="619"/>
                      </a:lnTo>
                      <a:lnTo>
                        <a:pt x="848" y="619"/>
                      </a:lnTo>
                      <a:lnTo>
                        <a:pt x="846" y="619"/>
                      </a:lnTo>
                      <a:lnTo>
                        <a:pt x="844" y="619"/>
                      </a:lnTo>
                      <a:lnTo>
                        <a:pt x="844" y="621"/>
                      </a:lnTo>
                      <a:lnTo>
                        <a:pt x="843" y="621"/>
                      </a:lnTo>
                      <a:lnTo>
                        <a:pt x="844" y="621"/>
                      </a:lnTo>
                      <a:lnTo>
                        <a:pt x="843" y="621"/>
                      </a:lnTo>
                      <a:lnTo>
                        <a:pt x="844" y="622"/>
                      </a:lnTo>
                      <a:lnTo>
                        <a:pt x="846" y="622"/>
                      </a:lnTo>
                      <a:lnTo>
                        <a:pt x="846" y="624"/>
                      </a:lnTo>
                      <a:lnTo>
                        <a:pt x="848" y="624"/>
                      </a:lnTo>
                      <a:lnTo>
                        <a:pt x="849" y="626"/>
                      </a:lnTo>
                      <a:lnTo>
                        <a:pt x="849" y="627"/>
                      </a:lnTo>
                      <a:lnTo>
                        <a:pt x="848" y="626"/>
                      </a:lnTo>
                      <a:lnTo>
                        <a:pt x="848" y="627"/>
                      </a:lnTo>
                      <a:lnTo>
                        <a:pt x="848" y="629"/>
                      </a:lnTo>
                      <a:lnTo>
                        <a:pt x="846" y="629"/>
                      </a:lnTo>
                      <a:lnTo>
                        <a:pt x="846" y="631"/>
                      </a:lnTo>
                      <a:lnTo>
                        <a:pt x="844" y="631"/>
                      </a:lnTo>
                      <a:lnTo>
                        <a:pt x="846" y="631"/>
                      </a:lnTo>
                      <a:lnTo>
                        <a:pt x="846" y="632"/>
                      </a:lnTo>
                      <a:lnTo>
                        <a:pt x="844" y="632"/>
                      </a:lnTo>
                      <a:lnTo>
                        <a:pt x="843" y="632"/>
                      </a:lnTo>
                      <a:lnTo>
                        <a:pt x="841" y="634"/>
                      </a:lnTo>
                      <a:lnTo>
                        <a:pt x="841" y="636"/>
                      </a:lnTo>
                      <a:lnTo>
                        <a:pt x="841" y="637"/>
                      </a:lnTo>
                      <a:lnTo>
                        <a:pt x="839" y="637"/>
                      </a:lnTo>
                      <a:lnTo>
                        <a:pt x="839" y="639"/>
                      </a:lnTo>
                      <a:lnTo>
                        <a:pt x="838" y="640"/>
                      </a:lnTo>
                      <a:lnTo>
                        <a:pt x="839" y="640"/>
                      </a:lnTo>
                      <a:lnTo>
                        <a:pt x="839" y="642"/>
                      </a:lnTo>
                      <a:lnTo>
                        <a:pt x="839" y="644"/>
                      </a:lnTo>
                      <a:lnTo>
                        <a:pt x="839" y="645"/>
                      </a:lnTo>
                      <a:lnTo>
                        <a:pt x="839" y="647"/>
                      </a:lnTo>
                      <a:lnTo>
                        <a:pt x="838" y="647"/>
                      </a:lnTo>
                      <a:lnTo>
                        <a:pt x="838" y="649"/>
                      </a:lnTo>
                      <a:lnTo>
                        <a:pt x="836" y="649"/>
                      </a:lnTo>
                      <a:lnTo>
                        <a:pt x="836" y="650"/>
                      </a:lnTo>
                      <a:lnTo>
                        <a:pt x="836" y="652"/>
                      </a:lnTo>
                      <a:lnTo>
                        <a:pt x="836" y="654"/>
                      </a:lnTo>
                      <a:lnTo>
                        <a:pt x="836" y="655"/>
                      </a:lnTo>
                      <a:lnTo>
                        <a:pt x="836" y="657"/>
                      </a:lnTo>
                      <a:lnTo>
                        <a:pt x="834" y="657"/>
                      </a:lnTo>
                      <a:lnTo>
                        <a:pt x="834" y="659"/>
                      </a:lnTo>
                      <a:lnTo>
                        <a:pt x="834" y="660"/>
                      </a:lnTo>
                      <a:lnTo>
                        <a:pt x="836" y="660"/>
                      </a:lnTo>
                      <a:lnTo>
                        <a:pt x="834" y="660"/>
                      </a:lnTo>
                      <a:lnTo>
                        <a:pt x="834" y="662"/>
                      </a:lnTo>
                      <a:lnTo>
                        <a:pt x="833" y="662"/>
                      </a:lnTo>
                      <a:lnTo>
                        <a:pt x="833" y="660"/>
                      </a:lnTo>
                      <a:lnTo>
                        <a:pt x="831" y="660"/>
                      </a:lnTo>
                      <a:lnTo>
                        <a:pt x="831" y="662"/>
                      </a:lnTo>
                      <a:lnTo>
                        <a:pt x="833" y="662"/>
                      </a:lnTo>
                      <a:lnTo>
                        <a:pt x="831" y="662"/>
                      </a:lnTo>
                      <a:lnTo>
                        <a:pt x="831" y="663"/>
                      </a:lnTo>
                      <a:lnTo>
                        <a:pt x="831" y="665"/>
                      </a:lnTo>
                      <a:lnTo>
                        <a:pt x="831" y="667"/>
                      </a:lnTo>
                      <a:lnTo>
                        <a:pt x="833" y="667"/>
                      </a:lnTo>
                      <a:lnTo>
                        <a:pt x="833" y="668"/>
                      </a:lnTo>
                      <a:lnTo>
                        <a:pt x="834" y="668"/>
                      </a:lnTo>
                      <a:lnTo>
                        <a:pt x="833" y="668"/>
                      </a:lnTo>
                      <a:lnTo>
                        <a:pt x="833" y="670"/>
                      </a:lnTo>
                      <a:lnTo>
                        <a:pt x="831" y="670"/>
                      </a:lnTo>
                      <a:lnTo>
                        <a:pt x="831" y="672"/>
                      </a:lnTo>
                      <a:lnTo>
                        <a:pt x="829" y="672"/>
                      </a:lnTo>
                      <a:lnTo>
                        <a:pt x="829" y="673"/>
                      </a:lnTo>
                      <a:lnTo>
                        <a:pt x="829" y="675"/>
                      </a:lnTo>
                      <a:lnTo>
                        <a:pt x="827" y="675"/>
                      </a:lnTo>
                      <a:lnTo>
                        <a:pt x="826" y="675"/>
                      </a:lnTo>
                      <a:lnTo>
                        <a:pt x="827" y="675"/>
                      </a:lnTo>
                      <a:lnTo>
                        <a:pt x="827" y="677"/>
                      </a:lnTo>
                      <a:lnTo>
                        <a:pt x="826" y="677"/>
                      </a:lnTo>
                      <a:lnTo>
                        <a:pt x="824" y="678"/>
                      </a:lnTo>
                      <a:lnTo>
                        <a:pt x="824" y="680"/>
                      </a:lnTo>
                      <a:lnTo>
                        <a:pt x="822" y="680"/>
                      </a:lnTo>
                      <a:lnTo>
                        <a:pt x="822" y="681"/>
                      </a:lnTo>
                      <a:lnTo>
                        <a:pt x="824" y="680"/>
                      </a:lnTo>
                      <a:lnTo>
                        <a:pt x="824" y="681"/>
                      </a:lnTo>
                      <a:lnTo>
                        <a:pt x="822" y="681"/>
                      </a:lnTo>
                      <a:lnTo>
                        <a:pt x="822" y="683"/>
                      </a:lnTo>
                      <a:lnTo>
                        <a:pt x="824" y="683"/>
                      </a:lnTo>
                      <a:lnTo>
                        <a:pt x="826" y="683"/>
                      </a:lnTo>
                      <a:lnTo>
                        <a:pt x="826" y="685"/>
                      </a:lnTo>
                      <a:lnTo>
                        <a:pt x="827" y="683"/>
                      </a:lnTo>
                      <a:lnTo>
                        <a:pt x="827" y="685"/>
                      </a:lnTo>
                      <a:lnTo>
                        <a:pt x="827" y="683"/>
                      </a:lnTo>
                      <a:lnTo>
                        <a:pt x="829" y="685"/>
                      </a:lnTo>
                      <a:lnTo>
                        <a:pt x="829" y="683"/>
                      </a:lnTo>
                      <a:lnTo>
                        <a:pt x="829" y="685"/>
                      </a:lnTo>
                      <a:lnTo>
                        <a:pt x="829" y="683"/>
                      </a:lnTo>
                      <a:lnTo>
                        <a:pt x="831" y="685"/>
                      </a:lnTo>
                      <a:lnTo>
                        <a:pt x="831" y="686"/>
                      </a:lnTo>
                      <a:lnTo>
                        <a:pt x="833" y="686"/>
                      </a:lnTo>
                      <a:lnTo>
                        <a:pt x="833" y="688"/>
                      </a:lnTo>
                      <a:lnTo>
                        <a:pt x="833" y="690"/>
                      </a:lnTo>
                      <a:lnTo>
                        <a:pt x="831" y="690"/>
                      </a:lnTo>
                      <a:lnTo>
                        <a:pt x="829" y="690"/>
                      </a:lnTo>
                      <a:lnTo>
                        <a:pt x="827" y="691"/>
                      </a:lnTo>
                      <a:lnTo>
                        <a:pt x="826" y="691"/>
                      </a:lnTo>
                      <a:lnTo>
                        <a:pt x="824" y="691"/>
                      </a:lnTo>
                      <a:lnTo>
                        <a:pt x="822" y="691"/>
                      </a:lnTo>
                      <a:lnTo>
                        <a:pt x="822" y="693"/>
                      </a:lnTo>
                      <a:lnTo>
                        <a:pt x="821" y="693"/>
                      </a:lnTo>
                      <a:lnTo>
                        <a:pt x="817" y="695"/>
                      </a:lnTo>
                      <a:lnTo>
                        <a:pt x="816" y="695"/>
                      </a:lnTo>
                      <a:lnTo>
                        <a:pt x="814" y="696"/>
                      </a:lnTo>
                      <a:lnTo>
                        <a:pt x="812" y="696"/>
                      </a:lnTo>
                      <a:lnTo>
                        <a:pt x="811" y="698"/>
                      </a:lnTo>
                      <a:lnTo>
                        <a:pt x="807" y="698"/>
                      </a:lnTo>
                      <a:lnTo>
                        <a:pt x="802" y="701"/>
                      </a:lnTo>
                      <a:lnTo>
                        <a:pt x="800" y="703"/>
                      </a:lnTo>
                      <a:lnTo>
                        <a:pt x="800" y="701"/>
                      </a:lnTo>
                      <a:lnTo>
                        <a:pt x="800" y="703"/>
                      </a:lnTo>
                      <a:lnTo>
                        <a:pt x="799" y="703"/>
                      </a:lnTo>
                      <a:lnTo>
                        <a:pt x="797" y="703"/>
                      </a:lnTo>
                      <a:lnTo>
                        <a:pt x="795" y="703"/>
                      </a:lnTo>
                      <a:lnTo>
                        <a:pt x="794" y="704"/>
                      </a:lnTo>
                      <a:lnTo>
                        <a:pt x="790" y="706"/>
                      </a:lnTo>
                      <a:lnTo>
                        <a:pt x="787" y="708"/>
                      </a:lnTo>
                      <a:lnTo>
                        <a:pt x="785" y="708"/>
                      </a:lnTo>
                      <a:lnTo>
                        <a:pt x="784" y="708"/>
                      </a:lnTo>
                      <a:lnTo>
                        <a:pt x="782" y="709"/>
                      </a:lnTo>
                      <a:lnTo>
                        <a:pt x="778" y="709"/>
                      </a:lnTo>
                      <a:lnTo>
                        <a:pt x="778" y="711"/>
                      </a:lnTo>
                      <a:lnTo>
                        <a:pt x="777" y="711"/>
                      </a:lnTo>
                      <a:lnTo>
                        <a:pt x="775" y="711"/>
                      </a:lnTo>
                      <a:lnTo>
                        <a:pt x="773" y="713"/>
                      </a:lnTo>
                      <a:lnTo>
                        <a:pt x="773" y="714"/>
                      </a:lnTo>
                      <a:lnTo>
                        <a:pt x="772" y="714"/>
                      </a:lnTo>
                      <a:lnTo>
                        <a:pt x="770" y="716"/>
                      </a:lnTo>
                      <a:lnTo>
                        <a:pt x="768" y="716"/>
                      </a:lnTo>
                      <a:lnTo>
                        <a:pt x="767" y="718"/>
                      </a:lnTo>
                      <a:lnTo>
                        <a:pt x="767" y="716"/>
                      </a:lnTo>
                      <a:lnTo>
                        <a:pt x="767" y="718"/>
                      </a:lnTo>
                      <a:lnTo>
                        <a:pt x="765" y="718"/>
                      </a:lnTo>
                      <a:lnTo>
                        <a:pt x="763" y="719"/>
                      </a:lnTo>
                      <a:lnTo>
                        <a:pt x="763" y="718"/>
                      </a:lnTo>
                      <a:lnTo>
                        <a:pt x="762" y="719"/>
                      </a:lnTo>
                      <a:lnTo>
                        <a:pt x="760" y="719"/>
                      </a:lnTo>
                      <a:lnTo>
                        <a:pt x="760" y="721"/>
                      </a:lnTo>
                      <a:lnTo>
                        <a:pt x="760" y="723"/>
                      </a:lnTo>
                      <a:lnTo>
                        <a:pt x="758" y="723"/>
                      </a:lnTo>
                      <a:lnTo>
                        <a:pt x="757" y="723"/>
                      </a:lnTo>
                      <a:lnTo>
                        <a:pt x="757" y="724"/>
                      </a:lnTo>
                      <a:lnTo>
                        <a:pt x="755" y="723"/>
                      </a:lnTo>
                      <a:lnTo>
                        <a:pt x="755" y="724"/>
                      </a:lnTo>
                      <a:lnTo>
                        <a:pt x="753" y="723"/>
                      </a:lnTo>
                      <a:lnTo>
                        <a:pt x="751" y="724"/>
                      </a:lnTo>
                      <a:lnTo>
                        <a:pt x="751" y="726"/>
                      </a:lnTo>
                      <a:lnTo>
                        <a:pt x="750" y="726"/>
                      </a:lnTo>
                      <a:lnTo>
                        <a:pt x="750" y="724"/>
                      </a:lnTo>
                      <a:lnTo>
                        <a:pt x="748" y="724"/>
                      </a:lnTo>
                      <a:lnTo>
                        <a:pt x="748" y="723"/>
                      </a:lnTo>
                      <a:lnTo>
                        <a:pt x="750" y="723"/>
                      </a:lnTo>
                      <a:lnTo>
                        <a:pt x="750" y="721"/>
                      </a:lnTo>
                      <a:lnTo>
                        <a:pt x="750" y="719"/>
                      </a:lnTo>
                      <a:lnTo>
                        <a:pt x="751" y="719"/>
                      </a:lnTo>
                      <a:lnTo>
                        <a:pt x="750" y="719"/>
                      </a:lnTo>
                      <a:lnTo>
                        <a:pt x="751" y="718"/>
                      </a:lnTo>
                      <a:lnTo>
                        <a:pt x="750" y="718"/>
                      </a:lnTo>
                      <a:lnTo>
                        <a:pt x="750" y="719"/>
                      </a:lnTo>
                      <a:lnTo>
                        <a:pt x="750" y="718"/>
                      </a:lnTo>
                      <a:lnTo>
                        <a:pt x="748" y="719"/>
                      </a:lnTo>
                      <a:lnTo>
                        <a:pt x="748" y="718"/>
                      </a:lnTo>
                      <a:lnTo>
                        <a:pt x="746" y="718"/>
                      </a:lnTo>
                      <a:lnTo>
                        <a:pt x="745" y="718"/>
                      </a:lnTo>
                      <a:lnTo>
                        <a:pt x="745" y="719"/>
                      </a:lnTo>
                      <a:lnTo>
                        <a:pt x="743" y="719"/>
                      </a:lnTo>
                      <a:lnTo>
                        <a:pt x="743" y="718"/>
                      </a:lnTo>
                      <a:lnTo>
                        <a:pt x="741" y="719"/>
                      </a:lnTo>
                      <a:lnTo>
                        <a:pt x="741" y="718"/>
                      </a:lnTo>
                      <a:lnTo>
                        <a:pt x="741" y="716"/>
                      </a:lnTo>
                      <a:lnTo>
                        <a:pt x="740" y="716"/>
                      </a:lnTo>
                      <a:lnTo>
                        <a:pt x="738" y="716"/>
                      </a:lnTo>
                      <a:lnTo>
                        <a:pt x="736" y="716"/>
                      </a:lnTo>
                      <a:lnTo>
                        <a:pt x="735" y="718"/>
                      </a:lnTo>
                      <a:lnTo>
                        <a:pt x="733" y="718"/>
                      </a:lnTo>
                      <a:lnTo>
                        <a:pt x="733" y="716"/>
                      </a:lnTo>
                      <a:lnTo>
                        <a:pt x="731" y="716"/>
                      </a:lnTo>
                      <a:lnTo>
                        <a:pt x="730" y="716"/>
                      </a:lnTo>
                      <a:lnTo>
                        <a:pt x="728" y="716"/>
                      </a:lnTo>
                      <a:lnTo>
                        <a:pt x="728" y="718"/>
                      </a:lnTo>
                      <a:lnTo>
                        <a:pt x="726" y="719"/>
                      </a:lnTo>
                      <a:lnTo>
                        <a:pt x="724" y="719"/>
                      </a:lnTo>
                      <a:lnTo>
                        <a:pt x="723" y="719"/>
                      </a:lnTo>
                      <a:lnTo>
                        <a:pt x="723" y="721"/>
                      </a:lnTo>
                      <a:lnTo>
                        <a:pt x="721" y="721"/>
                      </a:lnTo>
                      <a:lnTo>
                        <a:pt x="719" y="721"/>
                      </a:lnTo>
                      <a:lnTo>
                        <a:pt x="719" y="723"/>
                      </a:lnTo>
                      <a:lnTo>
                        <a:pt x="718" y="723"/>
                      </a:lnTo>
                      <a:lnTo>
                        <a:pt x="716" y="723"/>
                      </a:lnTo>
                      <a:lnTo>
                        <a:pt x="714" y="723"/>
                      </a:lnTo>
                      <a:lnTo>
                        <a:pt x="714" y="721"/>
                      </a:lnTo>
                      <a:lnTo>
                        <a:pt x="713" y="723"/>
                      </a:lnTo>
                      <a:lnTo>
                        <a:pt x="711" y="723"/>
                      </a:lnTo>
                      <a:lnTo>
                        <a:pt x="709" y="723"/>
                      </a:lnTo>
                      <a:lnTo>
                        <a:pt x="709" y="724"/>
                      </a:lnTo>
                      <a:lnTo>
                        <a:pt x="709" y="723"/>
                      </a:lnTo>
                      <a:lnTo>
                        <a:pt x="708" y="723"/>
                      </a:lnTo>
                      <a:lnTo>
                        <a:pt x="708" y="721"/>
                      </a:lnTo>
                      <a:lnTo>
                        <a:pt x="706" y="721"/>
                      </a:lnTo>
                      <a:lnTo>
                        <a:pt x="706" y="723"/>
                      </a:lnTo>
                      <a:lnTo>
                        <a:pt x="704" y="723"/>
                      </a:lnTo>
                      <a:lnTo>
                        <a:pt x="702" y="723"/>
                      </a:lnTo>
                      <a:lnTo>
                        <a:pt x="702" y="721"/>
                      </a:lnTo>
                      <a:lnTo>
                        <a:pt x="701" y="721"/>
                      </a:lnTo>
                      <a:lnTo>
                        <a:pt x="701" y="723"/>
                      </a:lnTo>
                      <a:lnTo>
                        <a:pt x="699" y="723"/>
                      </a:lnTo>
                      <a:lnTo>
                        <a:pt x="699" y="724"/>
                      </a:lnTo>
                      <a:lnTo>
                        <a:pt x="699" y="723"/>
                      </a:lnTo>
                      <a:lnTo>
                        <a:pt x="697" y="723"/>
                      </a:lnTo>
                      <a:lnTo>
                        <a:pt x="696" y="723"/>
                      </a:lnTo>
                      <a:lnTo>
                        <a:pt x="694" y="723"/>
                      </a:lnTo>
                      <a:lnTo>
                        <a:pt x="694" y="724"/>
                      </a:lnTo>
                      <a:lnTo>
                        <a:pt x="692" y="724"/>
                      </a:lnTo>
                      <a:lnTo>
                        <a:pt x="691" y="723"/>
                      </a:lnTo>
                      <a:lnTo>
                        <a:pt x="691" y="721"/>
                      </a:lnTo>
                      <a:lnTo>
                        <a:pt x="691" y="723"/>
                      </a:lnTo>
                      <a:lnTo>
                        <a:pt x="689" y="721"/>
                      </a:lnTo>
                      <a:lnTo>
                        <a:pt x="689" y="723"/>
                      </a:lnTo>
                      <a:lnTo>
                        <a:pt x="687" y="723"/>
                      </a:lnTo>
                      <a:lnTo>
                        <a:pt x="686" y="723"/>
                      </a:lnTo>
                      <a:lnTo>
                        <a:pt x="686" y="724"/>
                      </a:lnTo>
                      <a:lnTo>
                        <a:pt x="684" y="724"/>
                      </a:lnTo>
                      <a:lnTo>
                        <a:pt x="682" y="724"/>
                      </a:lnTo>
                      <a:lnTo>
                        <a:pt x="681" y="724"/>
                      </a:lnTo>
                      <a:lnTo>
                        <a:pt x="681" y="726"/>
                      </a:lnTo>
                      <a:lnTo>
                        <a:pt x="681" y="724"/>
                      </a:lnTo>
                      <a:lnTo>
                        <a:pt x="679" y="724"/>
                      </a:lnTo>
                      <a:lnTo>
                        <a:pt x="679" y="726"/>
                      </a:lnTo>
                      <a:lnTo>
                        <a:pt x="677" y="726"/>
                      </a:lnTo>
                      <a:lnTo>
                        <a:pt x="675" y="727"/>
                      </a:lnTo>
                      <a:lnTo>
                        <a:pt x="674" y="727"/>
                      </a:lnTo>
                      <a:lnTo>
                        <a:pt x="672" y="729"/>
                      </a:lnTo>
                      <a:lnTo>
                        <a:pt x="670" y="729"/>
                      </a:lnTo>
                      <a:lnTo>
                        <a:pt x="669" y="729"/>
                      </a:lnTo>
                      <a:lnTo>
                        <a:pt x="669" y="731"/>
                      </a:lnTo>
                      <a:lnTo>
                        <a:pt x="669" y="729"/>
                      </a:lnTo>
                      <a:lnTo>
                        <a:pt x="669" y="731"/>
                      </a:lnTo>
                      <a:lnTo>
                        <a:pt x="667" y="731"/>
                      </a:lnTo>
                      <a:lnTo>
                        <a:pt x="667" y="729"/>
                      </a:lnTo>
                      <a:lnTo>
                        <a:pt x="665" y="729"/>
                      </a:lnTo>
                      <a:lnTo>
                        <a:pt x="664" y="729"/>
                      </a:lnTo>
                      <a:lnTo>
                        <a:pt x="664" y="731"/>
                      </a:lnTo>
                      <a:lnTo>
                        <a:pt x="662" y="731"/>
                      </a:lnTo>
                      <a:lnTo>
                        <a:pt x="660" y="731"/>
                      </a:lnTo>
                      <a:lnTo>
                        <a:pt x="660" y="732"/>
                      </a:lnTo>
                      <a:lnTo>
                        <a:pt x="659" y="732"/>
                      </a:lnTo>
                      <a:lnTo>
                        <a:pt x="659" y="731"/>
                      </a:lnTo>
                      <a:lnTo>
                        <a:pt x="659" y="732"/>
                      </a:lnTo>
                      <a:lnTo>
                        <a:pt x="657" y="732"/>
                      </a:lnTo>
                      <a:lnTo>
                        <a:pt x="657" y="734"/>
                      </a:lnTo>
                      <a:lnTo>
                        <a:pt x="657" y="736"/>
                      </a:lnTo>
                      <a:lnTo>
                        <a:pt x="655" y="734"/>
                      </a:lnTo>
                      <a:lnTo>
                        <a:pt x="655" y="736"/>
                      </a:lnTo>
                      <a:lnTo>
                        <a:pt x="654" y="736"/>
                      </a:lnTo>
                      <a:lnTo>
                        <a:pt x="654" y="737"/>
                      </a:lnTo>
                      <a:lnTo>
                        <a:pt x="652" y="737"/>
                      </a:lnTo>
                      <a:lnTo>
                        <a:pt x="652" y="736"/>
                      </a:lnTo>
                      <a:lnTo>
                        <a:pt x="652" y="737"/>
                      </a:lnTo>
                      <a:lnTo>
                        <a:pt x="652" y="736"/>
                      </a:lnTo>
                      <a:lnTo>
                        <a:pt x="650" y="737"/>
                      </a:lnTo>
                      <a:lnTo>
                        <a:pt x="652" y="737"/>
                      </a:lnTo>
                      <a:lnTo>
                        <a:pt x="650" y="737"/>
                      </a:lnTo>
                      <a:lnTo>
                        <a:pt x="648" y="739"/>
                      </a:lnTo>
                      <a:lnTo>
                        <a:pt x="647" y="739"/>
                      </a:lnTo>
                      <a:lnTo>
                        <a:pt x="645" y="741"/>
                      </a:lnTo>
                      <a:lnTo>
                        <a:pt x="645" y="739"/>
                      </a:lnTo>
                      <a:lnTo>
                        <a:pt x="645" y="741"/>
                      </a:lnTo>
                      <a:lnTo>
                        <a:pt x="645" y="739"/>
                      </a:lnTo>
                      <a:lnTo>
                        <a:pt x="643" y="741"/>
                      </a:lnTo>
                      <a:lnTo>
                        <a:pt x="643" y="739"/>
                      </a:lnTo>
                      <a:lnTo>
                        <a:pt x="643" y="737"/>
                      </a:lnTo>
                      <a:lnTo>
                        <a:pt x="643" y="739"/>
                      </a:lnTo>
                      <a:lnTo>
                        <a:pt x="643" y="737"/>
                      </a:lnTo>
                      <a:lnTo>
                        <a:pt x="642" y="737"/>
                      </a:lnTo>
                      <a:lnTo>
                        <a:pt x="640" y="739"/>
                      </a:lnTo>
                      <a:lnTo>
                        <a:pt x="640" y="737"/>
                      </a:lnTo>
                      <a:lnTo>
                        <a:pt x="640" y="739"/>
                      </a:lnTo>
                      <a:lnTo>
                        <a:pt x="638" y="739"/>
                      </a:lnTo>
                      <a:lnTo>
                        <a:pt x="637" y="739"/>
                      </a:lnTo>
                      <a:lnTo>
                        <a:pt x="635" y="739"/>
                      </a:lnTo>
                      <a:lnTo>
                        <a:pt x="633" y="739"/>
                      </a:lnTo>
                      <a:lnTo>
                        <a:pt x="633" y="741"/>
                      </a:lnTo>
                      <a:lnTo>
                        <a:pt x="632" y="741"/>
                      </a:lnTo>
                      <a:lnTo>
                        <a:pt x="632" y="739"/>
                      </a:lnTo>
                      <a:lnTo>
                        <a:pt x="630" y="739"/>
                      </a:lnTo>
                      <a:lnTo>
                        <a:pt x="628" y="739"/>
                      </a:lnTo>
                      <a:lnTo>
                        <a:pt x="626" y="739"/>
                      </a:lnTo>
                      <a:lnTo>
                        <a:pt x="625" y="739"/>
                      </a:lnTo>
                      <a:lnTo>
                        <a:pt x="625" y="741"/>
                      </a:lnTo>
                      <a:lnTo>
                        <a:pt x="623" y="741"/>
                      </a:lnTo>
                      <a:lnTo>
                        <a:pt x="623" y="742"/>
                      </a:lnTo>
                      <a:lnTo>
                        <a:pt x="621" y="742"/>
                      </a:lnTo>
                      <a:lnTo>
                        <a:pt x="621" y="744"/>
                      </a:lnTo>
                      <a:lnTo>
                        <a:pt x="620" y="744"/>
                      </a:lnTo>
                      <a:lnTo>
                        <a:pt x="618" y="746"/>
                      </a:lnTo>
                      <a:lnTo>
                        <a:pt x="616" y="746"/>
                      </a:lnTo>
                      <a:lnTo>
                        <a:pt x="615" y="746"/>
                      </a:lnTo>
                      <a:lnTo>
                        <a:pt x="613" y="746"/>
                      </a:lnTo>
                      <a:lnTo>
                        <a:pt x="611" y="746"/>
                      </a:lnTo>
                      <a:lnTo>
                        <a:pt x="610" y="746"/>
                      </a:lnTo>
                      <a:lnTo>
                        <a:pt x="610" y="747"/>
                      </a:lnTo>
                      <a:lnTo>
                        <a:pt x="608" y="747"/>
                      </a:lnTo>
                      <a:lnTo>
                        <a:pt x="608" y="749"/>
                      </a:lnTo>
                      <a:lnTo>
                        <a:pt x="606" y="749"/>
                      </a:lnTo>
                      <a:lnTo>
                        <a:pt x="606" y="750"/>
                      </a:lnTo>
                      <a:lnTo>
                        <a:pt x="605" y="750"/>
                      </a:lnTo>
                      <a:lnTo>
                        <a:pt x="603" y="750"/>
                      </a:lnTo>
                      <a:lnTo>
                        <a:pt x="603" y="749"/>
                      </a:lnTo>
                      <a:lnTo>
                        <a:pt x="603" y="750"/>
                      </a:lnTo>
                      <a:lnTo>
                        <a:pt x="601" y="749"/>
                      </a:lnTo>
                      <a:lnTo>
                        <a:pt x="601" y="750"/>
                      </a:lnTo>
                      <a:lnTo>
                        <a:pt x="601" y="749"/>
                      </a:lnTo>
                      <a:lnTo>
                        <a:pt x="599" y="749"/>
                      </a:lnTo>
                      <a:lnTo>
                        <a:pt x="598" y="750"/>
                      </a:lnTo>
                      <a:lnTo>
                        <a:pt x="596" y="750"/>
                      </a:lnTo>
                      <a:lnTo>
                        <a:pt x="594" y="750"/>
                      </a:lnTo>
                      <a:lnTo>
                        <a:pt x="593" y="750"/>
                      </a:lnTo>
                      <a:lnTo>
                        <a:pt x="593" y="752"/>
                      </a:lnTo>
                      <a:lnTo>
                        <a:pt x="591" y="752"/>
                      </a:lnTo>
                      <a:lnTo>
                        <a:pt x="591" y="754"/>
                      </a:lnTo>
                      <a:lnTo>
                        <a:pt x="589" y="754"/>
                      </a:lnTo>
                      <a:lnTo>
                        <a:pt x="589" y="755"/>
                      </a:lnTo>
                      <a:lnTo>
                        <a:pt x="588" y="755"/>
                      </a:lnTo>
                      <a:lnTo>
                        <a:pt x="586" y="754"/>
                      </a:lnTo>
                      <a:lnTo>
                        <a:pt x="586" y="755"/>
                      </a:lnTo>
                      <a:lnTo>
                        <a:pt x="584" y="755"/>
                      </a:lnTo>
                      <a:lnTo>
                        <a:pt x="583" y="757"/>
                      </a:lnTo>
                      <a:lnTo>
                        <a:pt x="581" y="757"/>
                      </a:lnTo>
                      <a:lnTo>
                        <a:pt x="579" y="757"/>
                      </a:lnTo>
                      <a:lnTo>
                        <a:pt x="578" y="757"/>
                      </a:lnTo>
                      <a:lnTo>
                        <a:pt x="578" y="759"/>
                      </a:lnTo>
                      <a:lnTo>
                        <a:pt x="576" y="759"/>
                      </a:lnTo>
                      <a:lnTo>
                        <a:pt x="574" y="759"/>
                      </a:lnTo>
                      <a:lnTo>
                        <a:pt x="572" y="759"/>
                      </a:lnTo>
                      <a:lnTo>
                        <a:pt x="571" y="759"/>
                      </a:lnTo>
                      <a:lnTo>
                        <a:pt x="569" y="759"/>
                      </a:lnTo>
                      <a:lnTo>
                        <a:pt x="567" y="759"/>
                      </a:lnTo>
                      <a:lnTo>
                        <a:pt x="566" y="760"/>
                      </a:lnTo>
                      <a:lnTo>
                        <a:pt x="564" y="760"/>
                      </a:lnTo>
                      <a:lnTo>
                        <a:pt x="562" y="760"/>
                      </a:lnTo>
                      <a:lnTo>
                        <a:pt x="562" y="762"/>
                      </a:lnTo>
                      <a:lnTo>
                        <a:pt x="561" y="762"/>
                      </a:lnTo>
                      <a:lnTo>
                        <a:pt x="559" y="762"/>
                      </a:lnTo>
                      <a:lnTo>
                        <a:pt x="559" y="764"/>
                      </a:lnTo>
                      <a:lnTo>
                        <a:pt x="557" y="764"/>
                      </a:lnTo>
                      <a:lnTo>
                        <a:pt x="557" y="765"/>
                      </a:lnTo>
                      <a:lnTo>
                        <a:pt x="557" y="767"/>
                      </a:lnTo>
                      <a:lnTo>
                        <a:pt x="556" y="767"/>
                      </a:lnTo>
                      <a:lnTo>
                        <a:pt x="554" y="767"/>
                      </a:lnTo>
                      <a:lnTo>
                        <a:pt x="552" y="767"/>
                      </a:lnTo>
                      <a:lnTo>
                        <a:pt x="552" y="769"/>
                      </a:lnTo>
                      <a:lnTo>
                        <a:pt x="550" y="769"/>
                      </a:lnTo>
                      <a:lnTo>
                        <a:pt x="549" y="769"/>
                      </a:lnTo>
                      <a:lnTo>
                        <a:pt x="549" y="770"/>
                      </a:lnTo>
                      <a:lnTo>
                        <a:pt x="549" y="772"/>
                      </a:lnTo>
                      <a:lnTo>
                        <a:pt x="547" y="772"/>
                      </a:lnTo>
                      <a:lnTo>
                        <a:pt x="545" y="772"/>
                      </a:lnTo>
                      <a:lnTo>
                        <a:pt x="544" y="772"/>
                      </a:lnTo>
                      <a:lnTo>
                        <a:pt x="542" y="772"/>
                      </a:lnTo>
                      <a:lnTo>
                        <a:pt x="542" y="773"/>
                      </a:lnTo>
                      <a:lnTo>
                        <a:pt x="540" y="773"/>
                      </a:lnTo>
                      <a:lnTo>
                        <a:pt x="539" y="775"/>
                      </a:lnTo>
                      <a:lnTo>
                        <a:pt x="539" y="773"/>
                      </a:lnTo>
                      <a:lnTo>
                        <a:pt x="537" y="775"/>
                      </a:lnTo>
                      <a:lnTo>
                        <a:pt x="535" y="775"/>
                      </a:lnTo>
                      <a:lnTo>
                        <a:pt x="534" y="775"/>
                      </a:lnTo>
                      <a:lnTo>
                        <a:pt x="535" y="775"/>
                      </a:lnTo>
                      <a:lnTo>
                        <a:pt x="534" y="775"/>
                      </a:lnTo>
                      <a:lnTo>
                        <a:pt x="535" y="773"/>
                      </a:lnTo>
                      <a:lnTo>
                        <a:pt x="534" y="773"/>
                      </a:lnTo>
                      <a:lnTo>
                        <a:pt x="532" y="772"/>
                      </a:lnTo>
                      <a:lnTo>
                        <a:pt x="530" y="772"/>
                      </a:lnTo>
                      <a:lnTo>
                        <a:pt x="530" y="770"/>
                      </a:lnTo>
                      <a:lnTo>
                        <a:pt x="529" y="770"/>
                      </a:lnTo>
                      <a:lnTo>
                        <a:pt x="529" y="772"/>
                      </a:lnTo>
                      <a:lnTo>
                        <a:pt x="527" y="772"/>
                      </a:lnTo>
                      <a:lnTo>
                        <a:pt x="527" y="773"/>
                      </a:lnTo>
                      <a:lnTo>
                        <a:pt x="525" y="773"/>
                      </a:lnTo>
                      <a:lnTo>
                        <a:pt x="525" y="775"/>
                      </a:lnTo>
                      <a:lnTo>
                        <a:pt x="523" y="775"/>
                      </a:lnTo>
                      <a:lnTo>
                        <a:pt x="522" y="775"/>
                      </a:lnTo>
                      <a:lnTo>
                        <a:pt x="520" y="775"/>
                      </a:lnTo>
                      <a:lnTo>
                        <a:pt x="520" y="777"/>
                      </a:lnTo>
                      <a:lnTo>
                        <a:pt x="518" y="777"/>
                      </a:lnTo>
                      <a:lnTo>
                        <a:pt x="518" y="775"/>
                      </a:lnTo>
                      <a:lnTo>
                        <a:pt x="520" y="775"/>
                      </a:lnTo>
                      <a:lnTo>
                        <a:pt x="520" y="773"/>
                      </a:lnTo>
                      <a:lnTo>
                        <a:pt x="520" y="772"/>
                      </a:lnTo>
                      <a:lnTo>
                        <a:pt x="518" y="772"/>
                      </a:lnTo>
                      <a:lnTo>
                        <a:pt x="517" y="772"/>
                      </a:lnTo>
                      <a:lnTo>
                        <a:pt x="518" y="772"/>
                      </a:lnTo>
                      <a:lnTo>
                        <a:pt x="517" y="772"/>
                      </a:lnTo>
                      <a:lnTo>
                        <a:pt x="517" y="773"/>
                      </a:lnTo>
                      <a:lnTo>
                        <a:pt x="515" y="773"/>
                      </a:lnTo>
                      <a:lnTo>
                        <a:pt x="515" y="775"/>
                      </a:lnTo>
                      <a:lnTo>
                        <a:pt x="513" y="775"/>
                      </a:lnTo>
                      <a:lnTo>
                        <a:pt x="512" y="775"/>
                      </a:lnTo>
                      <a:lnTo>
                        <a:pt x="510" y="775"/>
                      </a:lnTo>
                      <a:lnTo>
                        <a:pt x="508" y="775"/>
                      </a:lnTo>
                      <a:lnTo>
                        <a:pt x="508" y="773"/>
                      </a:lnTo>
                      <a:lnTo>
                        <a:pt x="510" y="773"/>
                      </a:lnTo>
                      <a:lnTo>
                        <a:pt x="510" y="772"/>
                      </a:lnTo>
                      <a:lnTo>
                        <a:pt x="510" y="770"/>
                      </a:lnTo>
                      <a:lnTo>
                        <a:pt x="512" y="770"/>
                      </a:lnTo>
                      <a:lnTo>
                        <a:pt x="510" y="770"/>
                      </a:lnTo>
                      <a:lnTo>
                        <a:pt x="510" y="769"/>
                      </a:lnTo>
                      <a:lnTo>
                        <a:pt x="508" y="769"/>
                      </a:lnTo>
                      <a:lnTo>
                        <a:pt x="507" y="770"/>
                      </a:lnTo>
                      <a:lnTo>
                        <a:pt x="507" y="769"/>
                      </a:lnTo>
                      <a:lnTo>
                        <a:pt x="505" y="769"/>
                      </a:lnTo>
                      <a:lnTo>
                        <a:pt x="505" y="770"/>
                      </a:lnTo>
                      <a:lnTo>
                        <a:pt x="503" y="770"/>
                      </a:lnTo>
                      <a:lnTo>
                        <a:pt x="503" y="772"/>
                      </a:lnTo>
                      <a:lnTo>
                        <a:pt x="505" y="772"/>
                      </a:lnTo>
                      <a:lnTo>
                        <a:pt x="505" y="773"/>
                      </a:lnTo>
                      <a:lnTo>
                        <a:pt x="505" y="772"/>
                      </a:lnTo>
                      <a:lnTo>
                        <a:pt x="505" y="773"/>
                      </a:lnTo>
                      <a:lnTo>
                        <a:pt x="507" y="775"/>
                      </a:lnTo>
                      <a:lnTo>
                        <a:pt x="508" y="775"/>
                      </a:lnTo>
                      <a:lnTo>
                        <a:pt x="507" y="775"/>
                      </a:lnTo>
                      <a:lnTo>
                        <a:pt x="507" y="777"/>
                      </a:lnTo>
                      <a:lnTo>
                        <a:pt x="505" y="777"/>
                      </a:lnTo>
                      <a:lnTo>
                        <a:pt x="503" y="777"/>
                      </a:lnTo>
                      <a:lnTo>
                        <a:pt x="502" y="777"/>
                      </a:lnTo>
                      <a:lnTo>
                        <a:pt x="502" y="778"/>
                      </a:lnTo>
                      <a:lnTo>
                        <a:pt x="500" y="778"/>
                      </a:lnTo>
                      <a:lnTo>
                        <a:pt x="498" y="780"/>
                      </a:lnTo>
                      <a:lnTo>
                        <a:pt x="496" y="780"/>
                      </a:lnTo>
                      <a:lnTo>
                        <a:pt x="496" y="782"/>
                      </a:lnTo>
                      <a:lnTo>
                        <a:pt x="495" y="782"/>
                      </a:lnTo>
                      <a:lnTo>
                        <a:pt x="496" y="782"/>
                      </a:lnTo>
                      <a:lnTo>
                        <a:pt x="496" y="783"/>
                      </a:lnTo>
                      <a:lnTo>
                        <a:pt x="498" y="783"/>
                      </a:lnTo>
                      <a:lnTo>
                        <a:pt x="500" y="783"/>
                      </a:lnTo>
                      <a:lnTo>
                        <a:pt x="502" y="782"/>
                      </a:lnTo>
                      <a:lnTo>
                        <a:pt x="503" y="782"/>
                      </a:lnTo>
                      <a:lnTo>
                        <a:pt x="505" y="782"/>
                      </a:lnTo>
                      <a:lnTo>
                        <a:pt x="505" y="783"/>
                      </a:lnTo>
                      <a:lnTo>
                        <a:pt x="505" y="785"/>
                      </a:lnTo>
                      <a:lnTo>
                        <a:pt x="507" y="787"/>
                      </a:lnTo>
                      <a:lnTo>
                        <a:pt x="505" y="787"/>
                      </a:lnTo>
                      <a:lnTo>
                        <a:pt x="505" y="788"/>
                      </a:lnTo>
                      <a:lnTo>
                        <a:pt x="505" y="787"/>
                      </a:lnTo>
                      <a:lnTo>
                        <a:pt x="505" y="788"/>
                      </a:lnTo>
                      <a:lnTo>
                        <a:pt x="505" y="790"/>
                      </a:lnTo>
                      <a:lnTo>
                        <a:pt x="505" y="792"/>
                      </a:lnTo>
                      <a:lnTo>
                        <a:pt x="505" y="790"/>
                      </a:lnTo>
                      <a:lnTo>
                        <a:pt x="503" y="790"/>
                      </a:lnTo>
                      <a:lnTo>
                        <a:pt x="503" y="788"/>
                      </a:lnTo>
                      <a:lnTo>
                        <a:pt x="502" y="788"/>
                      </a:lnTo>
                      <a:lnTo>
                        <a:pt x="502" y="790"/>
                      </a:lnTo>
                      <a:lnTo>
                        <a:pt x="500" y="790"/>
                      </a:lnTo>
                      <a:lnTo>
                        <a:pt x="500" y="793"/>
                      </a:lnTo>
                      <a:lnTo>
                        <a:pt x="500" y="795"/>
                      </a:lnTo>
                      <a:lnTo>
                        <a:pt x="498" y="795"/>
                      </a:lnTo>
                      <a:lnTo>
                        <a:pt x="498" y="793"/>
                      </a:lnTo>
                      <a:lnTo>
                        <a:pt x="496" y="793"/>
                      </a:lnTo>
                      <a:lnTo>
                        <a:pt x="496" y="792"/>
                      </a:lnTo>
                      <a:lnTo>
                        <a:pt x="496" y="793"/>
                      </a:lnTo>
                      <a:lnTo>
                        <a:pt x="496" y="792"/>
                      </a:lnTo>
                      <a:lnTo>
                        <a:pt x="495" y="792"/>
                      </a:lnTo>
                      <a:lnTo>
                        <a:pt x="495" y="793"/>
                      </a:lnTo>
                      <a:lnTo>
                        <a:pt x="495" y="792"/>
                      </a:lnTo>
                      <a:lnTo>
                        <a:pt x="493" y="792"/>
                      </a:lnTo>
                      <a:lnTo>
                        <a:pt x="493" y="793"/>
                      </a:lnTo>
                      <a:lnTo>
                        <a:pt x="491" y="793"/>
                      </a:lnTo>
                      <a:lnTo>
                        <a:pt x="491" y="795"/>
                      </a:lnTo>
                      <a:lnTo>
                        <a:pt x="491" y="796"/>
                      </a:lnTo>
                      <a:lnTo>
                        <a:pt x="490" y="796"/>
                      </a:lnTo>
                      <a:lnTo>
                        <a:pt x="490" y="795"/>
                      </a:lnTo>
                      <a:lnTo>
                        <a:pt x="488" y="795"/>
                      </a:lnTo>
                      <a:lnTo>
                        <a:pt x="488" y="793"/>
                      </a:lnTo>
                      <a:lnTo>
                        <a:pt x="490" y="793"/>
                      </a:lnTo>
                      <a:lnTo>
                        <a:pt x="488" y="793"/>
                      </a:lnTo>
                      <a:lnTo>
                        <a:pt x="488" y="792"/>
                      </a:lnTo>
                      <a:lnTo>
                        <a:pt x="486" y="792"/>
                      </a:lnTo>
                      <a:lnTo>
                        <a:pt x="485" y="793"/>
                      </a:lnTo>
                      <a:lnTo>
                        <a:pt x="483" y="793"/>
                      </a:lnTo>
                      <a:lnTo>
                        <a:pt x="483" y="795"/>
                      </a:lnTo>
                      <a:lnTo>
                        <a:pt x="481" y="795"/>
                      </a:lnTo>
                      <a:lnTo>
                        <a:pt x="480" y="795"/>
                      </a:lnTo>
                      <a:lnTo>
                        <a:pt x="480" y="796"/>
                      </a:lnTo>
                      <a:lnTo>
                        <a:pt x="478" y="796"/>
                      </a:lnTo>
                      <a:lnTo>
                        <a:pt x="478" y="798"/>
                      </a:lnTo>
                      <a:lnTo>
                        <a:pt x="478" y="796"/>
                      </a:lnTo>
                      <a:lnTo>
                        <a:pt x="476" y="798"/>
                      </a:lnTo>
                      <a:lnTo>
                        <a:pt x="476" y="796"/>
                      </a:lnTo>
                      <a:lnTo>
                        <a:pt x="474" y="798"/>
                      </a:lnTo>
                      <a:lnTo>
                        <a:pt x="473" y="798"/>
                      </a:lnTo>
                      <a:lnTo>
                        <a:pt x="471" y="798"/>
                      </a:lnTo>
                      <a:lnTo>
                        <a:pt x="469" y="798"/>
                      </a:lnTo>
                      <a:lnTo>
                        <a:pt x="468" y="798"/>
                      </a:lnTo>
                      <a:lnTo>
                        <a:pt x="468" y="800"/>
                      </a:lnTo>
                      <a:lnTo>
                        <a:pt x="466" y="800"/>
                      </a:lnTo>
                      <a:lnTo>
                        <a:pt x="466" y="801"/>
                      </a:lnTo>
                      <a:lnTo>
                        <a:pt x="464" y="800"/>
                      </a:lnTo>
                      <a:lnTo>
                        <a:pt x="464" y="798"/>
                      </a:lnTo>
                      <a:lnTo>
                        <a:pt x="466" y="798"/>
                      </a:lnTo>
                      <a:lnTo>
                        <a:pt x="466" y="796"/>
                      </a:lnTo>
                      <a:lnTo>
                        <a:pt x="464" y="796"/>
                      </a:lnTo>
                      <a:lnTo>
                        <a:pt x="464" y="795"/>
                      </a:lnTo>
                      <a:lnTo>
                        <a:pt x="463" y="795"/>
                      </a:lnTo>
                      <a:lnTo>
                        <a:pt x="461" y="795"/>
                      </a:lnTo>
                      <a:lnTo>
                        <a:pt x="459" y="796"/>
                      </a:lnTo>
                      <a:lnTo>
                        <a:pt x="458" y="796"/>
                      </a:lnTo>
                      <a:lnTo>
                        <a:pt x="456" y="796"/>
                      </a:lnTo>
                      <a:lnTo>
                        <a:pt x="456" y="798"/>
                      </a:lnTo>
                      <a:lnTo>
                        <a:pt x="454" y="798"/>
                      </a:lnTo>
                      <a:lnTo>
                        <a:pt x="454" y="796"/>
                      </a:lnTo>
                      <a:lnTo>
                        <a:pt x="453" y="796"/>
                      </a:lnTo>
                      <a:lnTo>
                        <a:pt x="451" y="796"/>
                      </a:lnTo>
                      <a:lnTo>
                        <a:pt x="451" y="798"/>
                      </a:lnTo>
                      <a:lnTo>
                        <a:pt x="449" y="798"/>
                      </a:lnTo>
                      <a:lnTo>
                        <a:pt x="449" y="796"/>
                      </a:lnTo>
                      <a:lnTo>
                        <a:pt x="447" y="798"/>
                      </a:lnTo>
                      <a:lnTo>
                        <a:pt x="446" y="798"/>
                      </a:lnTo>
                      <a:lnTo>
                        <a:pt x="444" y="798"/>
                      </a:lnTo>
                      <a:lnTo>
                        <a:pt x="444" y="796"/>
                      </a:lnTo>
                      <a:lnTo>
                        <a:pt x="442" y="796"/>
                      </a:lnTo>
                      <a:lnTo>
                        <a:pt x="442" y="795"/>
                      </a:lnTo>
                      <a:lnTo>
                        <a:pt x="442" y="793"/>
                      </a:lnTo>
                      <a:lnTo>
                        <a:pt x="444" y="793"/>
                      </a:lnTo>
                      <a:lnTo>
                        <a:pt x="442" y="792"/>
                      </a:lnTo>
                      <a:lnTo>
                        <a:pt x="444" y="790"/>
                      </a:lnTo>
                      <a:lnTo>
                        <a:pt x="444" y="788"/>
                      </a:lnTo>
                      <a:lnTo>
                        <a:pt x="446" y="788"/>
                      </a:lnTo>
                      <a:lnTo>
                        <a:pt x="446" y="787"/>
                      </a:lnTo>
                      <a:lnTo>
                        <a:pt x="447" y="787"/>
                      </a:lnTo>
                      <a:lnTo>
                        <a:pt x="447" y="785"/>
                      </a:lnTo>
                      <a:lnTo>
                        <a:pt x="446" y="785"/>
                      </a:lnTo>
                      <a:lnTo>
                        <a:pt x="444" y="785"/>
                      </a:lnTo>
                      <a:lnTo>
                        <a:pt x="442" y="785"/>
                      </a:lnTo>
                      <a:lnTo>
                        <a:pt x="442" y="783"/>
                      </a:lnTo>
                      <a:lnTo>
                        <a:pt x="441" y="783"/>
                      </a:lnTo>
                      <a:lnTo>
                        <a:pt x="439" y="783"/>
                      </a:lnTo>
                      <a:lnTo>
                        <a:pt x="437" y="783"/>
                      </a:lnTo>
                      <a:lnTo>
                        <a:pt x="437" y="782"/>
                      </a:lnTo>
                      <a:lnTo>
                        <a:pt x="436" y="783"/>
                      </a:lnTo>
                      <a:lnTo>
                        <a:pt x="436" y="782"/>
                      </a:lnTo>
                      <a:lnTo>
                        <a:pt x="436" y="783"/>
                      </a:lnTo>
                      <a:lnTo>
                        <a:pt x="436" y="782"/>
                      </a:lnTo>
                      <a:lnTo>
                        <a:pt x="436" y="780"/>
                      </a:lnTo>
                      <a:lnTo>
                        <a:pt x="434" y="780"/>
                      </a:lnTo>
                      <a:lnTo>
                        <a:pt x="434" y="778"/>
                      </a:lnTo>
                      <a:lnTo>
                        <a:pt x="432" y="778"/>
                      </a:lnTo>
                      <a:lnTo>
                        <a:pt x="434" y="778"/>
                      </a:lnTo>
                      <a:lnTo>
                        <a:pt x="434" y="777"/>
                      </a:lnTo>
                      <a:lnTo>
                        <a:pt x="434" y="778"/>
                      </a:lnTo>
                      <a:lnTo>
                        <a:pt x="436" y="777"/>
                      </a:lnTo>
                      <a:lnTo>
                        <a:pt x="437" y="777"/>
                      </a:lnTo>
                      <a:lnTo>
                        <a:pt x="439" y="777"/>
                      </a:lnTo>
                      <a:lnTo>
                        <a:pt x="441" y="777"/>
                      </a:lnTo>
                      <a:lnTo>
                        <a:pt x="439" y="777"/>
                      </a:lnTo>
                      <a:lnTo>
                        <a:pt x="441" y="777"/>
                      </a:lnTo>
                      <a:lnTo>
                        <a:pt x="441" y="775"/>
                      </a:lnTo>
                      <a:lnTo>
                        <a:pt x="439" y="775"/>
                      </a:lnTo>
                      <a:lnTo>
                        <a:pt x="439" y="773"/>
                      </a:lnTo>
                      <a:lnTo>
                        <a:pt x="441" y="773"/>
                      </a:lnTo>
                      <a:lnTo>
                        <a:pt x="439" y="772"/>
                      </a:lnTo>
                      <a:lnTo>
                        <a:pt x="439" y="770"/>
                      </a:lnTo>
                      <a:lnTo>
                        <a:pt x="439" y="769"/>
                      </a:lnTo>
                      <a:lnTo>
                        <a:pt x="437" y="769"/>
                      </a:lnTo>
                      <a:lnTo>
                        <a:pt x="437" y="767"/>
                      </a:lnTo>
                      <a:lnTo>
                        <a:pt x="439" y="767"/>
                      </a:lnTo>
                      <a:lnTo>
                        <a:pt x="439" y="765"/>
                      </a:lnTo>
                      <a:lnTo>
                        <a:pt x="441" y="765"/>
                      </a:lnTo>
                      <a:lnTo>
                        <a:pt x="439" y="765"/>
                      </a:lnTo>
                      <a:lnTo>
                        <a:pt x="437" y="765"/>
                      </a:lnTo>
                      <a:lnTo>
                        <a:pt x="436" y="764"/>
                      </a:lnTo>
                      <a:lnTo>
                        <a:pt x="434" y="764"/>
                      </a:lnTo>
                      <a:lnTo>
                        <a:pt x="432" y="764"/>
                      </a:lnTo>
                      <a:lnTo>
                        <a:pt x="432" y="762"/>
                      </a:lnTo>
                      <a:lnTo>
                        <a:pt x="431" y="764"/>
                      </a:lnTo>
                      <a:lnTo>
                        <a:pt x="431" y="762"/>
                      </a:lnTo>
                      <a:lnTo>
                        <a:pt x="427" y="760"/>
                      </a:lnTo>
                      <a:lnTo>
                        <a:pt x="429" y="759"/>
                      </a:lnTo>
                      <a:lnTo>
                        <a:pt x="427" y="759"/>
                      </a:lnTo>
                      <a:lnTo>
                        <a:pt x="425" y="759"/>
                      </a:lnTo>
                      <a:lnTo>
                        <a:pt x="427" y="757"/>
                      </a:lnTo>
                      <a:lnTo>
                        <a:pt x="425" y="757"/>
                      </a:lnTo>
                      <a:lnTo>
                        <a:pt x="424" y="757"/>
                      </a:lnTo>
                      <a:lnTo>
                        <a:pt x="424" y="755"/>
                      </a:lnTo>
                      <a:lnTo>
                        <a:pt x="422" y="755"/>
                      </a:lnTo>
                      <a:lnTo>
                        <a:pt x="422" y="757"/>
                      </a:lnTo>
                      <a:lnTo>
                        <a:pt x="420" y="755"/>
                      </a:lnTo>
                      <a:lnTo>
                        <a:pt x="419" y="755"/>
                      </a:lnTo>
                      <a:lnTo>
                        <a:pt x="417" y="755"/>
                      </a:lnTo>
                      <a:lnTo>
                        <a:pt x="417" y="754"/>
                      </a:lnTo>
                      <a:lnTo>
                        <a:pt x="415" y="754"/>
                      </a:lnTo>
                      <a:lnTo>
                        <a:pt x="415" y="752"/>
                      </a:lnTo>
                      <a:lnTo>
                        <a:pt x="415" y="750"/>
                      </a:lnTo>
                      <a:lnTo>
                        <a:pt x="415" y="749"/>
                      </a:lnTo>
                      <a:lnTo>
                        <a:pt x="414" y="749"/>
                      </a:lnTo>
                      <a:lnTo>
                        <a:pt x="414" y="747"/>
                      </a:lnTo>
                      <a:lnTo>
                        <a:pt x="412" y="747"/>
                      </a:lnTo>
                      <a:lnTo>
                        <a:pt x="412" y="746"/>
                      </a:lnTo>
                      <a:lnTo>
                        <a:pt x="410" y="746"/>
                      </a:lnTo>
                      <a:lnTo>
                        <a:pt x="410" y="744"/>
                      </a:lnTo>
                      <a:lnTo>
                        <a:pt x="412" y="744"/>
                      </a:lnTo>
                      <a:lnTo>
                        <a:pt x="412" y="742"/>
                      </a:lnTo>
                      <a:lnTo>
                        <a:pt x="410" y="742"/>
                      </a:lnTo>
                      <a:lnTo>
                        <a:pt x="412" y="742"/>
                      </a:lnTo>
                      <a:lnTo>
                        <a:pt x="412" y="741"/>
                      </a:lnTo>
                      <a:lnTo>
                        <a:pt x="410" y="741"/>
                      </a:lnTo>
                      <a:lnTo>
                        <a:pt x="410" y="739"/>
                      </a:lnTo>
                      <a:lnTo>
                        <a:pt x="412" y="739"/>
                      </a:lnTo>
                      <a:lnTo>
                        <a:pt x="414" y="739"/>
                      </a:lnTo>
                      <a:lnTo>
                        <a:pt x="414" y="737"/>
                      </a:lnTo>
                      <a:lnTo>
                        <a:pt x="412" y="737"/>
                      </a:lnTo>
                      <a:lnTo>
                        <a:pt x="414" y="737"/>
                      </a:lnTo>
                      <a:lnTo>
                        <a:pt x="414" y="736"/>
                      </a:lnTo>
                      <a:lnTo>
                        <a:pt x="414" y="734"/>
                      </a:lnTo>
                      <a:lnTo>
                        <a:pt x="415" y="732"/>
                      </a:lnTo>
                      <a:lnTo>
                        <a:pt x="415" y="731"/>
                      </a:lnTo>
                      <a:lnTo>
                        <a:pt x="415" y="732"/>
                      </a:lnTo>
                      <a:lnTo>
                        <a:pt x="417" y="732"/>
                      </a:lnTo>
                      <a:lnTo>
                        <a:pt x="417" y="731"/>
                      </a:lnTo>
                      <a:lnTo>
                        <a:pt x="419" y="729"/>
                      </a:lnTo>
                      <a:lnTo>
                        <a:pt x="420" y="729"/>
                      </a:lnTo>
                      <a:lnTo>
                        <a:pt x="422" y="727"/>
                      </a:lnTo>
                      <a:lnTo>
                        <a:pt x="420" y="727"/>
                      </a:lnTo>
                      <a:lnTo>
                        <a:pt x="420" y="726"/>
                      </a:lnTo>
                      <a:lnTo>
                        <a:pt x="419" y="726"/>
                      </a:lnTo>
                      <a:lnTo>
                        <a:pt x="419" y="724"/>
                      </a:lnTo>
                      <a:lnTo>
                        <a:pt x="417" y="724"/>
                      </a:lnTo>
                      <a:lnTo>
                        <a:pt x="415" y="724"/>
                      </a:lnTo>
                      <a:lnTo>
                        <a:pt x="414" y="724"/>
                      </a:lnTo>
                      <a:lnTo>
                        <a:pt x="412" y="724"/>
                      </a:lnTo>
                      <a:lnTo>
                        <a:pt x="410" y="724"/>
                      </a:lnTo>
                      <a:lnTo>
                        <a:pt x="410" y="723"/>
                      </a:lnTo>
                      <a:lnTo>
                        <a:pt x="412" y="723"/>
                      </a:lnTo>
                      <a:lnTo>
                        <a:pt x="414" y="723"/>
                      </a:lnTo>
                      <a:lnTo>
                        <a:pt x="415" y="723"/>
                      </a:lnTo>
                      <a:lnTo>
                        <a:pt x="415" y="721"/>
                      </a:lnTo>
                      <a:lnTo>
                        <a:pt x="414" y="721"/>
                      </a:lnTo>
                      <a:lnTo>
                        <a:pt x="414" y="719"/>
                      </a:lnTo>
                      <a:lnTo>
                        <a:pt x="414" y="718"/>
                      </a:lnTo>
                      <a:lnTo>
                        <a:pt x="415" y="718"/>
                      </a:lnTo>
                      <a:lnTo>
                        <a:pt x="417" y="718"/>
                      </a:lnTo>
                      <a:lnTo>
                        <a:pt x="417" y="716"/>
                      </a:lnTo>
                      <a:lnTo>
                        <a:pt x="419" y="716"/>
                      </a:lnTo>
                      <a:lnTo>
                        <a:pt x="419" y="718"/>
                      </a:lnTo>
                      <a:lnTo>
                        <a:pt x="420" y="718"/>
                      </a:lnTo>
                      <a:lnTo>
                        <a:pt x="420" y="716"/>
                      </a:lnTo>
                      <a:lnTo>
                        <a:pt x="420" y="714"/>
                      </a:lnTo>
                      <a:lnTo>
                        <a:pt x="419" y="714"/>
                      </a:lnTo>
                      <a:lnTo>
                        <a:pt x="417" y="713"/>
                      </a:lnTo>
                      <a:lnTo>
                        <a:pt x="417" y="711"/>
                      </a:lnTo>
                      <a:lnTo>
                        <a:pt x="417" y="709"/>
                      </a:lnTo>
                      <a:lnTo>
                        <a:pt x="415" y="709"/>
                      </a:lnTo>
                      <a:lnTo>
                        <a:pt x="415" y="708"/>
                      </a:lnTo>
                      <a:lnTo>
                        <a:pt x="415" y="706"/>
                      </a:lnTo>
                      <a:lnTo>
                        <a:pt x="417" y="706"/>
                      </a:lnTo>
                      <a:lnTo>
                        <a:pt x="417" y="704"/>
                      </a:lnTo>
                      <a:lnTo>
                        <a:pt x="415" y="704"/>
                      </a:lnTo>
                      <a:lnTo>
                        <a:pt x="415" y="703"/>
                      </a:lnTo>
                      <a:lnTo>
                        <a:pt x="415" y="701"/>
                      </a:lnTo>
                      <a:lnTo>
                        <a:pt x="414" y="701"/>
                      </a:lnTo>
                      <a:lnTo>
                        <a:pt x="414" y="700"/>
                      </a:lnTo>
                      <a:lnTo>
                        <a:pt x="415" y="698"/>
                      </a:lnTo>
                      <a:lnTo>
                        <a:pt x="417" y="696"/>
                      </a:lnTo>
                      <a:lnTo>
                        <a:pt x="417" y="695"/>
                      </a:lnTo>
                      <a:lnTo>
                        <a:pt x="419" y="695"/>
                      </a:lnTo>
                      <a:lnTo>
                        <a:pt x="419" y="693"/>
                      </a:lnTo>
                      <a:lnTo>
                        <a:pt x="419" y="691"/>
                      </a:lnTo>
                      <a:lnTo>
                        <a:pt x="419" y="690"/>
                      </a:lnTo>
                      <a:lnTo>
                        <a:pt x="419" y="688"/>
                      </a:lnTo>
                      <a:lnTo>
                        <a:pt x="419" y="686"/>
                      </a:lnTo>
                      <a:lnTo>
                        <a:pt x="419" y="685"/>
                      </a:lnTo>
                      <a:lnTo>
                        <a:pt x="420" y="686"/>
                      </a:lnTo>
                      <a:lnTo>
                        <a:pt x="422" y="686"/>
                      </a:lnTo>
                      <a:lnTo>
                        <a:pt x="424" y="686"/>
                      </a:lnTo>
                      <a:lnTo>
                        <a:pt x="425" y="686"/>
                      </a:lnTo>
                      <a:lnTo>
                        <a:pt x="425" y="685"/>
                      </a:lnTo>
                      <a:lnTo>
                        <a:pt x="425" y="683"/>
                      </a:lnTo>
                      <a:lnTo>
                        <a:pt x="427" y="683"/>
                      </a:lnTo>
                      <a:lnTo>
                        <a:pt x="425" y="683"/>
                      </a:lnTo>
                      <a:lnTo>
                        <a:pt x="425" y="681"/>
                      </a:lnTo>
                      <a:lnTo>
                        <a:pt x="427" y="681"/>
                      </a:lnTo>
                      <a:lnTo>
                        <a:pt x="427" y="680"/>
                      </a:lnTo>
                      <a:lnTo>
                        <a:pt x="429" y="680"/>
                      </a:lnTo>
                      <a:lnTo>
                        <a:pt x="429" y="678"/>
                      </a:lnTo>
                      <a:lnTo>
                        <a:pt x="429" y="677"/>
                      </a:lnTo>
                      <a:lnTo>
                        <a:pt x="431" y="677"/>
                      </a:lnTo>
                      <a:lnTo>
                        <a:pt x="431" y="675"/>
                      </a:lnTo>
                      <a:lnTo>
                        <a:pt x="431" y="673"/>
                      </a:lnTo>
                      <a:lnTo>
                        <a:pt x="429" y="673"/>
                      </a:lnTo>
                      <a:lnTo>
                        <a:pt x="429" y="672"/>
                      </a:lnTo>
                      <a:lnTo>
                        <a:pt x="429" y="670"/>
                      </a:lnTo>
                      <a:lnTo>
                        <a:pt x="431" y="668"/>
                      </a:lnTo>
                      <a:lnTo>
                        <a:pt x="431" y="667"/>
                      </a:lnTo>
                      <a:lnTo>
                        <a:pt x="429" y="667"/>
                      </a:lnTo>
                      <a:lnTo>
                        <a:pt x="429" y="665"/>
                      </a:lnTo>
                      <a:lnTo>
                        <a:pt x="427" y="665"/>
                      </a:lnTo>
                      <a:lnTo>
                        <a:pt x="427" y="663"/>
                      </a:lnTo>
                      <a:lnTo>
                        <a:pt x="425" y="663"/>
                      </a:lnTo>
                      <a:lnTo>
                        <a:pt x="424" y="663"/>
                      </a:lnTo>
                      <a:lnTo>
                        <a:pt x="422" y="663"/>
                      </a:lnTo>
                      <a:lnTo>
                        <a:pt x="420" y="665"/>
                      </a:lnTo>
                      <a:lnTo>
                        <a:pt x="420" y="663"/>
                      </a:lnTo>
                      <a:lnTo>
                        <a:pt x="420" y="662"/>
                      </a:lnTo>
                      <a:lnTo>
                        <a:pt x="419" y="662"/>
                      </a:lnTo>
                      <a:lnTo>
                        <a:pt x="417" y="660"/>
                      </a:lnTo>
                      <a:lnTo>
                        <a:pt x="419" y="660"/>
                      </a:lnTo>
                      <a:lnTo>
                        <a:pt x="417" y="660"/>
                      </a:lnTo>
                      <a:lnTo>
                        <a:pt x="417" y="659"/>
                      </a:lnTo>
                      <a:lnTo>
                        <a:pt x="417" y="657"/>
                      </a:lnTo>
                      <a:lnTo>
                        <a:pt x="415" y="657"/>
                      </a:lnTo>
                      <a:lnTo>
                        <a:pt x="415" y="659"/>
                      </a:lnTo>
                      <a:lnTo>
                        <a:pt x="414" y="659"/>
                      </a:lnTo>
                      <a:lnTo>
                        <a:pt x="412" y="659"/>
                      </a:lnTo>
                      <a:lnTo>
                        <a:pt x="412" y="660"/>
                      </a:lnTo>
                      <a:lnTo>
                        <a:pt x="410" y="660"/>
                      </a:lnTo>
                      <a:lnTo>
                        <a:pt x="410" y="659"/>
                      </a:lnTo>
                      <a:lnTo>
                        <a:pt x="410" y="660"/>
                      </a:lnTo>
                      <a:lnTo>
                        <a:pt x="409" y="660"/>
                      </a:lnTo>
                      <a:lnTo>
                        <a:pt x="409" y="659"/>
                      </a:lnTo>
                      <a:lnTo>
                        <a:pt x="407" y="659"/>
                      </a:lnTo>
                      <a:lnTo>
                        <a:pt x="407" y="657"/>
                      </a:lnTo>
                      <a:lnTo>
                        <a:pt x="405" y="657"/>
                      </a:lnTo>
                      <a:lnTo>
                        <a:pt x="404" y="657"/>
                      </a:lnTo>
                      <a:lnTo>
                        <a:pt x="404" y="659"/>
                      </a:lnTo>
                      <a:lnTo>
                        <a:pt x="404" y="657"/>
                      </a:lnTo>
                      <a:lnTo>
                        <a:pt x="402" y="657"/>
                      </a:lnTo>
                      <a:lnTo>
                        <a:pt x="400" y="657"/>
                      </a:lnTo>
                      <a:lnTo>
                        <a:pt x="398" y="657"/>
                      </a:lnTo>
                      <a:lnTo>
                        <a:pt x="398" y="659"/>
                      </a:lnTo>
                      <a:lnTo>
                        <a:pt x="400" y="659"/>
                      </a:lnTo>
                      <a:lnTo>
                        <a:pt x="398" y="659"/>
                      </a:lnTo>
                      <a:lnTo>
                        <a:pt x="397" y="659"/>
                      </a:lnTo>
                      <a:lnTo>
                        <a:pt x="397" y="660"/>
                      </a:lnTo>
                      <a:lnTo>
                        <a:pt x="395" y="660"/>
                      </a:lnTo>
                      <a:lnTo>
                        <a:pt x="393" y="662"/>
                      </a:lnTo>
                      <a:lnTo>
                        <a:pt x="392" y="662"/>
                      </a:lnTo>
                      <a:lnTo>
                        <a:pt x="392" y="663"/>
                      </a:lnTo>
                      <a:lnTo>
                        <a:pt x="390" y="662"/>
                      </a:lnTo>
                      <a:lnTo>
                        <a:pt x="388" y="662"/>
                      </a:lnTo>
                      <a:lnTo>
                        <a:pt x="387" y="662"/>
                      </a:lnTo>
                      <a:lnTo>
                        <a:pt x="385" y="662"/>
                      </a:lnTo>
                      <a:lnTo>
                        <a:pt x="385" y="663"/>
                      </a:lnTo>
                      <a:lnTo>
                        <a:pt x="385" y="662"/>
                      </a:lnTo>
                      <a:lnTo>
                        <a:pt x="383" y="662"/>
                      </a:lnTo>
                      <a:lnTo>
                        <a:pt x="383" y="660"/>
                      </a:lnTo>
                      <a:lnTo>
                        <a:pt x="382" y="660"/>
                      </a:lnTo>
                      <a:lnTo>
                        <a:pt x="383" y="660"/>
                      </a:lnTo>
                      <a:lnTo>
                        <a:pt x="383" y="659"/>
                      </a:lnTo>
                      <a:lnTo>
                        <a:pt x="383" y="657"/>
                      </a:lnTo>
                      <a:lnTo>
                        <a:pt x="383" y="655"/>
                      </a:lnTo>
                      <a:lnTo>
                        <a:pt x="382" y="655"/>
                      </a:lnTo>
                      <a:lnTo>
                        <a:pt x="382" y="654"/>
                      </a:lnTo>
                      <a:lnTo>
                        <a:pt x="382" y="652"/>
                      </a:lnTo>
                      <a:lnTo>
                        <a:pt x="380" y="652"/>
                      </a:lnTo>
                      <a:lnTo>
                        <a:pt x="382" y="652"/>
                      </a:lnTo>
                      <a:lnTo>
                        <a:pt x="382" y="650"/>
                      </a:lnTo>
                      <a:lnTo>
                        <a:pt x="380" y="650"/>
                      </a:lnTo>
                      <a:lnTo>
                        <a:pt x="380" y="649"/>
                      </a:lnTo>
                      <a:lnTo>
                        <a:pt x="380" y="647"/>
                      </a:lnTo>
                      <a:lnTo>
                        <a:pt x="378" y="647"/>
                      </a:lnTo>
                      <a:lnTo>
                        <a:pt x="378" y="645"/>
                      </a:lnTo>
                      <a:lnTo>
                        <a:pt x="377" y="645"/>
                      </a:lnTo>
                      <a:lnTo>
                        <a:pt x="377" y="644"/>
                      </a:lnTo>
                      <a:lnTo>
                        <a:pt x="378" y="642"/>
                      </a:lnTo>
                      <a:lnTo>
                        <a:pt x="377" y="642"/>
                      </a:lnTo>
                      <a:lnTo>
                        <a:pt x="375" y="642"/>
                      </a:lnTo>
                      <a:lnTo>
                        <a:pt x="375" y="644"/>
                      </a:lnTo>
                      <a:lnTo>
                        <a:pt x="375" y="642"/>
                      </a:lnTo>
                      <a:lnTo>
                        <a:pt x="373" y="642"/>
                      </a:lnTo>
                      <a:lnTo>
                        <a:pt x="373" y="640"/>
                      </a:lnTo>
                      <a:lnTo>
                        <a:pt x="373" y="639"/>
                      </a:lnTo>
                      <a:lnTo>
                        <a:pt x="371" y="639"/>
                      </a:lnTo>
                      <a:lnTo>
                        <a:pt x="373" y="637"/>
                      </a:lnTo>
                      <a:lnTo>
                        <a:pt x="371" y="637"/>
                      </a:lnTo>
                      <a:lnTo>
                        <a:pt x="371" y="636"/>
                      </a:lnTo>
                      <a:lnTo>
                        <a:pt x="371" y="634"/>
                      </a:lnTo>
                      <a:lnTo>
                        <a:pt x="373" y="634"/>
                      </a:lnTo>
                      <a:lnTo>
                        <a:pt x="373" y="632"/>
                      </a:lnTo>
                      <a:lnTo>
                        <a:pt x="371" y="632"/>
                      </a:lnTo>
                      <a:lnTo>
                        <a:pt x="371" y="631"/>
                      </a:lnTo>
                      <a:lnTo>
                        <a:pt x="370" y="632"/>
                      </a:lnTo>
                      <a:lnTo>
                        <a:pt x="370" y="629"/>
                      </a:lnTo>
                      <a:lnTo>
                        <a:pt x="370" y="627"/>
                      </a:lnTo>
                      <a:lnTo>
                        <a:pt x="370" y="626"/>
                      </a:lnTo>
                      <a:lnTo>
                        <a:pt x="368" y="626"/>
                      </a:lnTo>
                      <a:lnTo>
                        <a:pt x="370" y="624"/>
                      </a:lnTo>
                      <a:lnTo>
                        <a:pt x="370" y="622"/>
                      </a:lnTo>
                      <a:lnTo>
                        <a:pt x="370" y="621"/>
                      </a:lnTo>
                      <a:lnTo>
                        <a:pt x="368" y="621"/>
                      </a:lnTo>
                      <a:lnTo>
                        <a:pt x="368" y="619"/>
                      </a:lnTo>
                      <a:lnTo>
                        <a:pt x="366" y="619"/>
                      </a:lnTo>
                      <a:lnTo>
                        <a:pt x="365" y="617"/>
                      </a:lnTo>
                      <a:lnTo>
                        <a:pt x="366" y="617"/>
                      </a:lnTo>
                      <a:lnTo>
                        <a:pt x="363" y="616"/>
                      </a:lnTo>
                      <a:lnTo>
                        <a:pt x="361" y="613"/>
                      </a:lnTo>
                      <a:lnTo>
                        <a:pt x="363" y="609"/>
                      </a:lnTo>
                      <a:lnTo>
                        <a:pt x="363" y="608"/>
                      </a:lnTo>
                      <a:lnTo>
                        <a:pt x="363" y="606"/>
                      </a:lnTo>
                      <a:lnTo>
                        <a:pt x="363" y="604"/>
                      </a:lnTo>
                      <a:lnTo>
                        <a:pt x="363" y="603"/>
                      </a:lnTo>
                      <a:lnTo>
                        <a:pt x="365" y="603"/>
                      </a:lnTo>
                      <a:lnTo>
                        <a:pt x="366" y="603"/>
                      </a:lnTo>
                      <a:lnTo>
                        <a:pt x="366" y="601"/>
                      </a:lnTo>
                      <a:lnTo>
                        <a:pt x="366" y="599"/>
                      </a:lnTo>
                      <a:lnTo>
                        <a:pt x="366" y="598"/>
                      </a:lnTo>
                      <a:lnTo>
                        <a:pt x="368" y="598"/>
                      </a:lnTo>
                      <a:lnTo>
                        <a:pt x="368" y="596"/>
                      </a:lnTo>
                      <a:lnTo>
                        <a:pt x="370" y="596"/>
                      </a:lnTo>
                      <a:lnTo>
                        <a:pt x="371" y="596"/>
                      </a:lnTo>
                      <a:lnTo>
                        <a:pt x="373" y="596"/>
                      </a:lnTo>
                      <a:lnTo>
                        <a:pt x="373" y="594"/>
                      </a:lnTo>
                      <a:lnTo>
                        <a:pt x="375" y="594"/>
                      </a:lnTo>
                      <a:lnTo>
                        <a:pt x="373" y="593"/>
                      </a:lnTo>
                      <a:lnTo>
                        <a:pt x="375" y="593"/>
                      </a:lnTo>
                      <a:lnTo>
                        <a:pt x="375" y="591"/>
                      </a:lnTo>
                      <a:lnTo>
                        <a:pt x="373" y="590"/>
                      </a:lnTo>
                      <a:lnTo>
                        <a:pt x="373" y="588"/>
                      </a:lnTo>
                      <a:lnTo>
                        <a:pt x="371" y="588"/>
                      </a:lnTo>
                      <a:lnTo>
                        <a:pt x="371" y="586"/>
                      </a:lnTo>
                      <a:lnTo>
                        <a:pt x="371" y="585"/>
                      </a:lnTo>
                      <a:lnTo>
                        <a:pt x="370" y="583"/>
                      </a:lnTo>
                      <a:lnTo>
                        <a:pt x="371" y="583"/>
                      </a:lnTo>
                      <a:lnTo>
                        <a:pt x="370" y="581"/>
                      </a:lnTo>
                      <a:lnTo>
                        <a:pt x="370" y="580"/>
                      </a:lnTo>
                      <a:lnTo>
                        <a:pt x="368" y="580"/>
                      </a:lnTo>
                      <a:lnTo>
                        <a:pt x="368" y="578"/>
                      </a:lnTo>
                      <a:lnTo>
                        <a:pt x="366" y="578"/>
                      </a:lnTo>
                      <a:lnTo>
                        <a:pt x="365" y="578"/>
                      </a:lnTo>
                      <a:lnTo>
                        <a:pt x="363" y="578"/>
                      </a:lnTo>
                      <a:lnTo>
                        <a:pt x="363" y="576"/>
                      </a:lnTo>
                      <a:lnTo>
                        <a:pt x="361" y="576"/>
                      </a:lnTo>
                      <a:lnTo>
                        <a:pt x="361" y="575"/>
                      </a:lnTo>
                      <a:lnTo>
                        <a:pt x="360" y="575"/>
                      </a:lnTo>
                      <a:lnTo>
                        <a:pt x="358" y="575"/>
                      </a:lnTo>
                      <a:lnTo>
                        <a:pt x="358" y="573"/>
                      </a:lnTo>
                      <a:lnTo>
                        <a:pt x="356" y="573"/>
                      </a:lnTo>
                      <a:lnTo>
                        <a:pt x="356" y="571"/>
                      </a:lnTo>
                      <a:lnTo>
                        <a:pt x="356" y="570"/>
                      </a:lnTo>
                      <a:lnTo>
                        <a:pt x="356" y="568"/>
                      </a:lnTo>
                      <a:lnTo>
                        <a:pt x="356" y="567"/>
                      </a:lnTo>
                      <a:lnTo>
                        <a:pt x="356" y="565"/>
                      </a:lnTo>
                      <a:lnTo>
                        <a:pt x="356" y="563"/>
                      </a:lnTo>
                      <a:lnTo>
                        <a:pt x="356" y="562"/>
                      </a:lnTo>
                      <a:lnTo>
                        <a:pt x="356" y="560"/>
                      </a:lnTo>
                      <a:lnTo>
                        <a:pt x="356" y="558"/>
                      </a:lnTo>
                      <a:lnTo>
                        <a:pt x="358" y="558"/>
                      </a:lnTo>
                      <a:lnTo>
                        <a:pt x="358" y="557"/>
                      </a:lnTo>
                      <a:lnTo>
                        <a:pt x="360" y="557"/>
                      </a:lnTo>
                      <a:lnTo>
                        <a:pt x="360" y="555"/>
                      </a:lnTo>
                      <a:lnTo>
                        <a:pt x="361" y="555"/>
                      </a:lnTo>
                      <a:lnTo>
                        <a:pt x="361" y="553"/>
                      </a:lnTo>
                      <a:lnTo>
                        <a:pt x="361" y="552"/>
                      </a:lnTo>
                      <a:lnTo>
                        <a:pt x="361" y="550"/>
                      </a:lnTo>
                      <a:lnTo>
                        <a:pt x="360" y="550"/>
                      </a:lnTo>
                      <a:lnTo>
                        <a:pt x="360" y="548"/>
                      </a:lnTo>
                      <a:lnTo>
                        <a:pt x="360" y="547"/>
                      </a:lnTo>
                      <a:lnTo>
                        <a:pt x="360" y="545"/>
                      </a:lnTo>
                      <a:lnTo>
                        <a:pt x="358" y="545"/>
                      </a:lnTo>
                      <a:lnTo>
                        <a:pt x="356" y="545"/>
                      </a:lnTo>
                      <a:lnTo>
                        <a:pt x="355" y="544"/>
                      </a:lnTo>
                      <a:lnTo>
                        <a:pt x="355" y="542"/>
                      </a:lnTo>
                      <a:lnTo>
                        <a:pt x="353" y="542"/>
                      </a:lnTo>
                      <a:lnTo>
                        <a:pt x="351" y="542"/>
                      </a:lnTo>
                      <a:lnTo>
                        <a:pt x="351" y="540"/>
                      </a:lnTo>
                      <a:lnTo>
                        <a:pt x="349" y="540"/>
                      </a:lnTo>
                      <a:lnTo>
                        <a:pt x="348" y="539"/>
                      </a:lnTo>
                      <a:lnTo>
                        <a:pt x="346" y="539"/>
                      </a:lnTo>
                      <a:lnTo>
                        <a:pt x="344" y="539"/>
                      </a:lnTo>
                      <a:lnTo>
                        <a:pt x="344" y="537"/>
                      </a:lnTo>
                      <a:lnTo>
                        <a:pt x="343" y="537"/>
                      </a:lnTo>
                      <a:lnTo>
                        <a:pt x="343" y="535"/>
                      </a:lnTo>
                      <a:lnTo>
                        <a:pt x="341" y="534"/>
                      </a:lnTo>
                      <a:lnTo>
                        <a:pt x="343" y="534"/>
                      </a:lnTo>
                      <a:lnTo>
                        <a:pt x="343" y="532"/>
                      </a:lnTo>
                      <a:lnTo>
                        <a:pt x="343" y="530"/>
                      </a:lnTo>
                      <a:lnTo>
                        <a:pt x="341" y="530"/>
                      </a:lnTo>
                      <a:lnTo>
                        <a:pt x="341" y="529"/>
                      </a:lnTo>
                      <a:lnTo>
                        <a:pt x="339" y="529"/>
                      </a:lnTo>
                      <a:lnTo>
                        <a:pt x="339" y="527"/>
                      </a:lnTo>
                      <a:lnTo>
                        <a:pt x="338" y="529"/>
                      </a:lnTo>
                      <a:lnTo>
                        <a:pt x="336" y="529"/>
                      </a:lnTo>
                      <a:lnTo>
                        <a:pt x="334" y="530"/>
                      </a:lnTo>
                      <a:lnTo>
                        <a:pt x="333" y="529"/>
                      </a:lnTo>
                      <a:lnTo>
                        <a:pt x="333" y="530"/>
                      </a:lnTo>
                      <a:lnTo>
                        <a:pt x="331" y="530"/>
                      </a:lnTo>
                      <a:lnTo>
                        <a:pt x="329" y="530"/>
                      </a:lnTo>
                      <a:lnTo>
                        <a:pt x="328" y="530"/>
                      </a:lnTo>
                      <a:lnTo>
                        <a:pt x="328" y="532"/>
                      </a:lnTo>
                      <a:lnTo>
                        <a:pt x="328" y="534"/>
                      </a:lnTo>
                      <a:lnTo>
                        <a:pt x="326" y="534"/>
                      </a:lnTo>
                      <a:lnTo>
                        <a:pt x="326" y="535"/>
                      </a:lnTo>
                      <a:lnTo>
                        <a:pt x="324" y="535"/>
                      </a:lnTo>
                      <a:lnTo>
                        <a:pt x="322" y="535"/>
                      </a:lnTo>
                      <a:lnTo>
                        <a:pt x="321" y="534"/>
                      </a:lnTo>
                      <a:lnTo>
                        <a:pt x="319" y="532"/>
                      </a:lnTo>
                      <a:lnTo>
                        <a:pt x="319" y="530"/>
                      </a:lnTo>
                      <a:lnTo>
                        <a:pt x="317" y="530"/>
                      </a:lnTo>
                      <a:lnTo>
                        <a:pt x="317" y="529"/>
                      </a:lnTo>
                      <a:lnTo>
                        <a:pt x="316" y="529"/>
                      </a:lnTo>
                      <a:lnTo>
                        <a:pt x="314" y="530"/>
                      </a:lnTo>
                      <a:lnTo>
                        <a:pt x="312" y="530"/>
                      </a:lnTo>
                      <a:lnTo>
                        <a:pt x="311" y="530"/>
                      </a:lnTo>
                      <a:lnTo>
                        <a:pt x="307" y="530"/>
                      </a:lnTo>
                      <a:lnTo>
                        <a:pt x="306" y="530"/>
                      </a:lnTo>
                      <a:lnTo>
                        <a:pt x="304" y="530"/>
                      </a:lnTo>
                      <a:lnTo>
                        <a:pt x="302" y="530"/>
                      </a:lnTo>
                      <a:lnTo>
                        <a:pt x="302" y="532"/>
                      </a:lnTo>
                      <a:lnTo>
                        <a:pt x="301" y="532"/>
                      </a:lnTo>
                      <a:lnTo>
                        <a:pt x="301" y="534"/>
                      </a:lnTo>
                      <a:lnTo>
                        <a:pt x="301" y="535"/>
                      </a:lnTo>
                      <a:lnTo>
                        <a:pt x="302" y="535"/>
                      </a:lnTo>
                      <a:lnTo>
                        <a:pt x="302" y="537"/>
                      </a:lnTo>
                      <a:lnTo>
                        <a:pt x="301" y="537"/>
                      </a:lnTo>
                      <a:lnTo>
                        <a:pt x="301" y="539"/>
                      </a:lnTo>
                      <a:lnTo>
                        <a:pt x="301" y="540"/>
                      </a:lnTo>
                      <a:lnTo>
                        <a:pt x="299" y="542"/>
                      </a:lnTo>
                      <a:lnTo>
                        <a:pt x="297" y="542"/>
                      </a:lnTo>
                      <a:lnTo>
                        <a:pt x="295" y="542"/>
                      </a:lnTo>
                      <a:lnTo>
                        <a:pt x="295" y="540"/>
                      </a:lnTo>
                      <a:lnTo>
                        <a:pt x="294" y="540"/>
                      </a:lnTo>
                      <a:lnTo>
                        <a:pt x="294" y="539"/>
                      </a:lnTo>
                      <a:lnTo>
                        <a:pt x="294" y="537"/>
                      </a:lnTo>
                      <a:lnTo>
                        <a:pt x="294" y="535"/>
                      </a:lnTo>
                      <a:lnTo>
                        <a:pt x="290" y="534"/>
                      </a:lnTo>
                      <a:lnTo>
                        <a:pt x="290" y="535"/>
                      </a:lnTo>
                      <a:lnTo>
                        <a:pt x="290" y="539"/>
                      </a:lnTo>
                      <a:lnTo>
                        <a:pt x="289" y="540"/>
                      </a:lnTo>
                      <a:lnTo>
                        <a:pt x="289" y="542"/>
                      </a:lnTo>
                      <a:lnTo>
                        <a:pt x="287" y="542"/>
                      </a:lnTo>
                      <a:lnTo>
                        <a:pt x="285" y="542"/>
                      </a:lnTo>
                      <a:lnTo>
                        <a:pt x="285" y="544"/>
                      </a:lnTo>
                      <a:lnTo>
                        <a:pt x="284" y="544"/>
                      </a:lnTo>
                      <a:lnTo>
                        <a:pt x="282" y="545"/>
                      </a:lnTo>
                      <a:lnTo>
                        <a:pt x="280" y="545"/>
                      </a:lnTo>
                      <a:lnTo>
                        <a:pt x="279" y="545"/>
                      </a:lnTo>
                      <a:lnTo>
                        <a:pt x="279" y="544"/>
                      </a:lnTo>
                      <a:lnTo>
                        <a:pt x="277" y="544"/>
                      </a:lnTo>
                      <a:lnTo>
                        <a:pt x="275" y="542"/>
                      </a:lnTo>
                      <a:lnTo>
                        <a:pt x="273" y="540"/>
                      </a:lnTo>
                      <a:lnTo>
                        <a:pt x="272" y="540"/>
                      </a:lnTo>
                      <a:lnTo>
                        <a:pt x="272" y="539"/>
                      </a:lnTo>
                      <a:lnTo>
                        <a:pt x="270" y="537"/>
                      </a:lnTo>
                      <a:lnTo>
                        <a:pt x="270" y="535"/>
                      </a:lnTo>
                      <a:lnTo>
                        <a:pt x="268" y="535"/>
                      </a:lnTo>
                      <a:lnTo>
                        <a:pt x="268" y="534"/>
                      </a:lnTo>
                      <a:lnTo>
                        <a:pt x="267" y="534"/>
                      </a:lnTo>
                      <a:lnTo>
                        <a:pt x="265" y="534"/>
                      </a:lnTo>
                      <a:lnTo>
                        <a:pt x="265" y="535"/>
                      </a:lnTo>
                      <a:lnTo>
                        <a:pt x="265" y="537"/>
                      </a:lnTo>
                      <a:lnTo>
                        <a:pt x="265" y="539"/>
                      </a:lnTo>
                      <a:lnTo>
                        <a:pt x="267" y="540"/>
                      </a:lnTo>
                      <a:lnTo>
                        <a:pt x="268" y="542"/>
                      </a:lnTo>
                      <a:lnTo>
                        <a:pt x="268" y="544"/>
                      </a:lnTo>
                      <a:lnTo>
                        <a:pt x="267" y="544"/>
                      </a:lnTo>
                      <a:lnTo>
                        <a:pt x="265" y="544"/>
                      </a:lnTo>
                      <a:lnTo>
                        <a:pt x="263" y="544"/>
                      </a:lnTo>
                      <a:lnTo>
                        <a:pt x="262" y="544"/>
                      </a:lnTo>
                      <a:lnTo>
                        <a:pt x="262" y="542"/>
                      </a:lnTo>
                      <a:lnTo>
                        <a:pt x="260" y="542"/>
                      </a:lnTo>
                      <a:lnTo>
                        <a:pt x="258" y="542"/>
                      </a:lnTo>
                      <a:lnTo>
                        <a:pt x="257" y="542"/>
                      </a:lnTo>
                      <a:lnTo>
                        <a:pt x="255" y="542"/>
                      </a:lnTo>
                      <a:lnTo>
                        <a:pt x="253" y="542"/>
                      </a:lnTo>
                      <a:lnTo>
                        <a:pt x="252" y="542"/>
                      </a:lnTo>
                      <a:lnTo>
                        <a:pt x="250" y="542"/>
                      </a:lnTo>
                      <a:lnTo>
                        <a:pt x="248" y="542"/>
                      </a:lnTo>
                      <a:lnTo>
                        <a:pt x="246" y="542"/>
                      </a:lnTo>
                      <a:lnTo>
                        <a:pt x="246" y="544"/>
                      </a:lnTo>
                      <a:lnTo>
                        <a:pt x="245" y="544"/>
                      </a:lnTo>
                      <a:lnTo>
                        <a:pt x="243" y="544"/>
                      </a:lnTo>
                      <a:lnTo>
                        <a:pt x="241" y="544"/>
                      </a:lnTo>
                      <a:lnTo>
                        <a:pt x="240" y="544"/>
                      </a:lnTo>
                      <a:lnTo>
                        <a:pt x="238" y="544"/>
                      </a:lnTo>
                      <a:lnTo>
                        <a:pt x="236" y="544"/>
                      </a:lnTo>
                      <a:lnTo>
                        <a:pt x="235" y="544"/>
                      </a:lnTo>
                      <a:lnTo>
                        <a:pt x="233" y="544"/>
                      </a:lnTo>
                      <a:lnTo>
                        <a:pt x="231" y="544"/>
                      </a:lnTo>
                      <a:lnTo>
                        <a:pt x="231" y="545"/>
                      </a:lnTo>
                      <a:lnTo>
                        <a:pt x="230" y="545"/>
                      </a:lnTo>
                      <a:lnTo>
                        <a:pt x="228" y="547"/>
                      </a:lnTo>
                      <a:lnTo>
                        <a:pt x="226" y="547"/>
                      </a:lnTo>
                      <a:lnTo>
                        <a:pt x="225" y="545"/>
                      </a:lnTo>
                      <a:lnTo>
                        <a:pt x="223" y="547"/>
                      </a:lnTo>
                      <a:lnTo>
                        <a:pt x="221" y="545"/>
                      </a:lnTo>
                      <a:lnTo>
                        <a:pt x="219" y="545"/>
                      </a:lnTo>
                      <a:lnTo>
                        <a:pt x="218" y="545"/>
                      </a:lnTo>
                      <a:lnTo>
                        <a:pt x="216" y="545"/>
                      </a:lnTo>
                      <a:lnTo>
                        <a:pt x="214" y="547"/>
                      </a:lnTo>
                      <a:lnTo>
                        <a:pt x="213" y="547"/>
                      </a:lnTo>
                      <a:lnTo>
                        <a:pt x="211" y="545"/>
                      </a:lnTo>
                      <a:lnTo>
                        <a:pt x="209" y="547"/>
                      </a:lnTo>
                      <a:lnTo>
                        <a:pt x="208" y="547"/>
                      </a:lnTo>
                      <a:lnTo>
                        <a:pt x="208" y="548"/>
                      </a:lnTo>
                      <a:lnTo>
                        <a:pt x="208" y="550"/>
                      </a:lnTo>
                      <a:lnTo>
                        <a:pt x="208" y="552"/>
                      </a:lnTo>
                      <a:lnTo>
                        <a:pt x="206" y="553"/>
                      </a:lnTo>
                      <a:lnTo>
                        <a:pt x="206" y="555"/>
                      </a:lnTo>
                      <a:lnTo>
                        <a:pt x="204" y="555"/>
                      </a:lnTo>
                      <a:lnTo>
                        <a:pt x="204" y="557"/>
                      </a:lnTo>
                      <a:lnTo>
                        <a:pt x="204" y="558"/>
                      </a:lnTo>
                      <a:lnTo>
                        <a:pt x="206" y="560"/>
                      </a:lnTo>
                      <a:lnTo>
                        <a:pt x="206" y="562"/>
                      </a:lnTo>
                      <a:lnTo>
                        <a:pt x="206" y="563"/>
                      </a:lnTo>
                      <a:lnTo>
                        <a:pt x="206" y="565"/>
                      </a:lnTo>
                      <a:lnTo>
                        <a:pt x="206" y="567"/>
                      </a:lnTo>
                      <a:lnTo>
                        <a:pt x="206" y="568"/>
                      </a:lnTo>
                      <a:lnTo>
                        <a:pt x="206" y="570"/>
                      </a:lnTo>
                      <a:lnTo>
                        <a:pt x="206" y="571"/>
                      </a:lnTo>
                      <a:lnTo>
                        <a:pt x="204" y="571"/>
                      </a:lnTo>
                      <a:lnTo>
                        <a:pt x="203" y="571"/>
                      </a:lnTo>
                      <a:lnTo>
                        <a:pt x="203" y="570"/>
                      </a:lnTo>
                      <a:lnTo>
                        <a:pt x="201" y="570"/>
                      </a:lnTo>
                      <a:lnTo>
                        <a:pt x="199" y="568"/>
                      </a:lnTo>
                      <a:lnTo>
                        <a:pt x="197" y="568"/>
                      </a:lnTo>
                      <a:lnTo>
                        <a:pt x="197" y="567"/>
                      </a:lnTo>
                      <a:lnTo>
                        <a:pt x="197" y="565"/>
                      </a:lnTo>
                      <a:lnTo>
                        <a:pt x="197" y="563"/>
                      </a:lnTo>
                      <a:lnTo>
                        <a:pt x="197" y="562"/>
                      </a:lnTo>
                      <a:lnTo>
                        <a:pt x="197" y="560"/>
                      </a:lnTo>
                      <a:lnTo>
                        <a:pt x="197" y="558"/>
                      </a:lnTo>
                      <a:lnTo>
                        <a:pt x="197" y="557"/>
                      </a:lnTo>
                      <a:lnTo>
                        <a:pt x="197" y="555"/>
                      </a:lnTo>
                      <a:lnTo>
                        <a:pt x="197" y="550"/>
                      </a:lnTo>
                      <a:lnTo>
                        <a:pt x="196" y="547"/>
                      </a:lnTo>
                      <a:lnTo>
                        <a:pt x="194" y="547"/>
                      </a:lnTo>
                      <a:lnTo>
                        <a:pt x="194" y="545"/>
                      </a:lnTo>
                      <a:lnTo>
                        <a:pt x="192" y="545"/>
                      </a:lnTo>
                      <a:lnTo>
                        <a:pt x="191" y="545"/>
                      </a:lnTo>
                      <a:lnTo>
                        <a:pt x="189" y="545"/>
                      </a:lnTo>
                      <a:lnTo>
                        <a:pt x="187" y="545"/>
                      </a:lnTo>
                      <a:lnTo>
                        <a:pt x="187" y="547"/>
                      </a:lnTo>
                      <a:lnTo>
                        <a:pt x="187" y="548"/>
                      </a:lnTo>
                      <a:lnTo>
                        <a:pt x="186" y="548"/>
                      </a:lnTo>
                      <a:lnTo>
                        <a:pt x="186" y="550"/>
                      </a:lnTo>
                      <a:lnTo>
                        <a:pt x="184" y="553"/>
                      </a:lnTo>
                      <a:lnTo>
                        <a:pt x="182" y="555"/>
                      </a:lnTo>
                      <a:lnTo>
                        <a:pt x="182" y="557"/>
                      </a:lnTo>
                      <a:lnTo>
                        <a:pt x="181" y="557"/>
                      </a:lnTo>
                      <a:lnTo>
                        <a:pt x="179" y="558"/>
                      </a:lnTo>
                      <a:lnTo>
                        <a:pt x="177" y="560"/>
                      </a:lnTo>
                      <a:lnTo>
                        <a:pt x="176" y="560"/>
                      </a:lnTo>
                      <a:lnTo>
                        <a:pt x="174" y="560"/>
                      </a:lnTo>
                      <a:lnTo>
                        <a:pt x="174" y="558"/>
                      </a:lnTo>
                      <a:lnTo>
                        <a:pt x="172" y="560"/>
                      </a:lnTo>
                      <a:lnTo>
                        <a:pt x="172" y="558"/>
                      </a:lnTo>
                      <a:lnTo>
                        <a:pt x="170" y="557"/>
                      </a:lnTo>
                      <a:lnTo>
                        <a:pt x="169" y="555"/>
                      </a:lnTo>
                      <a:lnTo>
                        <a:pt x="169" y="553"/>
                      </a:lnTo>
                      <a:lnTo>
                        <a:pt x="169" y="552"/>
                      </a:lnTo>
                      <a:lnTo>
                        <a:pt x="169" y="550"/>
                      </a:lnTo>
                      <a:lnTo>
                        <a:pt x="167" y="550"/>
                      </a:lnTo>
                      <a:lnTo>
                        <a:pt x="167" y="548"/>
                      </a:lnTo>
                      <a:lnTo>
                        <a:pt x="165" y="547"/>
                      </a:lnTo>
                      <a:lnTo>
                        <a:pt x="165" y="544"/>
                      </a:lnTo>
                      <a:lnTo>
                        <a:pt x="165" y="542"/>
                      </a:lnTo>
                      <a:lnTo>
                        <a:pt x="165" y="540"/>
                      </a:lnTo>
                      <a:lnTo>
                        <a:pt x="165" y="539"/>
                      </a:lnTo>
                      <a:lnTo>
                        <a:pt x="165" y="537"/>
                      </a:lnTo>
                      <a:lnTo>
                        <a:pt x="165" y="534"/>
                      </a:lnTo>
                      <a:lnTo>
                        <a:pt x="165" y="532"/>
                      </a:lnTo>
                      <a:lnTo>
                        <a:pt x="167" y="532"/>
                      </a:lnTo>
                      <a:lnTo>
                        <a:pt x="169" y="532"/>
                      </a:lnTo>
                      <a:lnTo>
                        <a:pt x="170" y="530"/>
                      </a:lnTo>
                      <a:lnTo>
                        <a:pt x="170" y="529"/>
                      </a:lnTo>
                      <a:lnTo>
                        <a:pt x="170" y="527"/>
                      </a:lnTo>
                      <a:lnTo>
                        <a:pt x="169" y="527"/>
                      </a:lnTo>
                      <a:lnTo>
                        <a:pt x="167" y="527"/>
                      </a:lnTo>
                      <a:lnTo>
                        <a:pt x="165" y="527"/>
                      </a:lnTo>
                      <a:lnTo>
                        <a:pt x="164" y="527"/>
                      </a:lnTo>
                      <a:lnTo>
                        <a:pt x="162" y="529"/>
                      </a:lnTo>
                      <a:lnTo>
                        <a:pt x="160" y="530"/>
                      </a:lnTo>
                      <a:lnTo>
                        <a:pt x="159" y="530"/>
                      </a:lnTo>
                      <a:lnTo>
                        <a:pt x="157" y="530"/>
                      </a:lnTo>
                      <a:lnTo>
                        <a:pt x="155" y="529"/>
                      </a:lnTo>
                      <a:lnTo>
                        <a:pt x="154" y="529"/>
                      </a:lnTo>
                      <a:lnTo>
                        <a:pt x="152" y="529"/>
                      </a:lnTo>
                      <a:lnTo>
                        <a:pt x="150" y="529"/>
                      </a:lnTo>
                      <a:lnTo>
                        <a:pt x="149" y="527"/>
                      </a:lnTo>
                      <a:lnTo>
                        <a:pt x="147" y="527"/>
                      </a:lnTo>
                      <a:lnTo>
                        <a:pt x="147" y="525"/>
                      </a:lnTo>
                      <a:lnTo>
                        <a:pt x="147" y="524"/>
                      </a:lnTo>
                      <a:lnTo>
                        <a:pt x="145" y="524"/>
                      </a:lnTo>
                      <a:lnTo>
                        <a:pt x="143" y="522"/>
                      </a:lnTo>
                      <a:lnTo>
                        <a:pt x="142" y="522"/>
                      </a:lnTo>
                      <a:lnTo>
                        <a:pt x="140" y="522"/>
                      </a:lnTo>
                      <a:lnTo>
                        <a:pt x="138" y="522"/>
                      </a:lnTo>
                      <a:lnTo>
                        <a:pt x="137" y="524"/>
                      </a:lnTo>
                      <a:lnTo>
                        <a:pt x="135" y="524"/>
                      </a:lnTo>
                      <a:lnTo>
                        <a:pt x="133" y="525"/>
                      </a:lnTo>
                      <a:lnTo>
                        <a:pt x="132" y="525"/>
                      </a:lnTo>
                      <a:lnTo>
                        <a:pt x="130" y="525"/>
                      </a:lnTo>
                      <a:lnTo>
                        <a:pt x="130" y="524"/>
                      </a:lnTo>
                      <a:lnTo>
                        <a:pt x="128" y="525"/>
                      </a:lnTo>
                      <a:lnTo>
                        <a:pt x="127" y="525"/>
                      </a:lnTo>
                      <a:lnTo>
                        <a:pt x="125" y="524"/>
                      </a:lnTo>
                      <a:lnTo>
                        <a:pt x="123" y="524"/>
                      </a:lnTo>
                      <a:lnTo>
                        <a:pt x="120" y="524"/>
                      </a:lnTo>
                      <a:lnTo>
                        <a:pt x="118" y="525"/>
                      </a:lnTo>
                      <a:lnTo>
                        <a:pt x="115" y="525"/>
                      </a:lnTo>
                      <a:lnTo>
                        <a:pt x="113" y="525"/>
                      </a:lnTo>
                      <a:lnTo>
                        <a:pt x="110" y="525"/>
                      </a:lnTo>
                      <a:lnTo>
                        <a:pt x="108" y="525"/>
                      </a:lnTo>
                      <a:lnTo>
                        <a:pt x="106" y="525"/>
                      </a:lnTo>
                      <a:lnTo>
                        <a:pt x="105" y="524"/>
                      </a:lnTo>
                      <a:lnTo>
                        <a:pt x="103" y="524"/>
                      </a:lnTo>
                      <a:lnTo>
                        <a:pt x="101" y="524"/>
                      </a:lnTo>
                      <a:lnTo>
                        <a:pt x="100" y="524"/>
                      </a:lnTo>
                      <a:lnTo>
                        <a:pt x="98" y="524"/>
                      </a:lnTo>
                      <a:lnTo>
                        <a:pt x="94" y="524"/>
                      </a:lnTo>
                      <a:lnTo>
                        <a:pt x="93" y="522"/>
                      </a:lnTo>
                      <a:lnTo>
                        <a:pt x="93" y="521"/>
                      </a:lnTo>
                      <a:lnTo>
                        <a:pt x="91" y="521"/>
                      </a:lnTo>
                      <a:lnTo>
                        <a:pt x="89" y="519"/>
                      </a:lnTo>
                      <a:lnTo>
                        <a:pt x="86" y="519"/>
                      </a:lnTo>
                      <a:lnTo>
                        <a:pt x="84" y="521"/>
                      </a:lnTo>
                      <a:lnTo>
                        <a:pt x="83" y="519"/>
                      </a:lnTo>
                      <a:lnTo>
                        <a:pt x="81" y="519"/>
                      </a:lnTo>
                      <a:lnTo>
                        <a:pt x="79" y="519"/>
                      </a:lnTo>
                      <a:lnTo>
                        <a:pt x="76" y="519"/>
                      </a:lnTo>
                      <a:lnTo>
                        <a:pt x="73" y="519"/>
                      </a:lnTo>
                      <a:lnTo>
                        <a:pt x="71" y="519"/>
                      </a:lnTo>
                      <a:lnTo>
                        <a:pt x="69" y="519"/>
                      </a:lnTo>
                      <a:lnTo>
                        <a:pt x="67" y="519"/>
                      </a:lnTo>
                      <a:lnTo>
                        <a:pt x="66" y="519"/>
                      </a:lnTo>
                      <a:lnTo>
                        <a:pt x="66" y="517"/>
                      </a:lnTo>
                      <a:lnTo>
                        <a:pt x="64" y="517"/>
                      </a:lnTo>
                      <a:lnTo>
                        <a:pt x="64" y="516"/>
                      </a:lnTo>
                      <a:lnTo>
                        <a:pt x="62" y="516"/>
                      </a:lnTo>
                      <a:lnTo>
                        <a:pt x="62" y="514"/>
                      </a:lnTo>
                      <a:lnTo>
                        <a:pt x="59" y="512"/>
                      </a:lnTo>
                      <a:lnTo>
                        <a:pt x="57" y="512"/>
                      </a:lnTo>
                      <a:lnTo>
                        <a:pt x="56" y="511"/>
                      </a:lnTo>
                      <a:lnTo>
                        <a:pt x="54" y="511"/>
                      </a:lnTo>
                      <a:lnTo>
                        <a:pt x="52" y="512"/>
                      </a:lnTo>
                      <a:lnTo>
                        <a:pt x="51" y="512"/>
                      </a:lnTo>
                      <a:lnTo>
                        <a:pt x="49" y="512"/>
                      </a:lnTo>
                      <a:lnTo>
                        <a:pt x="47" y="514"/>
                      </a:lnTo>
                      <a:lnTo>
                        <a:pt x="45" y="514"/>
                      </a:lnTo>
                      <a:lnTo>
                        <a:pt x="44" y="514"/>
                      </a:lnTo>
                      <a:lnTo>
                        <a:pt x="44" y="516"/>
                      </a:lnTo>
                      <a:lnTo>
                        <a:pt x="42" y="517"/>
                      </a:lnTo>
                      <a:lnTo>
                        <a:pt x="42" y="519"/>
                      </a:lnTo>
                      <a:lnTo>
                        <a:pt x="40" y="519"/>
                      </a:lnTo>
                      <a:lnTo>
                        <a:pt x="39" y="519"/>
                      </a:lnTo>
                      <a:lnTo>
                        <a:pt x="37" y="522"/>
                      </a:lnTo>
                      <a:lnTo>
                        <a:pt x="35" y="522"/>
                      </a:lnTo>
                      <a:lnTo>
                        <a:pt x="34" y="524"/>
                      </a:lnTo>
                      <a:lnTo>
                        <a:pt x="32" y="524"/>
                      </a:lnTo>
                      <a:lnTo>
                        <a:pt x="30" y="524"/>
                      </a:lnTo>
                      <a:lnTo>
                        <a:pt x="25" y="525"/>
                      </a:lnTo>
                      <a:lnTo>
                        <a:pt x="24" y="525"/>
                      </a:lnTo>
                      <a:lnTo>
                        <a:pt x="24" y="527"/>
                      </a:lnTo>
                      <a:lnTo>
                        <a:pt x="22" y="527"/>
                      </a:lnTo>
                      <a:lnTo>
                        <a:pt x="20" y="529"/>
                      </a:lnTo>
                      <a:lnTo>
                        <a:pt x="18" y="529"/>
                      </a:lnTo>
                      <a:lnTo>
                        <a:pt x="17" y="529"/>
                      </a:lnTo>
                      <a:lnTo>
                        <a:pt x="17" y="530"/>
                      </a:lnTo>
                      <a:lnTo>
                        <a:pt x="15" y="530"/>
                      </a:lnTo>
                      <a:lnTo>
                        <a:pt x="13" y="530"/>
                      </a:lnTo>
                      <a:lnTo>
                        <a:pt x="13" y="532"/>
                      </a:lnTo>
                      <a:lnTo>
                        <a:pt x="12" y="532"/>
                      </a:lnTo>
                      <a:lnTo>
                        <a:pt x="10" y="532"/>
                      </a:lnTo>
                      <a:lnTo>
                        <a:pt x="10" y="534"/>
                      </a:lnTo>
                      <a:lnTo>
                        <a:pt x="8" y="534"/>
                      </a:lnTo>
                      <a:lnTo>
                        <a:pt x="7" y="534"/>
                      </a:lnTo>
                      <a:lnTo>
                        <a:pt x="7" y="535"/>
                      </a:lnTo>
                      <a:lnTo>
                        <a:pt x="7" y="537"/>
                      </a:lnTo>
                      <a:lnTo>
                        <a:pt x="5" y="539"/>
                      </a:lnTo>
                      <a:lnTo>
                        <a:pt x="3" y="539"/>
                      </a:lnTo>
                      <a:lnTo>
                        <a:pt x="3" y="537"/>
                      </a:lnTo>
                      <a:lnTo>
                        <a:pt x="3" y="535"/>
                      </a:lnTo>
                      <a:lnTo>
                        <a:pt x="3" y="534"/>
                      </a:lnTo>
                      <a:lnTo>
                        <a:pt x="3" y="532"/>
                      </a:lnTo>
                      <a:lnTo>
                        <a:pt x="3" y="530"/>
                      </a:lnTo>
                      <a:lnTo>
                        <a:pt x="3" y="529"/>
                      </a:lnTo>
                      <a:lnTo>
                        <a:pt x="2" y="527"/>
                      </a:lnTo>
                      <a:lnTo>
                        <a:pt x="3" y="527"/>
                      </a:lnTo>
                      <a:lnTo>
                        <a:pt x="3" y="525"/>
                      </a:lnTo>
                      <a:lnTo>
                        <a:pt x="5" y="524"/>
                      </a:lnTo>
                      <a:lnTo>
                        <a:pt x="5" y="522"/>
                      </a:lnTo>
                      <a:lnTo>
                        <a:pt x="3" y="522"/>
                      </a:lnTo>
                      <a:lnTo>
                        <a:pt x="3" y="521"/>
                      </a:lnTo>
                      <a:lnTo>
                        <a:pt x="3" y="519"/>
                      </a:lnTo>
                      <a:lnTo>
                        <a:pt x="3" y="516"/>
                      </a:lnTo>
                      <a:lnTo>
                        <a:pt x="2" y="514"/>
                      </a:lnTo>
                      <a:lnTo>
                        <a:pt x="2" y="512"/>
                      </a:lnTo>
                      <a:lnTo>
                        <a:pt x="2" y="511"/>
                      </a:lnTo>
                      <a:lnTo>
                        <a:pt x="2" y="509"/>
                      </a:lnTo>
                      <a:lnTo>
                        <a:pt x="0" y="507"/>
                      </a:lnTo>
                      <a:lnTo>
                        <a:pt x="0" y="506"/>
                      </a:lnTo>
                      <a:lnTo>
                        <a:pt x="2" y="506"/>
                      </a:lnTo>
                      <a:lnTo>
                        <a:pt x="0" y="504"/>
                      </a:lnTo>
                      <a:lnTo>
                        <a:pt x="2" y="502"/>
                      </a:lnTo>
                      <a:lnTo>
                        <a:pt x="3" y="501"/>
                      </a:lnTo>
                      <a:lnTo>
                        <a:pt x="3" y="499"/>
                      </a:lnTo>
                      <a:lnTo>
                        <a:pt x="3" y="498"/>
                      </a:lnTo>
                      <a:lnTo>
                        <a:pt x="5" y="496"/>
                      </a:lnTo>
                      <a:lnTo>
                        <a:pt x="5" y="494"/>
                      </a:lnTo>
                      <a:lnTo>
                        <a:pt x="5" y="493"/>
                      </a:lnTo>
                      <a:lnTo>
                        <a:pt x="7" y="493"/>
                      </a:lnTo>
                      <a:lnTo>
                        <a:pt x="8" y="493"/>
                      </a:lnTo>
                      <a:lnTo>
                        <a:pt x="10" y="493"/>
                      </a:lnTo>
                      <a:lnTo>
                        <a:pt x="10" y="494"/>
                      </a:lnTo>
                      <a:lnTo>
                        <a:pt x="10" y="493"/>
                      </a:lnTo>
                      <a:lnTo>
                        <a:pt x="12" y="493"/>
                      </a:lnTo>
                      <a:lnTo>
                        <a:pt x="12" y="491"/>
                      </a:lnTo>
                      <a:lnTo>
                        <a:pt x="12" y="489"/>
                      </a:lnTo>
                      <a:lnTo>
                        <a:pt x="10" y="488"/>
                      </a:lnTo>
                      <a:lnTo>
                        <a:pt x="8" y="484"/>
                      </a:lnTo>
                      <a:lnTo>
                        <a:pt x="8" y="483"/>
                      </a:lnTo>
                      <a:lnTo>
                        <a:pt x="10" y="483"/>
                      </a:lnTo>
                      <a:lnTo>
                        <a:pt x="12" y="483"/>
                      </a:lnTo>
                      <a:lnTo>
                        <a:pt x="13" y="483"/>
                      </a:lnTo>
                      <a:lnTo>
                        <a:pt x="15" y="483"/>
                      </a:lnTo>
                      <a:lnTo>
                        <a:pt x="18" y="484"/>
                      </a:lnTo>
                      <a:lnTo>
                        <a:pt x="20" y="484"/>
                      </a:lnTo>
                      <a:lnTo>
                        <a:pt x="22" y="483"/>
                      </a:lnTo>
                      <a:lnTo>
                        <a:pt x="20" y="483"/>
                      </a:lnTo>
                      <a:lnTo>
                        <a:pt x="20" y="481"/>
                      </a:lnTo>
                      <a:lnTo>
                        <a:pt x="17" y="479"/>
                      </a:lnTo>
                      <a:lnTo>
                        <a:pt x="17" y="478"/>
                      </a:lnTo>
                      <a:lnTo>
                        <a:pt x="17" y="476"/>
                      </a:lnTo>
                      <a:lnTo>
                        <a:pt x="17" y="475"/>
                      </a:lnTo>
                      <a:lnTo>
                        <a:pt x="18" y="473"/>
                      </a:lnTo>
                      <a:lnTo>
                        <a:pt x="20" y="471"/>
                      </a:lnTo>
                      <a:lnTo>
                        <a:pt x="20" y="470"/>
                      </a:lnTo>
                      <a:lnTo>
                        <a:pt x="20" y="468"/>
                      </a:lnTo>
                      <a:lnTo>
                        <a:pt x="20" y="466"/>
                      </a:lnTo>
                      <a:lnTo>
                        <a:pt x="22" y="466"/>
                      </a:lnTo>
                      <a:lnTo>
                        <a:pt x="22" y="465"/>
                      </a:lnTo>
                      <a:lnTo>
                        <a:pt x="24" y="465"/>
                      </a:lnTo>
                      <a:lnTo>
                        <a:pt x="24" y="463"/>
                      </a:lnTo>
                      <a:lnTo>
                        <a:pt x="25" y="463"/>
                      </a:lnTo>
                      <a:lnTo>
                        <a:pt x="27" y="463"/>
                      </a:lnTo>
                      <a:lnTo>
                        <a:pt x="27" y="461"/>
                      </a:lnTo>
                      <a:lnTo>
                        <a:pt x="29" y="461"/>
                      </a:lnTo>
                      <a:lnTo>
                        <a:pt x="29" y="460"/>
                      </a:lnTo>
                      <a:lnTo>
                        <a:pt x="29" y="458"/>
                      </a:lnTo>
                      <a:lnTo>
                        <a:pt x="29" y="457"/>
                      </a:lnTo>
                      <a:lnTo>
                        <a:pt x="30" y="457"/>
                      </a:lnTo>
                      <a:lnTo>
                        <a:pt x="32" y="457"/>
                      </a:lnTo>
                      <a:lnTo>
                        <a:pt x="32" y="455"/>
                      </a:lnTo>
                      <a:lnTo>
                        <a:pt x="34" y="455"/>
                      </a:lnTo>
                      <a:lnTo>
                        <a:pt x="35" y="455"/>
                      </a:lnTo>
                      <a:lnTo>
                        <a:pt x="35" y="453"/>
                      </a:lnTo>
                      <a:lnTo>
                        <a:pt x="35" y="452"/>
                      </a:lnTo>
                      <a:lnTo>
                        <a:pt x="37" y="452"/>
                      </a:lnTo>
                      <a:lnTo>
                        <a:pt x="39" y="452"/>
                      </a:lnTo>
                      <a:lnTo>
                        <a:pt x="40" y="452"/>
                      </a:lnTo>
                      <a:lnTo>
                        <a:pt x="42" y="452"/>
                      </a:lnTo>
                      <a:lnTo>
                        <a:pt x="44" y="452"/>
                      </a:lnTo>
                      <a:lnTo>
                        <a:pt x="45" y="450"/>
                      </a:lnTo>
                      <a:lnTo>
                        <a:pt x="47" y="450"/>
                      </a:lnTo>
                      <a:lnTo>
                        <a:pt x="47" y="448"/>
                      </a:lnTo>
                      <a:lnTo>
                        <a:pt x="49" y="448"/>
                      </a:lnTo>
                      <a:lnTo>
                        <a:pt x="49" y="447"/>
                      </a:lnTo>
                      <a:lnTo>
                        <a:pt x="51" y="445"/>
                      </a:lnTo>
                      <a:lnTo>
                        <a:pt x="51" y="443"/>
                      </a:lnTo>
                      <a:lnTo>
                        <a:pt x="52" y="442"/>
                      </a:lnTo>
                      <a:lnTo>
                        <a:pt x="52" y="440"/>
                      </a:lnTo>
                      <a:lnTo>
                        <a:pt x="52" y="438"/>
                      </a:lnTo>
                      <a:lnTo>
                        <a:pt x="52" y="437"/>
                      </a:lnTo>
                      <a:lnTo>
                        <a:pt x="51" y="437"/>
                      </a:lnTo>
                      <a:lnTo>
                        <a:pt x="51" y="435"/>
                      </a:lnTo>
                      <a:lnTo>
                        <a:pt x="51" y="434"/>
                      </a:lnTo>
                      <a:lnTo>
                        <a:pt x="52" y="432"/>
                      </a:lnTo>
                      <a:lnTo>
                        <a:pt x="54" y="432"/>
                      </a:lnTo>
                      <a:lnTo>
                        <a:pt x="56" y="432"/>
                      </a:lnTo>
                      <a:lnTo>
                        <a:pt x="56" y="430"/>
                      </a:lnTo>
                      <a:lnTo>
                        <a:pt x="57" y="430"/>
                      </a:lnTo>
                      <a:lnTo>
                        <a:pt x="57" y="429"/>
                      </a:lnTo>
                      <a:lnTo>
                        <a:pt x="57" y="427"/>
                      </a:lnTo>
                      <a:lnTo>
                        <a:pt x="59" y="424"/>
                      </a:lnTo>
                      <a:lnTo>
                        <a:pt x="61" y="422"/>
                      </a:lnTo>
                      <a:lnTo>
                        <a:pt x="62" y="422"/>
                      </a:lnTo>
                      <a:lnTo>
                        <a:pt x="64" y="422"/>
                      </a:lnTo>
                      <a:lnTo>
                        <a:pt x="64" y="420"/>
                      </a:lnTo>
                      <a:lnTo>
                        <a:pt x="66" y="419"/>
                      </a:lnTo>
                      <a:lnTo>
                        <a:pt x="66" y="417"/>
                      </a:lnTo>
                      <a:lnTo>
                        <a:pt x="66" y="415"/>
                      </a:lnTo>
                      <a:lnTo>
                        <a:pt x="67" y="414"/>
                      </a:lnTo>
                      <a:lnTo>
                        <a:pt x="69" y="412"/>
                      </a:lnTo>
                      <a:lnTo>
                        <a:pt x="69" y="411"/>
                      </a:lnTo>
                      <a:lnTo>
                        <a:pt x="71" y="411"/>
                      </a:lnTo>
                      <a:lnTo>
                        <a:pt x="73" y="411"/>
                      </a:lnTo>
                      <a:lnTo>
                        <a:pt x="74" y="411"/>
                      </a:lnTo>
                      <a:lnTo>
                        <a:pt x="74" y="409"/>
                      </a:lnTo>
                      <a:lnTo>
                        <a:pt x="76" y="409"/>
                      </a:lnTo>
                      <a:lnTo>
                        <a:pt x="78" y="409"/>
                      </a:lnTo>
                      <a:lnTo>
                        <a:pt x="79" y="409"/>
                      </a:lnTo>
                      <a:lnTo>
                        <a:pt x="81" y="409"/>
                      </a:lnTo>
                      <a:lnTo>
                        <a:pt x="83" y="409"/>
                      </a:lnTo>
                      <a:lnTo>
                        <a:pt x="84" y="407"/>
                      </a:lnTo>
                      <a:lnTo>
                        <a:pt x="88" y="409"/>
                      </a:lnTo>
                      <a:lnTo>
                        <a:pt x="89" y="409"/>
                      </a:lnTo>
                      <a:lnTo>
                        <a:pt x="91" y="409"/>
                      </a:lnTo>
                      <a:lnTo>
                        <a:pt x="93" y="407"/>
                      </a:lnTo>
                      <a:lnTo>
                        <a:pt x="94" y="406"/>
                      </a:lnTo>
                      <a:lnTo>
                        <a:pt x="94" y="404"/>
                      </a:lnTo>
                      <a:lnTo>
                        <a:pt x="96" y="404"/>
                      </a:lnTo>
                      <a:lnTo>
                        <a:pt x="96" y="402"/>
                      </a:lnTo>
                      <a:lnTo>
                        <a:pt x="98" y="402"/>
                      </a:lnTo>
                      <a:lnTo>
                        <a:pt x="100" y="402"/>
                      </a:lnTo>
                      <a:lnTo>
                        <a:pt x="101" y="402"/>
                      </a:lnTo>
                      <a:lnTo>
                        <a:pt x="101" y="404"/>
                      </a:lnTo>
                      <a:lnTo>
                        <a:pt x="103" y="404"/>
                      </a:lnTo>
                      <a:lnTo>
                        <a:pt x="105" y="404"/>
                      </a:lnTo>
                      <a:lnTo>
                        <a:pt x="106" y="404"/>
                      </a:lnTo>
                      <a:lnTo>
                        <a:pt x="108" y="404"/>
                      </a:lnTo>
                      <a:lnTo>
                        <a:pt x="110" y="404"/>
                      </a:lnTo>
                      <a:lnTo>
                        <a:pt x="110" y="402"/>
                      </a:lnTo>
                      <a:lnTo>
                        <a:pt x="111" y="402"/>
                      </a:lnTo>
                      <a:lnTo>
                        <a:pt x="111" y="404"/>
                      </a:lnTo>
                      <a:lnTo>
                        <a:pt x="113" y="404"/>
                      </a:lnTo>
                      <a:lnTo>
                        <a:pt x="115" y="406"/>
                      </a:lnTo>
                      <a:lnTo>
                        <a:pt x="116" y="406"/>
                      </a:lnTo>
                      <a:lnTo>
                        <a:pt x="118" y="406"/>
                      </a:lnTo>
                      <a:lnTo>
                        <a:pt x="120" y="406"/>
                      </a:lnTo>
                      <a:lnTo>
                        <a:pt x="120" y="404"/>
                      </a:lnTo>
                      <a:lnTo>
                        <a:pt x="121" y="404"/>
                      </a:lnTo>
                      <a:lnTo>
                        <a:pt x="121" y="402"/>
                      </a:lnTo>
                      <a:lnTo>
                        <a:pt x="123" y="404"/>
                      </a:lnTo>
                      <a:lnTo>
                        <a:pt x="125" y="404"/>
                      </a:lnTo>
                      <a:lnTo>
                        <a:pt x="125" y="402"/>
                      </a:lnTo>
                      <a:lnTo>
                        <a:pt x="127" y="402"/>
                      </a:lnTo>
                      <a:lnTo>
                        <a:pt x="128" y="401"/>
                      </a:lnTo>
                      <a:lnTo>
                        <a:pt x="130" y="401"/>
                      </a:lnTo>
                      <a:lnTo>
                        <a:pt x="132" y="401"/>
                      </a:lnTo>
                      <a:lnTo>
                        <a:pt x="132" y="402"/>
                      </a:lnTo>
                      <a:lnTo>
                        <a:pt x="133" y="402"/>
                      </a:lnTo>
                      <a:lnTo>
                        <a:pt x="133" y="401"/>
                      </a:lnTo>
                      <a:lnTo>
                        <a:pt x="132" y="399"/>
                      </a:lnTo>
                      <a:lnTo>
                        <a:pt x="133" y="397"/>
                      </a:lnTo>
                      <a:lnTo>
                        <a:pt x="137" y="397"/>
                      </a:lnTo>
                      <a:lnTo>
                        <a:pt x="138" y="397"/>
                      </a:lnTo>
                      <a:lnTo>
                        <a:pt x="140" y="397"/>
                      </a:lnTo>
                      <a:lnTo>
                        <a:pt x="142" y="397"/>
                      </a:lnTo>
                      <a:lnTo>
                        <a:pt x="142" y="396"/>
                      </a:lnTo>
                      <a:lnTo>
                        <a:pt x="143" y="396"/>
                      </a:lnTo>
                      <a:lnTo>
                        <a:pt x="142" y="394"/>
                      </a:lnTo>
                      <a:lnTo>
                        <a:pt x="142" y="392"/>
                      </a:lnTo>
                      <a:lnTo>
                        <a:pt x="143" y="392"/>
                      </a:lnTo>
                      <a:lnTo>
                        <a:pt x="145" y="392"/>
                      </a:lnTo>
                      <a:lnTo>
                        <a:pt x="147" y="392"/>
                      </a:lnTo>
                      <a:lnTo>
                        <a:pt x="149" y="392"/>
                      </a:lnTo>
                      <a:lnTo>
                        <a:pt x="149" y="394"/>
                      </a:lnTo>
                      <a:lnTo>
                        <a:pt x="149" y="396"/>
                      </a:lnTo>
                      <a:lnTo>
                        <a:pt x="149" y="397"/>
                      </a:lnTo>
                      <a:lnTo>
                        <a:pt x="149" y="399"/>
                      </a:lnTo>
                      <a:lnTo>
                        <a:pt x="150" y="401"/>
                      </a:lnTo>
                      <a:lnTo>
                        <a:pt x="152" y="401"/>
                      </a:lnTo>
                      <a:lnTo>
                        <a:pt x="152" y="402"/>
                      </a:lnTo>
                      <a:lnTo>
                        <a:pt x="154" y="402"/>
                      </a:lnTo>
                      <a:lnTo>
                        <a:pt x="154" y="406"/>
                      </a:lnTo>
                      <a:lnTo>
                        <a:pt x="155" y="406"/>
                      </a:lnTo>
                      <a:lnTo>
                        <a:pt x="157" y="406"/>
                      </a:lnTo>
                      <a:lnTo>
                        <a:pt x="159" y="406"/>
                      </a:lnTo>
                      <a:lnTo>
                        <a:pt x="159" y="404"/>
                      </a:lnTo>
                      <a:lnTo>
                        <a:pt x="160" y="402"/>
                      </a:lnTo>
                      <a:lnTo>
                        <a:pt x="162" y="402"/>
                      </a:lnTo>
                      <a:lnTo>
                        <a:pt x="162" y="401"/>
                      </a:lnTo>
                      <a:lnTo>
                        <a:pt x="162" y="399"/>
                      </a:lnTo>
                      <a:lnTo>
                        <a:pt x="164" y="399"/>
                      </a:lnTo>
                      <a:lnTo>
                        <a:pt x="165" y="399"/>
                      </a:lnTo>
                      <a:lnTo>
                        <a:pt x="167" y="399"/>
                      </a:lnTo>
                      <a:lnTo>
                        <a:pt x="167" y="397"/>
                      </a:lnTo>
                      <a:lnTo>
                        <a:pt x="167" y="396"/>
                      </a:lnTo>
                      <a:lnTo>
                        <a:pt x="169" y="396"/>
                      </a:lnTo>
                      <a:lnTo>
                        <a:pt x="170" y="396"/>
                      </a:lnTo>
                      <a:lnTo>
                        <a:pt x="170" y="394"/>
                      </a:lnTo>
                      <a:lnTo>
                        <a:pt x="172" y="392"/>
                      </a:lnTo>
                      <a:lnTo>
                        <a:pt x="172" y="391"/>
                      </a:lnTo>
                      <a:lnTo>
                        <a:pt x="174" y="389"/>
                      </a:lnTo>
                      <a:lnTo>
                        <a:pt x="176" y="389"/>
                      </a:lnTo>
                      <a:lnTo>
                        <a:pt x="176" y="388"/>
                      </a:lnTo>
                      <a:lnTo>
                        <a:pt x="176" y="386"/>
                      </a:lnTo>
                      <a:lnTo>
                        <a:pt x="174" y="386"/>
                      </a:lnTo>
                      <a:lnTo>
                        <a:pt x="174" y="384"/>
                      </a:lnTo>
                      <a:lnTo>
                        <a:pt x="176" y="384"/>
                      </a:lnTo>
                      <a:lnTo>
                        <a:pt x="177" y="386"/>
                      </a:lnTo>
                      <a:lnTo>
                        <a:pt x="177" y="384"/>
                      </a:lnTo>
                      <a:lnTo>
                        <a:pt x="179" y="384"/>
                      </a:lnTo>
                      <a:lnTo>
                        <a:pt x="181" y="383"/>
                      </a:lnTo>
                      <a:lnTo>
                        <a:pt x="182" y="383"/>
                      </a:lnTo>
                      <a:lnTo>
                        <a:pt x="184" y="383"/>
                      </a:lnTo>
                      <a:lnTo>
                        <a:pt x="184" y="384"/>
                      </a:lnTo>
                      <a:lnTo>
                        <a:pt x="186" y="384"/>
                      </a:lnTo>
                      <a:lnTo>
                        <a:pt x="187" y="384"/>
                      </a:lnTo>
                      <a:lnTo>
                        <a:pt x="189" y="384"/>
                      </a:lnTo>
                      <a:lnTo>
                        <a:pt x="189" y="383"/>
                      </a:lnTo>
                      <a:lnTo>
                        <a:pt x="191" y="381"/>
                      </a:lnTo>
                      <a:lnTo>
                        <a:pt x="189" y="381"/>
                      </a:lnTo>
                      <a:lnTo>
                        <a:pt x="191" y="381"/>
                      </a:lnTo>
                      <a:lnTo>
                        <a:pt x="192" y="381"/>
                      </a:lnTo>
                      <a:lnTo>
                        <a:pt x="194" y="381"/>
                      </a:lnTo>
                      <a:lnTo>
                        <a:pt x="194" y="379"/>
                      </a:lnTo>
                      <a:lnTo>
                        <a:pt x="196" y="379"/>
                      </a:lnTo>
                      <a:lnTo>
                        <a:pt x="196" y="378"/>
                      </a:lnTo>
                      <a:lnTo>
                        <a:pt x="197" y="378"/>
                      </a:lnTo>
                      <a:lnTo>
                        <a:pt x="197" y="376"/>
                      </a:lnTo>
                      <a:lnTo>
                        <a:pt x="199" y="376"/>
                      </a:lnTo>
                      <a:lnTo>
                        <a:pt x="201" y="374"/>
                      </a:lnTo>
                      <a:lnTo>
                        <a:pt x="203" y="374"/>
                      </a:lnTo>
                      <a:lnTo>
                        <a:pt x="203" y="376"/>
                      </a:lnTo>
                      <a:lnTo>
                        <a:pt x="204" y="376"/>
                      </a:lnTo>
                      <a:lnTo>
                        <a:pt x="206" y="376"/>
                      </a:lnTo>
                      <a:lnTo>
                        <a:pt x="206" y="378"/>
                      </a:lnTo>
                      <a:lnTo>
                        <a:pt x="208" y="378"/>
                      </a:lnTo>
                      <a:lnTo>
                        <a:pt x="209" y="378"/>
                      </a:lnTo>
                      <a:lnTo>
                        <a:pt x="209" y="379"/>
                      </a:lnTo>
                      <a:lnTo>
                        <a:pt x="211" y="381"/>
                      </a:lnTo>
                      <a:lnTo>
                        <a:pt x="213" y="381"/>
                      </a:lnTo>
                      <a:lnTo>
                        <a:pt x="213" y="379"/>
                      </a:lnTo>
                      <a:lnTo>
                        <a:pt x="214" y="379"/>
                      </a:lnTo>
                      <a:lnTo>
                        <a:pt x="216" y="379"/>
                      </a:lnTo>
                      <a:lnTo>
                        <a:pt x="218" y="378"/>
                      </a:lnTo>
                      <a:lnTo>
                        <a:pt x="218" y="379"/>
                      </a:lnTo>
                      <a:lnTo>
                        <a:pt x="219" y="379"/>
                      </a:lnTo>
                      <a:lnTo>
                        <a:pt x="221" y="378"/>
                      </a:lnTo>
                      <a:lnTo>
                        <a:pt x="223" y="379"/>
                      </a:lnTo>
                      <a:lnTo>
                        <a:pt x="225" y="378"/>
                      </a:lnTo>
                      <a:lnTo>
                        <a:pt x="225" y="379"/>
                      </a:lnTo>
                      <a:lnTo>
                        <a:pt x="226" y="379"/>
                      </a:lnTo>
                      <a:lnTo>
                        <a:pt x="226" y="378"/>
                      </a:lnTo>
                      <a:lnTo>
                        <a:pt x="228" y="378"/>
                      </a:lnTo>
                      <a:lnTo>
                        <a:pt x="228" y="376"/>
                      </a:lnTo>
                      <a:lnTo>
                        <a:pt x="230" y="376"/>
                      </a:lnTo>
                      <a:lnTo>
                        <a:pt x="231" y="376"/>
                      </a:lnTo>
                      <a:lnTo>
                        <a:pt x="231" y="378"/>
                      </a:lnTo>
                      <a:lnTo>
                        <a:pt x="233" y="378"/>
                      </a:lnTo>
                      <a:lnTo>
                        <a:pt x="233" y="376"/>
                      </a:lnTo>
                      <a:lnTo>
                        <a:pt x="236" y="376"/>
                      </a:lnTo>
                      <a:lnTo>
                        <a:pt x="236" y="378"/>
                      </a:lnTo>
                      <a:lnTo>
                        <a:pt x="236" y="379"/>
                      </a:lnTo>
                      <a:lnTo>
                        <a:pt x="238" y="379"/>
                      </a:lnTo>
                      <a:lnTo>
                        <a:pt x="240" y="379"/>
                      </a:lnTo>
                      <a:lnTo>
                        <a:pt x="241" y="379"/>
                      </a:lnTo>
                      <a:lnTo>
                        <a:pt x="243" y="379"/>
                      </a:lnTo>
                      <a:lnTo>
                        <a:pt x="243" y="381"/>
                      </a:lnTo>
                      <a:lnTo>
                        <a:pt x="243" y="383"/>
                      </a:lnTo>
                      <a:lnTo>
                        <a:pt x="243" y="381"/>
                      </a:lnTo>
                      <a:lnTo>
                        <a:pt x="245" y="381"/>
                      </a:lnTo>
                      <a:lnTo>
                        <a:pt x="246" y="379"/>
                      </a:lnTo>
                      <a:lnTo>
                        <a:pt x="246" y="381"/>
                      </a:lnTo>
                      <a:lnTo>
                        <a:pt x="248" y="381"/>
                      </a:lnTo>
                      <a:lnTo>
                        <a:pt x="250" y="379"/>
                      </a:lnTo>
                      <a:lnTo>
                        <a:pt x="250" y="381"/>
                      </a:lnTo>
                      <a:lnTo>
                        <a:pt x="252" y="381"/>
                      </a:lnTo>
                      <a:lnTo>
                        <a:pt x="253" y="381"/>
                      </a:lnTo>
                      <a:lnTo>
                        <a:pt x="255" y="381"/>
                      </a:lnTo>
                      <a:lnTo>
                        <a:pt x="257" y="381"/>
                      </a:lnTo>
                      <a:lnTo>
                        <a:pt x="258" y="383"/>
                      </a:lnTo>
                      <a:lnTo>
                        <a:pt x="260" y="383"/>
                      </a:lnTo>
                      <a:lnTo>
                        <a:pt x="260" y="381"/>
                      </a:lnTo>
                      <a:lnTo>
                        <a:pt x="258" y="381"/>
                      </a:lnTo>
                      <a:lnTo>
                        <a:pt x="260" y="379"/>
                      </a:lnTo>
                      <a:lnTo>
                        <a:pt x="262" y="379"/>
                      </a:lnTo>
                      <a:lnTo>
                        <a:pt x="262" y="378"/>
                      </a:lnTo>
                      <a:lnTo>
                        <a:pt x="263" y="378"/>
                      </a:lnTo>
                      <a:lnTo>
                        <a:pt x="263" y="376"/>
                      </a:lnTo>
                      <a:lnTo>
                        <a:pt x="263" y="378"/>
                      </a:lnTo>
                      <a:lnTo>
                        <a:pt x="265" y="378"/>
                      </a:lnTo>
                      <a:lnTo>
                        <a:pt x="263" y="378"/>
                      </a:lnTo>
                      <a:lnTo>
                        <a:pt x="265" y="378"/>
                      </a:lnTo>
                      <a:lnTo>
                        <a:pt x="268" y="378"/>
                      </a:lnTo>
                      <a:lnTo>
                        <a:pt x="267" y="379"/>
                      </a:lnTo>
                      <a:lnTo>
                        <a:pt x="268" y="379"/>
                      </a:lnTo>
                      <a:lnTo>
                        <a:pt x="270" y="379"/>
                      </a:lnTo>
                      <a:lnTo>
                        <a:pt x="272" y="381"/>
                      </a:lnTo>
                      <a:lnTo>
                        <a:pt x="273" y="381"/>
                      </a:lnTo>
                      <a:lnTo>
                        <a:pt x="273" y="383"/>
                      </a:lnTo>
                      <a:lnTo>
                        <a:pt x="275" y="383"/>
                      </a:lnTo>
                      <a:lnTo>
                        <a:pt x="275" y="384"/>
                      </a:lnTo>
                      <a:lnTo>
                        <a:pt x="277" y="384"/>
                      </a:lnTo>
                      <a:lnTo>
                        <a:pt x="277" y="386"/>
                      </a:lnTo>
                      <a:lnTo>
                        <a:pt x="279" y="386"/>
                      </a:lnTo>
                      <a:lnTo>
                        <a:pt x="280" y="386"/>
                      </a:lnTo>
                      <a:lnTo>
                        <a:pt x="282" y="386"/>
                      </a:lnTo>
                      <a:lnTo>
                        <a:pt x="284" y="384"/>
                      </a:lnTo>
                      <a:lnTo>
                        <a:pt x="285" y="386"/>
                      </a:lnTo>
                      <a:lnTo>
                        <a:pt x="285" y="388"/>
                      </a:lnTo>
                      <a:lnTo>
                        <a:pt x="287" y="388"/>
                      </a:lnTo>
                      <a:lnTo>
                        <a:pt x="287" y="389"/>
                      </a:lnTo>
                      <a:lnTo>
                        <a:pt x="289" y="389"/>
                      </a:lnTo>
                      <a:lnTo>
                        <a:pt x="290" y="388"/>
                      </a:lnTo>
                      <a:lnTo>
                        <a:pt x="290" y="389"/>
                      </a:lnTo>
                      <a:lnTo>
                        <a:pt x="290" y="391"/>
                      </a:lnTo>
                      <a:lnTo>
                        <a:pt x="292" y="391"/>
                      </a:lnTo>
                      <a:lnTo>
                        <a:pt x="292" y="392"/>
                      </a:lnTo>
                      <a:lnTo>
                        <a:pt x="294" y="392"/>
                      </a:lnTo>
                      <a:lnTo>
                        <a:pt x="295" y="391"/>
                      </a:lnTo>
                      <a:lnTo>
                        <a:pt x="295" y="392"/>
                      </a:lnTo>
                      <a:lnTo>
                        <a:pt x="295" y="391"/>
                      </a:lnTo>
                      <a:lnTo>
                        <a:pt x="297" y="389"/>
                      </a:lnTo>
                      <a:lnTo>
                        <a:pt x="299" y="391"/>
                      </a:lnTo>
                      <a:lnTo>
                        <a:pt x="299" y="389"/>
                      </a:lnTo>
                      <a:lnTo>
                        <a:pt x="301" y="389"/>
                      </a:lnTo>
                      <a:lnTo>
                        <a:pt x="301" y="391"/>
                      </a:lnTo>
                      <a:lnTo>
                        <a:pt x="302" y="391"/>
                      </a:lnTo>
                      <a:lnTo>
                        <a:pt x="302" y="389"/>
                      </a:lnTo>
                      <a:lnTo>
                        <a:pt x="301" y="389"/>
                      </a:lnTo>
                      <a:lnTo>
                        <a:pt x="302" y="389"/>
                      </a:lnTo>
                      <a:lnTo>
                        <a:pt x="302" y="388"/>
                      </a:lnTo>
                      <a:lnTo>
                        <a:pt x="304" y="388"/>
                      </a:lnTo>
                      <a:lnTo>
                        <a:pt x="306" y="388"/>
                      </a:lnTo>
                      <a:lnTo>
                        <a:pt x="304" y="388"/>
                      </a:lnTo>
                      <a:lnTo>
                        <a:pt x="304" y="386"/>
                      </a:lnTo>
                      <a:lnTo>
                        <a:pt x="306" y="386"/>
                      </a:lnTo>
                      <a:lnTo>
                        <a:pt x="306" y="384"/>
                      </a:lnTo>
                      <a:lnTo>
                        <a:pt x="307" y="384"/>
                      </a:lnTo>
                      <a:lnTo>
                        <a:pt x="309" y="386"/>
                      </a:lnTo>
                      <a:lnTo>
                        <a:pt x="311" y="386"/>
                      </a:lnTo>
                      <a:lnTo>
                        <a:pt x="311" y="384"/>
                      </a:lnTo>
                      <a:lnTo>
                        <a:pt x="312" y="384"/>
                      </a:lnTo>
                      <a:lnTo>
                        <a:pt x="312" y="383"/>
                      </a:lnTo>
                      <a:lnTo>
                        <a:pt x="312" y="381"/>
                      </a:lnTo>
                      <a:lnTo>
                        <a:pt x="314" y="381"/>
                      </a:lnTo>
                      <a:lnTo>
                        <a:pt x="314" y="379"/>
                      </a:lnTo>
                      <a:lnTo>
                        <a:pt x="316" y="381"/>
                      </a:lnTo>
                      <a:lnTo>
                        <a:pt x="316" y="379"/>
                      </a:lnTo>
                      <a:lnTo>
                        <a:pt x="316" y="381"/>
                      </a:lnTo>
                      <a:lnTo>
                        <a:pt x="317" y="381"/>
                      </a:lnTo>
                      <a:lnTo>
                        <a:pt x="319" y="379"/>
                      </a:lnTo>
                      <a:lnTo>
                        <a:pt x="321" y="379"/>
                      </a:lnTo>
                      <a:lnTo>
                        <a:pt x="321" y="378"/>
                      </a:lnTo>
                      <a:lnTo>
                        <a:pt x="322" y="376"/>
                      </a:lnTo>
                      <a:lnTo>
                        <a:pt x="322" y="378"/>
                      </a:lnTo>
                      <a:lnTo>
                        <a:pt x="324" y="378"/>
                      </a:lnTo>
                      <a:lnTo>
                        <a:pt x="324" y="376"/>
                      </a:lnTo>
                      <a:lnTo>
                        <a:pt x="326" y="376"/>
                      </a:lnTo>
                      <a:lnTo>
                        <a:pt x="326" y="374"/>
                      </a:lnTo>
                      <a:lnTo>
                        <a:pt x="324" y="374"/>
                      </a:lnTo>
                      <a:lnTo>
                        <a:pt x="324" y="373"/>
                      </a:lnTo>
                      <a:lnTo>
                        <a:pt x="322" y="373"/>
                      </a:lnTo>
                      <a:lnTo>
                        <a:pt x="324" y="373"/>
                      </a:lnTo>
                      <a:lnTo>
                        <a:pt x="324" y="371"/>
                      </a:lnTo>
                      <a:lnTo>
                        <a:pt x="324" y="369"/>
                      </a:lnTo>
                      <a:lnTo>
                        <a:pt x="326" y="369"/>
                      </a:lnTo>
                      <a:lnTo>
                        <a:pt x="326" y="371"/>
                      </a:lnTo>
                      <a:lnTo>
                        <a:pt x="326" y="369"/>
                      </a:lnTo>
                      <a:lnTo>
                        <a:pt x="328" y="369"/>
                      </a:lnTo>
                      <a:lnTo>
                        <a:pt x="328" y="368"/>
                      </a:lnTo>
                      <a:lnTo>
                        <a:pt x="329" y="368"/>
                      </a:lnTo>
                      <a:lnTo>
                        <a:pt x="328" y="368"/>
                      </a:lnTo>
                      <a:lnTo>
                        <a:pt x="329" y="368"/>
                      </a:lnTo>
                      <a:lnTo>
                        <a:pt x="329" y="366"/>
                      </a:lnTo>
                      <a:lnTo>
                        <a:pt x="331" y="366"/>
                      </a:lnTo>
                      <a:lnTo>
                        <a:pt x="331" y="365"/>
                      </a:lnTo>
                      <a:lnTo>
                        <a:pt x="333" y="365"/>
                      </a:lnTo>
                      <a:lnTo>
                        <a:pt x="333" y="366"/>
                      </a:lnTo>
                      <a:lnTo>
                        <a:pt x="333" y="368"/>
                      </a:lnTo>
                      <a:lnTo>
                        <a:pt x="334" y="368"/>
                      </a:lnTo>
                      <a:lnTo>
                        <a:pt x="333" y="368"/>
                      </a:lnTo>
                      <a:lnTo>
                        <a:pt x="333" y="366"/>
                      </a:lnTo>
                      <a:lnTo>
                        <a:pt x="334" y="366"/>
                      </a:lnTo>
                      <a:lnTo>
                        <a:pt x="334" y="365"/>
                      </a:lnTo>
                      <a:lnTo>
                        <a:pt x="336" y="365"/>
                      </a:lnTo>
                      <a:lnTo>
                        <a:pt x="338" y="365"/>
                      </a:lnTo>
                      <a:lnTo>
                        <a:pt x="338" y="363"/>
                      </a:lnTo>
                      <a:lnTo>
                        <a:pt x="339" y="363"/>
                      </a:lnTo>
                      <a:lnTo>
                        <a:pt x="341" y="361"/>
                      </a:lnTo>
                      <a:lnTo>
                        <a:pt x="343" y="361"/>
                      </a:lnTo>
                      <a:lnTo>
                        <a:pt x="343" y="363"/>
                      </a:lnTo>
                      <a:lnTo>
                        <a:pt x="343" y="361"/>
                      </a:lnTo>
                      <a:lnTo>
                        <a:pt x="343" y="360"/>
                      </a:lnTo>
                      <a:lnTo>
                        <a:pt x="344" y="360"/>
                      </a:lnTo>
                      <a:lnTo>
                        <a:pt x="346" y="360"/>
                      </a:lnTo>
                      <a:lnTo>
                        <a:pt x="344" y="360"/>
                      </a:lnTo>
                      <a:lnTo>
                        <a:pt x="346" y="358"/>
                      </a:lnTo>
                      <a:lnTo>
                        <a:pt x="348" y="358"/>
                      </a:lnTo>
                      <a:lnTo>
                        <a:pt x="349" y="356"/>
                      </a:lnTo>
                      <a:lnTo>
                        <a:pt x="349" y="355"/>
                      </a:lnTo>
                      <a:lnTo>
                        <a:pt x="349" y="356"/>
                      </a:lnTo>
                      <a:lnTo>
                        <a:pt x="349" y="355"/>
                      </a:lnTo>
                      <a:lnTo>
                        <a:pt x="351" y="355"/>
                      </a:lnTo>
                      <a:lnTo>
                        <a:pt x="353" y="353"/>
                      </a:lnTo>
                      <a:lnTo>
                        <a:pt x="355" y="353"/>
                      </a:lnTo>
                      <a:lnTo>
                        <a:pt x="356" y="353"/>
                      </a:lnTo>
                      <a:lnTo>
                        <a:pt x="356" y="351"/>
                      </a:lnTo>
                      <a:lnTo>
                        <a:pt x="356" y="350"/>
                      </a:lnTo>
                      <a:lnTo>
                        <a:pt x="356" y="351"/>
                      </a:lnTo>
                      <a:lnTo>
                        <a:pt x="356" y="350"/>
                      </a:lnTo>
                      <a:lnTo>
                        <a:pt x="355" y="350"/>
                      </a:lnTo>
                      <a:lnTo>
                        <a:pt x="356" y="350"/>
                      </a:lnTo>
                      <a:lnTo>
                        <a:pt x="356" y="348"/>
                      </a:lnTo>
                      <a:lnTo>
                        <a:pt x="355" y="348"/>
                      </a:lnTo>
                      <a:lnTo>
                        <a:pt x="355" y="346"/>
                      </a:lnTo>
                      <a:lnTo>
                        <a:pt x="355" y="348"/>
                      </a:lnTo>
                      <a:lnTo>
                        <a:pt x="355" y="346"/>
                      </a:lnTo>
                      <a:lnTo>
                        <a:pt x="353" y="346"/>
                      </a:lnTo>
                      <a:lnTo>
                        <a:pt x="353" y="345"/>
                      </a:lnTo>
                      <a:lnTo>
                        <a:pt x="355" y="345"/>
                      </a:lnTo>
                      <a:lnTo>
                        <a:pt x="355" y="343"/>
                      </a:lnTo>
                      <a:lnTo>
                        <a:pt x="353" y="343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1" y="340"/>
                      </a:lnTo>
                      <a:lnTo>
                        <a:pt x="351" y="342"/>
                      </a:lnTo>
                      <a:lnTo>
                        <a:pt x="351" y="340"/>
                      </a:lnTo>
                      <a:lnTo>
                        <a:pt x="351" y="338"/>
                      </a:lnTo>
                      <a:lnTo>
                        <a:pt x="351" y="337"/>
                      </a:lnTo>
                      <a:lnTo>
                        <a:pt x="349" y="337"/>
                      </a:lnTo>
                      <a:lnTo>
                        <a:pt x="349" y="335"/>
                      </a:lnTo>
                      <a:lnTo>
                        <a:pt x="349" y="333"/>
                      </a:lnTo>
                      <a:lnTo>
                        <a:pt x="349" y="332"/>
                      </a:lnTo>
                      <a:lnTo>
                        <a:pt x="348" y="332"/>
                      </a:lnTo>
                      <a:lnTo>
                        <a:pt x="348" y="330"/>
                      </a:lnTo>
                      <a:lnTo>
                        <a:pt x="349" y="330"/>
                      </a:lnTo>
                      <a:lnTo>
                        <a:pt x="351" y="330"/>
                      </a:lnTo>
                      <a:lnTo>
                        <a:pt x="351" y="328"/>
                      </a:lnTo>
                      <a:lnTo>
                        <a:pt x="349" y="328"/>
                      </a:lnTo>
                      <a:lnTo>
                        <a:pt x="351" y="328"/>
                      </a:lnTo>
                      <a:lnTo>
                        <a:pt x="349" y="328"/>
                      </a:lnTo>
                      <a:lnTo>
                        <a:pt x="349" y="327"/>
                      </a:lnTo>
                      <a:lnTo>
                        <a:pt x="351" y="327"/>
                      </a:lnTo>
                      <a:lnTo>
                        <a:pt x="351" y="325"/>
                      </a:lnTo>
                      <a:lnTo>
                        <a:pt x="353" y="325"/>
                      </a:lnTo>
                      <a:lnTo>
                        <a:pt x="351" y="325"/>
                      </a:lnTo>
                      <a:lnTo>
                        <a:pt x="351" y="323"/>
                      </a:lnTo>
                      <a:lnTo>
                        <a:pt x="351" y="322"/>
                      </a:lnTo>
                      <a:lnTo>
                        <a:pt x="353" y="322"/>
                      </a:lnTo>
                      <a:lnTo>
                        <a:pt x="355" y="320"/>
                      </a:lnTo>
                      <a:lnTo>
                        <a:pt x="355" y="319"/>
                      </a:lnTo>
                      <a:lnTo>
                        <a:pt x="355" y="317"/>
                      </a:lnTo>
                      <a:lnTo>
                        <a:pt x="356" y="317"/>
                      </a:lnTo>
                      <a:lnTo>
                        <a:pt x="358" y="317"/>
                      </a:lnTo>
                      <a:lnTo>
                        <a:pt x="358" y="315"/>
                      </a:lnTo>
                      <a:lnTo>
                        <a:pt x="356" y="315"/>
                      </a:lnTo>
                      <a:lnTo>
                        <a:pt x="358" y="315"/>
                      </a:lnTo>
                      <a:lnTo>
                        <a:pt x="356" y="315"/>
                      </a:lnTo>
                      <a:lnTo>
                        <a:pt x="358" y="314"/>
                      </a:lnTo>
                      <a:lnTo>
                        <a:pt x="358" y="312"/>
                      </a:lnTo>
                      <a:lnTo>
                        <a:pt x="358" y="310"/>
                      </a:lnTo>
                      <a:lnTo>
                        <a:pt x="358" y="309"/>
                      </a:lnTo>
                      <a:lnTo>
                        <a:pt x="356" y="309"/>
                      </a:lnTo>
                      <a:lnTo>
                        <a:pt x="356" y="307"/>
                      </a:lnTo>
                      <a:lnTo>
                        <a:pt x="355" y="305"/>
                      </a:lnTo>
                      <a:lnTo>
                        <a:pt x="355" y="304"/>
                      </a:lnTo>
                      <a:lnTo>
                        <a:pt x="353" y="304"/>
                      </a:lnTo>
                      <a:lnTo>
                        <a:pt x="353" y="302"/>
                      </a:lnTo>
                      <a:lnTo>
                        <a:pt x="351" y="302"/>
                      </a:lnTo>
                      <a:lnTo>
                        <a:pt x="351" y="304"/>
                      </a:lnTo>
                      <a:lnTo>
                        <a:pt x="349" y="302"/>
                      </a:lnTo>
                      <a:lnTo>
                        <a:pt x="348" y="302"/>
                      </a:lnTo>
                      <a:lnTo>
                        <a:pt x="346" y="302"/>
                      </a:lnTo>
                      <a:lnTo>
                        <a:pt x="344" y="302"/>
                      </a:lnTo>
                      <a:lnTo>
                        <a:pt x="343" y="302"/>
                      </a:lnTo>
                      <a:lnTo>
                        <a:pt x="343" y="304"/>
                      </a:lnTo>
                      <a:lnTo>
                        <a:pt x="341" y="304"/>
                      </a:lnTo>
                      <a:lnTo>
                        <a:pt x="339" y="304"/>
                      </a:lnTo>
                      <a:lnTo>
                        <a:pt x="339" y="302"/>
                      </a:lnTo>
                      <a:lnTo>
                        <a:pt x="338" y="302"/>
                      </a:lnTo>
                      <a:lnTo>
                        <a:pt x="338" y="304"/>
                      </a:lnTo>
                      <a:lnTo>
                        <a:pt x="336" y="304"/>
                      </a:lnTo>
                      <a:lnTo>
                        <a:pt x="336" y="302"/>
                      </a:lnTo>
                      <a:lnTo>
                        <a:pt x="336" y="300"/>
                      </a:lnTo>
                      <a:lnTo>
                        <a:pt x="336" y="299"/>
                      </a:lnTo>
                      <a:lnTo>
                        <a:pt x="334" y="299"/>
                      </a:lnTo>
                      <a:lnTo>
                        <a:pt x="334" y="297"/>
                      </a:lnTo>
                      <a:lnTo>
                        <a:pt x="333" y="297"/>
                      </a:lnTo>
                      <a:lnTo>
                        <a:pt x="333" y="296"/>
                      </a:lnTo>
                      <a:lnTo>
                        <a:pt x="333" y="297"/>
                      </a:lnTo>
                      <a:lnTo>
                        <a:pt x="333" y="296"/>
                      </a:lnTo>
                      <a:lnTo>
                        <a:pt x="334" y="296"/>
                      </a:lnTo>
                      <a:lnTo>
                        <a:pt x="334" y="294"/>
                      </a:lnTo>
                      <a:lnTo>
                        <a:pt x="333" y="292"/>
                      </a:lnTo>
                      <a:lnTo>
                        <a:pt x="334" y="292"/>
                      </a:lnTo>
                      <a:lnTo>
                        <a:pt x="333" y="292"/>
                      </a:lnTo>
                      <a:lnTo>
                        <a:pt x="333" y="291"/>
                      </a:lnTo>
                      <a:lnTo>
                        <a:pt x="334" y="291"/>
                      </a:lnTo>
                      <a:lnTo>
                        <a:pt x="333" y="289"/>
                      </a:lnTo>
                      <a:lnTo>
                        <a:pt x="334" y="289"/>
                      </a:lnTo>
                      <a:lnTo>
                        <a:pt x="334" y="291"/>
                      </a:lnTo>
                      <a:lnTo>
                        <a:pt x="334" y="289"/>
                      </a:lnTo>
                      <a:lnTo>
                        <a:pt x="334" y="287"/>
                      </a:lnTo>
                      <a:lnTo>
                        <a:pt x="334" y="286"/>
                      </a:lnTo>
                      <a:lnTo>
                        <a:pt x="336" y="286"/>
                      </a:lnTo>
                      <a:lnTo>
                        <a:pt x="334" y="286"/>
                      </a:lnTo>
                      <a:lnTo>
                        <a:pt x="334" y="284"/>
                      </a:lnTo>
                      <a:lnTo>
                        <a:pt x="336" y="284"/>
                      </a:lnTo>
                      <a:lnTo>
                        <a:pt x="336" y="286"/>
                      </a:lnTo>
                      <a:lnTo>
                        <a:pt x="338" y="286"/>
                      </a:lnTo>
                      <a:lnTo>
                        <a:pt x="338" y="287"/>
                      </a:lnTo>
                      <a:lnTo>
                        <a:pt x="339" y="286"/>
                      </a:lnTo>
                      <a:lnTo>
                        <a:pt x="339" y="287"/>
                      </a:lnTo>
                      <a:lnTo>
                        <a:pt x="341" y="287"/>
                      </a:lnTo>
                      <a:lnTo>
                        <a:pt x="339" y="287"/>
                      </a:lnTo>
                      <a:lnTo>
                        <a:pt x="339" y="286"/>
                      </a:lnTo>
                      <a:lnTo>
                        <a:pt x="341" y="286"/>
                      </a:lnTo>
                      <a:lnTo>
                        <a:pt x="341" y="287"/>
                      </a:lnTo>
                      <a:lnTo>
                        <a:pt x="341" y="286"/>
                      </a:lnTo>
                      <a:lnTo>
                        <a:pt x="343" y="286"/>
                      </a:lnTo>
                      <a:lnTo>
                        <a:pt x="341" y="286"/>
                      </a:lnTo>
                      <a:lnTo>
                        <a:pt x="341" y="284"/>
                      </a:lnTo>
                      <a:lnTo>
                        <a:pt x="343" y="284"/>
                      </a:lnTo>
                      <a:lnTo>
                        <a:pt x="344" y="284"/>
                      </a:lnTo>
                      <a:lnTo>
                        <a:pt x="343" y="282"/>
                      </a:lnTo>
                      <a:lnTo>
                        <a:pt x="344" y="282"/>
                      </a:lnTo>
                      <a:lnTo>
                        <a:pt x="344" y="281"/>
                      </a:lnTo>
                      <a:lnTo>
                        <a:pt x="343" y="281"/>
                      </a:lnTo>
                      <a:lnTo>
                        <a:pt x="343" y="279"/>
                      </a:lnTo>
                      <a:lnTo>
                        <a:pt x="344" y="279"/>
                      </a:lnTo>
                      <a:lnTo>
                        <a:pt x="343" y="279"/>
                      </a:lnTo>
                      <a:lnTo>
                        <a:pt x="344" y="279"/>
                      </a:lnTo>
                      <a:lnTo>
                        <a:pt x="344" y="277"/>
                      </a:lnTo>
                      <a:lnTo>
                        <a:pt x="346" y="277"/>
                      </a:lnTo>
                      <a:lnTo>
                        <a:pt x="348" y="277"/>
                      </a:lnTo>
                      <a:lnTo>
                        <a:pt x="348" y="276"/>
                      </a:lnTo>
                      <a:lnTo>
                        <a:pt x="348" y="274"/>
                      </a:lnTo>
                      <a:lnTo>
                        <a:pt x="349" y="274"/>
                      </a:lnTo>
                      <a:lnTo>
                        <a:pt x="349" y="273"/>
                      </a:lnTo>
                      <a:lnTo>
                        <a:pt x="349" y="274"/>
                      </a:lnTo>
                      <a:lnTo>
                        <a:pt x="351" y="274"/>
                      </a:lnTo>
                      <a:lnTo>
                        <a:pt x="351" y="273"/>
                      </a:lnTo>
                      <a:lnTo>
                        <a:pt x="349" y="273"/>
                      </a:lnTo>
                      <a:lnTo>
                        <a:pt x="349" y="271"/>
                      </a:lnTo>
                      <a:lnTo>
                        <a:pt x="349" y="273"/>
                      </a:lnTo>
                      <a:lnTo>
                        <a:pt x="349" y="271"/>
                      </a:lnTo>
                      <a:lnTo>
                        <a:pt x="351" y="271"/>
                      </a:lnTo>
                      <a:lnTo>
                        <a:pt x="351" y="273"/>
                      </a:lnTo>
                      <a:lnTo>
                        <a:pt x="351" y="271"/>
                      </a:lnTo>
                      <a:lnTo>
                        <a:pt x="349" y="271"/>
                      </a:lnTo>
                      <a:lnTo>
                        <a:pt x="351" y="271"/>
                      </a:lnTo>
                      <a:lnTo>
                        <a:pt x="349" y="271"/>
                      </a:lnTo>
                      <a:lnTo>
                        <a:pt x="349" y="269"/>
                      </a:lnTo>
                      <a:lnTo>
                        <a:pt x="351" y="269"/>
                      </a:lnTo>
                      <a:lnTo>
                        <a:pt x="353" y="269"/>
                      </a:lnTo>
                      <a:lnTo>
                        <a:pt x="353" y="268"/>
                      </a:lnTo>
                      <a:lnTo>
                        <a:pt x="353" y="269"/>
                      </a:lnTo>
                      <a:lnTo>
                        <a:pt x="353" y="268"/>
                      </a:lnTo>
                      <a:lnTo>
                        <a:pt x="353" y="269"/>
                      </a:lnTo>
                      <a:lnTo>
                        <a:pt x="355" y="268"/>
                      </a:lnTo>
                      <a:lnTo>
                        <a:pt x="355" y="269"/>
                      </a:lnTo>
                      <a:lnTo>
                        <a:pt x="355" y="268"/>
                      </a:lnTo>
                      <a:lnTo>
                        <a:pt x="356" y="268"/>
                      </a:lnTo>
                      <a:lnTo>
                        <a:pt x="356" y="266"/>
                      </a:lnTo>
                      <a:lnTo>
                        <a:pt x="358" y="266"/>
                      </a:lnTo>
                      <a:lnTo>
                        <a:pt x="356" y="266"/>
                      </a:lnTo>
                      <a:lnTo>
                        <a:pt x="358" y="266"/>
                      </a:lnTo>
                      <a:lnTo>
                        <a:pt x="358" y="264"/>
                      </a:lnTo>
                      <a:lnTo>
                        <a:pt x="356" y="266"/>
                      </a:lnTo>
                      <a:lnTo>
                        <a:pt x="356" y="264"/>
                      </a:lnTo>
                      <a:lnTo>
                        <a:pt x="358" y="264"/>
                      </a:lnTo>
                      <a:lnTo>
                        <a:pt x="358" y="263"/>
                      </a:lnTo>
                      <a:lnTo>
                        <a:pt x="360" y="263"/>
                      </a:lnTo>
                      <a:lnTo>
                        <a:pt x="360" y="264"/>
                      </a:lnTo>
                      <a:lnTo>
                        <a:pt x="360" y="263"/>
                      </a:lnTo>
                      <a:lnTo>
                        <a:pt x="360" y="264"/>
                      </a:lnTo>
                      <a:lnTo>
                        <a:pt x="360" y="263"/>
                      </a:lnTo>
                      <a:lnTo>
                        <a:pt x="360" y="264"/>
                      </a:lnTo>
                      <a:lnTo>
                        <a:pt x="360" y="263"/>
                      </a:lnTo>
                      <a:lnTo>
                        <a:pt x="361" y="263"/>
                      </a:lnTo>
                      <a:lnTo>
                        <a:pt x="363" y="263"/>
                      </a:lnTo>
                      <a:lnTo>
                        <a:pt x="361" y="263"/>
                      </a:lnTo>
                      <a:lnTo>
                        <a:pt x="361" y="261"/>
                      </a:lnTo>
                      <a:lnTo>
                        <a:pt x="363" y="263"/>
                      </a:lnTo>
                      <a:lnTo>
                        <a:pt x="363" y="261"/>
                      </a:lnTo>
                      <a:lnTo>
                        <a:pt x="365" y="261"/>
                      </a:lnTo>
                      <a:lnTo>
                        <a:pt x="363" y="261"/>
                      </a:lnTo>
                      <a:lnTo>
                        <a:pt x="365" y="261"/>
                      </a:lnTo>
                      <a:lnTo>
                        <a:pt x="366" y="261"/>
                      </a:lnTo>
                      <a:lnTo>
                        <a:pt x="365" y="261"/>
                      </a:lnTo>
                      <a:lnTo>
                        <a:pt x="365" y="259"/>
                      </a:lnTo>
                      <a:lnTo>
                        <a:pt x="366" y="259"/>
                      </a:lnTo>
                      <a:lnTo>
                        <a:pt x="366" y="261"/>
                      </a:lnTo>
                      <a:lnTo>
                        <a:pt x="366" y="259"/>
                      </a:lnTo>
                      <a:lnTo>
                        <a:pt x="366" y="258"/>
                      </a:lnTo>
                      <a:lnTo>
                        <a:pt x="368" y="258"/>
                      </a:lnTo>
                      <a:lnTo>
                        <a:pt x="368" y="259"/>
                      </a:lnTo>
                      <a:lnTo>
                        <a:pt x="368" y="258"/>
                      </a:lnTo>
                      <a:lnTo>
                        <a:pt x="370" y="258"/>
                      </a:lnTo>
                      <a:lnTo>
                        <a:pt x="368" y="258"/>
                      </a:lnTo>
                      <a:lnTo>
                        <a:pt x="370" y="256"/>
                      </a:lnTo>
                      <a:lnTo>
                        <a:pt x="370" y="258"/>
                      </a:lnTo>
                      <a:lnTo>
                        <a:pt x="370" y="256"/>
                      </a:lnTo>
                      <a:lnTo>
                        <a:pt x="371" y="256"/>
                      </a:lnTo>
                      <a:lnTo>
                        <a:pt x="371" y="255"/>
                      </a:lnTo>
                      <a:lnTo>
                        <a:pt x="370" y="255"/>
                      </a:lnTo>
                      <a:lnTo>
                        <a:pt x="370" y="256"/>
                      </a:lnTo>
                      <a:lnTo>
                        <a:pt x="370" y="255"/>
                      </a:lnTo>
                      <a:lnTo>
                        <a:pt x="371" y="255"/>
                      </a:lnTo>
                      <a:lnTo>
                        <a:pt x="371" y="253"/>
                      </a:lnTo>
                      <a:lnTo>
                        <a:pt x="370" y="251"/>
                      </a:lnTo>
                      <a:lnTo>
                        <a:pt x="368" y="251"/>
                      </a:lnTo>
                      <a:lnTo>
                        <a:pt x="370" y="251"/>
                      </a:lnTo>
                      <a:lnTo>
                        <a:pt x="370" y="250"/>
                      </a:lnTo>
                      <a:lnTo>
                        <a:pt x="368" y="250"/>
                      </a:lnTo>
                      <a:lnTo>
                        <a:pt x="368" y="248"/>
                      </a:lnTo>
                      <a:lnTo>
                        <a:pt x="366" y="248"/>
                      </a:lnTo>
                      <a:lnTo>
                        <a:pt x="368" y="248"/>
                      </a:lnTo>
                      <a:lnTo>
                        <a:pt x="368" y="246"/>
                      </a:lnTo>
                      <a:lnTo>
                        <a:pt x="366" y="246"/>
                      </a:lnTo>
                      <a:lnTo>
                        <a:pt x="366" y="245"/>
                      </a:lnTo>
                      <a:lnTo>
                        <a:pt x="366" y="246"/>
                      </a:lnTo>
                      <a:lnTo>
                        <a:pt x="365" y="246"/>
                      </a:lnTo>
                      <a:lnTo>
                        <a:pt x="365" y="245"/>
                      </a:lnTo>
                      <a:lnTo>
                        <a:pt x="365" y="243"/>
                      </a:lnTo>
                      <a:lnTo>
                        <a:pt x="363" y="241"/>
                      </a:lnTo>
                      <a:lnTo>
                        <a:pt x="365" y="241"/>
                      </a:lnTo>
                      <a:lnTo>
                        <a:pt x="365" y="240"/>
                      </a:lnTo>
                      <a:lnTo>
                        <a:pt x="365" y="238"/>
                      </a:lnTo>
                      <a:lnTo>
                        <a:pt x="363" y="238"/>
                      </a:lnTo>
                      <a:lnTo>
                        <a:pt x="365" y="238"/>
                      </a:lnTo>
                      <a:lnTo>
                        <a:pt x="363" y="238"/>
                      </a:lnTo>
                      <a:lnTo>
                        <a:pt x="363" y="236"/>
                      </a:lnTo>
                      <a:lnTo>
                        <a:pt x="363" y="235"/>
                      </a:lnTo>
                      <a:lnTo>
                        <a:pt x="361" y="233"/>
                      </a:lnTo>
                      <a:lnTo>
                        <a:pt x="363" y="233"/>
                      </a:lnTo>
                      <a:lnTo>
                        <a:pt x="361" y="233"/>
                      </a:lnTo>
                      <a:lnTo>
                        <a:pt x="361" y="232"/>
                      </a:lnTo>
                      <a:lnTo>
                        <a:pt x="363" y="232"/>
                      </a:lnTo>
                      <a:lnTo>
                        <a:pt x="363" y="230"/>
                      </a:lnTo>
                      <a:lnTo>
                        <a:pt x="361" y="230"/>
                      </a:lnTo>
                      <a:lnTo>
                        <a:pt x="363" y="230"/>
                      </a:lnTo>
                      <a:lnTo>
                        <a:pt x="363" y="228"/>
                      </a:lnTo>
                      <a:lnTo>
                        <a:pt x="361" y="228"/>
                      </a:lnTo>
                      <a:lnTo>
                        <a:pt x="361" y="227"/>
                      </a:lnTo>
                      <a:lnTo>
                        <a:pt x="360" y="228"/>
                      </a:lnTo>
                      <a:lnTo>
                        <a:pt x="360" y="227"/>
                      </a:lnTo>
                      <a:lnTo>
                        <a:pt x="360" y="225"/>
                      </a:lnTo>
                      <a:lnTo>
                        <a:pt x="360" y="223"/>
                      </a:lnTo>
                      <a:lnTo>
                        <a:pt x="358" y="223"/>
                      </a:lnTo>
                      <a:lnTo>
                        <a:pt x="358" y="222"/>
                      </a:lnTo>
                      <a:lnTo>
                        <a:pt x="356" y="222"/>
                      </a:lnTo>
                      <a:lnTo>
                        <a:pt x="356" y="220"/>
                      </a:lnTo>
                      <a:lnTo>
                        <a:pt x="356" y="222"/>
                      </a:lnTo>
                      <a:lnTo>
                        <a:pt x="356" y="220"/>
                      </a:lnTo>
                      <a:lnTo>
                        <a:pt x="355" y="220"/>
                      </a:lnTo>
                      <a:lnTo>
                        <a:pt x="353" y="218"/>
                      </a:lnTo>
                      <a:lnTo>
                        <a:pt x="353" y="220"/>
                      </a:lnTo>
                      <a:lnTo>
                        <a:pt x="353" y="218"/>
                      </a:lnTo>
                      <a:lnTo>
                        <a:pt x="355" y="218"/>
                      </a:lnTo>
                      <a:lnTo>
                        <a:pt x="353" y="218"/>
                      </a:lnTo>
                      <a:lnTo>
                        <a:pt x="351" y="218"/>
                      </a:lnTo>
                      <a:lnTo>
                        <a:pt x="353" y="218"/>
                      </a:lnTo>
                      <a:lnTo>
                        <a:pt x="351" y="218"/>
                      </a:lnTo>
                      <a:lnTo>
                        <a:pt x="351" y="217"/>
                      </a:lnTo>
                      <a:lnTo>
                        <a:pt x="349" y="217"/>
                      </a:lnTo>
                      <a:lnTo>
                        <a:pt x="349" y="218"/>
                      </a:lnTo>
                      <a:lnTo>
                        <a:pt x="348" y="217"/>
                      </a:lnTo>
                      <a:lnTo>
                        <a:pt x="348" y="218"/>
                      </a:lnTo>
                      <a:lnTo>
                        <a:pt x="348" y="217"/>
                      </a:lnTo>
                      <a:lnTo>
                        <a:pt x="348" y="215"/>
                      </a:lnTo>
                      <a:lnTo>
                        <a:pt x="346" y="215"/>
                      </a:lnTo>
                      <a:lnTo>
                        <a:pt x="348" y="217"/>
                      </a:lnTo>
                      <a:lnTo>
                        <a:pt x="346" y="217"/>
                      </a:lnTo>
                      <a:lnTo>
                        <a:pt x="346" y="215"/>
                      </a:lnTo>
                      <a:lnTo>
                        <a:pt x="344" y="215"/>
                      </a:lnTo>
                      <a:lnTo>
                        <a:pt x="344" y="213"/>
                      </a:lnTo>
                      <a:lnTo>
                        <a:pt x="346" y="213"/>
                      </a:lnTo>
                      <a:lnTo>
                        <a:pt x="344" y="213"/>
                      </a:lnTo>
                      <a:lnTo>
                        <a:pt x="343" y="213"/>
                      </a:lnTo>
                      <a:lnTo>
                        <a:pt x="343" y="212"/>
                      </a:lnTo>
                      <a:lnTo>
                        <a:pt x="341" y="212"/>
                      </a:lnTo>
                      <a:lnTo>
                        <a:pt x="341" y="210"/>
                      </a:lnTo>
                      <a:lnTo>
                        <a:pt x="341" y="209"/>
                      </a:lnTo>
                      <a:lnTo>
                        <a:pt x="339" y="209"/>
                      </a:lnTo>
                      <a:lnTo>
                        <a:pt x="341" y="209"/>
                      </a:lnTo>
                      <a:lnTo>
                        <a:pt x="341" y="207"/>
                      </a:lnTo>
                      <a:lnTo>
                        <a:pt x="341" y="205"/>
                      </a:lnTo>
                      <a:lnTo>
                        <a:pt x="341" y="204"/>
                      </a:lnTo>
                      <a:lnTo>
                        <a:pt x="343" y="204"/>
                      </a:lnTo>
                      <a:lnTo>
                        <a:pt x="343" y="202"/>
                      </a:lnTo>
                      <a:lnTo>
                        <a:pt x="343" y="200"/>
                      </a:lnTo>
                      <a:lnTo>
                        <a:pt x="344" y="200"/>
                      </a:lnTo>
                      <a:lnTo>
                        <a:pt x="343" y="200"/>
                      </a:lnTo>
                      <a:lnTo>
                        <a:pt x="343" y="199"/>
                      </a:lnTo>
                      <a:lnTo>
                        <a:pt x="344" y="199"/>
                      </a:lnTo>
                      <a:lnTo>
                        <a:pt x="344" y="197"/>
                      </a:lnTo>
                      <a:lnTo>
                        <a:pt x="346" y="197"/>
                      </a:lnTo>
                      <a:lnTo>
                        <a:pt x="346" y="195"/>
                      </a:lnTo>
                      <a:lnTo>
                        <a:pt x="348" y="195"/>
                      </a:lnTo>
                      <a:lnTo>
                        <a:pt x="348" y="194"/>
                      </a:lnTo>
                      <a:lnTo>
                        <a:pt x="349" y="192"/>
                      </a:lnTo>
                      <a:lnTo>
                        <a:pt x="349" y="190"/>
                      </a:lnTo>
                      <a:lnTo>
                        <a:pt x="351" y="190"/>
                      </a:lnTo>
                      <a:lnTo>
                        <a:pt x="349" y="190"/>
                      </a:lnTo>
                      <a:lnTo>
                        <a:pt x="349" y="189"/>
                      </a:lnTo>
                      <a:lnTo>
                        <a:pt x="351" y="189"/>
                      </a:lnTo>
                      <a:lnTo>
                        <a:pt x="351" y="187"/>
                      </a:lnTo>
                      <a:lnTo>
                        <a:pt x="353" y="186"/>
                      </a:lnTo>
                      <a:lnTo>
                        <a:pt x="353" y="184"/>
                      </a:lnTo>
                      <a:lnTo>
                        <a:pt x="353" y="182"/>
                      </a:lnTo>
                      <a:lnTo>
                        <a:pt x="353" y="181"/>
                      </a:lnTo>
                      <a:lnTo>
                        <a:pt x="353" y="179"/>
                      </a:lnTo>
                      <a:lnTo>
                        <a:pt x="351" y="179"/>
                      </a:lnTo>
                      <a:lnTo>
                        <a:pt x="353" y="179"/>
                      </a:lnTo>
                      <a:lnTo>
                        <a:pt x="353" y="177"/>
                      </a:lnTo>
                      <a:lnTo>
                        <a:pt x="351" y="177"/>
                      </a:lnTo>
                      <a:lnTo>
                        <a:pt x="351" y="176"/>
                      </a:lnTo>
                      <a:lnTo>
                        <a:pt x="351" y="174"/>
                      </a:lnTo>
                      <a:lnTo>
                        <a:pt x="349" y="174"/>
                      </a:lnTo>
                      <a:lnTo>
                        <a:pt x="351" y="174"/>
                      </a:lnTo>
                      <a:lnTo>
                        <a:pt x="351" y="172"/>
                      </a:lnTo>
                      <a:lnTo>
                        <a:pt x="353" y="172"/>
                      </a:lnTo>
                      <a:lnTo>
                        <a:pt x="353" y="171"/>
                      </a:lnTo>
                      <a:lnTo>
                        <a:pt x="351" y="171"/>
                      </a:lnTo>
                      <a:lnTo>
                        <a:pt x="353" y="171"/>
                      </a:lnTo>
                      <a:lnTo>
                        <a:pt x="355" y="171"/>
                      </a:lnTo>
                      <a:lnTo>
                        <a:pt x="355" y="169"/>
                      </a:lnTo>
                      <a:lnTo>
                        <a:pt x="355" y="167"/>
                      </a:lnTo>
                      <a:lnTo>
                        <a:pt x="355" y="166"/>
                      </a:lnTo>
                      <a:lnTo>
                        <a:pt x="355" y="164"/>
                      </a:lnTo>
                      <a:lnTo>
                        <a:pt x="355" y="166"/>
                      </a:lnTo>
                      <a:lnTo>
                        <a:pt x="355" y="164"/>
                      </a:lnTo>
                      <a:lnTo>
                        <a:pt x="356" y="164"/>
                      </a:lnTo>
                      <a:lnTo>
                        <a:pt x="355" y="164"/>
                      </a:lnTo>
                      <a:lnTo>
                        <a:pt x="356" y="164"/>
                      </a:lnTo>
                      <a:lnTo>
                        <a:pt x="355" y="164"/>
                      </a:lnTo>
                      <a:lnTo>
                        <a:pt x="356" y="164"/>
                      </a:lnTo>
                      <a:lnTo>
                        <a:pt x="356" y="163"/>
                      </a:lnTo>
                      <a:lnTo>
                        <a:pt x="358" y="163"/>
                      </a:lnTo>
                      <a:lnTo>
                        <a:pt x="358" y="164"/>
                      </a:lnTo>
                      <a:lnTo>
                        <a:pt x="358" y="163"/>
                      </a:lnTo>
                      <a:lnTo>
                        <a:pt x="358" y="164"/>
                      </a:lnTo>
                      <a:lnTo>
                        <a:pt x="360" y="164"/>
                      </a:lnTo>
                      <a:lnTo>
                        <a:pt x="361" y="164"/>
                      </a:lnTo>
                      <a:lnTo>
                        <a:pt x="361" y="163"/>
                      </a:lnTo>
                      <a:lnTo>
                        <a:pt x="361" y="164"/>
                      </a:lnTo>
                      <a:lnTo>
                        <a:pt x="363" y="164"/>
                      </a:lnTo>
                      <a:lnTo>
                        <a:pt x="363" y="163"/>
                      </a:lnTo>
                      <a:lnTo>
                        <a:pt x="363" y="164"/>
                      </a:lnTo>
                      <a:lnTo>
                        <a:pt x="363" y="163"/>
                      </a:lnTo>
                      <a:lnTo>
                        <a:pt x="365" y="163"/>
                      </a:lnTo>
                      <a:lnTo>
                        <a:pt x="365" y="161"/>
                      </a:lnTo>
                      <a:lnTo>
                        <a:pt x="366" y="161"/>
                      </a:lnTo>
                      <a:lnTo>
                        <a:pt x="365" y="161"/>
                      </a:lnTo>
                      <a:lnTo>
                        <a:pt x="366" y="161"/>
                      </a:lnTo>
                      <a:lnTo>
                        <a:pt x="366" y="159"/>
                      </a:lnTo>
                      <a:lnTo>
                        <a:pt x="368" y="159"/>
                      </a:lnTo>
                      <a:lnTo>
                        <a:pt x="368" y="158"/>
                      </a:lnTo>
                      <a:lnTo>
                        <a:pt x="368" y="156"/>
                      </a:lnTo>
                      <a:lnTo>
                        <a:pt x="370" y="158"/>
                      </a:lnTo>
                      <a:lnTo>
                        <a:pt x="370" y="156"/>
                      </a:lnTo>
                      <a:lnTo>
                        <a:pt x="371" y="156"/>
                      </a:lnTo>
                      <a:lnTo>
                        <a:pt x="370" y="156"/>
                      </a:lnTo>
                      <a:lnTo>
                        <a:pt x="371" y="156"/>
                      </a:lnTo>
                      <a:lnTo>
                        <a:pt x="371" y="158"/>
                      </a:lnTo>
                      <a:lnTo>
                        <a:pt x="373" y="158"/>
                      </a:lnTo>
                      <a:lnTo>
                        <a:pt x="373" y="159"/>
                      </a:lnTo>
                      <a:lnTo>
                        <a:pt x="375" y="158"/>
                      </a:lnTo>
                      <a:lnTo>
                        <a:pt x="375" y="159"/>
                      </a:lnTo>
                      <a:lnTo>
                        <a:pt x="377" y="158"/>
                      </a:lnTo>
                      <a:lnTo>
                        <a:pt x="378" y="158"/>
                      </a:lnTo>
                      <a:lnTo>
                        <a:pt x="378" y="156"/>
                      </a:lnTo>
                      <a:lnTo>
                        <a:pt x="380" y="156"/>
                      </a:lnTo>
                      <a:lnTo>
                        <a:pt x="382" y="156"/>
                      </a:lnTo>
                      <a:lnTo>
                        <a:pt x="383" y="156"/>
                      </a:lnTo>
                      <a:lnTo>
                        <a:pt x="388" y="154"/>
                      </a:lnTo>
                      <a:lnTo>
                        <a:pt x="392" y="153"/>
                      </a:lnTo>
                      <a:lnTo>
                        <a:pt x="395" y="153"/>
                      </a:lnTo>
                      <a:lnTo>
                        <a:pt x="397" y="153"/>
                      </a:lnTo>
                      <a:lnTo>
                        <a:pt x="400" y="151"/>
                      </a:lnTo>
                      <a:lnTo>
                        <a:pt x="402" y="151"/>
                      </a:lnTo>
                      <a:lnTo>
                        <a:pt x="402" y="149"/>
                      </a:lnTo>
                      <a:lnTo>
                        <a:pt x="402" y="148"/>
                      </a:lnTo>
                      <a:lnTo>
                        <a:pt x="400" y="146"/>
                      </a:lnTo>
                      <a:lnTo>
                        <a:pt x="400" y="144"/>
                      </a:lnTo>
                      <a:lnTo>
                        <a:pt x="402" y="144"/>
                      </a:lnTo>
                      <a:lnTo>
                        <a:pt x="402" y="143"/>
                      </a:lnTo>
                      <a:lnTo>
                        <a:pt x="400" y="141"/>
                      </a:lnTo>
                      <a:lnTo>
                        <a:pt x="400" y="140"/>
                      </a:lnTo>
                      <a:lnTo>
                        <a:pt x="400" y="138"/>
                      </a:lnTo>
                      <a:lnTo>
                        <a:pt x="400" y="136"/>
                      </a:lnTo>
                      <a:lnTo>
                        <a:pt x="398" y="136"/>
                      </a:lnTo>
                      <a:lnTo>
                        <a:pt x="398" y="135"/>
                      </a:lnTo>
                      <a:lnTo>
                        <a:pt x="397" y="133"/>
                      </a:lnTo>
                      <a:lnTo>
                        <a:pt x="398" y="131"/>
                      </a:lnTo>
                      <a:lnTo>
                        <a:pt x="398" y="130"/>
                      </a:lnTo>
                      <a:lnTo>
                        <a:pt x="397" y="130"/>
                      </a:lnTo>
                      <a:lnTo>
                        <a:pt x="397" y="128"/>
                      </a:lnTo>
                      <a:lnTo>
                        <a:pt x="397" y="126"/>
                      </a:lnTo>
                      <a:lnTo>
                        <a:pt x="395" y="126"/>
                      </a:lnTo>
                      <a:lnTo>
                        <a:pt x="393" y="126"/>
                      </a:lnTo>
                      <a:lnTo>
                        <a:pt x="393" y="125"/>
                      </a:lnTo>
                      <a:lnTo>
                        <a:pt x="392" y="125"/>
                      </a:lnTo>
                      <a:lnTo>
                        <a:pt x="390" y="123"/>
                      </a:lnTo>
                      <a:lnTo>
                        <a:pt x="388" y="123"/>
                      </a:lnTo>
                      <a:lnTo>
                        <a:pt x="388" y="121"/>
                      </a:lnTo>
                      <a:lnTo>
                        <a:pt x="388" y="120"/>
                      </a:lnTo>
                      <a:lnTo>
                        <a:pt x="388" y="118"/>
                      </a:lnTo>
                      <a:lnTo>
                        <a:pt x="390" y="117"/>
                      </a:lnTo>
                      <a:lnTo>
                        <a:pt x="390" y="115"/>
                      </a:lnTo>
                      <a:lnTo>
                        <a:pt x="390" y="113"/>
                      </a:lnTo>
                      <a:lnTo>
                        <a:pt x="390" y="112"/>
                      </a:lnTo>
                      <a:lnTo>
                        <a:pt x="390" y="110"/>
                      </a:lnTo>
                      <a:lnTo>
                        <a:pt x="392" y="110"/>
                      </a:lnTo>
                      <a:lnTo>
                        <a:pt x="392" y="108"/>
                      </a:lnTo>
                      <a:lnTo>
                        <a:pt x="393" y="107"/>
                      </a:lnTo>
                      <a:lnTo>
                        <a:pt x="395" y="107"/>
                      </a:lnTo>
                      <a:lnTo>
                        <a:pt x="397" y="105"/>
                      </a:lnTo>
                      <a:lnTo>
                        <a:pt x="398" y="105"/>
                      </a:lnTo>
                      <a:lnTo>
                        <a:pt x="398" y="103"/>
                      </a:lnTo>
                      <a:lnTo>
                        <a:pt x="397" y="103"/>
                      </a:lnTo>
                      <a:lnTo>
                        <a:pt x="397" y="102"/>
                      </a:lnTo>
                      <a:lnTo>
                        <a:pt x="398" y="102"/>
                      </a:lnTo>
                      <a:lnTo>
                        <a:pt x="398" y="100"/>
                      </a:lnTo>
                      <a:lnTo>
                        <a:pt x="397" y="98"/>
                      </a:lnTo>
                      <a:lnTo>
                        <a:pt x="395" y="97"/>
                      </a:lnTo>
                      <a:lnTo>
                        <a:pt x="393" y="97"/>
                      </a:lnTo>
                      <a:lnTo>
                        <a:pt x="393" y="95"/>
                      </a:lnTo>
                      <a:lnTo>
                        <a:pt x="395" y="95"/>
                      </a:lnTo>
                      <a:lnTo>
                        <a:pt x="393" y="94"/>
                      </a:lnTo>
                      <a:lnTo>
                        <a:pt x="393" y="92"/>
                      </a:lnTo>
                      <a:lnTo>
                        <a:pt x="392" y="92"/>
                      </a:lnTo>
                      <a:lnTo>
                        <a:pt x="392" y="94"/>
                      </a:lnTo>
                      <a:lnTo>
                        <a:pt x="390" y="94"/>
                      </a:lnTo>
                      <a:lnTo>
                        <a:pt x="390" y="92"/>
                      </a:lnTo>
                      <a:lnTo>
                        <a:pt x="390" y="90"/>
                      </a:lnTo>
                      <a:lnTo>
                        <a:pt x="390" y="89"/>
                      </a:lnTo>
                      <a:lnTo>
                        <a:pt x="390" y="87"/>
                      </a:lnTo>
                      <a:lnTo>
                        <a:pt x="392" y="87"/>
                      </a:lnTo>
                      <a:lnTo>
                        <a:pt x="392" y="85"/>
                      </a:lnTo>
                      <a:lnTo>
                        <a:pt x="392" y="84"/>
                      </a:lnTo>
                      <a:lnTo>
                        <a:pt x="393" y="84"/>
                      </a:lnTo>
                      <a:lnTo>
                        <a:pt x="393" y="82"/>
                      </a:lnTo>
                      <a:lnTo>
                        <a:pt x="395" y="80"/>
                      </a:lnTo>
                      <a:lnTo>
                        <a:pt x="393" y="80"/>
                      </a:lnTo>
                      <a:lnTo>
                        <a:pt x="393" y="79"/>
                      </a:lnTo>
                      <a:lnTo>
                        <a:pt x="392" y="79"/>
                      </a:lnTo>
                      <a:lnTo>
                        <a:pt x="392" y="77"/>
                      </a:lnTo>
                      <a:lnTo>
                        <a:pt x="390" y="77"/>
                      </a:lnTo>
                      <a:lnTo>
                        <a:pt x="390" y="75"/>
                      </a:lnTo>
                      <a:lnTo>
                        <a:pt x="392" y="75"/>
                      </a:lnTo>
                      <a:lnTo>
                        <a:pt x="392" y="74"/>
                      </a:lnTo>
                      <a:lnTo>
                        <a:pt x="393" y="74"/>
                      </a:lnTo>
                      <a:lnTo>
                        <a:pt x="395" y="72"/>
                      </a:lnTo>
                      <a:lnTo>
                        <a:pt x="397" y="72"/>
                      </a:lnTo>
                      <a:lnTo>
                        <a:pt x="397" y="71"/>
                      </a:lnTo>
                      <a:lnTo>
                        <a:pt x="398" y="71"/>
                      </a:lnTo>
                      <a:lnTo>
                        <a:pt x="400" y="71"/>
                      </a:lnTo>
                      <a:lnTo>
                        <a:pt x="402" y="71"/>
                      </a:lnTo>
                      <a:lnTo>
                        <a:pt x="402" y="72"/>
                      </a:lnTo>
                      <a:lnTo>
                        <a:pt x="404" y="72"/>
                      </a:lnTo>
                      <a:lnTo>
                        <a:pt x="405" y="72"/>
                      </a:lnTo>
                      <a:lnTo>
                        <a:pt x="407" y="74"/>
                      </a:lnTo>
                      <a:lnTo>
                        <a:pt x="409" y="74"/>
                      </a:lnTo>
                      <a:lnTo>
                        <a:pt x="410" y="74"/>
                      </a:lnTo>
                      <a:lnTo>
                        <a:pt x="412" y="74"/>
                      </a:lnTo>
                      <a:lnTo>
                        <a:pt x="412" y="75"/>
                      </a:lnTo>
                      <a:lnTo>
                        <a:pt x="414" y="75"/>
                      </a:lnTo>
                      <a:lnTo>
                        <a:pt x="415" y="75"/>
                      </a:lnTo>
                      <a:lnTo>
                        <a:pt x="417" y="77"/>
                      </a:lnTo>
                      <a:lnTo>
                        <a:pt x="417" y="79"/>
                      </a:lnTo>
                      <a:lnTo>
                        <a:pt x="419" y="79"/>
                      </a:lnTo>
                      <a:lnTo>
                        <a:pt x="420" y="77"/>
                      </a:lnTo>
                      <a:lnTo>
                        <a:pt x="420" y="79"/>
                      </a:lnTo>
                      <a:lnTo>
                        <a:pt x="422" y="79"/>
                      </a:lnTo>
                      <a:lnTo>
                        <a:pt x="422" y="77"/>
                      </a:lnTo>
                      <a:lnTo>
                        <a:pt x="424" y="77"/>
                      </a:lnTo>
                      <a:lnTo>
                        <a:pt x="425" y="77"/>
                      </a:lnTo>
                      <a:lnTo>
                        <a:pt x="425" y="75"/>
                      </a:lnTo>
                      <a:lnTo>
                        <a:pt x="427" y="75"/>
                      </a:lnTo>
                      <a:lnTo>
                        <a:pt x="429" y="75"/>
                      </a:lnTo>
                      <a:lnTo>
                        <a:pt x="431" y="75"/>
                      </a:lnTo>
                      <a:lnTo>
                        <a:pt x="431" y="74"/>
                      </a:lnTo>
                      <a:lnTo>
                        <a:pt x="431" y="72"/>
                      </a:lnTo>
                      <a:lnTo>
                        <a:pt x="429" y="72"/>
                      </a:lnTo>
                      <a:lnTo>
                        <a:pt x="429" y="71"/>
                      </a:lnTo>
                      <a:lnTo>
                        <a:pt x="429" y="69"/>
                      </a:lnTo>
                      <a:lnTo>
                        <a:pt x="429" y="67"/>
                      </a:lnTo>
                      <a:lnTo>
                        <a:pt x="427" y="67"/>
                      </a:lnTo>
                      <a:lnTo>
                        <a:pt x="427" y="66"/>
                      </a:lnTo>
                      <a:lnTo>
                        <a:pt x="427" y="64"/>
                      </a:lnTo>
                      <a:lnTo>
                        <a:pt x="427" y="62"/>
                      </a:lnTo>
                      <a:lnTo>
                        <a:pt x="427" y="61"/>
                      </a:lnTo>
                      <a:lnTo>
                        <a:pt x="427" y="59"/>
                      </a:lnTo>
                      <a:lnTo>
                        <a:pt x="429" y="59"/>
                      </a:lnTo>
                      <a:lnTo>
                        <a:pt x="429" y="57"/>
                      </a:lnTo>
                      <a:lnTo>
                        <a:pt x="429" y="56"/>
                      </a:lnTo>
                      <a:lnTo>
                        <a:pt x="429" y="54"/>
                      </a:lnTo>
                      <a:lnTo>
                        <a:pt x="427" y="54"/>
                      </a:lnTo>
                      <a:lnTo>
                        <a:pt x="425" y="54"/>
                      </a:lnTo>
                      <a:lnTo>
                        <a:pt x="425" y="53"/>
                      </a:lnTo>
                      <a:lnTo>
                        <a:pt x="425" y="51"/>
                      </a:lnTo>
                      <a:lnTo>
                        <a:pt x="427" y="49"/>
                      </a:lnTo>
                      <a:lnTo>
                        <a:pt x="427" y="48"/>
                      </a:lnTo>
                      <a:lnTo>
                        <a:pt x="429" y="46"/>
                      </a:lnTo>
                      <a:lnTo>
                        <a:pt x="431" y="46"/>
                      </a:lnTo>
                      <a:lnTo>
                        <a:pt x="431" y="44"/>
                      </a:lnTo>
                      <a:lnTo>
                        <a:pt x="431" y="43"/>
                      </a:lnTo>
                      <a:lnTo>
                        <a:pt x="432" y="43"/>
                      </a:lnTo>
                      <a:lnTo>
                        <a:pt x="434" y="43"/>
                      </a:lnTo>
                      <a:lnTo>
                        <a:pt x="434" y="44"/>
                      </a:lnTo>
                      <a:lnTo>
                        <a:pt x="434" y="46"/>
                      </a:lnTo>
                      <a:lnTo>
                        <a:pt x="436" y="46"/>
                      </a:lnTo>
                      <a:lnTo>
                        <a:pt x="437" y="46"/>
                      </a:lnTo>
                      <a:lnTo>
                        <a:pt x="437" y="48"/>
                      </a:lnTo>
                      <a:lnTo>
                        <a:pt x="439" y="48"/>
                      </a:lnTo>
                      <a:lnTo>
                        <a:pt x="441" y="48"/>
                      </a:lnTo>
                      <a:lnTo>
                        <a:pt x="441" y="49"/>
                      </a:lnTo>
                      <a:lnTo>
                        <a:pt x="442" y="49"/>
                      </a:lnTo>
                      <a:lnTo>
                        <a:pt x="442" y="51"/>
                      </a:lnTo>
                      <a:lnTo>
                        <a:pt x="444" y="51"/>
                      </a:lnTo>
                      <a:lnTo>
                        <a:pt x="446" y="51"/>
                      </a:lnTo>
                      <a:lnTo>
                        <a:pt x="447" y="53"/>
                      </a:lnTo>
                      <a:lnTo>
                        <a:pt x="447" y="54"/>
                      </a:lnTo>
                      <a:lnTo>
                        <a:pt x="447" y="56"/>
                      </a:lnTo>
                      <a:lnTo>
                        <a:pt x="449" y="57"/>
                      </a:lnTo>
                      <a:lnTo>
                        <a:pt x="451" y="57"/>
                      </a:lnTo>
                      <a:lnTo>
                        <a:pt x="449" y="57"/>
                      </a:lnTo>
                      <a:lnTo>
                        <a:pt x="449" y="59"/>
                      </a:lnTo>
                      <a:lnTo>
                        <a:pt x="447" y="61"/>
                      </a:lnTo>
                      <a:lnTo>
                        <a:pt x="449" y="61"/>
                      </a:lnTo>
                      <a:lnTo>
                        <a:pt x="449" y="62"/>
                      </a:lnTo>
                      <a:lnTo>
                        <a:pt x="451" y="62"/>
                      </a:lnTo>
                      <a:lnTo>
                        <a:pt x="451" y="64"/>
                      </a:lnTo>
                      <a:lnTo>
                        <a:pt x="453" y="64"/>
                      </a:lnTo>
                      <a:lnTo>
                        <a:pt x="454" y="64"/>
                      </a:lnTo>
                      <a:lnTo>
                        <a:pt x="454" y="62"/>
                      </a:lnTo>
                      <a:lnTo>
                        <a:pt x="456" y="62"/>
                      </a:lnTo>
                      <a:lnTo>
                        <a:pt x="458" y="64"/>
                      </a:lnTo>
                      <a:lnTo>
                        <a:pt x="458" y="66"/>
                      </a:lnTo>
                      <a:lnTo>
                        <a:pt x="459" y="64"/>
                      </a:lnTo>
                      <a:lnTo>
                        <a:pt x="461" y="66"/>
                      </a:lnTo>
                      <a:lnTo>
                        <a:pt x="463" y="66"/>
                      </a:lnTo>
                      <a:lnTo>
                        <a:pt x="463" y="64"/>
                      </a:lnTo>
                      <a:lnTo>
                        <a:pt x="463" y="62"/>
                      </a:lnTo>
                      <a:lnTo>
                        <a:pt x="463" y="61"/>
                      </a:lnTo>
                      <a:lnTo>
                        <a:pt x="463" y="62"/>
                      </a:lnTo>
                      <a:lnTo>
                        <a:pt x="464" y="62"/>
                      </a:lnTo>
                      <a:lnTo>
                        <a:pt x="464" y="64"/>
                      </a:lnTo>
                      <a:lnTo>
                        <a:pt x="466" y="64"/>
                      </a:lnTo>
                      <a:lnTo>
                        <a:pt x="466" y="62"/>
                      </a:lnTo>
                      <a:lnTo>
                        <a:pt x="468" y="62"/>
                      </a:lnTo>
                      <a:lnTo>
                        <a:pt x="468" y="64"/>
                      </a:lnTo>
                      <a:lnTo>
                        <a:pt x="469" y="64"/>
                      </a:lnTo>
                      <a:lnTo>
                        <a:pt x="471" y="64"/>
                      </a:lnTo>
                      <a:lnTo>
                        <a:pt x="471" y="62"/>
                      </a:lnTo>
                      <a:lnTo>
                        <a:pt x="471" y="61"/>
                      </a:lnTo>
                      <a:lnTo>
                        <a:pt x="473" y="62"/>
                      </a:lnTo>
                      <a:lnTo>
                        <a:pt x="473" y="61"/>
                      </a:lnTo>
                      <a:lnTo>
                        <a:pt x="473" y="59"/>
                      </a:lnTo>
                      <a:lnTo>
                        <a:pt x="474" y="59"/>
                      </a:lnTo>
                      <a:lnTo>
                        <a:pt x="474" y="57"/>
                      </a:lnTo>
                      <a:lnTo>
                        <a:pt x="474" y="59"/>
                      </a:lnTo>
                      <a:lnTo>
                        <a:pt x="476" y="59"/>
                      </a:lnTo>
                      <a:lnTo>
                        <a:pt x="478" y="61"/>
                      </a:lnTo>
                      <a:lnTo>
                        <a:pt x="478" y="62"/>
                      </a:lnTo>
                      <a:lnTo>
                        <a:pt x="478" y="64"/>
                      </a:lnTo>
                      <a:lnTo>
                        <a:pt x="480" y="64"/>
                      </a:lnTo>
                      <a:lnTo>
                        <a:pt x="481" y="66"/>
                      </a:lnTo>
                      <a:lnTo>
                        <a:pt x="481" y="67"/>
                      </a:lnTo>
                      <a:lnTo>
                        <a:pt x="481" y="69"/>
                      </a:lnTo>
                      <a:lnTo>
                        <a:pt x="481" y="71"/>
                      </a:lnTo>
                      <a:lnTo>
                        <a:pt x="481" y="72"/>
                      </a:lnTo>
                      <a:lnTo>
                        <a:pt x="481" y="74"/>
                      </a:lnTo>
                      <a:lnTo>
                        <a:pt x="480" y="74"/>
                      </a:lnTo>
                      <a:lnTo>
                        <a:pt x="480" y="75"/>
                      </a:lnTo>
                      <a:lnTo>
                        <a:pt x="478" y="77"/>
                      </a:lnTo>
                      <a:lnTo>
                        <a:pt x="476" y="77"/>
                      </a:lnTo>
                      <a:lnTo>
                        <a:pt x="476" y="79"/>
                      </a:lnTo>
                      <a:lnTo>
                        <a:pt x="476" y="80"/>
                      </a:lnTo>
                      <a:lnTo>
                        <a:pt x="474" y="80"/>
                      </a:lnTo>
                      <a:lnTo>
                        <a:pt x="474" y="82"/>
                      </a:lnTo>
                      <a:lnTo>
                        <a:pt x="474" y="84"/>
                      </a:lnTo>
                      <a:lnTo>
                        <a:pt x="474" y="85"/>
                      </a:lnTo>
                      <a:lnTo>
                        <a:pt x="473" y="85"/>
                      </a:lnTo>
                      <a:lnTo>
                        <a:pt x="473" y="87"/>
                      </a:lnTo>
                      <a:lnTo>
                        <a:pt x="471" y="87"/>
                      </a:lnTo>
                      <a:lnTo>
                        <a:pt x="469" y="87"/>
                      </a:lnTo>
                      <a:lnTo>
                        <a:pt x="469" y="89"/>
                      </a:lnTo>
                      <a:lnTo>
                        <a:pt x="468" y="87"/>
                      </a:lnTo>
                      <a:lnTo>
                        <a:pt x="468" y="89"/>
                      </a:lnTo>
                      <a:lnTo>
                        <a:pt x="469" y="90"/>
                      </a:lnTo>
                      <a:lnTo>
                        <a:pt x="469" y="92"/>
                      </a:lnTo>
                      <a:lnTo>
                        <a:pt x="469" y="94"/>
                      </a:lnTo>
                      <a:lnTo>
                        <a:pt x="471" y="92"/>
                      </a:lnTo>
                      <a:lnTo>
                        <a:pt x="471" y="94"/>
                      </a:lnTo>
                      <a:lnTo>
                        <a:pt x="471" y="95"/>
                      </a:lnTo>
                      <a:lnTo>
                        <a:pt x="473" y="94"/>
                      </a:lnTo>
                      <a:lnTo>
                        <a:pt x="474" y="94"/>
                      </a:lnTo>
                      <a:lnTo>
                        <a:pt x="473" y="92"/>
                      </a:lnTo>
                      <a:lnTo>
                        <a:pt x="474" y="92"/>
                      </a:lnTo>
                      <a:lnTo>
                        <a:pt x="474" y="90"/>
                      </a:lnTo>
                      <a:lnTo>
                        <a:pt x="476" y="90"/>
                      </a:lnTo>
                      <a:lnTo>
                        <a:pt x="476" y="89"/>
                      </a:lnTo>
                      <a:lnTo>
                        <a:pt x="478" y="89"/>
                      </a:lnTo>
                      <a:lnTo>
                        <a:pt x="480" y="89"/>
                      </a:lnTo>
                      <a:lnTo>
                        <a:pt x="480" y="87"/>
                      </a:lnTo>
                      <a:lnTo>
                        <a:pt x="481" y="87"/>
                      </a:lnTo>
                      <a:lnTo>
                        <a:pt x="481" y="85"/>
                      </a:lnTo>
                      <a:lnTo>
                        <a:pt x="481" y="84"/>
                      </a:lnTo>
                      <a:lnTo>
                        <a:pt x="483" y="84"/>
                      </a:lnTo>
                      <a:lnTo>
                        <a:pt x="483" y="82"/>
                      </a:lnTo>
                      <a:lnTo>
                        <a:pt x="485" y="82"/>
                      </a:lnTo>
                      <a:lnTo>
                        <a:pt x="486" y="82"/>
                      </a:lnTo>
                      <a:lnTo>
                        <a:pt x="488" y="84"/>
                      </a:lnTo>
                      <a:lnTo>
                        <a:pt x="490" y="84"/>
                      </a:lnTo>
                      <a:lnTo>
                        <a:pt x="491" y="85"/>
                      </a:lnTo>
                      <a:lnTo>
                        <a:pt x="491" y="84"/>
                      </a:lnTo>
                      <a:lnTo>
                        <a:pt x="493" y="84"/>
                      </a:lnTo>
                      <a:lnTo>
                        <a:pt x="493" y="82"/>
                      </a:lnTo>
                      <a:lnTo>
                        <a:pt x="495" y="82"/>
                      </a:lnTo>
                      <a:lnTo>
                        <a:pt x="495" y="80"/>
                      </a:lnTo>
                      <a:lnTo>
                        <a:pt x="496" y="80"/>
                      </a:lnTo>
                      <a:lnTo>
                        <a:pt x="498" y="80"/>
                      </a:lnTo>
                      <a:lnTo>
                        <a:pt x="500" y="80"/>
                      </a:lnTo>
                      <a:lnTo>
                        <a:pt x="502" y="80"/>
                      </a:lnTo>
                      <a:lnTo>
                        <a:pt x="502" y="82"/>
                      </a:lnTo>
                      <a:lnTo>
                        <a:pt x="502" y="80"/>
                      </a:lnTo>
                      <a:lnTo>
                        <a:pt x="503" y="80"/>
                      </a:lnTo>
                      <a:lnTo>
                        <a:pt x="505" y="80"/>
                      </a:lnTo>
                      <a:lnTo>
                        <a:pt x="505" y="79"/>
                      </a:lnTo>
                      <a:lnTo>
                        <a:pt x="507" y="79"/>
                      </a:lnTo>
                      <a:lnTo>
                        <a:pt x="508" y="79"/>
                      </a:lnTo>
                      <a:lnTo>
                        <a:pt x="507" y="79"/>
                      </a:lnTo>
                      <a:lnTo>
                        <a:pt x="508" y="77"/>
                      </a:lnTo>
                      <a:lnTo>
                        <a:pt x="508" y="79"/>
                      </a:lnTo>
                      <a:lnTo>
                        <a:pt x="508" y="77"/>
                      </a:lnTo>
                      <a:lnTo>
                        <a:pt x="510" y="77"/>
                      </a:lnTo>
                      <a:lnTo>
                        <a:pt x="510" y="75"/>
                      </a:lnTo>
                      <a:lnTo>
                        <a:pt x="512" y="75"/>
                      </a:lnTo>
                      <a:lnTo>
                        <a:pt x="512" y="74"/>
                      </a:lnTo>
                      <a:lnTo>
                        <a:pt x="510" y="74"/>
                      </a:lnTo>
                      <a:lnTo>
                        <a:pt x="512" y="74"/>
                      </a:lnTo>
                      <a:lnTo>
                        <a:pt x="512" y="72"/>
                      </a:lnTo>
                      <a:lnTo>
                        <a:pt x="512" y="74"/>
                      </a:lnTo>
                      <a:lnTo>
                        <a:pt x="512" y="72"/>
                      </a:lnTo>
                      <a:lnTo>
                        <a:pt x="513" y="72"/>
                      </a:lnTo>
                      <a:lnTo>
                        <a:pt x="515" y="72"/>
                      </a:lnTo>
                      <a:lnTo>
                        <a:pt x="515" y="71"/>
                      </a:lnTo>
                      <a:lnTo>
                        <a:pt x="515" y="69"/>
                      </a:lnTo>
                      <a:lnTo>
                        <a:pt x="515" y="71"/>
                      </a:lnTo>
                      <a:lnTo>
                        <a:pt x="515" y="69"/>
                      </a:lnTo>
                      <a:lnTo>
                        <a:pt x="517" y="69"/>
                      </a:lnTo>
                      <a:lnTo>
                        <a:pt x="517" y="71"/>
                      </a:lnTo>
                      <a:lnTo>
                        <a:pt x="517" y="69"/>
                      </a:lnTo>
                      <a:lnTo>
                        <a:pt x="517" y="67"/>
                      </a:lnTo>
                      <a:lnTo>
                        <a:pt x="518" y="67"/>
                      </a:lnTo>
                      <a:lnTo>
                        <a:pt x="520" y="66"/>
                      </a:lnTo>
                      <a:lnTo>
                        <a:pt x="520" y="64"/>
                      </a:lnTo>
                      <a:lnTo>
                        <a:pt x="522" y="66"/>
                      </a:lnTo>
                      <a:lnTo>
                        <a:pt x="522" y="64"/>
                      </a:lnTo>
                      <a:lnTo>
                        <a:pt x="523" y="64"/>
                      </a:lnTo>
                      <a:lnTo>
                        <a:pt x="523" y="66"/>
                      </a:lnTo>
                      <a:lnTo>
                        <a:pt x="525" y="66"/>
                      </a:lnTo>
                      <a:lnTo>
                        <a:pt x="527" y="66"/>
                      </a:lnTo>
                      <a:lnTo>
                        <a:pt x="529" y="66"/>
                      </a:lnTo>
                      <a:lnTo>
                        <a:pt x="530" y="66"/>
                      </a:lnTo>
                      <a:lnTo>
                        <a:pt x="530" y="64"/>
                      </a:lnTo>
                      <a:lnTo>
                        <a:pt x="532" y="64"/>
                      </a:lnTo>
                      <a:lnTo>
                        <a:pt x="532" y="62"/>
                      </a:lnTo>
                      <a:lnTo>
                        <a:pt x="534" y="62"/>
                      </a:lnTo>
                      <a:lnTo>
                        <a:pt x="534" y="64"/>
                      </a:lnTo>
                      <a:lnTo>
                        <a:pt x="534" y="62"/>
                      </a:lnTo>
                      <a:lnTo>
                        <a:pt x="535" y="62"/>
                      </a:lnTo>
                      <a:lnTo>
                        <a:pt x="537" y="61"/>
                      </a:lnTo>
                      <a:lnTo>
                        <a:pt x="539" y="61"/>
                      </a:lnTo>
                      <a:lnTo>
                        <a:pt x="539" y="59"/>
                      </a:lnTo>
                      <a:lnTo>
                        <a:pt x="539" y="57"/>
                      </a:lnTo>
                      <a:lnTo>
                        <a:pt x="539" y="59"/>
                      </a:lnTo>
                      <a:lnTo>
                        <a:pt x="540" y="59"/>
                      </a:lnTo>
                      <a:lnTo>
                        <a:pt x="540" y="57"/>
                      </a:lnTo>
                      <a:lnTo>
                        <a:pt x="542" y="57"/>
                      </a:lnTo>
                      <a:lnTo>
                        <a:pt x="542" y="56"/>
                      </a:lnTo>
                      <a:lnTo>
                        <a:pt x="544" y="56"/>
                      </a:lnTo>
                      <a:lnTo>
                        <a:pt x="544" y="54"/>
                      </a:lnTo>
                      <a:lnTo>
                        <a:pt x="544" y="56"/>
                      </a:lnTo>
                      <a:lnTo>
                        <a:pt x="544" y="54"/>
                      </a:lnTo>
                      <a:lnTo>
                        <a:pt x="545" y="54"/>
                      </a:lnTo>
                      <a:lnTo>
                        <a:pt x="547" y="54"/>
                      </a:lnTo>
                      <a:lnTo>
                        <a:pt x="545" y="54"/>
                      </a:lnTo>
                      <a:lnTo>
                        <a:pt x="545" y="53"/>
                      </a:lnTo>
                      <a:lnTo>
                        <a:pt x="547" y="53"/>
                      </a:lnTo>
                      <a:lnTo>
                        <a:pt x="547" y="51"/>
                      </a:lnTo>
                      <a:lnTo>
                        <a:pt x="549" y="53"/>
                      </a:lnTo>
                      <a:lnTo>
                        <a:pt x="549" y="51"/>
                      </a:lnTo>
                      <a:lnTo>
                        <a:pt x="550" y="51"/>
                      </a:lnTo>
                      <a:lnTo>
                        <a:pt x="550" y="49"/>
                      </a:lnTo>
                      <a:lnTo>
                        <a:pt x="552" y="49"/>
                      </a:lnTo>
                      <a:lnTo>
                        <a:pt x="552" y="48"/>
                      </a:lnTo>
                      <a:lnTo>
                        <a:pt x="554" y="48"/>
                      </a:lnTo>
                      <a:lnTo>
                        <a:pt x="554" y="46"/>
                      </a:lnTo>
                      <a:lnTo>
                        <a:pt x="554" y="48"/>
                      </a:lnTo>
                      <a:lnTo>
                        <a:pt x="554" y="46"/>
                      </a:lnTo>
                      <a:lnTo>
                        <a:pt x="556" y="48"/>
                      </a:lnTo>
                      <a:lnTo>
                        <a:pt x="556" y="46"/>
                      </a:lnTo>
                      <a:lnTo>
                        <a:pt x="557" y="46"/>
                      </a:lnTo>
                      <a:lnTo>
                        <a:pt x="559" y="46"/>
                      </a:lnTo>
                      <a:lnTo>
                        <a:pt x="561" y="46"/>
                      </a:lnTo>
                      <a:lnTo>
                        <a:pt x="561" y="48"/>
                      </a:lnTo>
                      <a:lnTo>
                        <a:pt x="561" y="46"/>
                      </a:lnTo>
                      <a:lnTo>
                        <a:pt x="561" y="48"/>
                      </a:lnTo>
                      <a:lnTo>
                        <a:pt x="562" y="48"/>
                      </a:lnTo>
                      <a:lnTo>
                        <a:pt x="564" y="48"/>
                      </a:lnTo>
                      <a:lnTo>
                        <a:pt x="566" y="48"/>
                      </a:lnTo>
                      <a:lnTo>
                        <a:pt x="566" y="46"/>
                      </a:lnTo>
                      <a:lnTo>
                        <a:pt x="567" y="46"/>
                      </a:lnTo>
                      <a:lnTo>
                        <a:pt x="567" y="44"/>
                      </a:lnTo>
                      <a:lnTo>
                        <a:pt x="567" y="43"/>
                      </a:lnTo>
                      <a:lnTo>
                        <a:pt x="569" y="43"/>
                      </a:lnTo>
                      <a:lnTo>
                        <a:pt x="569" y="41"/>
                      </a:lnTo>
                      <a:lnTo>
                        <a:pt x="569" y="43"/>
                      </a:lnTo>
                      <a:lnTo>
                        <a:pt x="569" y="41"/>
                      </a:lnTo>
                      <a:lnTo>
                        <a:pt x="571" y="41"/>
                      </a:lnTo>
                      <a:lnTo>
                        <a:pt x="572" y="39"/>
                      </a:lnTo>
                      <a:lnTo>
                        <a:pt x="574" y="39"/>
                      </a:lnTo>
                      <a:lnTo>
                        <a:pt x="576" y="38"/>
                      </a:lnTo>
                      <a:lnTo>
                        <a:pt x="574" y="38"/>
                      </a:lnTo>
                      <a:lnTo>
                        <a:pt x="576" y="38"/>
                      </a:lnTo>
                      <a:lnTo>
                        <a:pt x="576" y="36"/>
                      </a:lnTo>
                      <a:lnTo>
                        <a:pt x="578" y="36"/>
                      </a:lnTo>
                      <a:lnTo>
                        <a:pt x="579" y="36"/>
                      </a:lnTo>
                      <a:lnTo>
                        <a:pt x="581" y="34"/>
                      </a:lnTo>
                      <a:lnTo>
                        <a:pt x="583" y="34"/>
                      </a:lnTo>
                      <a:lnTo>
                        <a:pt x="583" y="33"/>
                      </a:lnTo>
                      <a:lnTo>
                        <a:pt x="583" y="34"/>
                      </a:lnTo>
                      <a:lnTo>
                        <a:pt x="584" y="33"/>
                      </a:lnTo>
                      <a:lnTo>
                        <a:pt x="586" y="33"/>
                      </a:lnTo>
                      <a:lnTo>
                        <a:pt x="584" y="33"/>
                      </a:lnTo>
                      <a:lnTo>
                        <a:pt x="586" y="33"/>
                      </a:lnTo>
                      <a:lnTo>
                        <a:pt x="586" y="31"/>
                      </a:lnTo>
                      <a:lnTo>
                        <a:pt x="588" y="31"/>
                      </a:lnTo>
                      <a:lnTo>
                        <a:pt x="588" y="30"/>
                      </a:lnTo>
                      <a:lnTo>
                        <a:pt x="588" y="31"/>
                      </a:lnTo>
                      <a:lnTo>
                        <a:pt x="586" y="31"/>
                      </a:lnTo>
                      <a:lnTo>
                        <a:pt x="588" y="30"/>
                      </a:lnTo>
                      <a:lnTo>
                        <a:pt x="588" y="28"/>
                      </a:lnTo>
                      <a:lnTo>
                        <a:pt x="589" y="28"/>
                      </a:lnTo>
                      <a:lnTo>
                        <a:pt x="589" y="26"/>
                      </a:lnTo>
                      <a:lnTo>
                        <a:pt x="589" y="28"/>
                      </a:lnTo>
                      <a:lnTo>
                        <a:pt x="589" y="26"/>
                      </a:lnTo>
                      <a:lnTo>
                        <a:pt x="589" y="25"/>
                      </a:lnTo>
                      <a:lnTo>
                        <a:pt x="591" y="25"/>
                      </a:lnTo>
                      <a:lnTo>
                        <a:pt x="591" y="23"/>
                      </a:lnTo>
                      <a:lnTo>
                        <a:pt x="593" y="23"/>
                      </a:lnTo>
                      <a:lnTo>
                        <a:pt x="594" y="23"/>
                      </a:lnTo>
                      <a:lnTo>
                        <a:pt x="594" y="21"/>
                      </a:lnTo>
                      <a:lnTo>
                        <a:pt x="596" y="21"/>
                      </a:lnTo>
                      <a:lnTo>
                        <a:pt x="598" y="21"/>
                      </a:lnTo>
                      <a:lnTo>
                        <a:pt x="598" y="20"/>
                      </a:lnTo>
                      <a:lnTo>
                        <a:pt x="599" y="20"/>
                      </a:lnTo>
                      <a:lnTo>
                        <a:pt x="601" y="18"/>
                      </a:lnTo>
                      <a:lnTo>
                        <a:pt x="601" y="20"/>
                      </a:lnTo>
                      <a:lnTo>
                        <a:pt x="601" y="18"/>
                      </a:lnTo>
                      <a:lnTo>
                        <a:pt x="603" y="18"/>
                      </a:lnTo>
                      <a:lnTo>
                        <a:pt x="603" y="16"/>
                      </a:lnTo>
                      <a:lnTo>
                        <a:pt x="605" y="16"/>
                      </a:lnTo>
                      <a:lnTo>
                        <a:pt x="606" y="16"/>
                      </a:lnTo>
                      <a:lnTo>
                        <a:pt x="605" y="15"/>
                      </a:lnTo>
                      <a:lnTo>
                        <a:pt x="606" y="15"/>
                      </a:lnTo>
                      <a:lnTo>
                        <a:pt x="608" y="15"/>
                      </a:lnTo>
                      <a:lnTo>
                        <a:pt x="608" y="13"/>
                      </a:lnTo>
                      <a:lnTo>
                        <a:pt x="608" y="15"/>
                      </a:lnTo>
                      <a:lnTo>
                        <a:pt x="608" y="13"/>
                      </a:lnTo>
                      <a:lnTo>
                        <a:pt x="610" y="13"/>
                      </a:lnTo>
                      <a:lnTo>
                        <a:pt x="608" y="13"/>
                      </a:lnTo>
                      <a:lnTo>
                        <a:pt x="610" y="13"/>
                      </a:lnTo>
                      <a:lnTo>
                        <a:pt x="610" y="11"/>
                      </a:lnTo>
                      <a:lnTo>
                        <a:pt x="611" y="11"/>
                      </a:lnTo>
                      <a:lnTo>
                        <a:pt x="613" y="11"/>
                      </a:lnTo>
                      <a:lnTo>
                        <a:pt x="613" y="10"/>
                      </a:lnTo>
                      <a:lnTo>
                        <a:pt x="615" y="10"/>
                      </a:lnTo>
                      <a:lnTo>
                        <a:pt x="615" y="8"/>
                      </a:lnTo>
                      <a:lnTo>
                        <a:pt x="616" y="10"/>
                      </a:lnTo>
                      <a:lnTo>
                        <a:pt x="616" y="8"/>
                      </a:lnTo>
                      <a:lnTo>
                        <a:pt x="618" y="8"/>
                      </a:lnTo>
                      <a:lnTo>
                        <a:pt x="620" y="8"/>
                      </a:lnTo>
                      <a:lnTo>
                        <a:pt x="621" y="8"/>
                      </a:lnTo>
                      <a:lnTo>
                        <a:pt x="623" y="8"/>
                      </a:lnTo>
                      <a:lnTo>
                        <a:pt x="623" y="7"/>
                      </a:lnTo>
                      <a:lnTo>
                        <a:pt x="625" y="7"/>
                      </a:lnTo>
                      <a:lnTo>
                        <a:pt x="626" y="7"/>
                      </a:lnTo>
                      <a:lnTo>
                        <a:pt x="628" y="5"/>
                      </a:lnTo>
                      <a:lnTo>
                        <a:pt x="630" y="3"/>
                      </a:lnTo>
                      <a:lnTo>
                        <a:pt x="632" y="3"/>
                      </a:lnTo>
                      <a:lnTo>
                        <a:pt x="633" y="3"/>
                      </a:lnTo>
                      <a:lnTo>
                        <a:pt x="632" y="3"/>
                      </a:lnTo>
                      <a:lnTo>
                        <a:pt x="633" y="3"/>
                      </a:lnTo>
                      <a:lnTo>
                        <a:pt x="635" y="3"/>
                      </a:lnTo>
                      <a:lnTo>
                        <a:pt x="635" y="2"/>
                      </a:lnTo>
                      <a:lnTo>
                        <a:pt x="637" y="2"/>
                      </a:lnTo>
                      <a:lnTo>
                        <a:pt x="638" y="0"/>
                      </a:lnTo>
                      <a:lnTo>
                        <a:pt x="640" y="2"/>
                      </a:lnTo>
                      <a:lnTo>
                        <a:pt x="642" y="2"/>
                      </a:lnTo>
                      <a:lnTo>
                        <a:pt x="642" y="0"/>
                      </a:lnTo>
                      <a:lnTo>
                        <a:pt x="642" y="2"/>
                      </a:lnTo>
                      <a:lnTo>
                        <a:pt x="642" y="0"/>
                      </a:lnTo>
                      <a:lnTo>
                        <a:pt x="643" y="0"/>
                      </a:lnTo>
                      <a:lnTo>
                        <a:pt x="643" y="2"/>
                      </a:lnTo>
                      <a:lnTo>
                        <a:pt x="645" y="2"/>
                      </a:lnTo>
                      <a:lnTo>
                        <a:pt x="645" y="0"/>
                      </a:lnTo>
                      <a:lnTo>
                        <a:pt x="647" y="0"/>
                      </a:lnTo>
                      <a:lnTo>
                        <a:pt x="648" y="0"/>
                      </a:lnTo>
                      <a:lnTo>
                        <a:pt x="647" y="0"/>
                      </a:lnTo>
                      <a:lnTo>
                        <a:pt x="648" y="0"/>
                      </a:lnTo>
                      <a:lnTo>
                        <a:pt x="648" y="2"/>
                      </a:lnTo>
                      <a:lnTo>
                        <a:pt x="650" y="2"/>
                      </a:lnTo>
                      <a:lnTo>
                        <a:pt x="652" y="2"/>
                      </a:lnTo>
                      <a:lnTo>
                        <a:pt x="652" y="3"/>
                      </a:lnTo>
                      <a:lnTo>
                        <a:pt x="654" y="3"/>
                      </a:lnTo>
                      <a:lnTo>
                        <a:pt x="654" y="2"/>
                      </a:lnTo>
                      <a:lnTo>
                        <a:pt x="655" y="2"/>
                      </a:lnTo>
                      <a:lnTo>
                        <a:pt x="655" y="3"/>
                      </a:lnTo>
                      <a:lnTo>
                        <a:pt x="657" y="3"/>
                      </a:lnTo>
                      <a:lnTo>
                        <a:pt x="657" y="2"/>
                      </a:lnTo>
                      <a:lnTo>
                        <a:pt x="659" y="2"/>
                      </a:lnTo>
                      <a:lnTo>
                        <a:pt x="659" y="3"/>
                      </a:lnTo>
                      <a:lnTo>
                        <a:pt x="660" y="3"/>
                      </a:lnTo>
                      <a:lnTo>
                        <a:pt x="662" y="3"/>
                      </a:lnTo>
                      <a:lnTo>
                        <a:pt x="660" y="3"/>
                      </a:lnTo>
                      <a:lnTo>
                        <a:pt x="662" y="3"/>
                      </a:lnTo>
                      <a:lnTo>
                        <a:pt x="660" y="3"/>
                      </a:lnTo>
                      <a:lnTo>
                        <a:pt x="662" y="5"/>
                      </a:lnTo>
                      <a:lnTo>
                        <a:pt x="662" y="3"/>
                      </a:lnTo>
                      <a:lnTo>
                        <a:pt x="664" y="3"/>
                      </a:lnTo>
                      <a:lnTo>
                        <a:pt x="662" y="3"/>
                      </a:lnTo>
                      <a:lnTo>
                        <a:pt x="662" y="5"/>
                      </a:lnTo>
                      <a:lnTo>
                        <a:pt x="664" y="5"/>
                      </a:lnTo>
                      <a:lnTo>
                        <a:pt x="664" y="3"/>
                      </a:lnTo>
                      <a:lnTo>
                        <a:pt x="664" y="5"/>
                      </a:lnTo>
                      <a:lnTo>
                        <a:pt x="664" y="3"/>
                      </a:lnTo>
                      <a:lnTo>
                        <a:pt x="665" y="3"/>
                      </a:lnTo>
                      <a:lnTo>
                        <a:pt x="665" y="5"/>
                      </a:lnTo>
                      <a:lnTo>
                        <a:pt x="665" y="3"/>
                      </a:lnTo>
                      <a:lnTo>
                        <a:pt x="667" y="3"/>
                      </a:lnTo>
                      <a:lnTo>
                        <a:pt x="669" y="2"/>
                      </a:lnTo>
                      <a:lnTo>
                        <a:pt x="669" y="3"/>
                      </a:lnTo>
                      <a:lnTo>
                        <a:pt x="670" y="3"/>
                      </a:lnTo>
                      <a:lnTo>
                        <a:pt x="672" y="3"/>
                      </a:lnTo>
                      <a:lnTo>
                        <a:pt x="672" y="5"/>
                      </a:lnTo>
                      <a:lnTo>
                        <a:pt x="674" y="5"/>
                      </a:lnTo>
                      <a:lnTo>
                        <a:pt x="674" y="7"/>
                      </a:lnTo>
                      <a:lnTo>
                        <a:pt x="674" y="5"/>
                      </a:lnTo>
                      <a:lnTo>
                        <a:pt x="675" y="7"/>
                      </a:lnTo>
                      <a:lnTo>
                        <a:pt x="675" y="5"/>
                      </a:lnTo>
                      <a:lnTo>
                        <a:pt x="675" y="7"/>
                      </a:lnTo>
                      <a:lnTo>
                        <a:pt x="677" y="7"/>
                      </a:lnTo>
                      <a:lnTo>
                        <a:pt x="677" y="5"/>
                      </a:lnTo>
                      <a:lnTo>
                        <a:pt x="679" y="5"/>
                      </a:lnTo>
                      <a:lnTo>
                        <a:pt x="679" y="7"/>
                      </a:lnTo>
                      <a:lnTo>
                        <a:pt x="681" y="7"/>
                      </a:lnTo>
                      <a:lnTo>
                        <a:pt x="682" y="7"/>
                      </a:lnTo>
                      <a:lnTo>
                        <a:pt x="682" y="8"/>
                      </a:lnTo>
                      <a:lnTo>
                        <a:pt x="682" y="7"/>
                      </a:lnTo>
                      <a:lnTo>
                        <a:pt x="684" y="7"/>
                      </a:lnTo>
                      <a:lnTo>
                        <a:pt x="686" y="7"/>
                      </a:lnTo>
                      <a:lnTo>
                        <a:pt x="686" y="8"/>
                      </a:lnTo>
                      <a:lnTo>
                        <a:pt x="687" y="8"/>
                      </a:lnTo>
                      <a:lnTo>
                        <a:pt x="687" y="10"/>
                      </a:lnTo>
                      <a:lnTo>
                        <a:pt x="687" y="8"/>
                      </a:lnTo>
                      <a:lnTo>
                        <a:pt x="689" y="8"/>
                      </a:lnTo>
                      <a:lnTo>
                        <a:pt x="689" y="10"/>
                      </a:lnTo>
                      <a:lnTo>
                        <a:pt x="687" y="10"/>
                      </a:lnTo>
                      <a:lnTo>
                        <a:pt x="687" y="11"/>
                      </a:lnTo>
                      <a:lnTo>
                        <a:pt x="686" y="13"/>
                      </a:lnTo>
                      <a:lnTo>
                        <a:pt x="684" y="18"/>
                      </a:lnTo>
                      <a:lnTo>
                        <a:pt x="682" y="23"/>
                      </a:lnTo>
                      <a:lnTo>
                        <a:pt x="681" y="25"/>
                      </a:lnTo>
                      <a:lnTo>
                        <a:pt x="681" y="26"/>
                      </a:lnTo>
                      <a:lnTo>
                        <a:pt x="681" y="28"/>
                      </a:lnTo>
                      <a:lnTo>
                        <a:pt x="679" y="30"/>
                      </a:lnTo>
                      <a:lnTo>
                        <a:pt x="681" y="30"/>
                      </a:lnTo>
                      <a:lnTo>
                        <a:pt x="679" y="31"/>
                      </a:lnTo>
                      <a:lnTo>
                        <a:pt x="679" y="33"/>
                      </a:lnTo>
                      <a:lnTo>
                        <a:pt x="681" y="33"/>
                      </a:lnTo>
                      <a:lnTo>
                        <a:pt x="681" y="34"/>
                      </a:lnTo>
                      <a:lnTo>
                        <a:pt x="681" y="36"/>
                      </a:lnTo>
                      <a:lnTo>
                        <a:pt x="681" y="34"/>
                      </a:lnTo>
                      <a:lnTo>
                        <a:pt x="679" y="36"/>
                      </a:lnTo>
                      <a:lnTo>
                        <a:pt x="681" y="36"/>
                      </a:lnTo>
                      <a:lnTo>
                        <a:pt x="679" y="36"/>
                      </a:lnTo>
                      <a:lnTo>
                        <a:pt x="681" y="36"/>
                      </a:lnTo>
                      <a:lnTo>
                        <a:pt x="681" y="38"/>
                      </a:lnTo>
                      <a:lnTo>
                        <a:pt x="679" y="38"/>
                      </a:lnTo>
                      <a:lnTo>
                        <a:pt x="681" y="38"/>
                      </a:lnTo>
                      <a:lnTo>
                        <a:pt x="681" y="39"/>
                      </a:lnTo>
                      <a:lnTo>
                        <a:pt x="682" y="39"/>
                      </a:lnTo>
                      <a:lnTo>
                        <a:pt x="684" y="39"/>
                      </a:lnTo>
                      <a:lnTo>
                        <a:pt x="684" y="41"/>
                      </a:lnTo>
                      <a:lnTo>
                        <a:pt x="686" y="41"/>
                      </a:lnTo>
                      <a:lnTo>
                        <a:pt x="687" y="41"/>
                      </a:lnTo>
                      <a:lnTo>
                        <a:pt x="689" y="41"/>
                      </a:lnTo>
                      <a:lnTo>
                        <a:pt x="691" y="41"/>
                      </a:lnTo>
                      <a:lnTo>
                        <a:pt x="691" y="43"/>
                      </a:lnTo>
                      <a:lnTo>
                        <a:pt x="692" y="43"/>
                      </a:lnTo>
                      <a:lnTo>
                        <a:pt x="694" y="43"/>
                      </a:lnTo>
                      <a:lnTo>
                        <a:pt x="696" y="44"/>
                      </a:lnTo>
                      <a:lnTo>
                        <a:pt x="694" y="44"/>
                      </a:lnTo>
                      <a:lnTo>
                        <a:pt x="694" y="46"/>
                      </a:lnTo>
                      <a:lnTo>
                        <a:pt x="696" y="46"/>
                      </a:lnTo>
                      <a:lnTo>
                        <a:pt x="696" y="44"/>
                      </a:lnTo>
                      <a:lnTo>
                        <a:pt x="697" y="44"/>
                      </a:lnTo>
                      <a:lnTo>
                        <a:pt x="697" y="46"/>
                      </a:lnTo>
                      <a:lnTo>
                        <a:pt x="699" y="46"/>
                      </a:lnTo>
                      <a:lnTo>
                        <a:pt x="699" y="44"/>
                      </a:lnTo>
                      <a:lnTo>
                        <a:pt x="699" y="46"/>
                      </a:lnTo>
                      <a:lnTo>
                        <a:pt x="701" y="46"/>
                      </a:lnTo>
                      <a:lnTo>
                        <a:pt x="702" y="46"/>
                      </a:lnTo>
                      <a:lnTo>
                        <a:pt x="702" y="48"/>
                      </a:lnTo>
                      <a:lnTo>
                        <a:pt x="704" y="48"/>
                      </a:lnTo>
                      <a:lnTo>
                        <a:pt x="706" y="48"/>
                      </a:lnTo>
                      <a:lnTo>
                        <a:pt x="708" y="48"/>
                      </a:lnTo>
                      <a:lnTo>
                        <a:pt x="709" y="49"/>
                      </a:lnTo>
                      <a:lnTo>
                        <a:pt x="711" y="49"/>
                      </a:lnTo>
                      <a:lnTo>
                        <a:pt x="713" y="51"/>
                      </a:lnTo>
                      <a:lnTo>
                        <a:pt x="713" y="53"/>
                      </a:lnTo>
                      <a:lnTo>
                        <a:pt x="714" y="53"/>
                      </a:lnTo>
                      <a:lnTo>
                        <a:pt x="714" y="51"/>
                      </a:lnTo>
                      <a:lnTo>
                        <a:pt x="716" y="51"/>
                      </a:lnTo>
                      <a:lnTo>
                        <a:pt x="718" y="51"/>
                      </a:lnTo>
                      <a:lnTo>
                        <a:pt x="719" y="51"/>
                      </a:lnTo>
                      <a:lnTo>
                        <a:pt x="719" y="49"/>
                      </a:lnTo>
                      <a:lnTo>
                        <a:pt x="718" y="49"/>
                      </a:lnTo>
                      <a:lnTo>
                        <a:pt x="718" y="48"/>
                      </a:lnTo>
                      <a:lnTo>
                        <a:pt x="719" y="49"/>
                      </a:lnTo>
                      <a:lnTo>
                        <a:pt x="719" y="48"/>
                      </a:lnTo>
                      <a:lnTo>
                        <a:pt x="719" y="46"/>
                      </a:lnTo>
                      <a:lnTo>
                        <a:pt x="721" y="46"/>
                      </a:lnTo>
                      <a:lnTo>
                        <a:pt x="721" y="44"/>
                      </a:lnTo>
                      <a:lnTo>
                        <a:pt x="723" y="44"/>
                      </a:lnTo>
                      <a:lnTo>
                        <a:pt x="724" y="44"/>
                      </a:lnTo>
                      <a:lnTo>
                        <a:pt x="724" y="43"/>
                      </a:lnTo>
                      <a:lnTo>
                        <a:pt x="726" y="43"/>
                      </a:lnTo>
                      <a:lnTo>
                        <a:pt x="728" y="43"/>
                      </a:lnTo>
                      <a:lnTo>
                        <a:pt x="730" y="43"/>
                      </a:lnTo>
                      <a:lnTo>
                        <a:pt x="730" y="41"/>
                      </a:lnTo>
                      <a:lnTo>
                        <a:pt x="731" y="41"/>
                      </a:lnTo>
                      <a:lnTo>
                        <a:pt x="733" y="41"/>
                      </a:lnTo>
                      <a:lnTo>
                        <a:pt x="733" y="39"/>
                      </a:lnTo>
                      <a:lnTo>
                        <a:pt x="735" y="39"/>
                      </a:lnTo>
                      <a:lnTo>
                        <a:pt x="735" y="41"/>
                      </a:lnTo>
                      <a:lnTo>
                        <a:pt x="736" y="41"/>
                      </a:lnTo>
                      <a:lnTo>
                        <a:pt x="736" y="39"/>
                      </a:lnTo>
                      <a:lnTo>
                        <a:pt x="738" y="39"/>
                      </a:lnTo>
                      <a:lnTo>
                        <a:pt x="740" y="39"/>
                      </a:lnTo>
                      <a:lnTo>
                        <a:pt x="740" y="38"/>
                      </a:lnTo>
                      <a:lnTo>
                        <a:pt x="740" y="39"/>
                      </a:lnTo>
                      <a:lnTo>
                        <a:pt x="740" y="38"/>
                      </a:lnTo>
                      <a:lnTo>
                        <a:pt x="741" y="38"/>
                      </a:lnTo>
                      <a:lnTo>
                        <a:pt x="741" y="39"/>
                      </a:lnTo>
                      <a:lnTo>
                        <a:pt x="743" y="38"/>
                      </a:lnTo>
                      <a:lnTo>
                        <a:pt x="743" y="39"/>
                      </a:lnTo>
                      <a:lnTo>
                        <a:pt x="743" y="38"/>
                      </a:lnTo>
                      <a:lnTo>
                        <a:pt x="745" y="38"/>
                      </a:lnTo>
                      <a:lnTo>
                        <a:pt x="745" y="39"/>
                      </a:lnTo>
                      <a:lnTo>
                        <a:pt x="746" y="39"/>
                      </a:lnTo>
                      <a:lnTo>
                        <a:pt x="746" y="38"/>
                      </a:lnTo>
                      <a:lnTo>
                        <a:pt x="748" y="38"/>
                      </a:lnTo>
                      <a:lnTo>
                        <a:pt x="748" y="39"/>
                      </a:lnTo>
                      <a:lnTo>
                        <a:pt x="750" y="39"/>
                      </a:lnTo>
                      <a:lnTo>
                        <a:pt x="751" y="39"/>
                      </a:lnTo>
                      <a:lnTo>
                        <a:pt x="751" y="41"/>
                      </a:lnTo>
                      <a:lnTo>
                        <a:pt x="753" y="41"/>
                      </a:lnTo>
                      <a:lnTo>
                        <a:pt x="753" y="39"/>
                      </a:lnTo>
                      <a:lnTo>
                        <a:pt x="753" y="41"/>
                      </a:lnTo>
                      <a:lnTo>
                        <a:pt x="755" y="41"/>
                      </a:lnTo>
                      <a:lnTo>
                        <a:pt x="755" y="43"/>
                      </a:lnTo>
                      <a:lnTo>
                        <a:pt x="755" y="41"/>
                      </a:lnTo>
                      <a:lnTo>
                        <a:pt x="757" y="41"/>
                      </a:lnTo>
                      <a:lnTo>
                        <a:pt x="758" y="41"/>
                      </a:lnTo>
                      <a:lnTo>
                        <a:pt x="760" y="41"/>
                      </a:lnTo>
                      <a:lnTo>
                        <a:pt x="760" y="43"/>
                      </a:lnTo>
                      <a:lnTo>
                        <a:pt x="762" y="43"/>
                      </a:lnTo>
                      <a:lnTo>
                        <a:pt x="763" y="43"/>
                      </a:lnTo>
                      <a:lnTo>
                        <a:pt x="765" y="43"/>
                      </a:lnTo>
                      <a:lnTo>
                        <a:pt x="767" y="43"/>
                      </a:lnTo>
                      <a:lnTo>
                        <a:pt x="768" y="43"/>
                      </a:lnTo>
                      <a:lnTo>
                        <a:pt x="768" y="44"/>
                      </a:lnTo>
                      <a:lnTo>
                        <a:pt x="770" y="44"/>
                      </a:lnTo>
                      <a:lnTo>
                        <a:pt x="770" y="46"/>
                      </a:lnTo>
                      <a:lnTo>
                        <a:pt x="770" y="48"/>
                      </a:lnTo>
                      <a:lnTo>
                        <a:pt x="772" y="48"/>
                      </a:lnTo>
                      <a:lnTo>
                        <a:pt x="772" y="46"/>
                      </a:lnTo>
                      <a:lnTo>
                        <a:pt x="772" y="48"/>
                      </a:lnTo>
                      <a:lnTo>
                        <a:pt x="773" y="48"/>
                      </a:lnTo>
                      <a:lnTo>
                        <a:pt x="773" y="49"/>
                      </a:lnTo>
                      <a:lnTo>
                        <a:pt x="775" y="49"/>
                      </a:lnTo>
                      <a:lnTo>
                        <a:pt x="775" y="48"/>
                      </a:lnTo>
                      <a:lnTo>
                        <a:pt x="775" y="49"/>
                      </a:lnTo>
                      <a:lnTo>
                        <a:pt x="777" y="49"/>
                      </a:lnTo>
                      <a:lnTo>
                        <a:pt x="777" y="51"/>
                      </a:lnTo>
                      <a:lnTo>
                        <a:pt x="778" y="51"/>
                      </a:lnTo>
                      <a:lnTo>
                        <a:pt x="778" y="53"/>
                      </a:lnTo>
                      <a:lnTo>
                        <a:pt x="780" y="53"/>
                      </a:lnTo>
                      <a:lnTo>
                        <a:pt x="780" y="54"/>
                      </a:lnTo>
                      <a:lnTo>
                        <a:pt x="782" y="54"/>
                      </a:lnTo>
                      <a:lnTo>
                        <a:pt x="784" y="56"/>
                      </a:lnTo>
                      <a:lnTo>
                        <a:pt x="785" y="56"/>
                      </a:lnTo>
                      <a:lnTo>
                        <a:pt x="787" y="56"/>
                      </a:lnTo>
                      <a:lnTo>
                        <a:pt x="787" y="57"/>
                      </a:lnTo>
                      <a:lnTo>
                        <a:pt x="789" y="59"/>
                      </a:lnTo>
                      <a:lnTo>
                        <a:pt x="790" y="59"/>
                      </a:lnTo>
                      <a:lnTo>
                        <a:pt x="792" y="59"/>
                      </a:lnTo>
                      <a:lnTo>
                        <a:pt x="792" y="61"/>
                      </a:lnTo>
                      <a:lnTo>
                        <a:pt x="794" y="61"/>
                      </a:lnTo>
                      <a:lnTo>
                        <a:pt x="794" y="62"/>
                      </a:lnTo>
                      <a:lnTo>
                        <a:pt x="795" y="62"/>
                      </a:lnTo>
                      <a:lnTo>
                        <a:pt x="797" y="64"/>
                      </a:lnTo>
                      <a:lnTo>
                        <a:pt x="799" y="64"/>
                      </a:lnTo>
                      <a:lnTo>
                        <a:pt x="799" y="66"/>
                      </a:lnTo>
                      <a:lnTo>
                        <a:pt x="799" y="64"/>
                      </a:lnTo>
                      <a:lnTo>
                        <a:pt x="800" y="64"/>
                      </a:lnTo>
                      <a:lnTo>
                        <a:pt x="800" y="62"/>
                      </a:lnTo>
                      <a:lnTo>
                        <a:pt x="802" y="64"/>
                      </a:lnTo>
                      <a:lnTo>
                        <a:pt x="804" y="64"/>
                      </a:lnTo>
                      <a:lnTo>
                        <a:pt x="804" y="66"/>
                      </a:lnTo>
                      <a:lnTo>
                        <a:pt x="804" y="67"/>
                      </a:lnTo>
                      <a:lnTo>
                        <a:pt x="806" y="66"/>
                      </a:lnTo>
                      <a:lnTo>
                        <a:pt x="806" y="67"/>
                      </a:lnTo>
                      <a:lnTo>
                        <a:pt x="807" y="67"/>
                      </a:lnTo>
                      <a:lnTo>
                        <a:pt x="809" y="69"/>
                      </a:lnTo>
                      <a:lnTo>
                        <a:pt x="811" y="69"/>
                      </a:lnTo>
                      <a:lnTo>
                        <a:pt x="811" y="71"/>
                      </a:lnTo>
                      <a:lnTo>
                        <a:pt x="812" y="71"/>
                      </a:lnTo>
                      <a:lnTo>
                        <a:pt x="812" y="72"/>
                      </a:lnTo>
                      <a:lnTo>
                        <a:pt x="814" y="72"/>
                      </a:lnTo>
                      <a:lnTo>
                        <a:pt x="816" y="72"/>
                      </a:lnTo>
                      <a:lnTo>
                        <a:pt x="816" y="74"/>
                      </a:lnTo>
                      <a:lnTo>
                        <a:pt x="816" y="75"/>
                      </a:lnTo>
                      <a:lnTo>
                        <a:pt x="817" y="75"/>
                      </a:lnTo>
                      <a:lnTo>
                        <a:pt x="819" y="77"/>
                      </a:lnTo>
                      <a:lnTo>
                        <a:pt x="821" y="77"/>
                      </a:lnTo>
                      <a:lnTo>
                        <a:pt x="822" y="77"/>
                      </a:lnTo>
                      <a:lnTo>
                        <a:pt x="824" y="79"/>
                      </a:lnTo>
                      <a:lnTo>
                        <a:pt x="826" y="77"/>
                      </a:lnTo>
                      <a:lnTo>
                        <a:pt x="827" y="79"/>
                      </a:lnTo>
                      <a:lnTo>
                        <a:pt x="829" y="79"/>
                      </a:lnTo>
                      <a:lnTo>
                        <a:pt x="831" y="80"/>
                      </a:lnTo>
                      <a:lnTo>
                        <a:pt x="833" y="80"/>
                      </a:lnTo>
                      <a:lnTo>
                        <a:pt x="833" y="82"/>
                      </a:lnTo>
                      <a:lnTo>
                        <a:pt x="834" y="80"/>
                      </a:lnTo>
                      <a:lnTo>
                        <a:pt x="836" y="80"/>
                      </a:lnTo>
                      <a:lnTo>
                        <a:pt x="836" y="79"/>
                      </a:lnTo>
                      <a:lnTo>
                        <a:pt x="838" y="80"/>
                      </a:lnTo>
                      <a:lnTo>
                        <a:pt x="839" y="79"/>
                      </a:lnTo>
                      <a:lnTo>
                        <a:pt x="841" y="79"/>
                      </a:lnTo>
                      <a:lnTo>
                        <a:pt x="843" y="79"/>
                      </a:lnTo>
                      <a:lnTo>
                        <a:pt x="843" y="80"/>
                      </a:lnTo>
                      <a:lnTo>
                        <a:pt x="844" y="80"/>
                      </a:lnTo>
                      <a:lnTo>
                        <a:pt x="844" y="82"/>
                      </a:lnTo>
                      <a:lnTo>
                        <a:pt x="846" y="82"/>
                      </a:lnTo>
                      <a:lnTo>
                        <a:pt x="846" y="84"/>
                      </a:lnTo>
                      <a:lnTo>
                        <a:pt x="848" y="84"/>
                      </a:lnTo>
                      <a:lnTo>
                        <a:pt x="848" y="85"/>
                      </a:lnTo>
                      <a:lnTo>
                        <a:pt x="849" y="87"/>
                      </a:lnTo>
                      <a:lnTo>
                        <a:pt x="851" y="87"/>
                      </a:lnTo>
                      <a:lnTo>
                        <a:pt x="851" y="85"/>
                      </a:lnTo>
                      <a:lnTo>
                        <a:pt x="854" y="85"/>
                      </a:lnTo>
                      <a:lnTo>
                        <a:pt x="856" y="85"/>
                      </a:lnTo>
                      <a:lnTo>
                        <a:pt x="858" y="85"/>
                      </a:lnTo>
                      <a:lnTo>
                        <a:pt x="860" y="85"/>
                      </a:lnTo>
                      <a:lnTo>
                        <a:pt x="861" y="85"/>
                      </a:lnTo>
                      <a:lnTo>
                        <a:pt x="863" y="87"/>
                      </a:lnTo>
                      <a:lnTo>
                        <a:pt x="863" y="85"/>
                      </a:lnTo>
                      <a:lnTo>
                        <a:pt x="865" y="85"/>
                      </a:lnTo>
                      <a:lnTo>
                        <a:pt x="866" y="85"/>
                      </a:lnTo>
                      <a:lnTo>
                        <a:pt x="866" y="84"/>
                      </a:lnTo>
                      <a:lnTo>
                        <a:pt x="868" y="84"/>
                      </a:lnTo>
                      <a:lnTo>
                        <a:pt x="870" y="84"/>
                      </a:lnTo>
                      <a:lnTo>
                        <a:pt x="870" y="82"/>
                      </a:lnTo>
                      <a:lnTo>
                        <a:pt x="870" y="80"/>
                      </a:lnTo>
                      <a:lnTo>
                        <a:pt x="871" y="80"/>
                      </a:lnTo>
                      <a:lnTo>
                        <a:pt x="873" y="80"/>
                      </a:lnTo>
                      <a:lnTo>
                        <a:pt x="875" y="80"/>
                      </a:lnTo>
                      <a:lnTo>
                        <a:pt x="876" y="79"/>
                      </a:lnTo>
                      <a:lnTo>
                        <a:pt x="905" y="105"/>
                      </a:lnTo>
                      <a:lnTo>
                        <a:pt x="909" y="107"/>
                      </a:lnTo>
                      <a:lnTo>
                        <a:pt x="910" y="110"/>
                      </a:lnTo>
                      <a:lnTo>
                        <a:pt x="917" y="115"/>
                      </a:lnTo>
                      <a:lnTo>
                        <a:pt x="919" y="115"/>
                      </a:lnTo>
                      <a:lnTo>
                        <a:pt x="919" y="117"/>
                      </a:lnTo>
                      <a:lnTo>
                        <a:pt x="922" y="138"/>
                      </a:lnTo>
                      <a:lnTo>
                        <a:pt x="924" y="138"/>
                      </a:lnTo>
                      <a:lnTo>
                        <a:pt x="925" y="138"/>
                      </a:lnTo>
                      <a:lnTo>
                        <a:pt x="927" y="138"/>
                      </a:lnTo>
                      <a:lnTo>
                        <a:pt x="927" y="140"/>
                      </a:lnTo>
                      <a:lnTo>
                        <a:pt x="929" y="140"/>
                      </a:lnTo>
                      <a:lnTo>
                        <a:pt x="929" y="138"/>
                      </a:lnTo>
                      <a:lnTo>
                        <a:pt x="930" y="138"/>
                      </a:lnTo>
                      <a:lnTo>
                        <a:pt x="932" y="138"/>
                      </a:lnTo>
                      <a:lnTo>
                        <a:pt x="934" y="140"/>
                      </a:lnTo>
                      <a:lnTo>
                        <a:pt x="937" y="140"/>
                      </a:lnTo>
                      <a:lnTo>
                        <a:pt x="939" y="141"/>
                      </a:lnTo>
                      <a:lnTo>
                        <a:pt x="941" y="140"/>
                      </a:lnTo>
                      <a:lnTo>
                        <a:pt x="941" y="138"/>
                      </a:lnTo>
                      <a:lnTo>
                        <a:pt x="942" y="138"/>
                      </a:lnTo>
                      <a:lnTo>
                        <a:pt x="944" y="138"/>
                      </a:lnTo>
                      <a:lnTo>
                        <a:pt x="946" y="136"/>
                      </a:lnTo>
                      <a:lnTo>
                        <a:pt x="947" y="136"/>
                      </a:lnTo>
                      <a:lnTo>
                        <a:pt x="949" y="136"/>
                      </a:lnTo>
                      <a:lnTo>
                        <a:pt x="951" y="136"/>
                      </a:lnTo>
                      <a:lnTo>
                        <a:pt x="952" y="136"/>
                      </a:lnTo>
                      <a:lnTo>
                        <a:pt x="952" y="135"/>
                      </a:lnTo>
                      <a:lnTo>
                        <a:pt x="954" y="135"/>
                      </a:lnTo>
                      <a:lnTo>
                        <a:pt x="954" y="133"/>
                      </a:lnTo>
                      <a:lnTo>
                        <a:pt x="954" y="131"/>
                      </a:lnTo>
                      <a:lnTo>
                        <a:pt x="956" y="131"/>
                      </a:lnTo>
                      <a:lnTo>
                        <a:pt x="956" y="130"/>
                      </a:lnTo>
                      <a:lnTo>
                        <a:pt x="958" y="131"/>
                      </a:lnTo>
                      <a:lnTo>
                        <a:pt x="959" y="131"/>
                      </a:lnTo>
                      <a:lnTo>
                        <a:pt x="961" y="131"/>
                      </a:lnTo>
                      <a:lnTo>
                        <a:pt x="961" y="133"/>
                      </a:lnTo>
                      <a:lnTo>
                        <a:pt x="963" y="133"/>
                      </a:lnTo>
                      <a:lnTo>
                        <a:pt x="963" y="135"/>
                      </a:lnTo>
                      <a:lnTo>
                        <a:pt x="963" y="133"/>
                      </a:lnTo>
                      <a:lnTo>
                        <a:pt x="964" y="135"/>
                      </a:lnTo>
                      <a:lnTo>
                        <a:pt x="966" y="133"/>
                      </a:lnTo>
                      <a:lnTo>
                        <a:pt x="968" y="133"/>
                      </a:lnTo>
                      <a:lnTo>
                        <a:pt x="968" y="131"/>
                      </a:lnTo>
                      <a:lnTo>
                        <a:pt x="969" y="131"/>
                      </a:lnTo>
                      <a:lnTo>
                        <a:pt x="969" y="130"/>
                      </a:lnTo>
                      <a:lnTo>
                        <a:pt x="971" y="130"/>
                      </a:lnTo>
                      <a:lnTo>
                        <a:pt x="971" y="131"/>
                      </a:lnTo>
                      <a:lnTo>
                        <a:pt x="973" y="131"/>
                      </a:lnTo>
                      <a:lnTo>
                        <a:pt x="973" y="133"/>
                      </a:lnTo>
                      <a:lnTo>
                        <a:pt x="973" y="135"/>
                      </a:lnTo>
                      <a:lnTo>
                        <a:pt x="974" y="135"/>
                      </a:lnTo>
                      <a:lnTo>
                        <a:pt x="974" y="136"/>
                      </a:lnTo>
                      <a:lnTo>
                        <a:pt x="976" y="136"/>
                      </a:lnTo>
                      <a:lnTo>
                        <a:pt x="976" y="135"/>
                      </a:lnTo>
                      <a:lnTo>
                        <a:pt x="978" y="135"/>
                      </a:lnTo>
                      <a:lnTo>
                        <a:pt x="978" y="133"/>
                      </a:lnTo>
                      <a:lnTo>
                        <a:pt x="976" y="133"/>
                      </a:lnTo>
                      <a:lnTo>
                        <a:pt x="978" y="133"/>
                      </a:lnTo>
                      <a:lnTo>
                        <a:pt x="979" y="133"/>
                      </a:lnTo>
                      <a:lnTo>
                        <a:pt x="979" y="131"/>
                      </a:lnTo>
                      <a:lnTo>
                        <a:pt x="981" y="131"/>
                      </a:lnTo>
                      <a:lnTo>
                        <a:pt x="981" y="133"/>
                      </a:lnTo>
                      <a:lnTo>
                        <a:pt x="983" y="133"/>
                      </a:lnTo>
                      <a:lnTo>
                        <a:pt x="983" y="135"/>
                      </a:lnTo>
                      <a:lnTo>
                        <a:pt x="985" y="135"/>
                      </a:lnTo>
                      <a:lnTo>
                        <a:pt x="985" y="136"/>
                      </a:lnTo>
                      <a:lnTo>
                        <a:pt x="986" y="136"/>
                      </a:lnTo>
                      <a:lnTo>
                        <a:pt x="986" y="138"/>
                      </a:lnTo>
                      <a:lnTo>
                        <a:pt x="988" y="136"/>
                      </a:lnTo>
                      <a:lnTo>
                        <a:pt x="990" y="138"/>
                      </a:lnTo>
                      <a:lnTo>
                        <a:pt x="991" y="138"/>
                      </a:lnTo>
                      <a:lnTo>
                        <a:pt x="991" y="140"/>
                      </a:lnTo>
                      <a:lnTo>
                        <a:pt x="990" y="140"/>
                      </a:lnTo>
                      <a:lnTo>
                        <a:pt x="991" y="140"/>
                      </a:lnTo>
                      <a:lnTo>
                        <a:pt x="991" y="141"/>
                      </a:lnTo>
                      <a:lnTo>
                        <a:pt x="993" y="141"/>
                      </a:lnTo>
                      <a:lnTo>
                        <a:pt x="993" y="143"/>
                      </a:lnTo>
                      <a:lnTo>
                        <a:pt x="995" y="144"/>
                      </a:lnTo>
                      <a:lnTo>
                        <a:pt x="996" y="143"/>
                      </a:lnTo>
                      <a:lnTo>
                        <a:pt x="998" y="143"/>
                      </a:lnTo>
                      <a:lnTo>
                        <a:pt x="998" y="141"/>
                      </a:lnTo>
                      <a:lnTo>
                        <a:pt x="1000" y="141"/>
                      </a:lnTo>
                      <a:lnTo>
                        <a:pt x="1001" y="141"/>
                      </a:lnTo>
                      <a:lnTo>
                        <a:pt x="1003" y="141"/>
                      </a:lnTo>
                      <a:lnTo>
                        <a:pt x="1003" y="140"/>
                      </a:lnTo>
                      <a:lnTo>
                        <a:pt x="1005" y="140"/>
                      </a:lnTo>
                      <a:lnTo>
                        <a:pt x="1005" y="141"/>
                      </a:lnTo>
                      <a:lnTo>
                        <a:pt x="1006" y="141"/>
                      </a:lnTo>
                      <a:lnTo>
                        <a:pt x="1006" y="143"/>
                      </a:lnTo>
                      <a:lnTo>
                        <a:pt x="1006" y="144"/>
                      </a:lnTo>
                      <a:lnTo>
                        <a:pt x="1008" y="144"/>
                      </a:lnTo>
                      <a:lnTo>
                        <a:pt x="1010" y="146"/>
                      </a:lnTo>
                      <a:lnTo>
                        <a:pt x="1010" y="144"/>
                      </a:lnTo>
                      <a:lnTo>
                        <a:pt x="1010" y="146"/>
                      </a:lnTo>
                      <a:lnTo>
                        <a:pt x="1012" y="146"/>
                      </a:lnTo>
                      <a:lnTo>
                        <a:pt x="1012" y="144"/>
                      </a:lnTo>
                      <a:lnTo>
                        <a:pt x="1012" y="146"/>
                      </a:lnTo>
                      <a:lnTo>
                        <a:pt x="1012" y="144"/>
                      </a:lnTo>
                      <a:lnTo>
                        <a:pt x="1013" y="144"/>
                      </a:lnTo>
                      <a:lnTo>
                        <a:pt x="1013" y="146"/>
                      </a:lnTo>
                      <a:lnTo>
                        <a:pt x="1013" y="144"/>
                      </a:lnTo>
                      <a:lnTo>
                        <a:pt x="1013" y="146"/>
                      </a:lnTo>
                      <a:lnTo>
                        <a:pt x="1015" y="146"/>
                      </a:lnTo>
                      <a:lnTo>
                        <a:pt x="1017" y="146"/>
                      </a:lnTo>
                      <a:lnTo>
                        <a:pt x="1018" y="146"/>
                      </a:lnTo>
                      <a:lnTo>
                        <a:pt x="1018" y="144"/>
                      </a:lnTo>
                      <a:lnTo>
                        <a:pt x="1018" y="146"/>
                      </a:lnTo>
                      <a:lnTo>
                        <a:pt x="1020" y="146"/>
                      </a:lnTo>
                      <a:lnTo>
                        <a:pt x="1020" y="144"/>
                      </a:lnTo>
                      <a:lnTo>
                        <a:pt x="1022" y="144"/>
                      </a:lnTo>
                      <a:lnTo>
                        <a:pt x="1022" y="146"/>
                      </a:lnTo>
                      <a:lnTo>
                        <a:pt x="1022" y="144"/>
                      </a:lnTo>
                      <a:lnTo>
                        <a:pt x="1023" y="144"/>
                      </a:lnTo>
                      <a:lnTo>
                        <a:pt x="1025" y="144"/>
                      </a:lnTo>
                      <a:lnTo>
                        <a:pt x="1025" y="146"/>
                      </a:lnTo>
                      <a:lnTo>
                        <a:pt x="1027" y="146"/>
                      </a:lnTo>
                      <a:lnTo>
                        <a:pt x="1027" y="148"/>
                      </a:lnTo>
                      <a:lnTo>
                        <a:pt x="1028" y="148"/>
                      </a:lnTo>
                      <a:lnTo>
                        <a:pt x="1028" y="149"/>
                      </a:lnTo>
                      <a:lnTo>
                        <a:pt x="1030" y="149"/>
                      </a:lnTo>
                      <a:lnTo>
                        <a:pt x="1030" y="151"/>
                      </a:lnTo>
                      <a:lnTo>
                        <a:pt x="1032" y="151"/>
                      </a:lnTo>
                      <a:lnTo>
                        <a:pt x="1032" y="149"/>
                      </a:lnTo>
                      <a:lnTo>
                        <a:pt x="1032" y="151"/>
                      </a:lnTo>
                      <a:lnTo>
                        <a:pt x="1032" y="153"/>
                      </a:lnTo>
                      <a:lnTo>
                        <a:pt x="1030" y="153"/>
                      </a:lnTo>
                      <a:lnTo>
                        <a:pt x="1032" y="154"/>
                      </a:lnTo>
                      <a:lnTo>
                        <a:pt x="1032" y="153"/>
                      </a:lnTo>
                      <a:lnTo>
                        <a:pt x="1032" y="154"/>
                      </a:lnTo>
                      <a:lnTo>
                        <a:pt x="1032" y="153"/>
                      </a:lnTo>
                      <a:lnTo>
                        <a:pt x="1034" y="153"/>
                      </a:lnTo>
                      <a:lnTo>
                        <a:pt x="1034" y="154"/>
                      </a:lnTo>
                      <a:lnTo>
                        <a:pt x="1034" y="153"/>
                      </a:lnTo>
                      <a:lnTo>
                        <a:pt x="1035" y="154"/>
                      </a:lnTo>
                      <a:lnTo>
                        <a:pt x="1035" y="153"/>
                      </a:lnTo>
                      <a:lnTo>
                        <a:pt x="1037" y="153"/>
                      </a:lnTo>
                      <a:lnTo>
                        <a:pt x="1037" y="154"/>
                      </a:lnTo>
                      <a:lnTo>
                        <a:pt x="1039" y="154"/>
                      </a:lnTo>
                      <a:lnTo>
                        <a:pt x="1039" y="153"/>
                      </a:lnTo>
                      <a:lnTo>
                        <a:pt x="1040" y="153"/>
                      </a:lnTo>
                      <a:lnTo>
                        <a:pt x="1040" y="154"/>
                      </a:lnTo>
                      <a:lnTo>
                        <a:pt x="1039" y="154"/>
                      </a:lnTo>
                      <a:lnTo>
                        <a:pt x="1040" y="154"/>
                      </a:lnTo>
                      <a:lnTo>
                        <a:pt x="1040" y="156"/>
                      </a:lnTo>
                      <a:lnTo>
                        <a:pt x="1040" y="154"/>
                      </a:lnTo>
                      <a:lnTo>
                        <a:pt x="1042" y="154"/>
                      </a:lnTo>
                      <a:lnTo>
                        <a:pt x="1040" y="154"/>
                      </a:lnTo>
                      <a:lnTo>
                        <a:pt x="1040" y="156"/>
                      </a:lnTo>
                      <a:lnTo>
                        <a:pt x="1042" y="156"/>
                      </a:lnTo>
                      <a:lnTo>
                        <a:pt x="1040" y="156"/>
                      </a:lnTo>
                      <a:lnTo>
                        <a:pt x="1040" y="158"/>
                      </a:lnTo>
                      <a:lnTo>
                        <a:pt x="1040" y="156"/>
                      </a:lnTo>
                      <a:lnTo>
                        <a:pt x="1042" y="156"/>
                      </a:lnTo>
                      <a:lnTo>
                        <a:pt x="1040" y="158"/>
                      </a:lnTo>
                      <a:lnTo>
                        <a:pt x="1042" y="158"/>
                      </a:lnTo>
                      <a:lnTo>
                        <a:pt x="1042" y="159"/>
                      </a:lnTo>
                      <a:lnTo>
                        <a:pt x="1044" y="159"/>
                      </a:lnTo>
                      <a:lnTo>
                        <a:pt x="1045" y="159"/>
                      </a:lnTo>
                      <a:lnTo>
                        <a:pt x="1044" y="161"/>
                      </a:lnTo>
                      <a:lnTo>
                        <a:pt x="1045" y="161"/>
                      </a:lnTo>
                      <a:lnTo>
                        <a:pt x="1047" y="161"/>
                      </a:lnTo>
                      <a:lnTo>
                        <a:pt x="1047" y="163"/>
                      </a:lnTo>
                      <a:lnTo>
                        <a:pt x="1049" y="163"/>
                      </a:lnTo>
                      <a:lnTo>
                        <a:pt x="1050" y="163"/>
                      </a:lnTo>
                      <a:lnTo>
                        <a:pt x="1052" y="161"/>
                      </a:lnTo>
                      <a:lnTo>
                        <a:pt x="1054" y="163"/>
                      </a:lnTo>
                      <a:lnTo>
                        <a:pt x="1055" y="163"/>
                      </a:lnTo>
                      <a:lnTo>
                        <a:pt x="1054" y="164"/>
                      </a:lnTo>
                      <a:lnTo>
                        <a:pt x="1055" y="164"/>
                      </a:lnTo>
                      <a:lnTo>
                        <a:pt x="1055" y="166"/>
                      </a:lnTo>
                      <a:lnTo>
                        <a:pt x="1057" y="167"/>
                      </a:lnTo>
                      <a:lnTo>
                        <a:pt x="1059" y="169"/>
                      </a:lnTo>
                      <a:lnTo>
                        <a:pt x="1059" y="171"/>
                      </a:lnTo>
                      <a:lnTo>
                        <a:pt x="1061" y="171"/>
                      </a:lnTo>
                      <a:lnTo>
                        <a:pt x="1061" y="172"/>
                      </a:lnTo>
                      <a:lnTo>
                        <a:pt x="1061" y="174"/>
                      </a:lnTo>
                      <a:lnTo>
                        <a:pt x="1059" y="176"/>
                      </a:lnTo>
                      <a:lnTo>
                        <a:pt x="1057" y="176"/>
                      </a:lnTo>
                      <a:lnTo>
                        <a:pt x="1059" y="176"/>
                      </a:lnTo>
                      <a:lnTo>
                        <a:pt x="1059" y="177"/>
                      </a:lnTo>
                      <a:lnTo>
                        <a:pt x="1059" y="179"/>
                      </a:lnTo>
                      <a:lnTo>
                        <a:pt x="1059" y="181"/>
                      </a:lnTo>
                      <a:lnTo>
                        <a:pt x="1057" y="181"/>
                      </a:lnTo>
                      <a:lnTo>
                        <a:pt x="1057" y="182"/>
                      </a:lnTo>
                      <a:lnTo>
                        <a:pt x="1055" y="182"/>
                      </a:lnTo>
                      <a:lnTo>
                        <a:pt x="1054" y="184"/>
                      </a:lnTo>
                      <a:lnTo>
                        <a:pt x="1054" y="186"/>
                      </a:lnTo>
                      <a:lnTo>
                        <a:pt x="1055" y="187"/>
                      </a:lnTo>
                      <a:lnTo>
                        <a:pt x="1055" y="189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0" name="Freeform 12"/>
                <p:cNvSpPr>
                  <a:spLocks noChangeAspect="1"/>
                </p:cNvSpPr>
                <p:nvPr/>
              </p:nvSpPr>
              <p:spPr bwMode="auto">
                <a:xfrm>
                  <a:off x="2629369" y="461924"/>
                  <a:ext cx="879905" cy="1053735"/>
                </a:xfrm>
                <a:custGeom>
                  <a:avLst/>
                  <a:gdLst>
                    <a:gd name="T0" fmla="*/ 2147483647 w 564"/>
                    <a:gd name="T1" fmla="*/ 2147483647 h 630"/>
                    <a:gd name="T2" fmla="*/ 2147483647 w 564"/>
                    <a:gd name="T3" fmla="*/ 2147483647 h 630"/>
                    <a:gd name="T4" fmla="*/ 2147483647 w 564"/>
                    <a:gd name="T5" fmla="*/ 2147483647 h 630"/>
                    <a:gd name="T6" fmla="*/ 2147483647 w 564"/>
                    <a:gd name="T7" fmla="*/ 2147483647 h 630"/>
                    <a:gd name="T8" fmla="*/ 2147483647 w 564"/>
                    <a:gd name="T9" fmla="*/ 2147483647 h 630"/>
                    <a:gd name="T10" fmla="*/ 2147483647 w 564"/>
                    <a:gd name="T11" fmla="*/ 2147483647 h 630"/>
                    <a:gd name="T12" fmla="*/ 2147483647 w 564"/>
                    <a:gd name="T13" fmla="*/ 2147483647 h 630"/>
                    <a:gd name="T14" fmla="*/ 2147483647 w 564"/>
                    <a:gd name="T15" fmla="*/ 2147483647 h 630"/>
                    <a:gd name="T16" fmla="*/ 2147483647 w 564"/>
                    <a:gd name="T17" fmla="*/ 2147483647 h 630"/>
                    <a:gd name="T18" fmla="*/ 2147483647 w 564"/>
                    <a:gd name="T19" fmla="*/ 2147483647 h 630"/>
                    <a:gd name="T20" fmla="*/ 2147483647 w 564"/>
                    <a:gd name="T21" fmla="*/ 2147483647 h 630"/>
                    <a:gd name="T22" fmla="*/ 2147483647 w 564"/>
                    <a:gd name="T23" fmla="*/ 2147483647 h 630"/>
                    <a:gd name="T24" fmla="*/ 2147483647 w 564"/>
                    <a:gd name="T25" fmla="*/ 2147483647 h 630"/>
                    <a:gd name="T26" fmla="*/ 2147483647 w 564"/>
                    <a:gd name="T27" fmla="*/ 2147483647 h 630"/>
                    <a:gd name="T28" fmla="*/ 2147483647 w 564"/>
                    <a:gd name="T29" fmla="*/ 2147483647 h 630"/>
                    <a:gd name="T30" fmla="*/ 2147483647 w 564"/>
                    <a:gd name="T31" fmla="*/ 2147483647 h 630"/>
                    <a:gd name="T32" fmla="*/ 2147483647 w 564"/>
                    <a:gd name="T33" fmla="*/ 2147483647 h 630"/>
                    <a:gd name="T34" fmla="*/ 2147483647 w 564"/>
                    <a:gd name="T35" fmla="*/ 2147483647 h 630"/>
                    <a:gd name="T36" fmla="*/ 2147483647 w 564"/>
                    <a:gd name="T37" fmla="*/ 2147483647 h 630"/>
                    <a:gd name="T38" fmla="*/ 2147483647 w 564"/>
                    <a:gd name="T39" fmla="*/ 2147483647 h 630"/>
                    <a:gd name="T40" fmla="*/ 2147483647 w 564"/>
                    <a:gd name="T41" fmla="*/ 2147483647 h 630"/>
                    <a:gd name="T42" fmla="*/ 2147483647 w 564"/>
                    <a:gd name="T43" fmla="*/ 2147483647 h 630"/>
                    <a:gd name="T44" fmla="*/ 2147483647 w 564"/>
                    <a:gd name="T45" fmla="*/ 2147483647 h 630"/>
                    <a:gd name="T46" fmla="*/ 2147483647 w 564"/>
                    <a:gd name="T47" fmla="*/ 2147483647 h 630"/>
                    <a:gd name="T48" fmla="*/ 2147483647 w 564"/>
                    <a:gd name="T49" fmla="*/ 2147483647 h 630"/>
                    <a:gd name="T50" fmla="*/ 2147483647 w 564"/>
                    <a:gd name="T51" fmla="*/ 2147483647 h 630"/>
                    <a:gd name="T52" fmla="*/ 2147483647 w 564"/>
                    <a:gd name="T53" fmla="*/ 2147483647 h 630"/>
                    <a:gd name="T54" fmla="*/ 2147483647 w 564"/>
                    <a:gd name="T55" fmla="*/ 2147483647 h 630"/>
                    <a:gd name="T56" fmla="*/ 2147483647 w 564"/>
                    <a:gd name="T57" fmla="*/ 2147483647 h 630"/>
                    <a:gd name="T58" fmla="*/ 2147483647 w 564"/>
                    <a:gd name="T59" fmla="*/ 2147483647 h 630"/>
                    <a:gd name="T60" fmla="*/ 2147483647 w 564"/>
                    <a:gd name="T61" fmla="*/ 2147483647 h 630"/>
                    <a:gd name="T62" fmla="*/ 2147483647 w 564"/>
                    <a:gd name="T63" fmla="*/ 2147483647 h 630"/>
                    <a:gd name="T64" fmla="*/ 2147483647 w 564"/>
                    <a:gd name="T65" fmla="*/ 2147483647 h 630"/>
                    <a:gd name="T66" fmla="*/ 2147483647 w 564"/>
                    <a:gd name="T67" fmla="*/ 2147483647 h 630"/>
                    <a:gd name="T68" fmla="*/ 2147483647 w 564"/>
                    <a:gd name="T69" fmla="*/ 2147483647 h 630"/>
                    <a:gd name="T70" fmla="*/ 2147483647 w 564"/>
                    <a:gd name="T71" fmla="*/ 2147483647 h 630"/>
                    <a:gd name="T72" fmla="*/ 2147483647 w 564"/>
                    <a:gd name="T73" fmla="*/ 2147483647 h 630"/>
                    <a:gd name="T74" fmla="*/ 2147483647 w 564"/>
                    <a:gd name="T75" fmla="*/ 2147483647 h 630"/>
                    <a:gd name="T76" fmla="*/ 2147483647 w 564"/>
                    <a:gd name="T77" fmla="*/ 2147483647 h 630"/>
                    <a:gd name="T78" fmla="*/ 2147483647 w 564"/>
                    <a:gd name="T79" fmla="*/ 2147483647 h 630"/>
                    <a:gd name="T80" fmla="*/ 2147483647 w 564"/>
                    <a:gd name="T81" fmla="*/ 2147483647 h 630"/>
                    <a:gd name="T82" fmla="*/ 2147483647 w 564"/>
                    <a:gd name="T83" fmla="*/ 2147483647 h 630"/>
                    <a:gd name="T84" fmla="*/ 2147483647 w 564"/>
                    <a:gd name="T85" fmla="*/ 2147483647 h 630"/>
                    <a:gd name="T86" fmla="*/ 2147483647 w 564"/>
                    <a:gd name="T87" fmla="*/ 2147483647 h 630"/>
                    <a:gd name="T88" fmla="*/ 2147483647 w 564"/>
                    <a:gd name="T89" fmla="*/ 2147483647 h 630"/>
                    <a:gd name="T90" fmla="*/ 2147483647 w 564"/>
                    <a:gd name="T91" fmla="*/ 2147483647 h 630"/>
                    <a:gd name="T92" fmla="*/ 2147483647 w 564"/>
                    <a:gd name="T93" fmla="*/ 2147483647 h 630"/>
                    <a:gd name="T94" fmla="*/ 2147483647 w 564"/>
                    <a:gd name="T95" fmla="*/ 2147483647 h 630"/>
                    <a:gd name="T96" fmla="*/ 2147483647 w 564"/>
                    <a:gd name="T97" fmla="*/ 2147483647 h 630"/>
                    <a:gd name="T98" fmla="*/ 2147483647 w 564"/>
                    <a:gd name="T99" fmla="*/ 2147483647 h 630"/>
                    <a:gd name="T100" fmla="*/ 2147483647 w 564"/>
                    <a:gd name="T101" fmla="*/ 2147483647 h 630"/>
                    <a:gd name="T102" fmla="*/ 2147483647 w 564"/>
                    <a:gd name="T103" fmla="*/ 2147483647 h 630"/>
                    <a:gd name="T104" fmla="*/ 2147483647 w 564"/>
                    <a:gd name="T105" fmla="*/ 2147483647 h 630"/>
                    <a:gd name="T106" fmla="*/ 2147483647 w 564"/>
                    <a:gd name="T107" fmla="*/ 2147483647 h 630"/>
                    <a:gd name="T108" fmla="*/ 2147483647 w 564"/>
                    <a:gd name="T109" fmla="*/ 2147483647 h 630"/>
                    <a:gd name="T110" fmla="*/ 2147483647 w 564"/>
                    <a:gd name="T111" fmla="*/ 2147483647 h 630"/>
                    <a:gd name="T112" fmla="*/ 2147483647 w 564"/>
                    <a:gd name="T113" fmla="*/ 2147483647 h 630"/>
                    <a:gd name="T114" fmla="*/ 2147483647 w 564"/>
                    <a:gd name="T115" fmla="*/ 2147483647 h 630"/>
                    <a:gd name="T116" fmla="*/ 2147483647 w 564"/>
                    <a:gd name="T117" fmla="*/ 2147483647 h 630"/>
                    <a:gd name="T118" fmla="*/ 2147483647 w 564"/>
                    <a:gd name="T119" fmla="*/ 2147483647 h 630"/>
                    <a:gd name="T120" fmla="*/ 2147483647 w 564"/>
                    <a:gd name="T121" fmla="*/ 2147483647 h 630"/>
                    <a:gd name="T122" fmla="*/ 2147483647 w 564"/>
                    <a:gd name="T123" fmla="*/ 2147483647 h 630"/>
                    <a:gd name="T124" fmla="*/ 2147483647 w 564"/>
                    <a:gd name="T125" fmla="*/ 2147483647 h 63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564"/>
                    <a:gd name="T190" fmla="*/ 0 h 630"/>
                    <a:gd name="T191" fmla="*/ 564 w 564"/>
                    <a:gd name="T192" fmla="*/ 630 h 63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564" h="630">
                      <a:moveTo>
                        <a:pt x="319" y="630"/>
                      </a:moveTo>
                      <a:lnTo>
                        <a:pt x="317" y="630"/>
                      </a:lnTo>
                      <a:lnTo>
                        <a:pt x="315" y="629"/>
                      </a:lnTo>
                      <a:lnTo>
                        <a:pt x="314" y="629"/>
                      </a:lnTo>
                      <a:lnTo>
                        <a:pt x="312" y="625"/>
                      </a:lnTo>
                      <a:lnTo>
                        <a:pt x="310" y="624"/>
                      </a:lnTo>
                      <a:lnTo>
                        <a:pt x="310" y="622"/>
                      </a:lnTo>
                      <a:lnTo>
                        <a:pt x="309" y="622"/>
                      </a:lnTo>
                      <a:lnTo>
                        <a:pt x="307" y="620"/>
                      </a:lnTo>
                      <a:lnTo>
                        <a:pt x="305" y="619"/>
                      </a:lnTo>
                      <a:lnTo>
                        <a:pt x="304" y="617"/>
                      </a:lnTo>
                      <a:lnTo>
                        <a:pt x="302" y="617"/>
                      </a:lnTo>
                      <a:lnTo>
                        <a:pt x="300" y="617"/>
                      </a:lnTo>
                      <a:lnTo>
                        <a:pt x="299" y="616"/>
                      </a:lnTo>
                      <a:lnTo>
                        <a:pt x="297" y="616"/>
                      </a:lnTo>
                      <a:lnTo>
                        <a:pt x="295" y="616"/>
                      </a:lnTo>
                      <a:lnTo>
                        <a:pt x="294" y="614"/>
                      </a:lnTo>
                      <a:lnTo>
                        <a:pt x="290" y="612"/>
                      </a:lnTo>
                      <a:lnTo>
                        <a:pt x="288" y="612"/>
                      </a:lnTo>
                      <a:lnTo>
                        <a:pt x="287" y="612"/>
                      </a:lnTo>
                      <a:lnTo>
                        <a:pt x="285" y="614"/>
                      </a:lnTo>
                      <a:lnTo>
                        <a:pt x="283" y="614"/>
                      </a:lnTo>
                      <a:lnTo>
                        <a:pt x="280" y="614"/>
                      </a:lnTo>
                      <a:lnTo>
                        <a:pt x="278" y="614"/>
                      </a:lnTo>
                      <a:lnTo>
                        <a:pt x="278" y="612"/>
                      </a:lnTo>
                      <a:lnTo>
                        <a:pt x="277" y="612"/>
                      </a:lnTo>
                      <a:lnTo>
                        <a:pt x="277" y="611"/>
                      </a:lnTo>
                      <a:lnTo>
                        <a:pt x="277" y="609"/>
                      </a:lnTo>
                      <a:lnTo>
                        <a:pt x="275" y="607"/>
                      </a:lnTo>
                      <a:lnTo>
                        <a:pt x="273" y="606"/>
                      </a:lnTo>
                      <a:lnTo>
                        <a:pt x="273" y="604"/>
                      </a:lnTo>
                      <a:lnTo>
                        <a:pt x="273" y="602"/>
                      </a:lnTo>
                      <a:lnTo>
                        <a:pt x="272" y="599"/>
                      </a:lnTo>
                      <a:lnTo>
                        <a:pt x="270" y="597"/>
                      </a:lnTo>
                      <a:lnTo>
                        <a:pt x="270" y="596"/>
                      </a:lnTo>
                      <a:lnTo>
                        <a:pt x="266" y="591"/>
                      </a:lnTo>
                      <a:lnTo>
                        <a:pt x="265" y="588"/>
                      </a:lnTo>
                      <a:lnTo>
                        <a:pt x="263" y="588"/>
                      </a:lnTo>
                      <a:lnTo>
                        <a:pt x="263" y="586"/>
                      </a:lnTo>
                      <a:lnTo>
                        <a:pt x="261" y="586"/>
                      </a:lnTo>
                      <a:lnTo>
                        <a:pt x="260" y="586"/>
                      </a:lnTo>
                      <a:lnTo>
                        <a:pt x="258" y="586"/>
                      </a:lnTo>
                      <a:lnTo>
                        <a:pt x="258" y="584"/>
                      </a:lnTo>
                      <a:lnTo>
                        <a:pt x="256" y="584"/>
                      </a:lnTo>
                      <a:lnTo>
                        <a:pt x="258" y="583"/>
                      </a:lnTo>
                      <a:lnTo>
                        <a:pt x="256" y="581"/>
                      </a:lnTo>
                      <a:lnTo>
                        <a:pt x="255" y="581"/>
                      </a:lnTo>
                      <a:lnTo>
                        <a:pt x="255" y="579"/>
                      </a:lnTo>
                      <a:lnTo>
                        <a:pt x="253" y="579"/>
                      </a:lnTo>
                      <a:lnTo>
                        <a:pt x="253" y="578"/>
                      </a:lnTo>
                      <a:lnTo>
                        <a:pt x="251" y="578"/>
                      </a:lnTo>
                      <a:lnTo>
                        <a:pt x="250" y="578"/>
                      </a:lnTo>
                      <a:lnTo>
                        <a:pt x="250" y="576"/>
                      </a:lnTo>
                      <a:lnTo>
                        <a:pt x="248" y="576"/>
                      </a:lnTo>
                      <a:lnTo>
                        <a:pt x="246" y="574"/>
                      </a:lnTo>
                      <a:lnTo>
                        <a:pt x="245" y="574"/>
                      </a:lnTo>
                      <a:lnTo>
                        <a:pt x="243" y="574"/>
                      </a:lnTo>
                      <a:lnTo>
                        <a:pt x="243" y="573"/>
                      </a:lnTo>
                      <a:lnTo>
                        <a:pt x="241" y="573"/>
                      </a:lnTo>
                      <a:lnTo>
                        <a:pt x="239" y="571"/>
                      </a:lnTo>
                      <a:lnTo>
                        <a:pt x="238" y="570"/>
                      </a:lnTo>
                      <a:lnTo>
                        <a:pt x="236" y="570"/>
                      </a:lnTo>
                      <a:lnTo>
                        <a:pt x="236" y="568"/>
                      </a:lnTo>
                      <a:lnTo>
                        <a:pt x="234" y="566"/>
                      </a:lnTo>
                      <a:lnTo>
                        <a:pt x="234" y="565"/>
                      </a:lnTo>
                      <a:lnTo>
                        <a:pt x="233" y="565"/>
                      </a:lnTo>
                      <a:lnTo>
                        <a:pt x="233" y="563"/>
                      </a:lnTo>
                      <a:lnTo>
                        <a:pt x="233" y="561"/>
                      </a:lnTo>
                      <a:lnTo>
                        <a:pt x="231" y="561"/>
                      </a:lnTo>
                      <a:lnTo>
                        <a:pt x="229" y="560"/>
                      </a:lnTo>
                      <a:lnTo>
                        <a:pt x="228" y="560"/>
                      </a:lnTo>
                      <a:lnTo>
                        <a:pt x="226" y="560"/>
                      </a:lnTo>
                      <a:lnTo>
                        <a:pt x="224" y="560"/>
                      </a:lnTo>
                      <a:lnTo>
                        <a:pt x="224" y="558"/>
                      </a:lnTo>
                      <a:lnTo>
                        <a:pt x="223" y="558"/>
                      </a:lnTo>
                      <a:lnTo>
                        <a:pt x="221" y="558"/>
                      </a:lnTo>
                      <a:lnTo>
                        <a:pt x="221" y="556"/>
                      </a:lnTo>
                      <a:lnTo>
                        <a:pt x="219" y="555"/>
                      </a:lnTo>
                      <a:lnTo>
                        <a:pt x="221" y="555"/>
                      </a:lnTo>
                      <a:lnTo>
                        <a:pt x="221" y="553"/>
                      </a:lnTo>
                      <a:lnTo>
                        <a:pt x="221" y="551"/>
                      </a:lnTo>
                      <a:lnTo>
                        <a:pt x="221" y="550"/>
                      </a:lnTo>
                      <a:lnTo>
                        <a:pt x="221" y="548"/>
                      </a:lnTo>
                      <a:lnTo>
                        <a:pt x="223" y="548"/>
                      </a:lnTo>
                      <a:lnTo>
                        <a:pt x="224" y="548"/>
                      </a:lnTo>
                      <a:lnTo>
                        <a:pt x="228" y="548"/>
                      </a:lnTo>
                      <a:lnTo>
                        <a:pt x="228" y="550"/>
                      </a:lnTo>
                      <a:lnTo>
                        <a:pt x="229" y="550"/>
                      </a:lnTo>
                      <a:lnTo>
                        <a:pt x="229" y="551"/>
                      </a:lnTo>
                      <a:lnTo>
                        <a:pt x="231" y="551"/>
                      </a:lnTo>
                      <a:lnTo>
                        <a:pt x="231" y="550"/>
                      </a:lnTo>
                      <a:lnTo>
                        <a:pt x="233" y="550"/>
                      </a:lnTo>
                      <a:lnTo>
                        <a:pt x="234" y="550"/>
                      </a:lnTo>
                      <a:lnTo>
                        <a:pt x="233" y="550"/>
                      </a:lnTo>
                      <a:lnTo>
                        <a:pt x="233" y="548"/>
                      </a:lnTo>
                      <a:lnTo>
                        <a:pt x="234" y="547"/>
                      </a:lnTo>
                      <a:lnTo>
                        <a:pt x="234" y="548"/>
                      </a:lnTo>
                      <a:lnTo>
                        <a:pt x="236" y="547"/>
                      </a:lnTo>
                      <a:lnTo>
                        <a:pt x="238" y="545"/>
                      </a:lnTo>
                      <a:lnTo>
                        <a:pt x="238" y="547"/>
                      </a:lnTo>
                      <a:lnTo>
                        <a:pt x="239" y="547"/>
                      </a:lnTo>
                      <a:lnTo>
                        <a:pt x="239" y="545"/>
                      </a:lnTo>
                      <a:lnTo>
                        <a:pt x="241" y="545"/>
                      </a:lnTo>
                      <a:lnTo>
                        <a:pt x="241" y="543"/>
                      </a:lnTo>
                      <a:lnTo>
                        <a:pt x="241" y="542"/>
                      </a:lnTo>
                      <a:lnTo>
                        <a:pt x="239" y="542"/>
                      </a:lnTo>
                      <a:lnTo>
                        <a:pt x="241" y="542"/>
                      </a:lnTo>
                      <a:lnTo>
                        <a:pt x="241" y="540"/>
                      </a:lnTo>
                      <a:lnTo>
                        <a:pt x="239" y="540"/>
                      </a:lnTo>
                      <a:lnTo>
                        <a:pt x="239" y="538"/>
                      </a:lnTo>
                      <a:lnTo>
                        <a:pt x="239" y="537"/>
                      </a:lnTo>
                      <a:lnTo>
                        <a:pt x="238" y="537"/>
                      </a:lnTo>
                      <a:lnTo>
                        <a:pt x="239" y="535"/>
                      </a:lnTo>
                      <a:lnTo>
                        <a:pt x="239" y="532"/>
                      </a:lnTo>
                      <a:lnTo>
                        <a:pt x="241" y="532"/>
                      </a:lnTo>
                      <a:lnTo>
                        <a:pt x="241" y="530"/>
                      </a:lnTo>
                      <a:lnTo>
                        <a:pt x="241" y="528"/>
                      </a:lnTo>
                      <a:lnTo>
                        <a:pt x="243" y="528"/>
                      </a:lnTo>
                      <a:lnTo>
                        <a:pt x="241" y="528"/>
                      </a:lnTo>
                      <a:lnTo>
                        <a:pt x="243" y="527"/>
                      </a:lnTo>
                      <a:lnTo>
                        <a:pt x="245" y="527"/>
                      </a:lnTo>
                      <a:lnTo>
                        <a:pt x="245" y="525"/>
                      </a:lnTo>
                      <a:lnTo>
                        <a:pt x="246" y="525"/>
                      </a:lnTo>
                      <a:lnTo>
                        <a:pt x="246" y="524"/>
                      </a:lnTo>
                      <a:lnTo>
                        <a:pt x="248" y="524"/>
                      </a:lnTo>
                      <a:lnTo>
                        <a:pt x="248" y="522"/>
                      </a:lnTo>
                      <a:lnTo>
                        <a:pt x="250" y="522"/>
                      </a:lnTo>
                      <a:lnTo>
                        <a:pt x="250" y="520"/>
                      </a:lnTo>
                      <a:lnTo>
                        <a:pt x="248" y="520"/>
                      </a:lnTo>
                      <a:lnTo>
                        <a:pt x="250" y="519"/>
                      </a:lnTo>
                      <a:lnTo>
                        <a:pt x="250" y="517"/>
                      </a:lnTo>
                      <a:lnTo>
                        <a:pt x="251" y="515"/>
                      </a:lnTo>
                      <a:lnTo>
                        <a:pt x="250" y="515"/>
                      </a:lnTo>
                      <a:lnTo>
                        <a:pt x="248" y="514"/>
                      </a:lnTo>
                      <a:lnTo>
                        <a:pt x="246" y="514"/>
                      </a:lnTo>
                      <a:lnTo>
                        <a:pt x="245" y="512"/>
                      </a:lnTo>
                      <a:lnTo>
                        <a:pt x="245" y="510"/>
                      </a:lnTo>
                      <a:lnTo>
                        <a:pt x="246" y="509"/>
                      </a:lnTo>
                      <a:lnTo>
                        <a:pt x="245" y="509"/>
                      </a:lnTo>
                      <a:lnTo>
                        <a:pt x="245" y="507"/>
                      </a:lnTo>
                      <a:lnTo>
                        <a:pt x="245" y="505"/>
                      </a:lnTo>
                      <a:lnTo>
                        <a:pt x="245" y="504"/>
                      </a:lnTo>
                      <a:lnTo>
                        <a:pt x="245" y="502"/>
                      </a:lnTo>
                      <a:lnTo>
                        <a:pt x="246" y="502"/>
                      </a:lnTo>
                      <a:lnTo>
                        <a:pt x="245" y="501"/>
                      </a:lnTo>
                      <a:lnTo>
                        <a:pt x="243" y="501"/>
                      </a:lnTo>
                      <a:lnTo>
                        <a:pt x="243" y="499"/>
                      </a:lnTo>
                      <a:lnTo>
                        <a:pt x="241" y="499"/>
                      </a:lnTo>
                      <a:lnTo>
                        <a:pt x="241" y="497"/>
                      </a:lnTo>
                      <a:lnTo>
                        <a:pt x="239" y="496"/>
                      </a:lnTo>
                      <a:lnTo>
                        <a:pt x="238" y="494"/>
                      </a:lnTo>
                      <a:lnTo>
                        <a:pt x="238" y="492"/>
                      </a:lnTo>
                      <a:lnTo>
                        <a:pt x="238" y="491"/>
                      </a:lnTo>
                      <a:lnTo>
                        <a:pt x="236" y="491"/>
                      </a:lnTo>
                      <a:lnTo>
                        <a:pt x="238" y="491"/>
                      </a:lnTo>
                      <a:lnTo>
                        <a:pt x="238" y="489"/>
                      </a:lnTo>
                      <a:lnTo>
                        <a:pt x="238" y="487"/>
                      </a:lnTo>
                      <a:lnTo>
                        <a:pt x="238" y="486"/>
                      </a:lnTo>
                      <a:lnTo>
                        <a:pt x="236" y="486"/>
                      </a:lnTo>
                      <a:lnTo>
                        <a:pt x="236" y="484"/>
                      </a:lnTo>
                      <a:lnTo>
                        <a:pt x="236" y="482"/>
                      </a:lnTo>
                      <a:lnTo>
                        <a:pt x="234" y="482"/>
                      </a:lnTo>
                      <a:lnTo>
                        <a:pt x="234" y="481"/>
                      </a:lnTo>
                      <a:lnTo>
                        <a:pt x="233" y="479"/>
                      </a:lnTo>
                      <a:lnTo>
                        <a:pt x="231" y="479"/>
                      </a:lnTo>
                      <a:lnTo>
                        <a:pt x="229" y="478"/>
                      </a:lnTo>
                      <a:lnTo>
                        <a:pt x="228" y="476"/>
                      </a:lnTo>
                      <a:lnTo>
                        <a:pt x="228" y="474"/>
                      </a:lnTo>
                      <a:lnTo>
                        <a:pt x="228" y="473"/>
                      </a:lnTo>
                      <a:lnTo>
                        <a:pt x="228" y="471"/>
                      </a:lnTo>
                      <a:lnTo>
                        <a:pt x="228" y="469"/>
                      </a:lnTo>
                      <a:lnTo>
                        <a:pt x="228" y="468"/>
                      </a:lnTo>
                      <a:lnTo>
                        <a:pt x="226" y="468"/>
                      </a:lnTo>
                      <a:lnTo>
                        <a:pt x="226" y="466"/>
                      </a:lnTo>
                      <a:lnTo>
                        <a:pt x="226" y="464"/>
                      </a:lnTo>
                      <a:lnTo>
                        <a:pt x="226" y="463"/>
                      </a:lnTo>
                      <a:lnTo>
                        <a:pt x="224" y="461"/>
                      </a:lnTo>
                      <a:lnTo>
                        <a:pt x="224" y="459"/>
                      </a:lnTo>
                      <a:lnTo>
                        <a:pt x="224" y="456"/>
                      </a:lnTo>
                      <a:lnTo>
                        <a:pt x="224" y="455"/>
                      </a:lnTo>
                      <a:lnTo>
                        <a:pt x="224" y="453"/>
                      </a:lnTo>
                      <a:lnTo>
                        <a:pt x="224" y="451"/>
                      </a:lnTo>
                      <a:lnTo>
                        <a:pt x="226" y="451"/>
                      </a:lnTo>
                      <a:lnTo>
                        <a:pt x="226" y="450"/>
                      </a:lnTo>
                      <a:lnTo>
                        <a:pt x="224" y="448"/>
                      </a:lnTo>
                      <a:lnTo>
                        <a:pt x="224" y="446"/>
                      </a:lnTo>
                      <a:lnTo>
                        <a:pt x="223" y="443"/>
                      </a:lnTo>
                      <a:lnTo>
                        <a:pt x="221" y="443"/>
                      </a:lnTo>
                      <a:lnTo>
                        <a:pt x="221" y="445"/>
                      </a:lnTo>
                      <a:lnTo>
                        <a:pt x="219" y="445"/>
                      </a:lnTo>
                      <a:lnTo>
                        <a:pt x="219" y="443"/>
                      </a:lnTo>
                      <a:lnTo>
                        <a:pt x="219" y="440"/>
                      </a:lnTo>
                      <a:lnTo>
                        <a:pt x="218" y="438"/>
                      </a:lnTo>
                      <a:lnTo>
                        <a:pt x="218" y="436"/>
                      </a:lnTo>
                      <a:lnTo>
                        <a:pt x="218" y="435"/>
                      </a:lnTo>
                      <a:lnTo>
                        <a:pt x="219" y="433"/>
                      </a:lnTo>
                      <a:lnTo>
                        <a:pt x="219" y="432"/>
                      </a:lnTo>
                      <a:lnTo>
                        <a:pt x="219" y="430"/>
                      </a:lnTo>
                      <a:lnTo>
                        <a:pt x="219" y="428"/>
                      </a:lnTo>
                      <a:lnTo>
                        <a:pt x="218" y="427"/>
                      </a:lnTo>
                      <a:lnTo>
                        <a:pt x="218" y="425"/>
                      </a:lnTo>
                      <a:lnTo>
                        <a:pt x="218" y="423"/>
                      </a:lnTo>
                      <a:lnTo>
                        <a:pt x="218" y="422"/>
                      </a:lnTo>
                      <a:lnTo>
                        <a:pt x="218" y="420"/>
                      </a:lnTo>
                      <a:lnTo>
                        <a:pt x="219" y="418"/>
                      </a:lnTo>
                      <a:lnTo>
                        <a:pt x="219" y="417"/>
                      </a:lnTo>
                      <a:lnTo>
                        <a:pt x="221" y="417"/>
                      </a:lnTo>
                      <a:lnTo>
                        <a:pt x="223" y="415"/>
                      </a:lnTo>
                      <a:lnTo>
                        <a:pt x="224" y="414"/>
                      </a:lnTo>
                      <a:lnTo>
                        <a:pt x="224" y="412"/>
                      </a:lnTo>
                      <a:lnTo>
                        <a:pt x="224" y="409"/>
                      </a:lnTo>
                      <a:lnTo>
                        <a:pt x="223" y="407"/>
                      </a:lnTo>
                      <a:lnTo>
                        <a:pt x="223" y="405"/>
                      </a:lnTo>
                      <a:lnTo>
                        <a:pt x="223" y="404"/>
                      </a:lnTo>
                      <a:lnTo>
                        <a:pt x="223" y="402"/>
                      </a:lnTo>
                      <a:lnTo>
                        <a:pt x="224" y="400"/>
                      </a:lnTo>
                      <a:lnTo>
                        <a:pt x="226" y="399"/>
                      </a:lnTo>
                      <a:lnTo>
                        <a:pt x="226" y="397"/>
                      </a:lnTo>
                      <a:lnTo>
                        <a:pt x="226" y="395"/>
                      </a:lnTo>
                      <a:lnTo>
                        <a:pt x="226" y="394"/>
                      </a:lnTo>
                      <a:lnTo>
                        <a:pt x="224" y="394"/>
                      </a:lnTo>
                      <a:lnTo>
                        <a:pt x="224" y="392"/>
                      </a:lnTo>
                      <a:lnTo>
                        <a:pt x="223" y="391"/>
                      </a:lnTo>
                      <a:lnTo>
                        <a:pt x="223" y="389"/>
                      </a:lnTo>
                      <a:lnTo>
                        <a:pt x="223" y="387"/>
                      </a:lnTo>
                      <a:lnTo>
                        <a:pt x="224" y="387"/>
                      </a:lnTo>
                      <a:lnTo>
                        <a:pt x="224" y="386"/>
                      </a:lnTo>
                      <a:lnTo>
                        <a:pt x="223" y="384"/>
                      </a:lnTo>
                      <a:lnTo>
                        <a:pt x="223" y="386"/>
                      </a:lnTo>
                      <a:lnTo>
                        <a:pt x="219" y="386"/>
                      </a:lnTo>
                      <a:lnTo>
                        <a:pt x="218" y="384"/>
                      </a:lnTo>
                      <a:lnTo>
                        <a:pt x="216" y="382"/>
                      </a:lnTo>
                      <a:lnTo>
                        <a:pt x="216" y="379"/>
                      </a:lnTo>
                      <a:lnTo>
                        <a:pt x="216" y="377"/>
                      </a:lnTo>
                      <a:lnTo>
                        <a:pt x="216" y="376"/>
                      </a:lnTo>
                      <a:lnTo>
                        <a:pt x="214" y="372"/>
                      </a:lnTo>
                      <a:lnTo>
                        <a:pt x="212" y="368"/>
                      </a:lnTo>
                      <a:lnTo>
                        <a:pt x="212" y="366"/>
                      </a:lnTo>
                      <a:lnTo>
                        <a:pt x="211" y="366"/>
                      </a:lnTo>
                      <a:lnTo>
                        <a:pt x="211" y="364"/>
                      </a:lnTo>
                      <a:lnTo>
                        <a:pt x="211" y="363"/>
                      </a:lnTo>
                      <a:lnTo>
                        <a:pt x="211" y="361"/>
                      </a:lnTo>
                      <a:lnTo>
                        <a:pt x="209" y="359"/>
                      </a:lnTo>
                      <a:lnTo>
                        <a:pt x="209" y="358"/>
                      </a:lnTo>
                      <a:lnTo>
                        <a:pt x="209" y="356"/>
                      </a:lnTo>
                      <a:lnTo>
                        <a:pt x="209" y="354"/>
                      </a:lnTo>
                      <a:lnTo>
                        <a:pt x="207" y="353"/>
                      </a:lnTo>
                      <a:lnTo>
                        <a:pt x="207" y="351"/>
                      </a:lnTo>
                      <a:lnTo>
                        <a:pt x="206" y="351"/>
                      </a:lnTo>
                      <a:lnTo>
                        <a:pt x="204" y="351"/>
                      </a:lnTo>
                      <a:lnTo>
                        <a:pt x="202" y="349"/>
                      </a:lnTo>
                      <a:lnTo>
                        <a:pt x="201" y="348"/>
                      </a:lnTo>
                      <a:lnTo>
                        <a:pt x="199" y="346"/>
                      </a:lnTo>
                      <a:lnTo>
                        <a:pt x="199" y="345"/>
                      </a:lnTo>
                      <a:lnTo>
                        <a:pt x="199" y="343"/>
                      </a:lnTo>
                      <a:lnTo>
                        <a:pt x="194" y="340"/>
                      </a:lnTo>
                      <a:lnTo>
                        <a:pt x="194" y="338"/>
                      </a:lnTo>
                      <a:lnTo>
                        <a:pt x="192" y="338"/>
                      </a:lnTo>
                      <a:lnTo>
                        <a:pt x="194" y="336"/>
                      </a:lnTo>
                      <a:lnTo>
                        <a:pt x="194" y="335"/>
                      </a:lnTo>
                      <a:lnTo>
                        <a:pt x="196" y="333"/>
                      </a:lnTo>
                      <a:lnTo>
                        <a:pt x="197" y="331"/>
                      </a:lnTo>
                      <a:lnTo>
                        <a:pt x="199" y="330"/>
                      </a:lnTo>
                      <a:lnTo>
                        <a:pt x="201" y="328"/>
                      </a:lnTo>
                      <a:lnTo>
                        <a:pt x="201" y="326"/>
                      </a:lnTo>
                      <a:lnTo>
                        <a:pt x="201" y="325"/>
                      </a:lnTo>
                      <a:lnTo>
                        <a:pt x="201" y="323"/>
                      </a:lnTo>
                      <a:lnTo>
                        <a:pt x="201" y="322"/>
                      </a:lnTo>
                      <a:lnTo>
                        <a:pt x="201" y="320"/>
                      </a:lnTo>
                      <a:lnTo>
                        <a:pt x="201" y="318"/>
                      </a:lnTo>
                      <a:lnTo>
                        <a:pt x="201" y="317"/>
                      </a:lnTo>
                      <a:lnTo>
                        <a:pt x="202" y="315"/>
                      </a:lnTo>
                      <a:lnTo>
                        <a:pt x="202" y="313"/>
                      </a:lnTo>
                      <a:lnTo>
                        <a:pt x="202" y="312"/>
                      </a:lnTo>
                      <a:lnTo>
                        <a:pt x="204" y="310"/>
                      </a:lnTo>
                      <a:lnTo>
                        <a:pt x="204" y="308"/>
                      </a:lnTo>
                      <a:lnTo>
                        <a:pt x="202" y="307"/>
                      </a:lnTo>
                      <a:lnTo>
                        <a:pt x="202" y="305"/>
                      </a:lnTo>
                      <a:lnTo>
                        <a:pt x="201" y="305"/>
                      </a:lnTo>
                      <a:lnTo>
                        <a:pt x="199" y="303"/>
                      </a:lnTo>
                      <a:lnTo>
                        <a:pt x="196" y="302"/>
                      </a:lnTo>
                      <a:lnTo>
                        <a:pt x="194" y="302"/>
                      </a:lnTo>
                      <a:lnTo>
                        <a:pt x="192" y="302"/>
                      </a:lnTo>
                      <a:lnTo>
                        <a:pt x="192" y="300"/>
                      </a:lnTo>
                      <a:lnTo>
                        <a:pt x="190" y="300"/>
                      </a:lnTo>
                      <a:lnTo>
                        <a:pt x="189" y="300"/>
                      </a:lnTo>
                      <a:lnTo>
                        <a:pt x="187" y="299"/>
                      </a:lnTo>
                      <a:lnTo>
                        <a:pt x="184" y="299"/>
                      </a:lnTo>
                      <a:lnTo>
                        <a:pt x="182" y="299"/>
                      </a:lnTo>
                      <a:lnTo>
                        <a:pt x="180" y="299"/>
                      </a:lnTo>
                      <a:lnTo>
                        <a:pt x="179" y="299"/>
                      </a:lnTo>
                      <a:lnTo>
                        <a:pt x="177" y="299"/>
                      </a:lnTo>
                      <a:lnTo>
                        <a:pt x="177" y="300"/>
                      </a:lnTo>
                      <a:lnTo>
                        <a:pt x="175" y="299"/>
                      </a:lnTo>
                      <a:lnTo>
                        <a:pt x="175" y="300"/>
                      </a:lnTo>
                      <a:lnTo>
                        <a:pt x="174" y="300"/>
                      </a:lnTo>
                      <a:lnTo>
                        <a:pt x="172" y="299"/>
                      </a:lnTo>
                      <a:lnTo>
                        <a:pt x="170" y="299"/>
                      </a:lnTo>
                      <a:lnTo>
                        <a:pt x="169" y="297"/>
                      </a:lnTo>
                      <a:lnTo>
                        <a:pt x="167" y="295"/>
                      </a:lnTo>
                      <a:lnTo>
                        <a:pt x="165" y="295"/>
                      </a:lnTo>
                      <a:lnTo>
                        <a:pt x="165" y="294"/>
                      </a:lnTo>
                      <a:lnTo>
                        <a:pt x="163" y="292"/>
                      </a:lnTo>
                      <a:lnTo>
                        <a:pt x="163" y="290"/>
                      </a:lnTo>
                      <a:lnTo>
                        <a:pt x="163" y="289"/>
                      </a:lnTo>
                      <a:lnTo>
                        <a:pt x="162" y="289"/>
                      </a:lnTo>
                      <a:lnTo>
                        <a:pt x="163" y="287"/>
                      </a:lnTo>
                      <a:lnTo>
                        <a:pt x="163" y="285"/>
                      </a:lnTo>
                      <a:lnTo>
                        <a:pt x="162" y="285"/>
                      </a:lnTo>
                      <a:lnTo>
                        <a:pt x="160" y="285"/>
                      </a:lnTo>
                      <a:lnTo>
                        <a:pt x="158" y="284"/>
                      </a:lnTo>
                      <a:lnTo>
                        <a:pt x="157" y="284"/>
                      </a:lnTo>
                      <a:lnTo>
                        <a:pt x="155" y="285"/>
                      </a:lnTo>
                      <a:lnTo>
                        <a:pt x="153" y="285"/>
                      </a:lnTo>
                      <a:lnTo>
                        <a:pt x="150" y="287"/>
                      </a:lnTo>
                      <a:lnTo>
                        <a:pt x="148" y="287"/>
                      </a:lnTo>
                      <a:lnTo>
                        <a:pt x="147" y="285"/>
                      </a:lnTo>
                      <a:lnTo>
                        <a:pt x="145" y="285"/>
                      </a:lnTo>
                      <a:lnTo>
                        <a:pt x="143" y="284"/>
                      </a:lnTo>
                      <a:lnTo>
                        <a:pt x="142" y="284"/>
                      </a:lnTo>
                      <a:lnTo>
                        <a:pt x="142" y="282"/>
                      </a:lnTo>
                      <a:lnTo>
                        <a:pt x="140" y="282"/>
                      </a:lnTo>
                      <a:lnTo>
                        <a:pt x="138" y="280"/>
                      </a:lnTo>
                      <a:lnTo>
                        <a:pt x="138" y="279"/>
                      </a:lnTo>
                      <a:lnTo>
                        <a:pt x="138" y="277"/>
                      </a:lnTo>
                      <a:lnTo>
                        <a:pt x="138" y="276"/>
                      </a:lnTo>
                      <a:lnTo>
                        <a:pt x="140" y="276"/>
                      </a:lnTo>
                      <a:lnTo>
                        <a:pt x="140" y="274"/>
                      </a:lnTo>
                      <a:lnTo>
                        <a:pt x="140" y="272"/>
                      </a:lnTo>
                      <a:lnTo>
                        <a:pt x="140" y="271"/>
                      </a:lnTo>
                      <a:lnTo>
                        <a:pt x="138" y="269"/>
                      </a:lnTo>
                      <a:lnTo>
                        <a:pt x="138" y="267"/>
                      </a:lnTo>
                      <a:lnTo>
                        <a:pt x="140" y="266"/>
                      </a:lnTo>
                      <a:lnTo>
                        <a:pt x="140" y="264"/>
                      </a:lnTo>
                      <a:lnTo>
                        <a:pt x="138" y="262"/>
                      </a:lnTo>
                      <a:lnTo>
                        <a:pt x="138" y="261"/>
                      </a:lnTo>
                      <a:lnTo>
                        <a:pt x="136" y="261"/>
                      </a:lnTo>
                      <a:lnTo>
                        <a:pt x="133" y="261"/>
                      </a:lnTo>
                      <a:lnTo>
                        <a:pt x="131" y="261"/>
                      </a:lnTo>
                      <a:lnTo>
                        <a:pt x="130" y="261"/>
                      </a:lnTo>
                      <a:lnTo>
                        <a:pt x="126" y="261"/>
                      </a:lnTo>
                      <a:lnTo>
                        <a:pt x="123" y="262"/>
                      </a:lnTo>
                      <a:lnTo>
                        <a:pt x="121" y="262"/>
                      </a:lnTo>
                      <a:lnTo>
                        <a:pt x="120" y="262"/>
                      </a:lnTo>
                      <a:lnTo>
                        <a:pt x="118" y="262"/>
                      </a:lnTo>
                      <a:lnTo>
                        <a:pt x="116" y="264"/>
                      </a:lnTo>
                      <a:lnTo>
                        <a:pt x="113" y="266"/>
                      </a:lnTo>
                      <a:lnTo>
                        <a:pt x="109" y="266"/>
                      </a:lnTo>
                      <a:lnTo>
                        <a:pt x="106" y="266"/>
                      </a:lnTo>
                      <a:lnTo>
                        <a:pt x="104" y="266"/>
                      </a:lnTo>
                      <a:lnTo>
                        <a:pt x="103" y="266"/>
                      </a:lnTo>
                      <a:lnTo>
                        <a:pt x="101" y="264"/>
                      </a:lnTo>
                      <a:lnTo>
                        <a:pt x="99" y="264"/>
                      </a:lnTo>
                      <a:lnTo>
                        <a:pt x="96" y="262"/>
                      </a:lnTo>
                      <a:lnTo>
                        <a:pt x="94" y="262"/>
                      </a:lnTo>
                      <a:lnTo>
                        <a:pt x="93" y="261"/>
                      </a:lnTo>
                      <a:lnTo>
                        <a:pt x="91" y="261"/>
                      </a:lnTo>
                      <a:lnTo>
                        <a:pt x="89" y="261"/>
                      </a:lnTo>
                      <a:lnTo>
                        <a:pt x="87" y="259"/>
                      </a:lnTo>
                      <a:lnTo>
                        <a:pt x="84" y="259"/>
                      </a:lnTo>
                      <a:lnTo>
                        <a:pt x="84" y="257"/>
                      </a:lnTo>
                      <a:lnTo>
                        <a:pt x="82" y="257"/>
                      </a:lnTo>
                      <a:lnTo>
                        <a:pt x="81" y="257"/>
                      </a:lnTo>
                      <a:lnTo>
                        <a:pt x="79" y="257"/>
                      </a:lnTo>
                      <a:lnTo>
                        <a:pt x="79" y="256"/>
                      </a:lnTo>
                      <a:lnTo>
                        <a:pt x="77" y="256"/>
                      </a:lnTo>
                      <a:lnTo>
                        <a:pt x="77" y="257"/>
                      </a:lnTo>
                      <a:lnTo>
                        <a:pt x="76" y="257"/>
                      </a:lnTo>
                      <a:lnTo>
                        <a:pt x="76" y="256"/>
                      </a:lnTo>
                      <a:lnTo>
                        <a:pt x="76" y="254"/>
                      </a:lnTo>
                      <a:lnTo>
                        <a:pt x="74" y="254"/>
                      </a:lnTo>
                      <a:lnTo>
                        <a:pt x="72" y="254"/>
                      </a:lnTo>
                      <a:lnTo>
                        <a:pt x="74" y="253"/>
                      </a:lnTo>
                      <a:lnTo>
                        <a:pt x="74" y="251"/>
                      </a:lnTo>
                      <a:lnTo>
                        <a:pt x="74" y="249"/>
                      </a:lnTo>
                      <a:lnTo>
                        <a:pt x="74" y="248"/>
                      </a:lnTo>
                      <a:lnTo>
                        <a:pt x="76" y="248"/>
                      </a:lnTo>
                      <a:lnTo>
                        <a:pt x="76" y="246"/>
                      </a:lnTo>
                      <a:lnTo>
                        <a:pt x="77" y="246"/>
                      </a:lnTo>
                      <a:lnTo>
                        <a:pt x="77" y="244"/>
                      </a:lnTo>
                      <a:lnTo>
                        <a:pt x="77" y="243"/>
                      </a:lnTo>
                      <a:lnTo>
                        <a:pt x="79" y="243"/>
                      </a:lnTo>
                      <a:lnTo>
                        <a:pt x="81" y="241"/>
                      </a:lnTo>
                      <a:lnTo>
                        <a:pt x="81" y="239"/>
                      </a:lnTo>
                      <a:lnTo>
                        <a:pt x="79" y="239"/>
                      </a:lnTo>
                      <a:lnTo>
                        <a:pt x="81" y="238"/>
                      </a:lnTo>
                      <a:lnTo>
                        <a:pt x="79" y="236"/>
                      </a:lnTo>
                      <a:lnTo>
                        <a:pt x="79" y="234"/>
                      </a:lnTo>
                      <a:lnTo>
                        <a:pt x="81" y="234"/>
                      </a:lnTo>
                      <a:lnTo>
                        <a:pt x="81" y="233"/>
                      </a:lnTo>
                      <a:lnTo>
                        <a:pt x="79" y="233"/>
                      </a:lnTo>
                      <a:lnTo>
                        <a:pt x="79" y="231"/>
                      </a:lnTo>
                      <a:lnTo>
                        <a:pt x="79" y="230"/>
                      </a:lnTo>
                      <a:lnTo>
                        <a:pt x="77" y="230"/>
                      </a:lnTo>
                      <a:lnTo>
                        <a:pt x="77" y="228"/>
                      </a:lnTo>
                      <a:lnTo>
                        <a:pt x="77" y="226"/>
                      </a:lnTo>
                      <a:lnTo>
                        <a:pt x="77" y="225"/>
                      </a:lnTo>
                      <a:lnTo>
                        <a:pt x="76" y="225"/>
                      </a:lnTo>
                      <a:lnTo>
                        <a:pt x="74" y="223"/>
                      </a:lnTo>
                      <a:lnTo>
                        <a:pt x="74" y="221"/>
                      </a:lnTo>
                      <a:lnTo>
                        <a:pt x="72" y="221"/>
                      </a:lnTo>
                      <a:lnTo>
                        <a:pt x="72" y="220"/>
                      </a:lnTo>
                      <a:lnTo>
                        <a:pt x="72" y="216"/>
                      </a:lnTo>
                      <a:lnTo>
                        <a:pt x="72" y="215"/>
                      </a:lnTo>
                      <a:lnTo>
                        <a:pt x="72" y="213"/>
                      </a:lnTo>
                      <a:lnTo>
                        <a:pt x="71" y="213"/>
                      </a:lnTo>
                      <a:lnTo>
                        <a:pt x="69" y="213"/>
                      </a:lnTo>
                      <a:lnTo>
                        <a:pt x="69" y="212"/>
                      </a:lnTo>
                      <a:lnTo>
                        <a:pt x="67" y="210"/>
                      </a:lnTo>
                      <a:lnTo>
                        <a:pt x="67" y="208"/>
                      </a:lnTo>
                      <a:lnTo>
                        <a:pt x="66" y="208"/>
                      </a:lnTo>
                      <a:lnTo>
                        <a:pt x="66" y="207"/>
                      </a:lnTo>
                      <a:lnTo>
                        <a:pt x="64" y="205"/>
                      </a:lnTo>
                      <a:lnTo>
                        <a:pt x="62" y="203"/>
                      </a:lnTo>
                      <a:lnTo>
                        <a:pt x="62" y="202"/>
                      </a:lnTo>
                      <a:lnTo>
                        <a:pt x="60" y="202"/>
                      </a:lnTo>
                      <a:lnTo>
                        <a:pt x="59" y="200"/>
                      </a:lnTo>
                      <a:lnTo>
                        <a:pt x="57" y="200"/>
                      </a:lnTo>
                      <a:lnTo>
                        <a:pt x="57" y="198"/>
                      </a:lnTo>
                      <a:lnTo>
                        <a:pt x="57" y="197"/>
                      </a:lnTo>
                      <a:lnTo>
                        <a:pt x="57" y="195"/>
                      </a:lnTo>
                      <a:lnTo>
                        <a:pt x="59" y="192"/>
                      </a:lnTo>
                      <a:lnTo>
                        <a:pt x="59" y="190"/>
                      </a:lnTo>
                      <a:lnTo>
                        <a:pt x="59" y="189"/>
                      </a:lnTo>
                      <a:lnTo>
                        <a:pt x="59" y="187"/>
                      </a:lnTo>
                      <a:lnTo>
                        <a:pt x="59" y="185"/>
                      </a:lnTo>
                      <a:lnTo>
                        <a:pt x="55" y="180"/>
                      </a:lnTo>
                      <a:lnTo>
                        <a:pt x="55" y="179"/>
                      </a:lnTo>
                      <a:lnTo>
                        <a:pt x="55" y="177"/>
                      </a:lnTo>
                      <a:lnTo>
                        <a:pt x="57" y="174"/>
                      </a:lnTo>
                      <a:lnTo>
                        <a:pt x="57" y="172"/>
                      </a:lnTo>
                      <a:lnTo>
                        <a:pt x="55" y="172"/>
                      </a:lnTo>
                      <a:lnTo>
                        <a:pt x="55" y="170"/>
                      </a:lnTo>
                      <a:lnTo>
                        <a:pt x="54" y="170"/>
                      </a:lnTo>
                      <a:lnTo>
                        <a:pt x="55" y="170"/>
                      </a:lnTo>
                      <a:lnTo>
                        <a:pt x="55" y="169"/>
                      </a:lnTo>
                      <a:lnTo>
                        <a:pt x="55" y="167"/>
                      </a:lnTo>
                      <a:lnTo>
                        <a:pt x="59" y="164"/>
                      </a:lnTo>
                      <a:lnTo>
                        <a:pt x="60" y="164"/>
                      </a:lnTo>
                      <a:lnTo>
                        <a:pt x="60" y="162"/>
                      </a:lnTo>
                      <a:lnTo>
                        <a:pt x="60" y="161"/>
                      </a:lnTo>
                      <a:lnTo>
                        <a:pt x="60" y="159"/>
                      </a:lnTo>
                      <a:lnTo>
                        <a:pt x="60" y="157"/>
                      </a:lnTo>
                      <a:lnTo>
                        <a:pt x="60" y="156"/>
                      </a:lnTo>
                      <a:lnTo>
                        <a:pt x="59" y="154"/>
                      </a:lnTo>
                      <a:lnTo>
                        <a:pt x="55" y="151"/>
                      </a:lnTo>
                      <a:lnTo>
                        <a:pt x="55" y="149"/>
                      </a:lnTo>
                      <a:lnTo>
                        <a:pt x="54" y="149"/>
                      </a:lnTo>
                      <a:lnTo>
                        <a:pt x="52" y="147"/>
                      </a:lnTo>
                      <a:lnTo>
                        <a:pt x="52" y="146"/>
                      </a:lnTo>
                      <a:lnTo>
                        <a:pt x="52" y="144"/>
                      </a:lnTo>
                      <a:lnTo>
                        <a:pt x="49" y="143"/>
                      </a:lnTo>
                      <a:lnTo>
                        <a:pt x="47" y="143"/>
                      </a:lnTo>
                      <a:lnTo>
                        <a:pt x="47" y="141"/>
                      </a:lnTo>
                      <a:lnTo>
                        <a:pt x="45" y="141"/>
                      </a:lnTo>
                      <a:lnTo>
                        <a:pt x="45" y="139"/>
                      </a:lnTo>
                      <a:lnTo>
                        <a:pt x="44" y="139"/>
                      </a:lnTo>
                      <a:lnTo>
                        <a:pt x="42" y="138"/>
                      </a:lnTo>
                      <a:lnTo>
                        <a:pt x="40" y="138"/>
                      </a:lnTo>
                      <a:lnTo>
                        <a:pt x="38" y="136"/>
                      </a:lnTo>
                      <a:lnTo>
                        <a:pt x="37" y="136"/>
                      </a:lnTo>
                      <a:lnTo>
                        <a:pt x="35" y="136"/>
                      </a:lnTo>
                      <a:lnTo>
                        <a:pt x="33" y="136"/>
                      </a:lnTo>
                      <a:lnTo>
                        <a:pt x="32" y="136"/>
                      </a:lnTo>
                      <a:lnTo>
                        <a:pt x="32" y="134"/>
                      </a:lnTo>
                      <a:lnTo>
                        <a:pt x="30" y="133"/>
                      </a:lnTo>
                      <a:lnTo>
                        <a:pt x="28" y="131"/>
                      </a:lnTo>
                      <a:lnTo>
                        <a:pt x="27" y="129"/>
                      </a:lnTo>
                      <a:lnTo>
                        <a:pt x="25" y="128"/>
                      </a:lnTo>
                      <a:lnTo>
                        <a:pt x="23" y="123"/>
                      </a:lnTo>
                      <a:lnTo>
                        <a:pt x="22" y="121"/>
                      </a:lnTo>
                      <a:lnTo>
                        <a:pt x="20" y="121"/>
                      </a:lnTo>
                      <a:lnTo>
                        <a:pt x="20" y="120"/>
                      </a:lnTo>
                      <a:lnTo>
                        <a:pt x="18" y="118"/>
                      </a:lnTo>
                      <a:lnTo>
                        <a:pt x="17" y="116"/>
                      </a:lnTo>
                      <a:lnTo>
                        <a:pt x="15" y="116"/>
                      </a:lnTo>
                      <a:lnTo>
                        <a:pt x="15" y="115"/>
                      </a:lnTo>
                      <a:lnTo>
                        <a:pt x="13" y="113"/>
                      </a:lnTo>
                      <a:lnTo>
                        <a:pt x="13" y="111"/>
                      </a:lnTo>
                      <a:lnTo>
                        <a:pt x="11" y="110"/>
                      </a:lnTo>
                      <a:lnTo>
                        <a:pt x="11" y="108"/>
                      </a:lnTo>
                      <a:lnTo>
                        <a:pt x="10" y="106"/>
                      </a:lnTo>
                      <a:lnTo>
                        <a:pt x="10" y="105"/>
                      </a:lnTo>
                      <a:lnTo>
                        <a:pt x="8" y="105"/>
                      </a:lnTo>
                      <a:lnTo>
                        <a:pt x="8" y="103"/>
                      </a:lnTo>
                      <a:lnTo>
                        <a:pt x="5" y="101"/>
                      </a:lnTo>
                      <a:lnTo>
                        <a:pt x="3" y="101"/>
                      </a:lnTo>
                      <a:lnTo>
                        <a:pt x="1" y="100"/>
                      </a:lnTo>
                      <a:lnTo>
                        <a:pt x="1" y="97"/>
                      </a:lnTo>
                      <a:lnTo>
                        <a:pt x="1" y="95"/>
                      </a:lnTo>
                      <a:lnTo>
                        <a:pt x="0" y="93"/>
                      </a:lnTo>
                      <a:lnTo>
                        <a:pt x="1" y="92"/>
                      </a:lnTo>
                      <a:lnTo>
                        <a:pt x="3" y="90"/>
                      </a:lnTo>
                      <a:lnTo>
                        <a:pt x="5" y="90"/>
                      </a:lnTo>
                      <a:lnTo>
                        <a:pt x="6" y="90"/>
                      </a:lnTo>
                      <a:lnTo>
                        <a:pt x="8" y="92"/>
                      </a:lnTo>
                      <a:lnTo>
                        <a:pt x="10" y="92"/>
                      </a:lnTo>
                      <a:lnTo>
                        <a:pt x="13" y="93"/>
                      </a:lnTo>
                      <a:lnTo>
                        <a:pt x="13" y="95"/>
                      </a:lnTo>
                      <a:lnTo>
                        <a:pt x="17" y="97"/>
                      </a:lnTo>
                      <a:lnTo>
                        <a:pt x="18" y="101"/>
                      </a:lnTo>
                      <a:lnTo>
                        <a:pt x="18" y="103"/>
                      </a:lnTo>
                      <a:lnTo>
                        <a:pt x="20" y="103"/>
                      </a:lnTo>
                      <a:lnTo>
                        <a:pt x="22" y="105"/>
                      </a:lnTo>
                      <a:lnTo>
                        <a:pt x="23" y="106"/>
                      </a:lnTo>
                      <a:lnTo>
                        <a:pt x="25" y="106"/>
                      </a:lnTo>
                      <a:lnTo>
                        <a:pt x="27" y="106"/>
                      </a:lnTo>
                      <a:lnTo>
                        <a:pt x="28" y="106"/>
                      </a:lnTo>
                      <a:lnTo>
                        <a:pt x="30" y="105"/>
                      </a:lnTo>
                      <a:lnTo>
                        <a:pt x="30" y="106"/>
                      </a:lnTo>
                      <a:lnTo>
                        <a:pt x="32" y="106"/>
                      </a:lnTo>
                      <a:lnTo>
                        <a:pt x="35" y="105"/>
                      </a:lnTo>
                      <a:lnTo>
                        <a:pt x="37" y="105"/>
                      </a:lnTo>
                      <a:lnTo>
                        <a:pt x="38" y="103"/>
                      </a:lnTo>
                      <a:lnTo>
                        <a:pt x="40" y="105"/>
                      </a:lnTo>
                      <a:lnTo>
                        <a:pt x="42" y="103"/>
                      </a:lnTo>
                      <a:lnTo>
                        <a:pt x="47" y="105"/>
                      </a:lnTo>
                      <a:lnTo>
                        <a:pt x="49" y="105"/>
                      </a:lnTo>
                      <a:lnTo>
                        <a:pt x="50" y="105"/>
                      </a:lnTo>
                      <a:lnTo>
                        <a:pt x="50" y="103"/>
                      </a:lnTo>
                      <a:lnTo>
                        <a:pt x="52" y="103"/>
                      </a:lnTo>
                      <a:lnTo>
                        <a:pt x="54" y="103"/>
                      </a:lnTo>
                      <a:lnTo>
                        <a:pt x="54" y="105"/>
                      </a:lnTo>
                      <a:lnTo>
                        <a:pt x="55" y="105"/>
                      </a:lnTo>
                      <a:lnTo>
                        <a:pt x="57" y="105"/>
                      </a:lnTo>
                      <a:lnTo>
                        <a:pt x="59" y="105"/>
                      </a:lnTo>
                      <a:lnTo>
                        <a:pt x="59" y="106"/>
                      </a:lnTo>
                      <a:lnTo>
                        <a:pt x="60" y="105"/>
                      </a:lnTo>
                      <a:lnTo>
                        <a:pt x="62" y="105"/>
                      </a:lnTo>
                      <a:lnTo>
                        <a:pt x="64" y="105"/>
                      </a:lnTo>
                      <a:lnTo>
                        <a:pt x="66" y="106"/>
                      </a:lnTo>
                      <a:lnTo>
                        <a:pt x="67" y="108"/>
                      </a:lnTo>
                      <a:lnTo>
                        <a:pt x="69" y="108"/>
                      </a:lnTo>
                      <a:lnTo>
                        <a:pt x="69" y="110"/>
                      </a:lnTo>
                      <a:lnTo>
                        <a:pt x="69" y="111"/>
                      </a:lnTo>
                      <a:lnTo>
                        <a:pt x="69" y="113"/>
                      </a:lnTo>
                      <a:lnTo>
                        <a:pt x="69" y="115"/>
                      </a:lnTo>
                      <a:lnTo>
                        <a:pt x="71" y="115"/>
                      </a:lnTo>
                      <a:lnTo>
                        <a:pt x="72" y="116"/>
                      </a:lnTo>
                      <a:lnTo>
                        <a:pt x="72" y="118"/>
                      </a:lnTo>
                      <a:lnTo>
                        <a:pt x="74" y="120"/>
                      </a:lnTo>
                      <a:lnTo>
                        <a:pt x="74" y="121"/>
                      </a:lnTo>
                      <a:lnTo>
                        <a:pt x="76" y="121"/>
                      </a:lnTo>
                      <a:lnTo>
                        <a:pt x="76" y="123"/>
                      </a:lnTo>
                      <a:lnTo>
                        <a:pt x="79" y="123"/>
                      </a:lnTo>
                      <a:lnTo>
                        <a:pt x="79" y="124"/>
                      </a:lnTo>
                      <a:lnTo>
                        <a:pt x="79" y="126"/>
                      </a:lnTo>
                      <a:lnTo>
                        <a:pt x="81" y="126"/>
                      </a:lnTo>
                      <a:lnTo>
                        <a:pt x="82" y="128"/>
                      </a:lnTo>
                      <a:lnTo>
                        <a:pt x="82" y="126"/>
                      </a:lnTo>
                      <a:lnTo>
                        <a:pt x="84" y="126"/>
                      </a:lnTo>
                      <a:lnTo>
                        <a:pt x="84" y="124"/>
                      </a:lnTo>
                      <a:lnTo>
                        <a:pt x="86" y="123"/>
                      </a:lnTo>
                      <a:lnTo>
                        <a:pt x="87" y="123"/>
                      </a:lnTo>
                      <a:lnTo>
                        <a:pt x="89" y="123"/>
                      </a:lnTo>
                      <a:lnTo>
                        <a:pt x="91" y="123"/>
                      </a:lnTo>
                      <a:lnTo>
                        <a:pt x="91" y="121"/>
                      </a:lnTo>
                      <a:lnTo>
                        <a:pt x="93" y="121"/>
                      </a:lnTo>
                      <a:lnTo>
                        <a:pt x="94" y="121"/>
                      </a:lnTo>
                      <a:lnTo>
                        <a:pt x="96" y="121"/>
                      </a:lnTo>
                      <a:lnTo>
                        <a:pt x="98" y="121"/>
                      </a:lnTo>
                      <a:lnTo>
                        <a:pt x="98" y="123"/>
                      </a:lnTo>
                      <a:lnTo>
                        <a:pt x="99" y="123"/>
                      </a:lnTo>
                      <a:lnTo>
                        <a:pt x="101" y="121"/>
                      </a:lnTo>
                      <a:lnTo>
                        <a:pt x="101" y="123"/>
                      </a:lnTo>
                      <a:lnTo>
                        <a:pt x="101" y="121"/>
                      </a:lnTo>
                      <a:lnTo>
                        <a:pt x="103" y="121"/>
                      </a:lnTo>
                      <a:lnTo>
                        <a:pt x="103" y="123"/>
                      </a:lnTo>
                      <a:lnTo>
                        <a:pt x="104" y="123"/>
                      </a:lnTo>
                      <a:lnTo>
                        <a:pt x="103" y="123"/>
                      </a:lnTo>
                      <a:lnTo>
                        <a:pt x="103" y="124"/>
                      </a:lnTo>
                      <a:lnTo>
                        <a:pt x="104" y="124"/>
                      </a:lnTo>
                      <a:lnTo>
                        <a:pt x="106" y="124"/>
                      </a:lnTo>
                      <a:lnTo>
                        <a:pt x="108" y="124"/>
                      </a:lnTo>
                      <a:lnTo>
                        <a:pt x="109" y="124"/>
                      </a:lnTo>
                      <a:lnTo>
                        <a:pt x="111" y="123"/>
                      </a:lnTo>
                      <a:lnTo>
                        <a:pt x="109" y="123"/>
                      </a:lnTo>
                      <a:lnTo>
                        <a:pt x="108" y="123"/>
                      </a:lnTo>
                      <a:lnTo>
                        <a:pt x="108" y="121"/>
                      </a:lnTo>
                      <a:lnTo>
                        <a:pt x="108" y="120"/>
                      </a:lnTo>
                      <a:lnTo>
                        <a:pt x="108" y="118"/>
                      </a:lnTo>
                      <a:lnTo>
                        <a:pt x="108" y="116"/>
                      </a:lnTo>
                      <a:lnTo>
                        <a:pt x="108" y="115"/>
                      </a:lnTo>
                      <a:lnTo>
                        <a:pt x="109" y="115"/>
                      </a:lnTo>
                      <a:lnTo>
                        <a:pt x="111" y="115"/>
                      </a:lnTo>
                      <a:lnTo>
                        <a:pt x="111" y="116"/>
                      </a:lnTo>
                      <a:lnTo>
                        <a:pt x="113" y="118"/>
                      </a:lnTo>
                      <a:lnTo>
                        <a:pt x="114" y="120"/>
                      </a:lnTo>
                      <a:lnTo>
                        <a:pt x="116" y="121"/>
                      </a:lnTo>
                      <a:lnTo>
                        <a:pt x="116" y="123"/>
                      </a:lnTo>
                      <a:lnTo>
                        <a:pt x="118" y="123"/>
                      </a:lnTo>
                      <a:lnTo>
                        <a:pt x="118" y="124"/>
                      </a:lnTo>
                      <a:lnTo>
                        <a:pt x="118" y="126"/>
                      </a:lnTo>
                      <a:lnTo>
                        <a:pt x="120" y="128"/>
                      </a:lnTo>
                      <a:lnTo>
                        <a:pt x="120" y="126"/>
                      </a:lnTo>
                      <a:lnTo>
                        <a:pt x="121" y="126"/>
                      </a:lnTo>
                      <a:lnTo>
                        <a:pt x="121" y="128"/>
                      </a:lnTo>
                      <a:lnTo>
                        <a:pt x="121" y="129"/>
                      </a:lnTo>
                      <a:lnTo>
                        <a:pt x="123" y="129"/>
                      </a:lnTo>
                      <a:lnTo>
                        <a:pt x="125" y="129"/>
                      </a:lnTo>
                      <a:lnTo>
                        <a:pt x="125" y="131"/>
                      </a:lnTo>
                      <a:lnTo>
                        <a:pt x="126" y="129"/>
                      </a:lnTo>
                      <a:lnTo>
                        <a:pt x="126" y="131"/>
                      </a:lnTo>
                      <a:lnTo>
                        <a:pt x="126" y="129"/>
                      </a:lnTo>
                      <a:lnTo>
                        <a:pt x="126" y="128"/>
                      </a:lnTo>
                      <a:lnTo>
                        <a:pt x="128" y="128"/>
                      </a:lnTo>
                      <a:lnTo>
                        <a:pt x="130" y="128"/>
                      </a:lnTo>
                      <a:lnTo>
                        <a:pt x="130" y="129"/>
                      </a:lnTo>
                      <a:lnTo>
                        <a:pt x="131" y="129"/>
                      </a:lnTo>
                      <a:lnTo>
                        <a:pt x="133" y="129"/>
                      </a:lnTo>
                      <a:lnTo>
                        <a:pt x="133" y="128"/>
                      </a:lnTo>
                      <a:lnTo>
                        <a:pt x="131" y="128"/>
                      </a:lnTo>
                      <a:lnTo>
                        <a:pt x="131" y="126"/>
                      </a:lnTo>
                      <a:lnTo>
                        <a:pt x="133" y="126"/>
                      </a:lnTo>
                      <a:lnTo>
                        <a:pt x="135" y="124"/>
                      </a:lnTo>
                      <a:lnTo>
                        <a:pt x="133" y="123"/>
                      </a:lnTo>
                      <a:lnTo>
                        <a:pt x="135" y="123"/>
                      </a:lnTo>
                      <a:lnTo>
                        <a:pt x="133" y="123"/>
                      </a:lnTo>
                      <a:lnTo>
                        <a:pt x="131" y="121"/>
                      </a:lnTo>
                      <a:lnTo>
                        <a:pt x="131" y="120"/>
                      </a:lnTo>
                      <a:lnTo>
                        <a:pt x="133" y="120"/>
                      </a:lnTo>
                      <a:lnTo>
                        <a:pt x="133" y="118"/>
                      </a:lnTo>
                      <a:lnTo>
                        <a:pt x="135" y="118"/>
                      </a:lnTo>
                      <a:lnTo>
                        <a:pt x="136" y="118"/>
                      </a:lnTo>
                      <a:lnTo>
                        <a:pt x="138" y="118"/>
                      </a:lnTo>
                      <a:lnTo>
                        <a:pt x="138" y="120"/>
                      </a:lnTo>
                      <a:lnTo>
                        <a:pt x="140" y="120"/>
                      </a:lnTo>
                      <a:lnTo>
                        <a:pt x="142" y="120"/>
                      </a:lnTo>
                      <a:lnTo>
                        <a:pt x="143" y="120"/>
                      </a:lnTo>
                      <a:lnTo>
                        <a:pt x="143" y="118"/>
                      </a:lnTo>
                      <a:lnTo>
                        <a:pt x="145" y="118"/>
                      </a:lnTo>
                      <a:lnTo>
                        <a:pt x="145" y="120"/>
                      </a:lnTo>
                      <a:lnTo>
                        <a:pt x="147" y="120"/>
                      </a:lnTo>
                      <a:lnTo>
                        <a:pt x="147" y="118"/>
                      </a:lnTo>
                      <a:lnTo>
                        <a:pt x="147" y="120"/>
                      </a:lnTo>
                      <a:lnTo>
                        <a:pt x="148" y="120"/>
                      </a:lnTo>
                      <a:lnTo>
                        <a:pt x="150" y="120"/>
                      </a:lnTo>
                      <a:lnTo>
                        <a:pt x="152" y="121"/>
                      </a:lnTo>
                      <a:lnTo>
                        <a:pt x="153" y="121"/>
                      </a:lnTo>
                      <a:lnTo>
                        <a:pt x="153" y="123"/>
                      </a:lnTo>
                      <a:lnTo>
                        <a:pt x="152" y="124"/>
                      </a:lnTo>
                      <a:lnTo>
                        <a:pt x="153" y="124"/>
                      </a:lnTo>
                      <a:lnTo>
                        <a:pt x="152" y="126"/>
                      </a:lnTo>
                      <a:lnTo>
                        <a:pt x="152" y="128"/>
                      </a:lnTo>
                      <a:lnTo>
                        <a:pt x="152" y="129"/>
                      </a:lnTo>
                      <a:lnTo>
                        <a:pt x="152" y="131"/>
                      </a:lnTo>
                      <a:lnTo>
                        <a:pt x="153" y="131"/>
                      </a:lnTo>
                      <a:lnTo>
                        <a:pt x="153" y="133"/>
                      </a:lnTo>
                      <a:lnTo>
                        <a:pt x="153" y="134"/>
                      </a:lnTo>
                      <a:lnTo>
                        <a:pt x="155" y="134"/>
                      </a:lnTo>
                      <a:lnTo>
                        <a:pt x="155" y="133"/>
                      </a:lnTo>
                      <a:lnTo>
                        <a:pt x="157" y="133"/>
                      </a:lnTo>
                      <a:lnTo>
                        <a:pt x="157" y="134"/>
                      </a:lnTo>
                      <a:lnTo>
                        <a:pt x="158" y="134"/>
                      </a:lnTo>
                      <a:lnTo>
                        <a:pt x="160" y="134"/>
                      </a:lnTo>
                      <a:lnTo>
                        <a:pt x="162" y="134"/>
                      </a:lnTo>
                      <a:lnTo>
                        <a:pt x="163" y="134"/>
                      </a:lnTo>
                      <a:lnTo>
                        <a:pt x="163" y="136"/>
                      </a:lnTo>
                      <a:lnTo>
                        <a:pt x="165" y="136"/>
                      </a:lnTo>
                      <a:lnTo>
                        <a:pt x="165" y="138"/>
                      </a:lnTo>
                      <a:lnTo>
                        <a:pt x="167" y="138"/>
                      </a:lnTo>
                      <a:lnTo>
                        <a:pt x="167" y="139"/>
                      </a:lnTo>
                      <a:lnTo>
                        <a:pt x="169" y="139"/>
                      </a:lnTo>
                      <a:lnTo>
                        <a:pt x="169" y="141"/>
                      </a:lnTo>
                      <a:lnTo>
                        <a:pt x="167" y="141"/>
                      </a:lnTo>
                      <a:lnTo>
                        <a:pt x="167" y="144"/>
                      </a:lnTo>
                      <a:lnTo>
                        <a:pt x="165" y="144"/>
                      </a:lnTo>
                      <a:lnTo>
                        <a:pt x="167" y="146"/>
                      </a:lnTo>
                      <a:lnTo>
                        <a:pt x="169" y="146"/>
                      </a:lnTo>
                      <a:lnTo>
                        <a:pt x="170" y="147"/>
                      </a:lnTo>
                      <a:lnTo>
                        <a:pt x="170" y="149"/>
                      </a:lnTo>
                      <a:lnTo>
                        <a:pt x="172" y="149"/>
                      </a:lnTo>
                      <a:lnTo>
                        <a:pt x="174" y="151"/>
                      </a:lnTo>
                      <a:lnTo>
                        <a:pt x="174" y="152"/>
                      </a:lnTo>
                      <a:lnTo>
                        <a:pt x="175" y="152"/>
                      </a:lnTo>
                      <a:lnTo>
                        <a:pt x="177" y="152"/>
                      </a:lnTo>
                      <a:lnTo>
                        <a:pt x="179" y="152"/>
                      </a:lnTo>
                      <a:lnTo>
                        <a:pt x="179" y="151"/>
                      </a:lnTo>
                      <a:lnTo>
                        <a:pt x="180" y="151"/>
                      </a:lnTo>
                      <a:lnTo>
                        <a:pt x="180" y="149"/>
                      </a:lnTo>
                      <a:lnTo>
                        <a:pt x="180" y="147"/>
                      </a:lnTo>
                      <a:lnTo>
                        <a:pt x="180" y="146"/>
                      </a:lnTo>
                      <a:lnTo>
                        <a:pt x="182" y="146"/>
                      </a:lnTo>
                      <a:lnTo>
                        <a:pt x="184" y="146"/>
                      </a:lnTo>
                      <a:lnTo>
                        <a:pt x="185" y="144"/>
                      </a:lnTo>
                      <a:lnTo>
                        <a:pt x="187" y="143"/>
                      </a:lnTo>
                      <a:lnTo>
                        <a:pt x="189" y="141"/>
                      </a:lnTo>
                      <a:lnTo>
                        <a:pt x="190" y="141"/>
                      </a:lnTo>
                      <a:lnTo>
                        <a:pt x="192" y="141"/>
                      </a:lnTo>
                      <a:lnTo>
                        <a:pt x="192" y="143"/>
                      </a:lnTo>
                      <a:lnTo>
                        <a:pt x="194" y="143"/>
                      </a:lnTo>
                      <a:lnTo>
                        <a:pt x="194" y="144"/>
                      </a:lnTo>
                      <a:lnTo>
                        <a:pt x="196" y="144"/>
                      </a:lnTo>
                      <a:lnTo>
                        <a:pt x="196" y="146"/>
                      </a:lnTo>
                      <a:lnTo>
                        <a:pt x="197" y="146"/>
                      </a:lnTo>
                      <a:lnTo>
                        <a:pt x="199" y="146"/>
                      </a:lnTo>
                      <a:lnTo>
                        <a:pt x="199" y="144"/>
                      </a:lnTo>
                      <a:lnTo>
                        <a:pt x="199" y="143"/>
                      </a:lnTo>
                      <a:lnTo>
                        <a:pt x="199" y="141"/>
                      </a:lnTo>
                      <a:lnTo>
                        <a:pt x="199" y="139"/>
                      </a:lnTo>
                      <a:lnTo>
                        <a:pt x="199" y="138"/>
                      </a:lnTo>
                      <a:lnTo>
                        <a:pt x="199" y="136"/>
                      </a:lnTo>
                      <a:lnTo>
                        <a:pt x="197" y="136"/>
                      </a:lnTo>
                      <a:lnTo>
                        <a:pt x="199" y="136"/>
                      </a:lnTo>
                      <a:lnTo>
                        <a:pt x="199" y="134"/>
                      </a:lnTo>
                      <a:lnTo>
                        <a:pt x="197" y="134"/>
                      </a:lnTo>
                      <a:lnTo>
                        <a:pt x="197" y="133"/>
                      </a:lnTo>
                      <a:lnTo>
                        <a:pt x="196" y="133"/>
                      </a:lnTo>
                      <a:lnTo>
                        <a:pt x="196" y="131"/>
                      </a:lnTo>
                      <a:lnTo>
                        <a:pt x="197" y="129"/>
                      </a:lnTo>
                      <a:lnTo>
                        <a:pt x="196" y="129"/>
                      </a:lnTo>
                      <a:lnTo>
                        <a:pt x="197" y="129"/>
                      </a:lnTo>
                      <a:lnTo>
                        <a:pt x="196" y="128"/>
                      </a:lnTo>
                      <a:lnTo>
                        <a:pt x="194" y="128"/>
                      </a:lnTo>
                      <a:lnTo>
                        <a:pt x="196" y="128"/>
                      </a:lnTo>
                      <a:lnTo>
                        <a:pt x="194" y="126"/>
                      </a:lnTo>
                      <a:lnTo>
                        <a:pt x="194" y="124"/>
                      </a:lnTo>
                      <a:lnTo>
                        <a:pt x="194" y="123"/>
                      </a:lnTo>
                      <a:lnTo>
                        <a:pt x="196" y="121"/>
                      </a:lnTo>
                      <a:lnTo>
                        <a:pt x="197" y="121"/>
                      </a:lnTo>
                      <a:lnTo>
                        <a:pt x="197" y="120"/>
                      </a:lnTo>
                      <a:lnTo>
                        <a:pt x="197" y="118"/>
                      </a:lnTo>
                      <a:lnTo>
                        <a:pt x="196" y="118"/>
                      </a:lnTo>
                      <a:lnTo>
                        <a:pt x="196" y="116"/>
                      </a:lnTo>
                      <a:lnTo>
                        <a:pt x="196" y="115"/>
                      </a:lnTo>
                      <a:lnTo>
                        <a:pt x="197" y="115"/>
                      </a:lnTo>
                      <a:lnTo>
                        <a:pt x="197" y="113"/>
                      </a:lnTo>
                      <a:lnTo>
                        <a:pt x="199" y="113"/>
                      </a:lnTo>
                      <a:lnTo>
                        <a:pt x="201" y="113"/>
                      </a:lnTo>
                      <a:lnTo>
                        <a:pt x="202" y="113"/>
                      </a:lnTo>
                      <a:lnTo>
                        <a:pt x="204" y="113"/>
                      </a:lnTo>
                      <a:lnTo>
                        <a:pt x="206" y="113"/>
                      </a:lnTo>
                      <a:lnTo>
                        <a:pt x="207" y="111"/>
                      </a:lnTo>
                      <a:lnTo>
                        <a:pt x="207" y="113"/>
                      </a:lnTo>
                      <a:lnTo>
                        <a:pt x="207" y="111"/>
                      </a:lnTo>
                      <a:lnTo>
                        <a:pt x="209" y="113"/>
                      </a:lnTo>
                      <a:lnTo>
                        <a:pt x="211" y="113"/>
                      </a:lnTo>
                      <a:lnTo>
                        <a:pt x="211" y="111"/>
                      </a:lnTo>
                      <a:lnTo>
                        <a:pt x="211" y="113"/>
                      </a:lnTo>
                      <a:lnTo>
                        <a:pt x="212" y="113"/>
                      </a:lnTo>
                      <a:lnTo>
                        <a:pt x="212" y="115"/>
                      </a:lnTo>
                      <a:lnTo>
                        <a:pt x="214" y="115"/>
                      </a:lnTo>
                      <a:lnTo>
                        <a:pt x="216" y="115"/>
                      </a:lnTo>
                      <a:lnTo>
                        <a:pt x="216" y="113"/>
                      </a:lnTo>
                      <a:lnTo>
                        <a:pt x="216" y="111"/>
                      </a:lnTo>
                      <a:lnTo>
                        <a:pt x="218" y="113"/>
                      </a:lnTo>
                      <a:lnTo>
                        <a:pt x="218" y="111"/>
                      </a:lnTo>
                      <a:lnTo>
                        <a:pt x="218" y="110"/>
                      </a:lnTo>
                      <a:lnTo>
                        <a:pt x="218" y="108"/>
                      </a:lnTo>
                      <a:lnTo>
                        <a:pt x="216" y="110"/>
                      </a:lnTo>
                      <a:lnTo>
                        <a:pt x="216" y="108"/>
                      </a:lnTo>
                      <a:lnTo>
                        <a:pt x="218" y="106"/>
                      </a:lnTo>
                      <a:lnTo>
                        <a:pt x="216" y="106"/>
                      </a:lnTo>
                      <a:lnTo>
                        <a:pt x="218" y="106"/>
                      </a:lnTo>
                      <a:lnTo>
                        <a:pt x="219" y="106"/>
                      </a:lnTo>
                      <a:lnTo>
                        <a:pt x="219" y="105"/>
                      </a:lnTo>
                      <a:lnTo>
                        <a:pt x="218" y="105"/>
                      </a:lnTo>
                      <a:lnTo>
                        <a:pt x="218" y="103"/>
                      </a:lnTo>
                      <a:lnTo>
                        <a:pt x="219" y="103"/>
                      </a:lnTo>
                      <a:lnTo>
                        <a:pt x="219" y="105"/>
                      </a:lnTo>
                      <a:lnTo>
                        <a:pt x="221" y="105"/>
                      </a:lnTo>
                      <a:lnTo>
                        <a:pt x="221" y="103"/>
                      </a:lnTo>
                      <a:lnTo>
                        <a:pt x="223" y="103"/>
                      </a:lnTo>
                      <a:lnTo>
                        <a:pt x="223" y="105"/>
                      </a:lnTo>
                      <a:lnTo>
                        <a:pt x="224" y="103"/>
                      </a:lnTo>
                      <a:lnTo>
                        <a:pt x="224" y="101"/>
                      </a:lnTo>
                      <a:lnTo>
                        <a:pt x="226" y="101"/>
                      </a:lnTo>
                      <a:lnTo>
                        <a:pt x="224" y="101"/>
                      </a:lnTo>
                      <a:lnTo>
                        <a:pt x="224" y="100"/>
                      </a:lnTo>
                      <a:lnTo>
                        <a:pt x="226" y="100"/>
                      </a:lnTo>
                      <a:lnTo>
                        <a:pt x="228" y="100"/>
                      </a:lnTo>
                      <a:lnTo>
                        <a:pt x="229" y="100"/>
                      </a:lnTo>
                      <a:lnTo>
                        <a:pt x="231" y="100"/>
                      </a:lnTo>
                      <a:lnTo>
                        <a:pt x="233" y="100"/>
                      </a:lnTo>
                      <a:lnTo>
                        <a:pt x="233" y="101"/>
                      </a:lnTo>
                      <a:lnTo>
                        <a:pt x="234" y="101"/>
                      </a:lnTo>
                      <a:lnTo>
                        <a:pt x="236" y="103"/>
                      </a:lnTo>
                      <a:lnTo>
                        <a:pt x="238" y="103"/>
                      </a:lnTo>
                      <a:lnTo>
                        <a:pt x="239" y="103"/>
                      </a:lnTo>
                      <a:lnTo>
                        <a:pt x="241" y="103"/>
                      </a:lnTo>
                      <a:lnTo>
                        <a:pt x="241" y="105"/>
                      </a:lnTo>
                      <a:lnTo>
                        <a:pt x="243" y="105"/>
                      </a:lnTo>
                      <a:lnTo>
                        <a:pt x="245" y="105"/>
                      </a:lnTo>
                      <a:lnTo>
                        <a:pt x="246" y="105"/>
                      </a:lnTo>
                      <a:lnTo>
                        <a:pt x="246" y="106"/>
                      </a:lnTo>
                      <a:lnTo>
                        <a:pt x="248" y="106"/>
                      </a:lnTo>
                      <a:lnTo>
                        <a:pt x="250" y="106"/>
                      </a:lnTo>
                      <a:lnTo>
                        <a:pt x="251" y="108"/>
                      </a:lnTo>
                      <a:lnTo>
                        <a:pt x="253" y="108"/>
                      </a:lnTo>
                      <a:lnTo>
                        <a:pt x="255" y="110"/>
                      </a:lnTo>
                      <a:lnTo>
                        <a:pt x="255" y="108"/>
                      </a:lnTo>
                      <a:lnTo>
                        <a:pt x="256" y="108"/>
                      </a:lnTo>
                      <a:lnTo>
                        <a:pt x="258" y="108"/>
                      </a:lnTo>
                      <a:lnTo>
                        <a:pt x="258" y="106"/>
                      </a:lnTo>
                      <a:lnTo>
                        <a:pt x="256" y="106"/>
                      </a:lnTo>
                      <a:lnTo>
                        <a:pt x="258" y="106"/>
                      </a:lnTo>
                      <a:lnTo>
                        <a:pt x="256" y="106"/>
                      </a:lnTo>
                      <a:lnTo>
                        <a:pt x="256" y="105"/>
                      </a:lnTo>
                      <a:lnTo>
                        <a:pt x="258" y="105"/>
                      </a:lnTo>
                      <a:lnTo>
                        <a:pt x="258" y="106"/>
                      </a:lnTo>
                      <a:lnTo>
                        <a:pt x="258" y="105"/>
                      </a:lnTo>
                      <a:lnTo>
                        <a:pt x="260" y="105"/>
                      </a:lnTo>
                      <a:lnTo>
                        <a:pt x="258" y="105"/>
                      </a:lnTo>
                      <a:lnTo>
                        <a:pt x="260" y="105"/>
                      </a:lnTo>
                      <a:lnTo>
                        <a:pt x="261" y="105"/>
                      </a:lnTo>
                      <a:lnTo>
                        <a:pt x="261" y="103"/>
                      </a:lnTo>
                      <a:lnTo>
                        <a:pt x="261" y="101"/>
                      </a:lnTo>
                      <a:lnTo>
                        <a:pt x="263" y="101"/>
                      </a:lnTo>
                      <a:lnTo>
                        <a:pt x="263" y="103"/>
                      </a:lnTo>
                      <a:lnTo>
                        <a:pt x="265" y="101"/>
                      </a:lnTo>
                      <a:lnTo>
                        <a:pt x="265" y="103"/>
                      </a:lnTo>
                      <a:lnTo>
                        <a:pt x="266" y="101"/>
                      </a:lnTo>
                      <a:lnTo>
                        <a:pt x="268" y="101"/>
                      </a:lnTo>
                      <a:lnTo>
                        <a:pt x="268" y="100"/>
                      </a:lnTo>
                      <a:lnTo>
                        <a:pt x="270" y="100"/>
                      </a:lnTo>
                      <a:lnTo>
                        <a:pt x="270" y="101"/>
                      </a:lnTo>
                      <a:lnTo>
                        <a:pt x="272" y="103"/>
                      </a:lnTo>
                      <a:lnTo>
                        <a:pt x="273" y="105"/>
                      </a:lnTo>
                      <a:lnTo>
                        <a:pt x="273" y="106"/>
                      </a:lnTo>
                      <a:lnTo>
                        <a:pt x="275" y="106"/>
                      </a:lnTo>
                      <a:lnTo>
                        <a:pt x="275" y="105"/>
                      </a:lnTo>
                      <a:lnTo>
                        <a:pt x="275" y="103"/>
                      </a:lnTo>
                      <a:lnTo>
                        <a:pt x="277" y="101"/>
                      </a:lnTo>
                      <a:lnTo>
                        <a:pt x="275" y="101"/>
                      </a:lnTo>
                      <a:lnTo>
                        <a:pt x="277" y="101"/>
                      </a:lnTo>
                      <a:lnTo>
                        <a:pt x="278" y="101"/>
                      </a:lnTo>
                      <a:lnTo>
                        <a:pt x="280" y="101"/>
                      </a:lnTo>
                      <a:lnTo>
                        <a:pt x="280" y="100"/>
                      </a:lnTo>
                      <a:lnTo>
                        <a:pt x="282" y="100"/>
                      </a:lnTo>
                      <a:lnTo>
                        <a:pt x="283" y="100"/>
                      </a:lnTo>
                      <a:lnTo>
                        <a:pt x="283" y="101"/>
                      </a:lnTo>
                      <a:lnTo>
                        <a:pt x="285" y="101"/>
                      </a:lnTo>
                      <a:lnTo>
                        <a:pt x="285" y="100"/>
                      </a:lnTo>
                      <a:lnTo>
                        <a:pt x="285" y="98"/>
                      </a:lnTo>
                      <a:lnTo>
                        <a:pt x="287" y="98"/>
                      </a:lnTo>
                      <a:lnTo>
                        <a:pt x="287" y="97"/>
                      </a:lnTo>
                      <a:lnTo>
                        <a:pt x="287" y="95"/>
                      </a:lnTo>
                      <a:lnTo>
                        <a:pt x="288" y="95"/>
                      </a:lnTo>
                      <a:lnTo>
                        <a:pt x="290" y="95"/>
                      </a:lnTo>
                      <a:lnTo>
                        <a:pt x="290" y="93"/>
                      </a:lnTo>
                      <a:lnTo>
                        <a:pt x="292" y="93"/>
                      </a:lnTo>
                      <a:lnTo>
                        <a:pt x="294" y="93"/>
                      </a:lnTo>
                      <a:lnTo>
                        <a:pt x="294" y="92"/>
                      </a:lnTo>
                      <a:lnTo>
                        <a:pt x="295" y="92"/>
                      </a:lnTo>
                      <a:lnTo>
                        <a:pt x="294" y="93"/>
                      </a:lnTo>
                      <a:lnTo>
                        <a:pt x="295" y="93"/>
                      </a:lnTo>
                      <a:lnTo>
                        <a:pt x="297" y="93"/>
                      </a:lnTo>
                      <a:lnTo>
                        <a:pt x="299" y="93"/>
                      </a:lnTo>
                      <a:lnTo>
                        <a:pt x="299" y="92"/>
                      </a:lnTo>
                      <a:lnTo>
                        <a:pt x="300" y="92"/>
                      </a:lnTo>
                      <a:lnTo>
                        <a:pt x="300" y="93"/>
                      </a:lnTo>
                      <a:lnTo>
                        <a:pt x="302" y="93"/>
                      </a:lnTo>
                      <a:lnTo>
                        <a:pt x="302" y="95"/>
                      </a:lnTo>
                      <a:lnTo>
                        <a:pt x="304" y="95"/>
                      </a:lnTo>
                      <a:lnTo>
                        <a:pt x="304" y="93"/>
                      </a:lnTo>
                      <a:lnTo>
                        <a:pt x="305" y="92"/>
                      </a:lnTo>
                      <a:lnTo>
                        <a:pt x="305" y="93"/>
                      </a:lnTo>
                      <a:lnTo>
                        <a:pt x="307" y="93"/>
                      </a:lnTo>
                      <a:lnTo>
                        <a:pt x="309" y="93"/>
                      </a:lnTo>
                      <a:lnTo>
                        <a:pt x="310" y="93"/>
                      </a:lnTo>
                      <a:lnTo>
                        <a:pt x="310" y="92"/>
                      </a:lnTo>
                      <a:lnTo>
                        <a:pt x="312" y="92"/>
                      </a:lnTo>
                      <a:lnTo>
                        <a:pt x="312" y="90"/>
                      </a:lnTo>
                      <a:lnTo>
                        <a:pt x="314" y="90"/>
                      </a:lnTo>
                      <a:lnTo>
                        <a:pt x="314" y="88"/>
                      </a:lnTo>
                      <a:lnTo>
                        <a:pt x="314" y="87"/>
                      </a:lnTo>
                      <a:lnTo>
                        <a:pt x="315" y="87"/>
                      </a:lnTo>
                      <a:lnTo>
                        <a:pt x="314" y="87"/>
                      </a:lnTo>
                      <a:lnTo>
                        <a:pt x="314" y="85"/>
                      </a:lnTo>
                      <a:lnTo>
                        <a:pt x="314" y="83"/>
                      </a:lnTo>
                      <a:lnTo>
                        <a:pt x="314" y="82"/>
                      </a:lnTo>
                      <a:lnTo>
                        <a:pt x="314" y="80"/>
                      </a:lnTo>
                      <a:lnTo>
                        <a:pt x="314" y="78"/>
                      </a:lnTo>
                      <a:lnTo>
                        <a:pt x="315" y="78"/>
                      </a:lnTo>
                      <a:lnTo>
                        <a:pt x="317" y="78"/>
                      </a:lnTo>
                      <a:lnTo>
                        <a:pt x="317" y="77"/>
                      </a:lnTo>
                      <a:lnTo>
                        <a:pt x="319" y="77"/>
                      </a:lnTo>
                      <a:lnTo>
                        <a:pt x="319" y="75"/>
                      </a:lnTo>
                      <a:lnTo>
                        <a:pt x="321" y="75"/>
                      </a:lnTo>
                      <a:lnTo>
                        <a:pt x="321" y="77"/>
                      </a:lnTo>
                      <a:lnTo>
                        <a:pt x="321" y="75"/>
                      </a:lnTo>
                      <a:lnTo>
                        <a:pt x="322" y="75"/>
                      </a:lnTo>
                      <a:lnTo>
                        <a:pt x="322" y="77"/>
                      </a:lnTo>
                      <a:lnTo>
                        <a:pt x="321" y="77"/>
                      </a:lnTo>
                      <a:lnTo>
                        <a:pt x="322" y="77"/>
                      </a:lnTo>
                      <a:lnTo>
                        <a:pt x="324" y="77"/>
                      </a:lnTo>
                      <a:lnTo>
                        <a:pt x="326" y="77"/>
                      </a:lnTo>
                      <a:lnTo>
                        <a:pt x="327" y="77"/>
                      </a:lnTo>
                      <a:lnTo>
                        <a:pt x="329" y="77"/>
                      </a:lnTo>
                      <a:lnTo>
                        <a:pt x="331" y="77"/>
                      </a:lnTo>
                      <a:lnTo>
                        <a:pt x="332" y="77"/>
                      </a:lnTo>
                      <a:lnTo>
                        <a:pt x="332" y="75"/>
                      </a:lnTo>
                      <a:lnTo>
                        <a:pt x="334" y="75"/>
                      </a:lnTo>
                      <a:lnTo>
                        <a:pt x="334" y="74"/>
                      </a:lnTo>
                      <a:lnTo>
                        <a:pt x="336" y="74"/>
                      </a:lnTo>
                      <a:lnTo>
                        <a:pt x="337" y="74"/>
                      </a:lnTo>
                      <a:lnTo>
                        <a:pt x="337" y="72"/>
                      </a:lnTo>
                      <a:lnTo>
                        <a:pt x="336" y="72"/>
                      </a:lnTo>
                      <a:lnTo>
                        <a:pt x="336" y="70"/>
                      </a:lnTo>
                      <a:lnTo>
                        <a:pt x="334" y="70"/>
                      </a:lnTo>
                      <a:lnTo>
                        <a:pt x="332" y="70"/>
                      </a:lnTo>
                      <a:lnTo>
                        <a:pt x="332" y="69"/>
                      </a:lnTo>
                      <a:lnTo>
                        <a:pt x="332" y="67"/>
                      </a:lnTo>
                      <a:lnTo>
                        <a:pt x="334" y="67"/>
                      </a:lnTo>
                      <a:lnTo>
                        <a:pt x="336" y="67"/>
                      </a:lnTo>
                      <a:lnTo>
                        <a:pt x="337" y="67"/>
                      </a:lnTo>
                      <a:lnTo>
                        <a:pt x="339" y="67"/>
                      </a:lnTo>
                      <a:lnTo>
                        <a:pt x="339" y="69"/>
                      </a:lnTo>
                      <a:lnTo>
                        <a:pt x="339" y="67"/>
                      </a:lnTo>
                      <a:lnTo>
                        <a:pt x="341" y="67"/>
                      </a:lnTo>
                      <a:lnTo>
                        <a:pt x="342" y="69"/>
                      </a:lnTo>
                      <a:lnTo>
                        <a:pt x="342" y="67"/>
                      </a:lnTo>
                      <a:lnTo>
                        <a:pt x="344" y="69"/>
                      </a:lnTo>
                      <a:lnTo>
                        <a:pt x="346" y="69"/>
                      </a:lnTo>
                      <a:lnTo>
                        <a:pt x="348" y="70"/>
                      </a:lnTo>
                      <a:lnTo>
                        <a:pt x="349" y="70"/>
                      </a:lnTo>
                      <a:lnTo>
                        <a:pt x="349" y="72"/>
                      </a:lnTo>
                      <a:lnTo>
                        <a:pt x="349" y="70"/>
                      </a:lnTo>
                      <a:lnTo>
                        <a:pt x="351" y="70"/>
                      </a:lnTo>
                      <a:lnTo>
                        <a:pt x="353" y="70"/>
                      </a:lnTo>
                      <a:lnTo>
                        <a:pt x="353" y="69"/>
                      </a:lnTo>
                      <a:lnTo>
                        <a:pt x="354" y="69"/>
                      </a:lnTo>
                      <a:lnTo>
                        <a:pt x="356" y="69"/>
                      </a:lnTo>
                      <a:lnTo>
                        <a:pt x="358" y="69"/>
                      </a:lnTo>
                      <a:lnTo>
                        <a:pt x="359" y="69"/>
                      </a:lnTo>
                      <a:lnTo>
                        <a:pt x="361" y="69"/>
                      </a:lnTo>
                      <a:lnTo>
                        <a:pt x="363" y="69"/>
                      </a:lnTo>
                      <a:lnTo>
                        <a:pt x="364" y="69"/>
                      </a:lnTo>
                      <a:lnTo>
                        <a:pt x="363" y="67"/>
                      </a:lnTo>
                      <a:lnTo>
                        <a:pt x="364" y="67"/>
                      </a:lnTo>
                      <a:lnTo>
                        <a:pt x="364" y="65"/>
                      </a:lnTo>
                      <a:lnTo>
                        <a:pt x="364" y="67"/>
                      </a:lnTo>
                      <a:lnTo>
                        <a:pt x="366" y="65"/>
                      </a:lnTo>
                      <a:lnTo>
                        <a:pt x="368" y="65"/>
                      </a:lnTo>
                      <a:lnTo>
                        <a:pt x="368" y="64"/>
                      </a:lnTo>
                      <a:lnTo>
                        <a:pt x="368" y="62"/>
                      </a:lnTo>
                      <a:lnTo>
                        <a:pt x="370" y="62"/>
                      </a:lnTo>
                      <a:lnTo>
                        <a:pt x="370" y="60"/>
                      </a:lnTo>
                      <a:lnTo>
                        <a:pt x="368" y="60"/>
                      </a:lnTo>
                      <a:lnTo>
                        <a:pt x="370" y="60"/>
                      </a:lnTo>
                      <a:lnTo>
                        <a:pt x="370" y="59"/>
                      </a:lnTo>
                      <a:lnTo>
                        <a:pt x="370" y="57"/>
                      </a:lnTo>
                      <a:lnTo>
                        <a:pt x="368" y="57"/>
                      </a:lnTo>
                      <a:lnTo>
                        <a:pt x="368" y="55"/>
                      </a:lnTo>
                      <a:lnTo>
                        <a:pt x="370" y="55"/>
                      </a:lnTo>
                      <a:lnTo>
                        <a:pt x="371" y="55"/>
                      </a:lnTo>
                      <a:lnTo>
                        <a:pt x="371" y="54"/>
                      </a:lnTo>
                      <a:lnTo>
                        <a:pt x="371" y="52"/>
                      </a:lnTo>
                      <a:lnTo>
                        <a:pt x="371" y="51"/>
                      </a:lnTo>
                      <a:lnTo>
                        <a:pt x="373" y="51"/>
                      </a:lnTo>
                      <a:lnTo>
                        <a:pt x="375" y="51"/>
                      </a:lnTo>
                      <a:lnTo>
                        <a:pt x="376" y="51"/>
                      </a:lnTo>
                      <a:lnTo>
                        <a:pt x="378" y="51"/>
                      </a:lnTo>
                      <a:lnTo>
                        <a:pt x="380" y="49"/>
                      </a:lnTo>
                      <a:lnTo>
                        <a:pt x="381" y="49"/>
                      </a:lnTo>
                      <a:lnTo>
                        <a:pt x="381" y="47"/>
                      </a:lnTo>
                      <a:lnTo>
                        <a:pt x="383" y="47"/>
                      </a:lnTo>
                      <a:lnTo>
                        <a:pt x="385" y="47"/>
                      </a:lnTo>
                      <a:lnTo>
                        <a:pt x="385" y="46"/>
                      </a:lnTo>
                      <a:lnTo>
                        <a:pt x="386" y="46"/>
                      </a:lnTo>
                      <a:lnTo>
                        <a:pt x="386" y="47"/>
                      </a:lnTo>
                      <a:lnTo>
                        <a:pt x="386" y="46"/>
                      </a:lnTo>
                      <a:lnTo>
                        <a:pt x="388" y="46"/>
                      </a:lnTo>
                      <a:lnTo>
                        <a:pt x="388" y="44"/>
                      </a:lnTo>
                      <a:lnTo>
                        <a:pt x="390" y="46"/>
                      </a:lnTo>
                      <a:lnTo>
                        <a:pt x="390" y="44"/>
                      </a:lnTo>
                      <a:lnTo>
                        <a:pt x="390" y="42"/>
                      </a:lnTo>
                      <a:lnTo>
                        <a:pt x="391" y="41"/>
                      </a:lnTo>
                      <a:lnTo>
                        <a:pt x="393" y="41"/>
                      </a:lnTo>
                      <a:lnTo>
                        <a:pt x="393" y="39"/>
                      </a:lnTo>
                      <a:lnTo>
                        <a:pt x="395" y="39"/>
                      </a:lnTo>
                      <a:lnTo>
                        <a:pt x="395" y="37"/>
                      </a:lnTo>
                      <a:lnTo>
                        <a:pt x="397" y="36"/>
                      </a:lnTo>
                      <a:lnTo>
                        <a:pt x="397" y="34"/>
                      </a:lnTo>
                      <a:lnTo>
                        <a:pt x="398" y="34"/>
                      </a:lnTo>
                      <a:lnTo>
                        <a:pt x="398" y="32"/>
                      </a:lnTo>
                      <a:lnTo>
                        <a:pt x="400" y="31"/>
                      </a:lnTo>
                      <a:lnTo>
                        <a:pt x="402" y="31"/>
                      </a:lnTo>
                      <a:lnTo>
                        <a:pt x="402" y="29"/>
                      </a:lnTo>
                      <a:lnTo>
                        <a:pt x="403" y="28"/>
                      </a:lnTo>
                      <a:lnTo>
                        <a:pt x="402" y="26"/>
                      </a:lnTo>
                      <a:lnTo>
                        <a:pt x="402" y="24"/>
                      </a:lnTo>
                      <a:lnTo>
                        <a:pt x="400" y="24"/>
                      </a:lnTo>
                      <a:lnTo>
                        <a:pt x="400" y="23"/>
                      </a:lnTo>
                      <a:lnTo>
                        <a:pt x="398" y="21"/>
                      </a:lnTo>
                      <a:lnTo>
                        <a:pt x="398" y="19"/>
                      </a:lnTo>
                      <a:lnTo>
                        <a:pt x="397" y="19"/>
                      </a:lnTo>
                      <a:lnTo>
                        <a:pt x="397" y="18"/>
                      </a:lnTo>
                      <a:lnTo>
                        <a:pt x="397" y="16"/>
                      </a:lnTo>
                      <a:lnTo>
                        <a:pt x="397" y="14"/>
                      </a:lnTo>
                      <a:lnTo>
                        <a:pt x="397" y="13"/>
                      </a:lnTo>
                      <a:lnTo>
                        <a:pt x="395" y="13"/>
                      </a:lnTo>
                      <a:lnTo>
                        <a:pt x="395" y="11"/>
                      </a:lnTo>
                      <a:lnTo>
                        <a:pt x="397" y="11"/>
                      </a:lnTo>
                      <a:lnTo>
                        <a:pt x="395" y="10"/>
                      </a:lnTo>
                      <a:lnTo>
                        <a:pt x="395" y="8"/>
                      </a:lnTo>
                      <a:lnTo>
                        <a:pt x="393" y="8"/>
                      </a:lnTo>
                      <a:lnTo>
                        <a:pt x="393" y="6"/>
                      </a:lnTo>
                      <a:lnTo>
                        <a:pt x="391" y="6"/>
                      </a:lnTo>
                      <a:lnTo>
                        <a:pt x="390" y="6"/>
                      </a:lnTo>
                      <a:lnTo>
                        <a:pt x="388" y="6"/>
                      </a:lnTo>
                      <a:lnTo>
                        <a:pt x="388" y="5"/>
                      </a:lnTo>
                      <a:lnTo>
                        <a:pt x="390" y="3"/>
                      </a:lnTo>
                      <a:lnTo>
                        <a:pt x="390" y="5"/>
                      </a:lnTo>
                      <a:lnTo>
                        <a:pt x="391" y="5"/>
                      </a:lnTo>
                      <a:lnTo>
                        <a:pt x="391" y="3"/>
                      </a:lnTo>
                      <a:lnTo>
                        <a:pt x="393" y="3"/>
                      </a:lnTo>
                      <a:lnTo>
                        <a:pt x="395" y="3"/>
                      </a:lnTo>
                      <a:lnTo>
                        <a:pt x="397" y="3"/>
                      </a:lnTo>
                      <a:lnTo>
                        <a:pt x="398" y="3"/>
                      </a:lnTo>
                      <a:lnTo>
                        <a:pt x="398" y="5"/>
                      </a:lnTo>
                      <a:lnTo>
                        <a:pt x="400" y="5"/>
                      </a:lnTo>
                      <a:lnTo>
                        <a:pt x="402" y="5"/>
                      </a:lnTo>
                      <a:lnTo>
                        <a:pt x="402" y="3"/>
                      </a:lnTo>
                      <a:lnTo>
                        <a:pt x="402" y="5"/>
                      </a:lnTo>
                      <a:lnTo>
                        <a:pt x="403" y="6"/>
                      </a:lnTo>
                      <a:lnTo>
                        <a:pt x="405" y="6"/>
                      </a:lnTo>
                      <a:lnTo>
                        <a:pt x="407" y="6"/>
                      </a:lnTo>
                      <a:lnTo>
                        <a:pt x="407" y="5"/>
                      </a:lnTo>
                      <a:lnTo>
                        <a:pt x="408" y="5"/>
                      </a:lnTo>
                      <a:lnTo>
                        <a:pt x="410" y="5"/>
                      </a:lnTo>
                      <a:lnTo>
                        <a:pt x="412" y="5"/>
                      </a:lnTo>
                      <a:lnTo>
                        <a:pt x="413" y="6"/>
                      </a:lnTo>
                      <a:lnTo>
                        <a:pt x="413" y="5"/>
                      </a:lnTo>
                      <a:lnTo>
                        <a:pt x="413" y="6"/>
                      </a:lnTo>
                      <a:lnTo>
                        <a:pt x="415" y="5"/>
                      </a:lnTo>
                      <a:lnTo>
                        <a:pt x="415" y="6"/>
                      </a:lnTo>
                      <a:lnTo>
                        <a:pt x="417" y="8"/>
                      </a:lnTo>
                      <a:lnTo>
                        <a:pt x="417" y="6"/>
                      </a:lnTo>
                      <a:lnTo>
                        <a:pt x="419" y="6"/>
                      </a:lnTo>
                      <a:lnTo>
                        <a:pt x="419" y="5"/>
                      </a:lnTo>
                      <a:lnTo>
                        <a:pt x="420" y="5"/>
                      </a:lnTo>
                      <a:lnTo>
                        <a:pt x="422" y="3"/>
                      </a:lnTo>
                      <a:lnTo>
                        <a:pt x="422" y="5"/>
                      </a:lnTo>
                      <a:lnTo>
                        <a:pt x="424" y="5"/>
                      </a:lnTo>
                      <a:lnTo>
                        <a:pt x="425" y="5"/>
                      </a:lnTo>
                      <a:lnTo>
                        <a:pt x="427" y="5"/>
                      </a:lnTo>
                      <a:lnTo>
                        <a:pt x="429" y="5"/>
                      </a:lnTo>
                      <a:lnTo>
                        <a:pt x="429" y="3"/>
                      </a:lnTo>
                      <a:lnTo>
                        <a:pt x="430" y="3"/>
                      </a:lnTo>
                      <a:lnTo>
                        <a:pt x="432" y="3"/>
                      </a:lnTo>
                      <a:lnTo>
                        <a:pt x="432" y="1"/>
                      </a:lnTo>
                      <a:lnTo>
                        <a:pt x="434" y="1"/>
                      </a:lnTo>
                      <a:lnTo>
                        <a:pt x="435" y="1"/>
                      </a:lnTo>
                      <a:lnTo>
                        <a:pt x="435" y="0"/>
                      </a:lnTo>
                      <a:lnTo>
                        <a:pt x="437" y="0"/>
                      </a:lnTo>
                      <a:lnTo>
                        <a:pt x="439" y="0"/>
                      </a:lnTo>
                      <a:lnTo>
                        <a:pt x="440" y="1"/>
                      </a:lnTo>
                      <a:lnTo>
                        <a:pt x="439" y="1"/>
                      </a:lnTo>
                      <a:lnTo>
                        <a:pt x="440" y="3"/>
                      </a:lnTo>
                      <a:lnTo>
                        <a:pt x="442" y="3"/>
                      </a:lnTo>
                      <a:lnTo>
                        <a:pt x="446" y="1"/>
                      </a:lnTo>
                      <a:lnTo>
                        <a:pt x="446" y="3"/>
                      </a:lnTo>
                      <a:lnTo>
                        <a:pt x="446" y="5"/>
                      </a:lnTo>
                      <a:lnTo>
                        <a:pt x="447" y="5"/>
                      </a:lnTo>
                      <a:lnTo>
                        <a:pt x="447" y="6"/>
                      </a:lnTo>
                      <a:lnTo>
                        <a:pt x="449" y="8"/>
                      </a:lnTo>
                      <a:lnTo>
                        <a:pt x="449" y="10"/>
                      </a:lnTo>
                      <a:lnTo>
                        <a:pt x="449" y="11"/>
                      </a:lnTo>
                      <a:lnTo>
                        <a:pt x="451" y="11"/>
                      </a:lnTo>
                      <a:lnTo>
                        <a:pt x="452" y="11"/>
                      </a:lnTo>
                      <a:lnTo>
                        <a:pt x="452" y="13"/>
                      </a:lnTo>
                      <a:lnTo>
                        <a:pt x="452" y="14"/>
                      </a:lnTo>
                      <a:lnTo>
                        <a:pt x="454" y="14"/>
                      </a:lnTo>
                      <a:lnTo>
                        <a:pt x="456" y="14"/>
                      </a:lnTo>
                      <a:lnTo>
                        <a:pt x="456" y="16"/>
                      </a:lnTo>
                      <a:lnTo>
                        <a:pt x="457" y="16"/>
                      </a:lnTo>
                      <a:lnTo>
                        <a:pt x="459" y="16"/>
                      </a:lnTo>
                      <a:lnTo>
                        <a:pt x="457" y="16"/>
                      </a:lnTo>
                      <a:lnTo>
                        <a:pt x="457" y="18"/>
                      </a:lnTo>
                      <a:lnTo>
                        <a:pt x="459" y="18"/>
                      </a:lnTo>
                      <a:lnTo>
                        <a:pt x="457" y="19"/>
                      </a:lnTo>
                      <a:lnTo>
                        <a:pt x="459" y="19"/>
                      </a:lnTo>
                      <a:lnTo>
                        <a:pt x="457" y="21"/>
                      </a:lnTo>
                      <a:lnTo>
                        <a:pt x="457" y="23"/>
                      </a:lnTo>
                      <a:lnTo>
                        <a:pt x="459" y="26"/>
                      </a:lnTo>
                      <a:lnTo>
                        <a:pt x="459" y="28"/>
                      </a:lnTo>
                      <a:lnTo>
                        <a:pt x="459" y="29"/>
                      </a:lnTo>
                      <a:lnTo>
                        <a:pt x="459" y="31"/>
                      </a:lnTo>
                      <a:lnTo>
                        <a:pt x="457" y="31"/>
                      </a:lnTo>
                      <a:lnTo>
                        <a:pt x="457" y="32"/>
                      </a:lnTo>
                      <a:lnTo>
                        <a:pt x="457" y="34"/>
                      </a:lnTo>
                      <a:lnTo>
                        <a:pt x="457" y="36"/>
                      </a:lnTo>
                      <a:lnTo>
                        <a:pt x="456" y="37"/>
                      </a:lnTo>
                      <a:lnTo>
                        <a:pt x="457" y="37"/>
                      </a:lnTo>
                      <a:lnTo>
                        <a:pt x="456" y="39"/>
                      </a:lnTo>
                      <a:lnTo>
                        <a:pt x="456" y="41"/>
                      </a:lnTo>
                      <a:lnTo>
                        <a:pt x="454" y="41"/>
                      </a:lnTo>
                      <a:lnTo>
                        <a:pt x="456" y="42"/>
                      </a:lnTo>
                      <a:lnTo>
                        <a:pt x="454" y="42"/>
                      </a:lnTo>
                      <a:lnTo>
                        <a:pt x="454" y="44"/>
                      </a:lnTo>
                      <a:lnTo>
                        <a:pt x="456" y="44"/>
                      </a:lnTo>
                      <a:lnTo>
                        <a:pt x="456" y="46"/>
                      </a:lnTo>
                      <a:lnTo>
                        <a:pt x="456" y="47"/>
                      </a:lnTo>
                      <a:lnTo>
                        <a:pt x="456" y="49"/>
                      </a:lnTo>
                      <a:lnTo>
                        <a:pt x="454" y="49"/>
                      </a:lnTo>
                      <a:lnTo>
                        <a:pt x="454" y="51"/>
                      </a:lnTo>
                      <a:lnTo>
                        <a:pt x="456" y="51"/>
                      </a:lnTo>
                      <a:lnTo>
                        <a:pt x="456" y="52"/>
                      </a:lnTo>
                      <a:lnTo>
                        <a:pt x="454" y="52"/>
                      </a:lnTo>
                      <a:lnTo>
                        <a:pt x="452" y="54"/>
                      </a:lnTo>
                      <a:lnTo>
                        <a:pt x="452" y="55"/>
                      </a:lnTo>
                      <a:lnTo>
                        <a:pt x="451" y="57"/>
                      </a:lnTo>
                      <a:lnTo>
                        <a:pt x="451" y="59"/>
                      </a:lnTo>
                      <a:lnTo>
                        <a:pt x="451" y="60"/>
                      </a:lnTo>
                      <a:lnTo>
                        <a:pt x="449" y="60"/>
                      </a:lnTo>
                      <a:lnTo>
                        <a:pt x="449" y="62"/>
                      </a:lnTo>
                      <a:lnTo>
                        <a:pt x="447" y="60"/>
                      </a:lnTo>
                      <a:lnTo>
                        <a:pt x="447" y="62"/>
                      </a:lnTo>
                      <a:lnTo>
                        <a:pt x="446" y="60"/>
                      </a:lnTo>
                      <a:lnTo>
                        <a:pt x="446" y="62"/>
                      </a:lnTo>
                      <a:lnTo>
                        <a:pt x="446" y="64"/>
                      </a:lnTo>
                      <a:lnTo>
                        <a:pt x="444" y="64"/>
                      </a:lnTo>
                      <a:lnTo>
                        <a:pt x="444" y="65"/>
                      </a:lnTo>
                      <a:lnTo>
                        <a:pt x="446" y="65"/>
                      </a:lnTo>
                      <a:lnTo>
                        <a:pt x="444" y="65"/>
                      </a:lnTo>
                      <a:lnTo>
                        <a:pt x="444" y="64"/>
                      </a:lnTo>
                      <a:lnTo>
                        <a:pt x="442" y="64"/>
                      </a:lnTo>
                      <a:lnTo>
                        <a:pt x="442" y="65"/>
                      </a:lnTo>
                      <a:lnTo>
                        <a:pt x="442" y="67"/>
                      </a:lnTo>
                      <a:lnTo>
                        <a:pt x="442" y="69"/>
                      </a:lnTo>
                      <a:lnTo>
                        <a:pt x="442" y="70"/>
                      </a:lnTo>
                      <a:lnTo>
                        <a:pt x="444" y="70"/>
                      </a:lnTo>
                      <a:lnTo>
                        <a:pt x="446" y="70"/>
                      </a:lnTo>
                      <a:lnTo>
                        <a:pt x="447" y="70"/>
                      </a:lnTo>
                      <a:lnTo>
                        <a:pt x="449" y="70"/>
                      </a:lnTo>
                      <a:lnTo>
                        <a:pt x="447" y="69"/>
                      </a:lnTo>
                      <a:lnTo>
                        <a:pt x="449" y="69"/>
                      </a:lnTo>
                      <a:lnTo>
                        <a:pt x="451" y="69"/>
                      </a:lnTo>
                      <a:lnTo>
                        <a:pt x="452" y="69"/>
                      </a:lnTo>
                      <a:lnTo>
                        <a:pt x="451" y="70"/>
                      </a:lnTo>
                      <a:lnTo>
                        <a:pt x="452" y="70"/>
                      </a:lnTo>
                      <a:lnTo>
                        <a:pt x="454" y="70"/>
                      </a:lnTo>
                      <a:lnTo>
                        <a:pt x="456" y="70"/>
                      </a:lnTo>
                      <a:lnTo>
                        <a:pt x="457" y="70"/>
                      </a:lnTo>
                      <a:lnTo>
                        <a:pt x="457" y="72"/>
                      </a:lnTo>
                      <a:lnTo>
                        <a:pt x="459" y="72"/>
                      </a:lnTo>
                      <a:lnTo>
                        <a:pt x="461" y="72"/>
                      </a:lnTo>
                      <a:lnTo>
                        <a:pt x="461" y="70"/>
                      </a:lnTo>
                      <a:lnTo>
                        <a:pt x="462" y="70"/>
                      </a:lnTo>
                      <a:lnTo>
                        <a:pt x="464" y="70"/>
                      </a:lnTo>
                      <a:lnTo>
                        <a:pt x="464" y="72"/>
                      </a:lnTo>
                      <a:lnTo>
                        <a:pt x="466" y="72"/>
                      </a:lnTo>
                      <a:lnTo>
                        <a:pt x="464" y="72"/>
                      </a:lnTo>
                      <a:lnTo>
                        <a:pt x="466" y="72"/>
                      </a:lnTo>
                      <a:lnTo>
                        <a:pt x="467" y="72"/>
                      </a:lnTo>
                      <a:lnTo>
                        <a:pt x="466" y="74"/>
                      </a:lnTo>
                      <a:lnTo>
                        <a:pt x="467" y="74"/>
                      </a:lnTo>
                      <a:lnTo>
                        <a:pt x="467" y="72"/>
                      </a:lnTo>
                      <a:lnTo>
                        <a:pt x="469" y="72"/>
                      </a:lnTo>
                      <a:lnTo>
                        <a:pt x="469" y="74"/>
                      </a:lnTo>
                      <a:lnTo>
                        <a:pt x="469" y="72"/>
                      </a:lnTo>
                      <a:lnTo>
                        <a:pt x="471" y="72"/>
                      </a:lnTo>
                      <a:lnTo>
                        <a:pt x="471" y="74"/>
                      </a:lnTo>
                      <a:lnTo>
                        <a:pt x="471" y="75"/>
                      </a:lnTo>
                      <a:lnTo>
                        <a:pt x="473" y="75"/>
                      </a:lnTo>
                      <a:lnTo>
                        <a:pt x="474" y="75"/>
                      </a:lnTo>
                      <a:lnTo>
                        <a:pt x="474" y="74"/>
                      </a:lnTo>
                      <a:lnTo>
                        <a:pt x="474" y="75"/>
                      </a:lnTo>
                      <a:lnTo>
                        <a:pt x="476" y="75"/>
                      </a:lnTo>
                      <a:lnTo>
                        <a:pt x="476" y="74"/>
                      </a:lnTo>
                      <a:lnTo>
                        <a:pt x="478" y="74"/>
                      </a:lnTo>
                      <a:lnTo>
                        <a:pt x="478" y="75"/>
                      </a:lnTo>
                      <a:lnTo>
                        <a:pt x="479" y="75"/>
                      </a:lnTo>
                      <a:lnTo>
                        <a:pt x="481" y="75"/>
                      </a:lnTo>
                      <a:lnTo>
                        <a:pt x="481" y="77"/>
                      </a:lnTo>
                      <a:lnTo>
                        <a:pt x="483" y="77"/>
                      </a:lnTo>
                      <a:lnTo>
                        <a:pt x="483" y="78"/>
                      </a:lnTo>
                      <a:lnTo>
                        <a:pt x="484" y="78"/>
                      </a:lnTo>
                      <a:lnTo>
                        <a:pt x="484" y="80"/>
                      </a:lnTo>
                      <a:lnTo>
                        <a:pt x="486" y="80"/>
                      </a:lnTo>
                      <a:lnTo>
                        <a:pt x="486" y="82"/>
                      </a:lnTo>
                      <a:lnTo>
                        <a:pt x="488" y="82"/>
                      </a:lnTo>
                      <a:lnTo>
                        <a:pt x="488" y="80"/>
                      </a:lnTo>
                      <a:lnTo>
                        <a:pt x="489" y="82"/>
                      </a:lnTo>
                      <a:lnTo>
                        <a:pt x="488" y="82"/>
                      </a:lnTo>
                      <a:lnTo>
                        <a:pt x="488" y="83"/>
                      </a:lnTo>
                      <a:lnTo>
                        <a:pt x="489" y="85"/>
                      </a:lnTo>
                      <a:lnTo>
                        <a:pt x="488" y="85"/>
                      </a:lnTo>
                      <a:lnTo>
                        <a:pt x="486" y="87"/>
                      </a:lnTo>
                      <a:lnTo>
                        <a:pt x="486" y="88"/>
                      </a:lnTo>
                      <a:lnTo>
                        <a:pt x="484" y="88"/>
                      </a:lnTo>
                      <a:lnTo>
                        <a:pt x="484" y="90"/>
                      </a:lnTo>
                      <a:lnTo>
                        <a:pt x="483" y="90"/>
                      </a:lnTo>
                      <a:lnTo>
                        <a:pt x="484" y="90"/>
                      </a:lnTo>
                      <a:lnTo>
                        <a:pt x="484" y="92"/>
                      </a:lnTo>
                      <a:lnTo>
                        <a:pt x="486" y="92"/>
                      </a:lnTo>
                      <a:lnTo>
                        <a:pt x="484" y="92"/>
                      </a:lnTo>
                      <a:lnTo>
                        <a:pt x="483" y="95"/>
                      </a:lnTo>
                      <a:lnTo>
                        <a:pt x="483" y="97"/>
                      </a:lnTo>
                      <a:lnTo>
                        <a:pt x="484" y="98"/>
                      </a:lnTo>
                      <a:lnTo>
                        <a:pt x="484" y="100"/>
                      </a:lnTo>
                      <a:lnTo>
                        <a:pt x="486" y="101"/>
                      </a:lnTo>
                      <a:lnTo>
                        <a:pt x="488" y="103"/>
                      </a:lnTo>
                      <a:lnTo>
                        <a:pt x="489" y="103"/>
                      </a:lnTo>
                      <a:lnTo>
                        <a:pt x="491" y="103"/>
                      </a:lnTo>
                      <a:lnTo>
                        <a:pt x="493" y="103"/>
                      </a:lnTo>
                      <a:lnTo>
                        <a:pt x="495" y="103"/>
                      </a:lnTo>
                      <a:lnTo>
                        <a:pt x="495" y="105"/>
                      </a:lnTo>
                      <a:lnTo>
                        <a:pt x="493" y="106"/>
                      </a:lnTo>
                      <a:lnTo>
                        <a:pt x="493" y="108"/>
                      </a:lnTo>
                      <a:lnTo>
                        <a:pt x="491" y="108"/>
                      </a:lnTo>
                      <a:lnTo>
                        <a:pt x="491" y="110"/>
                      </a:lnTo>
                      <a:lnTo>
                        <a:pt x="493" y="110"/>
                      </a:lnTo>
                      <a:lnTo>
                        <a:pt x="493" y="111"/>
                      </a:lnTo>
                      <a:lnTo>
                        <a:pt x="495" y="111"/>
                      </a:lnTo>
                      <a:lnTo>
                        <a:pt x="495" y="113"/>
                      </a:lnTo>
                      <a:lnTo>
                        <a:pt x="496" y="113"/>
                      </a:lnTo>
                      <a:lnTo>
                        <a:pt x="496" y="115"/>
                      </a:lnTo>
                      <a:lnTo>
                        <a:pt x="495" y="115"/>
                      </a:lnTo>
                      <a:lnTo>
                        <a:pt x="496" y="115"/>
                      </a:lnTo>
                      <a:lnTo>
                        <a:pt x="498" y="115"/>
                      </a:lnTo>
                      <a:lnTo>
                        <a:pt x="496" y="116"/>
                      </a:lnTo>
                      <a:lnTo>
                        <a:pt x="498" y="116"/>
                      </a:lnTo>
                      <a:lnTo>
                        <a:pt x="498" y="118"/>
                      </a:lnTo>
                      <a:lnTo>
                        <a:pt x="498" y="120"/>
                      </a:lnTo>
                      <a:lnTo>
                        <a:pt x="500" y="120"/>
                      </a:lnTo>
                      <a:lnTo>
                        <a:pt x="500" y="118"/>
                      </a:lnTo>
                      <a:lnTo>
                        <a:pt x="501" y="118"/>
                      </a:lnTo>
                      <a:lnTo>
                        <a:pt x="501" y="120"/>
                      </a:lnTo>
                      <a:lnTo>
                        <a:pt x="503" y="120"/>
                      </a:lnTo>
                      <a:lnTo>
                        <a:pt x="503" y="121"/>
                      </a:lnTo>
                      <a:lnTo>
                        <a:pt x="505" y="121"/>
                      </a:lnTo>
                      <a:lnTo>
                        <a:pt x="503" y="121"/>
                      </a:lnTo>
                      <a:lnTo>
                        <a:pt x="503" y="123"/>
                      </a:lnTo>
                      <a:lnTo>
                        <a:pt x="501" y="123"/>
                      </a:lnTo>
                      <a:lnTo>
                        <a:pt x="501" y="124"/>
                      </a:lnTo>
                      <a:lnTo>
                        <a:pt x="500" y="123"/>
                      </a:lnTo>
                      <a:lnTo>
                        <a:pt x="500" y="124"/>
                      </a:lnTo>
                      <a:lnTo>
                        <a:pt x="500" y="126"/>
                      </a:lnTo>
                      <a:lnTo>
                        <a:pt x="498" y="126"/>
                      </a:lnTo>
                      <a:lnTo>
                        <a:pt x="498" y="124"/>
                      </a:lnTo>
                      <a:lnTo>
                        <a:pt x="498" y="126"/>
                      </a:lnTo>
                      <a:lnTo>
                        <a:pt x="496" y="126"/>
                      </a:lnTo>
                      <a:lnTo>
                        <a:pt x="496" y="128"/>
                      </a:lnTo>
                      <a:lnTo>
                        <a:pt x="496" y="129"/>
                      </a:lnTo>
                      <a:lnTo>
                        <a:pt x="498" y="129"/>
                      </a:lnTo>
                      <a:lnTo>
                        <a:pt x="496" y="129"/>
                      </a:lnTo>
                      <a:lnTo>
                        <a:pt x="498" y="131"/>
                      </a:lnTo>
                      <a:lnTo>
                        <a:pt x="498" y="133"/>
                      </a:lnTo>
                      <a:lnTo>
                        <a:pt x="496" y="133"/>
                      </a:lnTo>
                      <a:lnTo>
                        <a:pt x="496" y="134"/>
                      </a:lnTo>
                      <a:lnTo>
                        <a:pt x="496" y="136"/>
                      </a:lnTo>
                      <a:lnTo>
                        <a:pt x="496" y="134"/>
                      </a:lnTo>
                      <a:lnTo>
                        <a:pt x="495" y="134"/>
                      </a:lnTo>
                      <a:lnTo>
                        <a:pt x="495" y="136"/>
                      </a:lnTo>
                      <a:lnTo>
                        <a:pt x="493" y="136"/>
                      </a:lnTo>
                      <a:lnTo>
                        <a:pt x="493" y="134"/>
                      </a:lnTo>
                      <a:lnTo>
                        <a:pt x="493" y="136"/>
                      </a:lnTo>
                      <a:lnTo>
                        <a:pt x="491" y="136"/>
                      </a:lnTo>
                      <a:lnTo>
                        <a:pt x="489" y="136"/>
                      </a:lnTo>
                      <a:lnTo>
                        <a:pt x="489" y="138"/>
                      </a:lnTo>
                      <a:lnTo>
                        <a:pt x="488" y="138"/>
                      </a:lnTo>
                      <a:lnTo>
                        <a:pt x="488" y="139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9" y="143"/>
                      </a:lnTo>
                      <a:lnTo>
                        <a:pt x="489" y="144"/>
                      </a:lnTo>
                      <a:lnTo>
                        <a:pt x="488" y="144"/>
                      </a:lnTo>
                      <a:lnTo>
                        <a:pt x="486" y="144"/>
                      </a:lnTo>
                      <a:lnTo>
                        <a:pt x="486" y="146"/>
                      </a:lnTo>
                      <a:lnTo>
                        <a:pt x="484" y="146"/>
                      </a:lnTo>
                      <a:lnTo>
                        <a:pt x="484" y="147"/>
                      </a:lnTo>
                      <a:lnTo>
                        <a:pt x="483" y="147"/>
                      </a:lnTo>
                      <a:lnTo>
                        <a:pt x="481" y="147"/>
                      </a:lnTo>
                      <a:lnTo>
                        <a:pt x="481" y="149"/>
                      </a:lnTo>
                      <a:lnTo>
                        <a:pt x="481" y="151"/>
                      </a:lnTo>
                      <a:lnTo>
                        <a:pt x="479" y="151"/>
                      </a:lnTo>
                      <a:lnTo>
                        <a:pt x="481" y="151"/>
                      </a:lnTo>
                      <a:lnTo>
                        <a:pt x="479" y="151"/>
                      </a:lnTo>
                      <a:lnTo>
                        <a:pt x="478" y="151"/>
                      </a:lnTo>
                      <a:lnTo>
                        <a:pt x="476" y="151"/>
                      </a:lnTo>
                      <a:lnTo>
                        <a:pt x="476" y="152"/>
                      </a:lnTo>
                      <a:lnTo>
                        <a:pt x="474" y="152"/>
                      </a:lnTo>
                      <a:lnTo>
                        <a:pt x="473" y="152"/>
                      </a:lnTo>
                      <a:lnTo>
                        <a:pt x="473" y="154"/>
                      </a:lnTo>
                      <a:lnTo>
                        <a:pt x="471" y="154"/>
                      </a:lnTo>
                      <a:lnTo>
                        <a:pt x="471" y="156"/>
                      </a:lnTo>
                      <a:lnTo>
                        <a:pt x="471" y="157"/>
                      </a:lnTo>
                      <a:lnTo>
                        <a:pt x="473" y="157"/>
                      </a:lnTo>
                      <a:lnTo>
                        <a:pt x="473" y="159"/>
                      </a:lnTo>
                      <a:lnTo>
                        <a:pt x="474" y="161"/>
                      </a:lnTo>
                      <a:lnTo>
                        <a:pt x="476" y="161"/>
                      </a:lnTo>
                      <a:lnTo>
                        <a:pt x="476" y="162"/>
                      </a:lnTo>
                      <a:lnTo>
                        <a:pt x="476" y="164"/>
                      </a:lnTo>
                      <a:lnTo>
                        <a:pt x="474" y="164"/>
                      </a:lnTo>
                      <a:lnTo>
                        <a:pt x="476" y="164"/>
                      </a:lnTo>
                      <a:lnTo>
                        <a:pt x="476" y="166"/>
                      </a:lnTo>
                      <a:lnTo>
                        <a:pt x="474" y="166"/>
                      </a:lnTo>
                      <a:lnTo>
                        <a:pt x="474" y="167"/>
                      </a:lnTo>
                      <a:lnTo>
                        <a:pt x="473" y="167"/>
                      </a:lnTo>
                      <a:lnTo>
                        <a:pt x="473" y="169"/>
                      </a:lnTo>
                      <a:lnTo>
                        <a:pt x="474" y="169"/>
                      </a:lnTo>
                      <a:lnTo>
                        <a:pt x="476" y="169"/>
                      </a:lnTo>
                      <a:lnTo>
                        <a:pt x="476" y="170"/>
                      </a:lnTo>
                      <a:lnTo>
                        <a:pt x="474" y="170"/>
                      </a:lnTo>
                      <a:lnTo>
                        <a:pt x="476" y="172"/>
                      </a:lnTo>
                      <a:lnTo>
                        <a:pt x="476" y="174"/>
                      </a:lnTo>
                      <a:lnTo>
                        <a:pt x="476" y="175"/>
                      </a:lnTo>
                      <a:lnTo>
                        <a:pt x="474" y="175"/>
                      </a:lnTo>
                      <a:lnTo>
                        <a:pt x="474" y="177"/>
                      </a:lnTo>
                      <a:lnTo>
                        <a:pt x="474" y="179"/>
                      </a:lnTo>
                      <a:lnTo>
                        <a:pt x="473" y="179"/>
                      </a:lnTo>
                      <a:lnTo>
                        <a:pt x="473" y="180"/>
                      </a:lnTo>
                      <a:lnTo>
                        <a:pt x="473" y="182"/>
                      </a:lnTo>
                      <a:lnTo>
                        <a:pt x="471" y="182"/>
                      </a:lnTo>
                      <a:lnTo>
                        <a:pt x="471" y="184"/>
                      </a:lnTo>
                      <a:lnTo>
                        <a:pt x="469" y="184"/>
                      </a:lnTo>
                      <a:lnTo>
                        <a:pt x="469" y="185"/>
                      </a:lnTo>
                      <a:lnTo>
                        <a:pt x="469" y="187"/>
                      </a:lnTo>
                      <a:lnTo>
                        <a:pt x="469" y="189"/>
                      </a:lnTo>
                      <a:lnTo>
                        <a:pt x="467" y="189"/>
                      </a:lnTo>
                      <a:lnTo>
                        <a:pt x="466" y="190"/>
                      </a:lnTo>
                      <a:lnTo>
                        <a:pt x="466" y="192"/>
                      </a:lnTo>
                      <a:lnTo>
                        <a:pt x="467" y="193"/>
                      </a:lnTo>
                      <a:lnTo>
                        <a:pt x="467" y="195"/>
                      </a:lnTo>
                      <a:lnTo>
                        <a:pt x="466" y="195"/>
                      </a:lnTo>
                      <a:lnTo>
                        <a:pt x="467" y="195"/>
                      </a:lnTo>
                      <a:lnTo>
                        <a:pt x="466" y="195"/>
                      </a:lnTo>
                      <a:lnTo>
                        <a:pt x="466" y="197"/>
                      </a:lnTo>
                      <a:lnTo>
                        <a:pt x="467" y="197"/>
                      </a:lnTo>
                      <a:lnTo>
                        <a:pt x="467" y="198"/>
                      </a:lnTo>
                      <a:lnTo>
                        <a:pt x="466" y="198"/>
                      </a:lnTo>
                      <a:lnTo>
                        <a:pt x="466" y="197"/>
                      </a:lnTo>
                      <a:lnTo>
                        <a:pt x="466" y="198"/>
                      </a:lnTo>
                      <a:lnTo>
                        <a:pt x="464" y="198"/>
                      </a:lnTo>
                      <a:lnTo>
                        <a:pt x="464" y="200"/>
                      </a:lnTo>
                      <a:lnTo>
                        <a:pt x="462" y="200"/>
                      </a:lnTo>
                      <a:lnTo>
                        <a:pt x="462" y="202"/>
                      </a:lnTo>
                      <a:lnTo>
                        <a:pt x="462" y="203"/>
                      </a:lnTo>
                      <a:lnTo>
                        <a:pt x="462" y="205"/>
                      </a:lnTo>
                      <a:lnTo>
                        <a:pt x="462" y="207"/>
                      </a:lnTo>
                      <a:lnTo>
                        <a:pt x="461" y="207"/>
                      </a:lnTo>
                      <a:lnTo>
                        <a:pt x="462" y="207"/>
                      </a:lnTo>
                      <a:lnTo>
                        <a:pt x="462" y="208"/>
                      </a:lnTo>
                      <a:lnTo>
                        <a:pt x="462" y="210"/>
                      </a:lnTo>
                      <a:lnTo>
                        <a:pt x="461" y="212"/>
                      </a:lnTo>
                      <a:lnTo>
                        <a:pt x="462" y="212"/>
                      </a:lnTo>
                      <a:lnTo>
                        <a:pt x="462" y="213"/>
                      </a:lnTo>
                      <a:lnTo>
                        <a:pt x="461" y="213"/>
                      </a:lnTo>
                      <a:lnTo>
                        <a:pt x="459" y="215"/>
                      </a:lnTo>
                      <a:lnTo>
                        <a:pt x="459" y="216"/>
                      </a:lnTo>
                      <a:lnTo>
                        <a:pt x="461" y="216"/>
                      </a:lnTo>
                      <a:lnTo>
                        <a:pt x="461" y="218"/>
                      </a:lnTo>
                      <a:lnTo>
                        <a:pt x="459" y="220"/>
                      </a:lnTo>
                      <a:lnTo>
                        <a:pt x="459" y="221"/>
                      </a:lnTo>
                      <a:lnTo>
                        <a:pt x="459" y="223"/>
                      </a:lnTo>
                      <a:lnTo>
                        <a:pt x="459" y="226"/>
                      </a:lnTo>
                      <a:lnTo>
                        <a:pt x="459" y="228"/>
                      </a:lnTo>
                      <a:lnTo>
                        <a:pt x="459" y="230"/>
                      </a:lnTo>
                      <a:lnTo>
                        <a:pt x="459" y="231"/>
                      </a:lnTo>
                      <a:lnTo>
                        <a:pt x="459" y="233"/>
                      </a:lnTo>
                      <a:lnTo>
                        <a:pt x="459" y="234"/>
                      </a:lnTo>
                      <a:lnTo>
                        <a:pt x="459" y="236"/>
                      </a:lnTo>
                      <a:lnTo>
                        <a:pt x="459" y="238"/>
                      </a:lnTo>
                      <a:lnTo>
                        <a:pt x="461" y="238"/>
                      </a:lnTo>
                      <a:lnTo>
                        <a:pt x="461" y="239"/>
                      </a:lnTo>
                      <a:lnTo>
                        <a:pt x="461" y="241"/>
                      </a:lnTo>
                      <a:lnTo>
                        <a:pt x="461" y="243"/>
                      </a:lnTo>
                      <a:lnTo>
                        <a:pt x="461" y="244"/>
                      </a:lnTo>
                      <a:lnTo>
                        <a:pt x="462" y="244"/>
                      </a:lnTo>
                      <a:lnTo>
                        <a:pt x="461" y="244"/>
                      </a:lnTo>
                      <a:lnTo>
                        <a:pt x="461" y="246"/>
                      </a:lnTo>
                      <a:lnTo>
                        <a:pt x="462" y="246"/>
                      </a:lnTo>
                      <a:lnTo>
                        <a:pt x="464" y="246"/>
                      </a:lnTo>
                      <a:lnTo>
                        <a:pt x="464" y="248"/>
                      </a:lnTo>
                      <a:lnTo>
                        <a:pt x="464" y="249"/>
                      </a:lnTo>
                      <a:lnTo>
                        <a:pt x="464" y="251"/>
                      </a:lnTo>
                      <a:lnTo>
                        <a:pt x="466" y="251"/>
                      </a:lnTo>
                      <a:lnTo>
                        <a:pt x="466" y="253"/>
                      </a:lnTo>
                      <a:lnTo>
                        <a:pt x="466" y="254"/>
                      </a:lnTo>
                      <a:lnTo>
                        <a:pt x="467" y="256"/>
                      </a:lnTo>
                      <a:lnTo>
                        <a:pt x="467" y="257"/>
                      </a:lnTo>
                      <a:lnTo>
                        <a:pt x="467" y="259"/>
                      </a:lnTo>
                      <a:lnTo>
                        <a:pt x="467" y="261"/>
                      </a:lnTo>
                      <a:lnTo>
                        <a:pt x="469" y="261"/>
                      </a:lnTo>
                      <a:lnTo>
                        <a:pt x="467" y="261"/>
                      </a:lnTo>
                      <a:lnTo>
                        <a:pt x="467" y="262"/>
                      </a:lnTo>
                      <a:lnTo>
                        <a:pt x="467" y="264"/>
                      </a:lnTo>
                      <a:lnTo>
                        <a:pt x="467" y="266"/>
                      </a:lnTo>
                      <a:lnTo>
                        <a:pt x="467" y="267"/>
                      </a:lnTo>
                      <a:lnTo>
                        <a:pt x="469" y="267"/>
                      </a:lnTo>
                      <a:lnTo>
                        <a:pt x="471" y="267"/>
                      </a:lnTo>
                      <a:lnTo>
                        <a:pt x="471" y="269"/>
                      </a:lnTo>
                      <a:lnTo>
                        <a:pt x="473" y="269"/>
                      </a:lnTo>
                      <a:lnTo>
                        <a:pt x="473" y="271"/>
                      </a:lnTo>
                      <a:lnTo>
                        <a:pt x="474" y="271"/>
                      </a:lnTo>
                      <a:lnTo>
                        <a:pt x="476" y="271"/>
                      </a:lnTo>
                      <a:lnTo>
                        <a:pt x="476" y="272"/>
                      </a:lnTo>
                      <a:lnTo>
                        <a:pt x="476" y="274"/>
                      </a:lnTo>
                      <a:lnTo>
                        <a:pt x="478" y="274"/>
                      </a:lnTo>
                      <a:lnTo>
                        <a:pt x="479" y="274"/>
                      </a:lnTo>
                      <a:lnTo>
                        <a:pt x="481" y="274"/>
                      </a:lnTo>
                      <a:lnTo>
                        <a:pt x="483" y="274"/>
                      </a:lnTo>
                      <a:lnTo>
                        <a:pt x="484" y="274"/>
                      </a:lnTo>
                      <a:lnTo>
                        <a:pt x="484" y="276"/>
                      </a:lnTo>
                      <a:lnTo>
                        <a:pt x="484" y="277"/>
                      </a:lnTo>
                      <a:lnTo>
                        <a:pt x="484" y="279"/>
                      </a:lnTo>
                      <a:lnTo>
                        <a:pt x="484" y="280"/>
                      </a:lnTo>
                      <a:lnTo>
                        <a:pt x="484" y="282"/>
                      </a:lnTo>
                      <a:lnTo>
                        <a:pt x="483" y="282"/>
                      </a:lnTo>
                      <a:lnTo>
                        <a:pt x="484" y="282"/>
                      </a:lnTo>
                      <a:lnTo>
                        <a:pt x="483" y="284"/>
                      </a:lnTo>
                      <a:lnTo>
                        <a:pt x="483" y="285"/>
                      </a:lnTo>
                      <a:lnTo>
                        <a:pt x="483" y="287"/>
                      </a:lnTo>
                      <a:lnTo>
                        <a:pt x="484" y="287"/>
                      </a:lnTo>
                      <a:lnTo>
                        <a:pt x="484" y="289"/>
                      </a:lnTo>
                      <a:lnTo>
                        <a:pt x="484" y="290"/>
                      </a:lnTo>
                      <a:lnTo>
                        <a:pt x="484" y="292"/>
                      </a:lnTo>
                      <a:lnTo>
                        <a:pt x="483" y="292"/>
                      </a:lnTo>
                      <a:lnTo>
                        <a:pt x="483" y="294"/>
                      </a:lnTo>
                      <a:lnTo>
                        <a:pt x="483" y="295"/>
                      </a:lnTo>
                      <a:lnTo>
                        <a:pt x="483" y="297"/>
                      </a:lnTo>
                      <a:lnTo>
                        <a:pt x="484" y="297"/>
                      </a:lnTo>
                      <a:lnTo>
                        <a:pt x="483" y="297"/>
                      </a:lnTo>
                      <a:lnTo>
                        <a:pt x="484" y="297"/>
                      </a:lnTo>
                      <a:lnTo>
                        <a:pt x="484" y="299"/>
                      </a:lnTo>
                      <a:lnTo>
                        <a:pt x="483" y="299"/>
                      </a:lnTo>
                      <a:lnTo>
                        <a:pt x="483" y="300"/>
                      </a:lnTo>
                      <a:lnTo>
                        <a:pt x="483" y="302"/>
                      </a:lnTo>
                      <a:lnTo>
                        <a:pt x="483" y="303"/>
                      </a:lnTo>
                      <a:lnTo>
                        <a:pt x="483" y="305"/>
                      </a:lnTo>
                      <a:lnTo>
                        <a:pt x="483" y="307"/>
                      </a:lnTo>
                      <a:lnTo>
                        <a:pt x="481" y="307"/>
                      </a:lnTo>
                      <a:lnTo>
                        <a:pt x="481" y="308"/>
                      </a:lnTo>
                      <a:lnTo>
                        <a:pt x="481" y="310"/>
                      </a:lnTo>
                      <a:lnTo>
                        <a:pt x="481" y="312"/>
                      </a:lnTo>
                      <a:lnTo>
                        <a:pt x="483" y="312"/>
                      </a:lnTo>
                      <a:lnTo>
                        <a:pt x="481" y="312"/>
                      </a:lnTo>
                      <a:lnTo>
                        <a:pt x="481" y="313"/>
                      </a:lnTo>
                      <a:lnTo>
                        <a:pt x="483" y="313"/>
                      </a:lnTo>
                      <a:lnTo>
                        <a:pt x="483" y="315"/>
                      </a:lnTo>
                      <a:lnTo>
                        <a:pt x="484" y="315"/>
                      </a:lnTo>
                      <a:lnTo>
                        <a:pt x="486" y="313"/>
                      </a:lnTo>
                      <a:lnTo>
                        <a:pt x="488" y="313"/>
                      </a:lnTo>
                      <a:lnTo>
                        <a:pt x="488" y="315"/>
                      </a:lnTo>
                      <a:lnTo>
                        <a:pt x="489" y="315"/>
                      </a:lnTo>
                      <a:lnTo>
                        <a:pt x="489" y="313"/>
                      </a:lnTo>
                      <a:lnTo>
                        <a:pt x="491" y="313"/>
                      </a:lnTo>
                      <a:lnTo>
                        <a:pt x="491" y="315"/>
                      </a:lnTo>
                      <a:lnTo>
                        <a:pt x="491" y="317"/>
                      </a:lnTo>
                      <a:lnTo>
                        <a:pt x="491" y="318"/>
                      </a:lnTo>
                      <a:lnTo>
                        <a:pt x="489" y="318"/>
                      </a:lnTo>
                      <a:lnTo>
                        <a:pt x="488" y="318"/>
                      </a:lnTo>
                      <a:lnTo>
                        <a:pt x="488" y="320"/>
                      </a:lnTo>
                      <a:lnTo>
                        <a:pt x="488" y="322"/>
                      </a:lnTo>
                      <a:lnTo>
                        <a:pt x="488" y="323"/>
                      </a:lnTo>
                      <a:lnTo>
                        <a:pt x="489" y="323"/>
                      </a:lnTo>
                      <a:lnTo>
                        <a:pt x="489" y="325"/>
                      </a:lnTo>
                      <a:lnTo>
                        <a:pt x="491" y="325"/>
                      </a:lnTo>
                      <a:lnTo>
                        <a:pt x="493" y="325"/>
                      </a:lnTo>
                      <a:lnTo>
                        <a:pt x="493" y="326"/>
                      </a:lnTo>
                      <a:lnTo>
                        <a:pt x="495" y="326"/>
                      </a:lnTo>
                      <a:lnTo>
                        <a:pt x="496" y="326"/>
                      </a:lnTo>
                      <a:lnTo>
                        <a:pt x="498" y="326"/>
                      </a:lnTo>
                      <a:lnTo>
                        <a:pt x="498" y="325"/>
                      </a:lnTo>
                      <a:lnTo>
                        <a:pt x="500" y="325"/>
                      </a:lnTo>
                      <a:lnTo>
                        <a:pt x="500" y="326"/>
                      </a:lnTo>
                      <a:lnTo>
                        <a:pt x="501" y="325"/>
                      </a:lnTo>
                      <a:lnTo>
                        <a:pt x="501" y="326"/>
                      </a:lnTo>
                      <a:lnTo>
                        <a:pt x="503" y="326"/>
                      </a:lnTo>
                      <a:lnTo>
                        <a:pt x="503" y="328"/>
                      </a:lnTo>
                      <a:lnTo>
                        <a:pt x="503" y="330"/>
                      </a:lnTo>
                      <a:lnTo>
                        <a:pt x="505" y="330"/>
                      </a:lnTo>
                      <a:lnTo>
                        <a:pt x="505" y="331"/>
                      </a:lnTo>
                      <a:lnTo>
                        <a:pt x="505" y="330"/>
                      </a:lnTo>
                      <a:lnTo>
                        <a:pt x="506" y="330"/>
                      </a:lnTo>
                      <a:lnTo>
                        <a:pt x="506" y="331"/>
                      </a:lnTo>
                      <a:lnTo>
                        <a:pt x="506" y="333"/>
                      </a:lnTo>
                      <a:lnTo>
                        <a:pt x="506" y="335"/>
                      </a:lnTo>
                      <a:lnTo>
                        <a:pt x="508" y="335"/>
                      </a:lnTo>
                      <a:lnTo>
                        <a:pt x="508" y="336"/>
                      </a:lnTo>
                      <a:lnTo>
                        <a:pt x="510" y="336"/>
                      </a:lnTo>
                      <a:lnTo>
                        <a:pt x="511" y="336"/>
                      </a:lnTo>
                      <a:lnTo>
                        <a:pt x="511" y="338"/>
                      </a:lnTo>
                      <a:lnTo>
                        <a:pt x="513" y="338"/>
                      </a:lnTo>
                      <a:lnTo>
                        <a:pt x="513" y="340"/>
                      </a:lnTo>
                      <a:lnTo>
                        <a:pt x="511" y="340"/>
                      </a:lnTo>
                      <a:lnTo>
                        <a:pt x="511" y="341"/>
                      </a:lnTo>
                      <a:lnTo>
                        <a:pt x="513" y="341"/>
                      </a:lnTo>
                      <a:lnTo>
                        <a:pt x="515" y="341"/>
                      </a:lnTo>
                      <a:lnTo>
                        <a:pt x="515" y="343"/>
                      </a:lnTo>
                      <a:lnTo>
                        <a:pt x="516" y="345"/>
                      </a:lnTo>
                      <a:lnTo>
                        <a:pt x="516" y="346"/>
                      </a:lnTo>
                      <a:lnTo>
                        <a:pt x="518" y="346"/>
                      </a:lnTo>
                      <a:lnTo>
                        <a:pt x="518" y="345"/>
                      </a:lnTo>
                      <a:lnTo>
                        <a:pt x="520" y="345"/>
                      </a:lnTo>
                      <a:lnTo>
                        <a:pt x="522" y="346"/>
                      </a:lnTo>
                      <a:lnTo>
                        <a:pt x="522" y="348"/>
                      </a:lnTo>
                      <a:lnTo>
                        <a:pt x="522" y="349"/>
                      </a:lnTo>
                      <a:lnTo>
                        <a:pt x="523" y="351"/>
                      </a:lnTo>
                      <a:lnTo>
                        <a:pt x="523" y="349"/>
                      </a:lnTo>
                      <a:lnTo>
                        <a:pt x="525" y="349"/>
                      </a:lnTo>
                      <a:lnTo>
                        <a:pt x="525" y="351"/>
                      </a:lnTo>
                      <a:lnTo>
                        <a:pt x="527" y="351"/>
                      </a:lnTo>
                      <a:lnTo>
                        <a:pt x="525" y="351"/>
                      </a:lnTo>
                      <a:lnTo>
                        <a:pt x="525" y="353"/>
                      </a:lnTo>
                      <a:lnTo>
                        <a:pt x="527" y="353"/>
                      </a:lnTo>
                      <a:lnTo>
                        <a:pt x="527" y="354"/>
                      </a:lnTo>
                      <a:lnTo>
                        <a:pt x="527" y="356"/>
                      </a:lnTo>
                      <a:lnTo>
                        <a:pt x="528" y="356"/>
                      </a:lnTo>
                      <a:lnTo>
                        <a:pt x="528" y="358"/>
                      </a:lnTo>
                      <a:lnTo>
                        <a:pt x="530" y="358"/>
                      </a:lnTo>
                      <a:lnTo>
                        <a:pt x="532" y="358"/>
                      </a:lnTo>
                      <a:lnTo>
                        <a:pt x="533" y="358"/>
                      </a:lnTo>
                      <a:lnTo>
                        <a:pt x="533" y="359"/>
                      </a:lnTo>
                      <a:lnTo>
                        <a:pt x="533" y="358"/>
                      </a:lnTo>
                      <a:lnTo>
                        <a:pt x="535" y="358"/>
                      </a:lnTo>
                      <a:lnTo>
                        <a:pt x="535" y="359"/>
                      </a:lnTo>
                      <a:lnTo>
                        <a:pt x="537" y="359"/>
                      </a:lnTo>
                      <a:lnTo>
                        <a:pt x="538" y="361"/>
                      </a:lnTo>
                      <a:lnTo>
                        <a:pt x="540" y="361"/>
                      </a:lnTo>
                      <a:lnTo>
                        <a:pt x="542" y="361"/>
                      </a:lnTo>
                      <a:lnTo>
                        <a:pt x="543" y="361"/>
                      </a:lnTo>
                      <a:lnTo>
                        <a:pt x="545" y="361"/>
                      </a:lnTo>
                      <a:lnTo>
                        <a:pt x="545" y="363"/>
                      </a:lnTo>
                      <a:lnTo>
                        <a:pt x="547" y="363"/>
                      </a:lnTo>
                      <a:lnTo>
                        <a:pt x="549" y="363"/>
                      </a:lnTo>
                      <a:lnTo>
                        <a:pt x="550" y="363"/>
                      </a:lnTo>
                      <a:lnTo>
                        <a:pt x="552" y="363"/>
                      </a:lnTo>
                      <a:lnTo>
                        <a:pt x="554" y="363"/>
                      </a:lnTo>
                      <a:lnTo>
                        <a:pt x="554" y="364"/>
                      </a:lnTo>
                      <a:lnTo>
                        <a:pt x="555" y="364"/>
                      </a:lnTo>
                      <a:lnTo>
                        <a:pt x="557" y="364"/>
                      </a:lnTo>
                      <a:lnTo>
                        <a:pt x="559" y="364"/>
                      </a:lnTo>
                      <a:lnTo>
                        <a:pt x="560" y="364"/>
                      </a:lnTo>
                      <a:lnTo>
                        <a:pt x="560" y="366"/>
                      </a:lnTo>
                      <a:lnTo>
                        <a:pt x="562" y="368"/>
                      </a:lnTo>
                      <a:lnTo>
                        <a:pt x="564" y="368"/>
                      </a:lnTo>
                      <a:lnTo>
                        <a:pt x="564" y="369"/>
                      </a:lnTo>
                      <a:lnTo>
                        <a:pt x="562" y="369"/>
                      </a:lnTo>
                      <a:lnTo>
                        <a:pt x="562" y="371"/>
                      </a:lnTo>
                      <a:lnTo>
                        <a:pt x="560" y="371"/>
                      </a:lnTo>
                      <a:lnTo>
                        <a:pt x="562" y="371"/>
                      </a:lnTo>
                      <a:lnTo>
                        <a:pt x="562" y="372"/>
                      </a:lnTo>
                      <a:lnTo>
                        <a:pt x="562" y="461"/>
                      </a:lnTo>
                      <a:lnTo>
                        <a:pt x="535" y="461"/>
                      </a:lnTo>
                      <a:lnTo>
                        <a:pt x="454" y="461"/>
                      </a:lnTo>
                      <a:lnTo>
                        <a:pt x="454" y="463"/>
                      </a:lnTo>
                      <a:lnTo>
                        <a:pt x="454" y="464"/>
                      </a:lnTo>
                      <a:lnTo>
                        <a:pt x="452" y="468"/>
                      </a:lnTo>
                      <a:lnTo>
                        <a:pt x="452" y="469"/>
                      </a:lnTo>
                      <a:lnTo>
                        <a:pt x="451" y="471"/>
                      </a:lnTo>
                      <a:lnTo>
                        <a:pt x="449" y="473"/>
                      </a:lnTo>
                      <a:lnTo>
                        <a:pt x="447" y="473"/>
                      </a:lnTo>
                      <a:lnTo>
                        <a:pt x="447" y="474"/>
                      </a:lnTo>
                      <a:lnTo>
                        <a:pt x="446" y="476"/>
                      </a:lnTo>
                      <a:lnTo>
                        <a:pt x="446" y="478"/>
                      </a:lnTo>
                      <a:lnTo>
                        <a:pt x="446" y="479"/>
                      </a:lnTo>
                      <a:lnTo>
                        <a:pt x="444" y="481"/>
                      </a:lnTo>
                      <a:lnTo>
                        <a:pt x="446" y="482"/>
                      </a:lnTo>
                      <a:lnTo>
                        <a:pt x="444" y="482"/>
                      </a:lnTo>
                      <a:lnTo>
                        <a:pt x="442" y="484"/>
                      </a:lnTo>
                      <a:lnTo>
                        <a:pt x="442" y="486"/>
                      </a:lnTo>
                      <a:lnTo>
                        <a:pt x="440" y="486"/>
                      </a:lnTo>
                      <a:lnTo>
                        <a:pt x="440" y="487"/>
                      </a:lnTo>
                      <a:lnTo>
                        <a:pt x="439" y="487"/>
                      </a:lnTo>
                      <a:lnTo>
                        <a:pt x="439" y="489"/>
                      </a:lnTo>
                      <a:lnTo>
                        <a:pt x="439" y="491"/>
                      </a:lnTo>
                      <a:lnTo>
                        <a:pt x="437" y="492"/>
                      </a:lnTo>
                      <a:lnTo>
                        <a:pt x="437" y="494"/>
                      </a:lnTo>
                      <a:lnTo>
                        <a:pt x="435" y="496"/>
                      </a:lnTo>
                      <a:lnTo>
                        <a:pt x="437" y="496"/>
                      </a:lnTo>
                      <a:lnTo>
                        <a:pt x="437" y="497"/>
                      </a:lnTo>
                      <a:lnTo>
                        <a:pt x="437" y="499"/>
                      </a:lnTo>
                      <a:lnTo>
                        <a:pt x="435" y="499"/>
                      </a:lnTo>
                      <a:lnTo>
                        <a:pt x="434" y="501"/>
                      </a:lnTo>
                      <a:lnTo>
                        <a:pt x="432" y="502"/>
                      </a:lnTo>
                      <a:lnTo>
                        <a:pt x="434" y="502"/>
                      </a:lnTo>
                      <a:lnTo>
                        <a:pt x="432" y="502"/>
                      </a:lnTo>
                      <a:lnTo>
                        <a:pt x="432" y="504"/>
                      </a:lnTo>
                      <a:lnTo>
                        <a:pt x="430" y="504"/>
                      </a:lnTo>
                      <a:lnTo>
                        <a:pt x="430" y="505"/>
                      </a:lnTo>
                      <a:lnTo>
                        <a:pt x="430" y="509"/>
                      </a:lnTo>
                      <a:lnTo>
                        <a:pt x="429" y="509"/>
                      </a:lnTo>
                      <a:lnTo>
                        <a:pt x="429" y="510"/>
                      </a:lnTo>
                      <a:lnTo>
                        <a:pt x="430" y="510"/>
                      </a:lnTo>
                      <a:lnTo>
                        <a:pt x="430" y="512"/>
                      </a:lnTo>
                      <a:lnTo>
                        <a:pt x="429" y="514"/>
                      </a:lnTo>
                      <a:lnTo>
                        <a:pt x="429" y="515"/>
                      </a:lnTo>
                      <a:lnTo>
                        <a:pt x="427" y="515"/>
                      </a:lnTo>
                      <a:lnTo>
                        <a:pt x="429" y="517"/>
                      </a:lnTo>
                      <a:lnTo>
                        <a:pt x="429" y="519"/>
                      </a:lnTo>
                      <a:lnTo>
                        <a:pt x="427" y="519"/>
                      </a:lnTo>
                      <a:lnTo>
                        <a:pt x="427" y="520"/>
                      </a:lnTo>
                      <a:lnTo>
                        <a:pt x="425" y="522"/>
                      </a:lnTo>
                      <a:lnTo>
                        <a:pt x="425" y="524"/>
                      </a:lnTo>
                      <a:lnTo>
                        <a:pt x="425" y="525"/>
                      </a:lnTo>
                      <a:lnTo>
                        <a:pt x="425" y="527"/>
                      </a:lnTo>
                      <a:lnTo>
                        <a:pt x="424" y="527"/>
                      </a:lnTo>
                      <a:lnTo>
                        <a:pt x="422" y="528"/>
                      </a:lnTo>
                      <a:lnTo>
                        <a:pt x="422" y="530"/>
                      </a:lnTo>
                      <a:lnTo>
                        <a:pt x="420" y="530"/>
                      </a:lnTo>
                      <a:lnTo>
                        <a:pt x="420" y="532"/>
                      </a:lnTo>
                      <a:lnTo>
                        <a:pt x="420" y="533"/>
                      </a:lnTo>
                      <a:lnTo>
                        <a:pt x="420" y="535"/>
                      </a:lnTo>
                      <a:lnTo>
                        <a:pt x="420" y="537"/>
                      </a:lnTo>
                      <a:lnTo>
                        <a:pt x="422" y="537"/>
                      </a:lnTo>
                      <a:lnTo>
                        <a:pt x="422" y="538"/>
                      </a:lnTo>
                      <a:lnTo>
                        <a:pt x="422" y="540"/>
                      </a:lnTo>
                      <a:lnTo>
                        <a:pt x="424" y="540"/>
                      </a:lnTo>
                      <a:lnTo>
                        <a:pt x="424" y="542"/>
                      </a:lnTo>
                      <a:lnTo>
                        <a:pt x="425" y="542"/>
                      </a:lnTo>
                      <a:lnTo>
                        <a:pt x="425" y="543"/>
                      </a:lnTo>
                      <a:lnTo>
                        <a:pt x="427" y="543"/>
                      </a:lnTo>
                      <a:lnTo>
                        <a:pt x="429" y="545"/>
                      </a:lnTo>
                      <a:lnTo>
                        <a:pt x="429" y="547"/>
                      </a:lnTo>
                      <a:lnTo>
                        <a:pt x="429" y="548"/>
                      </a:lnTo>
                      <a:lnTo>
                        <a:pt x="429" y="550"/>
                      </a:lnTo>
                      <a:lnTo>
                        <a:pt x="429" y="551"/>
                      </a:lnTo>
                      <a:lnTo>
                        <a:pt x="425" y="553"/>
                      </a:lnTo>
                      <a:lnTo>
                        <a:pt x="422" y="553"/>
                      </a:lnTo>
                      <a:lnTo>
                        <a:pt x="422" y="555"/>
                      </a:lnTo>
                      <a:lnTo>
                        <a:pt x="420" y="555"/>
                      </a:lnTo>
                      <a:lnTo>
                        <a:pt x="419" y="555"/>
                      </a:lnTo>
                      <a:lnTo>
                        <a:pt x="419" y="556"/>
                      </a:lnTo>
                      <a:lnTo>
                        <a:pt x="417" y="556"/>
                      </a:lnTo>
                      <a:lnTo>
                        <a:pt x="415" y="556"/>
                      </a:lnTo>
                      <a:lnTo>
                        <a:pt x="413" y="556"/>
                      </a:lnTo>
                      <a:lnTo>
                        <a:pt x="412" y="556"/>
                      </a:lnTo>
                      <a:lnTo>
                        <a:pt x="410" y="558"/>
                      </a:lnTo>
                      <a:lnTo>
                        <a:pt x="412" y="558"/>
                      </a:lnTo>
                      <a:lnTo>
                        <a:pt x="412" y="560"/>
                      </a:lnTo>
                      <a:lnTo>
                        <a:pt x="410" y="561"/>
                      </a:lnTo>
                      <a:lnTo>
                        <a:pt x="408" y="561"/>
                      </a:lnTo>
                      <a:lnTo>
                        <a:pt x="410" y="563"/>
                      </a:lnTo>
                      <a:lnTo>
                        <a:pt x="410" y="565"/>
                      </a:lnTo>
                      <a:lnTo>
                        <a:pt x="408" y="565"/>
                      </a:lnTo>
                      <a:lnTo>
                        <a:pt x="408" y="566"/>
                      </a:lnTo>
                      <a:lnTo>
                        <a:pt x="407" y="566"/>
                      </a:lnTo>
                      <a:lnTo>
                        <a:pt x="407" y="565"/>
                      </a:lnTo>
                      <a:lnTo>
                        <a:pt x="405" y="565"/>
                      </a:lnTo>
                      <a:lnTo>
                        <a:pt x="403" y="565"/>
                      </a:lnTo>
                      <a:lnTo>
                        <a:pt x="402" y="563"/>
                      </a:lnTo>
                      <a:lnTo>
                        <a:pt x="402" y="565"/>
                      </a:lnTo>
                      <a:lnTo>
                        <a:pt x="402" y="566"/>
                      </a:lnTo>
                      <a:lnTo>
                        <a:pt x="400" y="565"/>
                      </a:lnTo>
                      <a:lnTo>
                        <a:pt x="398" y="565"/>
                      </a:lnTo>
                      <a:lnTo>
                        <a:pt x="398" y="566"/>
                      </a:lnTo>
                      <a:lnTo>
                        <a:pt x="397" y="566"/>
                      </a:lnTo>
                      <a:lnTo>
                        <a:pt x="395" y="566"/>
                      </a:lnTo>
                      <a:lnTo>
                        <a:pt x="395" y="568"/>
                      </a:lnTo>
                      <a:lnTo>
                        <a:pt x="395" y="566"/>
                      </a:lnTo>
                      <a:lnTo>
                        <a:pt x="393" y="566"/>
                      </a:lnTo>
                      <a:lnTo>
                        <a:pt x="391" y="565"/>
                      </a:lnTo>
                      <a:lnTo>
                        <a:pt x="390" y="565"/>
                      </a:lnTo>
                      <a:lnTo>
                        <a:pt x="388" y="565"/>
                      </a:lnTo>
                      <a:lnTo>
                        <a:pt x="386" y="565"/>
                      </a:lnTo>
                      <a:lnTo>
                        <a:pt x="386" y="563"/>
                      </a:lnTo>
                      <a:lnTo>
                        <a:pt x="386" y="561"/>
                      </a:lnTo>
                      <a:lnTo>
                        <a:pt x="386" y="560"/>
                      </a:lnTo>
                      <a:lnTo>
                        <a:pt x="386" y="558"/>
                      </a:lnTo>
                      <a:lnTo>
                        <a:pt x="385" y="558"/>
                      </a:lnTo>
                      <a:lnTo>
                        <a:pt x="385" y="556"/>
                      </a:lnTo>
                      <a:lnTo>
                        <a:pt x="386" y="555"/>
                      </a:lnTo>
                      <a:lnTo>
                        <a:pt x="385" y="555"/>
                      </a:lnTo>
                      <a:lnTo>
                        <a:pt x="383" y="553"/>
                      </a:lnTo>
                      <a:lnTo>
                        <a:pt x="381" y="553"/>
                      </a:lnTo>
                      <a:lnTo>
                        <a:pt x="383" y="551"/>
                      </a:lnTo>
                      <a:lnTo>
                        <a:pt x="383" y="550"/>
                      </a:lnTo>
                      <a:lnTo>
                        <a:pt x="381" y="548"/>
                      </a:lnTo>
                      <a:lnTo>
                        <a:pt x="380" y="548"/>
                      </a:lnTo>
                      <a:lnTo>
                        <a:pt x="378" y="548"/>
                      </a:lnTo>
                      <a:lnTo>
                        <a:pt x="378" y="547"/>
                      </a:lnTo>
                      <a:lnTo>
                        <a:pt x="378" y="545"/>
                      </a:lnTo>
                      <a:lnTo>
                        <a:pt x="376" y="545"/>
                      </a:lnTo>
                      <a:lnTo>
                        <a:pt x="375" y="545"/>
                      </a:lnTo>
                      <a:lnTo>
                        <a:pt x="373" y="545"/>
                      </a:lnTo>
                      <a:lnTo>
                        <a:pt x="373" y="543"/>
                      </a:lnTo>
                      <a:lnTo>
                        <a:pt x="371" y="543"/>
                      </a:lnTo>
                      <a:lnTo>
                        <a:pt x="371" y="542"/>
                      </a:lnTo>
                      <a:lnTo>
                        <a:pt x="371" y="540"/>
                      </a:lnTo>
                      <a:lnTo>
                        <a:pt x="371" y="538"/>
                      </a:lnTo>
                      <a:lnTo>
                        <a:pt x="371" y="537"/>
                      </a:lnTo>
                      <a:lnTo>
                        <a:pt x="370" y="537"/>
                      </a:lnTo>
                      <a:lnTo>
                        <a:pt x="368" y="537"/>
                      </a:lnTo>
                      <a:lnTo>
                        <a:pt x="366" y="537"/>
                      </a:lnTo>
                      <a:lnTo>
                        <a:pt x="363" y="537"/>
                      </a:lnTo>
                      <a:lnTo>
                        <a:pt x="361" y="535"/>
                      </a:lnTo>
                      <a:lnTo>
                        <a:pt x="359" y="535"/>
                      </a:lnTo>
                      <a:lnTo>
                        <a:pt x="358" y="535"/>
                      </a:lnTo>
                      <a:lnTo>
                        <a:pt x="358" y="533"/>
                      </a:lnTo>
                      <a:lnTo>
                        <a:pt x="358" y="532"/>
                      </a:lnTo>
                      <a:lnTo>
                        <a:pt x="356" y="532"/>
                      </a:lnTo>
                      <a:lnTo>
                        <a:pt x="354" y="532"/>
                      </a:lnTo>
                      <a:lnTo>
                        <a:pt x="353" y="532"/>
                      </a:lnTo>
                      <a:lnTo>
                        <a:pt x="351" y="530"/>
                      </a:lnTo>
                      <a:lnTo>
                        <a:pt x="349" y="532"/>
                      </a:lnTo>
                      <a:lnTo>
                        <a:pt x="348" y="532"/>
                      </a:lnTo>
                      <a:lnTo>
                        <a:pt x="346" y="532"/>
                      </a:lnTo>
                      <a:lnTo>
                        <a:pt x="344" y="532"/>
                      </a:lnTo>
                      <a:lnTo>
                        <a:pt x="342" y="532"/>
                      </a:lnTo>
                      <a:lnTo>
                        <a:pt x="342" y="533"/>
                      </a:lnTo>
                      <a:lnTo>
                        <a:pt x="342" y="535"/>
                      </a:lnTo>
                      <a:lnTo>
                        <a:pt x="342" y="537"/>
                      </a:lnTo>
                      <a:lnTo>
                        <a:pt x="341" y="537"/>
                      </a:lnTo>
                      <a:lnTo>
                        <a:pt x="339" y="538"/>
                      </a:lnTo>
                      <a:lnTo>
                        <a:pt x="337" y="538"/>
                      </a:lnTo>
                      <a:lnTo>
                        <a:pt x="336" y="538"/>
                      </a:lnTo>
                      <a:lnTo>
                        <a:pt x="334" y="538"/>
                      </a:lnTo>
                      <a:lnTo>
                        <a:pt x="334" y="540"/>
                      </a:lnTo>
                      <a:lnTo>
                        <a:pt x="332" y="540"/>
                      </a:lnTo>
                      <a:lnTo>
                        <a:pt x="331" y="540"/>
                      </a:lnTo>
                      <a:lnTo>
                        <a:pt x="329" y="540"/>
                      </a:lnTo>
                      <a:lnTo>
                        <a:pt x="329" y="542"/>
                      </a:lnTo>
                      <a:lnTo>
                        <a:pt x="326" y="542"/>
                      </a:lnTo>
                      <a:lnTo>
                        <a:pt x="324" y="543"/>
                      </a:lnTo>
                      <a:lnTo>
                        <a:pt x="322" y="543"/>
                      </a:lnTo>
                      <a:lnTo>
                        <a:pt x="322" y="545"/>
                      </a:lnTo>
                      <a:lnTo>
                        <a:pt x="321" y="545"/>
                      </a:lnTo>
                      <a:lnTo>
                        <a:pt x="319" y="547"/>
                      </a:lnTo>
                      <a:lnTo>
                        <a:pt x="319" y="548"/>
                      </a:lnTo>
                      <a:lnTo>
                        <a:pt x="319" y="550"/>
                      </a:lnTo>
                      <a:lnTo>
                        <a:pt x="317" y="551"/>
                      </a:lnTo>
                      <a:lnTo>
                        <a:pt x="315" y="553"/>
                      </a:lnTo>
                      <a:lnTo>
                        <a:pt x="314" y="553"/>
                      </a:lnTo>
                      <a:lnTo>
                        <a:pt x="312" y="555"/>
                      </a:lnTo>
                      <a:lnTo>
                        <a:pt x="312" y="556"/>
                      </a:lnTo>
                      <a:lnTo>
                        <a:pt x="310" y="560"/>
                      </a:lnTo>
                      <a:lnTo>
                        <a:pt x="310" y="561"/>
                      </a:lnTo>
                      <a:lnTo>
                        <a:pt x="310" y="563"/>
                      </a:lnTo>
                      <a:lnTo>
                        <a:pt x="312" y="563"/>
                      </a:lnTo>
                      <a:lnTo>
                        <a:pt x="310" y="565"/>
                      </a:lnTo>
                      <a:lnTo>
                        <a:pt x="310" y="566"/>
                      </a:lnTo>
                      <a:lnTo>
                        <a:pt x="310" y="568"/>
                      </a:lnTo>
                      <a:lnTo>
                        <a:pt x="309" y="568"/>
                      </a:lnTo>
                      <a:lnTo>
                        <a:pt x="309" y="570"/>
                      </a:lnTo>
                      <a:lnTo>
                        <a:pt x="309" y="571"/>
                      </a:lnTo>
                      <a:lnTo>
                        <a:pt x="307" y="571"/>
                      </a:lnTo>
                      <a:lnTo>
                        <a:pt x="307" y="573"/>
                      </a:lnTo>
                      <a:lnTo>
                        <a:pt x="309" y="573"/>
                      </a:lnTo>
                      <a:lnTo>
                        <a:pt x="307" y="574"/>
                      </a:lnTo>
                      <a:lnTo>
                        <a:pt x="307" y="576"/>
                      </a:lnTo>
                      <a:lnTo>
                        <a:pt x="309" y="576"/>
                      </a:lnTo>
                      <a:lnTo>
                        <a:pt x="310" y="576"/>
                      </a:lnTo>
                      <a:lnTo>
                        <a:pt x="310" y="578"/>
                      </a:lnTo>
                      <a:lnTo>
                        <a:pt x="310" y="579"/>
                      </a:lnTo>
                      <a:lnTo>
                        <a:pt x="312" y="581"/>
                      </a:lnTo>
                      <a:lnTo>
                        <a:pt x="312" y="583"/>
                      </a:lnTo>
                      <a:lnTo>
                        <a:pt x="312" y="584"/>
                      </a:lnTo>
                      <a:lnTo>
                        <a:pt x="310" y="584"/>
                      </a:lnTo>
                      <a:lnTo>
                        <a:pt x="309" y="584"/>
                      </a:lnTo>
                      <a:lnTo>
                        <a:pt x="309" y="586"/>
                      </a:lnTo>
                      <a:lnTo>
                        <a:pt x="309" y="588"/>
                      </a:lnTo>
                      <a:lnTo>
                        <a:pt x="309" y="589"/>
                      </a:lnTo>
                      <a:lnTo>
                        <a:pt x="309" y="591"/>
                      </a:lnTo>
                      <a:lnTo>
                        <a:pt x="309" y="593"/>
                      </a:lnTo>
                      <a:lnTo>
                        <a:pt x="309" y="594"/>
                      </a:lnTo>
                      <a:lnTo>
                        <a:pt x="307" y="596"/>
                      </a:lnTo>
                      <a:lnTo>
                        <a:pt x="307" y="597"/>
                      </a:lnTo>
                      <a:lnTo>
                        <a:pt x="305" y="599"/>
                      </a:lnTo>
                      <a:lnTo>
                        <a:pt x="305" y="601"/>
                      </a:lnTo>
                      <a:lnTo>
                        <a:pt x="305" y="602"/>
                      </a:lnTo>
                      <a:lnTo>
                        <a:pt x="304" y="604"/>
                      </a:lnTo>
                      <a:lnTo>
                        <a:pt x="304" y="606"/>
                      </a:lnTo>
                      <a:lnTo>
                        <a:pt x="305" y="606"/>
                      </a:lnTo>
                      <a:lnTo>
                        <a:pt x="307" y="607"/>
                      </a:lnTo>
                      <a:lnTo>
                        <a:pt x="307" y="609"/>
                      </a:lnTo>
                      <a:lnTo>
                        <a:pt x="309" y="611"/>
                      </a:lnTo>
                      <a:lnTo>
                        <a:pt x="307" y="611"/>
                      </a:lnTo>
                      <a:lnTo>
                        <a:pt x="305" y="612"/>
                      </a:lnTo>
                      <a:lnTo>
                        <a:pt x="304" y="614"/>
                      </a:lnTo>
                      <a:lnTo>
                        <a:pt x="305" y="614"/>
                      </a:lnTo>
                      <a:lnTo>
                        <a:pt x="305" y="616"/>
                      </a:lnTo>
                      <a:lnTo>
                        <a:pt x="307" y="614"/>
                      </a:lnTo>
                      <a:lnTo>
                        <a:pt x="309" y="616"/>
                      </a:lnTo>
                      <a:lnTo>
                        <a:pt x="309" y="617"/>
                      </a:lnTo>
                      <a:lnTo>
                        <a:pt x="310" y="617"/>
                      </a:lnTo>
                      <a:lnTo>
                        <a:pt x="312" y="617"/>
                      </a:lnTo>
                      <a:lnTo>
                        <a:pt x="312" y="619"/>
                      </a:lnTo>
                      <a:lnTo>
                        <a:pt x="312" y="620"/>
                      </a:lnTo>
                      <a:lnTo>
                        <a:pt x="314" y="622"/>
                      </a:lnTo>
                      <a:lnTo>
                        <a:pt x="314" y="624"/>
                      </a:lnTo>
                      <a:lnTo>
                        <a:pt x="315" y="624"/>
                      </a:lnTo>
                      <a:lnTo>
                        <a:pt x="317" y="624"/>
                      </a:lnTo>
                      <a:lnTo>
                        <a:pt x="317" y="625"/>
                      </a:lnTo>
                      <a:lnTo>
                        <a:pt x="319" y="625"/>
                      </a:lnTo>
                      <a:lnTo>
                        <a:pt x="319" y="627"/>
                      </a:lnTo>
                      <a:lnTo>
                        <a:pt x="319" y="629"/>
                      </a:lnTo>
                      <a:lnTo>
                        <a:pt x="319" y="630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1" name="Freeform 13"/>
                <p:cNvSpPr>
                  <a:spLocks noChangeAspect="1"/>
                </p:cNvSpPr>
                <p:nvPr/>
              </p:nvSpPr>
              <p:spPr bwMode="auto">
                <a:xfrm>
                  <a:off x="4101456" y="585695"/>
                  <a:ext cx="739388" cy="876441"/>
                </a:xfrm>
                <a:custGeom>
                  <a:avLst/>
                  <a:gdLst>
                    <a:gd name="T0" fmla="*/ 2147483647 w 474"/>
                    <a:gd name="T1" fmla="*/ 2147483647 h 524"/>
                    <a:gd name="T2" fmla="*/ 2147483647 w 474"/>
                    <a:gd name="T3" fmla="*/ 2147483647 h 524"/>
                    <a:gd name="T4" fmla="*/ 2147483647 w 474"/>
                    <a:gd name="T5" fmla="*/ 2147483647 h 524"/>
                    <a:gd name="T6" fmla="*/ 2147483647 w 474"/>
                    <a:gd name="T7" fmla="*/ 2147483647 h 524"/>
                    <a:gd name="T8" fmla="*/ 2147483647 w 474"/>
                    <a:gd name="T9" fmla="*/ 2147483647 h 524"/>
                    <a:gd name="T10" fmla="*/ 2147483647 w 474"/>
                    <a:gd name="T11" fmla="*/ 2147483647 h 524"/>
                    <a:gd name="T12" fmla="*/ 2147483647 w 474"/>
                    <a:gd name="T13" fmla="*/ 2147483647 h 524"/>
                    <a:gd name="T14" fmla="*/ 2147483647 w 474"/>
                    <a:gd name="T15" fmla="*/ 2147483647 h 524"/>
                    <a:gd name="T16" fmla="*/ 2147483647 w 474"/>
                    <a:gd name="T17" fmla="*/ 2147483647 h 524"/>
                    <a:gd name="T18" fmla="*/ 2147483647 w 474"/>
                    <a:gd name="T19" fmla="*/ 2147483647 h 524"/>
                    <a:gd name="T20" fmla="*/ 2147483647 w 474"/>
                    <a:gd name="T21" fmla="*/ 2147483647 h 524"/>
                    <a:gd name="T22" fmla="*/ 2147483647 w 474"/>
                    <a:gd name="T23" fmla="*/ 2147483647 h 524"/>
                    <a:gd name="T24" fmla="*/ 2147483647 w 474"/>
                    <a:gd name="T25" fmla="*/ 2147483647 h 524"/>
                    <a:gd name="T26" fmla="*/ 2147483647 w 474"/>
                    <a:gd name="T27" fmla="*/ 2147483647 h 524"/>
                    <a:gd name="T28" fmla="*/ 2147483647 w 474"/>
                    <a:gd name="T29" fmla="*/ 2147483647 h 524"/>
                    <a:gd name="T30" fmla="*/ 2147483647 w 474"/>
                    <a:gd name="T31" fmla="*/ 2147483647 h 524"/>
                    <a:gd name="T32" fmla="*/ 2147483647 w 474"/>
                    <a:gd name="T33" fmla="*/ 2147483647 h 524"/>
                    <a:gd name="T34" fmla="*/ 2147483647 w 474"/>
                    <a:gd name="T35" fmla="*/ 2147483647 h 524"/>
                    <a:gd name="T36" fmla="*/ 2147483647 w 474"/>
                    <a:gd name="T37" fmla="*/ 2147483647 h 524"/>
                    <a:gd name="T38" fmla="*/ 2147483647 w 474"/>
                    <a:gd name="T39" fmla="*/ 2147483647 h 524"/>
                    <a:gd name="T40" fmla="*/ 2147483647 w 474"/>
                    <a:gd name="T41" fmla="*/ 2147483647 h 524"/>
                    <a:gd name="T42" fmla="*/ 2147483647 w 474"/>
                    <a:gd name="T43" fmla="*/ 2147483647 h 524"/>
                    <a:gd name="T44" fmla="*/ 2147483647 w 474"/>
                    <a:gd name="T45" fmla="*/ 2147483647 h 524"/>
                    <a:gd name="T46" fmla="*/ 2147483647 w 474"/>
                    <a:gd name="T47" fmla="*/ 2147483647 h 524"/>
                    <a:gd name="T48" fmla="*/ 2147483647 w 474"/>
                    <a:gd name="T49" fmla="*/ 2147483647 h 524"/>
                    <a:gd name="T50" fmla="*/ 2147483647 w 474"/>
                    <a:gd name="T51" fmla="*/ 2147483647 h 524"/>
                    <a:gd name="T52" fmla="*/ 2147483647 w 474"/>
                    <a:gd name="T53" fmla="*/ 2147483647 h 524"/>
                    <a:gd name="T54" fmla="*/ 2147483647 w 474"/>
                    <a:gd name="T55" fmla="*/ 2147483647 h 524"/>
                    <a:gd name="T56" fmla="*/ 2147483647 w 474"/>
                    <a:gd name="T57" fmla="*/ 2147483647 h 524"/>
                    <a:gd name="T58" fmla="*/ 2147483647 w 474"/>
                    <a:gd name="T59" fmla="*/ 2147483647 h 524"/>
                    <a:gd name="T60" fmla="*/ 2147483647 w 474"/>
                    <a:gd name="T61" fmla="*/ 2147483647 h 524"/>
                    <a:gd name="T62" fmla="*/ 2147483647 w 474"/>
                    <a:gd name="T63" fmla="*/ 2147483647 h 524"/>
                    <a:gd name="T64" fmla="*/ 2147483647 w 474"/>
                    <a:gd name="T65" fmla="*/ 2147483647 h 524"/>
                    <a:gd name="T66" fmla="*/ 2147483647 w 474"/>
                    <a:gd name="T67" fmla="*/ 2147483647 h 524"/>
                    <a:gd name="T68" fmla="*/ 2147483647 w 474"/>
                    <a:gd name="T69" fmla="*/ 2147483647 h 524"/>
                    <a:gd name="T70" fmla="*/ 2147483647 w 474"/>
                    <a:gd name="T71" fmla="*/ 2147483647 h 524"/>
                    <a:gd name="T72" fmla="*/ 2147483647 w 474"/>
                    <a:gd name="T73" fmla="*/ 2147483647 h 524"/>
                    <a:gd name="T74" fmla="*/ 2147483647 w 474"/>
                    <a:gd name="T75" fmla="*/ 2147483647 h 524"/>
                    <a:gd name="T76" fmla="*/ 2147483647 w 474"/>
                    <a:gd name="T77" fmla="*/ 2147483647 h 524"/>
                    <a:gd name="T78" fmla="*/ 2147483647 w 474"/>
                    <a:gd name="T79" fmla="*/ 2147483647 h 524"/>
                    <a:gd name="T80" fmla="*/ 2147483647 w 474"/>
                    <a:gd name="T81" fmla="*/ 2147483647 h 524"/>
                    <a:gd name="T82" fmla="*/ 2147483647 w 474"/>
                    <a:gd name="T83" fmla="*/ 2147483647 h 524"/>
                    <a:gd name="T84" fmla="*/ 2147483647 w 474"/>
                    <a:gd name="T85" fmla="*/ 2147483647 h 524"/>
                    <a:gd name="T86" fmla="*/ 2147483647 w 474"/>
                    <a:gd name="T87" fmla="*/ 2147483647 h 524"/>
                    <a:gd name="T88" fmla="*/ 2147483647 w 474"/>
                    <a:gd name="T89" fmla="*/ 2147483647 h 524"/>
                    <a:gd name="T90" fmla="*/ 2147483647 w 474"/>
                    <a:gd name="T91" fmla="*/ 2147483647 h 524"/>
                    <a:gd name="T92" fmla="*/ 2147483647 w 474"/>
                    <a:gd name="T93" fmla="*/ 2147483647 h 524"/>
                    <a:gd name="T94" fmla="*/ 2147483647 w 474"/>
                    <a:gd name="T95" fmla="*/ 2147483647 h 524"/>
                    <a:gd name="T96" fmla="*/ 2147483647 w 474"/>
                    <a:gd name="T97" fmla="*/ 2147483647 h 524"/>
                    <a:gd name="T98" fmla="*/ 2147483647 w 474"/>
                    <a:gd name="T99" fmla="*/ 2147483647 h 524"/>
                    <a:gd name="T100" fmla="*/ 2147483647 w 474"/>
                    <a:gd name="T101" fmla="*/ 2147483647 h 524"/>
                    <a:gd name="T102" fmla="*/ 2147483647 w 474"/>
                    <a:gd name="T103" fmla="*/ 2147483647 h 524"/>
                    <a:gd name="T104" fmla="*/ 2147483647 w 474"/>
                    <a:gd name="T105" fmla="*/ 2147483647 h 524"/>
                    <a:gd name="T106" fmla="*/ 2147483647 w 474"/>
                    <a:gd name="T107" fmla="*/ 2147483647 h 524"/>
                    <a:gd name="T108" fmla="*/ 2147483647 w 474"/>
                    <a:gd name="T109" fmla="*/ 2147483647 h 524"/>
                    <a:gd name="T110" fmla="*/ 2147483647 w 474"/>
                    <a:gd name="T111" fmla="*/ 2147483647 h 524"/>
                    <a:gd name="T112" fmla="*/ 2147483647 w 474"/>
                    <a:gd name="T113" fmla="*/ 2147483647 h 524"/>
                    <a:gd name="T114" fmla="*/ 2147483647 w 474"/>
                    <a:gd name="T115" fmla="*/ 2147483647 h 524"/>
                    <a:gd name="T116" fmla="*/ 2147483647 w 474"/>
                    <a:gd name="T117" fmla="*/ 2147483647 h 524"/>
                    <a:gd name="T118" fmla="*/ 2147483647 w 474"/>
                    <a:gd name="T119" fmla="*/ 2147483647 h 524"/>
                    <a:gd name="T120" fmla="*/ 2147483647 w 474"/>
                    <a:gd name="T121" fmla="*/ 2147483647 h 52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474"/>
                    <a:gd name="T184" fmla="*/ 0 h 524"/>
                    <a:gd name="T185" fmla="*/ 474 w 474"/>
                    <a:gd name="T186" fmla="*/ 524 h 52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474" h="524">
                      <a:moveTo>
                        <a:pt x="152" y="209"/>
                      </a:moveTo>
                      <a:lnTo>
                        <a:pt x="152" y="207"/>
                      </a:lnTo>
                      <a:lnTo>
                        <a:pt x="152" y="209"/>
                      </a:lnTo>
                      <a:lnTo>
                        <a:pt x="153" y="209"/>
                      </a:lnTo>
                      <a:lnTo>
                        <a:pt x="153" y="207"/>
                      </a:lnTo>
                      <a:lnTo>
                        <a:pt x="155" y="207"/>
                      </a:lnTo>
                      <a:lnTo>
                        <a:pt x="157" y="207"/>
                      </a:lnTo>
                      <a:lnTo>
                        <a:pt x="159" y="207"/>
                      </a:lnTo>
                      <a:lnTo>
                        <a:pt x="160" y="207"/>
                      </a:lnTo>
                      <a:lnTo>
                        <a:pt x="162" y="207"/>
                      </a:lnTo>
                      <a:lnTo>
                        <a:pt x="164" y="207"/>
                      </a:lnTo>
                      <a:lnTo>
                        <a:pt x="165" y="205"/>
                      </a:lnTo>
                      <a:lnTo>
                        <a:pt x="167" y="205"/>
                      </a:lnTo>
                      <a:lnTo>
                        <a:pt x="169" y="205"/>
                      </a:lnTo>
                      <a:lnTo>
                        <a:pt x="170" y="205"/>
                      </a:lnTo>
                      <a:lnTo>
                        <a:pt x="172" y="207"/>
                      </a:lnTo>
                      <a:lnTo>
                        <a:pt x="172" y="209"/>
                      </a:lnTo>
                      <a:lnTo>
                        <a:pt x="174" y="209"/>
                      </a:lnTo>
                      <a:lnTo>
                        <a:pt x="174" y="210"/>
                      </a:lnTo>
                      <a:lnTo>
                        <a:pt x="175" y="210"/>
                      </a:lnTo>
                      <a:lnTo>
                        <a:pt x="177" y="210"/>
                      </a:lnTo>
                      <a:lnTo>
                        <a:pt x="179" y="210"/>
                      </a:lnTo>
                      <a:lnTo>
                        <a:pt x="180" y="210"/>
                      </a:lnTo>
                      <a:lnTo>
                        <a:pt x="182" y="210"/>
                      </a:lnTo>
                      <a:lnTo>
                        <a:pt x="184" y="210"/>
                      </a:lnTo>
                      <a:lnTo>
                        <a:pt x="184" y="209"/>
                      </a:lnTo>
                      <a:lnTo>
                        <a:pt x="184" y="207"/>
                      </a:lnTo>
                      <a:lnTo>
                        <a:pt x="184" y="209"/>
                      </a:lnTo>
                      <a:lnTo>
                        <a:pt x="186" y="209"/>
                      </a:lnTo>
                      <a:lnTo>
                        <a:pt x="186" y="207"/>
                      </a:lnTo>
                      <a:lnTo>
                        <a:pt x="186" y="209"/>
                      </a:lnTo>
                      <a:lnTo>
                        <a:pt x="187" y="209"/>
                      </a:lnTo>
                      <a:lnTo>
                        <a:pt x="187" y="207"/>
                      </a:lnTo>
                      <a:lnTo>
                        <a:pt x="187" y="205"/>
                      </a:lnTo>
                      <a:lnTo>
                        <a:pt x="189" y="205"/>
                      </a:lnTo>
                      <a:lnTo>
                        <a:pt x="189" y="204"/>
                      </a:lnTo>
                      <a:lnTo>
                        <a:pt x="191" y="202"/>
                      </a:lnTo>
                      <a:lnTo>
                        <a:pt x="192" y="202"/>
                      </a:lnTo>
                      <a:lnTo>
                        <a:pt x="192" y="201"/>
                      </a:lnTo>
                      <a:lnTo>
                        <a:pt x="191" y="201"/>
                      </a:lnTo>
                      <a:lnTo>
                        <a:pt x="192" y="201"/>
                      </a:lnTo>
                      <a:lnTo>
                        <a:pt x="192" y="199"/>
                      </a:lnTo>
                      <a:lnTo>
                        <a:pt x="194" y="199"/>
                      </a:lnTo>
                      <a:lnTo>
                        <a:pt x="196" y="197"/>
                      </a:lnTo>
                      <a:lnTo>
                        <a:pt x="196" y="199"/>
                      </a:lnTo>
                      <a:lnTo>
                        <a:pt x="197" y="197"/>
                      </a:lnTo>
                      <a:lnTo>
                        <a:pt x="199" y="197"/>
                      </a:lnTo>
                      <a:lnTo>
                        <a:pt x="199" y="196"/>
                      </a:lnTo>
                      <a:lnTo>
                        <a:pt x="201" y="197"/>
                      </a:lnTo>
                      <a:lnTo>
                        <a:pt x="201" y="196"/>
                      </a:lnTo>
                      <a:lnTo>
                        <a:pt x="202" y="196"/>
                      </a:lnTo>
                      <a:lnTo>
                        <a:pt x="204" y="194"/>
                      </a:lnTo>
                      <a:lnTo>
                        <a:pt x="206" y="192"/>
                      </a:lnTo>
                      <a:lnTo>
                        <a:pt x="208" y="192"/>
                      </a:lnTo>
                      <a:lnTo>
                        <a:pt x="208" y="191"/>
                      </a:lnTo>
                      <a:lnTo>
                        <a:pt x="209" y="191"/>
                      </a:lnTo>
                      <a:lnTo>
                        <a:pt x="209" y="189"/>
                      </a:lnTo>
                      <a:lnTo>
                        <a:pt x="211" y="189"/>
                      </a:lnTo>
                      <a:lnTo>
                        <a:pt x="209" y="189"/>
                      </a:lnTo>
                      <a:lnTo>
                        <a:pt x="211" y="187"/>
                      </a:lnTo>
                      <a:lnTo>
                        <a:pt x="213" y="186"/>
                      </a:lnTo>
                      <a:lnTo>
                        <a:pt x="211" y="186"/>
                      </a:lnTo>
                      <a:lnTo>
                        <a:pt x="213" y="186"/>
                      </a:lnTo>
                      <a:lnTo>
                        <a:pt x="213" y="184"/>
                      </a:lnTo>
                      <a:lnTo>
                        <a:pt x="214" y="184"/>
                      </a:lnTo>
                      <a:lnTo>
                        <a:pt x="216" y="184"/>
                      </a:lnTo>
                      <a:lnTo>
                        <a:pt x="214" y="182"/>
                      </a:lnTo>
                      <a:lnTo>
                        <a:pt x="216" y="182"/>
                      </a:lnTo>
                      <a:lnTo>
                        <a:pt x="218" y="182"/>
                      </a:lnTo>
                      <a:lnTo>
                        <a:pt x="218" y="181"/>
                      </a:lnTo>
                      <a:lnTo>
                        <a:pt x="218" y="179"/>
                      </a:lnTo>
                      <a:lnTo>
                        <a:pt x="219" y="178"/>
                      </a:lnTo>
                      <a:lnTo>
                        <a:pt x="219" y="176"/>
                      </a:lnTo>
                      <a:lnTo>
                        <a:pt x="219" y="174"/>
                      </a:lnTo>
                      <a:lnTo>
                        <a:pt x="221" y="174"/>
                      </a:lnTo>
                      <a:lnTo>
                        <a:pt x="221" y="173"/>
                      </a:lnTo>
                      <a:lnTo>
                        <a:pt x="223" y="173"/>
                      </a:lnTo>
                      <a:lnTo>
                        <a:pt x="223" y="171"/>
                      </a:lnTo>
                      <a:lnTo>
                        <a:pt x="221" y="171"/>
                      </a:lnTo>
                      <a:lnTo>
                        <a:pt x="219" y="169"/>
                      </a:lnTo>
                      <a:lnTo>
                        <a:pt x="221" y="169"/>
                      </a:lnTo>
                      <a:lnTo>
                        <a:pt x="221" y="168"/>
                      </a:lnTo>
                      <a:lnTo>
                        <a:pt x="219" y="168"/>
                      </a:lnTo>
                      <a:lnTo>
                        <a:pt x="219" y="166"/>
                      </a:lnTo>
                      <a:lnTo>
                        <a:pt x="221" y="166"/>
                      </a:lnTo>
                      <a:lnTo>
                        <a:pt x="223" y="166"/>
                      </a:lnTo>
                      <a:lnTo>
                        <a:pt x="223" y="164"/>
                      </a:lnTo>
                      <a:lnTo>
                        <a:pt x="223" y="163"/>
                      </a:lnTo>
                      <a:lnTo>
                        <a:pt x="224" y="163"/>
                      </a:lnTo>
                      <a:lnTo>
                        <a:pt x="224" y="161"/>
                      </a:lnTo>
                      <a:lnTo>
                        <a:pt x="224" y="159"/>
                      </a:lnTo>
                      <a:lnTo>
                        <a:pt x="226" y="158"/>
                      </a:lnTo>
                      <a:lnTo>
                        <a:pt x="226" y="156"/>
                      </a:lnTo>
                      <a:lnTo>
                        <a:pt x="226" y="155"/>
                      </a:lnTo>
                      <a:lnTo>
                        <a:pt x="228" y="153"/>
                      </a:lnTo>
                      <a:lnTo>
                        <a:pt x="228" y="151"/>
                      </a:lnTo>
                      <a:lnTo>
                        <a:pt x="229" y="150"/>
                      </a:lnTo>
                      <a:lnTo>
                        <a:pt x="229" y="148"/>
                      </a:lnTo>
                      <a:lnTo>
                        <a:pt x="231" y="146"/>
                      </a:lnTo>
                      <a:lnTo>
                        <a:pt x="233" y="143"/>
                      </a:lnTo>
                      <a:lnTo>
                        <a:pt x="235" y="143"/>
                      </a:lnTo>
                      <a:lnTo>
                        <a:pt x="236" y="141"/>
                      </a:lnTo>
                      <a:lnTo>
                        <a:pt x="235" y="141"/>
                      </a:lnTo>
                      <a:lnTo>
                        <a:pt x="235" y="140"/>
                      </a:lnTo>
                      <a:lnTo>
                        <a:pt x="235" y="138"/>
                      </a:lnTo>
                      <a:lnTo>
                        <a:pt x="236" y="138"/>
                      </a:lnTo>
                      <a:lnTo>
                        <a:pt x="236" y="137"/>
                      </a:lnTo>
                      <a:lnTo>
                        <a:pt x="238" y="135"/>
                      </a:lnTo>
                      <a:lnTo>
                        <a:pt x="238" y="133"/>
                      </a:lnTo>
                      <a:lnTo>
                        <a:pt x="238" y="132"/>
                      </a:lnTo>
                      <a:lnTo>
                        <a:pt x="240" y="132"/>
                      </a:lnTo>
                      <a:lnTo>
                        <a:pt x="240" y="130"/>
                      </a:lnTo>
                      <a:lnTo>
                        <a:pt x="240" y="128"/>
                      </a:lnTo>
                      <a:lnTo>
                        <a:pt x="241" y="127"/>
                      </a:lnTo>
                      <a:lnTo>
                        <a:pt x="241" y="125"/>
                      </a:lnTo>
                      <a:lnTo>
                        <a:pt x="240" y="125"/>
                      </a:lnTo>
                      <a:lnTo>
                        <a:pt x="240" y="123"/>
                      </a:lnTo>
                      <a:lnTo>
                        <a:pt x="240" y="122"/>
                      </a:lnTo>
                      <a:lnTo>
                        <a:pt x="240" y="120"/>
                      </a:lnTo>
                      <a:lnTo>
                        <a:pt x="241" y="120"/>
                      </a:lnTo>
                      <a:lnTo>
                        <a:pt x="241" y="118"/>
                      </a:lnTo>
                      <a:lnTo>
                        <a:pt x="241" y="117"/>
                      </a:lnTo>
                      <a:lnTo>
                        <a:pt x="243" y="117"/>
                      </a:lnTo>
                      <a:lnTo>
                        <a:pt x="243" y="115"/>
                      </a:lnTo>
                      <a:lnTo>
                        <a:pt x="243" y="114"/>
                      </a:lnTo>
                      <a:lnTo>
                        <a:pt x="245" y="114"/>
                      </a:lnTo>
                      <a:lnTo>
                        <a:pt x="245" y="112"/>
                      </a:lnTo>
                      <a:lnTo>
                        <a:pt x="246" y="112"/>
                      </a:lnTo>
                      <a:lnTo>
                        <a:pt x="246" y="110"/>
                      </a:lnTo>
                      <a:lnTo>
                        <a:pt x="248" y="110"/>
                      </a:lnTo>
                      <a:lnTo>
                        <a:pt x="250" y="110"/>
                      </a:lnTo>
                      <a:lnTo>
                        <a:pt x="250" y="112"/>
                      </a:lnTo>
                      <a:lnTo>
                        <a:pt x="250" y="110"/>
                      </a:lnTo>
                      <a:lnTo>
                        <a:pt x="251" y="110"/>
                      </a:lnTo>
                      <a:lnTo>
                        <a:pt x="251" y="109"/>
                      </a:lnTo>
                      <a:lnTo>
                        <a:pt x="253" y="107"/>
                      </a:lnTo>
                      <a:lnTo>
                        <a:pt x="253" y="105"/>
                      </a:lnTo>
                      <a:lnTo>
                        <a:pt x="255" y="105"/>
                      </a:lnTo>
                      <a:lnTo>
                        <a:pt x="255" y="104"/>
                      </a:lnTo>
                      <a:lnTo>
                        <a:pt x="255" y="102"/>
                      </a:lnTo>
                      <a:lnTo>
                        <a:pt x="256" y="102"/>
                      </a:lnTo>
                      <a:lnTo>
                        <a:pt x="256" y="100"/>
                      </a:lnTo>
                      <a:lnTo>
                        <a:pt x="258" y="100"/>
                      </a:lnTo>
                      <a:lnTo>
                        <a:pt x="258" y="99"/>
                      </a:lnTo>
                      <a:lnTo>
                        <a:pt x="260" y="95"/>
                      </a:lnTo>
                      <a:lnTo>
                        <a:pt x="262" y="92"/>
                      </a:lnTo>
                      <a:lnTo>
                        <a:pt x="263" y="91"/>
                      </a:lnTo>
                      <a:lnTo>
                        <a:pt x="263" y="89"/>
                      </a:lnTo>
                      <a:lnTo>
                        <a:pt x="265" y="87"/>
                      </a:lnTo>
                      <a:lnTo>
                        <a:pt x="265" y="86"/>
                      </a:lnTo>
                      <a:lnTo>
                        <a:pt x="267" y="86"/>
                      </a:lnTo>
                      <a:lnTo>
                        <a:pt x="268" y="84"/>
                      </a:lnTo>
                      <a:lnTo>
                        <a:pt x="268" y="82"/>
                      </a:lnTo>
                      <a:lnTo>
                        <a:pt x="268" y="81"/>
                      </a:lnTo>
                      <a:lnTo>
                        <a:pt x="270" y="81"/>
                      </a:lnTo>
                      <a:lnTo>
                        <a:pt x="270" y="79"/>
                      </a:lnTo>
                      <a:lnTo>
                        <a:pt x="272" y="77"/>
                      </a:lnTo>
                      <a:lnTo>
                        <a:pt x="273" y="76"/>
                      </a:lnTo>
                      <a:lnTo>
                        <a:pt x="273" y="74"/>
                      </a:lnTo>
                      <a:lnTo>
                        <a:pt x="273" y="72"/>
                      </a:lnTo>
                      <a:lnTo>
                        <a:pt x="273" y="71"/>
                      </a:lnTo>
                      <a:lnTo>
                        <a:pt x="275" y="71"/>
                      </a:lnTo>
                      <a:lnTo>
                        <a:pt x="275" y="69"/>
                      </a:lnTo>
                      <a:lnTo>
                        <a:pt x="275" y="68"/>
                      </a:lnTo>
                      <a:lnTo>
                        <a:pt x="275" y="66"/>
                      </a:lnTo>
                      <a:lnTo>
                        <a:pt x="277" y="66"/>
                      </a:lnTo>
                      <a:lnTo>
                        <a:pt x="278" y="66"/>
                      </a:lnTo>
                      <a:lnTo>
                        <a:pt x="280" y="66"/>
                      </a:lnTo>
                      <a:lnTo>
                        <a:pt x="280" y="64"/>
                      </a:lnTo>
                      <a:lnTo>
                        <a:pt x="278" y="63"/>
                      </a:lnTo>
                      <a:lnTo>
                        <a:pt x="280" y="61"/>
                      </a:lnTo>
                      <a:lnTo>
                        <a:pt x="282" y="61"/>
                      </a:lnTo>
                      <a:lnTo>
                        <a:pt x="282" y="59"/>
                      </a:lnTo>
                      <a:lnTo>
                        <a:pt x="284" y="59"/>
                      </a:lnTo>
                      <a:lnTo>
                        <a:pt x="285" y="58"/>
                      </a:lnTo>
                      <a:lnTo>
                        <a:pt x="287" y="56"/>
                      </a:lnTo>
                      <a:lnTo>
                        <a:pt x="287" y="54"/>
                      </a:lnTo>
                      <a:lnTo>
                        <a:pt x="289" y="54"/>
                      </a:lnTo>
                      <a:lnTo>
                        <a:pt x="289" y="53"/>
                      </a:lnTo>
                      <a:lnTo>
                        <a:pt x="290" y="53"/>
                      </a:lnTo>
                      <a:lnTo>
                        <a:pt x="292" y="53"/>
                      </a:lnTo>
                      <a:lnTo>
                        <a:pt x="292" y="51"/>
                      </a:lnTo>
                      <a:lnTo>
                        <a:pt x="292" y="49"/>
                      </a:lnTo>
                      <a:lnTo>
                        <a:pt x="294" y="48"/>
                      </a:lnTo>
                      <a:lnTo>
                        <a:pt x="294" y="46"/>
                      </a:lnTo>
                      <a:lnTo>
                        <a:pt x="294" y="45"/>
                      </a:lnTo>
                      <a:lnTo>
                        <a:pt x="295" y="43"/>
                      </a:lnTo>
                      <a:lnTo>
                        <a:pt x="295" y="41"/>
                      </a:lnTo>
                      <a:lnTo>
                        <a:pt x="297" y="41"/>
                      </a:lnTo>
                      <a:lnTo>
                        <a:pt x="299" y="41"/>
                      </a:lnTo>
                      <a:lnTo>
                        <a:pt x="300" y="41"/>
                      </a:lnTo>
                      <a:lnTo>
                        <a:pt x="300" y="40"/>
                      </a:lnTo>
                      <a:lnTo>
                        <a:pt x="302" y="40"/>
                      </a:lnTo>
                      <a:lnTo>
                        <a:pt x="304" y="38"/>
                      </a:lnTo>
                      <a:lnTo>
                        <a:pt x="305" y="38"/>
                      </a:lnTo>
                      <a:lnTo>
                        <a:pt x="305" y="36"/>
                      </a:lnTo>
                      <a:lnTo>
                        <a:pt x="307" y="36"/>
                      </a:lnTo>
                      <a:lnTo>
                        <a:pt x="307" y="35"/>
                      </a:lnTo>
                      <a:lnTo>
                        <a:pt x="305" y="35"/>
                      </a:lnTo>
                      <a:lnTo>
                        <a:pt x="307" y="33"/>
                      </a:lnTo>
                      <a:lnTo>
                        <a:pt x="309" y="30"/>
                      </a:lnTo>
                      <a:lnTo>
                        <a:pt x="309" y="28"/>
                      </a:lnTo>
                      <a:lnTo>
                        <a:pt x="309" y="26"/>
                      </a:lnTo>
                      <a:lnTo>
                        <a:pt x="311" y="26"/>
                      </a:lnTo>
                      <a:lnTo>
                        <a:pt x="311" y="25"/>
                      </a:lnTo>
                      <a:lnTo>
                        <a:pt x="311" y="23"/>
                      </a:lnTo>
                      <a:lnTo>
                        <a:pt x="311" y="22"/>
                      </a:lnTo>
                      <a:lnTo>
                        <a:pt x="311" y="20"/>
                      </a:lnTo>
                      <a:lnTo>
                        <a:pt x="312" y="18"/>
                      </a:lnTo>
                      <a:lnTo>
                        <a:pt x="312" y="17"/>
                      </a:lnTo>
                      <a:lnTo>
                        <a:pt x="312" y="15"/>
                      </a:lnTo>
                      <a:lnTo>
                        <a:pt x="312" y="12"/>
                      </a:lnTo>
                      <a:lnTo>
                        <a:pt x="312" y="10"/>
                      </a:lnTo>
                      <a:lnTo>
                        <a:pt x="314" y="7"/>
                      </a:lnTo>
                      <a:lnTo>
                        <a:pt x="314" y="3"/>
                      </a:lnTo>
                      <a:lnTo>
                        <a:pt x="316" y="3"/>
                      </a:lnTo>
                      <a:lnTo>
                        <a:pt x="316" y="2"/>
                      </a:lnTo>
                      <a:lnTo>
                        <a:pt x="317" y="2"/>
                      </a:lnTo>
                      <a:lnTo>
                        <a:pt x="319" y="0"/>
                      </a:lnTo>
                      <a:lnTo>
                        <a:pt x="321" y="2"/>
                      </a:lnTo>
                      <a:lnTo>
                        <a:pt x="324" y="5"/>
                      </a:lnTo>
                      <a:lnTo>
                        <a:pt x="327" y="7"/>
                      </a:lnTo>
                      <a:lnTo>
                        <a:pt x="329" y="8"/>
                      </a:lnTo>
                      <a:lnTo>
                        <a:pt x="331" y="12"/>
                      </a:lnTo>
                      <a:lnTo>
                        <a:pt x="334" y="13"/>
                      </a:lnTo>
                      <a:lnTo>
                        <a:pt x="338" y="17"/>
                      </a:lnTo>
                      <a:lnTo>
                        <a:pt x="339" y="20"/>
                      </a:lnTo>
                      <a:lnTo>
                        <a:pt x="341" y="20"/>
                      </a:lnTo>
                      <a:lnTo>
                        <a:pt x="341" y="22"/>
                      </a:lnTo>
                      <a:lnTo>
                        <a:pt x="343" y="22"/>
                      </a:lnTo>
                      <a:lnTo>
                        <a:pt x="344" y="23"/>
                      </a:lnTo>
                      <a:lnTo>
                        <a:pt x="344" y="25"/>
                      </a:lnTo>
                      <a:lnTo>
                        <a:pt x="346" y="26"/>
                      </a:lnTo>
                      <a:lnTo>
                        <a:pt x="346" y="28"/>
                      </a:lnTo>
                      <a:lnTo>
                        <a:pt x="348" y="28"/>
                      </a:lnTo>
                      <a:lnTo>
                        <a:pt x="348" y="30"/>
                      </a:lnTo>
                      <a:lnTo>
                        <a:pt x="348" y="31"/>
                      </a:lnTo>
                      <a:lnTo>
                        <a:pt x="349" y="33"/>
                      </a:lnTo>
                      <a:lnTo>
                        <a:pt x="349" y="35"/>
                      </a:lnTo>
                      <a:lnTo>
                        <a:pt x="349" y="36"/>
                      </a:lnTo>
                      <a:lnTo>
                        <a:pt x="349" y="38"/>
                      </a:lnTo>
                      <a:lnTo>
                        <a:pt x="349" y="40"/>
                      </a:lnTo>
                      <a:lnTo>
                        <a:pt x="351" y="41"/>
                      </a:lnTo>
                      <a:lnTo>
                        <a:pt x="351" y="43"/>
                      </a:lnTo>
                      <a:lnTo>
                        <a:pt x="351" y="45"/>
                      </a:lnTo>
                      <a:lnTo>
                        <a:pt x="351" y="46"/>
                      </a:lnTo>
                      <a:lnTo>
                        <a:pt x="351" y="48"/>
                      </a:lnTo>
                      <a:lnTo>
                        <a:pt x="353" y="48"/>
                      </a:lnTo>
                      <a:lnTo>
                        <a:pt x="356" y="49"/>
                      </a:lnTo>
                      <a:lnTo>
                        <a:pt x="358" y="49"/>
                      </a:lnTo>
                      <a:lnTo>
                        <a:pt x="360" y="49"/>
                      </a:lnTo>
                      <a:lnTo>
                        <a:pt x="360" y="51"/>
                      </a:lnTo>
                      <a:lnTo>
                        <a:pt x="361" y="53"/>
                      </a:lnTo>
                      <a:lnTo>
                        <a:pt x="360" y="53"/>
                      </a:lnTo>
                      <a:lnTo>
                        <a:pt x="360" y="54"/>
                      </a:lnTo>
                      <a:lnTo>
                        <a:pt x="360" y="56"/>
                      </a:lnTo>
                      <a:lnTo>
                        <a:pt x="360" y="58"/>
                      </a:lnTo>
                      <a:lnTo>
                        <a:pt x="360" y="59"/>
                      </a:lnTo>
                      <a:lnTo>
                        <a:pt x="360" y="61"/>
                      </a:lnTo>
                      <a:lnTo>
                        <a:pt x="360" y="63"/>
                      </a:lnTo>
                      <a:lnTo>
                        <a:pt x="360" y="64"/>
                      </a:lnTo>
                      <a:lnTo>
                        <a:pt x="360" y="66"/>
                      </a:lnTo>
                      <a:lnTo>
                        <a:pt x="360" y="68"/>
                      </a:lnTo>
                      <a:lnTo>
                        <a:pt x="360" y="69"/>
                      </a:lnTo>
                      <a:lnTo>
                        <a:pt x="360" y="71"/>
                      </a:lnTo>
                      <a:lnTo>
                        <a:pt x="360" y="72"/>
                      </a:lnTo>
                      <a:lnTo>
                        <a:pt x="360" y="76"/>
                      </a:lnTo>
                      <a:lnTo>
                        <a:pt x="360" y="81"/>
                      </a:lnTo>
                      <a:lnTo>
                        <a:pt x="360" y="82"/>
                      </a:lnTo>
                      <a:lnTo>
                        <a:pt x="360" y="84"/>
                      </a:lnTo>
                      <a:lnTo>
                        <a:pt x="361" y="84"/>
                      </a:lnTo>
                      <a:lnTo>
                        <a:pt x="361" y="87"/>
                      </a:lnTo>
                      <a:lnTo>
                        <a:pt x="361" y="89"/>
                      </a:lnTo>
                      <a:lnTo>
                        <a:pt x="360" y="91"/>
                      </a:lnTo>
                      <a:lnTo>
                        <a:pt x="360" y="92"/>
                      </a:lnTo>
                      <a:lnTo>
                        <a:pt x="360" y="94"/>
                      </a:lnTo>
                      <a:lnTo>
                        <a:pt x="360" y="95"/>
                      </a:lnTo>
                      <a:lnTo>
                        <a:pt x="360" y="97"/>
                      </a:lnTo>
                      <a:lnTo>
                        <a:pt x="360" y="99"/>
                      </a:lnTo>
                      <a:lnTo>
                        <a:pt x="360" y="100"/>
                      </a:lnTo>
                      <a:lnTo>
                        <a:pt x="361" y="102"/>
                      </a:lnTo>
                      <a:lnTo>
                        <a:pt x="361" y="104"/>
                      </a:lnTo>
                      <a:lnTo>
                        <a:pt x="361" y="105"/>
                      </a:lnTo>
                      <a:lnTo>
                        <a:pt x="363" y="107"/>
                      </a:lnTo>
                      <a:lnTo>
                        <a:pt x="363" y="109"/>
                      </a:lnTo>
                      <a:lnTo>
                        <a:pt x="363" y="110"/>
                      </a:lnTo>
                      <a:lnTo>
                        <a:pt x="365" y="110"/>
                      </a:lnTo>
                      <a:lnTo>
                        <a:pt x="365" y="112"/>
                      </a:lnTo>
                      <a:lnTo>
                        <a:pt x="365" y="114"/>
                      </a:lnTo>
                      <a:lnTo>
                        <a:pt x="365" y="115"/>
                      </a:lnTo>
                      <a:lnTo>
                        <a:pt x="365" y="117"/>
                      </a:lnTo>
                      <a:lnTo>
                        <a:pt x="365" y="118"/>
                      </a:lnTo>
                      <a:lnTo>
                        <a:pt x="365" y="120"/>
                      </a:lnTo>
                      <a:lnTo>
                        <a:pt x="365" y="123"/>
                      </a:lnTo>
                      <a:lnTo>
                        <a:pt x="366" y="125"/>
                      </a:lnTo>
                      <a:lnTo>
                        <a:pt x="366" y="127"/>
                      </a:lnTo>
                      <a:lnTo>
                        <a:pt x="366" y="128"/>
                      </a:lnTo>
                      <a:lnTo>
                        <a:pt x="366" y="130"/>
                      </a:lnTo>
                      <a:lnTo>
                        <a:pt x="368" y="132"/>
                      </a:lnTo>
                      <a:lnTo>
                        <a:pt x="368" y="133"/>
                      </a:lnTo>
                      <a:lnTo>
                        <a:pt x="368" y="135"/>
                      </a:lnTo>
                      <a:lnTo>
                        <a:pt x="370" y="137"/>
                      </a:lnTo>
                      <a:lnTo>
                        <a:pt x="368" y="137"/>
                      </a:lnTo>
                      <a:lnTo>
                        <a:pt x="370" y="138"/>
                      </a:lnTo>
                      <a:lnTo>
                        <a:pt x="370" y="140"/>
                      </a:lnTo>
                      <a:lnTo>
                        <a:pt x="371" y="141"/>
                      </a:lnTo>
                      <a:lnTo>
                        <a:pt x="373" y="145"/>
                      </a:lnTo>
                      <a:lnTo>
                        <a:pt x="373" y="146"/>
                      </a:lnTo>
                      <a:lnTo>
                        <a:pt x="373" y="148"/>
                      </a:lnTo>
                      <a:lnTo>
                        <a:pt x="373" y="150"/>
                      </a:lnTo>
                      <a:lnTo>
                        <a:pt x="373" y="151"/>
                      </a:lnTo>
                      <a:lnTo>
                        <a:pt x="375" y="151"/>
                      </a:lnTo>
                      <a:lnTo>
                        <a:pt x="376" y="151"/>
                      </a:lnTo>
                      <a:lnTo>
                        <a:pt x="376" y="153"/>
                      </a:lnTo>
                      <a:lnTo>
                        <a:pt x="376" y="155"/>
                      </a:lnTo>
                      <a:lnTo>
                        <a:pt x="376" y="156"/>
                      </a:lnTo>
                      <a:lnTo>
                        <a:pt x="378" y="156"/>
                      </a:lnTo>
                      <a:lnTo>
                        <a:pt x="378" y="158"/>
                      </a:lnTo>
                      <a:lnTo>
                        <a:pt x="378" y="159"/>
                      </a:lnTo>
                      <a:lnTo>
                        <a:pt x="378" y="161"/>
                      </a:lnTo>
                      <a:lnTo>
                        <a:pt x="378" y="163"/>
                      </a:lnTo>
                      <a:lnTo>
                        <a:pt x="380" y="163"/>
                      </a:lnTo>
                      <a:lnTo>
                        <a:pt x="380" y="164"/>
                      </a:lnTo>
                      <a:lnTo>
                        <a:pt x="381" y="164"/>
                      </a:lnTo>
                      <a:lnTo>
                        <a:pt x="381" y="166"/>
                      </a:lnTo>
                      <a:lnTo>
                        <a:pt x="383" y="166"/>
                      </a:lnTo>
                      <a:lnTo>
                        <a:pt x="383" y="168"/>
                      </a:lnTo>
                      <a:lnTo>
                        <a:pt x="383" y="169"/>
                      </a:lnTo>
                      <a:lnTo>
                        <a:pt x="381" y="171"/>
                      </a:lnTo>
                      <a:lnTo>
                        <a:pt x="383" y="171"/>
                      </a:lnTo>
                      <a:lnTo>
                        <a:pt x="381" y="171"/>
                      </a:lnTo>
                      <a:lnTo>
                        <a:pt x="383" y="171"/>
                      </a:lnTo>
                      <a:lnTo>
                        <a:pt x="383" y="173"/>
                      </a:lnTo>
                      <a:lnTo>
                        <a:pt x="383" y="174"/>
                      </a:lnTo>
                      <a:lnTo>
                        <a:pt x="383" y="176"/>
                      </a:lnTo>
                      <a:lnTo>
                        <a:pt x="383" y="178"/>
                      </a:lnTo>
                      <a:lnTo>
                        <a:pt x="383" y="179"/>
                      </a:lnTo>
                      <a:lnTo>
                        <a:pt x="381" y="179"/>
                      </a:lnTo>
                      <a:lnTo>
                        <a:pt x="381" y="181"/>
                      </a:lnTo>
                      <a:lnTo>
                        <a:pt x="381" y="179"/>
                      </a:lnTo>
                      <a:lnTo>
                        <a:pt x="383" y="179"/>
                      </a:lnTo>
                      <a:lnTo>
                        <a:pt x="383" y="181"/>
                      </a:lnTo>
                      <a:lnTo>
                        <a:pt x="383" y="179"/>
                      </a:lnTo>
                      <a:lnTo>
                        <a:pt x="385" y="179"/>
                      </a:lnTo>
                      <a:lnTo>
                        <a:pt x="387" y="179"/>
                      </a:lnTo>
                      <a:lnTo>
                        <a:pt x="388" y="181"/>
                      </a:lnTo>
                      <a:lnTo>
                        <a:pt x="388" y="182"/>
                      </a:lnTo>
                      <a:lnTo>
                        <a:pt x="390" y="184"/>
                      </a:lnTo>
                      <a:lnTo>
                        <a:pt x="390" y="186"/>
                      </a:lnTo>
                      <a:lnTo>
                        <a:pt x="390" y="187"/>
                      </a:lnTo>
                      <a:lnTo>
                        <a:pt x="390" y="189"/>
                      </a:lnTo>
                      <a:lnTo>
                        <a:pt x="390" y="191"/>
                      </a:lnTo>
                      <a:lnTo>
                        <a:pt x="390" y="192"/>
                      </a:lnTo>
                      <a:lnTo>
                        <a:pt x="392" y="192"/>
                      </a:lnTo>
                      <a:lnTo>
                        <a:pt x="392" y="194"/>
                      </a:lnTo>
                      <a:lnTo>
                        <a:pt x="392" y="196"/>
                      </a:lnTo>
                      <a:lnTo>
                        <a:pt x="392" y="197"/>
                      </a:lnTo>
                      <a:lnTo>
                        <a:pt x="393" y="197"/>
                      </a:lnTo>
                      <a:lnTo>
                        <a:pt x="393" y="199"/>
                      </a:lnTo>
                      <a:lnTo>
                        <a:pt x="393" y="201"/>
                      </a:lnTo>
                      <a:lnTo>
                        <a:pt x="393" y="202"/>
                      </a:lnTo>
                      <a:lnTo>
                        <a:pt x="393" y="204"/>
                      </a:lnTo>
                      <a:lnTo>
                        <a:pt x="395" y="204"/>
                      </a:lnTo>
                      <a:lnTo>
                        <a:pt x="395" y="205"/>
                      </a:lnTo>
                      <a:lnTo>
                        <a:pt x="397" y="207"/>
                      </a:lnTo>
                      <a:lnTo>
                        <a:pt x="397" y="209"/>
                      </a:lnTo>
                      <a:lnTo>
                        <a:pt x="398" y="210"/>
                      </a:lnTo>
                      <a:lnTo>
                        <a:pt x="397" y="212"/>
                      </a:lnTo>
                      <a:lnTo>
                        <a:pt x="395" y="212"/>
                      </a:lnTo>
                      <a:lnTo>
                        <a:pt x="397" y="212"/>
                      </a:lnTo>
                      <a:lnTo>
                        <a:pt x="398" y="212"/>
                      </a:lnTo>
                      <a:lnTo>
                        <a:pt x="402" y="210"/>
                      </a:lnTo>
                      <a:lnTo>
                        <a:pt x="407" y="209"/>
                      </a:lnTo>
                      <a:lnTo>
                        <a:pt x="408" y="209"/>
                      </a:lnTo>
                      <a:lnTo>
                        <a:pt x="412" y="207"/>
                      </a:lnTo>
                      <a:lnTo>
                        <a:pt x="414" y="207"/>
                      </a:lnTo>
                      <a:lnTo>
                        <a:pt x="415" y="207"/>
                      </a:lnTo>
                      <a:lnTo>
                        <a:pt x="417" y="207"/>
                      </a:lnTo>
                      <a:lnTo>
                        <a:pt x="419" y="207"/>
                      </a:lnTo>
                      <a:lnTo>
                        <a:pt x="420" y="207"/>
                      </a:lnTo>
                      <a:lnTo>
                        <a:pt x="420" y="209"/>
                      </a:lnTo>
                      <a:lnTo>
                        <a:pt x="420" y="207"/>
                      </a:lnTo>
                      <a:lnTo>
                        <a:pt x="422" y="209"/>
                      </a:lnTo>
                      <a:lnTo>
                        <a:pt x="422" y="210"/>
                      </a:lnTo>
                      <a:lnTo>
                        <a:pt x="424" y="210"/>
                      </a:lnTo>
                      <a:lnTo>
                        <a:pt x="424" y="212"/>
                      </a:lnTo>
                      <a:lnTo>
                        <a:pt x="425" y="214"/>
                      </a:lnTo>
                      <a:lnTo>
                        <a:pt x="425" y="215"/>
                      </a:lnTo>
                      <a:lnTo>
                        <a:pt x="427" y="215"/>
                      </a:lnTo>
                      <a:lnTo>
                        <a:pt x="427" y="217"/>
                      </a:lnTo>
                      <a:lnTo>
                        <a:pt x="429" y="217"/>
                      </a:lnTo>
                      <a:lnTo>
                        <a:pt x="429" y="219"/>
                      </a:lnTo>
                      <a:lnTo>
                        <a:pt x="429" y="220"/>
                      </a:lnTo>
                      <a:lnTo>
                        <a:pt x="430" y="222"/>
                      </a:lnTo>
                      <a:lnTo>
                        <a:pt x="430" y="224"/>
                      </a:lnTo>
                      <a:lnTo>
                        <a:pt x="432" y="224"/>
                      </a:lnTo>
                      <a:lnTo>
                        <a:pt x="432" y="225"/>
                      </a:lnTo>
                      <a:lnTo>
                        <a:pt x="432" y="227"/>
                      </a:lnTo>
                      <a:lnTo>
                        <a:pt x="432" y="228"/>
                      </a:lnTo>
                      <a:lnTo>
                        <a:pt x="434" y="228"/>
                      </a:lnTo>
                      <a:lnTo>
                        <a:pt x="434" y="230"/>
                      </a:lnTo>
                      <a:lnTo>
                        <a:pt x="439" y="243"/>
                      </a:lnTo>
                      <a:lnTo>
                        <a:pt x="441" y="243"/>
                      </a:lnTo>
                      <a:lnTo>
                        <a:pt x="442" y="243"/>
                      </a:lnTo>
                      <a:lnTo>
                        <a:pt x="444" y="243"/>
                      </a:lnTo>
                      <a:lnTo>
                        <a:pt x="446" y="243"/>
                      </a:lnTo>
                      <a:lnTo>
                        <a:pt x="447" y="243"/>
                      </a:lnTo>
                      <a:lnTo>
                        <a:pt x="449" y="243"/>
                      </a:lnTo>
                      <a:lnTo>
                        <a:pt x="451" y="243"/>
                      </a:lnTo>
                      <a:lnTo>
                        <a:pt x="452" y="245"/>
                      </a:lnTo>
                      <a:lnTo>
                        <a:pt x="454" y="245"/>
                      </a:lnTo>
                      <a:lnTo>
                        <a:pt x="456" y="245"/>
                      </a:lnTo>
                      <a:lnTo>
                        <a:pt x="456" y="247"/>
                      </a:lnTo>
                      <a:lnTo>
                        <a:pt x="457" y="247"/>
                      </a:lnTo>
                      <a:lnTo>
                        <a:pt x="459" y="247"/>
                      </a:lnTo>
                      <a:lnTo>
                        <a:pt x="461" y="248"/>
                      </a:lnTo>
                      <a:lnTo>
                        <a:pt x="463" y="248"/>
                      </a:lnTo>
                      <a:lnTo>
                        <a:pt x="466" y="251"/>
                      </a:lnTo>
                      <a:lnTo>
                        <a:pt x="469" y="253"/>
                      </a:lnTo>
                      <a:lnTo>
                        <a:pt x="471" y="253"/>
                      </a:lnTo>
                      <a:lnTo>
                        <a:pt x="471" y="255"/>
                      </a:lnTo>
                      <a:lnTo>
                        <a:pt x="469" y="255"/>
                      </a:lnTo>
                      <a:lnTo>
                        <a:pt x="469" y="256"/>
                      </a:lnTo>
                      <a:lnTo>
                        <a:pt x="471" y="256"/>
                      </a:lnTo>
                      <a:lnTo>
                        <a:pt x="471" y="258"/>
                      </a:lnTo>
                      <a:lnTo>
                        <a:pt x="473" y="260"/>
                      </a:lnTo>
                      <a:lnTo>
                        <a:pt x="473" y="261"/>
                      </a:lnTo>
                      <a:lnTo>
                        <a:pt x="473" y="265"/>
                      </a:lnTo>
                      <a:lnTo>
                        <a:pt x="473" y="268"/>
                      </a:lnTo>
                      <a:lnTo>
                        <a:pt x="473" y="270"/>
                      </a:lnTo>
                      <a:lnTo>
                        <a:pt x="473" y="271"/>
                      </a:lnTo>
                      <a:lnTo>
                        <a:pt x="474" y="271"/>
                      </a:lnTo>
                      <a:lnTo>
                        <a:pt x="474" y="273"/>
                      </a:lnTo>
                      <a:lnTo>
                        <a:pt x="474" y="274"/>
                      </a:lnTo>
                      <a:lnTo>
                        <a:pt x="474" y="276"/>
                      </a:lnTo>
                      <a:lnTo>
                        <a:pt x="474" y="278"/>
                      </a:lnTo>
                      <a:lnTo>
                        <a:pt x="474" y="279"/>
                      </a:lnTo>
                      <a:lnTo>
                        <a:pt x="473" y="279"/>
                      </a:lnTo>
                      <a:lnTo>
                        <a:pt x="473" y="281"/>
                      </a:lnTo>
                      <a:lnTo>
                        <a:pt x="473" y="283"/>
                      </a:lnTo>
                      <a:lnTo>
                        <a:pt x="473" y="284"/>
                      </a:lnTo>
                      <a:lnTo>
                        <a:pt x="473" y="286"/>
                      </a:lnTo>
                      <a:lnTo>
                        <a:pt x="473" y="288"/>
                      </a:lnTo>
                      <a:lnTo>
                        <a:pt x="471" y="289"/>
                      </a:lnTo>
                      <a:lnTo>
                        <a:pt x="471" y="291"/>
                      </a:lnTo>
                      <a:lnTo>
                        <a:pt x="471" y="293"/>
                      </a:lnTo>
                      <a:lnTo>
                        <a:pt x="471" y="296"/>
                      </a:lnTo>
                      <a:lnTo>
                        <a:pt x="473" y="297"/>
                      </a:lnTo>
                      <a:lnTo>
                        <a:pt x="473" y="299"/>
                      </a:lnTo>
                      <a:lnTo>
                        <a:pt x="473" y="301"/>
                      </a:lnTo>
                      <a:lnTo>
                        <a:pt x="471" y="301"/>
                      </a:lnTo>
                      <a:lnTo>
                        <a:pt x="471" y="302"/>
                      </a:lnTo>
                      <a:lnTo>
                        <a:pt x="471" y="304"/>
                      </a:lnTo>
                      <a:lnTo>
                        <a:pt x="469" y="306"/>
                      </a:lnTo>
                      <a:lnTo>
                        <a:pt x="469" y="307"/>
                      </a:lnTo>
                      <a:lnTo>
                        <a:pt x="468" y="307"/>
                      </a:lnTo>
                      <a:lnTo>
                        <a:pt x="468" y="309"/>
                      </a:lnTo>
                      <a:lnTo>
                        <a:pt x="468" y="314"/>
                      </a:lnTo>
                      <a:lnTo>
                        <a:pt x="468" y="316"/>
                      </a:lnTo>
                      <a:lnTo>
                        <a:pt x="468" y="317"/>
                      </a:lnTo>
                      <a:lnTo>
                        <a:pt x="468" y="319"/>
                      </a:lnTo>
                      <a:lnTo>
                        <a:pt x="466" y="320"/>
                      </a:lnTo>
                      <a:lnTo>
                        <a:pt x="466" y="322"/>
                      </a:lnTo>
                      <a:lnTo>
                        <a:pt x="464" y="322"/>
                      </a:lnTo>
                      <a:lnTo>
                        <a:pt x="464" y="324"/>
                      </a:lnTo>
                      <a:lnTo>
                        <a:pt x="463" y="324"/>
                      </a:lnTo>
                      <a:lnTo>
                        <a:pt x="463" y="327"/>
                      </a:lnTo>
                      <a:lnTo>
                        <a:pt x="461" y="329"/>
                      </a:lnTo>
                      <a:lnTo>
                        <a:pt x="459" y="330"/>
                      </a:lnTo>
                      <a:lnTo>
                        <a:pt x="457" y="330"/>
                      </a:lnTo>
                      <a:lnTo>
                        <a:pt x="457" y="332"/>
                      </a:lnTo>
                      <a:lnTo>
                        <a:pt x="457" y="334"/>
                      </a:lnTo>
                      <a:lnTo>
                        <a:pt x="456" y="334"/>
                      </a:lnTo>
                      <a:lnTo>
                        <a:pt x="457" y="334"/>
                      </a:lnTo>
                      <a:lnTo>
                        <a:pt x="457" y="335"/>
                      </a:lnTo>
                      <a:lnTo>
                        <a:pt x="456" y="335"/>
                      </a:lnTo>
                      <a:lnTo>
                        <a:pt x="456" y="337"/>
                      </a:lnTo>
                      <a:lnTo>
                        <a:pt x="454" y="337"/>
                      </a:lnTo>
                      <a:lnTo>
                        <a:pt x="454" y="339"/>
                      </a:lnTo>
                      <a:lnTo>
                        <a:pt x="452" y="339"/>
                      </a:lnTo>
                      <a:lnTo>
                        <a:pt x="454" y="345"/>
                      </a:lnTo>
                      <a:lnTo>
                        <a:pt x="452" y="345"/>
                      </a:lnTo>
                      <a:lnTo>
                        <a:pt x="451" y="345"/>
                      </a:lnTo>
                      <a:lnTo>
                        <a:pt x="449" y="345"/>
                      </a:lnTo>
                      <a:lnTo>
                        <a:pt x="447" y="345"/>
                      </a:lnTo>
                      <a:lnTo>
                        <a:pt x="444" y="345"/>
                      </a:lnTo>
                      <a:lnTo>
                        <a:pt x="437" y="347"/>
                      </a:lnTo>
                      <a:lnTo>
                        <a:pt x="432" y="348"/>
                      </a:lnTo>
                      <a:lnTo>
                        <a:pt x="430" y="348"/>
                      </a:lnTo>
                      <a:lnTo>
                        <a:pt x="429" y="348"/>
                      </a:lnTo>
                      <a:lnTo>
                        <a:pt x="425" y="352"/>
                      </a:lnTo>
                      <a:lnTo>
                        <a:pt x="424" y="353"/>
                      </a:lnTo>
                      <a:lnTo>
                        <a:pt x="422" y="353"/>
                      </a:lnTo>
                      <a:lnTo>
                        <a:pt x="420" y="355"/>
                      </a:lnTo>
                      <a:lnTo>
                        <a:pt x="420" y="357"/>
                      </a:lnTo>
                      <a:lnTo>
                        <a:pt x="419" y="358"/>
                      </a:lnTo>
                      <a:lnTo>
                        <a:pt x="419" y="361"/>
                      </a:lnTo>
                      <a:lnTo>
                        <a:pt x="417" y="363"/>
                      </a:lnTo>
                      <a:lnTo>
                        <a:pt x="417" y="365"/>
                      </a:lnTo>
                      <a:lnTo>
                        <a:pt x="415" y="368"/>
                      </a:lnTo>
                      <a:lnTo>
                        <a:pt x="415" y="370"/>
                      </a:lnTo>
                      <a:lnTo>
                        <a:pt x="414" y="371"/>
                      </a:lnTo>
                      <a:lnTo>
                        <a:pt x="414" y="373"/>
                      </a:lnTo>
                      <a:lnTo>
                        <a:pt x="412" y="376"/>
                      </a:lnTo>
                      <a:lnTo>
                        <a:pt x="412" y="378"/>
                      </a:lnTo>
                      <a:lnTo>
                        <a:pt x="410" y="380"/>
                      </a:lnTo>
                      <a:lnTo>
                        <a:pt x="410" y="381"/>
                      </a:lnTo>
                      <a:lnTo>
                        <a:pt x="407" y="384"/>
                      </a:lnTo>
                      <a:lnTo>
                        <a:pt x="405" y="386"/>
                      </a:lnTo>
                      <a:lnTo>
                        <a:pt x="405" y="388"/>
                      </a:lnTo>
                      <a:lnTo>
                        <a:pt x="403" y="388"/>
                      </a:lnTo>
                      <a:lnTo>
                        <a:pt x="403" y="389"/>
                      </a:lnTo>
                      <a:lnTo>
                        <a:pt x="402" y="389"/>
                      </a:lnTo>
                      <a:lnTo>
                        <a:pt x="400" y="391"/>
                      </a:lnTo>
                      <a:lnTo>
                        <a:pt x="398" y="393"/>
                      </a:lnTo>
                      <a:lnTo>
                        <a:pt x="398" y="394"/>
                      </a:lnTo>
                      <a:lnTo>
                        <a:pt x="395" y="394"/>
                      </a:lnTo>
                      <a:lnTo>
                        <a:pt x="393" y="396"/>
                      </a:lnTo>
                      <a:lnTo>
                        <a:pt x="392" y="398"/>
                      </a:lnTo>
                      <a:lnTo>
                        <a:pt x="390" y="399"/>
                      </a:lnTo>
                      <a:lnTo>
                        <a:pt x="387" y="399"/>
                      </a:lnTo>
                      <a:lnTo>
                        <a:pt x="375" y="403"/>
                      </a:lnTo>
                      <a:lnTo>
                        <a:pt x="373" y="404"/>
                      </a:lnTo>
                      <a:lnTo>
                        <a:pt x="371" y="404"/>
                      </a:lnTo>
                      <a:lnTo>
                        <a:pt x="370" y="406"/>
                      </a:lnTo>
                      <a:lnTo>
                        <a:pt x="370" y="407"/>
                      </a:lnTo>
                      <a:lnTo>
                        <a:pt x="368" y="409"/>
                      </a:lnTo>
                      <a:lnTo>
                        <a:pt x="368" y="411"/>
                      </a:lnTo>
                      <a:lnTo>
                        <a:pt x="366" y="411"/>
                      </a:lnTo>
                      <a:lnTo>
                        <a:pt x="363" y="414"/>
                      </a:lnTo>
                      <a:lnTo>
                        <a:pt x="361" y="416"/>
                      </a:lnTo>
                      <a:lnTo>
                        <a:pt x="361" y="417"/>
                      </a:lnTo>
                      <a:lnTo>
                        <a:pt x="360" y="417"/>
                      </a:lnTo>
                      <a:lnTo>
                        <a:pt x="358" y="419"/>
                      </a:lnTo>
                      <a:lnTo>
                        <a:pt x="358" y="417"/>
                      </a:lnTo>
                      <a:lnTo>
                        <a:pt x="358" y="419"/>
                      </a:lnTo>
                      <a:lnTo>
                        <a:pt x="356" y="419"/>
                      </a:lnTo>
                      <a:lnTo>
                        <a:pt x="354" y="419"/>
                      </a:lnTo>
                      <a:lnTo>
                        <a:pt x="353" y="419"/>
                      </a:lnTo>
                      <a:lnTo>
                        <a:pt x="351" y="419"/>
                      </a:lnTo>
                      <a:lnTo>
                        <a:pt x="349" y="421"/>
                      </a:lnTo>
                      <a:lnTo>
                        <a:pt x="348" y="421"/>
                      </a:lnTo>
                      <a:lnTo>
                        <a:pt x="346" y="422"/>
                      </a:lnTo>
                      <a:lnTo>
                        <a:pt x="344" y="424"/>
                      </a:lnTo>
                      <a:lnTo>
                        <a:pt x="343" y="427"/>
                      </a:lnTo>
                      <a:lnTo>
                        <a:pt x="339" y="430"/>
                      </a:lnTo>
                      <a:lnTo>
                        <a:pt x="339" y="432"/>
                      </a:lnTo>
                      <a:lnTo>
                        <a:pt x="339" y="434"/>
                      </a:lnTo>
                      <a:lnTo>
                        <a:pt x="338" y="434"/>
                      </a:lnTo>
                      <a:lnTo>
                        <a:pt x="336" y="435"/>
                      </a:lnTo>
                      <a:lnTo>
                        <a:pt x="336" y="437"/>
                      </a:lnTo>
                      <a:lnTo>
                        <a:pt x="334" y="437"/>
                      </a:lnTo>
                      <a:lnTo>
                        <a:pt x="334" y="439"/>
                      </a:lnTo>
                      <a:lnTo>
                        <a:pt x="332" y="444"/>
                      </a:lnTo>
                      <a:lnTo>
                        <a:pt x="332" y="445"/>
                      </a:lnTo>
                      <a:lnTo>
                        <a:pt x="329" y="447"/>
                      </a:lnTo>
                      <a:lnTo>
                        <a:pt x="329" y="449"/>
                      </a:lnTo>
                      <a:lnTo>
                        <a:pt x="327" y="449"/>
                      </a:lnTo>
                      <a:lnTo>
                        <a:pt x="327" y="450"/>
                      </a:lnTo>
                      <a:lnTo>
                        <a:pt x="327" y="453"/>
                      </a:lnTo>
                      <a:lnTo>
                        <a:pt x="326" y="453"/>
                      </a:lnTo>
                      <a:lnTo>
                        <a:pt x="324" y="457"/>
                      </a:lnTo>
                      <a:lnTo>
                        <a:pt x="324" y="458"/>
                      </a:lnTo>
                      <a:lnTo>
                        <a:pt x="322" y="460"/>
                      </a:lnTo>
                      <a:lnTo>
                        <a:pt x="321" y="460"/>
                      </a:lnTo>
                      <a:lnTo>
                        <a:pt x="321" y="462"/>
                      </a:lnTo>
                      <a:lnTo>
                        <a:pt x="319" y="462"/>
                      </a:lnTo>
                      <a:lnTo>
                        <a:pt x="317" y="463"/>
                      </a:lnTo>
                      <a:lnTo>
                        <a:pt x="314" y="468"/>
                      </a:lnTo>
                      <a:lnTo>
                        <a:pt x="311" y="470"/>
                      </a:lnTo>
                      <a:lnTo>
                        <a:pt x="309" y="472"/>
                      </a:lnTo>
                      <a:lnTo>
                        <a:pt x="309" y="473"/>
                      </a:lnTo>
                      <a:lnTo>
                        <a:pt x="307" y="475"/>
                      </a:lnTo>
                      <a:lnTo>
                        <a:pt x="305" y="480"/>
                      </a:lnTo>
                      <a:lnTo>
                        <a:pt x="304" y="480"/>
                      </a:lnTo>
                      <a:lnTo>
                        <a:pt x="304" y="481"/>
                      </a:lnTo>
                      <a:lnTo>
                        <a:pt x="304" y="483"/>
                      </a:lnTo>
                      <a:lnTo>
                        <a:pt x="302" y="483"/>
                      </a:lnTo>
                      <a:lnTo>
                        <a:pt x="302" y="485"/>
                      </a:lnTo>
                      <a:lnTo>
                        <a:pt x="302" y="486"/>
                      </a:lnTo>
                      <a:lnTo>
                        <a:pt x="302" y="488"/>
                      </a:lnTo>
                      <a:lnTo>
                        <a:pt x="302" y="490"/>
                      </a:lnTo>
                      <a:lnTo>
                        <a:pt x="302" y="491"/>
                      </a:lnTo>
                      <a:lnTo>
                        <a:pt x="302" y="493"/>
                      </a:lnTo>
                      <a:lnTo>
                        <a:pt x="302" y="495"/>
                      </a:lnTo>
                      <a:lnTo>
                        <a:pt x="302" y="499"/>
                      </a:lnTo>
                      <a:lnTo>
                        <a:pt x="302" y="503"/>
                      </a:lnTo>
                      <a:lnTo>
                        <a:pt x="302" y="506"/>
                      </a:lnTo>
                      <a:lnTo>
                        <a:pt x="300" y="508"/>
                      </a:lnTo>
                      <a:lnTo>
                        <a:pt x="299" y="509"/>
                      </a:lnTo>
                      <a:lnTo>
                        <a:pt x="295" y="513"/>
                      </a:lnTo>
                      <a:lnTo>
                        <a:pt x="294" y="514"/>
                      </a:lnTo>
                      <a:lnTo>
                        <a:pt x="294" y="516"/>
                      </a:lnTo>
                      <a:lnTo>
                        <a:pt x="292" y="516"/>
                      </a:lnTo>
                      <a:lnTo>
                        <a:pt x="290" y="516"/>
                      </a:lnTo>
                      <a:lnTo>
                        <a:pt x="289" y="518"/>
                      </a:lnTo>
                      <a:lnTo>
                        <a:pt x="284" y="518"/>
                      </a:lnTo>
                      <a:lnTo>
                        <a:pt x="282" y="518"/>
                      </a:lnTo>
                      <a:lnTo>
                        <a:pt x="282" y="516"/>
                      </a:lnTo>
                      <a:lnTo>
                        <a:pt x="280" y="516"/>
                      </a:lnTo>
                      <a:lnTo>
                        <a:pt x="280" y="514"/>
                      </a:lnTo>
                      <a:lnTo>
                        <a:pt x="278" y="514"/>
                      </a:lnTo>
                      <a:lnTo>
                        <a:pt x="278" y="516"/>
                      </a:lnTo>
                      <a:lnTo>
                        <a:pt x="278" y="518"/>
                      </a:lnTo>
                      <a:lnTo>
                        <a:pt x="277" y="518"/>
                      </a:lnTo>
                      <a:lnTo>
                        <a:pt x="275" y="518"/>
                      </a:lnTo>
                      <a:lnTo>
                        <a:pt x="275" y="516"/>
                      </a:lnTo>
                      <a:lnTo>
                        <a:pt x="277" y="514"/>
                      </a:lnTo>
                      <a:lnTo>
                        <a:pt x="275" y="514"/>
                      </a:lnTo>
                      <a:lnTo>
                        <a:pt x="275" y="513"/>
                      </a:lnTo>
                      <a:lnTo>
                        <a:pt x="273" y="513"/>
                      </a:lnTo>
                      <a:lnTo>
                        <a:pt x="273" y="514"/>
                      </a:lnTo>
                      <a:lnTo>
                        <a:pt x="273" y="516"/>
                      </a:lnTo>
                      <a:lnTo>
                        <a:pt x="273" y="518"/>
                      </a:lnTo>
                      <a:lnTo>
                        <a:pt x="272" y="518"/>
                      </a:lnTo>
                      <a:lnTo>
                        <a:pt x="270" y="518"/>
                      </a:lnTo>
                      <a:lnTo>
                        <a:pt x="268" y="518"/>
                      </a:lnTo>
                      <a:lnTo>
                        <a:pt x="267" y="519"/>
                      </a:lnTo>
                      <a:lnTo>
                        <a:pt x="267" y="521"/>
                      </a:lnTo>
                      <a:lnTo>
                        <a:pt x="268" y="522"/>
                      </a:lnTo>
                      <a:lnTo>
                        <a:pt x="268" y="524"/>
                      </a:lnTo>
                      <a:lnTo>
                        <a:pt x="267" y="524"/>
                      </a:lnTo>
                      <a:lnTo>
                        <a:pt x="265" y="524"/>
                      </a:lnTo>
                      <a:lnTo>
                        <a:pt x="263" y="522"/>
                      </a:lnTo>
                      <a:lnTo>
                        <a:pt x="262" y="522"/>
                      </a:lnTo>
                      <a:lnTo>
                        <a:pt x="262" y="521"/>
                      </a:lnTo>
                      <a:lnTo>
                        <a:pt x="263" y="519"/>
                      </a:lnTo>
                      <a:lnTo>
                        <a:pt x="262" y="518"/>
                      </a:lnTo>
                      <a:lnTo>
                        <a:pt x="262" y="516"/>
                      </a:lnTo>
                      <a:lnTo>
                        <a:pt x="260" y="516"/>
                      </a:lnTo>
                      <a:lnTo>
                        <a:pt x="258" y="516"/>
                      </a:lnTo>
                      <a:lnTo>
                        <a:pt x="256" y="514"/>
                      </a:lnTo>
                      <a:lnTo>
                        <a:pt x="255" y="514"/>
                      </a:lnTo>
                      <a:lnTo>
                        <a:pt x="253" y="514"/>
                      </a:lnTo>
                      <a:lnTo>
                        <a:pt x="251" y="514"/>
                      </a:lnTo>
                      <a:lnTo>
                        <a:pt x="250" y="514"/>
                      </a:lnTo>
                      <a:lnTo>
                        <a:pt x="248" y="514"/>
                      </a:lnTo>
                      <a:lnTo>
                        <a:pt x="246" y="514"/>
                      </a:lnTo>
                      <a:lnTo>
                        <a:pt x="245" y="513"/>
                      </a:lnTo>
                      <a:lnTo>
                        <a:pt x="243" y="513"/>
                      </a:lnTo>
                      <a:lnTo>
                        <a:pt x="241" y="513"/>
                      </a:lnTo>
                      <a:lnTo>
                        <a:pt x="240" y="509"/>
                      </a:lnTo>
                      <a:lnTo>
                        <a:pt x="238" y="508"/>
                      </a:lnTo>
                      <a:lnTo>
                        <a:pt x="236" y="508"/>
                      </a:lnTo>
                      <a:lnTo>
                        <a:pt x="236" y="506"/>
                      </a:lnTo>
                      <a:lnTo>
                        <a:pt x="235" y="506"/>
                      </a:lnTo>
                      <a:lnTo>
                        <a:pt x="233" y="508"/>
                      </a:lnTo>
                      <a:lnTo>
                        <a:pt x="231" y="506"/>
                      </a:lnTo>
                      <a:lnTo>
                        <a:pt x="233" y="506"/>
                      </a:lnTo>
                      <a:lnTo>
                        <a:pt x="233" y="504"/>
                      </a:lnTo>
                      <a:lnTo>
                        <a:pt x="233" y="503"/>
                      </a:lnTo>
                      <a:lnTo>
                        <a:pt x="233" y="499"/>
                      </a:lnTo>
                      <a:lnTo>
                        <a:pt x="233" y="498"/>
                      </a:lnTo>
                      <a:lnTo>
                        <a:pt x="231" y="498"/>
                      </a:lnTo>
                      <a:lnTo>
                        <a:pt x="231" y="496"/>
                      </a:lnTo>
                      <a:lnTo>
                        <a:pt x="231" y="495"/>
                      </a:lnTo>
                      <a:lnTo>
                        <a:pt x="233" y="495"/>
                      </a:lnTo>
                      <a:lnTo>
                        <a:pt x="235" y="495"/>
                      </a:lnTo>
                      <a:lnTo>
                        <a:pt x="235" y="491"/>
                      </a:lnTo>
                      <a:lnTo>
                        <a:pt x="233" y="490"/>
                      </a:lnTo>
                      <a:lnTo>
                        <a:pt x="233" y="488"/>
                      </a:lnTo>
                      <a:lnTo>
                        <a:pt x="231" y="488"/>
                      </a:lnTo>
                      <a:lnTo>
                        <a:pt x="231" y="486"/>
                      </a:lnTo>
                      <a:lnTo>
                        <a:pt x="229" y="486"/>
                      </a:lnTo>
                      <a:lnTo>
                        <a:pt x="229" y="488"/>
                      </a:lnTo>
                      <a:lnTo>
                        <a:pt x="228" y="488"/>
                      </a:lnTo>
                      <a:lnTo>
                        <a:pt x="226" y="488"/>
                      </a:lnTo>
                      <a:lnTo>
                        <a:pt x="224" y="490"/>
                      </a:lnTo>
                      <a:lnTo>
                        <a:pt x="223" y="490"/>
                      </a:lnTo>
                      <a:lnTo>
                        <a:pt x="221" y="490"/>
                      </a:lnTo>
                      <a:lnTo>
                        <a:pt x="221" y="488"/>
                      </a:lnTo>
                      <a:lnTo>
                        <a:pt x="223" y="488"/>
                      </a:lnTo>
                      <a:lnTo>
                        <a:pt x="223" y="486"/>
                      </a:lnTo>
                      <a:lnTo>
                        <a:pt x="224" y="485"/>
                      </a:lnTo>
                      <a:lnTo>
                        <a:pt x="223" y="485"/>
                      </a:lnTo>
                      <a:lnTo>
                        <a:pt x="223" y="483"/>
                      </a:lnTo>
                      <a:lnTo>
                        <a:pt x="223" y="481"/>
                      </a:lnTo>
                      <a:lnTo>
                        <a:pt x="224" y="481"/>
                      </a:lnTo>
                      <a:lnTo>
                        <a:pt x="224" y="478"/>
                      </a:lnTo>
                      <a:lnTo>
                        <a:pt x="226" y="478"/>
                      </a:lnTo>
                      <a:lnTo>
                        <a:pt x="226" y="476"/>
                      </a:lnTo>
                      <a:lnTo>
                        <a:pt x="226" y="475"/>
                      </a:lnTo>
                      <a:lnTo>
                        <a:pt x="224" y="473"/>
                      </a:lnTo>
                      <a:lnTo>
                        <a:pt x="224" y="472"/>
                      </a:lnTo>
                      <a:lnTo>
                        <a:pt x="224" y="470"/>
                      </a:lnTo>
                      <a:lnTo>
                        <a:pt x="224" y="468"/>
                      </a:lnTo>
                      <a:lnTo>
                        <a:pt x="224" y="467"/>
                      </a:lnTo>
                      <a:lnTo>
                        <a:pt x="223" y="467"/>
                      </a:lnTo>
                      <a:lnTo>
                        <a:pt x="223" y="465"/>
                      </a:lnTo>
                      <a:lnTo>
                        <a:pt x="223" y="463"/>
                      </a:lnTo>
                      <a:lnTo>
                        <a:pt x="221" y="463"/>
                      </a:lnTo>
                      <a:lnTo>
                        <a:pt x="218" y="463"/>
                      </a:lnTo>
                      <a:lnTo>
                        <a:pt x="216" y="463"/>
                      </a:lnTo>
                      <a:lnTo>
                        <a:pt x="214" y="465"/>
                      </a:lnTo>
                      <a:lnTo>
                        <a:pt x="213" y="465"/>
                      </a:lnTo>
                      <a:lnTo>
                        <a:pt x="213" y="463"/>
                      </a:lnTo>
                      <a:lnTo>
                        <a:pt x="209" y="462"/>
                      </a:lnTo>
                      <a:lnTo>
                        <a:pt x="209" y="460"/>
                      </a:lnTo>
                      <a:lnTo>
                        <a:pt x="209" y="458"/>
                      </a:lnTo>
                      <a:lnTo>
                        <a:pt x="208" y="458"/>
                      </a:lnTo>
                      <a:lnTo>
                        <a:pt x="206" y="455"/>
                      </a:lnTo>
                      <a:lnTo>
                        <a:pt x="208" y="455"/>
                      </a:lnTo>
                      <a:lnTo>
                        <a:pt x="208" y="453"/>
                      </a:lnTo>
                      <a:lnTo>
                        <a:pt x="206" y="453"/>
                      </a:lnTo>
                      <a:lnTo>
                        <a:pt x="206" y="452"/>
                      </a:lnTo>
                      <a:lnTo>
                        <a:pt x="208" y="450"/>
                      </a:lnTo>
                      <a:lnTo>
                        <a:pt x="208" y="449"/>
                      </a:lnTo>
                      <a:lnTo>
                        <a:pt x="206" y="447"/>
                      </a:lnTo>
                      <a:lnTo>
                        <a:pt x="206" y="445"/>
                      </a:lnTo>
                      <a:lnTo>
                        <a:pt x="206" y="444"/>
                      </a:lnTo>
                      <a:lnTo>
                        <a:pt x="208" y="444"/>
                      </a:lnTo>
                      <a:lnTo>
                        <a:pt x="208" y="442"/>
                      </a:lnTo>
                      <a:lnTo>
                        <a:pt x="208" y="440"/>
                      </a:lnTo>
                      <a:lnTo>
                        <a:pt x="208" y="439"/>
                      </a:lnTo>
                      <a:lnTo>
                        <a:pt x="208" y="437"/>
                      </a:lnTo>
                      <a:lnTo>
                        <a:pt x="206" y="437"/>
                      </a:lnTo>
                      <a:lnTo>
                        <a:pt x="204" y="437"/>
                      </a:lnTo>
                      <a:lnTo>
                        <a:pt x="202" y="435"/>
                      </a:lnTo>
                      <a:lnTo>
                        <a:pt x="201" y="434"/>
                      </a:lnTo>
                      <a:lnTo>
                        <a:pt x="201" y="432"/>
                      </a:lnTo>
                      <a:lnTo>
                        <a:pt x="196" y="429"/>
                      </a:lnTo>
                      <a:lnTo>
                        <a:pt x="194" y="427"/>
                      </a:lnTo>
                      <a:lnTo>
                        <a:pt x="192" y="427"/>
                      </a:lnTo>
                      <a:lnTo>
                        <a:pt x="192" y="426"/>
                      </a:lnTo>
                      <a:lnTo>
                        <a:pt x="192" y="424"/>
                      </a:lnTo>
                      <a:lnTo>
                        <a:pt x="191" y="424"/>
                      </a:lnTo>
                      <a:lnTo>
                        <a:pt x="189" y="424"/>
                      </a:lnTo>
                      <a:lnTo>
                        <a:pt x="187" y="424"/>
                      </a:lnTo>
                      <a:lnTo>
                        <a:pt x="186" y="424"/>
                      </a:lnTo>
                      <a:lnTo>
                        <a:pt x="184" y="424"/>
                      </a:lnTo>
                      <a:lnTo>
                        <a:pt x="184" y="421"/>
                      </a:lnTo>
                      <a:lnTo>
                        <a:pt x="182" y="419"/>
                      </a:lnTo>
                      <a:lnTo>
                        <a:pt x="182" y="417"/>
                      </a:lnTo>
                      <a:lnTo>
                        <a:pt x="182" y="416"/>
                      </a:lnTo>
                      <a:lnTo>
                        <a:pt x="180" y="416"/>
                      </a:lnTo>
                      <a:lnTo>
                        <a:pt x="180" y="414"/>
                      </a:lnTo>
                      <a:lnTo>
                        <a:pt x="180" y="412"/>
                      </a:lnTo>
                      <a:lnTo>
                        <a:pt x="180" y="411"/>
                      </a:lnTo>
                      <a:lnTo>
                        <a:pt x="180" y="409"/>
                      </a:lnTo>
                      <a:lnTo>
                        <a:pt x="180" y="407"/>
                      </a:lnTo>
                      <a:lnTo>
                        <a:pt x="179" y="407"/>
                      </a:lnTo>
                      <a:lnTo>
                        <a:pt x="179" y="406"/>
                      </a:lnTo>
                      <a:lnTo>
                        <a:pt x="177" y="406"/>
                      </a:lnTo>
                      <a:lnTo>
                        <a:pt x="177" y="404"/>
                      </a:lnTo>
                      <a:lnTo>
                        <a:pt x="177" y="403"/>
                      </a:lnTo>
                      <a:lnTo>
                        <a:pt x="177" y="401"/>
                      </a:lnTo>
                      <a:lnTo>
                        <a:pt x="175" y="401"/>
                      </a:lnTo>
                      <a:lnTo>
                        <a:pt x="174" y="399"/>
                      </a:lnTo>
                      <a:lnTo>
                        <a:pt x="174" y="398"/>
                      </a:lnTo>
                      <a:lnTo>
                        <a:pt x="174" y="396"/>
                      </a:lnTo>
                      <a:lnTo>
                        <a:pt x="172" y="396"/>
                      </a:lnTo>
                      <a:lnTo>
                        <a:pt x="172" y="394"/>
                      </a:lnTo>
                      <a:lnTo>
                        <a:pt x="170" y="394"/>
                      </a:lnTo>
                      <a:lnTo>
                        <a:pt x="170" y="393"/>
                      </a:lnTo>
                      <a:lnTo>
                        <a:pt x="169" y="393"/>
                      </a:lnTo>
                      <a:lnTo>
                        <a:pt x="169" y="389"/>
                      </a:lnTo>
                      <a:lnTo>
                        <a:pt x="167" y="389"/>
                      </a:lnTo>
                      <a:lnTo>
                        <a:pt x="167" y="388"/>
                      </a:lnTo>
                      <a:lnTo>
                        <a:pt x="169" y="386"/>
                      </a:lnTo>
                      <a:lnTo>
                        <a:pt x="167" y="384"/>
                      </a:lnTo>
                      <a:lnTo>
                        <a:pt x="167" y="383"/>
                      </a:lnTo>
                      <a:lnTo>
                        <a:pt x="165" y="383"/>
                      </a:lnTo>
                      <a:lnTo>
                        <a:pt x="165" y="381"/>
                      </a:lnTo>
                      <a:lnTo>
                        <a:pt x="165" y="380"/>
                      </a:lnTo>
                      <a:lnTo>
                        <a:pt x="164" y="380"/>
                      </a:lnTo>
                      <a:lnTo>
                        <a:pt x="164" y="378"/>
                      </a:lnTo>
                      <a:lnTo>
                        <a:pt x="162" y="378"/>
                      </a:lnTo>
                      <a:lnTo>
                        <a:pt x="162" y="376"/>
                      </a:lnTo>
                      <a:lnTo>
                        <a:pt x="162" y="375"/>
                      </a:lnTo>
                      <a:lnTo>
                        <a:pt x="162" y="373"/>
                      </a:lnTo>
                      <a:lnTo>
                        <a:pt x="162" y="371"/>
                      </a:lnTo>
                      <a:lnTo>
                        <a:pt x="162" y="370"/>
                      </a:lnTo>
                      <a:lnTo>
                        <a:pt x="162" y="368"/>
                      </a:lnTo>
                      <a:lnTo>
                        <a:pt x="164" y="366"/>
                      </a:lnTo>
                      <a:lnTo>
                        <a:pt x="164" y="365"/>
                      </a:lnTo>
                      <a:lnTo>
                        <a:pt x="162" y="365"/>
                      </a:lnTo>
                      <a:lnTo>
                        <a:pt x="162" y="363"/>
                      </a:lnTo>
                      <a:lnTo>
                        <a:pt x="162" y="361"/>
                      </a:lnTo>
                      <a:lnTo>
                        <a:pt x="164" y="361"/>
                      </a:lnTo>
                      <a:lnTo>
                        <a:pt x="164" y="360"/>
                      </a:lnTo>
                      <a:lnTo>
                        <a:pt x="164" y="358"/>
                      </a:lnTo>
                      <a:lnTo>
                        <a:pt x="164" y="357"/>
                      </a:lnTo>
                      <a:lnTo>
                        <a:pt x="164" y="355"/>
                      </a:lnTo>
                      <a:lnTo>
                        <a:pt x="165" y="353"/>
                      </a:lnTo>
                      <a:lnTo>
                        <a:pt x="165" y="352"/>
                      </a:lnTo>
                      <a:lnTo>
                        <a:pt x="167" y="352"/>
                      </a:lnTo>
                      <a:lnTo>
                        <a:pt x="167" y="350"/>
                      </a:lnTo>
                      <a:lnTo>
                        <a:pt x="167" y="348"/>
                      </a:lnTo>
                      <a:lnTo>
                        <a:pt x="167" y="347"/>
                      </a:lnTo>
                      <a:lnTo>
                        <a:pt x="167" y="345"/>
                      </a:lnTo>
                      <a:lnTo>
                        <a:pt x="165" y="345"/>
                      </a:lnTo>
                      <a:lnTo>
                        <a:pt x="165" y="347"/>
                      </a:lnTo>
                      <a:lnTo>
                        <a:pt x="164" y="345"/>
                      </a:lnTo>
                      <a:lnTo>
                        <a:pt x="164" y="343"/>
                      </a:lnTo>
                      <a:lnTo>
                        <a:pt x="162" y="342"/>
                      </a:lnTo>
                      <a:lnTo>
                        <a:pt x="160" y="342"/>
                      </a:lnTo>
                      <a:lnTo>
                        <a:pt x="160" y="340"/>
                      </a:lnTo>
                      <a:lnTo>
                        <a:pt x="160" y="339"/>
                      </a:lnTo>
                      <a:lnTo>
                        <a:pt x="159" y="339"/>
                      </a:lnTo>
                      <a:lnTo>
                        <a:pt x="157" y="337"/>
                      </a:lnTo>
                      <a:lnTo>
                        <a:pt x="155" y="337"/>
                      </a:lnTo>
                      <a:lnTo>
                        <a:pt x="153" y="335"/>
                      </a:lnTo>
                      <a:lnTo>
                        <a:pt x="152" y="334"/>
                      </a:lnTo>
                      <a:lnTo>
                        <a:pt x="150" y="332"/>
                      </a:lnTo>
                      <a:lnTo>
                        <a:pt x="148" y="330"/>
                      </a:lnTo>
                      <a:lnTo>
                        <a:pt x="147" y="330"/>
                      </a:lnTo>
                      <a:lnTo>
                        <a:pt x="143" y="329"/>
                      </a:lnTo>
                      <a:lnTo>
                        <a:pt x="143" y="327"/>
                      </a:lnTo>
                      <a:lnTo>
                        <a:pt x="142" y="327"/>
                      </a:lnTo>
                      <a:lnTo>
                        <a:pt x="142" y="325"/>
                      </a:lnTo>
                      <a:lnTo>
                        <a:pt x="140" y="325"/>
                      </a:lnTo>
                      <a:lnTo>
                        <a:pt x="138" y="324"/>
                      </a:lnTo>
                      <a:lnTo>
                        <a:pt x="138" y="322"/>
                      </a:lnTo>
                      <a:lnTo>
                        <a:pt x="138" y="320"/>
                      </a:lnTo>
                      <a:lnTo>
                        <a:pt x="138" y="319"/>
                      </a:lnTo>
                      <a:lnTo>
                        <a:pt x="137" y="319"/>
                      </a:lnTo>
                      <a:lnTo>
                        <a:pt x="137" y="317"/>
                      </a:lnTo>
                      <a:lnTo>
                        <a:pt x="137" y="316"/>
                      </a:lnTo>
                      <a:lnTo>
                        <a:pt x="138" y="316"/>
                      </a:lnTo>
                      <a:lnTo>
                        <a:pt x="138" y="314"/>
                      </a:lnTo>
                      <a:lnTo>
                        <a:pt x="137" y="314"/>
                      </a:lnTo>
                      <a:lnTo>
                        <a:pt x="137" y="312"/>
                      </a:lnTo>
                      <a:lnTo>
                        <a:pt x="135" y="312"/>
                      </a:lnTo>
                      <a:lnTo>
                        <a:pt x="135" y="311"/>
                      </a:lnTo>
                      <a:lnTo>
                        <a:pt x="135" y="307"/>
                      </a:lnTo>
                      <a:lnTo>
                        <a:pt x="135" y="306"/>
                      </a:lnTo>
                      <a:lnTo>
                        <a:pt x="135" y="304"/>
                      </a:lnTo>
                      <a:lnTo>
                        <a:pt x="137" y="304"/>
                      </a:lnTo>
                      <a:lnTo>
                        <a:pt x="138" y="304"/>
                      </a:lnTo>
                      <a:lnTo>
                        <a:pt x="140" y="304"/>
                      </a:lnTo>
                      <a:lnTo>
                        <a:pt x="140" y="302"/>
                      </a:lnTo>
                      <a:lnTo>
                        <a:pt x="140" y="301"/>
                      </a:lnTo>
                      <a:lnTo>
                        <a:pt x="140" y="299"/>
                      </a:lnTo>
                      <a:lnTo>
                        <a:pt x="138" y="299"/>
                      </a:lnTo>
                      <a:lnTo>
                        <a:pt x="138" y="297"/>
                      </a:lnTo>
                      <a:lnTo>
                        <a:pt x="137" y="297"/>
                      </a:lnTo>
                      <a:lnTo>
                        <a:pt x="137" y="296"/>
                      </a:lnTo>
                      <a:lnTo>
                        <a:pt x="135" y="296"/>
                      </a:lnTo>
                      <a:lnTo>
                        <a:pt x="133" y="296"/>
                      </a:lnTo>
                      <a:lnTo>
                        <a:pt x="131" y="297"/>
                      </a:lnTo>
                      <a:lnTo>
                        <a:pt x="130" y="297"/>
                      </a:lnTo>
                      <a:lnTo>
                        <a:pt x="128" y="297"/>
                      </a:lnTo>
                      <a:lnTo>
                        <a:pt x="128" y="299"/>
                      </a:lnTo>
                      <a:lnTo>
                        <a:pt x="126" y="299"/>
                      </a:lnTo>
                      <a:lnTo>
                        <a:pt x="126" y="297"/>
                      </a:lnTo>
                      <a:lnTo>
                        <a:pt x="126" y="296"/>
                      </a:lnTo>
                      <a:lnTo>
                        <a:pt x="128" y="296"/>
                      </a:lnTo>
                      <a:lnTo>
                        <a:pt x="128" y="294"/>
                      </a:lnTo>
                      <a:lnTo>
                        <a:pt x="128" y="293"/>
                      </a:lnTo>
                      <a:lnTo>
                        <a:pt x="126" y="293"/>
                      </a:lnTo>
                      <a:lnTo>
                        <a:pt x="125" y="293"/>
                      </a:lnTo>
                      <a:lnTo>
                        <a:pt x="125" y="291"/>
                      </a:lnTo>
                      <a:lnTo>
                        <a:pt x="125" y="289"/>
                      </a:lnTo>
                      <a:lnTo>
                        <a:pt x="126" y="289"/>
                      </a:lnTo>
                      <a:lnTo>
                        <a:pt x="126" y="288"/>
                      </a:lnTo>
                      <a:lnTo>
                        <a:pt x="126" y="286"/>
                      </a:lnTo>
                      <a:lnTo>
                        <a:pt x="125" y="286"/>
                      </a:lnTo>
                      <a:lnTo>
                        <a:pt x="123" y="286"/>
                      </a:lnTo>
                      <a:lnTo>
                        <a:pt x="121" y="286"/>
                      </a:lnTo>
                      <a:lnTo>
                        <a:pt x="121" y="284"/>
                      </a:lnTo>
                      <a:lnTo>
                        <a:pt x="120" y="286"/>
                      </a:lnTo>
                      <a:lnTo>
                        <a:pt x="118" y="286"/>
                      </a:lnTo>
                      <a:lnTo>
                        <a:pt x="116" y="288"/>
                      </a:lnTo>
                      <a:lnTo>
                        <a:pt x="115" y="286"/>
                      </a:lnTo>
                      <a:lnTo>
                        <a:pt x="116" y="286"/>
                      </a:lnTo>
                      <a:lnTo>
                        <a:pt x="116" y="284"/>
                      </a:lnTo>
                      <a:lnTo>
                        <a:pt x="116" y="283"/>
                      </a:lnTo>
                      <a:lnTo>
                        <a:pt x="116" y="281"/>
                      </a:lnTo>
                      <a:lnTo>
                        <a:pt x="116" y="279"/>
                      </a:lnTo>
                      <a:lnTo>
                        <a:pt x="116" y="281"/>
                      </a:lnTo>
                      <a:lnTo>
                        <a:pt x="115" y="281"/>
                      </a:lnTo>
                      <a:lnTo>
                        <a:pt x="115" y="283"/>
                      </a:lnTo>
                      <a:lnTo>
                        <a:pt x="113" y="283"/>
                      </a:lnTo>
                      <a:lnTo>
                        <a:pt x="111" y="283"/>
                      </a:lnTo>
                      <a:lnTo>
                        <a:pt x="110" y="283"/>
                      </a:lnTo>
                      <a:lnTo>
                        <a:pt x="110" y="281"/>
                      </a:lnTo>
                      <a:lnTo>
                        <a:pt x="111" y="281"/>
                      </a:lnTo>
                      <a:lnTo>
                        <a:pt x="111" y="279"/>
                      </a:lnTo>
                      <a:lnTo>
                        <a:pt x="110" y="278"/>
                      </a:lnTo>
                      <a:lnTo>
                        <a:pt x="110" y="279"/>
                      </a:lnTo>
                      <a:lnTo>
                        <a:pt x="110" y="281"/>
                      </a:lnTo>
                      <a:lnTo>
                        <a:pt x="108" y="281"/>
                      </a:lnTo>
                      <a:lnTo>
                        <a:pt x="108" y="283"/>
                      </a:lnTo>
                      <a:lnTo>
                        <a:pt x="108" y="281"/>
                      </a:lnTo>
                      <a:lnTo>
                        <a:pt x="106" y="281"/>
                      </a:lnTo>
                      <a:lnTo>
                        <a:pt x="106" y="279"/>
                      </a:lnTo>
                      <a:lnTo>
                        <a:pt x="104" y="281"/>
                      </a:lnTo>
                      <a:lnTo>
                        <a:pt x="103" y="281"/>
                      </a:lnTo>
                      <a:lnTo>
                        <a:pt x="103" y="279"/>
                      </a:lnTo>
                      <a:lnTo>
                        <a:pt x="101" y="279"/>
                      </a:lnTo>
                      <a:lnTo>
                        <a:pt x="99" y="279"/>
                      </a:lnTo>
                      <a:lnTo>
                        <a:pt x="101" y="279"/>
                      </a:lnTo>
                      <a:lnTo>
                        <a:pt x="101" y="281"/>
                      </a:lnTo>
                      <a:lnTo>
                        <a:pt x="99" y="283"/>
                      </a:lnTo>
                      <a:lnTo>
                        <a:pt x="99" y="281"/>
                      </a:lnTo>
                      <a:lnTo>
                        <a:pt x="98" y="281"/>
                      </a:lnTo>
                      <a:lnTo>
                        <a:pt x="96" y="281"/>
                      </a:lnTo>
                      <a:lnTo>
                        <a:pt x="94" y="279"/>
                      </a:lnTo>
                      <a:lnTo>
                        <a:pt x="94" y="281"/>
                      </a:lnTo>
                      <a:lnTo>
                        <a:pt x="94" y="279"/>
                      </a:lnTo>
                      <a:lnTo>
                        <a:pt x="94" y="278"/>
                      </a:lnTo>
                      <a:lnTo>
                        <a:pt x="93" y="276"/>
                      </a:lnTo>
                      <a:lnTo>
                        <a:pt x="91" y="276"/>
                      </a:lnTo>
                      <a:lnTo>
                        <a:pt x="91" y="278"/>
                      </a:lnTo>
                      <a:lnTo>
                        <a:pt x="89" y="278"/>
                      </a:lnTo>
                      <a:lnTo>
                        <a:pt x="89" y="276"/>
                      </a:lnTo>
                      <a:lnTo>
                        <a:pt x="89" y="274"/>
                      </a:lnTo>
                      <a:lnTo>
                        <a:pt x="88" y="274"/>
                      </a:lnTo>
                      <a:lnTo>
                        <a:pt x="88" y="273"/>
                      </a:lnTo>
                      <a:lnTo>
                        <a:pt x="86" y="273"/>
                      </a:lnTo>
                      <a:lnTo>
                        <a:pt x="86" y="274"/>
                      </a:lnTo>
                      <a:lnTo>
                        <a:pt x="84" y="274"/>
                      </a:lnTo>
                      <a:lnTo>
                        <a:pt x="84" y="273"/>
                      </a:lnTo>
                      <a:lnTo>
                        <a:pt x="84" y="274"/>
                      </a:lnTo>
                      <a:lnTo>
                        <a:pt x="83" y="274"/>
                      </a:lnTo>
                      <a:lnTo>
                        <a:pt x="83" y="273"/>
                      </a:lnTo>
                      <a:lnTo>
                        <a:pt x="83" y="271"/>
                      </a:lnTo>
                      <a:lnTo>
                        <a:pt x="83" y="270"/>
                      </a:lnTo>
                      <a:lnTo>
                        <a:pt x="81" y="270"/>
                      </a:lnTo>
                      <a:lnTo>
                        <a:pt x="81" y="271"/>
                      </a:lnTo>
                      <a:lnTo>
                        <a:pt x="79" y="271"/>
                      </a:lnTo>
                      <a:lnTo>
                        <a:pt x="77" y="273"/>
                      </a:lnTo>
                      <a:lnTo>
                        <a:pt x="76" y="271"/>
                      </a:lnTo>
                      <a:lnTo>
                        <a:pt x="76" y="273"/>
                      </a:lnTo>
                      <a:lnTo>
                        <a:pt x="74" y="273"/>
                      </a:lnTo>
                      <a:lnTo>
                        <a:pt x="74" y="271"/>
                      </a:lnTo>
                      <a:lnTo>
                        <a:pt x="74" y="270"/>
                      </a:lnTo>
                      <a:lnTo>
                        <a:pt x="74" y="268"/>
                      </a:lnTo>
                      <a:lnTo>
                        <a:pt x="74" y="266"/>
                      </a:lnTo>
                      <a:lnTo>
                        <a:pt x="72" y="266"/>
                      </a:lnTo>
                      <a:lnTo>
                        <a:pt x="72" y="265"/>
                      </a:lnTo>
                      <a:lnTo>
                        <a:pt x="74" y="265"/>
                      </a:lnTo>
                      <a:lnTo>
                        <a:pt x="74" y="263"/>
                      </a:lnTo>
                      <a:lnTo>
                        <a:pt x="72" y="263"/>
                      </a:lnTo>
                      <a:lnTo>
                        <a:pt x="72" y="265"/>
                      </a:lnTo>
                      <a:lnTo>
                        <a:pt x="71" y="263"/>
                      </a:lnTo>
                      <a:lnTo>
                        <a:pt x="71" y="261"/>
                      </a:lnTo>
                      <a:lnTo>
                        <a:pt x="71" y="260"/>
                      </a:lnTo>
                      <a:lnTo>
                        <a:pt x="69" y="260"/>
                      </a:lnTo>
                      <a:lnTo>
                        <a:pt x="69" y="258"/>
                      </a:lnTo>
                      <a:lnTo>
                        <a:pt x="67" y="258"/>
                      </a:lnTo>
                      <a:lnTo>
                        <a:pt x="66" y="258"/>
                      </a:lnTo>
                      <a:lnTo>
                        <a:pt x="66" y="256"/>
                      </a:lnTo>
                      <a:lnTo>
                        <a:pt x="66" y="258"/>
                      </a:lnTo>
                      <a:lnTo>
                        <a:pt x="66" y="260"/>
                      </a:lnTo>
                      <a:lnTo>
                        <a:pt x="64" y="260"/>
                      </a:lnTo>
                      <a:lnTo>
                        <a:pt x="64" y="258"/>
                      </a:lnTo>
                      <a:lnTo>
                        <a:pt x="62" y="258"/>
                      </a:lnTo>
                      <a:lnTo>
                        <a:pt x="62" y="256"/>
                      </a:lnTo>
                      <a:lnTo>
                        <a:pt x="61" y="256"/>
                      </a:lnTo>
                      <a:lnTo>
                        <a:pt x="61" y="255"/>
                      </a:lnTo>
                      <a:lnTo>
                        <a:pt x="59" y="255"/>
                      </a:lnTo>
                      <a:lnTo>
                        <a:pt x="57" y="255"/>
                      </a:lnTo>
                      <a:lnTo>
                        <a:pt x="57" y="253"/>
                      </a:lnTo>
                      <a:lnTo>
                        <a:pt x="57" y="251"/>
                      </a:lnTo>
                      <a:lnTo>
                        <a:pt x="57" y="253"/>
                      </a:lnTo>
                      <a:lnTo>
                        <a:pt x="55" y="253"/>
                      </a:lnTo>
                      <a:lnTo>
                        <a:pt x="55" y="251"/>
                      </a:lnTo>
                      <a:lnTo>
                        <a:pt x="54" y="251"/>
                      </a:lnTo>
                      <a:lnTo>
                        <a:pt x="54" y="250"/>
                      </a:lnTo>
                      <a:lnTo>
                        <a:pt x="52" y="250"/>
                      </a:lnTo>
                      <a:lnTo>
                        <a:pt x="50" y="250"/>
                      </a:lnTo>
                      <a:lnTo>
                        <a:pt x="50" y="248"/>
                      </a:lnTo>
                      <a:lnTo>
                        <a:pt x="49" y="248"/>
                      </a:lnTo>
                      <a:lnTo>
                        <a:pt x="47" y="248"/>
                      </a:lnTo>
                      <a:lnTo>
                        <a:pt x="45" y="250"/>
                      </a:lnTo>
                      <a:lnTo>
                        <a:pt x="45" y="248"/>
                      </a:lnTo>
                      <a:lnTo>
                        <a:pt x="44" y="248"/>
                      </a:lnTo>
                      <a:lnTo>
                        <a:pt x="42" y="248"/>
                      </a:lnTo>
                      <a:lnTo>
                        <a:pt x="40" y="248"/>
                      </a:lnTo>
                      <a:lnTo>
                        <a:pt x="39" y="248"/>
                      </a:lnTo>
                      <a:lnTo>
                        <a:pt x="37" y="248"/>
                      </a:lnTo>
                      <a:lnTo>
                        <a:pt x="35" y="248"/>
                      </a:lnTo>
                      <a:lnTo>
                        <a:pt x="34" y="248"/>
                      </a:lnTo>
                      <a:lnTo>
                        <a:pt x="34" y="247"/>
                      </a:lnTo>
                      <a:lnTo>
                        <a:pt x="32" y="247"/>
                      </a:lnTo>
                      <a:lnTo>
                        <a:pt x="30" y="247"/>
                      </a:lnTo>
                      <a:lnTo>
                        <a:pt x="28" y="247"/>
                      </a:lnTo>
                      <a:lnTo>
                        <a:pt x="28" y="245"/>
                      </a:lnTo>
                      <a:lnTo>
                        <a:pt x="28" y="247"/>
                      </a:lnTo>
                      <a:lnTo>
                        <a:pt x="27" y="247"/>
                      </a:lnTo>
                      <a:lnTo>
                        <a:pt x="27" y="245"/>
                      </a:lnTo>
                      <a:lnTo>
                        <a:pt x="25" y="245"/>
                      </a:lnTo>
                      <a:lnTo>
                        <a:pt x="25" y="247"/>
                      </a:lnTo>
                      <a:lnTo>
                        <a:pt x="23" y="247"/>
                      </a:lnTo>
                      <a:lnTo>
                        <a:pt x="22" y="247"/>
                      </a:lnTo>
                      <a:lnTo>
                        <a:pt x="20" y="247"/>
                      </a:lnTo>
                      <a:lnTo>
                        <a:pt x="18" y="247"/>
                      </a:lnTo>
                      <a:lnTo>
                        <a:pt x="17" y="247"/>
                      </a:lnTo>
                      <a:lnTo>
                        <a:pt x="15" y="247"/>
                      </a:lnTo>
                      <a:lnTo>
                        <a:pt x="13" y="247"/>
                      </a:lnTo>
                      <a:lnTo>
                        <a:pt x="12" y="247"/>
                      </a:lnTo>
                      <a:lnTo>
                        <a:pt x="12" y="245"/>
                      </a:lnTo>
                      <a:lnTo>
                        <a:pt x="12" y="243"/>
                      </a:lnTo>
                      <a:lnTo>
                        <a:pt x="12" y="242"/>
                      </a:lnTo>
                      <a:lnTo>
                        <a:pt x="13" y="242"/>
                      </a:lnTo>
                      <a:lnTo>
                        <a:pt x="13" y="240"/>
                      </a:lnTo>
                      <a:lnTo>
                        <a:pt x="12" y="240"/>
                      </a:lnTo>
                      <a:lnTo>
                        <a:pt x="12" y="238"/>
                      </a:lnTo>
                      <a:lnTo>
                        <a:pt x="12" y="237"/>
                      </a:lnTo>
                      <a:lnTo>
                        <a:pt x="12" y="235"/>
                      </a:lnTo>
                      <a:lnTo>
                        <a:pt x="10" y="235"/>
                      </a:lnTo>
                      <a:lnTo>
                        <a:pt x="10" y="233"/>
                      </a:lnTo>
                      <a:lnTo>
                        <a:pt x="10" y="232"/>
                      </a:lnTo>
                      <a:lnTo>
                        <a:pt x="10" y="230"/>
                      </a:lnTo>
                      <a:lnTo>
                        <a:pt x="12" y="230"/>
                      </a:lnTo>
                      <a:lnTo>
                        <a:pt x="12" y="228"/>
                      </a:lnTo>
                      <a:lnTo>
                        <a:pt x="10" y="227"/>
                      </a:lnTo>
                      <a:lnTo>
                        <a:pt x="10" y="225"/>
                      </a:lnTo>
                      <a:lnTo>
                        <a:pt x="8" y="225"/>
                      </a:lnTo>
                      <a:lnTo>
                        <a:pt x="8" y="224"/>
                      </a:lnTo>
                      <a:lnTo>
                        <a:pt x="7" y="224"/>
                      </a:lnTo>
                      <a:lnTo>
                        <a:pt x="7" y="222"/>
                      </a:lnTo>
                      <a:lnTo>
                        <a:pt x="7" y="220"/>
                      </a:lnTo>
                      <a:lnTo>
                        <a:pt x="7" y="219"/>
                      </a:lnTo>
                      <a:lnTo>
                        <a:pt x="7" y="217"/>
                      </a:lnTo>
                      <a:lnTo>
                        <a:pt x="7" y="215"/>
                      </a:lnTo>
                      <a:lnTo>
                        <a:pt x="7" y="214"/>
                      </a:lnTo>
                      <a:lnTo>
                        <a:pt x="7" y="212"/>
                      </a:lnTo>
                      <a:lnTo>
                        <a:pt x="8" y="212"/>
                      </a:lnTo>
                      <a:lnTo>
                        <a:pt x="8" y="210"/>
                      </a:lnTo>
                      <a:lnTo>
                        <a:pt x="8" y="209"/>
                      </a:lnTo>
                      <a:lnTo>
                        <a:pt x="10" y="209"/>
                      </a:lnTo>
                      <a:lnTo>
                        <a:pt x="10" y="207"/>
                      </a:lnTo>
                      <a:lnTo>
                        <a:pt x="10" y="205"/>
                      </a:lnTo>
                      <a:lnTo>
                        <a:pt x="8" y="205"/>
                      </a:lnTo>
                      <a:lnTo>
                        <a:pt x="8" y="204"/>
                      </a:lnTo>
                      <a:lnTo>
                        <a:pt x="7" y="202"/>
                      </a:lnTo>
                      <a:lnTo>
                        <a:pt x="7" y="201"/>
                      </a:lnTo>
                      <a:lnTo>
                        <a:pt x="7" y="199"/>
                      </a:lnTo>
                      <a:lnTo>
                        <a:pt x="7" y="197"/>
                      </a:lnTo>
                      <a:lnTo>
                        <a:pt x="8" y="197"/>
                      </a:lnTo>
                      <a:lnTo>
                        <a:pt x="8" y="196"/>
                      </a:lnTo>
                      <a:lnTo>
                        <a:pt x="7" y="196"/>
                      </a:lnTo>
                      <a:lnTo>
                        <a:pt x="7" y="194"/>
                      </a:lnTo>
                      <a:lnTo>
                        <a:pt x="5" y="194"/>
                      </a:lnTo>
                      <a:lnTo>
                        <a:pt x="3" y="191"/>
                      </a:lnTo>
                      <a:lnTo>
                        <a:pt x="1" y="189"/>
                      </a:lnTo>
                      <a:lnTo>
                        <a:pt x="1" y="187"/>
                      </a:lnTo>
                      <a:lnTo>
                        <a:pt x="0" y="187"/>
                      </a:lnTo>
                      <a:lnTo>
                        <a:pt x="0" y="186"/>
                      </a:lnTo>
                      <a:lnTo>
                        <a:pt x="7" y="186"/>
                      </a:lnTo>
                      <a:lnTo>
                        <a:pt x="12" y="182"/>
                      </a:lnTo>
                      <a:lnTo>
                        <a:pt x="18" y="184"/>
                      </a:lnTo>
                      <a:lnTo>
                        <a:pt x="18" y="187"/>
                      </a:lnTo>
                      <a:lnTo>
                        <a:pt x="17" y="192"/>
                      </a:lnTo>
                      <a:lnTo>
                        <a:pt x="20" y="196"/>
                      </a:lnTo>
                      <a:lnTo>
                        <a:pt x="25" y="194"/>
                      </a:lnTo>
                      <a:lnTo>
                        <a:pt x="42" y="205"/>
                      </a:lnTo>
                      <a:lnTo>
                        <a:pt x="66" y="209"/>
                      </a:lnTo>
                      <a:lnTo>
                        <a:pt x="83" y="204"/>
                      </a:lnTo>
                      <a:lnTo>
                        <a:pt x="84" y="204"/>
                      </a:lnTo>
                      <a:lnTo>
                        <a:pt x="86" y="204"/>
                      </a:lnTo>
                      <a:lnTo>
                        <a:pt x="88" y="202"/>
                      </a:lnTo>
                      <a:lnTo>
                        <a:pt x="88" y="204"/>
                      </a:lnTo>
                      <a:lnTo>
                        <a:pt x="88" y="202"/>
                      </a:lnTo>
                      <a:lnTo>
                        <a:pt x="89" y="202"/>
                      </a:lnTo>
                      <a:lnTo>
                        <a:pt x="89" y="201"/>
                      </a:lnTo>
                      <a:lnTo>
                        <a:pt x="88" y="201"/>
                      </a:lnTo>
                      <a:lnTo>
                        <a:pt x="89" y="199"/>
                      </a:lnTo>
                      <a:lnTo>
                        <a:pt x="91" y="199"/>
                      </a:lnTo>
                      <a:lnTo>
                        <a:pt x="91" y="201"/>
                      </a:lnTo>
                      <a:lnTo>
                        <a:pt x="93" y="201"/>
                      </a:lnTo>
                      <a:lnTo>
                        <a:pt x="93" y="199"/>
                      </a:lnTo>
                      <a:lnTo>
                        <a:pt x="93" y="201"/>
                      </a:lnTo>
                      <a:lnTo>
                        <a:pt x="93" y="199"/>
                      </a:lnTo>
                      <a:lnTo>
                        <a:pt x="94" y="197"/>
                      </a:lnTo>
                      <a:lnTo>
                        <a:pt x="93" y="197"/>
                      </a:lnTo>
                      <a:lnTo>
                        <a:pt x="94" y="197"/>
                      </a:lnTo>
                      <a:lnTo>
                        <a:pt x="94" y="196"/>
                      </a:lnTo>
                      <a:lnTo>
                        <a:pt x="94" y="197"/>
                      </a:lnTo>
                      <a:lnTo>
                        <a:pt x="94" y="196"/>
                      </a:lnTo>
                      <a:lnTo>
                        <a:pt x="96" y="197"/>
                      </a:lnTo>
                      <a:lnTo>
                        <a:pt x="96" y="196"/>
                      </a:lnTo>
                      <a:lnTo>
                        <a:pt x="98" y="197"/>
                      </a:lnTo>
                      <a:lnTo>
                        <a:pt x="99" y="197"/>
                      </a:lnTo>
                      <a:lnTo>
                        <a:pt x="99" y="196"/>
                      </a:lnTo>
                      <a:lnTo>
                        <a:pt x="101" y="196"/>
                      </a:lnTo>
                      <a:lnTo>
                        <a:pt x="99" y="196"/>
                      </a:lnTo>
                      <a:lnTo>
                        <a:pt x="98" y="196"/>
                      </a:lnTo>
                      <a:lnTo>
                        <a:pt x="99" y="194"/>
                      </a:lnTo>
                      <a:lnTo>
                        <a:pt x="101" y="194"/>
                      </a:lnTo>
                      <a:lnTo>
                        <a:pt x="101" y="192"/>
                      </a:lnTo>
                      <a:lnTo>
                        <a:pt x="103" y="192"/>
                      </a:lnTo>
                      <a:lnTo>
                        <a:pt x="103" y="191"/>
                      </a:lnTo>
                      <a:lnTo>
                        <a:pt x="104" y="191"/>
                      </a:lnTo>
                      <a:lnTo>
                        <a:pt x="106" y="191"/>
                      </a:lnTo>
                      <a:lnTo>
                        <a:pt x="108" y="191"/>
                      </a:lnTo>
                      <a:lnTo>
                        <a:pt x="108" y="192"/>
                      </a:lnTo>
                      <a:lnTo>
                        <a:pt x="106" y="192"/>
                      </a:lnTo>
                      <a:lnTo>
                        <a:pt x="108" y="192"/>
                      </a:lnTo>
                      <a:lnTo>
                        <a:pt x="110" y="194"/>
                      </a:lnTo>
                      <a:lnTo>
                        <a:pt x="110" y="192"/>
                      </a:lnTo>
                      <a:lnTo>
                        <a:pt x="110" y="194"/>
                      </a:lnTo>
                      <a:lnTo>
                        <a:pt x="108" y="194"/>
                      </a:lnTo>
                      <a:lnTo>
                        <a:pt x="108" y="196"/>
                      </a:lnTo>
                      <a:lnTo>
                        <a:pt x="106" y="196"/>
                      </a:lnTo>
                      <a:lnTo>
                        <a:pt x="106" y="197"/>
                      </a:lnTo>
                      <a:lnTo>
                        <a:pt x="108" y="197"/>
                      </a:lnTo>
                      <a:lnTo>
                        <a:pt x="110" y="197"/>
                      </a:lnTo>
                      <a:lnTo>
                        <a:pt x="111" y="197"/>
                      </a:lnTo>
                      <a:lnTo>
                        <a:pt x="113" y="197"/>
                      </a:lnTo>
                      <a:lnTo>
                        <a:pt x="113" y="199"/>
                      </a:lnTo>
                      <a:lnTo>
                        <a:pt x="113" y="197"/>
                      </a:lnTo>
                      <a:lnTo>
                        <a:pt x="115" y="197"/>
                      </a:lnTo>
                      <a:lnTo>
                        <a:pt x="116" y="197"/>
                      </a:lnTo>
                      <a:lnTo>
                        <a:pt x="116" y="199"/>
                      </a:lnTo>
                      <a:lnTo>
                        <a:pt x="115" y="199"/>
                      </a:lnTo>
                      <a:lnTo>
                        <a:pt x="116" y="199"/>
                      </a:lnTo>
                      <a:lnTo>
                        <a:pt x="118" y="199"/>
                      </a:lnTo>
                      <a:lnTo>
                        <a:pt x="120" y="201"/>
                      </a:lnTo>
                      <a:lnTo>
                        <a:pt x="120" y="199"/>
                      </a:lnTo>
                      <a:lnTo>
                        <a:pt x="121" y="199"/>
                      </a:lnTo>
                      <a:lnTo>
                        <a:pt x="121" y="201"/>
                      </a:lnTo>
                      <a:lnTo>
                        <a:pt x="123" y="201"/>
                      </a:lnTo>
                      <a:lnTo>
                        <a:pt x="125" y="201"/>
                      </a:lnTo>
                      <a:lnTo>
                        <a:pt x="125" y="202"/>
                      </a:lnTo>
                      <a:lnTo>
                        <a:pt x="126" y="202"/>
                      </a:lnTo>
                      <a:lnTo>
                        <a:pt x="128" y="202"/>
                      </a:lnTo>
                      <a:lnTo>
                        <a:pt x="128" y="201"/>
                      </a:lnTo>
                      <a:lnTo>
                        <a:pt x="130" y="202"/>
                      </a:lnTo>
                      <a:lnTo>
                        <a:pt x="130" y="201"/>
                      </a:lnTo>
                      <a:lnTo>
                        <a:pt x="131" y="202"/>
                      </a:lnTo>
                      <a:lnTo>
                        <a:pt x="131" y="201"/>
                      </a:lnTo>
                      <a:lnTo>
                        <a:pt x="133" y="202"/>
                      </a:lnTo>
                      <a:lnTo>
                        <a:pt x="135" y="202"/>
                      </a:lnTo>
                      <a:lnTo>
                        <a:pt x="135" y="201"/>
                      </a:lnTo>
                      <a:lnTo>
                        <a:pt x="133" y="201"/>
                      </a:lnTo>
                      <a:lnTo>
                        <a:pt x="133" y="199"/>
                      </a:lnTo>
                      <a:lnTo>
                        <a:pt x="135" y="199"/>
                      </a:lnTo>
                      <a:lnTo>
                        <a:pt x="137" y="201"/>
                      </a:lnTo>
                      <a:lnTo>
                        <a:pt x="137" y="199"/>
                      </a:lnTo>
                      <a:lnTo>
                        <a:pt x="138" y="199"/>
                      </a:lnTo>
                      <a:lnTo>
                        <a:pt x="140" y="199"/>
                      </a:lnTo>
                      <a:lnTo>
                        <a:pt x="140" y="197"/>
                      </a:lnTo>
                      <a:lnTo>
                        <a:pt x="142" y="197"/>
                      </a:lnTo>
                      <a:lnTo>
                        <a:pt x="142" y="196"/>
                      </a:lnTo>
                      <a:lnTo>
                        <a:pt x="143" y="196"/>
                      </a:lnTo>
                      <a:lnTo>
                        <a:pt x="143" y="194"/>
                      </a:lnTo>
                      <a:lnTo>
                        <a:pt x="143" y="192"/>
                      </a:lnTo>
                      <a:lnTo>
                        <a:pt x="145" y="194"/>
                      </a:lnTo>
                      <a:lnTo>
                        <a:pt x="145" y="192"/>
                      </a:lnTo>
                      <a:lnTo>
                        <a:pt x="147" y="194"/>
                      </a:lnTo>
                      <a:lnTo>
                        <a:pt x="148" y="194"/>
                      </a:lnTo>
                      <a:lnTo>
                        <a:pt x="148" y="196"/>
                      </a:lnTo>
                      <a:lnTo>
                        <a:pt x="148" y="197"/>
                      </a:lnTo>
                      <a:lnTo>
                        <a:pt x="150" y="197"/>
                      </a:lnTo>
                      <a:lnTo>
                        <a:pt x="152" y="197"/>
                      </a:lnTo>
                      <a:lnTo>
                        <a:pt x="152" y="199"/>
                      </a:lnTo>
                      <a:lnTo>
                        <a:pt x="153" y="199"/>
                      </a:lnTo>
                      <a:lnTo>
                        <a:pt x="153" y="201"/>
                      </a:lnTo>
                      <a:lnTo>
                        <a:pt x="155" y="201"/>
                      </a:lnTo>
                      <a:lnTo>
                        <a:pt x="155" y="202"/>
                      </a:lnTo>
                      <a:lnTo>
                        <a:pt x="153" y="202"/>
                      </a:lnTo>
                      <a:lnTo>
                        <a:pt x="153" y="204"/>
                      </a:lnTo>
                      <a:lnTo>
                        <a:pt x="152" y="205"/>
                      </a:lnTo>
                      <a:lnTo>
                        <a:pt x="152" y="207"/>
                      </a:lnTo>
                      <a:lnTo>
                        <a:pt x="150" y="207"/>
                      </a:lnTo>
                      <a:lnTo>
                        <a:pt x="150" y="209"/>
                      </a:lnTo>
                      <a:lnTo>
                        <a:pt x="152" y="209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2" name="Freeform 14"/>
                <p:cNvSpPr>
                  <a:spLocks noChangeAspect="1"/>
                </p:cNvSpPr>
                <p:nvPr/>
              </p:nvSpPr>
              <p:spPr bwMode="auto">
                <a:xfrm>
                  <a:off x="1274379" y="2361995"/>
                  <a:ext cx="1090683" cy="618860"/>
                </a:xfrm>
                <a:custGeom>
                  <a:avLst/>
                  <a:gdLst>
                    <a:gd name="T0" fmla="*/ 2147483647 w 699"/>
                    <a:gd name="T1" fmla="*/ 2147483647 h 371"/>
                    <a:gd name="T2" fmla="*/ 2147483647 w 699"/>
                    <a:gd name="T3" fmla="*/ 2147483647 h 371"/>
                    <a:gd name="T4" fmla="*/ 2147483647 w 699"/>
                    <a:gd name="T5" fmla="*/ 2147483647 h 371"/>
                    <a:gd name="T6" fmla="*/ 2147483647 w 699"/>
                    <a:gd name="T7" fmla="*/ 2147483647 h 371"/>
                    <a:gd name="T8" fmla="*/ 2147483647 w 699"/>
                    <a:gd name="T9" fmla="*/ 2147483647 h 371"/>
                    <a:gd name="T10" fmla="*/ 2147483647 w 699"/>
                    <a:gd name="T11" fmla="*/ 2147483647 h 371"/>
                    <a:gd name="T12" fmla="*/ 2147483647 w 699"/>
                    <a:gd name="T13" fmla="*/ 2147483647 h 371"/>
                    <a:gd name="T14" fmla="*/ 2147483647 w 699"/>
                    <a:gd name="T15" fmla="*/ 2147483647 h 371"/>
                    <a:gd name="T16" fmla="*/ 2147483647 w 699"/>
                    <a:gd name="T17" fmla="*/ 2147483647 h 371"/>
                    <a:gd name="T18" fmla="*/ 2147483647 w 699"/>
                    <a:gd name="T19" fmla="*/ 2147483647 h 371"/>
                    <a:gd name="T20" fmla="*/ 2147483647 w 699"/>
                    <a:gd name="T21" fmla="*/ 2147483647 h 371"/>
                    <a:gd name="T22" fmla="*/ 2147483647 w 699"/>
                    <a:gd name="T23" fmla="*/ 2147483647 h 371"/>
                    <a:gd name="T24" fmla="*/ 2147483647 w 699"/>
                    <a:gd name="T25" fmla="*/ 2147483647 h 371"/>
                    <a:gd name="T26" fmla="*/ 2147483647 w 699"/>
                    <a:gd name="T27" fmla="*/ 2147483647 h 371"/>
                    <a:gd name="T28" fmla="*/ 2147483647 w 699"/>
                    <a:gd name="T29" fmla="*/ 2147483647 h 371"/>
                    <a:gd name="T30" fmla="*/ 2147483647 w 699"/>
                    <a:gd name="T31" fmla="*/ 2147483647 h 371"/>
                    <a:gd name="T32" fmla="*/ 2147483647 w 699"/>
                    <a:gd name="T33" fmla="*/ 2147483647 h 371"/>
                    <a:gd name="T34" fmla="*/ 2147483647 w 699"/>
                    <a:gd name="T35" fmla="*/ 2147483647 h 371"/>
                    <a:gd name="T36" fmla="*/ 2147483647 w 699"/>
                    <a:gd name="T37" fmla="*/ 2147483647 h 371"/>
                    <a:gd name="T38" fmla="*/ 2147483647 w 699"/>
                    <a:gd name="T39" fmla="*/ 2147483647 h 371"/>
                    <a:gd name="T40" fmla="*/ 2147483647 w 699"/>
                    <a:gd name="T41" fmla="*/ 2147483647 h 371"/>
                    <a:gd name="T42" fmla="*/ 2147483647 w 699"/>
                    <a:gd name="T43" fmla="*/ 2147483647 h 371"/>
                    <a:gd name="T44" fmla="*/ 2147483647 w 699"/>
                    <a:gd name="T45" fmla="*/ 2147483647 h 371"/>
                    <a:gd name="T46" fmla="*/ 2147483647 w 699"/>
                    <a:gd name="T47" fmla="*/ 2147483647 h 371"/>
                    <a:gd name="T48" fmla="*/ 2147483647 w 699"/>
                    <a:gd name="T49" fmla="*/ 2147483647 h 371"/>
                    <a:gd name="T50" fmla="*/ 2147483647 w 699"/>
                    <a:gd name="T51" fmla="*/ 2147483647 h 371"/>
                    <a:gd name="T52" fmla="*/ 2147483647 w 699"/>
                    <a:gd name="T53" fmla="*/ 2147483647 h 371"/>
                    <a:gd name="T54" fmla="*/ 2147483647 w 699"/>
                    <a:gd name="T55" fmla="*/ 2147483647 h 371"/>
                    <a:gd name="T56" fmla="*/ 2147483647 w 699"/>
                    <a:gd name="T57" fmla="*/ 2147483647 h 371"/>
                    <a:gd name="T58" fmla="*/ 2147483647 w 699"/>
                    <a:gd name="T59" fmla="*/ 2147483647 h 371"/>
                    <a:gd name="T60" fmla="*/ 2147483647 w 699"/>
                    <a:gd name="T61" fmla="*/ 2147483647 h 371"/>
                    <a:gd name="T62" fmla="*/ 2147483647 w 699"/>
                    <a:gd name="T63" fmla="*/ 2147483647 h 371"/>
                    <a:gd name="T64" fmla="*/ 2147483647 w 699"/>
                    <a:gd name="T65" fmla="*/ 2147483647 h 371"/>
                    <a:gd name="T66" fmla="*/ 2147483647 w 699"/>
                    <a:gd name="T67" fmla="*/ 2147483647 h 371"/>
                    <a:gd name="T68" fmla="*/ 2147483647 w 699"/>
                    <a:gd name="T69" fmla="*/ 2147483647 h 371"/>
                    <a:gd name="T70" fmla="*/ 2147483647 w 699"/>
                    <a:gd name="T71" fmla="*/ 2147483647 h 371"/>
                    <a:gd name="T72" fmla="*/ 2147483647 w 699"/>
                    <a:gd name="T73" fmla="*/ 2147483647 h 371"/>
                    <a:gd name="T74" fmla="*/ 2147483647 w 699"/>
                    <a:gd name="T75" fmla="*/ 2147483647 h 371"/>
                    <a:gd name="T76" fmla="*/ 2147483647 w 699"/>
                    <a:gd name="T77" fmla="*/ 2147483647 h 371"/>
                    <a:gd name="T78" fmla="*/ 2147483647 w 699"/>
                    <a:gd name="T79" fmla="*/ 2147483647 h 371"/>
                    <a:gd name="T80" fmla="*/ 2147483647 w 699"/>
                    <a:gd name="T81" fmla="*/ 2147483647 h 371"/>
                    <a:gd name="T82" fmla="*/ 2147483647 w 699"/>
                    <a:gd name="T83" fmla="*/ 2147483647 h 371"/>
                    <a:gd name="T84" fmla="*/ 2147483647 w 699"/>
                    <a:gd name="T85" fmla="*/ 2147483647 h 371"/>
                    <a:gd name="T86" fmla="*/ 2147483647 w 699"/>
                    <a:gd name="T87" fmla="*/ 2147483647 h 371"/>
                    <a:gd name="T88" fmla="*/ 2147483647 w 699"/>
                    <a:gd name="T89" fmla="*/ 2147483647 h 371"/>
                    <a:gd name="T90" fmla="*/ 2147483647 w 699"/>
                    <a:gd name="T91" fmla="*/ 2147483647 h 371"/>
                    <a:gd name="T92" fmla="*/ 2147483647 w 699"/>
                    <a:gd name="T93" fmla="*/ 2147483647 h 371"/>
                    <a:gd name="T94" fmla="*/ 2147483647 w 699"/>
                    <a:gd name="T95" fmla="*/ 2147483647 h 371"/>
                    <a:gd name="T96" fmla="*/ 2147483647 w 699"/>
                    <a:gd name="T97" fmla="*/ 2147483647 h 371"/>
                    <a:gd name="T98" fmla="*/ 2147483647 w 699"/>
                    <a:gd name="T99" fmla="*/ 2147483647 h 371"/>
                    <a:gd name="T100" fmla="*/ 2147483647 w 699"/>
                    <a:gd name="T101" fmla="*/ 2147483647 h 371"/>
                    <a:gd name="T102" fmla="*/ 2147483647 w 699"/>
                    <a:gd name="T103" fmla="*/ 2147483647 h 371"/>
                    <a:gd name="T104" fmla="*/ 2147483647 w 699"/>
                    <a:gd name="T105" fmla="*/ 2147483647 h 371"/>
                    <a:gd name="T106" fmla="*/ 2147483647 w 699"/>
                    <a:gd name="T107" fmla="*/ 2147483647 h 371"/>
                    <a:gd name="T108" fmla="*/ 2147483647 w 699"/>
                    <a:gd name="T109" fmla="*/ 2147483647 h 371"/>
                    <a:gd name="T110" fmla="*/ 2147483647 w 699"/>
                    <a:gd name="T111" fmla="*/ 2147483647 h 371"/>
                    <a:gd name="T112" fmla="*/ 2147483647 w 699"/>
                    <a:gd name="T113" fmla="*/ 2147483647 h 371"/>
                    <a:gd name="T114" fmla="*/ 2147483647 w 699"/>
                    <a:gd name="T115" fmla="*/ 2147483647 h 371"/>
                    <a:gd name="T116" fmla="*/ 2147483647 w 699"/>
                    <a:gd name="T117" fmla="*/ 2147483647 h 371"/>
                    <a:gd name="T118" fmla="*/ 2147483647 w 699"/>
                    <a:gd name="T119" fmla="*/ 2147483647 h 371"/>
                    <a:gd name="T120" fmla="*/ 2147483647 w 699"/>
                    <a:gd name="T121" fmla="*/ 2147483647 h 37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699"/>
                    <a:gd name="T184" fmla="*/ 0 h 371"/>
                    <a:gd name="T185" fmla="*/ 699 w 699"/>
                    <a:gd name="T186" fmla="*/ 371 h 37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699" h="371">
                      <a:moveTo>
                        <a:pt x="33" y="87"/>
                      </a:moveTo>
                      <a:lnTo>
                        <a:pt x="33" y="85"/>
                      </a:lnTo>
                      <a:lnTo>
                        <a:pt x="33" y="84"/>
                      </a:lnTo>
                      <a:lnTo>
                        <a:pt x="33" y="82"/>
                      </a:lnTo>
                      <a:lnTo>
                        <a:pt x="32" y="82"/>
                      </a:lnTo>
                      <a:lnTo>
                        <a:pt x="30" y="82"/>
                      </a:lnTo>
                      <a:lnTo>
                        <a:pt x="28" y="82"/>
                      </a:lnTo>
                      <a:lnTo>
                        <a:pt x="28" y="81"/>
                      </a:lnTo>
                      <a:lnTo>
                        <a:pt x="28" y="79"/>
                      </a:lnTo>
                      <a:lnTo>
                        <a:pt x="27" y="77"/>
                      </a:lnTo>
                      <a:lnTo>
                        <a:pt x="27" y="79"/>
                      </a:lnTo>
                      <a:lnTo>
                        <a:pt x="25" y="77"/>
                      </a:lnTo>
                      <a:lnTo>
                        <a:pt x="25" y="79"/>
                      </a:lnTo>
                      <a:lnTo>
                        <a:pt x="23" y="79"/>
                      </a:lnTo>
                      <a:lnTo>
                        <a:pt x="23" y="77"/>
                      </a:lnTo>
                      <a:lnTo>
                        <a:pt x="21" y="77"/>
                      </a:lnTo>
                      <a:lnTo>
                        <a:pt x="23" y="76"/>
                      </a:lnTo>
                      <a:lnTo>
                        <a:pt x="21" y="74"/>
                      </a:lnTo>
                      <a:lnTo>
                        <a:pt x="20" y="72"/>
                      </a:lnTo>
                      <a:lnTo>
                        <a:pt x="21" y="72"/>
                      </a:lnTo>
                      <a:lnTo>
                        <a:pt x="21" y="71"/>
                      </a:lnTo>
                      <a:lnTo>
                        <a:pt x="20" y="69"/>
                      </a:lnTo>
                      <a:lnTo>
                        <a:pt x="21" y="69"/>
                      </a:lnTo>
                      <a:lnTo>
                        <a:pt x="23" y="71"/>
                      </a:lnTo>
                      <a:lnTo>
                        <a:pt x="25" y="71"/>
                      </a:lnTo>
                      <a:lnTo>
                        <a:pt x="27" y="71"/>
                      </a:lnTo>
                      <a:lnTo>
                        <a:pt x="27" y="69"/>
                      </a:lnTo>
                      <a:lnTo>
                        <a:pt x="28" y="69"/>
                      </a:lnTo>
                      <a:lnTo>
                        <a:pt x="28" y="67"/>
                      </a:lnTo>
                      <a:lnTo>
                        <a:pt x="28" y="66"/>
                      </a:lnTo>
                      <a:lnTo>
                        <a:pt x="28" y="64"/>
                      </a:lnTo>
                      <a:lnTo>
                        <a:pt x="28" y="62"/>
                      </a:lnTo>
                      <a:lnTo>
                        <a:pt x="28" y="61"/>
                      </a:lnTo>
                      <a:lnTo>
                        <a:pt x="27" y="59"/>
                      </a:lnTo>
                      <a:lnTo>
                        <a:pt x="25" y="59"/>
                      </a:lnTo>
                      <a:lnTo>
                        <a:pt x="23" y="58"/>
                      </a:lnTo>
                      <a:lnTo>
                        <a:pt x="21" y="58"/>
                      </a:lnTo>
                      <a:lnTo>
                        <a:pt x="18" y="56"/>
                      </a:lnTo>
                      <a:lnTo>
                        <a:pt x="16" y="56"/>
                      </a:lnTo>
                      <a:lnTo>
                        <a:pt x="15" y="56"/>
                      </a:lnTo>
                      <a:lnTo>
                        <a:pt x="15" y="54"/>
                      </a:lnTo>
                      <a:lnTo>
                        <a:pt x="13" y="53"/>
                      </a:lnTo>
                      <a:lnTo>
                        <a:pt x="13" y="51"/>
                      </a:lnTo>
                      <a:lnTo>
                        <a:pt x="11" y="53"/>
                      </a:lnTo>
                      <a:lnTo>
                        <a:pt x="11" y="51"/>
                      </a:lnTo>
                      <a:lnTo>
                        <a:pt x="10" y="51"/>
                      </a:lnTo>
                      <a:lnTo>
                        <a:pt x="10" y="49"/>
                      </a:lnTo>
                      <a:lnTo>
                        <a:pt x="10" y="48"/>
                      </a:lnTo>
                      <a:lnTo>
                        <a:pt x="8" y="48"/>
                      </a:lnTo>
                      <a:lnTo>
                        <a:pt x="6" y="48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3" y="43"/>
                      </a:lnTo>
                      <a:lnTo>
                        <a:pt x="1" y="41"/>
                      </a:lnTo>
                      <a:lnTo>
                        <a:pt x="0" y="41"/>
                      </a:lnTo>
                      <a:lnTo>
                        <a:pt x="0" y="39"/>
                      </a:lnTo>
                      <a:lnTo>
                        <a:pt x="0" y="38"/>
                      </a:lnTo>
                      <a:lnTo>
                        <a:pt x="1" y="38"/>
                      </a:lnTo>
                      <a:lnTo>
                        <a:pt x="3" y="38"/>
                      </a:lnTo>
                      <a:lnTo>
                        <a:pt x="5" y="36"/>
                      </a:lnTo>
                      <a:lnTo>
                        <a:pt x="5" y="35"/>
                      </a:lnTo>
                      <a:lnTo>
                        <a:pt x="5" y="33"/>
                      </a:lnTo>
                      <a:lnTo>
                        <a:pt x="6" y="33"/>
                      </a:lnTo>
                      <a:lnTo>
                        <a:pt x="6" y="31"/>
                      </a:lnTo>
                      <a:lnTo>
                        <a:pt x="5" y="31"/>
                      </a:lnTo>
                      <a:lnTo>
                        <a:pt x="5" y="28"/>
                      </a:lnTo>
                      <a:lnTo>
                        <a:pt x="3" y="26"/>
                      </a:lnTo>
                      <a:lnTo>
                        <a:pt x="3" y="25"/>
                      </a:lnTo>
                      <a:lnTo>
                        <a:pt x="1" y="23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3" y="23"/>
                      </a:lnTo>
                      <a:lnTo>
                        <a:pt x="5" y="23"/>
                      </a:lnTo>
                      <a:lnTo>
                        <a:pt x="5" y="21"/>
                      </a:lnTo>
                      <a:lnTo>
                        <a:pt x="6" y="23"/>
                      </a:lnTo>
                      <a:lnTo>
                        <a:pt x="6" y="25"/>
                      </a:lnTo>
                      <a:lnTo>
                        <a:pt x="8" y="25"/>
                      </a:lnTo>
                      <a:lnTo>
                        <a:pt x="10" y="25"/>
                      </a:lnTo>
                      <a:lnTo>
                        <a:pt x="11" y="25"/>
                      </a:lnTo>
                      <a:lnTo>
                        <a:pt x="11" y="23"/>
                      </a:lnTo>
                      <a:lnTo>
                        <a:pt x="11" y="21"/>
                      </a:lnTo>
                      <a:lnTo>
                        <a:pt x="13" y="21"/>
                      </a:lnTo>
                      <a:lnTo>
                        <a:pt x="15" y="20"/>
                      </a:lnTo>
                      <a:lnTo>
                        <a:pt x="16" y="20"/>
                      </a:lnTo>
                      <a:lnTo>
                        <a:pt x="18" y="21"/>
                      </a:lnTo>
                      <a:lnTo>
                        <a:pt x="20" y="20"/>
                      </a:lnTo>
                      <a:lnTo>
                        <a:pt x="21" y="20"/>
                      </a:lnTo>
                      <a:lnTo>
                        <a:pt x="21" y="21"/>
                      </a:lnTo>
                      <a:lnTo>
                        <a:pt x="23" y="21"/>
                      </a:lnTo>
                      <a:lnTo>
                        <a:pt x="25" y="20"/>
                      </a:lnTo>
                      <a:lnTo>
                        <a:pt x="27" y="18"/>
                      </a:lnTo>
                      <a:lnTo>
                        <a:pt x="27" y="16"/>
                      </a:lnTo>
                      <a:lnTo>
                        <a:pt x="27" y="15"/>
                      </a:lnTo>
                      <a:lnTo>
                        <a:pt x="25" y="15"/>
                      </a:lnTo>
                      <a:lnTo>
                        <a:pt x="25" y="13"/>
                      </a:lnTo>
                      <a:lnTo>
                        <a:pt x="25" y="12"/>
                      </a:lnTo>
                      <a:lnTo>
                        <a:pt x="25" y="10"/>
                      </a:lnTo>
                      <a:lnTo>
                        <a:pt x="23" y="10"/>
                      </a:lnTo>
                      <a:lnTo>
                        <a:pt x="23" y="8"/>
                      </a:lnTo>
                      <a:lnTo>
                        <a:pt x="21" y="8"/>
                      </a:lnTo>
                      <a:lnTo>
                        <a:pt x="21" y="7"/>
                      </a:lnTo>
                      <a:lnTo>
                        <a:pt x="21" y="5"/>
                      </a:lnTo>
                      <a:lnTo>
                        <a:pt x="20" y="5"/>
                      </a:lnTo>
                      <a:lnTo>
                        <a:pt x="20" y="3"/>
                      </a:lnTo>
                      <a:lnTo>
                        <a:pt x="18" y="3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23" y="3"/>
                      </a:lnTo>
                      <a:lnTo>
                        <a:pt x="106" y="38"/>
                      </a:lnTo>
                      <a:lnTo>
                        <a:pt x="126" y="48"/>
                      </a:lnTo>
                      <a:lnTo>
                        <a:pt x="172" y="58"/>
                      </a:lnTo>
                      <a:lnTo>
                        <a:pt x="189" y="61"/>
                      </a:lnTo>
                      <a:lnTo>
                        <a:pt x="234" y="71"/>
                      </a:lnTo>
                      <a:lnTo>
                        <a:pt x="236" y="72"/>
                      </a:lnTo>
                      <a:lnTo>
                        <a:pt x="260" y="77"/>
                      </a:lnTo>
                      <a:lnTo>
                        <a:pt x="280" y="82"/>
                      </a:lnTo>
                      <a:lnTo>
                        <a:pt x="324" y="90"/>
                      </a:lnTo>
                      <a:lnTo>
                        <a:pt x="331" y="92"/>
                      </a:lnTo>
                      <a:lnTo>
                        <a:pt x="342" y="95"/>
                      </a:lnTo>
                      <a:lnTo>
                        <a:pt x="400" y="125"/>
                      </a:lnTo>
                      <a:lnTo>
                        <a:pt x="420" y="135"/>
                      </a:lnTo>
                      <a:lnTo>
                        <a:pt x="432" y="141"/>
                      </a:lnTo>
                      <a:lnTo>
                        <a:pt x="472" y="163"/>
                      </a:lnTo>
                      <a:lnTo>
                        <a:pt x="498" y="174"/>
                      </a:lnTo>
                      <a:lnTo>
                        <a:pt x="550" y="195"/>
                      </a:lnTo>
                      <a:lnTo>
                        <a:pt x="574" y="205"/>
                      </a:lnTo>
                      <a:lnTo>
                        <a:pt x="631" y="228"/>
                      </a:lnTo>
                      <a:lnTo>
                        <a:pt x="650" y="237"/>
                      </a:lnTo>
                      <a:lnTo>
                        <a:pt x="651" y="237"/>
                      </a:lnTo>
                      <a:lnTo>
                        <a:pt x="680" y="250"/>
                      </a:lnTo>
                      <a:lnTo>
                        <a:pt x="699" y="256"/>
                      </a:lnTo>
                      <a:lnTo>
                        <a:pt x="697" y="256"/>
                      </a:lnTo>
                      <a:lnTo>
                        <a:pt x="697" y="258"/>
                      </a:lnTo>
                      <a:lnTo>
                        <a:pt x="697" y="260"/>
                      </a:lnTo>
                      <a:lnTo>
                        <a:pt x="697" y="261"/>
                      </a:lnTo>
                      <a:lnTo>
                        <a:pt x="697" y="260"/>
                      </a:lnTo>
                      <a:lnTo>
                        <a:pt x="697" y="261"/>
                      </a:lnTo>
                      <a:lnTo>
                        <a:pt x="695" y="261"/>
                      </a:lnTo>
                      <a:lnTo>
                        <a:pt x="695" y="260"/>
                      </a:lnTo>
                      <a:lnTo>
                        <a:pt x="695" y="261"/>
                      </a:lnTo>
                      <a:lnTo>
                        <a:pt x="695" y="260"/>
                      </a:lnTo>
                      <a:lnTo>
                        <a:pt x="694" y="261"/>
                      </a:lnTo>
                      <a:lnTo>
                        <a:pt x="694" y="263"/>
                      </a:lnTo>
                      <a:lnTo>
                        <a:pt x="692" y="263"/>
                      </a:lnTo>
                      <a:lnTo>
                        <a:pt x="694" y="263"/>
                      </a:lnTo>
                      <a:lnTo>
                        <a:pt x="692" y="263"/>
                      </a:lnTo>
                      <a:lnTo>
                        <a:pt x="690" y="263"/>
                      </a:lnTo>
                      <a:lnTo>
                        <a:pt x="692" y="263"/>
                      </a:lnTo>
                      <a:lnTo>
                        <a:pt x="690" y="264"/>
                      </a:lnTo>
                      <a:lnTo>
                        <a:pt x="689" y="264"/>
                      </a:lnTo>
                      <a:lnTo>
                        <a:pt x="687" y="264"/>
                      </a:lnTo>
                      <a:lnTo>
                        <a:pt x="687" y="266"/>
                      </a:lnTo>
                      <a:lnTo>
                        <a:pt x="685" y="266"/>
                      </a:lnTo>
                      <a:lnTo>
                        <a:pt x="684" y="268"/>
                      </a:lnTo>
                      <a:lnTo>
                        <a:pt x="682" y="268"/>
                      </a:lnTo>
                      <a:lnTo>
                        <a:pt x="682" y="269"/>
                      </a:lnTo>
                      <a:lnTo>
                        <a:pt x="680" y="269"/>
                      </a:lnTo>
                      <a:lnTo>
                        <a:pt x="680" y="271"/>
                      </a:lnTo>
                      <a:lnTo>
                        <a:pt x="678" y="271"/>
                      </a:lnTo>
                      <a:lnTo>
                        <a:pt x="678" y="273"/>
                      </a:lnTo>
                      <a:lnTo>
                        <a:pt x="677" y="273"/>
                      </a:lnTo>
                      <a:lnTo>
                        <a:pt x="677" y="274"/>
                      </a:lnTo>
                      <a:lnTo>
                        <a:pt x="675" y="274"/>
                      </a:lnTo>
                      <a:lnTo>
                        <a:pt x="673" y="274"/>
                      </a:lnTo>
                      <a:lnTo>
                        <a:pt x="675" y="274"/>
                      </a:lnTo>
                      <a:lnTo>
                        <a:pt x="673" y="274"/>
                      </a:lnTo>
                      <a:lnTo>
                        <a:pt x="675" y="274"/>
                      </a:lnTo>
                      <a:lnTo>
                        <a:pt x="673" y="276"/>
                      </a:lnTo>
                      <a:lnTo>
                        <a:pt x="673" y="274"/>
                      </a:lnTo>
                      <a:lnTo>
                        <a:pt x="673" y="276"/>
                      </a:lnTo>
                      <a:lnTo>
                        <a:pt x="672" y="276"/>
                      </a:lnTo>
                      <a:lnTo>
                        <a:pt x="672" y="278"/>
                      </a:lnTo>
                      <a:lnTo>
                        <a:pt x="670" y="278"/>
                      </a:lnTo>
                      <a:lnTo>
                        <a:pt x="670" y="279"/>
                      </a:lnTo>
                      <a:lnTo>
                        <a:pt x="668" y="279"/>
                      </a:lnTo>
                      <a:lnTo>
                        <a:pt x="668" y="281"/>
                      </a:lnTo>
                      <a:lnTo>
                        <a:pt x="667" y="281"/>
                      </a:lnTo>
                      <a:lnTo>
                        <a:pt x="667" y="283"/>
                      </a:lnTo>
                      <a:lnTo>
                        <a:pt x="667" y="284"/>
                      </a:lnTo>
                      <a:lnTo>
                        <a:pt x="667" y="283"/>
                      </a:lnTo>
                      <a:lnTo>
                        <a:pt x="665" y="283"/>
                      </a:lnTo>
                      <a:lnTo>
                        <a:pt x="665" y="284"/>
                      </a:lnTo>
                      <a:lnTo>
                        <a:pt x="665" y="283"/>
                      </a:lnTo>
                      <a:lnTo>
                        <a:pt x="665" y="284"/>
                      </a:lnTo>
                      <a:lnTo>
                        <a:pt x="663" y="284"/>
                      </a:lnTo>
                      <a:lnTo>
                        <a:pt x="665" y="284"/>
                      </a:lnTo>
                      <a:lnTo>
                        <a:pt x="663" y="284"/>
                      </a:lnTo>
                      <a:lnTo>
                        <a:pt x="663" y="286"/>
                      </a:lnTo>
                      <a:lnTo>
                        <a:pt x="662" y="286"/>
                      </a:lnTo>
                      <a:lnTo>
                        <a:pt x="663" y="286"/>
                      </a:lnTo>
                      <a:lnTo>
                        <a:pt x="663" y="287"/>
                      </a:lnTo>
                      <a:lnTo>
                        <a:pt x="662" y="287"/>
                      </a:lnTo>
                      <a:lnTo>
                        <a:pt x="662" y="289"/>
                      </a:lnTo>
                      <a:lnTo>
                        <a:pt x="660" y="289"/>
                      </a:lnTo>
                      <a:lnTo>
                        <a:pt x="658" y="291"/>
                      </a:lnTo>
                      <a:lnTo>
                        <a:pt x="657" y="291"/>
                      </a:lnTo>
                      <a:lnTo>
                        <a:pt x="658" y="291"/>
                      </a:lnTo>
                      <a:lnTo>
                        <a:pt x="657" y="292"/>
                      </a:lnTo>
                      <a:lnTo>
                        <a:pt x="655" y="292"/>
                      </a:lnTo>
                      <a:lnTo>
                        <a:pt x="653" y="292"/>
                      </a:lnTo>
                      <a:lnTo>
                        <a:pt x="651" y="292"/>
                      </a:lnTo>
                      <a:lnTo>
                        <a:pt x="650" y="292"/>
                      </a:lnTo>
                      <a:lnTo>
                        <a:pt x="650" y="294"/>
                      </a:lnTo>
                      <a:lnTo>
                        <a:pt x="650" y="296"/>
                      </a:lnTo>
                      <a:lnTo>
                        <a:pt x="648" y="296"/>
                      </a:lnTo>
                      <a:lnTo>
                        <a:pt x="646" y="296"/>
                      </a:lnTo>
                      <a:lnTo>
                        <a:pt x="646" y="297"/>
                      </a:lnTo>
                      <a:lnTo>
                        <a:pt x="645" y="297"/>
                      </a:lnTo>
                      <a:lnTo>
                        <a:pt x="643" y="296"/>
                      </a:lnTo>
                      <a:lnTo>
                        <a:pt x="641" y="296"/>
                      </a:lnTo>
                      <a:lnTo>
                        <a:pt x="640" y="296"/>
                      </a:lnTo>
                      <a:lnTo>
                        <a:pt x="638" y="296"/>
                      </a:lnTo>
                      <a:lnTo>
                        <a:pt x="638" y="297"/>
                      </a:lnTo>
                      <a:lnTo>
                        <a:pt x="636" y="297"/>
                      </a:lnTo>
                      <a:lnTo>
                        <a:pt x="636" y="296"/>
                      </a:lnTo>
                      <a:lnTo>
                        <a:pt x="635" y="296"/>
                      </a:lnTo>
                      <a:lnTo>
                        <a:pt x="633" y="296"/>
                      </a:lnTo>
                      <a:lnTo>
                        <a:pt x="631" y="296"/>
                      </a:lnTo>
                      <a:lnTo>
                        <a:pt x="631" y="297"/>
                      </a:lnTo>
                      <a:lnTo>
                        <a:pt x="633" y="297"/>
                      </a:lnTo>
                      <a:lnTo>
                        <a:pt x="633" y="299"/>
                      </a:lnTo>
                      <a:lnTo>
                        <a:pt x="631" y="299"/>
                      </a:lnTo>
                      <a:lnTo>
                        <a:pt x="633" y="299"/>
                      </a:lnTo>
                      <a:lnTo>
                        <a:pt x="633" y="301"/>
                      </a:lnTo>
                      <a:lnTo>
                        <a:pt x="631" y="301"/>
                      </a:lnTo>
                      <a:lnTo>
                        <a:pt x="631" y="302"/>
                      </a:lnTo>
                      <a:lnTo>
                        <a:pt x="631" y="301"/>
                      </a:lnTo>
                      <a:lnTo>
                        <a:pt x="630" y="301"/>
                      </a:lnTo>
                      <a:lnTo>
                        <a:pt x="628" y="302"/>
                      </a:lnTo>
                      <a:lnTo>
                        <a:pt x="630" y="302"/>
                      </a:lnTo>
                      <a:lnTo>
                        <a:pt x="628" y="302"/>
                      </a:lnTo>
                      <a:lnTo>
                        <a:pt x="628" y="301"/>
                      </a:lnTo>
                      <a:lnTo>
                        <a:pt x="626" y="301"/>
                      </a:lnTo>
                      <a:lnTo>
                        <a:pt x="624" y="301"/>
                      </a:lnTo>
                      <a:lnTo>
                        <a:pt x="623" y="301"/>
                      </a:lnTo>
                      <a:lnTo>
                        <a:pt x="623" y="302"/>
                      </a:lnTo>
                      <a:lnTo>
                        <a:pt x="623" y="304"/>
                      </a:lnTo>
                      <a:lnTo>
                        <a:pt x="623" y="306"/>
                      </a:lnTo>
                      <a:lnTo>
                        <a:pt x="621" y="306"/>
                      </a:lnTo>
                      <a:lnTo>
                        <a:pt x="621" y="307"/>
                      </a:lnTo>
                      <a:lnTo>
                        <a:pt x="619" y="309"/>
                      </a:lnTo>
                      <a:lnTo>
                        <a:pt x="618" y="309"/>
                      </a:lnTo>
                      <a:lnTo>
                        <a:pt x="616" y="310"/>
                      </a:lnTo>
                      <a:lnTo>
                        <a:pt x="614" y="310"/>
                      </a:lnTo>
                      <a:lnTo>
                        <a:pt x="614" y="309"/>
                      </a:lnTo>
                      <a:lnTo>
                        <a:pt x="614" y="310"/>
                      </a:lnTo>
                      <a:lnTo>
                        <a:pt x="613" y="310"/>
                      </a:lnTo>
                      <a:lnTo>
                        <a:pt x="613" y="312"/>
                      </a:lnTo>
                      <a:lnTo>
                        <a:pt x="611" y="310"/>
                      </a:lnTo>
                      <a:lnTo>
                        <a:pt x="611" y="312"/>
                      </a:lnTo>
                      <a:lnTo>
                        <a:pt x="611" y="310"/>
                      </a:lnTo>
                      <a:lnTo>
                        <a:pt x="609" y="312"/>
                      </a:lnTo>
                      <a:lnTo>
                        <a:pt x="608" y="312"/>
                      </a:lnTo>
                      <a:lnTo>
                        <a:pt x="606" y="314"/>
                      </a:lnTo>
                      <a:lnTo>
                        <a:pt x="606" y="315"/>
                      </a:lnTo>
                      <a:lnTo>
                        <a:pt x="604" y="315"/>
                      </a:lnTo>
                      <a:lnTo>
                        <a:pt x="604" y="317"/>
                      </a:lnTo>
                      <a:lnTo>
                        <a:pt x="604" y="319"/>
                      </a:lnTo>
                      <a:lnTo>
                        <a:pt x="602" y="319"/>
                      </a:lnTo>
                      <a:lnTo>
                        <a:pt x="602" y="320"/>
                      </a:lnTo>
                      <a:lnTo>
                        <a:pt x="601" y="320"/>
                      </a:lnTo>
                      <a:lnTo>
                        <a:pt x="601" y="322"/>
                      </a:lnTo>
                      <a:lnTo>
                        <a:pt x="599" y="324"/>
                      </a:lnTo>
                      <a:lnTo>
                        <a:pt x="599" y="322"/>
                      </a:lnTo>
                      <a:lnTo>
                        <a:pt x="597" y="322"/>
                      </a:lnTo>
                      <a:lnTo>
                        <a:pt x="596" y="332"/>
                      </a:lnTo>
                      <a:lnTo>
                        <a:pt x="594" y="332"/>
                      </a:lnTo>
                      <a:lnTo>
                        <a:pt x="592" y="332"/>
                      </a:lnTo>
                      <a:lnTo>
                        <a:pt x="592" y="330"/>
                      </a:lnTo>
                      <a:lnTo>
                        <a:pt x="591" y="330"/>
                      </a:lnTo>
                      <a:lnTo>
                        <a:pt x="591" y="328"/>
                      </a:lnTo>
                      <a:lnTo>
                        <a:pt x="589" y="330"/>
                      </a:lnTo>
                      <a:lnTo>
                        <a:pt x="589" y="328"/>
                      </a:lnTo>
                      <a:lnTo>
                        <a:pt x="587" y="328"/>
                      </a:lnTo>
                      <a:lnTo>
                        <a:pt x="586" y="328"/>
                      </a:lnTo>
                      <a:lnTo>
                        <a:pt x="586" y="327"/>
                      </a:lnTo>
                      <a:lnTo>
                        <a:pt x="584" y="327"/>
                      </a:lnTo>
                      <a:lnTo>
                        <a:pt x="582" y="325"/>
                      </a:lnTo>
                      <a:lnTo>
                        <a:pt x="582" y="327"/>
                      </a:lnTo>
                      <a:lnTo>
                        <a:pt x="582" y="325"/>
                      </a:lnTo>
                      <a:lnTo>
                        <a:pt x="581" y="325"/>
                      </a:lnTo>
                      <a:lnTo>
                        <a:pt x="579" y="325"/>
                      </a:lnTo>
                      <a:lnTo>
                        <a:pt x="577" y="325"/>
                      </a:lnTo>
                      <a:lnTo>
                        <a:pt x="575" y="325"/>
                      </a:lnTo>
                      <a:lnTo>
                        <a:pt x="575" y="327"/>
                      </a:lnTo>
                      <a:lnTo>
                        <a:pt x="574" y="327"/>
                      </a:lnTo>
                      <a:lnTo>
                        <a:pt x="572" y="327"/>
                      </a:lnTo>
                      <a:lnTo>
                        <a:pt x="572" y="325"/>
                      </a:lnTo>
                      <a:lnTo>
                        <a:pt x="572" y="327"/>
                      </a:lnTo>
                      <a:lnTo>
                        <a:pt x="572" y="325"/>
                      </a:lnTo>
                      <a:lnTo>
                        <a:pt x="570" y="325"/>
                      </a:lnTo>
                      <a:lnTo>
                        <a:pt x="570" y="327"/>
                      </a:lnTo>
                      <a:lnTo>
                        <a:pt x="569" y="327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5" y="325"/>
                      </a:lnTo>
                      <a:lnTo>
                        <a:pt x="565" y="327"/>
                      </a:lnTo>
                      <a:lnTo>
                        <a:pt x="565" y="325"/>
                      </a:lnTo>
                      <a:lnTo>
                        <a:pt x="565" y="327"/>
                      </a:lnTo>
                      <a:lnTo>
                        <a:pt x="564" y="327"/>
                      </a:lnTo>
                      <a:lnTo>
                        <a:pt x="565" y="327"/>
                      </a:lnTo>
                      <a:lnTo>
                        <a:pt x="564" y="327"/>
                      </a:lnTo>
                      <a:lnTo>
                        <a:pt x="564" y="328"/>
                      </a:lnTo>
                      <a:lnTo>
                        <a:pt x="562" y="328"/>
                      </a:lnTo>
                      <a:lnTo>
                        <a:pt x="560" y="328"/>
                      </a:lnTo>
                      <a:lnTo>
                        <a:pt x="560" y="330"/>
                      </a:lnTo>
                      <a:lnTo>
                        <a:pt x="559" y="330"/>
                      </a:lnTo>
                      <a:lnTo>
                        <a:pt x="559" y="332"/>
                      </a:lnTo>
                      <a:lnTo>
                        <a:pt x="557" y="332"/>
                      </a:lnTo>
                      <a:lnTo>
                        <a:pt x="559" y="332"/>
                      </a:lnTo>
                      <a:lnTo>
                        <a:pt x="557" y="332"/>
                      </a:lnTo>
                      <a:lnTo>
                        <a:pt x="557" y="333"/>
                      </a:lnTo>
                      <a:lnTo>
                        <a:pt x="557" y="335"/>
                      </a:lnTo>
                      <a:lnTo>
                        <a:pt x="559" y="335"/>
                      </a:lnTo>
                      <a:lnTo>
                        <a:pt x="557" y="335"/>
                      </a:lnTo>
                      <a:lnTo>
                        <a:pt x="557" y="337"/>
                      </a:lnTo>
                      <a:lnTo>
                        <a:pt x="557" y="338"/>
                      </a:lnTo>
                      <a:lnTo>
                        <a:pt x="557" y="337"/>
                      </a:lnTo>
                      <a:lnTo>
                        <a:pt x="557" y="338"/>
                      </a:lnTo>
                      <a:lnTo>
                        <a:pt x="555" y="338"/>
                      </a:lnTo>
                      <a:lnTo>
                        <a:pt x="555" y="340"/>
                      </a:lnTo>
                      <a:lnTo>
                        <a:pt x="554" y="340"/>
                      </a:lnTo>
                      <a:lnTo>
                        <a:pt x="554" y="342"/>
                      </a:lnTo>
                      <a:lnTo>
                        <a:pt x="552" y="342"/>
                      </a:lnTo>
                      <a:lnTo>
                        <a:pt x="552" y="343"/>
                      </a:lnTo>
                      <a:lnTo>
                        <a:pt x="550" y="343"/>
                      </a:lnTo>
                      <a:lnTo>
                        <a:pt x="550" y="345"/>
                      </a:lnTo>
                      <a:lnTo>
                        <a:pt x="548" y="345"/>
                      </a:lnTo>
                      <a:lnTo>
                        <a:pt x="548" y="347"/>
                      </a:lnTo>
                      <a:lnTo>
                        <a:pt x="548" y="348"/>
                      </a:lnTo>
                      <a:lnTo>
                        <a:pt x="548" y="350"/>
                      </a:lnTo>
                      <a:lnTo>
                        <a:pt x="547" y="350"/>
                      </a:lnTo>
                      <a:lnTo>
                        <a:pt x="545" y="351"/>
                      </a:lnTo>
                      <a:lnTo>
                        <a:pt x="545" y="353"/>
                      </a:lnTo>
                      <a:lnTo>
                        <a:pt x="545" y="355"/>
                      </a:lnTo>
                      <a:lnTo>
                        <a:pt x="543" y="355"/>
                      </a:lnTo>
                      <a:lnTo>
                        <a:pt x="543" y="356"/>
                      </a:lnTo>
                      <a:lnTo>
                        <a:pt x="542" y="356"/>
                      </a:lnTo>
                      <a:lnTo>
                        <a:pt x="542" y="358"/>
                      </a:lnTo>
                      <a:lnTo>
                        <a:pt x="540" y="358"/>
                      </a:lnTo>
                      <a:lnTo>
                        <a:pt x="540" y="356"/>
                      </a:lnTo>
                      <a:lnTo>
                        <a:pt x="540" y="358"/>
                      </a:lnTo>
                      <a:lnTo>
                        <a:pt x="538" y="358"/>
                      </a:lnTo>
                      <a:lnTo>
                        <a:pt x="537" y="358"/>
                      </a:lnTo>
                      <a:lnTo>
                        <a:pt x="537" y="360"/>
                      </a:lnTo>
                      <a:lnTo>
                        <a:pt x="535" y="360"/>
                      </a:lnTo>
                      <a:lnTo>
                        <a:pt x="535" y="358"/>
                      </a:lnTo>
                      <a:lnTo>
                        <a:pt x="533" y="358"/>
                      </a:lnTo>
                      <a:lnTo>
                        <a:pt x="532" y="360"/>
                      </a:lnTo>
                      <a:lnTo>
                        <a:pt x="530" y="360"/>
                      </a:lnTo>
                      <a:lnTo>
                        <a:pt x="530" y="361"/>
                      </a:lnTo>
                      <a:lnTo>
                        <a:pt x="530" y="363"/>
                      </a:lnTo>
                      <a:lnTo>
                        <a:pt x="528" y="363"/>
                      </a:lnTo>
                      <a:lnTo>
                        <a:pt x="528" y="361"/>
                      </a:lnTo>
                      <a:lnTo>
                        <a:pt x="526" y="361"/>
                      </a:lnTo>
                      <a:lnTo>
                        <a:pt x="525" y="361"/>
                      </a:lnTo>
                      <a:lnTo>
                        <a:pt x="525" y="363"/>
                      </a:lnTo>
                      <a:lnTo>
                        <a:pt x="523" y="363"/>
                      </a:lnTo>
                      <a:lnTo>
                        <a:pt x="521" y="363"/>
                      </a:lnTo>
                      <a:lnTo>
                        <a:pt x="520" y="365"/>
                      </a:lnTo>
                      <a:lnTo>
                        <a:pt x="518" y="366"/>
                      </a:lnTo>
                      <a:lnTo>
                        <a:pt x="516" y="366"/>
                      </a:lnTo>
                      <a:lnTo>
                        <a:pt x="516" y="368"/>
                      </a:lnTo>
                      <a:lnTo>
                        <a:pt x="499" y="371"/>
                      </a:lnTo>
                      <a:lnTo>
                        <a:pt x="499" y="370"/>
                      </a:lnTo>
                      <a:lnTo>
                        <a:pt x="499" y="368"/>
                      </a:lnTo>
                      <a:lnTo>
                        <a:pt x="498" y="368"/>
                      </a:lnTo>
                      <a:lnTo>
                        <a:pt x="498" y="366"/>
                      </a:lnTo>
                      <a:lnTo>
                        <a:pt x="498" y="368"/>
                      </a:lnTo>
                      <a:lnTo>
                        <a:pt x="496" y="366"/>
                      </a:lnTo>
                      <a:lnTo>
                        <a:pt x="496" y="365"/>
                      </a:lnTo>
                      <a:lnTo>
                        <a:pt x="494" y="365"/>
                      </a:lnTo>
                      <a:lnTo>
                        <a:pt x="496" y="363"/>
                      </a:lnTo>
                      <a:lnTo>
                        <a:pt x="494" y="363"/>
                      </a:lnTo>
                      <a:lnTo>
                        <a:pt x="496" y="361"/>
                      </a:lnTo>
                      <a:lnTo>
                        <a:pt x="496" y="360"/>
                      </a:lnTo>
                      <a:lnTo>
                        <a:pt x="494" y="360"/>
                      </a:lnTo>
                      <a:lnTo>
                        <a:pt x="496" y="360"/>
                      </a:lnTo>
                      <a:lnTo>
                        <a:pt x="496" y="358"/>
                      </a:lnTo>
                      <a:lnTo>
                        <a:pt x="494" y="360"/>
                      </a:lnTo>
                      <a:lnTo>
                        <a:pt x="494" y="358"/>
                      </a:lnTo>
                      <a:lnTo>
                        <a:pt x="493" y="358"/>
                      </a:lnTo>
                      <a:lnTo>
                        <a:pt x="494" y="358"/>
                      </a:lnTo>
                      <a:lnTo>
                        <a:pt x="493" y="358"/>
                      </a:lnTo>
                      <a:lnTo>
                        <a:pt x="493" y="360"/>
                      </a:lnTo>
                      <a:lnTo>
                        <a:pt x="493" y="358"/>
                      </a:lnTo>
                      <a:lnTo>
                        <a:pt x="491" y="358"/>
                      </a:lnTo>
                      <a:lnTo>
                        <a:pt x="493" y="358"/>
                      </a:lnTo>
                      <a:lnTo>
                        <a:pt x="491" y="358"/>
                      </a:lnTo>
                      <a:lnTo>
                        <a:pt x="489" y="358"/>
                      </a:lnTo>
                      <a:lnTo>
                        <a:pt x="489" y="360"/>
                      </a:lnTo>
                      <a:lnTo>
                        <a:pt x="489" y="358"/>
                      </a:lnTo>
                      <a:lnTo>
                        <a:pt x="488" y="358"/>
                      </a:lnTo>
                      <a:lnTo>
                        <a:pt x="486" y="358"/>
                      </a:lnTo>
                      <a:lnTo>
                        <a:pt x="486" y="360"/>
                      </a:lnTo>
                      <a:lnTo>
                        <a:pt x="484" y="360"/>
                      </a:lnTo>
                      <a:lnTo>
                        <a:pt x="483" y="360"/>
                      </a:lnTo>
                      <a:lnTo>
                        <a:pt x="484" y="360"/>
                      </a:lnTo>
                      <a:lnTo>
                        <a:pt x="483" y="360"/>
                      </a:lnTo>
                      <a:lnTo>
                        <a:pt x="481" y="360"/>
                      </a:lnTo>
                      <a:lnTo>
                        <a:pt x="479" y="360"/>
                      </a:lnTo>
                      <a:lnTo>
                        <a:pt x="479" y="358"/>
                      </a:lnTo>
                      <a:lnTo>
                        <a:pt x="477" y="360"/>
                      </a:lnTo>
                      <a:lnTo>
                        <a:pt x="477" y="358"/>
                      </a:lnTo>
                      <a:lnTo>
                        <a:pt x="476" y="358"/>
                      </a:lnTo>
                      <a:lnTo>
                        <a:pt x="476" y="356"/>
                      </a:lnTo>
                      <a:lnTo>
                        <a:pt x="476" y="358"/>
                      </a:lnTo>
                      <a:lnTo>
                        <a:pt x="474" y="358"/>
                      </a:lnTo>
                      <a:lnTo>
                        <a:pt x="474" y="360"/>
                      </a:lnTo>
                      <a:lnTo>
                        <a:pt x="472" y="360"/>
                      </a:lnTo>
                      <a:lnTo>
                        <a:pt x="472" y="358"/>
                      </a:lnTo>
                      <a:lnTo>
                        <a:pt x="472" y="360"/>
                      </a:lnTo>
                      <a:lnTo>
                        <a:pt x="471" y="358"/>
                      </a:lnTo>
                      <a:lnTo>
                        <a:pt x="471" y="356"/>
                      </a:lnTo>
                      <a:lnTo>
                        <a:pt x="469" y="356"/>
                      </a:lnTo>
                      <a:lnTo>
                        <a:pt x="467" y="356"/>
                      </a:lnTo>
                      <a:lnTo>
                        <a:pt x="466" y="356"/>
                      </a:lnTo>
                      <a:lnTo>
                        <a:pt x="466" y="355"/>
                      </a:lnTo>
                      <a:lnTo>
                        <a:pt x="466" y="356"/>
                      </a:lnTo>
                      <a:lnTo>
                        <a:pt x="464" y="356"/>
                      </a:lnTo>
                      <a:lnTo>
                        <a:pt x="464" y="355"/>
                      </a:lnTo>
                      <a:lnTo>
                        <a:pt x="464" y="356"/>
                      </a:lnTo>
                      <a:lnTo>
                        <a:pt x="462" y="356"/>
                      </a:lnTo>
                      <a:lnTo>
                        <a:pt x="461" y="356"/>
                      </a:lnTo>
                      <a:lnTo>
                        <a:pt x="461" y="355"/>
                      </a:lnTo>
                      <a:lnTo>
                        <a:pt x="459" y="356"/>
                      </a:lnTo>
                      <a:lnTo>
                        <a:pt x="459" y="355"/>
                      </a:lnTo>
                      <a:lnTo>
                        <a:pt x="459" y="356"/>
                      </a:lnTo>
                      <a:lnTo>
                        <a:pt x="459" y="355"/>
                      </a:lnTo>
                      <a:lnTo>
                        <a:pt x="457" y="355"/>
                      </a:lnTo>
                      <a:lnTo>
                        <a:pt x="459" y="355"/>
                      </a:lnTo>
                      <a:lnTo>
                        <a:pt x="457" y="355"/>
                      </a:lnTo>
                      <a:lnTo>
                        <a:pt x="456" y="355"/>
                      </a:lnTo>
                      <a:lnTo>
                        <a:pt x="456" y="353"/>
                      </a:lnTo>
                      <a:lnTo>
                        <a:pt x="454" y="353"/>
                      </a:lnTo>
                      <a:lnTo>
                        <a:pt x="452" y="355"/>
                      </a:lnTo>
                      <a:lnTo>
                        <a:pt x="452" y="353"/>
                      </a:lnTo>
                      <a:lnTo>
                        <a:pt x="450" y="353"/>
                      </a:lnTo>
                      <a:lnTo>
                        <a:pt x="449" y="353"/>
                      </a:lnTo>
                      <a:lnTo>
                        <a:pt x="447" y="353"/>
                      </a:lnTo>
                      <a:lnTo>
                        <a:pt x="447" y="355"/>
                      </a:lnTo>
                      <a:lnTo>
                        <a:pt x="445" y="353"/>
                      </a:lnTo>
                      <a:lnTo>
                        <a:pt x="444" y="353"/>
                      </a:lnTo>
                      <a:lnTo>
                        <a:pt x="442" y="353"/>
                      </a:lnTo>
                      <a:lnTo>
                        <a:pt x="440" y="353"/>
                      </a:lnTo>
                      <a:lnTo>
                        <a:pt x="439" y="353"/>
                      </a:lnTo>
                      <a:lnTo>
                        <a:pt x="437" y="353"/>
                      </a:lnTo>
                      <a:lnTo>
                        <a:pt x="437" y="355"/>
                      </a:lnTo>
                      <a:lnTo>
                        <a:pt x="437" y="353"/>
                      </a:lnTo>
                      <a:lnTo>
                        <a:pt x="435" y="353"/>
                      </a:lnTo>
                      <a:lnTo>
                        <a:pt x="435" y="351"/>
                      </a:lnTo>
                      <a:lnTo>
                        <a:pt x="435" y="353"/>
                      </a:lnTo>
                      <a:lnTo>
                        <a:pt x="435" y="351"/>
                      </a:lnTo>
                      <a:lnTo>
                        <a:pt x="434" y="351"/>
                      </a:lnTo>
                      <a:lnTo>
                        <a:pt x="434" y="353"/>
                      </a:lnTo>
                      <a:lnTo>
                        <a:pt x="434" y="351"/>
                      </a:lnTo>
                      <a:lnTo>
                        <a:pt x="432" y="351"/>
                      </a:lnTo>
                      <a:lnTo>
                        <a:pt x="432" y="353"/>
                      </a:lnTo>
                      <a:lnTo>
                        <a:pt x="432" y="351"/>
                      </a:lnTo>
                      <a:lnTo>
                        <a:pt x="430" y="353"/>
                      </a:lnTo>
                      <a:lnTo>
                        <a:pt x="429" y="353"/>
                      </a:lnTo>
                      <a:lnTo>
                        <a:pt x="427" y="353"/>
                      </a:lnTo>
                      <a:lnTo>
                        <a:pt x="427" y="355"/>
                      </a:lnTo>
                      <a:lnTo>
                        <a:pt x="427" y="353"/>
                      </a:lnTo>
                      <a:lnTo>
                        <a:pt x="425" y="353"/>
                      </a:lnTo>
                      <a:lnTo>
                        <a:pt x="423" y="353"/>
                      </a:lnTo>
                      <a:lnTo>
                        <a:pt x="422" y="351"/>
                      </a:lnTo>
                      <a:lnTo>
                        <a:pt x="422" y="353"/>
                      </a:lnTo>
                      <a:lnTo>
                        <a:pt x="420" y="353"/>
                      </a:lnTo>
                      <a:lnTo>
                        <a:pt x="418" y="353"/>
                      </a:lnTo>
                      <a:lnTo>
                        <a:pt x="417" y="353"/>
                      </a:lnTo>
                      <a:lnTo>
                        <a:pt x="415" y="353"/>
                      </a:lnTo>
                      <a:lnTo>
                        <a:pt x="415" y="355"/>
                      </a:lnTo>
                      <a:lnTo>
                        <a:pt x="413" y="353"/>
                      </a:lnTo>
                      <a:lnTo>
                        <a:pt x="413" y="355"/>
                      </a:lnTo>
                      <a:lnTo>
                        <a:pt x="412" y="355"/>
                      </a:lnTo>
                      <a:lnTo>
                        <a:pt x="410" y="353"/>
                      </a:lnTo>
                      <a:lnTo>
                        <a:pt x="408" y="355"/>
                      </a:lnTo>
                      <a:lnTo>
                        <a:pt x="407" y="355"/>
                      </a:lnTo>
                      <a:lnTo>
                        <a:pt x="407" y="356"/>
                      </a:lnTo>
                      <a:lnTo>
                        <a:pt x="407" y="355"/>
                      </a:lnTo>
                      <a:lnTo>
                        <a:pt x="405" y="356"/>
                      </a:lnTo>
                      <a:lnTo>
                        <a:pt x="405" y="355"/>
                      </a:lnTo>
                      <a:lnTo>
                        <a:pt x="403" y="355"/>
                      </a:lnTo>
                      <a:lnTo>
                        <a:pt x="403" y="356"/>
                      </a:lnTo>
                      <a:lnTo>
                        <a:pt x="401" y="356"/>
                      </a:lnTo>
                      <a:lnTo>
                        <a:pt x="401" y="355"/>
                      </a:lnTo>
                      <a:lnTo>
                        <a:pt x="403" y="355"/>
                      </a:lnTo>
                      <a:lnTo>
                        <a:pt x="401" y="355"/>
                      </a:lnTo>
                      <a:lnTo>
                        <a:pt x="401" y="353"/>
                      </a:lnTo>
                      <a:lnTo>
                        <a:pt x="400" y="353"/>
                      </a:lnTo>
                      <a:lnTo>
                        <a:pt x="400" y="351"/>
                      </a:lnTo>
                      <a:lnTo>
                        <a:pt x="398" y="351"/>
                      </a:lnTo>
                      <a:lnTo>
                        <a:pt x="396" y="351"/>
                      </a:lnTo>
                      <a:lnTo>
                        <a:pt x="395" y="351"/>
                      </a:lnTo>
                      <a:lnTo>
                        <a:pt x="393" y="351"/>
                      </a:lnTo>
                      <a:lnTo>
                        <a:pt x="391" y="351"/>
                      </a:lnTo>
                      <a:lnTo>
                        <a:pt x="390" y="351"/>
                      </a:lnTo>
                      <a:lnTo>
                        <a:pt x="388" y="351"/>
                      </a:lnTo>
                      <a:lnTo>
                        <a:pt x="386" y="351"/>
                      </a:lnTo>
                      <a:lnTo>
                        <a:pt x="385" y="351"/>
                      </a:lnTo>
                      <a:lnTo>
                        <a:pt x="383" y="351"/>
                      </a:lnTo>
                      <a:lnTo>
                        <a:pt x="381" y="351"/>
                      </a:lnTo>
                      <a:lnTo>
                        <a:pt x="383" y="351"/>
                      </a:lnTo>
                      <a:lnTo>
                        <a:pt x="381" y="351"/>
                      </a:lnTo>
                      <a:lnTo>
                        <a:pt x="381" y="353"/>
                      </a:lnTo>
                      <a:lnTo>
                        <a:pt x="381" y="351"/>
                      </a:lnTo>
                      <a:lnTo>
                        <a:pt x="381" y="353"/>
                      </a:lnTo>
                      <a:lnTo>
                        <a:pt x="380" y="353"/>
                      </a:lnTo>
                      <a:lnTo>
                        <a:pt x="380" y="355"/>
                      </a:lnTo>
                      <a:lnTo>
                        <a:pt x="378" y="353"/>
                      </a:lnTo>
                      <a:lnTo>
                        <a:pt x="378" y="355"/>
                      </a:lnTo>
                      <a:lnTo>
                        <a:pt x="376" y="355"/>
                      </a:lnTo>
                      <a:lnTo>
                        <a:pt x="374" y="356"/>
                      </a:lnTo>
                      <a:lnTo>
                        <a:pt x="374" y="355"/>
                      </a:lnTo>
                      <a:lnTo>
                        <a:pt x="374" y="356"/>
                      </a:lnTo>
                      <a:lnTo>
                        <a:pt x="373" y="356"/>
                      </a:lnTo>
                      <a:lnTo>
                        <a:pt x="371" y="356"/>
                      </a:lnTo>
                      <a:lnTo>
                        <a:pt x="371" y="358"/>
                      </a:lnTo>
                      <a:lnTo>
                        <a:pt x="371" y="356"/>
                      </a:lnTo>
                      <a:lnTo>
                        <a:pt x="369" y="358"/>
                      </a:lnTo>
                      <a:lnTo>
                        <a:pt x="369" y="356"/>
                      </a:lnTo>
                      <a:lnTo>
                        <a:pt x="369" y="358"/>
                      </a:lnTo>
                      <a:lnTo>
                        <a:pt x="369" y="356"/>
                      </a:lnTo>
                      <a:lnTo>
                        <a:pt x="369" y="358"/>
                      </a:lnTo>
                      <a:lnTo>
                        <a:pt x="368" y="358"/>
                      </a:lnTo>
                      <a:lnTo>
                        <a:pt x="368" y="360"/>
                      </a:lnTo>
                      <a:lnTo>
                        <a:pt x="368" y="358"/>
                      </a:lnTo>
                      <a:lnTo>
                        <a:pt x="366" y="358"/>
                      </a:lnTo>
                      <a:lnTo>
                        <a:pt x="366" y="360"/>
                      </a:lnTo>
                      <a:lnTo>
                        <a:pt x="368" y="360"/>
                      </a:lnTo>
                      <a:lnTo>
                        <a:pt x="366" y="360"/>
                      </a:lnTo>
                      <a:lnTo>
                        <a:pt x="364" y="360"/>
                      </a:lnTo>
                      <a:lnTo>
                        <a:pt x="364" y="361"/>
                      </a:lnTo>
                      <a:lnTo>
                        <a:pt x="363" y="361"/>
                      </a:lnTo>
                      <a:lnTo>
                        <a:pt x="361" y="361"/>
                      </a:lnTo>
                      <a:lnTo>
                        <a:pt x="361" y="363"/>
                      </a:lnTo>
                      <a:lnTo>
                        <a:pt x="359" y="363"/>
                      </a:lnTo>
                      <a:lnTo>
                        <a:pt x="358" y="363"/>
                      </a:lnTo>
                      <a:lnTo>
                        <a:pt x="356" y="363"/>
                      </a:lnTo>
                      <a:lnTo>
                        <a:pt x="354" y="363"/>
                      </a:lnTo>
                      <a:lnTo>
                        <a:pt x="353" y="363"/>
                      </a:lnTo>
                      <a:lnTo>
                        <a:pt x="351" y="363"/>
                      </a:lnTo>
                      <a:lnTo>
                        <a:pt x="351" y="365"/>
                      </a:lnTo>
                      <a:lnTo>
                        <a:pt x="349" y="365"/>
                      </a:lnTo>
                      <a:lnTo>
                        <a:pt x="347" y="365"/>
                      </a:lnTo>
                      <a:lnTo>
                        <a:pt x="346" y="365"/>
                      </a:lnTo>
                      <a:lnTo>
                        <a:pt x="344" y="365"/>
                      </a:lnTo>
                      <a:lnTo>
                        <a:pt x="344" y="363"/>
                      </a:lnTo>
                      <a:lnTo>
                        <a:pt x="344" y="365"/>
                      </a:lnTo>
                      <a:lnTo>
                        <a:pt x="342" y="363"/>
                      </a:lnTo>
                      <a:lnTo>
                        <a:pt x="342" y="365"/>
                      </a:lnTo>
                      <a:lnTo>
                        <a:pt x="342" y="363"/>
                      </a:lnTo>
                      <a:lnTo>
                        <a:pt x="341" y="363"/>
                      </a:lnTo>
                      <a:lnTo>
                        <a:pt x="339" y="363"/>
                      </a:lnTo>
                      <a:lnTo>
                        <a:pt x="339" y="361"/>
                      </a:lnTo>
                      <a:lnTo>
                        <a:pt x="337" y="361"/>
                      </a:lnTo>
                      <a:lnTo>
                        <a:pt x="336" y="361"/>
                      </a:lnTo>
                      <a:lnTo>
                        <a:pt x="336" y="360"/>
                      </a:lnTo>
                      <a:lnTo>
                        <a:pt x="336" y="358"/>
                      </a:lnTo>
                      <a:lnTo>
                        <a:pt x="334" y="358"/>
                      </a:lnTo>
                      <a:lnTo>
                        <a:pt x="334" y="356"/>
                      </a:lnTo>
                      <a:lnTo>
                        <a:pt x="332" y="356"/>
                      </a:lnTo>
                      <a:lnTo>
                        <a:pt x="332" y="355"/>
                      </a:lnTo>
                      <a:lnTo>
                        <a:pt x="331" y="355"/>
                      </a:lnTo>
                      <a:lnTo>
                        <a:pt x="331" y="353"/>
                      </a:lnTo>
                      <a:lnTo>
                        <a:pt x="329" y="353"/>
                      </a:lnTo>
                      <a:lnTo>
                        <a:pt x="327" y="351"/>
                      </a:lnTo>
                      <a:lnTo>
                        <a:pt x="319" y="358"/>
                      </a:lnTo>
                      <a:lnTo>
                        <a:pt x="319" y="332"/>
                      </a:lnTo>
                      <a:lnTo>
                        <a:pt x="319" y="299"/>
                      </a:lnTo>
                      <a:lnTo>
                        <a:pt x="319" y="274"/>
                      </a:lnTo>
                      <a:lnTo>
                        <a:pt x="319" y="250"/>
                      </a:lnTo>
                      <a:lnTo>
                        <a:pt x="319" y="248"/>
                      </a:lnTo>
                      <a:lnTo>
                        <a:pt x="320" y="248"/>
                      </a:lnTo>
                      <a:lnTo>
                        <a:pt x="322" y="248"/>
                      </a:lnTo>
                      <a:lnTo>
                        <a:pt x="322" y="246"/>
                      </a:lnTo>
                      <a:lnTo>
                        <a:pt x="324" y="246"/>
                      </a:lnTo>
                      <a:lnTo>
                        <a:pt x="325" y="246"/>
                      </a:lnTo>
                      <a:lnTo>
                        <a:pt x="325" y="245"/>
                      </a:lnTo>
                      <a:lnTo>
                        <a:pt x="327" y="245"/>
                      </a:lnTo>
                      <a:lnTo>
                        <a:pt x="327" y="243"/>
                      </a:lnTo>
                      <a:lnTo>
                        <a:pt x="327" y="241"/>
                      </a:lnTo>
                      <a:lnTo>
                        <a:pt x="327" y="240"/>
                      </a:lnTo>
                      <a:lnTo>
                        <a:pt x="327" y="238"/>
                      </a:lnTo>
                      <a:lnTo>
                        <a:pt x="325" y="237"/>
                      </a:lnTo>
                      <a:lnTo>
                        <a:pt x="325" y="235"/>
                      </a:lnTo>
                      <a:lnTo>
                        <a:pt x="324" y="235"/>
                      </a:lnTo>
                      <a:lnTo>
                        <a:pt x="324" y="233"/>
                      </a:lnTo>
                      <a:lnTo>
                        <a:pt x="322" y="233"/>
                      </a:lnTo>
                      <a:lnTo>
                        <a:pt x="322" y="232"/>
                      </a:lnTo>
                      <a:lnTo>
                        <a:pt x="322" y="230"/>
                      </a:lnTo>
                      <a:lnTo>
                        <a:pt x="320" y="230"/>
                      </a:lnTo>
                      <a:lnTo>
                        <a:pt x="322" y="228"/>
                      </a:lnTo>
                      <a:lnTo>
                        <a:pt x="322" y="227"/>
                      </a:lnTo>
                      <a:lnTo>
                        <a:pt x="320" y="225"/>
                      </a:lnTo>
                      <a:lnTo>
                        <a:pt x="322" y="225"/>
                      </a:lnTo>
                      <a:lnTo>
                        <a:pt x="322" y="227"/>
                      </a:lnTo>
                      <a:lnTo>
                        <a:pt x="322" y="225"/>
                      </a:lnTo>
                      <a:lnTo>
                        <a:pt x="324" y="227"/>
                      </a:lnTo>
                      <a:lnTo>
                        <a:pt x="325" y="227"/>
                      </a:lnTo>
                      <a:lnTo>
                        <a:pt x="325" y="225"/>
                      </a:lnTo>
                      <a:lnTo>
                        <a:pt x="324" y="225"/>
                      </a:lnTo>
                      <a:lnTo>
                        <a:pt x="324" y="223"/>
                      </a:lnTo>
                      <a:lnTo>
                        <a:pt x="325" y="223"/>
                      </a:lnTo>
                      <a:lnTo>
                        <a:pt x="327" y="223"/>
                      </a:lnTo>
                      <a:lnTo>
                        <a:pt x="325" y="223"/>
                      </a:lnTo>
                      <a:lnTo>
                        <a:pt x="325" y="222"/>
                      </a:lnTo>
                      <a:lnTo>
                        <a:pt x="327" y="222"/>
                      </a:lnTo>
                      <a:lnTo>
                        <a:pt x="327" y="220"/>
                      </a:lnTo>
                      <a:lnTo>
                        <a:pt x="329" y="220"/>
                      </a:lnTo>
                      <a:lnTo>
                        <a:pt x="331" y="220"/>
                      </a:lnTo>
                      <a:lnTo>
                        <a:pt x="329" y="218"/>
                      </a:lnTo>
                      <a:lnTo>
                        <a:pt x="329" y="217"/>
                      </a:lnTo>
                      <a:lnTo>
                        <a:pt x="327" y="217"/>
                      </a:lnTo>
                      <a:lnTo>
                        <a:pt x="329" y="217"/>
                      </a:lnTo>
                      <a:lnTo>
                        <a:pt x="329" y="215"/>
                      </a:lnTo>
                      <a:lnTo>
                        <a:pt x="331" y="215"/>
                      </a:lnTo>
                      <a:lnTo>
                        <a:pt x="331" y="214"/>
                      </a:lnTo>
                      <a:lnTo>
                        <a:pt x="329" y="214"/>
                      </a:lnTo>
                      <a:lnTo>
                        <a:pt x="327" y="214"/>
                      </a:lnTo>
                      <a:lnTo>
                        <a:pt x="329" y="214"/>
                      </a:lnTo>
                      <a:lnTo>
                        <a:pt x="327" y="215"/>
                      </a:lnTo>
                      <a:lnTo>
                        <a:pt x="327" y="214"/>
                      </a:lnTo>
                      <a:lnTo>
                        <a:pt x="325" y="214"/>
                      </a:lnTo>
                      <a:lnTo>
                        <a:pt x="324" y="214"/>
                      </a:lnTo>
                      <a:lnTo>
                        <a:pt x="322" y="215"/>
                      </a:lnTo>
                      <a:lnTo>
                        <a:pt x="320" y="215"/>
                      </a:lnTo>
                      <a:lnTo>
                        <a:pt x="320" y="217"/>
                      </a:lnTo>
                      <a:lnTo>
                        <a:pt x="319" y="217"/>
                      </a:lnTo>
                      <a:lnTo>
                        <a:pt x="319" y="218"/>
                      </a:lnTo>
                      <a:lnTo>
                        <a:pt x="319" y="217"/>
                      </a:lnTo>
                      <a:lnTo>
                        <a:pt x="319" y="218"/>
                      </a:lnTo>
                      <a:lnTo>
                        <a:pt x="317" y="218"/>
                      </a:lnTo>
                      <a:lnTo>
                        <a:pt x="317" y="220"/>
                      </a:lnTo>
                      <a:lnTo>
                        <a:pt x="315" y="220"/>
                      </a:lnTo>
                      <a:lnTo>
                        <a:pt x="315" y="222"/>
                      </a:lnTo>
                      <a:lnTo>
                        <a:pt x="314" y="222"/>
                      </a:lnTo>
                      <a:lnTo>
                        <a:pt x="314" y="223"/>
                      </a:lnTo>
                      <a:lnTo>
                        <a:pt x="312" y="223"/>
                      </a:lnTo>
                      <a:lnTo>
                        <a:pt x="310" y="223"/>
                      </a:lnTo>
                      <a:lnTo>
                        <a:pt x="310" y="225"/>
                      </a:lnTo>
                      <a:lnTo>
                        <a:pt x="309" y="225"/>
                      </a:lnTo>
                      <a:lnTo>
                        <a:pt x="309" y="227"/>
                      </a:lnTo>
                      <a:lnTo>
                        <a:pt x="309" y="225"/>
                      </a:lnTo>
                      <a:lnTo>
                        <a:pt x="307" y="225"/>
                      </a:lnTo>
                      <a:lnTo>
                        <a:pt x="307" y="227"/>
                      </a:lnTo>
                      <a:lnTo>
                        <a:pt x="305" y="227"/>
                      </a:lnTo>
                      <a:lnTo>
                        <a:pt x="305" y="228"/>
                      </a:lnTo>
                      <a:lnTo>
                        <a:pt x="305" y="230"/>
                      </a:lnTo>
                      <a:lnTo>
                        <a:pt x="304" y="230"/>
                      </a:lnTo>
                      <a:lnTo>
                        <a:pt x="304" y="232"/>
                      </a:lnTo>
                      <a:lnTo>
                        <a:pt x="302" y="232"/>
                      </a:lnTo>
                      <a:lnTo>
                        <a:pt x="302" y="233"/>
                      </a:lnTo>
                      <a:lnTo>
                        <a:pt x="302" y="232"/>
                      </a:lnTo>
                      <a:lnTo>
                        <a:pt x="302" y="233"/>
                      </a:lnTo>
                      <a:lnTo>
                        <a:pt x="300" y="233"/>
                      </a:lnTo>
                      <a:lnTo>
                        <a:pt x="298" y="233"/>
                      </a:lnTo>
                      <a:lnTo>
                        <a:pt x="298" y="235"/>
                      </a:lnTo>
                      <a:lnTo>
                        <a:pt x="298" y="233"/>
                      </a:lnTo>
                      <a:lnTo>
                        <a:pt x="297" y="235"/>
                      </a:lnTo>
                      <a:lnTo>
                        <a:pt x="297" y="233"/>
                      </a:lnTo>
                      <a:lnTo>
                        <a:pt x="297" y="235"/>
                      </a:lnTo>
                      <a:lnTo>
                        <a:pt x="295" y="235"/>
                      </a:lnTo>
                      <a:lnTo>
                        <a:pt x="295" y="237"/>
                      </a:lnTo>
                      <a:lnTo>
                        <a:pt x="293" y="237"/>
                      </a:lnTo>
                      <a:lnTo>
                        <a:pt x="293" y="238"/>
                      </a:lnTo>
                      <a:lnTo>
                        <a:pt x="292" y="238"/>
                      </a:lnTo>
                      <a:lnTo>
                        <a:pt x="292" y="240"/>
                      </a:lnTo>
                      <a:lnTo>
                        <a:pt x="292" y="241"/>
                      </a:lnTo>
                      <a:lnTo>
                        <a:pt x="290" y="241"/>
                      </a:lnTo>
                      <a:lnTo>
                        <a:pt x="288" y="241"/>
                      </a:lnTo>
                      <a:lnTo>
                        <a:pt x="287" y="241"/>
                      </a:lnTo>
                      <a:lnTo>
                        <a:pt x="287" y="243"/>
                      </a:lnTo>
                      <a:lnTo>
                        <a:pt x="285" y="243"/>
                      </a:lnTo>
                      <a:lnTo>
                        <a:pt x="283" y="246"/>
                      </a:lnTo>
                      <a:lnTo>
                        <a:pt x="283" y="248"/>
                      </a:lnTo>
                      <a:lnTo>
                        <a:pt x="283" y="250"/>
                      </a:lnTo>
                      <a:lnTo>
                        <a:pt x="282" y="250"/>
                      </a:lnTo>
                      <a:lnTo>
                        <a:pt x="282" y="248"/>
                      </a:lnTo>
                      <a:lnTo>
                        <a:pt x="282" y="250"/>
                      </a:lnTo>
                      <a:lnTo>
                        <a:pt x="280" y="248"/>
                      </a:lnTo>
                      <a:lnTo>
                        <a:pt x="280" y="250"/>
                      </a:lnTo>
                      <a:lnTo>
                        <a:pt x="278" y="250"/>
                      </a:lnTo>
                      <a:lnTo>
                        <a:pt x="277" y="250"/>
                      </a:lnTo>
                      <a:lnTo>
                        <a:pt x="275" y="250"/>
                      </a:lnTo>
                      <a:lnTo>
                        <a:pt x="273" y="250"/>
                      </a:lnTo>
                      <a:lnTo>
                        <a:pt x="271" y="251"/>
                      </a:lnTo>
                      <a:lnTo>
                        <a:pt x="270" y="251"/>
                      </a:lnTo>
                      <a:lnTo>
                        <a:pt x="270" y="253"/>
                      </a:lnTo>
                      <a:lnTo>
                        <a:pt x="268" y="255"/>
                      </a:lnTo>
                      <a:lnTo>
                        <a:pt x="266" y="255"/>
                      </a:lnTo>
                      <a:lnTo>
                        <a:pt x="266" y="256"/>
                      </a:lnTo>
                      <a:lnTo>
                        <a:pt x="266" y="258"/>
                      </a:lnTo>
                      <a:lnTo>
                        <a:pt x="265" y="260"/>
                      </a:lnTo>
                      <a:lnTo>
                        <a:pt x="265" y="261"/>
                      </a:lnTo>
                      <a:lnTo>
                        <a:pt x="263" y="261"/>
                      </a:lnTo>
                      <a:lnTo>
                        <a:pt x="263" y="263"/>
                      </a:lnTo>
                      <a:lnTo>
                        <a:pt x="261" y="263"/>
                      </a:lnTo>
                      <a:lnTo>
                        <a:pt x="260" y="263"/>
                      </a:lnTo>
                      <a:lnTo>
                        <a:pt x="258" y="263"/>
                      </a:lnTo>
                      <a:lnTo>
                        <a:pt x="258" y="264"/>
                      </a:lnTo>
                      <a:lnTo>
                        <a:pt x="256" y="264"/>
                      </a:lnTo>
                      <a:lnTo>
                        <a:pt x="255" y="264"/>
                      </a:lnTo>
                      <a:lnTo>
                        <a:pt x="253" y="266"/>
                      </a:lnTo>
                      <a:lnTo>
                        <a:pt x="253" y="264"/>
                      </a:lnTo>
                      <a:lnTo>
                        <a:pt x="251" y="263"/>
                      </a:lnTo>
                      <a:lnTo>
                        <a:pt x="249" y="264"/>
                      </a:lnTo>
                      <a:lnTo>
                        <a:pt x="248" y="264"/>
                      </a:lnTo>
                      <a:lnTo>
                        <a:pt x="248" y="266"/>
                      </a:lnTo>
                      <a:lnTo>
                        <a:pt x="206" y="266"/>
                      </a:lnTo>
                      <a:lnTo>
                        <a:pt x="189" y="266"/>
                      </a:lnTo>
                      <a:lnTo>
                        <a:pt x="170" y="266"/>
                      </a:lnTo>
                      <a:lnTo>
                        <a:pt x="170" y="264"/>
                      </a:lnTo>
                      <a:lnTo>
                        <a:pt x="172" y="264"/>
                      </a:lnTo>
                      <a:lnTo>
                        <a:pt x="173" y="263"/>
                      </a:lnTo>
                      <a:lnTo>
                        <a:pt x="173" y="261"/>
                      </a:lnTo>
                      <a:lnTo>
                        <a:pt x="172" y="261"/>
                      </a:lnTo>
                      <a:lnTo>
                        <a:pt x="172" y="260"/>
                      </a:lnTo>
                      <a:lnTo>
                        <a:pt x="172" y="258"/>
                      </a:lnTo>
                      <a:lnTo>
                        <a:pt x="173" y="258"/>
                      </a:lnTo>
                      <a:lnTo>
                        <a:pt x="173" y="256"/>
                      </a:lnTo>
                      <a:lnTo>
                        <a:pt x="175" y="255"/>
                      </a:lnTo>
                      <a:lnTo>
                        <a:pt x="173" y="253"/>
                      </a:lnTo>
                      <a:lnTo>
                        <a:pt x="173" y="251"/>
                      </a:lnTo>
                      <a:lnTo>
                        <a:pt x="172" y="251"/>
                      </a:lnTo>
                      <a:lnTo>
                        <a:pt x="172" y="250"/>
                      </a:lnTo>
                      <a:lnTo>
                        <a:pt x="173" y="250"/>
                      </a:lnTo>
                      <a:lnTo>
                        <a:pt x="173" y="248"/>
                      </a:lnTo>
                      <a:lnTo>
                        <a:pt x="173" y="246"/>
                      </a:lnTo>
                      <a:lnTo>
                        <a:pt x="172" y="246"/>
                      </a:lnTo>
                      <a:lnTo>
                        <a:pt x="170" y="246"/>
                      </a:lnTo>
                      <a:lnTo>
                        <a:pt x="168" y="245"/>
                      </a:lnTo>
                      <a:lnTo>
                        <a:pt x="167" y="245"/>
                      </a:lnTo>
                      <a:lnTo>
                        <a:pt x="165" y="245"/>
                      </a:lnTo>
                      <a:lnTo>
                        <a:pt x="163" y="243"/>
                      </a:lnTo>
                      <a:lnTo>
                        <a:pt x="162" y="243"/>
                      </a:lnTo>
                      <a:lnTo>
                        <a:pt x="162" y="241"/>
                      </a:lnTo>
                      <a:lnTo>
                        <a:pt x="163" y="241"/>
                      </a:lnTo>
                      <a:lnTo>
                        <a:pt x="163" y="240"/>
                      </a:lnTo>
                      <a:lnTo>
                        <a:pt x="165" y="238"/>
                      </a:lnTo>
                      <a:lnTo>
                        <a:pt x="165" y="237"/>
                      </a:lnTo>
                      <a:lnTo>
                        <a:pt x="163" y="237"/>
                      </a:lnTo>
                      <a:lnTo>
                        <a:pt x="165" y="235"/>
                      </a:lnTo>
                      <a:lnTo>
                        <a:pt x="163" y="233"/>
                      </a:lnTo>
                      <a:lnTo>
                        <a:pt x="163" y="232"/>
                      </a:lnTo>
                      <a:lnTo>
                        <a:pt x="163" y="230"/>
                      </a:lnTo>
                      <a:lnTo>
                        <a:pt x="162" y="230"/>
                      </a:lnTo>
                      <a:lnTo>
                        <a:pt x="160" y="230"/>
                      </a:lnTo>
                      <a:lnTo>
                        <a:pt x="160" y="228"/>
                      </a:lnTo>
                      <a:lnTo>
                        <a:pt x="162" y="228"/>
                      </a:lnTo>
                      <a:lnTo>
                        <a:pt x="162" y="227"/>
                      </a:lnTo>
                      <a:lnTo>
                        <a:pt x="162" y="225"/>
                      </a:lnTo>
                      <a:lnTo>
                        <a:pt x="162" y="223"/>
                      </a:lnTo>
                      <a:lnTo>
                        <a:pt x="160" y="223"/>
                      </a:lnTo>
                      <a:lnTo>
                        <a:pt x="158" y="223"/>
                      </a:lnTo>
                      <a:lnTo>
                        <a:pt x="157" y="223"/>
                      </a:lnTo>
                      <a:lnTo>
                        <a:pt x="157" y="222"/>
                      </a:lnTo>
                      <a:lnTo>
                        <a:pt x="155" y="222"/>
                      </a:lnTo>
                      <a:lnTo>
                        <a:pt x="157" y="222"/>
                      </a:lnTo>
                      <a:lnTo>
                        <a:pt x="155" y="222"/>
                      </a:lnTo>
                      <a:lnTo>
                        <a:pt x="155" y="220"/>
                      </a:lnTo>
                      <a:lnTo>
                        <a:pt x="153" y="220"/>
                      </a:lnTo>
                      <a:lnTo>
                        <a:pt x="153" y="218"/>
                      </a:lnTo>
                      <a:lnTo>
                        <a:pt x="153" y="220"/>
                      </a:lnTo>
                      <a:lnTo>
                        <a:pt x="152" y="220"/>
                      </a:lnTo>
                      <a:lnTo>
                        <a:pt x="152" y="218"/>
                      </a:lnTo>
                      <a:lnTo>
                        <a:pt x="150" y="218"/>
                      </a:lnTo>
                      <a:lnTo>
                        <a:pt x="148" y="218"/>
                      </a:lnTo>
                      <a:lnTo>
                        <a:pt x="146" y="218"/>
                      </a:lnTo>
                      <a:lnTo>
                        <a:pt x="145" y="218"/>
                      </a:lnTo>
                      <a:lnTo>
                        <a:pt x="143" y="218"/>
                      </a:lnTo>
                      <a:lnTo>
                        <a:pt x="141" y="218"/>
                      </a:lnTo>
                      <a:lnTo>
                        <a:pt x="140" y="218"/>
                      </a:lnTo>
                      <a:lnTo>
                        <a:pt x="138" y="218"/>
                      </a:lnTo>
                      <a:lnTo>
                        <a:pt x="138" y="217"/>
                      </a:lnTo>
                      <a:lnTo>
                        <a:pt x="136" y="217"/>
                      </a:lnTo>
                      <a:lnTo>
                        <a:pt x="135" y="217"/>
                      </a:lnTo>
                      <a:lnTo>
                        <a:pt x="133" y="217"/>
                      </a:lnTo>
                      <a:lnTo>
                        <a:pt x="133" y="215"/>
                      </a:lnTo>
                      <a:lnTo>
                        <a:pt x="133" y="217"/>
                      </a:lnTo>
                      <a:lnTo>
                        <a:pt x="133" y="215"/>
                      </a:lnTo>
                      <a:lnTo>
                        <a:pt x="131" y="215"/>
                      </a:lnTo>
                      <a:lnTo>
                        <a:pt x="130" y="215"/>
                      </a:lnTo>
                      <a:lnTo>
                        <a:pt x="128" y="215"/>
                      </a:lnTo>
                      <a:lnTo>
                        <a:pt x="126" y="215"/>
                      </a:lnTo>
                      <a:lnTo>
                        <a:pt x="125" y="215"/>
                      </a:lnTo>
                      <a:lnTo>
                        <a:pt x="125" y="214"/>
                      </a:lnTo>
                      <a:lnTo>
                        <a:pt x="123" y="214"/>
                      </a:lnTo>
                      <a:lnTo>
                        <a:pt x="121" y="214"/>
                      </a:lnTo>
                      <a:lnTo>
                        <a:pt x="119" y="212"/>
                      </a:lnTo>
                      <a:lnTo>
                        <a:pt x="74" y="212"/>
                      </a:lnTo>
                      <a:lnTo>
                        <a:pt x="74" y="210"/>
                      </a:lnTo>
                      <a:lnTo>
                        <a:pt x="76" y="210"/>
                      </a:lnTo>
                      <a:lnTo>
                        <a:pt x="76" y="207"/>
                      </a:lnTo>
                      <a:lnTo>
                        <a:pt x="77" y="207"/>
                      </a:lnTo>
                      <a:lnTo>
                        <a:pt x="79" y="207"/>
                      </a:lnTo>
                      <a:lnTo>
                        <a:pt x="79" y="205"/>
                      </a:lnTo>
                      <a:lnTo>
                        <a:pt x="81" y="204"/>
                      </a:lnTo>
                      <a:lnTo>
                        <a:pt x="81" y="202"/>
                      </a:lnTo>
                      <a:lnTo>
                        <a:pt x="82" y="202"/>
                      </a:lnTo>
                      <a:lnTo>
                        <a:pt x="84" y="202"/>
                      </a:lnTo>
                      <a:lnTo>
                        <a:pt x="84" y="200"/>
                      </a:lnTo>
                      <a:lnTo>
                        <a:pt x="82" y="200"/>
                      </a:lnTo>
                      <a:lnTo>
                        <a:pt x="82" y="199"/>
                      </a:lnTo>
                      <a:lnTo>
                        <a:pt x="84" y="199"/>
                      </a:lnTo>
                      <a:lnTo>
                        <a:pt x="86" y="195"/>
                      </a:lnTo>
                      <a:lnTo>
                        <a:pt x="87" y="195"/>
                      </a:lnTo>
                      <a:lnTo>
                        <a:pt x="89" y="195"/>
                      </a:lnTo>
                      <a:lnTo>
                        <a:pt x="91" y="195"/>
                      </a:lnTo>
                      <a:lnTo>
                        <a:pt x="91" y="194"/>
                      </a:lnTo>
                      <a:lnTo>
                        <a:pt x="92" y="194"/>
                      </a:lnTo>
                      <a:lnTo>
                        <a:pt x="92" y="192"/>
                      </a:lnTo>
                      <a:lnTo>
                        <a:pt x="94" y="192"/>
                      </a:lnTo>
                      <a:lnTo>
                        <a:pt x="92" y="191"/>
                      </a:lnTo>
                      <a:lnTo>
                        <a:pt x="92" y="189"/>
                      </a:lnTo>
                      <a:lnTo>
                        <a:pt x="94" y="189"/>
                      </a:lnTo>
                      <a:lnTo>
                        <a:pt x="96" y="189"/>
                      </a:lnTo>
                      <a:lnTo>
                        <a:pt x="96" y="187"/>
                      </a:lnTo>
                      <a:lnTo>
                        <a:pt x="97" y="186"/>
                      </a:lnTo>
                      <a:lnTo>
                        <a:pt x="97" y="184"/>
                      </a:lnTo>
                      <a:lnTo>
                        <a:pt x="99" y="184"/>
                      </a:lnTo>
                      <a:lnTo>
                        <a:pt x="99" y="182"/>
                      </a:lnTo>
                      <a:lnTo>
                        <a:pt x="97" y="181"/>
                      </a:lnTo>
                      <a:lnTo>
                        <a:pt x="99" y="181"/>
                      </a:lnTo>
                      <a:lnTo>
                        <a:pt x="99" y="179"/>
                      </a:lnTo>
                      <a:lnTo>
                        <a:pt x="99" y="177"/>
                      </a:lnTo>
                      <a:lnTo>
                        <a:pt x="97" y="177"/>
                      </a:lnTo>
                      <a:lnTo>
                        <a:pt x="97" y="176"/>
                      </a:lnTo>
                      <a:lnTo>
                        <a:pt x="97" y="174"/>
                      </a:lnTo>
                      <a:lnTo>
                        <a:pt x="99" y="174"/>
                      </a:lnTo>
                      <a:lnTo>
                        <a:pt x="99" y="172"/>
                      </a:lnTo>
                      <a:lnTo>
                        <a:pt x="97" y="172"/>
                      </a:lnTo>
                      <a:lnTo>
                        <a:pt x="96" y="172"/>
                      </a:lnTo>
                      <a:lnTo>
                        <a:pt x="96" y="171"/>
                      </a:lnTo>
                      <a:lnTo>
                        <a:pt x="96" y="169"/>
                      </a:lnTo>
                      <a:lnTo>
                        <a:pt x="94" y="169"/>
                      </a:lnTo>
                      <a:lnTo>
                        <a:pt x="94" y="168"/>
                      </a:lnTo>
                      <a:lnTo>
                        <a:pt x="94" y="166"/>
                      </a:lnTo>
                      <a:lnTo>
                        <a:pt x="92" y="166"/>
                      </a:lnTo>
                      <a:lnTo>
                        <a:pt x="91" y="166"/>
                      </a:lnTo>
                      <a:lnTo>
                        <a:pt x="89" y="166"/>
                      </a:lnTo>
                      <a:lnTo>
                        <a:pt x="87" y="166"/>
                      </a:lnTo>
                      <a:lnTo>
                        <a:pt x="87" y="164"/>
                      </a:lnTo>
                      <a:lnTo>
                        <a:pt x="87" y="163"/>
                      </a:lnTo>
                      <a:lnTo>
                        <a:pt x="86" y="163"/>
                      </a:lnTo>
                      <a:lnTo>
                        <a:pt x="86" y="161"/>
                      </a:lnTo>
                      <a:lnTo>
                        <a:pt x="86" y="159"/>
                      </a:lnTo>
                      <a:lnTo>
                        <a:pt x="84" y="159"/>
                      </a:lnTo>
                      <a:lnTo>
                        <a:pt x="84" y="158"/>
                      </a:lnTo>
                      <a:lnTo>
                        <a:pt x="82" y="158"/>
                      </a:lnTo>
                      <a:lnTo>
                        <a:pt x="82" y="154"/>
                      </a:lnTo>
                      <a:lnTo>
                        <a:pt x="82" y="153"/>
                      </a:lnTo>
                      <a:lnTo>
                        <a:pt x="81" y="153"/>
                      </a:lnTo>
                      <a:lnTo>
                        <a:pt x="81" y="151"/>
                      </a:lnTo>
                      <a:lnTo>
                        <a:pt x="81" y="149"/>
                      </a:lnTo>
                      <a:lnTo>
                        <a:pt x="79" y="148"/>
                      </a:lnTo>
                      <a:lnTo>
                        <a:pt x="79" y="146"/>
                      </a:lnTo>
                      <a:lnTo>
                        <a:pt x="77" y="146"/>
                      </a:lnTo>
                      <a:lnTo>
                        <a:pt x="77" y="145"/>
                      </a:lnTo>
                      <a:lnTo>
                        <a:pt x="76" y="145"/>
                      </a:lnTo>
                      <a:lnTo>
                        <a:pt x="74" y="145"/>
                      </a:lnTo>
                      <a:lnTo>
                        <a:pt x="72" y="145"/>
                      </a:lnTo>
                      <a:lnTo>
                        <a:pt x="70" y="145"/>
                      </a:lnTo>
                      <a:lnTo>
                        <a:pt x="69" y="145"/>
                      </a:lnTo>
                      <a:lnTo>
                        <a:pt x="67" y="143"/>
                      </a:lnTo>
                      <a:lnTo>
                        <a:pt x="65" y="143"/>
                      </a:lnTo>
                      <a:lnTo>
                        <a:pt x="65" y="141"/>
                      </a:lnTo>
                      <a:lnTo>
                        <a:pt x="65" y="140"/>
                      </a:lnTo>
                      <a:lnTo>
                        <a:pt x="64" y="140"/>
                      </a:lnTo>
                      <a:lnTo>
                        <a:pt x="64" y="138"/>
                      </a:lnTo>
                      <a:lnTo>
                        <a:pt x="62" y="138"/>
                      </a:lnTo>
                      <a:lnTo>
                        <a:pt x="60" y="138"/>
                      </a:lnTo>
                      <a:lnTo>
                        <a:pt x="60" y="136"/>
                      </a:lnTo>
                      <a:lnTo>
                        <a:pt x="60" y="135"/>
                      </a:lnTo>
                      <a:lnTo>
                        <a:pt x="62" y="133"/>
                      </a:lnTo>
                      <a:lnTo>
                        <a:pt x="62" y="131"/>
                      </a:lnTo>
                      <a:lnTo>
                        <a:pt x="62" y="130"/>
                      </a:lnTo>
                      <a:lnTo>
                        <a:pt x="62" y="128"/>
                      </a:lnTo>
                      <a:lnTo>
                        <a:pt x="62" y="126"/>
                      </a:lnTo>
                      <a:lnTo>
                        <a:pt x="62" y="125"/>
                      </a:lnTo>
                      <a:lnTo>
                        <a:pt x="60" y="125"/>
                      </a:lnTo>
                      <a:lnTo>
                        <a:pt x="59" y="125"/>
                      </a:lnTo>
                      <a:lnTo>
                        <a:pt x="57" y="125"/>
                      </a:lnTo>
                      <a:lnTo>
                        <a:pt x="55" y="123"/>
                      </a:lnTo>
                      <a:lnTo>
                        <a:pt x="55" y="122"/>
                      </a:lnTo>
                      <a:lnTo>
                        <a:pt x="55" y="120"/>
                      </a:lnTo>
                      <a:lnTo>
                        <a:pt x="54" y="120"/>
                      </a:lnTo>
                      <a:lnTo>
                        <a:pt x="52" y="120"/>
                      </a:lnTo>
                      <a:lnTo>
                        <a:pt x="50" y="120"/>
                      </a:lnTo>
                      <a:lnTo>
                        <a:pt x="50" y="118"/>
                      </a:lnTo>
                      <a:lnTo>
                        <a:pt x="49" y="118"/>
                      </a:lnTo>
                      <a:lnTo>
                        <a:pt x="47" y="118"/>
                      </a:lnTo>
                      <a:lnTo>
                        <a:pt x="47" y="117"/>
                      </a:lnTo>
                      <a:lnTo>
                        <a:pt x="45" y="117"/>
                      </a:lnTo>
                      <a:lnTo>
                        <a:pt x="43" y="115"/>
                      </a:lnTo>
                      <a:lnTo>
                        <a:pt x="43" y="113"/>
                      </a:lnTo>
                      <a:lnTo>
                        <a:pt x="42" y="113"/>
                      </a:lnTo>
                      <a:lnTo>
                        <a:pt x="42" y="112"/>
                      </a:lnTo>
                      <a:lnTo>
                        <a:pt x="43" y="110"/>
                      </a:lnTo>
                      <a:lnTo>
                        <a:pt x="42" y="110"/>
                      </a:lnTo>
                      <a:lnTo>
                        <a:pt x="42" y="108"/>
                      </a:lnTo>
                      <a:lnTo>
                        <a:pt x="42" y="107"/>
                      </a:lnTo>
                      <a:lnTo>
                        <a:pt x="42" y="105"/>
                      </a:lnTo>
                      <a:lnTo>
                        <a:pt x="40" y="105"/>
                      </a:lnTo>
                      <a:lnTo>
                        <a:pt x="40" y="103"/>
                      </a:lnTo>
                      <a:lnTo>
                        <a:pt x="38" y="103"/>
                      </a:lnTo>
                      <a:lnTo>
                        <a:pt x="38" y="102"/>
                      </a:lnTo>
                      <a:lnTo>
                        <a:pt x="38" y="100"/>
                      </a:lnTo>
                      <a:lnTo>
                        <a:pt x="37" y="100"/>
                      </a:lnTo>
                      <a:lnTo>
                        <a:pt x="38" y="99"/>
                      </a:lnTo>
                      <a:lnTo>
                        <a:pt x="38" y="97"/>
                      </a:lnTo>
                      <a:lnTo>
                        <a:pt x="37" y="95"/>
                      </a:lnTo>
                      <a:lnTo>
                        <a:pt x="37" y="94"/>
                      </a:lnTo>
                      <a:lnTo>
                        <a:pt x="38" y="94"/>
                      </a:lnTo>
                      <a:lnTo>
                        <a:pt x="37" y="90"/>
                      </a:lnTo>
                      <a:lnTo>
                        <a:pt x="35" y="90"/>
                      </a:lnTo>
                      <a:lnTo>
                        <a:pt x="35" y="89"/>
                      </a:lnTo>
                      <a:lnTo>
                        <a:pt x="33" y="87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3" name="Freeform 15"/>
                <p:cNvSpPr>
                  <a:spLocks noChangeAspect="1"/>
                </p:cNvSpPr>
                <p:nvPr/>
              </p:nvSpPr>
              <p:spPr bwMode="auto">
                <a:xfrm>
                  <a:off x="2334952" y="2502493"/>
                  <a:ext cx="1040497" cy="883131"/>
                </a:xfrm>
                <a:custGeom>
                  <a:avLst/>
                  <a:gdLst>
                    <a:gd name="T0" fmla="*/ 2147483647 w 667"/>
                    <a:gd name="T1" fmla="*/ 2147483647 h 527"/>
                    <a:gd name="T2" fmla="*/ 2147483647 w 667"/>
                    <a:gd name="T3" fmla="*/ 2147483647 h 527"/>
                    <a:gd name="T4" fmla="*/ 2147483647 w 667"/>
                    <a:gd name="T5" fmla="*/ 2147483647 h 527"/>
                    <a:gd name="T6" fmla="*/ 2147483647 w 667"/>
                    <a:gd name="T7" fmla="*/ 2147483647 h 527"/>
                    <a:gd name="T8" fmla="*/ 2147483647 w 667"/>
                    <a:gd name="T9" fmla="*/ 2147483647 h 527"/>
                    <a:gd name="T10" fmla="*/ 2147483647 w 667"/>
                    <a:gd name="T11" fmla="*/ 2147483647 h 527"/>
                    <a:gd name="T12" fmla="*/ 2147483647 w 667"/>
                    <a:gd name="T13" fmla="*/ 2147483647 h 527"/>
                    <a:gd name="T14" fmla="*/ 2147483647 w 667"/>
                    <a:gd name="T15" fmla="*/ 2147483647 h 527"/>
                    <a:gd name="T16" fmla="*/ 2147483647 w 667"/>
                    <a:gd name="T17" fmla="*/ 2147483647 h 527"/>
                    <a:gd name="T18" fmla="*/ 2147483647 w 667"/>
                    <a:gd name="T19" fmla="*/ 2147483647 h 527"/>
                    <a:gd name="T20" fmla="*/ 2147483647 w 667"/>
                    <a:gd name="T21" fmla="*/ 2147483647 h 527"/>
                    <a:gd name="T22" fmla="*/ 2147483647 w 667"/>
                    <a:gd name="T23" fmla="*/ 2147483647 h 527"/>
                    <a:gd name="T24" fmla="*/ 2147483647 w 667"/>
                    <a:gd name="T25" fmla="*/ 2147483647 h 527"/>
                    <a:gd name="T26" fmla="*/ 2147483647 w 667"/>
                    <a:gd name="T27" fmla="*/ 2147483647 h 527"/>
                    <a:gd name="T28" fmla="*/ 2147483647 w 667"/>
                    <a:gd name="T29" fmla="*/ 2147483647 h 527"/>
                    <a:gd name="T30" fmla="*/ 2147483647 w 667"/>
                    <a:gd name="T31" fmla="*/ 2147483647 h 527"/>
                    <a:gd name="T32" fmla="*/ 2147483647 w 667"/>
                    <a:gd name="T33" fmla="*/ 2147483647 h 527"/>
                    <a:gd name="T34" fmla="*/ 2147483647 w 667"/>
                    <a:gd name="T35" fmla="*/ 2147483647 h 527"/>
                    <a:gd name="T36" fmla="*/ 2147483647 w 667"/>
                    <a:gd name="T37" fmla="*/ 2147483647 h 527"/>
                    <a:gd name="T38" fmla="*/ 2147483647 w 667"/>
                    <a:gd name="T39" fmla="*/ 2147483647 h 527"/>
                    <a:gd name="T40" fmla="*/ 2147483647 w 667"/>
                    <a:gd name="T41" fmla="*/ 2147483647 h 527"/>
                    <a:gd name="T42" fmla="*/ 2147483647 w 667"/>
                    <a:gd name="T43" fmla="*/ 2147483647 h 527"/>
                    <a:gd name="T44" fmla="*/ 2147483647 w 667"/>
                    <a:gd name="T45" fmla="*/ 2147483647 h 527"/>
                    <a:gd name="T46" fmla="*/ 2147483647 w 667"/>
                    <a:gd name="T47" fmla="*/ 2147483647 h 527"/>
                    <a:gd name="T48" fmla="*/ 2147483647 w 667"/>
                    <a:gd name="T49" fmla="*/ 2147483647 h 527"/>
                    <a:gd name="T50" fmla="*/ 2147483647 w 667"/>
                    <a:gd name="T51" fmla="*/ 2147483647 h 527"/>
                    <a:gd name="T52" fmla="*/ 2147483647 w 667"/>
                    <a:gd name="T53" fmla="*/ 2147483647 h 527"/>
                    <a:gd name="T54" fmla="*/ 2147483647 w 667"/>
                    <a:gd name="T55" fmla="*/ 2147483647 h 527"/>
                    <a:gd name="T56" fmla="*/ 2147483647 w 667"/>
                    <a:gd name="T57" fmla="*/ 2147483647 h 527"/>
                    <a:gd name="T58" fmla="*/ 2147483647 w 667"/>
                    <a:gd name="T59" fmla="*/ 2147483647 h 527"/>
                    <a:gd name="T60" fmla="*/ 2147483647 w 667"/>
                    <a:gd name="T61" fmla="*/ 2147483647 h 527"/>
                    <a:gd name="T62" fmla="*/ 2147483647 w 667"/>
                    <a:gd name="T63" fmla="*/ 2147483647 h 527"/>
                    <a:gd name="T64" fmla="*/ 2147483647 w 667"/>
                    <a:gd name="T65" fmla="*/ 2147483647 h 527"/>
                    <a:gd name="T66" fmla="*/ 2147483647 w 667"/>
                    <a:gd name="T67" fmla="*/ 2147483647 h 527"/>
                    <a:gd name="T68" fmla="*/ 2147483647 w 667"/>
                    <a:gd name="T69" fmla="*/ 2147483647 h 527"/>
                    <a:gd name="T70" fmla="*/ 2147483647 w 667"/>
                    <a:gd name="T71" fmla="*/ 2147483647 h 527"/>
                    <a:gd name="T72" fmla="*/ 2147483647 w 667"/>
                    <a:gd name="T73" fmla="*/ 2147483647 h 527"/>
                    <a:gd name="T74" fmla="*/ 2147483647 w 667"/>
                    <a:gd name="T75" fmla="*/ 2147483647 h 527"/>
                    <a:gd name="T76" fmla="*/ 2147483647 w 667"/>
                    <a:gd name="T77" fmla="*/ 2147483647 h 527"/>
                    <a:gd name="T78" fmla="*/ 2147483647 w 667"/>
                    <a:gd name="T79" fmla="*/ 2147483647 h 527"/>
                    <a:gd name="T80" fmla="*/ 2147483647 w 667"/>
                    <a:gd name="T81" fmla="*/ 2147483647 h 527"/>
                    <a:gd name="T82" fmla="*/ 2147483647 w 667"/>
                    <a:gd name="T83" fmla="*/ 2147483647 h 527"/>
                    <a:gd name="T84" fmla="*/ 2147483647 w 667"/>
                    <a:gd name="T85" fmla="*/ 2147483647 h 527"/>
                    <a:gd name="T86" fmla="*/ 2147483647 w 667"/>
                    <a:gd name="T87" fmla="*/ 2147483647 h 527"/>
                    <a:gd name="T88" fmla="*/ 2147483647 w 667"/>
                    <a:gd name="T89" fmla="*/ 2147483647 h 527"/>
                    <a:gd name="T90" fmla="*/ 2147483647 w 667"/>
                    <a:gd name="T91" fmla="*/ 2147483647 h 527"/>
                    <a:gd name="T92" fmla="*/ 2147483647 w 667"/>
                    <a:gd name="T93" fmla="*/ 2147483647 h 527"/>
                    <a:gd name="T94" fmla="*/ 2147483647 w 667"/>
                    <a:gd name="T95" fmla="*/ 2147483647 h 527"/>
                    <a:gd name="T96" fmla="*/ 2147483647 w 667"/>
                    <a:gd name="T97" fmla="*/ 2147483647 h 527"/>
                    <a:gd name="T98" fmla="*/ 2147483647 w 667"/>
                    <a:gd name="T99" fmla="*/ 2147483647 h 527"/>
                    <a:gd name="T100" fmla="*/ 2147483647 w 667"/>
                    <a:gd name="T101" fmla="*/ 2147483647 h 527"/>
                    <a:gd name="T102" fmla="*/ 2147483647 w 667"/>
                    <a:gd name="T103" fmla="*/ 2147483647 h 527"/>
                    <a:gd name="T104" fmla="*/ 2147483647 w 667"/>
                    <a:gd name="T105" fmla="*/ 2147483647 h 527"/>
                    <a:gd name="T106" fmla="*/ 2147483647 w 667"/>
                    <a:gd name="T107" fmla="*/ 2147483647 h 527"/>
                    <a:gd name="T108" fmla="*/ 2147483647 w 667"/>
                    <a:gd name="T109" fmla="*/ 2147483647 h 527"/>
                    <a:gd name="T110" fmla="*/ 2147483647 w 667"/>
                    <a:gd name="T111" fmla="*/ 2147483647 h 527"/>
                    <a:gd name="T112" fmla="*/ 2147483647 w 667"/>
                    <a:gd name="T113" fmla="*/ 2147483647 h 527"/>
                    <a:gd name="T114" fmla="*/ 2147483647 w 667"/>
                    <a:gd name="T115" fmla="*/ 2147483647 h 527"/>
                    <a:gd name="T116" fmla="*/ 2147483647 w 667"/>
                    <a:gd name="T117" fmla="*/ 2147483647 h 527"/>
                    <a:gd name="T118" fmla="*/ 2147483647 w 667"/>
                    <a:gd name="T119" fmla="*/ 2147483647 h 527"/>
                    <a:gd name="T120" fmla="*/ 2147483647 w 667"/>
                    <a:gd name="T121" fmla="*/ 2147483647 h 527"/>
                    <a:gd name="T122" fmla="*/ 2147483647 w 667"/>
                    <a:gd name="T123" fmla="*/ 2147483647 h 527"/>
                    <a:gd name="T124" fmla="*/ 2147483647 w 667"/>
                    <a:gd name="T125" fmla="*/ 2147483647 h 5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67"/>
                    <a:gd name="T190" fmla="*/ 0 h 527"/>
                    <a:gd name="T191" fmla="*/ 667 w 667"/>
                    <a:gd name="T192" fmla="*/ 527 h 5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67" h="527">
                      <a:moveTo>
                        <a:pt x="19" y="177"/>
                      </a:moveTo>
                      <a:lnTo>
                        <a:pt x="0" y="171"/>
                      </a:lnTo>
                      <a:lnTo>
                        <a:pt x="2" y="169"/>
                      </a:lnTo>
                      <a:lnTo>
                        <a:pt x="4" y="167"/>
                      </a:lnTo>
                      <a:lnTo>
                        <a:pt x="4" y="166"/>
                      </a:lnTo>
                      <a:lnTo>
                        <a:pt x="4" y="164"/>
                      </a:lnTo>
                      <a:lnTo>
                        <a:pt x="5" y="166"/>
                      </a:lnTo>
                      <a:lnTo>
                        <a:pt x="7" y="164"/>
                      </a:lnTo>
                      <a:lnTo>
                        <a:pt x="9" y="164"/>
                      </a:lnTo>
                      <a:lnTo>
                        <a:pt x="10" y="164"/>
                      </a:lnTo>
                      <a:lnTo>
                        <a:pt x="12" y="162"/>
                      </a:lnTo>
                      <a:lnTo>
                        <a:pt x="12" y="161"/>
                      </a:lnTo>
                      <a:lnTo>
                        <a:pt x="14" y="161"/>
                      </a:lnTo>
                      <a:lnTo>
                        <a:pt x="14" y="159"/>
                      </a:lnTo>
                      <a:lnTo>
                        <a:pt x="15" y="159"/>
                      </a:lnTo>
                      <a:lnTo>
                        <a:pt x="17" y="158"/>
                      </a:lnTo>
                      <a:lnTo>
                        <a:pt x="19" y="158"/>
                      </a:lnTo>
                      <a:lnTo>
                        <a:pt x="19" y="156"/>
                      </a:lnTo>
                      <a:lnTo>
                        <a:pt x="20" y="156"/>
                      </a:lnTo>
                      <a:lnTo>
                        <a:pt x="20" y="158"/>
                      </a:lnTo>
                      <a:lnTo>
                        <a:pt x="22" y="158"/>
                      </a:lnTo>
                      <a:lnTo>
                        <a:pt x="22" y="156"/>
                      </a:lnTo>
                      <a:lnTo>
                        <a:pt x="24" y="156"/>
                      </a:lnTo>
                      <a:lnTo>
                        <a:pt x="26" y="156"/>
                      </a:lnTo>
                      <a:lnTo>
                        <a:pt x="26" y="154"/>
                      </a:lnTo>
                      <a:lnTo>
                        <a:pt x="27" y="154"/>
                      </a:lnTo>
                      <a:lnTo>
                        <a:pt x="29" y="153"/>
                      </a:lnTo>
                      <a:lnTo>
                        <a:pt x="31" y="153"/>
                      </a:lnTo>
                      <a:lnTo>
                        <a:pt x="31" y="151"/>
                      </a:lnTo>
                      <a:lnTo>
                        <a:pt x="31" y="149"/>
                      </a:lnTo>
                      <a:lnTo>
                        <a:pt x="32" y="149"/>
                      </a:lnTo>
                      <a:lnTo>
                        <a:pt x="34" y="148"/>
                      </a:lnTo>
                      <a:lnTo>
                        <a:pt x="36" y="146"/>
                      </a:lnTo>
                      <a:lnTo>
                        <a:pt x="36" y="144"/>
                      </a:lnTo>
                      <a:lnTo>
                        <a:pt x="37" y="143"/>
                      </a:lnTo>
                      <a:lnTo>
                        <a:pt x="39" y="141"/>
                      </a:lnTo>
                      <a:lnTo>
                        <a:pt x="39" y="139"/>
                      </a:lnTo>
                      <a:lnTo>
                        <a:pt x="41" y="138"/>
                      </a:lnTo>
                      <a:lnTo>
                        <a:pt x="41" y="136"/>
                      </a:lnTo>
                      <a:lnTo>
                        <a:pt x="39" y="135"/>
                      </a:lnTo>
                      <a:lnTo>
                        <a:pt x="37" y="135"/>
                      </a:lnTo>
                      <a:lnTo>
                        <a:pt x="37" y="133"/>
                      </a:lnTo>
                      <a:lnTo>
                        <a:pt x="39" y="133"/>
                      </a:lnTo>
                      <a:lnTo>
                        <a:pt x="41" y="133"/>
                      </a:lnTo>
                      <a:lnTo>
                        <a:pt x="41" y="135"/>
                      </a:lnTo>
                      <a:lnTo>
                        <a:pt x="42" y="135"/>
                      </a:lnTo>
                      <a:lnTo>
                        <a:pt x="42" y="133"/>
                      </a:lnTo>
                      <a:lnTo>
                        <a:pt x="44" y="133"/>
                      </a:lnTo>
                      <a:lnTo>
                        <a:pt x="44" y="135"/>
                      </a:lnTo>
                      <a:lnTo>
                        <a:pt x="46" y="135"/>
                      </a:lnTo>
                      <a:lnTo>
                        <a:pt x="47" y="133"/>
                      </a:lnTo>
                      <a:lnTo>
                        <a:pt x="47" y="135"/>
                      </a:lnTo>
                      <a:lnTo>
                        <a:pt x="49" y="135"/>
                      </a:lnTo>
                      <a:lnTo>
                        <a:pt x="51" y="135"/>
                      </a:lnTo>
                      <a:lnTo>
                        <a:pt x="49" y="135"/>
                      </a:lnTo>
                      <a:lnTo>
                        <a:pt x="49" y="133"/>
                      </a:lnTo>
                      <a:lnTo>
                        <a:pt x="51" y="133"/>
                      </a:lnTo>
                      <a:lnTo>
                        <a:pt x="53" y="133"/>
                      </a:lnTo>
                      <a:lnTo>
                        <a:pt x="54" y="135"/>
                      </a:lnTo>
                      <a:lnTo>
                        <a:pt x="56" y="135"/>
                      </a:lnTo>
                      <a:lnTo>
                        <a:pt x="58" y="135"/>
                      </a:lnTo>
                      <a:lnTo>
                        <a:pt x="59" y="135"/>
                      </a:lnTo>
                      <a:lnTo>
                        <a:pt x="61" y="135"/>
                      </a:lnTo>
                      <a:lnTo>
                        <a:pt x="63" y="135"/>
                      </a:lnTo>
                      <a:lnTo>
                        <a:pt x="63" y="133"/>
                      </a:lnTo>
                      <a:lnTo>
                        <a:pt x="66" y="133"/>
                      </a:lnTo>
                      <a:lnTo>
                        <a:pt x="68" y="133"/>
                      </a:lnTo>
                      <a:lnTo>
                        <a:pt x="71" y="133"/>
                      </a:lnTo>
                      <a:lnTo>
                        <a:pt x="73" y="133"/>
                      </a:lnTo>
                      <a:lnTo>
                        <a:pt x="73" y="131"/>
                      </a:lnTo>
                      <a:lnTo>
                        <a:pt x="74" y="131"/>
                      </a:lnTo>
                      <a:lnTo>
                        <a:pt x="76" y="133"/>
                      </a:lnTo>
                      <a:lnTo>
                        <a:pt x="78" y="133"/>
                      </a:lnTo>
                      <a:lnTo>
                        <a:pt x="80" y="133"/>
                      </a:lnTo>
                      <a:lnTo>
                        <a:pt x="81" y="135"/>
                      </a:lnTo>
                      <a:lnTo>
                        <a:pt x="83" y="136"/>
                      </a:lnTo>
                      <a:lnTo>
                        <a:pt x="85" y="136"/>
                      </a:lnTo>
                      <a:lnTo>
                        <a:pt x="85" y="138"/>
                      </a:lnTo>
                      <a:lnTo>
                        <a:pt x="85" y="139"/>
                      </a:lnTo>
                      <a:lnTo>
                        <a:pt x="86" y="139"/>
                      </a:lnTo>
                      <a:lnTo>
                        <a:pt x="88" y="139"/>
                      </a:lnTo>
                      <a:lnTo>
                        <a:pt x="90" y="139"/>
                      </a:lnTo>
                      <a:lnTo>
                        <a:pt x="90" y="141"/>
                      </a:lnTo>
                      <a:lnTo>
                        <a:pt x="90" y="143"/>
                      </a:lnTo>
                      <a:lnTo>
                        <a:pt x="91" y="141"/>
                      </a:lnTo>
                      <a:lnTo>
                        <a:pt x="91" y="143"/>
                      </a:lnTo>
                      <a:lnTo>
                        <a:pt x="91" y="144"/>
                      </a:lnTo>
                      <a:lnTo>
                        <a:pt x="93" y="144"/>
                      </a:lnTo>
                      <a:lnTo>
                        <a:pt x="95" y="146"/>
                      </a:lnTo>
                      <a:lnTo>
                        <a:pt x="95" y="148"/>
                      </a:lnTo>
                      <a:lnTo>
                        <a:pt x="96" y="149"/>
                      </a:lnTo>
                      <a:lnTo>
                        <a:pt x="98" y="149"/>
                      </a:lnTo>
                      <a:lnTo>
                        <a:pt x="98" y="148"/>
                      </a:lnTo>
                      <a:lnTo>
                        <a:pt x="100" y="148"/>
                      </a:lnTo>
                      <a:lnTo>
                        <a:pt x="100" y="146"/>
                      </a:lnTo>
                      <a:lnTo>
                        <a:pt x="102" y="146"/>
                      </a:lnTo>
                      <a:lnTo>
                        <a:pt x="103" y="146"/>
                      </a:lnTo>
                      <a:lnTo>
                        <a:pt x="105" y="144"/>
                      </a:lnTo>
                      <a:lnTo>
                        <a:pt x="105" y="143"/>
                      </a:lnTo>
                      <a:lnTo>
                        <a:pt x="107" y="141"/>
                      </a:lnTo>
                      <a:lnTo>
                        <a:pt x="107" y="138"/>
                      </a:lnTo>
                      <a:lnTo>
                        <a:pt x="108" y="136"/>
                      </a:lnTo>
                      <a:lnTo>
                        <a:pt x="110" y="136"/>
                      </a:lnTo>
                      <a:lnTo>
                        <a:pt x="112" y="135"/>
                      </a:lnTo>
                      <a:lnTo>
                        <a:pt x="113" y="135"/>
                      </a:lnTo>
                      <a:lnTo>
                        <a:pt x="115" y="133"/>
                      </a:lnTo>
                      <a:lnTo>
                        <a:pt x="117" y="133"/>
                      </a:lnTo>
                      <a:lnTo>
                        <a:pt x="118" y="133"/>
                      </a:lnTo>
                      <a:lnTo>
                        <a:pt x="118" y="135"/>
                      </a:lnTo>
                      <a:lnTo>
                        <a:pt x="120" y="135"/>
                      </a:lnTo>
                      <a:lnTo>
                        <a:pt x="122" y="135"/>
                      </a:lnTo>
                      <a:lnTo>
                        <a:pt x="122" y="136"/>
                      </a:lnTo>
                      <a:lnTo>
                        <a:pt x="123" y="136"/>
                      </a:lnTo>
                      <a:lnTo>
                        <a:pt x="123" y="138"/>
                      </a:lnTo>
                      <a:lnTo>
                        <a:pt x="125" y="138"/>
                      </a:lnTo>
                      <a:lnTo>
                        <a:pt x="127" y="138"/>
                      </a:lnTo>
                      <a:lnTo>
                        <a:pt x="129" y="138"/>
                      </a:lnTo>
                      <a:lnTo>
                        <a:pt x="130" y="138"/>
                      </a:lnTo>
                      <a:lnTo>
                        <a:pt x="130" y="136"/>
                      </a:lnTo>
                      <a:lnTo>
                        <a:pt x="130" y="135"/>
                      </a:lnTo>
                      <a:lnTo>
                        <a:pt x="130" y="133"/>
                      </a:lnTo>
                      <a:lnTo>
                        <a:pt x="129" y="133"/>
                      </a:lnTo>
                      <a:lnTo>
                        <a:pt x="129" y="131"/>
                      </a:lnTo>
                      <a:lnTo>
                        <a:pt x="130" y="130"/>
                      </a:lnTo>
                      <a:lnTo>
                        <a:pt x="130" y="126"/>
                      </a:lnTo>
                      <a:lnTo>
                        <a:pt x="130" y="125"/>
                      </a:lnTo>
                      <a:lnTo>
                        <a:pt x="129" y="125"/>
                      </a:lnTo>
                      <a:lnTo>
                        <a:pt x="130" y="125"/>
                      </a:lnTo>
                      <a:lnTo>
                        <a:pt x="130" y="123"/>
                      </a:lnTo>
                      <a:lnTo>
                        <a:pt x="132" y="125"/>
                      </a:lnTo>
                      <a:lnTo>
                        <a:pt x="134" y="125"/>
                      </a:lnTo>
                      <a:lnTo>
                        <a:pt x="134" y="126"/>
                      </a:lnTo>
                      <a:lnTo>
                        <a:pt x="135" y="126"/>
                      </a:lnTo>
                      <a:lnTo>
                        <a:pt x="135" y="125"/>
                      </a:lnTo>
                      <a:lnTo>
                        <a:pt x="139" y="125"/>
                      </a:lnTo>
                      <a:lnTo>
                        <a:pt x="139" y="123"/>
                      </a:lnTo>
                      <a:lnTo>
                        <a:pt x="140" y="123"/>
                      </a:lnTo>
                      <a:lnTo>
                        <a:pt x="142" y="123"/>
                      </a:lnTo>
                      <a:lnTo>
                        <a:pt x="142" y="121"/>
                      </a:lnTo>
                      <a:lnTo>
                        <a:pt x="144" y="121"/>
                      </a:lnTo>
                      <a:lnTo>
                        <a:pt x="144" y="120"/>
                      </a:lnTo>
                      <a:lnTo>
                        <a:pt x="145" y="120"/>
                      </a:lnTo>
                      <a:lnTo>
                        <a:pt x="147" y="118"/>
                      </a:lnTo>
                      <a:lnTo>
                        <a:pt x="149" y="118"/>
                      </a:lnTo>
                      <a:lnTo>
                        <a:pt x="150" y="120"/>
                      </a:lnTo>
                      <a:lnTo>
                        <a:pt x="152" y="120"/>
                      </a:lnTo>
                      <a:lnTo>
                        <a:pt x="152" y="121"/>
                      </a:lnTo>
                      <a:lnTo>
                        <a:pt x="152" y="123"/>
                      </a:lnTo>
                      <a:lnTo>
                        <a:pt x="152" y="125"/>
                      </a:lnTo>
                      <a:lnTo>
                        <a:pt x="154" y="126"/>
                      </a:lnTo>
                      <a:lnTo>
                        <a:pt x="154" y="128"/>
                      </a:lnTo>
                      <a:lnTo>
                        <a:pt x="154" y="130"/>
                      </a:lnTo>
                      <a:lnTo>
                        <a:pt x="156" y="130"/>
                      </a:lnTo>
                      <a:lnTo>
                        <a:pt x="156" y="131"/>
                      </a:lnTo>
                      <a:lnTo>
                        <a:pt x="154" y="133"/>
                      </a:lnTo>
                      <a:lnTo>
                        <a:pt x="154" y="135"/>
                      </a:lnTo>
                      <a:lnTo>
                        <a:pt x="156" y="135"/>
                      </a:lnTo>
                      <a:lnTo>
                        <a:pt x="157" y="135"/>
                      </a:lnTo>
                      <a:lnTo>
                        <a:pt x="157" y="136"/>
                      </a:lnTo>
                      <a:lnTo>
                        <a:pt x="159" y="136"/>
                      </a:lnTo>
                      <a:lnTo>
                        <a:pt x="161" y="136"/>
                      </a:lnTo>
                      <a:lnTo>
                        <a:pt x="161" y="135"/>
                      </a:lnTo>
                      <a:lnTo>
                        <a:pt x="162" y="135"/>
                      </a:lnTo>
                      <a:lnTo>
                        <a:pt x="164" y="135"/>
                      </a:lnTo>
                      <a:lnTo>
                        <a:pt x="162" y="133"/>
                      </a:lnTo>
                      <a:lnTo>
                        <a:pt x="164" y="133"/>
                      </a:lnTo>
                      <a:lnTo>
                        <a:pt x="164" y="131"/>
                      </a:lnTo>
                      <a:lnTo>
                        <a:pt x="166" y="131"/>
                      </a:lnTo>
                      <a:lnTo>
                        <a:pt x="167" y="131"/>
                      </a:lnTo>
                      <a:lnTo>
                        <a:pt x="167" y="130"/>
                      </a:lnTo>
                      <a:lnTo>
                        <a:pt x="169" y="130"/>
                      </a:lnTo>
                      <a:lnTo>
                        <a:pt x="167" y="128"/>
                      </a:lnTo>
                      <a:lnTo>
                        <a:pt x="169" y="128"/>
                      </a:lnTo>
                      <a:lnTo>
                        <a:pt x="169" y="126"/>
                      </a:lnTo>
                      <a:lnTo>
                        <a:pt x="171" y="126"/>
                      </a:lnTo>
                      <a:lnTo>
                        <a:pt x="171" y="125"/>
                      </a:lnTo>
                      <a:lnTo>
                        <a:pt x="172" y="125"/>
                      </a:lnTo>
                      <a:lnTo>
                        <a:pt x="172" y="123"/>
                      </a:lnTo>
                      <a:lnTo>
                        <a:pt x="172" y="121"/>
                      </a:lnTo>
                      <a:lnTo>
                        <a:pt x="174" y="121"/>
                      </a:lnTo>
                      <a:lnTo>
                        <a:pt x="176" y="121"/>
                      </a:lnTo>
                      <a:lnTo>
                        <a:pt x="176" y="120"/>
                      </a:lnTo>
                      <a:lnTo>
                        <a:pt x="178" y="120"/>
                      </a:lnTo>
                      <a:lnTo>
                        <a:pt x="178" y="118"/>
                      </a:lnTo>
                      <a:lnTo>
                        <a:pt x="178" y="116"/>
                      </a:lnTo>
                      <a:lnTo>
                        <a:pt x="179" y="116"/>
                      </a:lnTo>
                      <a:lnTo>
                        <a:pt x="179" y="115"/>
                      </a:lnTo>
                      <a:lnTo>
                        <a:pt x="179" y="113"/>
                      </a:lnTo>
                      <a:lnTo>
                        <a:pt x="178" y="112"/>
                      </a:lnTo>
                      <a:lnTo>
                        <a:pt x="179" y="112"/>
                      </a:lnTo>
                      <a:lnTo>
                        <a:pt x="179" y="110"/>
                      </a:lnTo>
                      <a:lnTo>
                        <a:pt x="178" y="110"/>
                      </a:lnTo>
                      <a:lnTo>
                        <a:pt x="178" y="108"/>
                      </a:lnTo>
                      <a:lnTo>
                        <a:pt x="178" y="107"/>
                      </a:lnTo>
                      <a:lnTo>
                        <a:pt x="179" y="105"/>
                      </a:lnTo>
                      <a:lnTo>
                        <a:pt x="179" y="103"/>
                      </a:lnTo>
                      <a:lnTo>
                        <a:pt x="179" y="102"/>
                      </a:lnTo>
                      <a:lnTo>
                        <a:pt x="179" y="100"/>
                      </a:lnTo>
                      <a:lnTo>
                        <a:pt x="179" y="98"/>
                      </a:lnTo>
                      <a:lnTo>
                        <a:pt x="181" y="98"/>
                      </a:lnTo>
                      <a:lnTo>
                        <a:pt x="183" y="98"/>
                      </a:lnTo>
                      <a:lnTo>
                        <a:pt x="183" y="97"/>
                      </a:lnTo>
                      <a:lnTo>
                        <a:pt x="184" y="97"/>
                      </a:lnTo>
                      <a:lnTo>
                        <a:pt x="184" y="95"/>
                      </a:lnTo>
                      <a:lnTo>
                        <a:pt x="186" y="95"/>
                      </a:lnTo>
                      <a:lnTo>
                        <a:pt x="188" y="93"/>
                      </a:lnTo>
                      <a:lnTo>
                        <a:pt x="189" y="93"/>
                      </a:lnTo>
                      <a:lnTo>
                        <a:pt x="191" y="93"/>
                      </a:lnTo>
                      <a:lnTo>
                        <a:pt x="193" y="93"/>
                      </a:lnTo>
                      <a:lnTo>
                        <a:pt x="193" y="95"/>
                      </a:lnTo>
                      <a:lnTo>
                        <a:pt x="194" y="97"/>
                      </a:lnTo>
                      <a:lnTo>
                        <a:pt x="196" y="97"/>
                      </a:lnTo>
                      <a:lnTo>
                        <a:pt x="198" y="97"/>
                      </a:lnTo>
                      <a:lnTo>
                        <a:pt x="198" y="95"/>
                      </a:lnTo>
                      <a:lnTo>
                        <a:pt x="199" y="93"/>
                      </a:lnTo>
                      <a:lnTo>
                        <a:pt x="201" y="93"/>
                      </a:lnTo>
                      <a:lnTo>
                        <a:pt x="203" y="95"/>
                      </a:lnTo>
                      <a:lnTo>
                        <a:pt x="203" y="97"/>
                      </a:lnTo>
                      <a:lnTo>
                        <a:pt x="205" y="95"/>
                      </a:lnTo>
                      <a:lnTo>
                        <a:pt x="206" y="95"/>
                      </a:lnTo>
                      <a:lnTo>
                        <a:pt x="208" y="97"/>
                      </a:lnTo>
                      <a:lnTo>
                        <a:pt x="210" y="97"/>
                      </a:lnTo>
                      <a:lnTo>
                        <a:pt x="210" y="95"/>
                      </a:lnTo>
                      <a:lnTo>
                        <a:pt x="211" y="95"/>
                      </a:lnTo>
                      <a:lnTo>
                        <a:pt x="211" y="93"/>
                      </a:lnTo>
                      <a:lnTo>
                        <a:pt x="213" y="93"/>
                      </a:lnTo>
                      <a:lnTo>
                        <a:pt x="215" y="93"/>
                      </a:lnTo>
                      <a:lnTo>
                        <a:pt x="216" y="92"/>
                      </a:lnTo>
                      <a:lnTo>
                        <a:pt x="218" y="93"/>
                      </a:lnTo>
                      <a:lnTo>
                        <a:pt x="220" y="93"/>
                      </a:lnTo>
                      <a:lnTo>
                        <a:pt x="221" y="92"/>
                      </a:lnTo>
                      <a:lnTo>
                        <a:pt x="223" y="93"/>
                      </a:lnTo>
                      <a:lnTo>
                        <a:pt x="225" y="93"/>
                      </a:lnTo>
                      <a:lnTo>
                        <a:pt x="225" y="92"/>
                      </a:lnTo>
                      <a:lnTo>
                        <a:pt x="228" y="92"/>
                      </a:lnTo>
                      <a:lnTo>
                        <a:pt x="230" y="90"/>
                      </a:lnTo>
                      <a:lnTo>
                        <a:pt x="232" y="90"/>
                      </a:lnTo>
                      <a:lnTo>
                        <a:pt x="235" y="89"/>
                      </a:lnTo>
                      <a:lnTo>
                        <a:pt x="237" y="89"/>
                      </a:lnTo>
                      <a:lnTo>
                        <a:pt x="237" y="90"/>
                      </a:lnTo>
                      <a:lnTo>
                        <a:pt x="235" y="93"/>
                      </a:lnTo>
                      <a:lnTo>
                        <a:pt x="237" y="93"/>
                      </a:lnTo>
                      <a:lnTo>
                        <a:pt x="237" y="95"/>
                      </a:lnTo>
                      <a:lnTo>
                        <a:pt x="238" y="95"/>
                      </a:lnTo>
                      <a:lnTo>
                        <a:pt x="240" y="93"/>
                      </a:lnTo>
                      <a:lnTo>
                        <a:pt x="242" y="93"/>
                      </a:lnTo>
                      <a:lnTo>
                        <a:pt x="243" y="93"/>
                      </a:lnTo>
                      <a:lnTo>
                        <a:pt x="245" y="93"/>
                      </a:lnTo>
                      <a:lnTo>
                        <a:pt x="247" y="93"/>
                      </a:lnTo>
                      <a:lnTo>
                        <a:pt x="250" y="92"/>
                      </a:lnTo>
                      <a:lnTo>
                        <a:pt x="250" y="90"/>
                      </a:lnTo>
                      <a:lnTo>
                        <a:pt x="252" y="92"/>
                      </a:lnTo>
                      <a:lnTo>
                        <a:pt x="254" y="90"/>
                      </a:lnTo>
                      <a:lnTo>
                        <a:pt x="254" y="89"/>
                      </a:lnTo>
                      <a:lnTo>
                        <a:pt x="252" y="85"/>
                      </a:lnTo>
                      <a:lnTo>
                        <a:pt x="252" y="84"/>
                      </a:lnTo>
                      <a:lnTo>
                        <a:pt x="252" y="82"/>
                      </a:lnTo>
                      <a:lnTo>
                        <a:pt x="252" y="80"/>
                      </a:lnTo>
                      <a:lnTo>
                        <a:pt x="254" y="79"/>
                      </a:lnTo>
                      <a:lnTo>
                        <a:pt x="254" y="77"/>
                      </a:lnTo>
                      <a:lnTo>
                        <a:pt x="255" y="77"/>
                      </a:lnTo>
                      <a:lnTo>
                        <a:pt x="254" y="75"/>
                      </a:lnTo>
                      <a:lnTo>
                        <a:pt x="254" y="74"/>
                      </a:lnTo>
                      <a:lnTo>
                        <a:pt x="254" y="72"/>
                      </a:lnTo>
                      <a:lnTo>
                        <a:pt x="254" y="70"/>
                      </a:lnTo>
                      <a:lnTo>
                        <a:pt x="254" y="69"/>
                      </a:lnTo>
                      <a:lnTo>
                        <a:pt x="255" y="69"/>
                      </a:lnTo>
                      <a:lnTo>
                        <a:pt x="257" y="69"/>
                      </a:lnTo>
                      <a:lnTo>
                        <a:pt x="257" y="70"/>
                      </a:lnTo>
                      <a:lnTo>
                        <a:pt x="259" y="69"/>
                      </a:lnTo>
                      <a:lnTo>
                        <a:pt x="260" y="69"/>
                      </a:lnTo>
                      <a:lnTo>
                        <a:pt x="262" y="69"/>
                      </a:lnTo>
                      <a:lnTo>
                        <a:pt x="264" y="69"/>
                      </a:lnTo>
                      <a:lnTo>
                        <a:pt x="264" y="67"/>
                      </a:lnTo>
                      <a:lnTo>
                        <a:pt x="264" y="66"/>
                      </a:lnTo>
                      <a:lnTo>
                        <a:pt x="265" y="66"/>
                      </a:lnTo>
                      <a:lnTo>
                        <a:pt x="265" y="64"/>
                      </a:lnTo>
                      <a:lnTo>
                        <a:pt x="265" y="62"/>
                      </a:lnTo>
                      <a:lnTo>
                        <a:pt x="267" y="62"/>
                      </a:lnTo>
                      <a:lnTo>
                        <a:pt x="265" y="61"/>
                      </a:lnTo>
                      <a:lnTo>
                        <a:pt x="267" y="61"/>
                      </a:lnTo>
                      <a:lnTo>
                        <a:pt x="267" y="59"/>
                      </a:lnTo>
                      <a:lnTo>
                        <a:pt x="269" y="57"/>
                      </a:lnTo>
                      <a:lnTo>
                        <a:pt x="269" y="56"/>
                      </a:lnTo>
                      <a:lnTo>
                        <a:pt x="270" y="57"/>
                      </a:lnTo>
                      <a:lnTo>
                        <a:pt x="270" y="59"/>
                      </a:lnTo>
                      <a:lnTo>
                        <a:pt x="272" y="59"/>
                      </a:lnTo>
                      <a:lnTo>
                        <a:pt x="272" y="57"/>
                      </a:lnTo>
                      <a:lnTo>
                        <a:pt x="274" y="57"/>
                      </a:lnTo>
                      <a:lnTo>
                        <a:pt x="274" y="56"/>
                      </a:lnTo>
                      <a:lnTo>
                        <a:pt x="274" y="54"/>
                      </a:lnTo>
                      <a:lnTo>
                        <a:pt x="272" y="54"/>
                      </a:lnTo>
                      <a:lnTo>
                        <a:pt x="272" y="52"/>
                      </a:lnTo>
                      <a:lnTo>
                        <a:pt x="272" y="51"/>
                      </a:lnTo>
                      <a:lnTo>
                        <a:pt x="270" y="49"/>
                      </a:lnTo>
                      <a:lnTo>
                        <a:pt x="269" y="49"/>
                      </a:lnTo>
                      <a:lnTo>
                        <a:pt x="269" y="47"/>
                      </a:lnTo>
                      <a:lnTo>
                        <a:pt x="270" y="46"/>
                      </a:lnTo>
                      <a:lnTo>
                        <a:pt x="272" y="44"/>
                      </a:lnTo>
                      <a:lnTo>
                        <a:pt x="272" y="43"/>
                      </a:lnTo>
                      <a:lnTo>
                        <a:pt x="270" y="43"/>
                      </a:lnTo>
                      <a:lnTo>
                        <a:pt x="270" y="41"/>
                      </a:lnTo>
                      <a:lnTo>
                        <a:pt x="269" y="41"/>
                      </a:lnTo>
                      <a:lnTo>
                        <a:pt x="270" y="39"/>
                      </a:lnTo>
                      <a:lnTo>
                        <a:pt x="272" y="38"/>
                      </a:lnTo>
                      <a:lnTo>
                        <a:pt x="272" y="36"/>
                      </a:lnTo>
                      <a:lnTo>
                        <a:pt x="272" y="34"/>
                      </a:lnTo>
                      <a:lnTo>
                        <a:pt x="272" y="33"/>
                      </a:lnTo>
                      <a:lnTo>
                        <a:pt x="274" y="33"/>
                      </a:lnTo>
                      <a:lnTo>
                        <a:pt x="275" y="33"/>
                      </a:lnTo>
                      <a:lnTo>
                        <a:pt x="275" y="31"/>
                      </a:lnTo>
                      <a:lnTo>
                        <a:pt x="277" y="31"/>
                      </a:lnTo>
                      <a:lnTo>
                        <a:pt x="277" y="29"/>
                      </a:lnTo>
                      <a:lnTo>
                        <a:pt x="279" y="29"/>
                      </a:lnTo>
                      <a:lnTo>
                        <a:pt x="281" y="29"/>
                      </a:lnTo>
                      <a:lnTo>
                        <a:pt x="284" y="31"/>
                      </a:lnTo>
                      <a:lnTo>
                        <a:pt x="286" y="33"/>
                      </a:lnTo>
                      <a:lnTo>
                        <a:pt x="287" y="33"/>
                      </a:lnTo>
                      <a:lnTo>
                        <a:pt x="289" y="33"/>
                      </a:lnTo>
                      <a:lnTo>
                        <a:pt x="289" y="31"/>
                      </a:lnTo>
                      <a:lnTo>
                        <a:pt x="289" y="29"/>
                      </a:lnTo>
                      <a:lnTo>
                        <a:pt x="291" y="28"/>
                      </a:lnTo>
                      <a:lnTo>
                        <a:pt x="292" y="26"/>
                      </a:lnTo>
                      <a:lnTo>
                        <a:pt x="292" y="24"/>
                      </a:lnTo>
                      <a:lnTo>
                        <a:pt x="291" y="23"/>
                      </a:lnTo>
                      <a:lnTo>
                        <a:pt x="291" y="21"/>
                      </a:lnTo>
                      <a:lnTo>
                        <a:pt x="291" y="20"/>
                      </a:lnTo>
                      <a:lnTo>
                        <a:pt x="292" y="20"/>
                      </a:lnTo>
                      <a:lnTo>
                        <a:pt x="296" y="18"/>
                      </a:lnTo>
                      <a:lnTo>
                        <a:pt x="296" y="16"/>
                      </a:lnTo>
                      <a:lnTo>
                        <a:pt x="297" y="15"/>
                      </a:lnTo>
                      <a:lnTo>
                        <a:pt x="299" y="11"/>
                      </a:lnTo>
                      <a:lnTo>
                        <a:pt x="297" y="11"/>
                      </a:lnTo>
                      <a:lnTo>
                        <a:pt x="297" y="10"/>
                      </a:lnTo>
                      <a:lnTo>
                        <a:pt x="299" y="8"/>
                      </a:lnTo>
                      <a:lnTo>
                        <a:pt x="301" y="8"/>
                      </a:lnTo>
                      <a:lnTo>
                        <a:pt x="301" y="6"/>
                      </a:lnTo>
                      <a:lnTo>
                        <a:pt x="302" y="6"/>
                      </a:lnTo>
                      <a:lnTo>
                        <a:pt x="302" y="5"/>
                      </a:lnTo>
                      <a:lnTo>
                        <a:pt x="302" y="3"/>
                      </a:lnTo>
                      <a:lnTo>
                        <a:pt x="302" y="2"/>
                      </a:lnTo>
                      <a:lnTo>
                        <a:pt x="302" y="0"/>
                      </a:lnTo>
                      <a:lnTo>
                        <a:pt x="314" y="0"/>
                      </a:lnTo>
                      <a:lnTo>
                        <a:pt x="351" y="0"/>
                      </a:lnTo>
                      <a:lnTo>
                        <a:pt x="373" y="0"/>
                      </a:lnTo>
                      <a:lnTo>
                        <a:pt x="375" y="2"/>
                      </a:lnTo>
                      <a:lnTo>
                        <a:pt x="377" y="2"/>
                      </a:lnTo>
                      <a:lnTo>
                        <a:pt x="378" y="3"/>
                      </a:lnTo>
                      <a:lnTo>
                        <a:pt x="378" y="5"/>
                      </a:lnTo>
                      <a:lnTo>
                        <a:pt x="380" y="5"/>
                      </a:lnTo>
                      <a:lnTo>
                        <a:pt x="382" y="5"/>
                      </a:lnTo>
                      <a:lnTo>
                        <a:pt x="384" y="5"/>
                      </a:lnTo>
                      <a:lnTo>
                        <a:pt x="384" y="6"/>
                      </a:lnTo>
                      <a:lnTo>
                        <a:pt x="385" y="6"/>
                      </a:lnTo>
                      <a:lnTo>
                        <a:pt x="387" y="6"/>
                      </a:lnTo>
                      <a:lnTo>
                        <a:pt x="387" y="8"/>
                      </a:lnTo>
                      <a:lnTo>
                        <a:pt x="387" y="10"/>
                      </a:lnTo>
                      <a:lnTo>
                        <a:pt x="389" y="10"/>
                      </a:lnTo>
                      <a:lnTo>
                        <a:pt x="390" y="11"/>
                      </a:lnTo>
                      <a:lnTo>
                        <a:pt x="392" y="13"/>
                      </a:lnTo>
                      <a:lnTo>
                        <a:pt x="392" y="15"/>
                      </a:lnTo>
                      <a:lnTo>
                        <a:pt x="392" y="16"/>
                      </a:lnTo>
                      <a:lnTo>
                        <a:pt x="392" y="18"/>
                      </a:lnTo>
                      <a:lnTo>
                        <a:pt x="392" y="20"/>
                      </a:lnTo>
                      <a:lnTo>
                        <a:pt x="392" y="21"/>
                      </a:lnTo>
                      <a:lnTo>
                        <a:pt x="394" y="21"/>
                      </a:lnTo>
                      <a:lnTo>
                        <a:pt x="395" y="23"/>
                      </a:lnTo>
                      <a:lnTo>
                        <a:pt x="394" y="24"/>
                      </a:lnTo>
                      <a:lnTo>
                        <a:pt x="395" y="24"/>
                      </a:lnTo>
                      <a:lnTo>
                        <a:pt x="397" y="26"/>
                      </a:lnTo>
                      <a:lnTo>
                        <a:pt x="399" y="26"/>
                      </a:lnTo>
                      <a:lnTo>
                        <a:pt x="399" y="28"/>
                      </a:lnTo>
                      <a:lnTo>
                        <a:pt x="400" y="28"/>
                      </a:lnTo>
                      <a:lnTo>
                        <a:pt x="402" y="28"/>
                      </a:lnTo>
                      <a:lnTo>
                        <a:pt x="402" y="29"/>
                      </a:lnTo>
                      <a:lnTo>
                        <a:pt x="404" y="29"/>
                      </a:lnTo>
                      <a:lnTo>
                        <a:pt x="404" y="31"/>
                      </a:lnTo>
                      <a:lnTo>
                        <a:pt x="404" y="33"/>
                      </a:lnTo>
                      <a:lnTo>
                        <a:pt x="404" y="34"/>
                      </a:lnTo>
                      <a:lnTo>
                        <a:pt x="404" y="36"/>
                      </a:lnTo>
                      <a:lnTo>
                        <a:pt x="406" y="36"/>
                      </a:lnTo>
                      <a:lnTo>
                        <a:pt x="406" y="38"/>
                      </a:lnTo>
                      <a:lnTo>
                        <a:pt x="407" y="38"/>
                      </a:lnTo>
                      <a:lnTo>
                        <a:pt x="409" y="38"/>
                      </a:lnTo>
                      <a:lnTo>
                        <a:pt x="409" y="36"/>
                      </a:lnTo>
                      <a:lnTo>
                        <a:pt x="411" y="36"/>
                      </a:lnTo>
                      <a:lnTo>
                        <a:pt x="411" y="34"/>
                      </a:lnTo>
                      <a:lnTo>
                        <a:pt x="412" y="34"/>
                      </a:lnTo>
                      <a:lnTo>
                        <a:pt x="414" y="34"/>
                      </a:lnTo>
                      <a:lnTo>
                        <a:pt x="414" y="36"/>
                      </a:lnTo>
                      <a:lnTo>
                        <a:pt x="416" y="38"/>
                      </a:lnTo>
                      <a:lnTo>
                        <a:pt x="417" y="38"/>
                      </a:lnTo>
                      <a:lnTo>
                        <a:pt x="419" y="38"/>
                      </a:lnTo>
                      <a:lnTo>
                        <a:pt x="421" y="38"/>
                      </a:lnTo>
                      <a:lnTo>
                        <a:pt x="422" y="39"/>
                      </a:lnTo>
                      <a:lnTo>
                        <a:pt x="422" y="41"/>
                      </a:lnTo>
                      <a:lnTo>
                        <a:pt x="421" y="43"/>
                      </a:lnTo>
                      <a:lnTo>
                        <a:pt x="421" y="44"/>
                      </a:lnTo>
                      <a:lnTo>
                        <a:pt x="422" y="47"/>
                      </a:lnTo>
                      <a:lnTo>
                        <a:pt x="422" y="49"/>
                      </a:lnTo>
                      <a:lnTo>
                        <a:pt x="424" y="49"/>
                      </a:lnTo>
                      <a:lnTo>
                        <a:pt x="424" y="51"/>
                      </a:lnTo>
                      <a:lnTo>
                        <a:pt x="424" y="52"/>
                      </a:lnTo>
                      <a:lnTo>
                        <a:pt x="426" y="54"/>
                      </a:lnTo>
                      <a:lnTo>
                        <a:pt x="426" y="56"/>
                      </a:lnTo>
                      <a:lnTo>
                        <a:pt x="424" y="56"/>
                      </a:lnTo>
                      <a:lnTo>
                        <a:pt x="424" y="57"/>
                      </a:lnTo>
                      <a:lnTo>
                        <a:pt x="424" y="59"/>
                      </a:lnTo>
                      <a:lnTo>
                        <a:pt x="426" y="59"/>
                      </a:lnTo>
                      <a:lnTo>
                        <a:pt x="427" y="61"/>
                      </a:lnTo>
                      <a:lnTo>
                        <a:pt x="429" y="62"/>
                      </a:lnTo>
                      <a:lnTo>
                        <a:pt x="429" y="61"/>
                      </a:lnTo>
                      <a:lnTo>
                        <a:pt x="429" y="59"/>
                      </a:lnTo>
                      <a:lnTo>
                        <a:pt x="429" y="57"/>
                      </a:lnTo>
                      <a:lnTo>
                        <a:pt x="431" y="56"/>
                      </a:lnTo>
                      <a:lnTo>
                        <a:pt x="433" y="56"/>
                      </a:lnTo>
                      <a:lnTo>
                        <a:pt x="434" y="57"/>
                      </a:lnTo>
                      <a:lnTo>
                        <a:pt x="436" y="57"/>
                      </a:lnTo>
                      <a:lnTo>
                        <a:pt x="438" y="57"/>
                      </a:lnTo>
                      <a:lnTo>
                        <a:pt x="439" y="57"/>
                      </a:lnTo>
                      <a:lnTo>
                        <a:pt x="439" y="61"/>
                      </a:lnTo>
                      <a:lnTo>
                        <a:pt x="438" y="61"/>
                      </a:lnTo>
                      <a:lnTo>
                        <a:pt x="438" y="62"/>
                      </a:lnTo>
                      <a:lnTo>
                        <a:pt x="439" y="64"/>
                      </a:lnTo>
                      <a:lnTo>
                        <a:pt x="441" y="66"/>
                      </a:lnTo>
                      <a:lnTo>
                        <a:pt x="439" y="67"/>
                      </a:lnTo>
                      <a:lnTo>
                        <a:pt x="441" y="67"/>
                      </a:lnTo>
                      <a:lnTo>
                        <a:pt x="441" y="69"/>
                      </a:lnTo>
                      <a:lnTo>
                        <a:pt x="443" y="69"/>
                      </a:lnTo>
                      <a:lnTo>
                        <a:pt x="441" y="70"/>
                      </a:lnTo>
                      <a:lnTo>
                        <a:pt x="444" y="75"/>
                      </a:lnTo>
                      <a:lnTo>
                        <a:pt x="444" y="77"/>
                      </a:lnTo>
                      <a:lnTo>
                        <a:pt x="446" y="77"/>
                      </a:lnTo>
                      <a:lnTo>
                        <a:pt x="448" y="77"/>
                      </a:lnTo>
                      <a:lnTo>
                        <a:pt x="449" y="77"/>
                      </a:lnTo>
                      <a:lnTo>
                        <a:pt x="451" y="75"/>
                      </a:lnTo>
                      <a:lnTo>
                        <a:pt x="453" y="75"/>
                      </a:lnTo>
                      <a:lnTo>
                        <a:pt x="453" y="77"/>
                      </a:lnTo>
                      <a:lnTo>
                        <a:pt x="454" y="77"/>
                      </a:lnTo>
                      <a:lnTo>
                        <a:pt x="454" y="79"/>
                      </a:lnTo>
                      <a:lnTo>
                        <a:pt x="456" y="79"/>
                      </a:lnTo>
                      <a:lnTo>
                        <a:pt x="456" y="80"/>
                      </a:lnTo>
                      <a:lnTo>
                        <a:pt x="458" y="82"/>
                      </a:lnTo>
                      <a:lnTo>
                        <a:pt x="458" y="84"/>
                      </a:lnTo>
                      <a:lnTo>
                        <a:pt x="460" y="84"/>
                      </a:lnTo>
                      <a:lnTo>
                        <a:pt x="461" y="84"/>
                      </a:lnTo>
                      <a:lnTo>
                        <a:pt x="463" y="84"/>
                      </a:lnTo>
                      <a:lnTo>
                        <a:pt x="465" y="84"/>
                      </a:lnTo>
                      <a:lnTo>
                        <a:pt x="466" y="82"/>
                      </a:lnTo>
                      <a:lnTo>
                        <a:pt x="468" y="82"/>
                      </a:lnTo>
                      <a:lnTo>
                        <a:pt x="470" y="82"/>
                      </a:lnTo>
                      <a:lnTo>
                        <a:pt x="470" y="79"/>
                      </a:lnTo>
                      <a:lnTo>
                        <a:pt x="470" y="77"/>
                      </a:lnTo>
                      <a:lnTo>
                        <a:pt x="470" y="75"/>
                      </a:lnTo>
                      <a:lnTo>
                        <a:pt x="471" y="75"/>
                      </a:lnTo>
                      <a:lnTo>
                        <a:pt x="471" y="74"/>
                      </a:lnTo>
                      <a:lnTo>
                        <a:pt x="471" y="72"/>
                      </a:lnTo>
                      <a:lnTo>
                        <a:pt x="471" y="70"/>
                      </a:lnTo>
                      <a:lnTo>
                        <a:pt x="473" y="70"/>
                      </a:lnTo>
                      <a:lnTo>
                        <a:pt x="475" y="72"/>
                      </a:lnTo>
                      <a:lnTo>
                        <a:pt x="476" y="72"/>
                      </a:lnTo>
                      <a:lnTo>
                        <a:pt x="478" y="72"/>
                      </a:lnTo>
                      <a:lnTo>
                        <a:pt x="478" y="70"/>
                      </a:lnTo>
                      <a:lnTo>
                        <a:pt x="480" y="70"/>
                      </a:lnTo>
                      <a:lnTo>
                        <a:pt x="480" y="69"/>
                      </a:lnTo>
                      <a:lnTo>
                        <a:pt x="482" y="69"/>
                      </a:lnTo>
                      <a:lnTo>
                        <a:pt x="480" y="67"/>
                      </a:lnTo>
                      <a:lnTo>
                        <a:pt x="482" y="67"/>
                      </a:lnTo>
                      <a:lnTo>
                        <a:pt x="483" y="66"/>
                      </a:lnTo>
                      <a:lnTo>
                        <a:pt x="483" y="67"/>
                      </a:lnTo>
                      <a:lnTo>
                        <a:pt x="485" y="67"/>
                      </a:lnTo>
                      <a:lnTo>
                        <a:pt x="485" y="69"/>
                      </a:lnTo>
                      <a:lnTo>
                        <a:pt x="487" y="67"/>
                      </a:lnTo>
                      <a:lnTo>
                        <a:pt x="488" y="67"/>
                      </a:lnTo>
                      <a:lnTo>
                        <a:pt x="490" y="69"/>
                      </a:lnTo>
                      <a:lnTo>
                        <a:pt x="492" y="69"/>
                      </a:lnTo>
                      <a:lnTo>
                        <a:pt x="492" y="70"/>
                      </a:lnTo>
                      <a:lnTo>
                        <a:pt x="492" y="72"/>
                      </a:lnTo>
                      <a:lnTo>
                        <a:pt x="493" y="74"/>
                      </a:lnTo>
                      <a:lnTo>
                        <a:pt x="493" y="75"/>
                      </a:lnTo>
                      <a:lnTo>
                        <a:pt x="495" y="75"/>
                      </a:lnTo>
                      <a:lnTo>
                        <a:pt x="495" y="77"/>
                      </a:lnTo>
                      <a:lnTo>
                        <a:pt x="497" y="77"/>
                      </a:lnTo>
                      <a:lnTo>
                        <a:pt x="498" y="77"/>
                      </a:lnTo>
                      <a:lnTo>
                        <a:pt x="500" y="79"/>
                      </a:lnTo>
                      <a:lnTo>
                        <a:pt x="502" y="79"/>
                      </a:lnTo>
                      <a:lnTo>
                        <a:pt x="502" y="80"/>
                      </a:lnTo>
                      <a:lnTo>
                        <a:pt x="502" y="82"/>
                      </a:lnTo>
                      <a:lnTo>
                        <a:pt x="503" y="82"/>
                      </a:lnTo>
                      <a:lnTo>
                        <a:pt x="503" y="84"/>
                      </a:lnTo>
                      <a:lnTo>
                        <a:pt x="505" y="84"/>
                      </a:lnTo>
                      <a:lnTo>
                        <a:pt x="505" y="85"/>
                      </a:lnTo>
                      <a:lnTo>
                        <a:pt x="505" y="87"/>
                      </a:lnTo>
                      <a:lnTo>
                        <a:pt x="507" y="87"/>
                      </a:lnTo>
                      <a:lnTo>
                        <a:pt x="505" y="89"/>
                      </a:lnTo>
                      <a:lnTo>
                        <a:pt x="503" y="90"/>
                      </a:lnTo>
                      <a:lnTo>
                        <a:pt x="503" y="92"/>
                      </a:lnTo>
                      <a:lnTo>
                        <a:pt x="502" y="93"/>
                      </a:lnTo>
                      <a:lnTo>
                        <a:pt x="502" y="95"/>
                      </a:lnTo>
                      <a:lnTo>
                        <a:pt x="502" y="97"/>
                      </a:lnTo>
                      <a:lnTo>
                        <a:pt x="500" y="98"/>
                      </a:lnTo>
                      <a:lnTo>
                        <a:pt x="500" y="100"/>
                      </a:lnTo>
                      <a:lnTo>
                        <a:pt x="500" y="102"/>
                      </a:lnTo>
                      <a:lnTo>
                        <a:pt x="498" y="102"/>
                      </a:lnTo>
                      <a:lnTo>
                        <a:pt x="498" y="103"/>
                      </a:lnTo>
                      <a:lnTo>
                        <a:pt x="498" y="105"/>
                      </a:lnTo>
                      <a:lnTo>
                        <a:pt x="498" y="107"/>
                      </a:lnTo>
                      <a:lnTo>
                        <a:pt x="498" y="108"/>
                      </a:lnTo>
                      <a:lnTo>
                        <a:pt x="500" y="108"/>
                      </a:lnTo>
                      <a:lnTo>
                        <a:pt x="500" y="110"/>
                      </a:lnTo>
                      <a:lnTo>
                        <a:pt x="502" y="112"/>
                      </a:lnTo>
                      <a:lnTo>
                        <a:pt x="502" y="113"/>
                      </a:lnTo>
                      <a:lnTo>
                        <a:pt x="502" y="115"/>
                      </a:lnTo>
                      <a:lnTo>
                        <a:pt x="502" y="116"/>
                      </a:lnTo>
                      <a:lnTo>
                        <a:pt x="502" y="118"/>
                      </a:lnTo>
                      <a:lnTo>
                        <a:pt x="500" y="118"/>
                      </a:lnTo>
                      <a:lnTo>
                        <a:pt x="498" y="118"/>
                      </a:lnTo>
                      <a:lnTo>
                        <a:pt x="497" y="116"/>
                      </a:lnTo>
                      <a:lnTo>
                        <a:pt x="495" y="116"/>
                      </a:lnTo>
                      <a:lnTo>
                        <a:pt x="495" y="118"/>
                      </a:lnTo>
                      <a:lnTo>
                        <a:pt x="493" y="118"/>
                      </a:lnTo>
                      <a:lnTo>
                        <a:pt x="492" y="118"/>
                      </a:lnTo>
                      <a:lnTo>
                        <a:pt x="492" y="120"/>
                      </a:lnTo>
                      <a:lnTo>
                        <a:pt x="492" y="121"/>
                      </a:lnTo>
                      <a:lnTo>
                        <a:pt x="493" y="120"/>
                      </a:lnTo>
                      <a:lnTo>
                        <a:pt x="493" y="121"/>
                      </a:lnTo>
                      <a:lnTo>
                        <a:pt x="493" y="123"/>
                      </a:lnTo>
                      <a:lnTo>
                        <a:pt x="493" y="125"/>
                      </a:lnTo>
                      <a:lnTo>
                        <a:pt x="492" y="126"/>
                      </a:lnTo>
                      <a:lnTo>
                        <a:pt x="492" y="128"/>
                      </a:lnTo>
                      <a:lnTo>
                        <a:pt x="493" y="128"/>
                      </a:lnTo>
                      <a:lnTo>
                        <a:pt x="495" y="130"/>
                      </a:lnTo>
                      <a:lnTo>
                        <a:pt x="497" y="128"/>
                      </a:lnTo>
                      <a:lnTo>
                        <a:pt x="497" y="130"/>
                      </a:lnTo>
                      <a:lnTo>
                        <a:pt x="498" y="130"/>
                      </a:lnTo>
                      <a:lnTo>
                        <a:pt x="498" y="131"/>
                      </a:lnTo>
                      <a:lnTo>
                        <a:pt x="498" y="133"/>
                      </a:lnTo>
                      <a:lnTo>
                        <a:pt x="498" y="135"/>
                      </a:lnTo>
                      <a:lnTo>
                        <a:pt x="497" y="136"/>
                      </a:lnTo>
                      <a:lnTo>
                        <a:pt x="497" y="138"/>
                      </a:lnTo>
                      <a:lnTo>
                        <a:pt x="497" y="139"/>
                      </a:lnTo>
                      <a:lnTo>
                        <a:pt x="498" y="139"/>
                      </a:lnTo>
                      <a:lnTo>
                        <a:pt x="500" y="141"/>
                      </a:lnTo>
                      <a:lnTo>
                        <a:pt x="502" y="141"/>
                      </a:lnTo>
                      <a:lnTo>
                        <a:pt x="500" y="141"/>
                      </a:lnTo>
                      <a:lnTo>
                        <a:pt x="500" y="143"/>
                      </a:lnTo>
                      <a:lnTo>
                        <a:pt x="498" y="143"/>
                      </a:lnTo>
                      <a:lnTo>
                        <a:pt x="500" y="143"/>
                      </a:lnTo>
                      <a:lnTo>
                        <a:pt x="500" y="144"/>
                      </a:lnTo>
                      <a:lnTo>
                        <a:pt x="502" y="144"/>
                      </a:lnTo>
                      <a:lnTo>
                        <a:pt x="503" y="144"/>
                      </a:lnTo>
                      <a:lnTo>
                        <a:pt x="503" y="146"/>
                      </a:lnTo>
                      <a:lnTo>
                        <a:pt x="503" y="148"/>
                      </a:lnTo>
                      <a:lnTo>
                        <a:pt x="503" y="149"/>
                      </a:lnTo>
                      <a:lnTo>
                        <a:pt x="503" y="151"/>
                      </a:lnTo>
                      <a:lnTo>
                        <a:pt x="503" y="153"/>
                      </a:lnTo>
                      <a:lnTo>
                        <a:pt x="505" y="153"/>
                      </a:lnTo>
                      <a:lnTo>
                        <a:pt x="505" y="154"/>
                      </a:lnTo>
                      <a:lnTo>
                        <a:pt x="503" y="156"/>
                      </a:lnTo>
                      <a:lnTo>
                        <a:pt x="503" y="158"/>
                      </a:lnTo>
                      <a:lnTo>
                        <a:pt x="503" y="159"/>
                      </a:lnTo>
                      <a:lnTo>
                        <a:pt x="502" y="159"/>
                      </a:lnTo>
                      <a:lnTo>
                        <a:pt x="502" y="161"/>
                      </a:lnTo>
                      <a:lnTo>
                        <a:pt x="500" y="161"/>
                      </a:lnTo>
                      <a:lnTo>
                        <a:pt x="498" y="161"/>
                      </a:lnTo>
                      <a:lnTo>
                        <a:pt x="497" y="161"/>
                      </a:lnTo>
                      <a:lnTo>
                        <a:pt x="497" y="162"/>
                      </a:lnTo>
                      <a:lnTo>
                        <a:pt x="498" y="162"/>
                      </a:lnTo>
                      <a:lnTo>
                        <a:pt x="500" y="162"/>
                      </a:lnTo>
                      <a:lnTo>
                        <a:pt x="500" y="164"/>
                      </a:lnTo>
                      <a:lnTo>
                        <a:pt x="500" y="166"/>
                      </a:lnTo>
                      <a:lnTo>
                        <a:pt x="500" y="167"/>
                      </a:lnTo>
                      <a:lnTo>
                        <a:pt x="502" y="167"/>
                      </a:lnTo>
                      <a:lnTo>
                        <a:pt x="502" y="169"/>
                      </a:lnTo>
                      <a:lnTo>
                        <a:pt x="500" y="171"/>
                      </a:lnTo>
                      <a:lnTo>
                        <a:pt x="502" y="171"/>
                      </a:lnTo>
                      <a:lnTo>
                        <a:pt x="502" y="172"/>
                      </a:lnTo>
                      <a:lnTo>
                        <a:pt x="502" y="174"/>
                      </a:lnTo>
                      <a:lnTo>
                        <a:pt x="503" y="174"/>
                      </a:lnTo>
                      <a:lnTo>
                        <a:pt x="503" y="176"/>
                      </a:lnTo>
                      <a:lnTo>
                        <a:pt x="503" y="177"/>
                      </a:lnTo>
                      <a:lnTo>
                        <a:pt x="502" y="177"/>
                      </a:lnTo>
                      <a:lnTo>
                        <a:pt x="502" y="179"/>
                      </a:lnTo>
                      <a:lnTo>
                        <a:pt x="502" y="181"/>
                      </a:lnTo>
                      <a:lnTo>
                        <a:pt x="502" y="182"/>
                      </a:lnTo>
                      <a:lnTo>
                        <a:pt x="500" y="182"/>
                      </a:lnTo>
                      <a:lnTo>
                        <a:pt x="500" y="184"/>
                      </a:lnTo>
                      <a:lnTo>
                        <a:pt x="502" y="184"/>
                      </a:lnTo>
                      <a:lnTo>
                        <a:pt x="502" y="185"/>
                      </a:lnTo>
                      <a:lnTo>
                        <a:pt x="500" y="185"/>
                      </a:lnTo>
                      <a:lnTo>
                        <a:pt x="500" y="187"/>
                      </a:lnTo>
                      <a:lnTo>
                        <a:pt x="500" y="189"/>
                      </a:lnTo>
                      <a:lnTo>
                        <a:pt x="498" y="190"/>
                      </a:lnTo>
                      <a:lnTo>
                        <a:pt x="497" y="192"/>
                      </a:lnTo>
                      <a:lnTo>
                        <a:pt x="495" y="192"/>
                      </a:lnTo>
                      <a:lnTo>
                        <a:pt x="497" y="194"/>
                      </a:lnTo>
                      <a:lnTo>
                        <a:pt x="495" y="195"/>
                      </a:lnTo>
                      <a:lnTo>
                        <a:pt x="495" y="197"/>
                      </a:lnTo>
                      <a:lnTo>
                        <a:pt x="495" y="199"/>
                      </a:lnTo>
                      <a:lnTo>
                        <a:pt x="495" y="200"/>
                      </a:lnTo>
                      <a:lnTo>
                        <a:pt x="493" y="200"/>
                      </a:lnTo>
                      <a:lnTo>
                        <a:pt x="493" y="202"/>
                      </a:lnTo>
                      <a:lnTo>
                        <a:pt x="495" y="202"/>
                      </a:lnTo>
                      <a:lnTo>
                        <a:pt x="497" y="202"/>
                      </a:lnTo>
                      <a:lnTo>
                        <a:pt x="498" y="204"/>
                      </a:lnTo>
                      <a:lnTo>
                        <a:pt x="498" y="205"/>
                      </a:lnTo>
                      <a:lnTo>
                        <a:pt x="497" y="205"/>
                      </a:lnTo>
                      <a:lnTo>
                        <a:pt x="497" y="207"/>
                      </a:lnTo>
                      <a:lnTo>
                        <a:pt x="497" y="208"/>
                      </a:lnTo>
                      <a:lnTo>
                        <a:pt x="497" y="210"/>
                      </a:lnTo>
                      <a:lnTo>
                        <a:pt x="497" y="212"/>
                      </a:lnTo>
                      <a:lnTo>
                        <a:pt x="498" y="212"/>
                      </a:lnTo>
                      <a:lnTo>
                        <a:pt x="498" y="213"/>
                      </a:lnTo>
                      <a:lnTo>
                        <a:pt x="500" y="215"/>
                      </a:lnTo>
                      <a:lnTo>
                        <a:pt x="498" y="215"/>
                      </a:lnTo>
                      <a:lnTo>
                        <a:pt x="498" y="217"/>
                      </a:lnTo>
                      <a:lnTo>
                        <a:pt x="500" y="217"/>
                      </a:lnTo>
                      <a:lnTo>
                        <a:pt x="500" y="218"/>
                      </a:lnTo>
                      <a:lnTo>
                        <a:pt x="502" y="218"/>
                      </a:lnTo>
                      <a:lnTo>
                        <a:pt x="502" y="220"/>
                      </a:lnTo>
                      <a:lnTo>
                        <a:pt x="503" y="220"/>
                      </a:lnTo>
                      <a:lnTo>
                        <a:pt x="503" y="222"/>
                      </a:lnTo>
                      <a:lnTo>
                        <a:pt x="503" y="223"/>
                      </a:lnTo>
                      <a:lnTo>
                        <a:pt x="505" y="223"/>
                      </a:lnTo>
                      <a:lnTo>
                        <a:pt x="505" y="225"/>
                      </a:lnTo>
                      <a:lnTo>
                        <a:pt x="507" y="225"/>
                      </a:lnTo>
                      <a:lnTo>
                        <a:pt x="505" y="225"/>
                      </a:lnTo>
                      <a:lnTo>
                        <a:pt x="507" y="225"/>
                      </a:lnTo>
                      <a:lnTo>
                        <a:pt x="507" y="227"/>
                      </a:lnTo>
                      <a:lnTo>
                        <a:pt x="507" y="228"/>
                      </a:lnTo>
                      <a:lnTo>
                        <a:pt x="507" y="230"/>
                      </a:lnTo>
                      <a:lnTo>
                        <a:pt x="507" y="231"/>
                      </a:lnTo>
                      <a:lnTo>
                        <a:pt x="505" y="231"/>
                      </a:lnTo>
                      <a:lnTo>
                        <a:pt x="505" y="233"/>
                      </a:lnTo>
                      <a:lnTo>
                        <a:pt x="505" y="235"/>
                      </a:lnTo>
                      <a:lnTo>
                        <a:pt x="505" y="236"/>
                      </a:lnTo>
                      <a:lnTo>
                        <a:pt x="507" y="236"/>
                      </a:lnTo>
                      <a:lnTo>
                        <a:pt x="507" y="238"/>
                      </a:lnTo>
                      <a:lnTo>
                        <a:pt x="507" y="240"/>
                      </a:lnTo>
                      <a:lnTo>
                        <a:pt x="505" y="240"/>
                      </a:lnTo>
                      <a:lnTo>
                        <a:pt x="505" y="241"/>
                      </a:lnTo>
                      <a:lnTo>
                        <a:pt x="505" y="243"/>
                      </a:lnTo>
                      <a:lnTo>
                        <a:pt x="505" y="245"/>
                      </a:lnTo>
                      <a:lnTo>
                        <a:pt x="505" y="246"/>
                      </a:lnTo>
                      <a:lnTo>
                        <a:pt x="505" y="248"/>
                      </a:lnTo>
                      <a:lnTo>
                        <a:pt x="505" y="249"/>
                      </a:lnTo>
                      <a:lnTo>
                        <a:pt x="503" y="249"/>
                      </a:lnTo>
                      <a:lnTo>
                        <a:pt x="503" y="251"/>
                      </a:lnTo>
                      <a:lnTo>
                        <a:pt x="503" y="253"/>
                      </a:lnTo>
                      <a:lnTo>
                        <a:pt x="505" y="253"/>
                      </a:lnTo>
                      <a:lnTo>
                        <a:pt x="507" y="253"/>
                      </a:lnTo>
                      <a:lnTo>
                        <a:pt x="505" y="254"/>
                      </a:lnTo>
                      <a:lnTo>
                        <a:pt x="505" y="256"/>
                      </a:lnTo>
                      <a:lnTo>
                        <a:pt x="505" y="258"/>
                      </a:lnTo>
                      <a:lnTo>
                        <a:pt x="505" y="259"/>
                      </a:lnTo>
                      <a:lnTo>
                        <a:pt x="507" y="259"/>
                      </a:lnTo>
                      <a:lnTo>
                        <a:pt x="507" y="261"/>
                      </a:lnTo>
                      <a:lnTo>
                        <a:pt x="505" y="261"/>
                      </a:lnTo>
                      <a:lnTo>
                        <a:pt x="505" y="259"/>
                      </a:lnTo>
                      <a:lnTo>
                        <a:pt x="503" y="259"/>
                      </a:lnTo>
                      <a:lnTo>
                        <a:pt x="503" y="261"/>
                      </a:lnTo>
                      <a:lnTo>
                        <a:pt x="503" y="263"/>
                      </a:lnTo>
                      <a:lnTo>
                        <a:pt x="502" y="263"/>
                      </a:lnTo>
                      <a:lnTo>
                        <a:pt x="503" y="264"/>
                      </a:lnTo>
                      <a:lnTo>
                        <a:pt x="502" y="264"/>
                      </a:lnTo>
                      <a:lnTo>
                        <a:pt x="502" y="266"/>
                      </a:lnTo>
                      <a:lnTo>
                        <a:pt x="502" y="268"/>
                      </a:lnTo>
                      <a:lnTo>
                        <a:pt x="502" y="269"/>
                      </a:lnTo>
                      <a:lnTo>
                        <a:pt x="502" y="271"/>
                      </a:lnTo>
                      <a:lnTo>
                        <a:pt x="502" y="272"/>
                      </a:lnTo>
                      <a:lnTo>
                        <a:pt x="502" y="274"/>
                      </a:lnTo>
                      <a:lnTo>
                        <a:pt x="502" y="276"/>
                      </a:lnTo>
                      <a:lnTo>
                        <a:pt x="502" y="277"/>
                      </a:lnTo>
                      <a:lnTo>
                        <a:pt x="500" y="277"/>
                      </a:lnTo>
                      <a:lnTo>
                        <a:pt x="498" y="277"/>
                      </a:lnTo>
                      <a:lnTo>
                        <a:pt x="510" y="277"/>
                      </a:lnTo>
                      <a:lnTo>
                        <a:pt x="551" y="279"/>
                      </a:lnTo>
                      <a:lnTo>
                        <a:pt x="603" y="279"/>
                      </a:lnTo>
                      <a:lnTo>
                        <a:pt x="603" y="281"/>
                      </a:lnTo>
                      <a:lnTo>
                        <a:pt x="605" y="281"/>
                      </a:lnTo>
                      <a:lnTo>
                        <a:pt x="603" y="282"/>
                      </a:lnTo>
                      <a:lnTo>
                        <a:pt x="605" y="282"/>
                      </a:lnTo>
                      <a:lnTo>
                        <a:pt x="607" y="282"/>
                      </a:lnTo>
                      <a:lnTo>
                        <a:pt x="607" y="284"/>
                      </a:lnTo>
                      <a:lnTo>
                        <a:pt x="607" y="286"/>
                      </a:lnTo>
                      <a:lnTo>
                        <a:pt x="608" y="286"/>
                      </a:lnTo>
                      <a:lnTo>
                        <a:pt x="608" y="287"/>
                      </a:lnTo>
                      <a:lnTo>
                        <a:pt x="610" y="289"/>
                      </a:lnTo>
                      <a:lnTo>
                        <a:pt x="610" y="287"/>
                      </a:lnTo>
                      <a:lnTo>
                        <a:pt x="612" y="289"/>
                      </a:lnTo>
                      <a:lnTo>
                        <a:pt x="613" y="289"/>
                      </a:lnTo>
                      <a:lnTo>
                        <a:pt x="613" y="287"/>
                      </a:lnTo>
                      <a:lnTo>
                        <a:pt x="613" y="286"/>
                      </a:lnTo>
                      <a:lnTo>
                        <a:pt x="613" y="287"/>
                      </a:lnTo>
                      <a:lnTo>
                        <a:pt x="615" y="287"/>
                      </a:lnTo>
                      <a:lnTo>
                        <a:pt x="615" y="286"/>
                      </a:lnTo>
                      <a:lnTo>
                        <a:pt x="617" y="286"/>
                      </a:lnTo>
                      <a:lnTo>
                        <a:pt x="617" y="284"/>
                      </a:lnTo>
                      <a:lnTo>
                        <a:pt x="618" y="286"/>
                      </a:lnTo>
                      <a:lnTo>
                        <a:pt x="620" y="286"/>
                      </a:lnTo>
                      <a:lnTo>
                        <a:pt x="620" y="287"/>
                      </a:lnTo>
                      <a:lnTo>
                        <a:pt x="620" y="289"/>
                      </a:lnTo>
                      <a:lnTo>
                        <a:pt x="620" y="287"/>
                      </a:lnTo>
                      <a:lnTo>
                        <a:pt x="622" y="287"/>
                      </a:lnTo>
                      <a:lnTo>
                        <a:pt x="622" y="289"/>
                      </a:lnTo>
                      <a:lnTo>
                        <a:pt x="623" y="289"/>
                      </a:lnTo>
                      <a:lnTo>
                        <a:pt x="623" y="287"/>
                      </a:lnTo>
                      <a:lnTo>
                        <a:pt x="623" y="289"/>
                      </a:lnTo>
                      <a:lnTo>
                        <a:pt x="625" y="289"/>
                      </a:lnTo>
                      <a:lnTo>
                        <a:pt x="627" y="289"/>
                      </a:lnTo>
                      <a:lnTo>
                        <a:pt x="627" y="291"/>
                      </a:lnTo>
                      <a:lnTo>
                        <a:pt x="627" y="289"/>
                      </a:lnTo>
                      <a:lnTo>
                        <a:pt x="628" y="291"/>
                      </a:lnTo>
                      <a:lnTo>
                        <a:pt x="628" y="289"/>
                      </a:lnTo>
                      <a:lnTo>
                        <a:pt x="630" y="289"/>
                      </a:lnTo>
                      <a:lnTo>
                        <a:pt x="630" y="287"/>
                      </a:lnTo>
                      <a:lnTo>
                        <a:pt x="632" y="289"/>
                      </a:lnTo>
                      <a:lnTo>
                        <a:pt x="634" y="289"/>
                      </a:lnTo>
                      <a:lnTo>
                        <a:pt x="635" y="289"/>
                      </a:lnTo>
                      <a:lnTo>
                        <a:pt x="637" y="289"/>
                      </a:lnTo>
                      <a:lnTo>
                        <a:pt x="639" y="289"/>
                      </a:lnTo>
                      <a:lnTo>
                        <a:pt x="640" y="291"/>
                      </a:lnTo>
                      <a:lnTo>
                        <a:pt x="642" y="291"/>
                      </a:lnTo>
                      <a:lnTo>
                        <a:pt x="644" y="291"/>
                      </a:lnTo>
                      <a:lnTo>
                        <a:pt x="645" y="291"/>
                      </a:lnTo>
                      <a:lnTo>
                        <a:pt x="647" y="291"/>
                      </a:lnTo>
                      <a:lnTo>
                        <a:pt x="649" y="291"/>
                      </a:lnTo>
                      <a:lnTo>
                        <a:pt x="649" y="292"/>
                      </a:lnTo>
                      <a:lnTo>
                        <a:pt x="647" y="292"/>
                      </a:lnTo>
                      <a:lnTo>
                        <a:pt x="647" y="294"/>
                      </a:lnTo>
                      <a:lnTo>
                        <a:pt x="647" y="295"/>
                      </a:lnTo>
                      <a:lnTo>
                        <a:pt x="649" y="295"/>
                      </a:lnTo>
                      <a:lnTo>
                        <a:pt x="649" y="297"/>
                      </a:lnTo>
                      <a:lnTo>
                        <a:pt x="649" y="299"/>
                      </a:lnTo>
                      <a:lnTo>
                        <a:pt x="647" y="299"/>
                      </a:lnTo>
                      <a:lnTo>
                        <a:pt x="647" y="300"/>
                      </a:lnTo>
                      <a:lnTo>
                        <a:pt x="649" y="302"/>
                      </a:lnTo>
                      <a:lnTo>
                        <a:pt x="649" y="304"/>
                      </a:lnTo>
                      <a:lnTo>
                        <a:pt x="650" y="305"/>
                      </a:lnTo>
                      <a:lnTo>
                        <a:pt x="650" y="307"/>
                      </a:lnTo>
                      <a:lnTo>
                        <a:pt x="652" y="307"/>
                      </a:lnTo>
                      <a:lnTo>
                        <a:pt x="652" y="309"/>
                      </a:lnTo>
                      <a:lnTo>
                        <a:pt x="654" y="309"/>
                      </a:lnTo>
                      <a:lnTo>
                        <a:pt x="654" y="310"/>
                      </a:lnTo>
                      <a:lnTo>
                        <a:pt x="654" y="312"/>
                      </a:lnTo>
                      <a:lnTo>
                        <a:pt x="654" y="314"/>
                      </a:lnTo>
                      <a:lnTo>
                        <a:pt x="654" y="315"/>
                      </a:lnTo>
                      <a:lnTo>
                        <a:pt x="654" y="317"/>
                      </a:lnTo>
                      <a:lnTo>
                        <a:pt x="652" y="317"/>
                      </a:lnTo>
                      <a:lnTo>
                        <a:pt x="654" y="317"/>
                      </a:lnTo>
                      <a:lnTo>
                        <a:pt x="652" y="318"/>
                      </a:lnTo>
                      <a:lnTo>
                        <a:pt x="650" y="318"/>
                      </a:lnTo>
                      <a:lnTo>
                        <a:pt x="650" y="320"/>
                      </a:lnTo>
                      <a:lnTo>
                        <a:pt x="649" y="320"/>
                      </a:lnTo>
                      <a:lnTo>
                        <a:pt x="649" y="322"/>
                      </a:lnTo>
                      <a:lnTo>
                        <a:pt x="647" y="322"/>
                      </a:lnTo>
                      <a:lnTo>
                        <a:pt x="647" y="323"/>
                      </a:lnTo>
                      <a:lnTo>
                        <a:pt x="645" y="323"/>
                      </a:lnTo>
                      <a:lnTo>
                        <a:pt x="644" y="325"/>
                      </a:lnTo>
                      <a:lnTo>
                        <a:pt x="644" y="327"/>
                      </a:lnTo>
                      <a:lnTo>
                        <a:pt x="642" y="327"/>
                      </a:lnTo>
                      <a:lnTo>
                        <a:pt x="642" y="328"/>
                      </a:lnTo>
                      <a:lnTo>
                        <a:pt x="640" y="328"/>
                      </a:lnTo>
                      <a:lnTo>
                        <a:pt x="640" y="330"/>
                      </a:lnTo>
                      <a:lnTo>
                        <a:pt x="639" y="330"/>
                      </a:lnTo>
                      <a:lnTo>
                        <a:pt x="639" y="332"/>
                      </a:lnTo>
                      <a:lnTo>
                        <a:pt x="637" y="332"/>
                      </a:lnTo>
                      <a:lnTo>
                        <a:pt x="637" y="330"/>
                      </a:lnTo>
                      <a:lnTo>
                        <a:pt x="637" y="332"/>
                      </a:lnTo>
                      <a:lnTo>
                        <a:pt x="639" y="332"/>
                      </a:lnTo>
                      <a:lnTo>
                        <a:pt x="637" y="332"/>
                      </a:lnTo>
                      <a:lnTo>
                        <a:pt x="637" y="333"/>
                      </a:lnTo>
                      <a:lnTo>
                        <a:pt x="637" y="332"/>
                      </a:lnTo>
                      <a:lnTo>
                        <a:pt x="637" y="333"/>
                      </a:lnTo>
                      <a:lnTo>
                        <a:pt x="635" y="333"/>
                      </a:lnTo>
                      <a:lnTo>
                        <a:pt x="635" y="335"/>
                      </a:lnTo>
                      <a:lnTo>
                        <a:pt x="635" y="337"/>
                      </a:lnTo>
                      <a:lnTo>
                        <a:pt x="635" y="338"/>
                      </a:lnTo>
                      <a:lnTo>
                        <a:pt x="635" y="340"/>
                      </a:lnTo>
                      <a:lnTo>
                        <a:pt x="635" y="341"/>
                      </a:lnTo>
                      <a:lnTo>
                        <a:pt x="635" y="343"/>
                      </a:lnTo>
                      <a:lnTo>
                        <a:pt x="635" y="345"/>
                      </a:lnTo>
                      <a:lnTo>
                        <a:pt x="635" y="346"/>
                      </a:lnTo>
                      <a:lnTo>
                        <a:pt x="635" y="348"/>
                      </a:lnTo>
                      <a:lnTo>
                        <a:pt x="635" y="350"/>
                      </a:lnTo>
                      <a:lnTo>
                        <a:pt x="637" y="350"/>
                      </a:lnTo>
                      <a:lnTo>
                        <a:pt x="637" y="351"/>
                      </a:lnTo>
                      <a:lnTo>
                        <a:pt x="635" y="351"/>
                      </a:lnTo>
                      <a:lnTo>
                        <a:pt x="637" y="351"/>
                      </a:lnTo>
                      <a:lnTo>
                        <a:pt x="635" y="351"/>
                      </a:lnTo>
                      <a:lnTo>
                        <a:pt x="637" y="351"/>
                      </a:lnTo>
                      <a:lnTo>
                        <a:pt x="635" y="353"/>
                      </a:lnTo>
                      <a:lnTo>
                        <a:pt x="637" y="353"/>
                      </a:lnTo>
                      <a:lnTo>
                        <a:pt x="637" y="355"/>
                      </a:lnTo>
                      <a:lnTo>
                        <a:pt x="637" y="356"/>
                      </a:lnTo>
                      <a:lnTo>
                        <a:pt x="635" y="356"/>
                      </a:lnTo>
                      <a:lnTo>
                        <a:pt x="637" y="356"/>
                      </a:lnTo>
                      <a:lnTo>
                        <a:pt x="637" y="358"/>
                      </a:lnTo>
                      <a:lnTo>
                        <a:pt x="637" y="360"/>
                      </a:lnTo>
                      <a:lnTo>
                        <a:pt x="639" y="358"/>
                      </a:lnTo>
                      <a:lnTo>
                        <a:pt x="639" y="360"/>
                      </a:lnTo>
                      <a:lnTo>
                        <a:pt x="639" y="361"/>
                      </a:lnTo>
                      <a:lnTo>
                        <a:pt x="640" y="361"/>
                      </a:lnTo>
                      <a:lnTo>
                        <a:pt x="642" y="363"/>
                      </a:lnTo>
                      <a:lnTo>
                        <a:pt x="642" y="361"/>
                      </a:lnTo>
                      <a:lnTo>
                        <a:pt x="642" y="363"/>
                      </a:lnTo>
                      <a:lnTo>
                        <a:pt x="644" y="361"/>
                      </a:lnTo>
                      <a:lnTo>
                        <a:pt x="644" y="363"/>
                      </a:lnTo>
                      <a:lnTo>
                        <a:pt x="644" y="361"/>
                      </a:lnTo>
                      <a:lnTo>
                        <a:pt x="645" y="361"/>
                      </a:lnTo>
                      <a:lnTo>
                        <a:pt x="645" y="363"/>
                      </a:lnTo>
                      <a:lnTo>
                        <a:pt x="647" y="363"/>
                      </a:lnTo>
                      <a:lnTo>
                        <a:pt x="647" y="364"/>
                      </a:lnTo>
                      <a:lnTo>
                        <a:pt x="647" y="366"/>
                      </a:lnTo>
                      <a:lnTo>
                        <a:pt x="647" y="368"/>
                      </a:lnTo>
                      <a:lnTo>
                        <a:pt x="649" y="368"/>
                      </a:lnTo>
                      <a:lnTo>
                        <a:pt x="649" y="369"/>
                      </a:lnTo>
                      <a:lnTo>
                        <a:pt x="649" y="371"/>
                      </a:lnTo>
                      <a:lnTo>
                        <a:pt x="649" y="373"/>
                      </a:lnTo>
                      <a:lnTo>
                        <a:pt x="649" y="374"/>
                      </a:lnTo>
                      <a:lnTo>
                        <a:pt x="649" y="376"/>
                      </a:lnTo>
                      <a:lnTo>
                        <a:pt x="650" y="376"/>
                      </a:lnTo>
                      <a:lnTo>
                        <a:pt x="649" y="376"/>
                      </a:lnTo>
                      <a:lnTo>
                        <a:pt x="650" y="376"/>
                      </a:lnTo>
                      <a:lnTo>
                        <a:pt x="650" y="378"/>
                      </a:lnTo>
                      <a:lnTo>
                        <a:pt x="652" y="378"/>
                      </a:lnTo>
                      <a:lnTo>
                        <a:pt x="652" y="379"/>
                      </a:lnTo>
                      <a:lnTo>
                        <a:pt x="654" y="381"/>
                      </a:lnTo>
                      <a:lnTo>
                        <a:pt x="655" y="383"/>
                      </a:lnTo>
                      <a:lnTo>
                        <a:pt x="655" y="384"/>
                      </a:lnTo>
                      <a:lnTo>
                        <a:pt x="655" y="386"/>
                      </a:lnTo>
                      <a:lnTo>
                        <a:pt x="655" y="387"/>
                      </a:lnTo>
                      <a:lnTo>
                        <a:pt x="654" y="387"/>
                      </a:lnTo>
                      <a:lnTo>
                        <a:pt x="654" y="389"/>
                      </a:lnTo>
                      <a:lnTo>
                        <a:pt x="655" y="391"/>
                      </a:lnTo>
                      <a:lnTo>
                        <a:pt x="655" y="392"/>
                      </a:lnTo>
                      <a:lnTo>
                        <a:pt x="655" y="394"/>
                      </a:lnTo>
                      <a:lnTo>
                        <a:pt x="657" y="394"/>
                      </a:lnTo>
                      <a:lnTo>
                        <a:pt x="667" y="402"/>
                      </a:lnTo>
                      <a:lnTo>
                        <a:pt x="666" y="404"/>
                      </a:lnTo>
                      <a:lnTo>
                        <a:pt x="664" y="404"/>
                      </a:lnTo>
                      <a:lnTo>
                        <a:pt x="664" y="406"/>
                      </a:lnTo>
                      <a:lnTo>
                        <a:pt x="664" y="407"/>
                      </a:lnTo>
                      <a:lnTo>
                        <a:pt x="662" y="407"/>
                      </a:lnTo>
                      <a:lnTo>
                        <a:pt x="664" y="407"/>
                      </a:lnTo>
                      <a:lnTo>
                        <a:pt x="662" y="407"/>
                      </a:lnTo>
                      <a:lnTo>
                        <a:pt x="662" y="409"/>
                      </a:lnTo>
                      <a:lnTo>
                        <a:pt x="661" y="410"/>
                      </a:lnTo>
                      <a:lnTo>
                        <a:pt x="661" y="412"/>
                      </a:lnTo>
                      <a:lnTo>
                        <a:pt x="661" y="414"/>
                      </a:lnTo>
                      <a:lnTo>
                        <a:pt x="661" y="415"/>
                      </a:lnTo>
                      <a:lnTo>
                        <a:pt x="659" y="415"/>
                      </a:lnTo>
                      <a:lnTo>
                        <a:pt x="657" y="415"/>
                      </a:lnTo>
                      <a:lnTo>
                        <a:pt x="655" y="415"/>
                      </a:lnTo>
                      <a:lnTo>
                        <a:pt x="654" y="415"/>
                      </a:lnTo>
                      <a:lnTo>
                        <a:pt x="652" y="417"/>
                      </a:lnTo>
                      <a:lnTo>
                        <a:pt x="650" y="417"/>
                      </a:lnTo>
                      <a:lnTo>
                        <a:pt x="649" y="419"/>
                      </a:lnTo>
                      <a:lnTo>
                        <a:pt x="649" y="420"/>
                      </a:lnTo>
                      <a:lnTo>
                        <a:pt x="647" y="420"/>
                      </a:lnTo>
                      <a:lnTo>
                        <a:pt x="645" y="420"/>
                      </a:lnTo>
                      <a:lnTo>
                        <a:pt x="645" y="422"/>
                      </a:lnTo>
                      <a:lnTo>
                        <a:pt x="644" y="422"/>
                      </a:lnTo>
                      <a:lnTo>
                        <a:pt x="644" y="424"/>
                      </a:lnTo>
                      <a:lnTo>
                        <a:pt x="644" y="425"/>
                      </a:lnTo>
                      <a:lnTo>
                        <a:pt x="642" y="427"/>
                      </a:lnTo>
                      <a:lnTo>
                        <a:pt x="640" y="427"/>
                      </a:lnTo>
                      <a:lnTo>
                        <a:pt x="640" y="429"/>
                      </a:lnTo>
                      <a:lnTo>
                        <a:pt x="639" y="429"/>
                      </a:lnTo>
                      <a:lnTo>
                        <a:pt x="640" y="430"/>
                      </a:lnTo>
                      <a:lnTo>
                        <a:pt x="639" y="432"/>
                      </a:lnTo>
                      <a:lnTo>
                        <a:pt x="639" y="433"/>
                      </a:lnTo>
                      <a:lnTo>
                        <a:pt x="639" y="435"/>
                      </a:lnTo>
                      <a:lnTo>
                        <a:pt x="639" y="437"/>
                      </a:lnTo>
                      <a:lnTo>
                        <a:pt x="637" y="437"/>
                      </a:lnTo>
                      <a:lnTo>
                        <a:pt x="637" y="438"/>
                      </a:lnTo>
                      <a:lnTo>
                        <a:pt x="637" y="440"/>
                      </a:lnTo>
                      <a:lnTo>
                        <a:pt x="639" y="442"/>
                      </a:lnTo>
                      <a:lnTo>
                        <a:pt x="639" y="443"/>
                      </a:lnTo>
                      <a:lnTo>
                        <a:pt x="639" y="445"/>
                      </a:lnTo>
                      <a:lnTo>
                        <a:pt x="639" y="447"/>
                      </a:lnTo>
                      <a:lnTo>
                        <a:pt x="639" y="448"/>
                      </a:lnTo>
                      <a:lnTo>
                        <a:pt x="639" y="451"/>
                      </a:lnTo>
                      <a:lnTo>
                        <a:pt x="639" y="453"/>
                      </a:lnTo>
                      <a:lnTo>
                        <a:pt x="639" y="455"/>
                      </a:lnTo>
                      <a:lnTo>
                        <a:pt x="637" y="455"/>
                      </a:lnTo>
                      <a:lnTo>
                        <a:pt x="637" y="456"/>
                      </a:lnTo>
                      <a:lnTo>
                        <a:pt x="635" y="456"/>
                      </a:lnTo>
                      <a:lnTo>
                        <a:pt x="635" y="458"/>
                      </a:lnTo>
                      <a:lnTo>
                        <a:pt x="635" y="460"/>
                      </a:lnTo>
                      <a:lnTo>
                        <a:pt x="634" y="460"/>
                      </a:lnTo>
                      <a:lnTo>
                        <a:pt x="634" y="461"/>
                      </a:lnTo>
                      <a:lnTo>
                        <a:pt x="632" y="461"/>
                      </a:lnTo>
                      <a:lnTo>
                        <a:pt x="632" y="460"/>
                      </a:lnTo>
                      <a:lnTo>
                        <a:pt x="632" y="461"/>
                      </a:lnTo>
                      <a:lnTo>
                        <a:pt x="630" y="461"/>
                      </a:lnTo>
                      <a:lnTo>
                        <a:pt x="628" y="461"/>
                      </a:lnTo>
                      <a:lnTo>
                        <a:pt x="627" y="461"/>
                      </a:lnTo>
                      <a:lnTo>
                        <a:pt x="627" y="463"/>
                      </a:lnTo>
                      <a:lnTo>
                        <a:pt x="625" y="465"/>
                      </a:lnTo>
                      <a:lnTo>
                        <a:pt x="625" y="466"/>
                      </a:lnTo>
                      <a:lnTo>
                        <a:pt x="623" y="466"/>
                      </a:lnTo>
                      <a:lnTo>
                        <a:pt x="623" y="468"/>
                      </a:lnTo>
                      <a:lnTo>
                        <a:pt x="623" y="466"/>
                      </a:lnTo>
                      <a:lnTo>
                        <a:pt x="623" y="468"/>
                      </a:lnTo>
                      <a:lnTo>
                        <a:pt x="622" y="468"/>
                      </a:lnTo>
                      <a:lnTo>
                        <a:pt x="622" y="470"/>
                      </a:lnTo>
                      <a:lnTo>
                        <a:pt x="622" y="468"/>
                      </a:lnTo>
                      <a:lnTo>
                        <a:pt x="622" y="470"/>
                      </a:lnTo>
                      <a:lnTo>
                        <a:pt x="620" y="471"/>
                      </a:lnTo>
                      <a:lnTo>
                        <a:pt x="618" y="471"/>
                      </a:lnTo>
                      <a:lnTo>
                        <a:pt x="618" y="473"/>
                      </a:lnTo>
                      <a:lnTo>
                        <a:pt x="620" y="473"/>
                      </a:lnTo>
                      <a:lnTo>
                        <a:pt x="618" y="473"/>
                      </a:lnTo>
                      <a:lnTo>
                        <a:pt x="620" y="473"/>
                      </a:lnTo>
                      <a:lnTo>
                        <a:pt x="620" y="474"/>
                      </a:lnTo>
                      <a:lnTo>
                        <a:pt x="620" y="476"/>
                      </a:lnTo>
                      <a:lnTo>
                        <a:pt x="620" y="478"/>
                      </a:lnTo>
                      <a:lnTo>
                        <a:pt x="618" y="479"/>
                      </a:lnTo>
                      <a:lnTo>
                        <a:pt x="617" y="479"/>
                      </a:lnTo>
                      <a:lnTo>
                        <a:pt x="617" y="481"/>
                      </a:lnTo>
                      <a:lnTo>
                        <a:pt x="617" y="483"/>
                      </a:lnTo>
                      <a:lnTo>
                        <a:pt x="615" y="484"/>
                      </a:lnTo>
                      <a:lnTo>
                        <a:pt x="615" y="486"/>
                      </a:lnTo>
                      <a:lnTo>
                        <a:pt x="615" y="488"/>
                      </a:lnTo>
                      <a:lnTo>
                        <a:pt x="613" y="489"/>
                      </a:lnTo>
                      <a:lnTo>
                        <a:pt x="613" y="491"/>
                      </a:lnTo>
                      <a:lnTo>
                        <a:pt x="612" y="491"/>
                      </a:lnTo>
                      <a:lnTo>
                        <a:pt x="612" y="493"/>
                      </a:lnTo>
                      <a:lnTo>
                        <a:pt x="610" y="494"/>
                      </a:lnTo>
                      <a:lnTo>
                        <a:pt x="612" y="494"/>
                      </a:lnTo>
                      <a:lnTo>
                        <a:pt x="612" y="496"/>
                      </a:lnTo>
                      <a:lnTo>
                        <a:pt x="612" y="497"/>
                      </a:lnTo>
                      <a:lnTo>
                        <a:pt x="610" y="497"/>
                      </a:lnTo>
                      <a:lnTo>
                        <a:pt x="610" y="499"/>
                      </a:lnTo>
                      <a:lnTo>
                        <a:pt x="610" y="501"/>
                      </a:lnTo>
                      <a:lnTo>
                        <a:pt x="610" y="502"/>
                      </a:lnTo>
                      <a:lnTo>
                        <a:pt x="610" y="504"/>
                      </a:lnTo>
                      <a:lnTo>
                        <a:pt x="610" y="506"/>
                      </a:lnTo>
                      <a:lnTo>
                        <a:pt x="608" y="506"/>
                      </a:lnTo>
                      <a:lnTo>
                        <a:pt x="607" y="506"/>
                      </a:lnTo>
                      <a:lnTo>
                        <a:pt x="607" y="507"/>
                      </a:lnTo>
                      <a:lnTo>
                        <a:pt x="605" y="507"/>
                      </a:lnTo>
                      <a:lnTo>
                        <a:pt x="605" y="509"/>
                      </a:lnTo>
                      <a:lnTo>
                        <a:pt x="603" y="509"/>
                      </a:lnTo>
                      <a:lnTo>
                        <a:pt x="601" y="509"/>
                      </a:lnTo>
                      <a:lnTo>
                        <a:pt x="600" y="509"/>
                      </a:lnTo>
                      <a:lnTo>
                        <a:pt x="598" y="509"/>
                      </a:lnTo>
                      <a:lnTo>
                        <a:pt x="598" y="511"/>
                      </a:lnTo>
                      <a:lnTo>
                        <a:pt x="596" y="511"/>
                      </a:lnTo>
                      <a:lnTo>
                        <a:pt x="596" y="512"/>
                      </a:lnTo>
                      <a:lnTo>
                        <a:pt x="595" y="512"/>
                      </a:lnTo>
                      <a:lnTo>
                        <a:pt x="596" y="512"/>
                      </a:lnTo>
                      <a:lnTo>
                        <a:pt x="595" y="514"/>
                      </a:lnTo>
                      <a:lnTo>
                        <a:pt x="593" y="514"/>
                      </a:lnTo>
                      <a:lnTo>
                        <a:pt x="593" y="516"/>
                      </a:lnTo>
                      <a:lnTo>
                        <a:pt x="591" y="516"/>
                      </a:lnTo>
                      <a:lnTo>
                        <a:pt x="590" y="516"/>
                      </a:lnTo>
                      <a:lnTo>
                        <a:pt x="590" y="517"/>
                      </a:lnTo>
                      <a:lnTo>
                        <a:pt x="588" y="516"/>
                      </a:lnTo>
                      <a:lnTo>
                        <a:pt x="586" y="516"/>
                      </a:lnTo>
                      <a:lnTo>
                        <a:pt x="586" y="517"/>
                      </a:lnTo>
                      <a:lnTo>
                        <a:pt x="585" y="517"/>
                      </a:lnTo>
                      <a:lnTo>
                        <a:pt x="585" y="519"/>
                      </a:lnTo>
                      <a:lnTo>
                        <a:pt x="586" y="519"/>
                      </a:lnTo>
                      <a:lnTo>
                        <a:pt x="585" y="519"/>
                      </a:lnTo>
                      <a:lnTo>
                        <a:pt x="583" y="519"/>
                      </a:lnTo>
                      <a:lnTo>
                        <a:pt x="583" y="520"/>
                      </a:lnTo>
                      <a:lnTo>
                        <a:pt x="581" y="520"/>
                      </a:lnTo>
                      <a:lnTo>
                        <a:pt x="581" y="522"/>
                      </a:lnTo>
                      <a:lnTo>
                        <a:pt x="581" y="524"/>
                      </a:lnTo>
                      <a:lnTo>
                        <a:pt x="579" y="524"/>
                      </a:lnTo>
                      <a:lnTo>
                        <a:pt x="579" y="525"/>
                      </a:lnTo>
                      <a:lnTo>
                        <a:pt x="578" y="525"/>
                      </a:lnTo>
                      <a:lnTo>
                        <a:pt x="578" y="527"/>
                      </a:lnTo>
                      <a:lnTo>
                        <a:pt x="579" y="527"/>
                      </a:lnTo>
                      <a:lnTo>
                        <a:pt x="578" y="527"/>
                      </a:lnTo>
                      <a:lnTo>
                        <a:pt x="576" y="527"/>
                      </a:lnTo>
                      <a:lnTo>
                        <a:pt x="574" y="527"/>
                      </a:lnTo>
                      <a:lnTo>
                        <a:pt x="573" y="527"/>
                      </a:lnTo>
                      <a:lnTo>
                        <a:pt x="573" y="525"/>
                      </a:lnTo>
                      <a:lnTo>
                        <a:pt x="573" y="524"/>
                      </a:lnTo>
                      <a:lnTo>
                        <a:pt x="571" y="524"/>
                      </a:lnTo>
                      <a:lnTo>
                        <a:pt x="569" y="524"/>
                      </a:lnTo>
                      <a:lnTo>
                        <a:pt x="568" y="522"/>
                      </a:lnTo>
                      <a:lnTo>
                        <a:pt x="566" y="522"/>
                      </a:lnTo>
                      <a:lnTo>
                        <a:pt x="564" y="522"/>
                      </a:lnTo>
                      <a:lnTo>
                        <a:pt x="564" y="520"/>
                      </a:lnTo>
                      <a:lnTo>
                        <a:pt x="563" y="520"/>
                      </a:lnTo>
                      <a:lnTo>
                        <a:pt x="563" y="519"/>
                      </a:lnTo>
                      <a:lnTo>
                        <a:pt x="561" y="519"/>
                      </a:lnTo>
                      <a:lnTo>
                        <a:pt x="561" y="517"/>
                      </a:lnTo>
                      <a:lnTo>
                        <a:pt x="559" y="517"/>
                      </a:lnTo>
                      <a:lnTo>
                        <a:pt x="559" y="516"/>
                      </a:lnTo>
                      <a:lnTo>
                        <a:pt x="558" y="516"/>
                      </a:lnTo>
                      <a:lnTo>
                        <a:pt x="559" y="514"/>
                      </a:lnTo>
                      <a:lnTo>
                        <a:pt x="558" y="514"/>
                      </a:lnTo>
                      <a:lnTo>
                        <a:pt x="556" y="514"/>
                      </a:lnTo>
                      <a:lnTo>
                        <a:pt x="554" y="514"/>
                      </a:lnTo>
                      <a:lnTo>
                        <a:pt x="552" y="514"/>
                      </a:lnTo>
                      <a:lnTo>
                        <a:pt x="551" y="514"/>
                      </a:lnTo>
                      <a:lnTo>
                        <a:pt x="551" y="512"/>
                      </a:lnTo>
                      <a:lnTo>
                        <a:pt x="551" y="511"/>
                      </a:lnTo>
                      <a:lnTo>
                        <a:pt x="551" y="509"/>
                      </a:lnTo>
                      <a:lnTo>
                        <a:pt x="552" y="511"/>
                      </a:lnTo>
                      <a:lnTo>
                        <a:pt x="552" y="509"/>
                      </a:lnTo>
                      <a:lnTo>
                        <a:pt x="551" y="509"/>
                      </a:lnTo>
                      <a:lnTo>
                        <a:pt x="549" y="509"/>
                      </a:lnTo>
                      <a:lnTo>
                        <a:pt x="547" y="509"/>
                      </a:lnTo>
                      <a:lnTo>
                        <a:pt x="546" y="509"/>
                      </a:lnTo>
                      <a:lnTo>
                        <a:pt x="547" y="509"/>
                      </a:lnTo>
                      <a:lnTo>
                        <a:pt x="547" y="511"/>
                      </a:lnTo>
                      <a:lnTo>
                        <a:pt x="546" y="511"/>
                      </a:lnTo>
                      <a:lnTo>
                        <a:pt x="544" y="509"/>
                      </a:lnTo>
                      <a:lnTo>
                        <a:pt x="542" y="509"/>
                      </a:lnTo>
                      <a:lnTo>
                        <a:pt x="542" y="511"/>
                      </a:lnTo>
                      <a:lnTo>
                        <a:pt x="541" y="511"/>
                      </a:lnTo>
                      <a:lnTo>
                        <a:pt x="541" y="512"/>
                      </a:lnTo>
                      <a:lnTo>
                        <a:pt x="542" y="512"/>
                      </a:lnTo>
                      <a:lnTo>
                        <a:pt x="541" y="512"/>
                      </a:lnTo>
                      <a:lnTo>
                        <a:pt x="539" y="512"/>
                      </a:lnTo>
                      <a:lnTo>
                        <a:pt x="537" y="512"/>
                      </a:lnTo>
                      <a:lnTo>
                        <a:pt x="537" y="511"/>
                      </a:lnTo>
                      <a:lnTo>
                        <a:pt x="539" y="511"/>
                      </a:lnTo>
                      <a:lnTo>
                        <a:pt x="537" y="511"/>
                      </a:lnTo>
                      <a:lnTo>
                        <a:pt x="537" y="512"/>
                      </a:lnTo>
                      <a:lnTo>
                        <a:pt x="536" y="511"/>
                      </a:lnTo>
                      <a:lnTo>
                        <a:pt x="534" y="511"/>
                      </a:lnTo>
                      <a:lnTo>
                        <a:pt x="534" y="512"/>
                      </a:lnTo>
                      <a:lnTo>
                        <a:pt x="532" y="512"/>
                      </a:lnTo>
                      <a:lnTo>
                        <a:pt x="532" y="514"/>
                      </a:lnTo>
                      <a:lnTo>
                        <a:pt x="532" y="512"/>
                      </a:lnTo>
                      <a:lnTo>
                        <a:pt x="530" y="512"/>
                      </a:lnTo>
                      <a:lnTo>
                        <a:pt x="529" y="512"/>
                      </a:lnTo>
                      <a:lnTo>
                        <a:pt x="529" y="511"/>
                      </a:lnTo>
                      <a:lnTo>
                        <a:pt x="529" y="509"/>
                      </a:lnTo>
                      <a:lnTo>
                        <a:pt x="527" y="509"/>
                      </a:lnTo>
                      <a:lnTo>
                        <a:pt x="525" y="511"/>
                      </a:lnTo>
                      <a:lnTo>
                        <a:pt x="524" y="511"/>
                      </a:lnTo>
                      <a:lnTo>
                        <a:pt x="524" y="509"/>
                      </a:lnTo>
                      <a:lnTo>
                        <a:pt x="524" y="507"/>
                      </a:lnTo>
                      <a:lnTo>
                        <a:pt x="522" y="507"/>
                      </a:lnTo>
                      <a:lnTo>
                        <a:pt x="522" y="509"/>
                      </a:lnTo>
                      <a:lnTo>
                        <a:pt x="522" y="511"/>
                      </a:lnTo>
                      <a:lnTo>
                        <a:pt x="520" y="511"/>
                      </a:lnTo>
                      <a:lnTo>
                        <a:pt x="519" y="511"/>
                      </a:lnTo>
                      <a:lnTo>
                        <a:pt x="519" y="512"/>
                      </a:lnTo>
                      <a:lnTo>
                        <a:pt x="515" y="512"/>
                      </a:lnTo>
                      <a:lnTo>
                        <a:pt x="514" y="512"/>
                      </a:lnTo>
                      <a:lnTo>
                        <a:pt x="512" y="512"/>
                      </a:lnTo>
                      <a:lnTo>
                        <a:pt x="514" y="512"/>
                      </a:lnTo>
                      <a:lnTo>
                        <a:pt x="514" y="514"/>
                      </a:lnTo>
                      <a:lnTo>
                        <a:pt x="512" y="514"/>
                      </a:lnTo>
                      <a:lnTo>
                        <a:pt x="510" y="514"/>
                      </a:lnTo>
                      <a:lnTo>
                        <a:pt x="509" y="514"/>
                      </a:lnTo>
                      <a:lnTo>
                        <a:pt x="507" y="516"/>
                      </a:lnTo>
                      <a:lnTo>
                        <a:pt x="507" y="514"/>
                      </a:lnTo>
                      <a:lnTo>
                        <a:pt x="505" y="514"/>
                      </a:lnTo>
                      <a:lnTo>
                        <a:pt x="503" y="514"/>
                      </a:lnTo>
                      <a:lnTo>
                        <a:pt x="502" y="514"/>
                      </a:lnTo>
                      <a:lnTo>
                        <a:pt x="502" y="512"/>
                      </a:lnTo>
                      <a:lnTo>
                        <a:pt x="500" y="512"/>
                      </a:lnTo>
                      <a:lnTo>
                        <a:pt x="498" y="511"/>
                      </a:lnTo>
                      <a:lnTo>
                        <a:pt x="498" y="512"/>
                      </a:lnTo>
                      <a:lnTo>
                        <a:pt x="497" y="512"/>
                      </a:lnTo>
                      <a:lnTo>
                        <a:pt x="497" y="511"/>
                      </a:lnTo>
                      <a:lnTo>
                        <a:pt x="497" y="509"/>
                      </a:lnTo>
                      <a:lnTo>
                        <a:pt x="495" y="509"/>
                      </a:lnTo>
                      <a:lnTo>
                        <a:pt x="495" y="511"/>
                      </a:lnTo>
                      <a:lnTo>
                        <a:pt x="493" y="511"/>
                      </a:lnTo>
                      <a:lnTo>
                        <a:pt x="492" y="511"/>
                      </a:lnTo>
                      <a:lnTo>
                        <a:pt x="492" y="509"/>
                      </a:lnTo>
                      <a:lnTo>
                        <a:pt x="492" y="511"/>
                      </a:lnTo>
                      <a:lnTo>
                        <a:pt x="490" y="511"/>
                      </a:lnTo>
                      <a:lnTo>
                        <a:pt x="490" y="512"/>
                      </a:lnTo>
                      <a:lnTo>
                        <a:pt x="488" y="511"/>
                      </a:lnTo>
                      <a:lnTo>
                        <a:pt x="487" y="511"/>
                      </a:lnTo>
                      <a:lnTo>
                        <a:pt x="485" y="509"/>
                      </a:lnTo>
                      <a:lnTo>
                        <a:pt x="485" y="511"/>
                      </a:lnTo>
                      <a:lnTo>
                        <a:pt x="483" y="512"/>
                      </a:lnTo>
                      <a:lnTo>
                        <a:pt x="482" y="512"/>
                      </a:lnTo>
                      <a:lnTo>
                        <a:pt x="480" y="512"/>
                      </a:lnTo>
                      <a:lnTo>
                        <a:pt x="480" y="514"/>
                      </a:lnTo>
                      <a:lnTo>
                        <a:pt x="478" y="514"/>
                      </a:lnTo>
                      <a:lnTo>
                        <a:pt x="478" y="512"/>
                      </a:lnTo>
                      <a:lnTo>
                        <a:pt x="478" y="511"/>
                      </a:lnTo>
                      <a:lnTo>
                        <a:pt x="478" y="512"/>
                      </a:lnTo>
                      <a:lnTo>
                        <a:pt x="476" y="514"/>
                      </a:lnTo>
                      <a:lnTo>
                        <a:pt x="475" y="512"/>
                      </a:lnTo>
                      <a:lnTo>
                        <a:pt x="473" y="512"/>
                      </a:lnTo>
                      <a:lnTo>
                        <a:pt x="475" y="512"/>
                      </a:lnTo>
                      <a:lnTo>
                        <a:pt x="475" y="514"/>
                      </a:lnTo>
                      <a:lnTo>
                        <a:pt x="473" y="514"/>
                      </a:lnTo>
                      <a:lnTo>
                        <a:pt x="473" y="512"/>
                      </a:lnTo>
                      <a:lnTo>
                        <a:pt x="473" y="514"/>
                      </a:lnTo>
                      <a:lnTo>
                        <a:pt x="471" y="514"/>
                      </a:lnTo>
                      <a:lnTo>
                        <a:pt x="471" y="512"/>
                      </a:lnTo>
                      <a:lnTo>
                        <a:pt x="471" y="514"/>
                      </a:lnTo>
                      <a:lnTo>
                        <a:pt x="470" y="514"/>
                      </a:lnTo>
                      <a:lnTo>
                        <a:pt x="470" y="512"/>
                      </a:lnTo>
                      <a:lnTo>
                        <a:pt x="468" y="512"/>
                      </a:lnTo>
                      <a:lnTo>
                        <a:pt x="468" y="511"/>
                      </a:lnTo>
                      <a:lnTo>
                        <a:pt x="468" y="509"/>
                      </a:lnTo>
                      <a:lnTo>
                        <a:pt x="468" y="507"/>
                      </a:lnTo>
                      <a:lnTo>
                        <a:pt x="468" y="506"/>
                      </a:lnTo>
                      <a:lnTo>
                        <a:pt x="466" y="506"/>
                      </a:lnTo>
                      <a:lnTo>
                        <a:pt x="466" y="504"/>
                      </a:lnTo>
                      <a:lnTo>
                        <a:pt x="466" y="502"/>
                      </a:lnTo>
                      <a:lnTo>
                        <a:pt x="465" y="502"/>
                      </a:lnTo>
                      <a:lnTo>
                        <a:pt x="465" y="504"/>
                      </a:lnTo>
                      <a:lnTo>
                        <a:pt x="463" y="504"/>
                      </a:lnTo>
                      <a:lnTo>
                        <a:pt x="463" y="502"/>
                      </a:lnTo>
                      <a:lnTo>
                        <a:pt x="463" y="501"/>
                      </a:lnTo>
                      <a:lnTo>
                        <a:pt x="461" y="501"/>
                      </a:lnTo>
                      <a:lnTo>
                        <a:pt x="461" y="502"/>
                      </a:lnTo>
                      <a:lnTo>
                        <a:pt x="461" y="501"/>
                      </a:lnTo>
                      <a:lnTo>
                        <a:pt x="460" y="501"/>
                      </a:lnTo>
                      <a:lnTo>
                        <a:pt x="460" y="499"/>
                      </a:lnTo>
                      <a:lnTo>
                        <a:pt x="458" y="499"/>
                      </a:lnTo>
                      <a:lnTo>
                        <a:pt x="460" y="497"/>
                      </a:lnTo>
                      <a:lnTo>
                        <a:pt x="458" y="497"/>
                      </a:lnTo>
                      <a:lnTo>
                        <a:pt x="456" y="497"/>
                      </a:lnTo>
                      <a:lnTo>
                        <a:pt x="454" y="497"/>
                      </a:lnTo>
                      <a:lnTo>
                        <a:pt x="454" y="496"/>
                      </a:lnTo>
                      <a:lnTo>
                        <a:pt x="454" y="494"/>
                      </a:lnTo>
                      <a:lnTo>
                        <a:pt x="453" y="494"/>
                      </a:lnTo>
                      <a:lnTo>
                        <a:pt x="451" y="493"/>
                      </a:lnTo>
                      <a:lnTo>
                        <a:pt x="451" y="491"/>
                      </a:lnTo>
                      <a:lnTo>
                        <a:pt x="449" y="491"/>
                      </a:lnTo>
                      <a:lnTo>
                        <a:pt x="448" y="491"/>
                      </a:lnTo>
                      <a:lnTo>
                        <a:pt x="448" y="489"/>
                      </a:lnTo>
                      <a:lnTo>
                        <a:pt x="446" y="489"/>
                      </a:lnTo>
                      <a:lnTo>
                        <a:pt x="446" y="488"/>
                      </a:lnTo>
                      <a:lnTo>
                        <a:pt x="446" y="486"/>
                      </a:lnTo>
                      <a:lnTo>
                        <a:pt x="446" y="484"/>
                      </a:lnTo>
                      <a:lnTo>
                        <a:pt x="446" y="483"/>
                      </a:lnTo>
                      <a:lnTo>
                        <a:pt x="446" y="481"/>
                      </a:lnTo>
                      <a:lnTo>
                        <a:pt x="444" y="479"/>
                      </a:lnTo>
                      <a:lnTo>
                        <a:pt x="446" y="479"/>
                      </a:lnTo>
                      <a:lnTo>
                        <a:pt x="446" y="478"/>
                      </a:lnTo>
                      <a:lnTo>
                        <a:pt x="444" y="478"/>
                      </a:lnTo>
                      <a:lnTo>
                        <a:pt x="443" y="478"/>
                      </a:lnTo>
                      <a:lnTo>
                        <a:pt x="443" y="479"/>
                      </a:lnTo>
                      <a:lnTo>
                        <a:pt x="443" y="478"/>
                      </a:lnTo>
                      <a:lnTo>
                        <a:pt x="441" y="478"/>
                      </a:lnTo>
                      <a:lnTo>
                        <a:pt x="441" y="476"/>
                      </a:lnTo>
                      <a:lnTo>
                        <a:pt x="441" y="474"/>
                      </a:lnTo>
                      <a:lnTo>
                        <a:pt x="439" y="474"/>
                      </a:lnTo>
                      <a:lnTo>
                        <a:pt x="439" y="476"/>
                      </a:lnTo>
                      <a:lnTo>
                        <a:pt x="439" y="478"/>
                      </a:lnTo>
                      <a:lnTo>
                        <a:pt x="438" y="478"/>
                      </a:lnTo>
                      <a:lnTo>
                        <a:pt x="438" y="476"/>
                      </a:lnTo>
                      <a:lnTo>
                        <a:pt x="438" y="474"/>
                      </a:lnTo>
                      <a:lnTo>
                        <a:pt x="436" y="474"/>
                      </a:lnTo>
                      <a:lnTo>
                        <a:pt x="434" y="474"/>
                      </a:lnTo>
                      <a:lnTo>
                        <a:pt x="433" y="474"/>
                      </a:lnTo>
                      <a:lnTo>
                        <a:pt x="433" y="476"/>
                      </a:lnTo>
                      <a:lnTo>
                        <a:pt x="433" y="478"/>
                      </a:lnTo>
                      <a:lnTo>
                        <a:pt x="431" y="478"/>
                      </a:lnTo>
                      <a:lnTo>
                        <a:pt x="429" y="478"/>
                      </a:lnTo>
                      <a:lnTo>
                        <a:pt x="429" y="476"/>
                      </a:lnTo>
                      <a:lnTo>
                        <a:pt x="429" y="478"/>
                      </a:lnTo>
                      <a:lnTo>
                        <a:pt x="427" y="478"/>
                      </a:lnTo>
                      <a:lnTo>
                        <a:pt x="427" y="476"/>
                      </a:lnTo>
                      <a:lnTo>
                        <a:pt x="426" y="476"/>
                      </a:lnTo>
                      <a:lnTo>
                        <a:pt x="426" y="478"/>
                      </a:lnTo>
                      <a:lnTo>
                        <a:pt x="426" y="476"/>
                      </a:lnTo>
                      <a:lnTo>
                        <a:pt x="424" y="478"/>
                      </a:lnTo>
                      <a:lnTo>
                        <a:pt x="424" y="476"/>
                      </a:lnTo>
                      <a:lnTo>
                        <a:pt x="422" y="476"/>
                      </a:lnTo>
                      <a:lnTo>
                        <a:pt x="421" y="476"/>
                      </a:lnTo>
                      <a:lnTo>
                        <a:pt x="419" y="476"/>
                      </a:lnTo>
                      <a:lnTo>
                        <a:pt x="419" y="474"/>
                      </a:lnTo>
                      <a:lnTo>
                        <a:pt x="417" y="474"/>
                      </a:lnTo>
                      <a:lnTo>
                        <a:pt x="417" y="476"/>
                      </a:lnTo>
                      <a:lnTo>
                        <a:pt x="417" y="474"/>
                      </a:lnTo>
                      <a:lnTo>
                        <a:pt x="416" y="473"/>
                      </a:lnTo>
                      <a:lnTo>
                        <a:pt x="416" y="471"/>
                      </a:lnTo>
                      <a:lnTo>
                        <a:pt x="414" y="471"/>
                      </a:lnTo>
                      <a:lnTo>
                        <a:pt x="412" y="471"/>
                      </a:lnTo>
                      <a:lnTo>
                        <a:pt x="414" y="470"/>
                      </a:lnTo>
                      <a:lnTo>
                        <a:pt x="412" y="470"/>
                      </a:lnTo>
                      <a:lnTo>
                        <a:pt x="412" y="471"/>
                      </a:lnTo>
                      <a:lnTo>
                        <a:pt x="411" y="471"/>
                      </a:lnTo>
                      <a:lnTo>
                        <a:pt x="412" y="470"/>
                      </a:lnTo>
                      <a:lnTo>
                        <a:pt x="411" y="470"/>
                      </a:lnTo>
                      <a:lnTo>
                        <a:pt x="411" y="471"/>
                      </a:lnTo>
                      <a:lnTo>
                        <a:pt x="409" y="471"/>
                      </a:lnTo>
                      <a:lnTo>
                        <a:pt x="407" y="471"/>
                      </a:lnTo>
                      <a:lnTo>
                        <a:pt x="407" y="470"/>
                      </a:lnTo>
                      <a:lnTo>
                        <a:pt x="406" y="471"/>
                      </a:lnTo>
                      <a:lnTo>
                        <a:pt x="404" y="471"/>
                      </a:lnTo>
                      <a:lnTo>
                        <a:pt x="404" y="470"/>
                      </a:lnTo>
                      <a:lnTo>
                        <a:pt x="402" y="470"/>
                      </a:lnTo>
                      <a:lnTo>
                        <a:pt x="400" y="468"/>
                      </a:lnTo>
                      <a:lnTo>
                        <a:pt x="399" y="468"/>
                      </a:lnTo>
                      <a:lnTo>
                        <a:pt x="399" y="466"/>
                      </a:lnTo>
                      <a:lnTo>
                        <a:pt x="399" y="465"/>
                      </a:lnTo>
                      <a:lnTo>
                        <a:pt x="397" y="465"/>
                      </a:lnTo>
                      <a:lnTo>
                        <a:pt x="397" y="463"/>
                      </a:lnTo>
                      <a:lnTo>
                        <a:pt x="395" y="463"/>
                      </a:lnTo>
                      <a:lnTo>
                        <a:pt x="394" y="463"/>
                      </a:lnTo>
                      <a:lnTo>
                        <a:pt x="395" y="463"/>
                      </a:lnTo>
                      <a:lnTo>
                        <a:pt x="395" y="461"/>
                      </a:lnTo>
                      <a:lnTo>
                        <a:pt x="395" y="460"/>
                      </a:lnTo>
                      <a:lnTo>
                        <a:pt x="394" y="461"/>
                      </a:lnTo>
                      <a:lnTo>
                        <a:pt x="394" y="463"/>
                      </a:lnTo>
                      <a:lnTo>
                        <a:pt x="392" y="463"/>
                      </a:lnTo>
                      <a:lnTo>
                        <a:pt x="390" y="463"/>
                      </a:lnTo>
                      <a:lnTo>
                        <a:pt x="390" y="465"/>
                      </a:lnTo>
                      <a:lnTo>
                        <a:pt x="389" y="463"/>
                      </a:lnTo>
                      <a:lnTo>
                        <a:pt x="389" y="465"/>
                      </a:lnTo>
                      <a:lnTo>
                        <a:pt x="387" y="463"/>
                      </a:lnTo>
                      <a:lnTo>
                        <a:pt x="387" y="465"/>
                      </a:lnTo>
                      <a:lnTo>
                        <a:pt x="387" y="466"/>
                      </a:lnTo>
                      <a:lnTo>
                        <a:pt x="387" y="465"/>
                      </a:lnTo>
                      <a:lnTo>
                        <a:pt x="385" y="465"/>
                      </a:lnTo>
                      <a:lnTo>
                        <a:pt x="385" y="463"/>
                      </a:lnTo>
                      <a:lnTo>
                        <a:pt x="385" y="465"/>
                      </a:lnTo>
                      <a:lnTo>
                        <a:pt x="384" y="465"/>
                      </a:lnTo>
                      <a:lnTo>
                        <a:pt x="382" y="465"/>
                      </a:lnTo>
                      <a:lnTo>
                        <a:pt x="380" y="463"/>
                      </a:lnTo>
                      <a:lnTo>
                        <a:pt x="380" y="461"/>
                      </a:lnTo>
                      <a:lnTo>
                        <a:pt x="380" y="460"/>
                      </a:lnTo>
                      <a:lnTo>
                        <a:pt x="380" y="458"/>
                      </a:lnTo>
                      <a:lnTo>
                        <a:pt x="378" y="458"/>
                      </a:lnTo>
                      <a:lnTo>
                        <a:pt x="377" y="458"/>
                      </a:lnTo>
                      <a:lnTo>
                        <a:pt x="377" y="460"/>
                      </a:lnTo>
                      <a:lnTo>
                        <a:pt x="375" y="458"/>
                      </a:lnTo>
                      <a:lnTo>
                        <a:pt x="377" y="458"/>
                      </a:lnTo>
                      <a:lnTo>
                        <a:pt x="377" y="456"/>
                      </a:lnTo>
                      <a:lnTo>
                        <a:pt x="375" y="456"/>
                      </a:lnTo>
                      <a:lnTo>
                        <a:pt x="373" y="455"/>
                      </a:lnTo>
                      <a:lnTo>
                        <a:pt x="373" y="453"/>
                      </a:lnTo>
                      <a:lnTo>
                        <a:pt x="372" y="453"/>
                      </a:lnTo>
                      <a:lnTo>
                        <a:pt x="372" y="451"/>
                      </a:lnTo>
                      <a:lnTo>
                        <a:pt x="372" y="450"/>
                      </a:lnTo>
                      <a:lnTo>
                        <a:pt x="370" y="450"/>
                      </a:lnTo>
                      <a:lnTo>
                        <a:pt x="368" y="448"/>
                      </a:lnTo>
                      <a:lnTo>
                        <a:pt x="367" y="450"/>
                      </a:lnTo>
                      <a:lnTo>
                        <a:pt x="365" y="450"/>
                      </a:lnTo>
                      <a:lnTo>
                        <a:pt x="363" y="451"/>
                      </a:lnTo>
                      <a:lnTo>
                        <a:pt x="363" y="450"/>
                      </a:lnTo>
                      <a:lnTo>
                        <a:pt x="362" y="448"/>
                      </a:lnTo>
                      <a:lnTo>
                        <a:pt x="362" y="450"/>
                      </a:lnTo>
                      <a:lnTo>
                        <a:pt x="362" y="448"/>
                      </a:lnTo>
                      <a:lnTo>
                        <a:pt x="360" y="448"/>
                      </a:lnTo>
                      <a:lnTo>
                        <a:pt x="360" y="447"/>
                      </a:lnTo>
                      <a:lnTo>
                        <a:pt x="360" y="445"/>
                      </a:lnTo>
                      <a:lnTo>
                        <a:pt x="358" y="443"/>
                      </a:lnTo>
                      <a:lnTo>
                        <a:pt x="358" y="442"/>
                      </a:lnTo>
                      <a:lnTo>
                        <a:pt x="358" y="440"/>
                      </a:lnTo>
                      <a:lnTo>
                        <a:pt x="357" y="440"/>
                      </a:lnTo>
                      <a:lnTo>
                        <a:pt x="357" y="438"/>
                      </a:lnTo>
                      <a:lnTo>
                        <a:pt x="355" y="438"/>
                      </a:lnTo>
                      <a:lnTo>
                        <a:pt x="353" y="438"/>
                      </a:lnTo>
                      <a:lnTo>
                        <a:pt x="353" y="437"/>
                      </a:lnTo>
                      <a:lnTo>
                        <a:pt x="355" y="437"/>
                      </a:lnTo>
                      <a:lnTo>
                        <a:pt x="355" y="435"/>
                      </a:lnTo>
                      <a:lnTo>
                        <a:pt x="357" y="435"/>
                      </a:lnTo>
                      <a:lnTo>
                        <a:pt x="355" y="435"/>
                      </a:lnTo>
                      <a:lnTo>
                        <a:pt x="353" y="435"/>
                      </a:lnTo>
                      <a:lnTo>
                        <a:pt x="351" y="435"/>
                      </a:lnTo>
                      <a:lnTo>
                        <a:pt x="351" y="433"/>
                      </a:lnTo>
                      <a:lnTo>
                        <a:pt x="353" y="433"/>
                      </a:lnTo>
                      <a:lnTo>
                        <a:pt x="353" y="432"/>
                      </a:lnTo>
                      <a:lnTo>
                        <a:pt x="351" y="432"/>
                      </a:lnTo>
                      <a:lnTo>
                        <a:pt x="350" y="432"/>
                      </a:lnTo>
                      <a:lnTo>
                        <a:pt x="348" y="432"/>
                      </a:lnTo>
                      <a:lnTo>
                        <a:pt x="348" y="430"/>
                      </a:lnTo>
                      <a:lnTo>
                        <a:pt x="346" y="430"/>
                      </a:lnTo>
                      <a:lnTo>
                        <a:pt x="346" y="429"/>
                      </a:lnTo>
                      <a:lnTo>
                        <a:pt x="346" y="430"/>
                      </a:lnTo>
                      <a:lnTo>
                        <a:pt x="345" y="430"/>
                      </a:lnTo>
                      <a:lnTo>
                        <a:pt x="345" y="429"/>
                      </a:lnTo>
                      <a:lnTo>
                        <a:pt x="343" y="429"/>
                      </a:lnTo>
                      <a:lnTo>
                        <a:pt x="343" y="430"/>
                      </a:lnTo>
                      <a:lnTo>
                        <a:pt x="343" y="432"/>
                      </a:lnTo>
                      <a:lnTo>
                        <a:pt x="341" y="432"/>
                      </a:lnTo>
                      <a:lnTo>
                        <a:pt x="340" y="432"/>
                      </a:lnTo>
                      <a:lnTo>
                        <a:pt x="340" y="433"/>
                      </a:lnTo>
                      <a:lnTo>
                        <a:pt x="338" y="432"/>
                      </a:lnTo>
                      <a:lnTo>
                        <a:pt x="338" y="433"/>
                      </a:lnTo>
                      <a:lnTo>
                        <a:pt x="340" y="435"/>
                      </a:lnTo>
                      <a:lnTo>
                        <a:pt x="338" y="435"/>
                      </a:lnTo>
                      <a:lnTo>
                        <a:pt x="336" y="435"/>
                      </a:lnTo>
                      <a:lnTo>
                        <a:pt x="335" y="435"/>
                      </a:lnTo>
                      <a:lnTo>
                        <a:pt x="333" y="435"/>
                      </a:lnTo>
                      <a:lnTo>
                        <a:pt x="331" y="433"/>
                      </a:lnTo>
                      <a:lnTo>
                        <a:pt x="330" y="433"/>
                      </a:lnTo>
                      <a:lnTo>
                        <a:pt x="330" y="432"/>
                      </a:lnTo>
                      <a:lnTo>
                        <a:pt x="328" y="432"/>
                      </a:lnTo>
                      <a:lnTo>
                        <a:pt x="326" y="432"/>
                      </a:lnTo>
                      <a:lnTo>
                        <a:pt x="324" y="432"/>
                      </a:lnTo>
                      <a:lnTo>
                        <a:pt x="323" y="430"/>
                      </a:lnTo>
                      <a:lnTo>
                        <a:pt x="323" y="429"/>
                      </a:lnTo>
                      <a:lnTo>
                        <a:pt x="321" y="427"/>
                      </a:lnTo>
                      <a:lnTo>
                        <a:pt x="319" y="427"/>
                      </a:lnTo>
                      <a:lnTo>
                        <a:pt x="321" y="427"/>
                      </a:lnTo>
                      <a:lnTo>
                        <a:pt x="319" y="425"/>
                      </a:lnTo>
                      <a:lnTo>
                        <a:pt x="321" y="424"/>
                      </a:lnTo>
                      <a:lnTo>
                        <a:pt x="319" y="424"/>
                      </a:lnTo>
                      <a:lnTo>
                        <a:pt x="318" y="424"/>
                      </a:lnTo>
                      <a:lnTo>
                        <a:pt x="316" y="424"/>
                      </a:lnTo>
                      <a:lnTo>
                        <a:pt x="314" y="424"/>
                      </a:lnTo>
                      <a:lnTo>
                        <a:pt x="313" y="424"/>
                      </a:lnTo>
                      <a:lnTo>
                        <a:pt x="313" y="422"/>
                      </a:lnTo>
                      <a:lnTo>
                        <a:pt x="311" y="422"/>
                      </a:lnTo>
                      <a:lnTo>
                        <a:pt x="311" y="420"/>
                      </a:lnTo>
                      <a:lnTo>
                        <a:pt x="309" y="419"/>
                      </a:lnTo>
                      <a:lnTo>
                        <a:pt x="308" y="419"/>
                      </a:lnTo>
                      <a:lnTo>
                        <a:pt x="308" y="417"/>
                      </a:lnTo>
                      <a:lnTo>
                        <a:pt x="306" y="417"/>
                      </a:lnTo>
                      <a:lnTo>
                        <a:pt x="302" y="417"/>
                      </a:lnTo>
                      <a:lnTo>
                        <a:pt x="302" y="415"/>
                      </a:lnTo>
                      <a:lnTo>
                        <a:pt x="301" y="415"/>
                      </a:lnTo>
                      <a:lnTo>
                        <a:pt x="299" y="414"/>
                      </a:lnTo>
                      <a:lnTo>
                        <a:pt x="297" y="414"/>
                      </a:lnTo>
                      <a:lnTo>
                        <a:pt x="296" y="412"/>
                      </a:lnTo>
                      <a:lnTo>
                        <a:pt x="292" y="412"/>
                      </a:lnTo>
                      <a:lnTo>
                        <a:pt x="291" y="412"/>
                      </a:lnTo>
                      <a:lnTo>
                        <a:pt x="289" y="412"/>
                      </a:lnTo>
                      <a:lnTo>
                        <a:pt x="287" y="412"/>
                      </a:lnTo>
                      <a:lnTo>
                        <a:pt x="287" y="410"/>
                      </a:lnTo>
                      <a:lnTo>
                        <a:pt x="286" y="412"/>
                      </a:lnTo>
                      <a:lnTo>
                        <a:pt x="284" y="412"/>
                      </a:lnTo>
                      <a:lnTo>
                        <a:pt x="284" y="414"/>
                      </a:lnTo>
                      <a:lnTo>
                        <a:pt x="282" y="414"/>
                      </a:lnTo>
                      <a:lnTo>
                        <a:pt x="281" y="414"/>
                      </a:lnTo>
                      <a:lnTo>
                        <a:pt x="279" y="412"/>
                      </a:lnTo>
                      <a:lnTo>
                        <a:pt x="277" y="412"/>
                      </a:lnTo>
                      <a:lnTo>
                        <a:pt x="277" y="414"/>
                      </a:lnTo>
                      <a:lnTo>
                        <a:pt x="277" y="415"/>
                      </a:lnTo>
                      <a:lnTo>
                        <a:pt x="275" y="415"/>
                      </a:lnTo>
                      <a:lnTo>
                        <a:pt x="275" y="417"/>
                      </a:lnTo>
                      <a:lnTo>
                        <a:pt x="277" y="417"/>
                      </a:lnTo>
                      <a:lnTo>
                        <a:pt x="275" y="419"/>
                      </a:lnTo>
                      <a:lnTo>
                        <a:pt x="274" y="419"/>
                      </a:lnTo>
                      <a:lnTo>
                        <a:pt x="272" y="420"/>
                      </a:lnTo>
                      <a:lnTo>
                        <a:pt x="270" y="420"/>
                      </a:lnTo>
                      <a:lnTo>
                        <a:pt x="269" y="420"/>
                      </a:lnTo>
                      <a:lnTo>
                        <a:pt x="269" y="419"/>
                      </a:lnTo>
                      <a:lnTo>
                        <a:pt x="267" y="419"/>
                      </a:lnTo>
                      <a:lnTo>
                        <a:pt x="265" y="419"/>
                      </a:lnTo>
                      <a:lnTo>
                        <a:pt x="264" y="419"/>
                      </a:lnTo>
                      <a:lnTo>
                        <a:pt x="262" y="419"/>
                      </a:lnTo>
                      <a:lnTo>
                        <a:pt x="262" y="417"/>
                      </a:lnTo>
                      <a:lnTo>
                        <a:pt x="260" y="417"/>
                      </a:lnTo>
                      <a:lnTo>
                        <a:pt x="259" y="417"/>
                      </a:lnTo>
                      <a:lnTo>
                        <a:pt x="259" y="415"/>
                      </a:lnTo>
                      <a:lnTo>
                        <a:pt x="257" y="415"/>
                      </a:lnTo>
                      <a:lnTo>
                        <a:pt x="257" y="417"/>
                      </a:lnTo>
                      <a:lnTo>
                        <a:pt x="255" y="419"/>
                      </a:lnTo>
                      <a:lnTo>
                        <a:pt x="255" y="417"/>
                      </a:lnTo>
                      <a:lnTo>
                        <a:pt x="255" y="415"/>
                      </a:lnTo>
                      <a:lnTo>
                        <a:pt x="254" y="415"/>
                      </a:lnTo>
                      <a:lnTo>
                        <a:pt x="254" y="417"/>
                      </a:lnTo>
                      <a:lnTo>
                        <a:pt x="252" y="419"/>
                      </a:lnTo>
                      <a:lnTo>
                        <a:pt x="250" y="419"/>
                      </a:lnTo>
                      <a:lnTo>
                        <a:pt x="250" y="417"/>
                      </a:lnTo>
                      <a:lnTo>
                        <a:pt x="250" y="415"/>
                      </a:lnTo>
                      <a:lnTo>
                        <a:pt x="250" y="414"/>
                      </a:lnTo>
                      <a:lnTo>
                        <a:pt x="248" y="414"/>
                      </a:lnTo>
                      <a:lnTo>
                        <a:pt x="248" y="415"/>
                      </a:lnTo>
                      <a:lnTo>
                        <a:pt x="247" y="414"/>
                      </a:lnTo>
                      <a:lnTo>
                        <a:pt x="245" y="414"/>
                      </a:lnTo>
                      <a:lnTo>
                        <a:pt x="243" y="414"/>
                      </a:lnTo>
                      <a:lnTo>
                        <a:pt x="243" y="415"/>
                      </a:lnTo>
                      <a:lnTo>
                        <a:pt x="242" y="415"/>
                      </a:lnTo>
                      <a:lnTo>
                        <a:pt x="242" y="417"/>
                      </a:lnTo>
                      <a:lnTo>
                        <a:pt x="240" y="417"/>
                      </a:lnTo>
                      <a:lnTo>
                        <a:pt x="240" y="419"/>
                      </a:lnTo>
                      <a:lnTo>
                        <a:pt x="240" y="417"/>
                      </a:lnTo>
                      <a:lnTo>
                        <a:pt x="238" y="417"/>
                      </a:lnTo>
                      <a:lnTo>
                        <a:pt x="238" y="415"/>
                      </a:lnTo>
                      <a:lnTo>
                        <a:pt x="238" y="414"/>
                      </a:lnTo>
                      <a:lnTo>
                        <a:pt x="237" y="414"/>
                      </a:lnTo>
                      <a:lnTo>
                        <a:pt x="233" y="414"/>
                      </a:lnTo>
                      <a:lnTo>
                        <a:pt x="232" y="414"/>
                      </a:lnTo>
                      <a:lnTo>
                        <a:pt x="230" y="414"/>
                      </a:lnTo>
                      <a:lnTo>
                        <a:pt x="230" y="412"/>
                      </a:lnTo>
                      <a:lnTo>
                        <a:pt x="228" y="412"/>
                      </a:lnTo>
                      <a:lnTo>
                        <a:pt x="226" y="412"/>
                      </a:lnTo>
                      <a:lnTo>
                        <a:pt x="226" y="410"/>
                      </a:lnTo>
                      <a:lnTo>
                        <a:pt x="225" y="410"/>
                      </a:lnTo>
                      <a:lnTo>
                        <a:pt x="225" y="409"/>
                      </a:lnTo>
                      <a:lnTo>
                        <a:pt x="223" y="409"/>
                      </a:lnTo>
                      <a:lnTo>
                        <a:pt x="223" y="407"/>
                      </a:lnTo>
                      <a:lnTo>
                        <a:pt x="221" y="407"/>
                      </a:lnTo>
                      <a:lnTo>
                        <a:pt x="221" y="406"/>
                      </a:lnTo>
                      <a:lnTo>
                        <a:pt x="220" y="406"/>
                      </a:lnTo>
                      <a:lnTo>
                        <a:pt x="218" y="404"/>
                      </a:lnTo>
                      <a:lnTo>
                        <a:pt x="218" y="402"/>
                      </a:lnTo>
                      <a:lnTo>
                        <a:pt x="220" y="402"/>
                      </a:lnTo>
                      <a:lnTo>
                        <a:pt x="220" y="401"/>
                      </a:lnTo>
                      <a:lnTo>
                        <a:pt x="220" y="399"/>
                      </a:lnTo>
                      <a:lnTo>
                        <a:pt x="220" y="396"/>
                      </a:lnTo>
                      <a:lnTo>
                        <a:pt x="220" y="394"/>
                      </a:lnTo>
                      <a:lnTo>
                        <a:pt x="220" y="392"/>
                      </a:lnTo>
                      <a:lnTo>
                        <a:pt x="218" y="392"/>
                      </a:lnTo>
                      <a:lnTo>
                        <a:pt x="216" y="392"/>
                      </a:lnTo>
                      <a:lnTo>
                        <a:pt x="215" y="394"/>
                      </a:lnTo>
                      <a:lnTo>
                        <a:pt x="213" y="392"/>
                      </a:lnTo>
                      <a:lnTo>
                        <a:pt x="211" y="391"/>
                      </a:lnTo>
                      <a:lnTo>
                        <a:pt x="210" y="391"/>
                      </a:lnTo>
                      <a:lnTo>
                        <a:pt x="208" y="391"/>
                      </a:lnTo>
                      <a:lnTo>
                        <a:pt x="206" y="391"/>
                      </a:lnTo>
                      <a:lnTo>
                        <a:pt x="205" y="389"/>
                      </a:lnTo>
                      <a:lnTo>
                        <a:pt x="203" y="389"/>
                      </a:lnTo>
                      <a:lnTo>
                        <a:pt x="201" y="389"/>
                      </a:lnTo>
                      <a:lnTo>
                        <a:pt x="199" y="387"/>
                      </a:lnTo>
                      <a:lnTo>
                        <a:pt x="199" y="386"/>
                      </a:lnTo>
                      <a:lnTo>
                        <a:pt x="199" y="384"/>
                      </a:lnTo>
                      <a:lnTo>
                        <a:pt x="199" y="383"/>
                      </a:lnTo>
                      <a:lnTo>
                        <a:pt x="201" y="381"/>
                      </a:lnTo>
                      <a:lnTo>
                        <a:pt x="199" y="379"/>
                      </a:lnTo>
                      <a:lnTo>
                        <a:pt x="198" y="379"/>
                      </a:lnTo>
                      <a:lnTo>
                        <a:pt x="198" y="381"/>
                      </a:lnTo>
                      <a:lnTo>
                        <a:pt x="196" y="381"/>
                      </a:lnTo>
                      <a:lnTo>
                        <a:pt x="198" y="383"/>
                      </a:lnTo>
                      <a:lnTo>
                        <a:pt x="196" y="384"/>
                      </a:lnTo>
                      <a:lnTo>
                        <a:pt x="196" y="386"/>
                      </a:lnTo>
                      <a:lnTo>
                        <a:pt x="194" y="386"/>
                      </a:lnTo>
                      <a:lnTo>
                        <a:pt x="194" y="384"/>
                      </a:lnTo>
                      <a:lnTo>
                        <a:pt x="194" y="383"/>
                      </a:lnTo>
                      <a:lnTo>
                        <a:pt x="194" y="381"/>
                      </a:lnTo>
                      <a:lnTo>
                        <a:pt x="193" y="379"/>
                      </a:lnTo>
                      <a:lnTo>
                        <a:pt x="191" y="379"/>
                      </a:lnTo>
                      <a:lnTo>
                        <a:pt x="189" y="381"/>
                      </a:lnTo>
                      <a:lnTo>
                        <a:pt x="189" y="383"/>
                      </a:lnTo>
                      <a:lnTo>
                        <a:pt x="188" y="383"/>
                      </a:lnTo>
                      <a:lnTo>
                        <a:pt x="188" y="381"/>
                      </a:lnTo>
                      <a:lnTo>
                        <a:pt x="186" y="381"/>
                      </a:lnTo>
                      <a:lnTo>
                        <a:pt x="188" y="381"/>
                      </a:lnTo>
                      <a:lnTo>
                        <a:pt x="188" y="379"/>
                      </a:lnTo>
                      <a:lnTo>
                        <a:pt x="189" y="379"/>
                      </a:lnTo>
                      <a:lnTo>
                        <a:pt x="189" y="378"/>
                      </a:lnTo>
                      <a:lnTo>
                        <a:pt x="189" y="376"/>
                      </a:lnTo>
                      <a:lnTo>
                        <a:pt x="189" y="374"/>
                      </a:lnTo>
                      <a:lnTo>
                        <a:pt x="188" y="373"/>
                      </a:lnTo>
                      <a:lnTo>
                        <a:pt x="186" y="373"/>
                      </a:lnTo>
                      <a:lnTo>
                        <a:pt x="184" y="373"/>
                      </a:lnTo>
                      <a:lnTo>
                        <a:pt x="183" y="373"/>
                      </a:lnTo>
                      <a:lnTo>
                        <a:pt x="181" y="373"/>
                      </a:lnTo>
                      <a:lnTo>
                        <a:pt x="181" y="374"/>
                      </a:lnTo>
                      <a:lnTo>
                        <a:pt x="179" y="374"/>
                      </a:lnTo>
                      <a:lnTo>
                        <a:pt x="179" y="373"/>
                      </a:lnTo>
                      <a:lnTo>
                        <a:pt x="178" y="373"/>
                      </a:lnTo>
                      <a:lnTo>
                        <a:pt x="178" y="371"/>
                      </a:lnTo>
                      <a:lnTo>
                        <a:pt x="176" y="371"/>
                      </a:lnTo>
                      <a:lnTo>
                        <a:pt x="174" y="373"/>
                      </a:lnTo>
                      <a:lnTo>
                        <a:pt x="172" y="373"/>
                      </a:lnTo>
                      <a:lnTo>
                        <a:pt x="172" y="371"/>
                      </a:lnTo>
                      <a:lnTo>
                        <a:pt x="171" y="371"/>
                      </a:lnTo>
                      <a:lnTo>
                        <a:pt x="169" y="371"/>
                      </a:lnTo>
                      <a:lnTo>
                        <a:pt x="169" y="369"/>
                      </a:lnTo>
                      <a:lnTo>
                        <a:pt x="169" y="368"/>
                      </a:lnTo>
                      <a:lnTo>
                        <a:pt x="167" y="369"/>
                      </a:lnTo>
                      <a:lnTo>
                        <a:pt x="167" y="368"/>
                      </a:lnTo>
                      <a:lnTo>
                        <a:pt x="169" y="366"/>
                      </a:lnTo>
                      <a:lnTo>
                        <a:pt x="171" y="364"/>
                      </a:lnTo>
                      <a:lnTo>
                        <a:pt x="171" y="363"/>
                      </a:lnTo>
                      <a:lnTo>
                        <a:pt x="171" y="361"/>
                      </a:lnTo>
                      <a:lnTo>
                        <a:pt x="169" y="361"/>
                      </a:lnTo>
                      <a:lnTo>
                        <a:pt x="167" y="361"/>
                      </a:lnTo>
                      <a:lnTo>
                        <a:pt x="166" y="361"/>
                      </a:lnTo>
                      <a:lnTo>
                        <a:pt x="166" y="360"/>
                      </a:lnTo>
                      <a:lnTo>
                        <a:pt x="166" y="358"/>
                      </a:lnTo>
                      <a:lnTo>
                        <a:pt x="166" y="355"/>
                      </a:lnTo>
                      <a:lnTo>
                        <a:pt x="166" y="353"/>
                      </a:lnTo>
                      <a:lnTo>
                        <a:pt x="166" y="351"/>
                      </a:lnTo>
                      <a:lnTo>
                        <a:pt x="166" y="350"/>
                      </a:lnTo>
                      <a:lnTo>
                        <a:pt x="164" y="346"/>
                      </a:lnTo>
                      <a:lnTo>
                        <a:pt x="164" y="345"/>
                      </a:lnTo>
                      <a:lnTo>
                        <a:pt x="162" y="345"/>
                      </a:lnTo>
                      <a:lnTo>
                        <a:pt x="161" y="345"/>
                      </a:lnTo>
                      <a:lnTo>
                        <a:pt x="159" y="346"/>
                      </a:lnTo>
                      <a:lnTo>
                        <a:pt x="156" y="346"/>
                      </a:lnTo>
                      <a:lnTo>
                        <a:pt x="154" y="346"/>
                      </a:lnTo>
                      <a:lnTo>
                        <a:pt x="156" y="348"/>
                      </a:lnTo>
                      <a:lnTo>
                        <a:pt x="156" y="350"/>
                      </a:lnTo>
                      <a:lnTo>
                        <a:pt x="154" y="350"/>
                      </a:lnTo>
                      <a:lnTo>
                        <a:pt x="152" y="348"/>
                      </a:lnTo>
                      <a:lnTo>
                        <a:pt x="149" y="346"/>
                      </a:lnTo>
                      <a:lnTo>
                        <a:pt x="147" y="345"/>
                      </a:lnTo>
                      <a:lnTo>
                        <a:pt x="147" y="343"/>
                      </a:lnTo>
                      <a:lnTo>
                        <a:pt x="149" y="343"/>
                      </a:lnTo>
                      <a:lnTo>
                        <a:pt x="150" y="341"/>
                      </a:lnTo>
                      <a:lnTo>
                        <a:pt x="150" y="340"/>
                      </a:lnTo>
                      <a:lnTo>
                        <a:pt x="150" y="338"/>
                      </a:lnTo>
                      <a:lnTo>
                        <a:pt x="150" y="337"/>
                      </a:lnTo>
                      <a:lnTo>
                        <a:pt x="150" y="335"/>
                      </a:lnTo>
                      <a:lnTo>
                        <a:pt x="150" y="333"/>
                      </a:lnTo>
                      <a:lnTo>
                        <a:pt x="149" y="332"/>
                      </a:lnTo>
                      <a:lnTo>
                        <a:pt x="150" y="332"/>
                      </a:lnTo>
                      <a:lnTo>
                        <a:pt x="150" y="330"/>
                      </a:lnTo>
                      <a:lnTo>
                        <a:pt x="152" y="330"/>
                      </a:lnTo>
                      <a:lnTo>
                        <a:pt x="152" y="328"/>
                      </a:lnTo>
                      <a:lnTo>
                        <a:pt x="150" y="327"/>
                      </a:lnTo>
                      <a:lnTo>
                        <a:pt x="147" y="327"/>
                      </a:lnTo>
                      <a:lnTo>
                        <a:pt x="145" y="327"/>
                      </a:lnTo>
                      <a:lnTo>
                        <a:pt x="144" y="325"/>
                      </a:lnTo>
                      <a:lnTo>
                        <a:pt x="142" y="325"/>
                      </a:lnTo>
                      <a:lnTo>
                        <a:pt x="142" y="323"/>
                      </a:lnTo>
                      <a:lnTo>
                        <a:pt x="142" y="320"/>
                      </a:lnTo>
                      <a:lnTo>
                        <a:pt x="140" y="317"/>
                      </a:lnTo>
                      <a:lnTo>
                        <a:pt x="140" y="315"/>
                      </a:lnTo>
                      <a:lnTo>
                        <a:pt x="140" y="314"/>
                      </a:lnTo>
                      <a:lnTo>
                        <a:pt x="140" y="312"/>
                      </a:lnTo>
                      <a:lnTo>
                        <a:pt x="140" y="310"/>
                      </a:lnTo>
                      <a:lnTo>
                        <a:pt x="144" y="310"/>
                      </a:lnTo>
                      <a:lnTo>
                        <a:pt x="144" y="309"/>
                      </a:lnTo>
                      <a:lnTo>
                        <a:pt x="140" y="309"/>
                      </a:lnTo>
                      <a:lnTo>
                        <a:pt x="139" y="307"/>
                      </a:lnTo>
                      <a:lnTo>
                        <a:pt x="137" y="302"/>
                      </a:lnTo>
                      <a:lnTo>
                        <a:pt x="137" y="300"/>
                      </a:lnTo>
                      <a:lnTo>
                        <a:pt x="139" y="299"/>
                      </a:lnTo>
                      <a:lnTo>
                        <a:pt x="140" y="299"/>
                      </a:lnTo>
                      <a:lnTo>
                        <a:pt x="142" y="299"/>
                      </a:lnTo>
                      <a:lnTo>
                        <a:pt x="142" y="297"/>
                      </a:lnTo>
                      <a:lnTo>
                        <a:pt x="140" y="297"/>
                      </a:lnTo>
                      <a:lnTo>
                        <a:pt x="139" y="297"/>
                      </a:lnTo>
                      <a:lnTo>
                        <a:pt x="139" y="295"/>
                      </a:lnTo>
                      <a:lnTo>
                        <a:pt x="137" y="292"/>
                      </a:lnTo>
                      <a:lnTo>
                        <a:pt x="139" y="291"/>
                      </a:lnTo>
                      <a:lnTo>
                        <a:pt x="140" y="289"/>
                      </a:lnTo>
                      <a:lnTo>
                        <a:pt x="142" y="289"/>
                      </a:lnTo>
                      <a:lnTo>
                        <a:pt x="144" y="287"/>
                      </a:lnTo>
                      <a:lnTo>
                        <a:pt x="145" y="287"/>
                      </a:lnTo>
                      <a:lnTo>
                        <a:pt x="145" y="286"/>
                      </a:lnTo>
                      <a:lnTo>
                        <a:pt x="145" y="284"/>
                      </a:lnTo>
                      <a:lnTo>
                        <a:pt x="144" y="282"/>
                      </a:lnTo>
                      <a:lnTo>
                        <a:pt x="145" y="279"/>
                      </a:lnTo>
                      <a:lnTo>
                        <a:pt x="147" y="279"/>
                      </a:lnTo>
                      <a:lnTo>
                        <a:pt x="149" y="279"/>
                      </a:lnTo>
                      <a:lnTo>
                        <a:pt x="149" y="277"/>
                      </a:lnTo>
                      <a:lnTo>
                        <a:pt x="147" y="277"/>
                      </a:lnTo>
                      <a:lnTo>
                        <a:pt x="147" y="276"/>
                      </a:lnTo>
                      <a:lnTo>
                        <a:pt x="145" y="274"/>
                      </a:lnTo>
                      <a:lnTo>
                        <a:pt x="145" y="272"/>
                      </a:lnTo>
                      <a:lnTo>
                        <a:pt x="147" y="272"/>
                      </a:lnTo>
                      <a:lnTo>
                        <a:pt x="147" y="271"/>
                      </a:lnTo>
                      <a:lnTo>
                        <a:pt x="147" y="269"/>
                      </a:lnTo>
                      <a:lnTo>
                        <a:pt x="145" y="268"/>
                      </a:lnTo>
                      <a:lnTo>
                        <a:pt x="144" y="266"/>
                      </a:lnTo>
                      <a:lnTo>
                        <a:pt x="144" y="264"/>
                      </a:lnTo>
                      <a:lnTo>
                        <a:pt x="142" y="263"/>
                      </a:lnTo>
                      <a:lnTo>
                        <a:pt x="140" y="263"/>
                      </a:lnTo>
                      <a:lnTo>
                        <a:pt x="140" y="261"/>
                      </a:lnTo>
                      <a:lnTo>
                        <a:pt x="139" y="261"/>
                      </a:lnTo>
                      <a:lnTo>
                        <a:pt x="137" y="261"/>
                      </a:lnTo>
                      <a:lnTo>
                        <a:pt x="137" y="259"/>
                      </a:lnTo>
                      <a:lnTo>
                        <a:pt x="139" y="259"/>
                      </a:lnTo>
                      <a:lnTo>
                        <a:pt x="139" y="258"/>
                      </a:lnTo>
                      <a:lnTo>
                        <a:pt x="139" y="256"/>
                      </a:lnTo>
                      <a:lnTo>
                        <a:pt x="139" y="253"/>
                      </a:lnTo>
                      <a:lnTo>
                        <a:pt x="139" y="251"/>
                      </a:lnTo>
                      <a:lnTo>
                        <a:pt x="139" y="249"/>
                      </a:lnTo>
                      <a:lnTo>
                        <a:pt x="139" y="248"/>
                      </a:lnTo>
                      <a:lnTo>
                        <a:pt x="137" y="246"/>
                      </a:lnTo>
                      <a:lnTo>
                        <a:pt x="135" y="246"/>
                      </a:lnTo>
                      <a:lnTo>
                        <a:pt x="134" y="246"/>
                      </a:lnTo>
                      <a:lnTo>
                        <a:pt x="134" y="245"/>
                      </a:lnTo>
                      <a:lnTo>
                        <a:pt x="132" y="245"/>
                      </a:lnTo>
                      <a:lnTo>
                        <a:pt x="134" y="243"/>
                      </a:lnTo>
                      <a:lnTo>
                        <a:pt x="134" y="241"/>
                      </a:lnTo>
                      <a:lnTo>
                        <a:pt x="134" y="240"/>
                      </a:lnTo>
                      <a:lnTo>
                        <a:pt x="134" y="238"/>
                      </a:lnTo>
                      <a:lnTo>
                        <a:pt x="132" y="236"/>
                      </a:lnTo>
                      <a:lnTo>
                        <a:pt x="134" y="235"/>
                      </a:lnTo>
                      <a:lnTo>
                        <a:pt x="132" y="233"/>
                      </a:lnTo>
                      <a:lnTo>
                        <a:pt x="132" y="231"/>
                      </a:lnTo>
                      <a:lnTo>
                        <a:pt x="132" y="230"/>
                      </a:lnTo>
                      <a:lnTo>
                        <a:pt x="134" y="230"/>
                      </a:lnTo>
                      <a:lnTo>
                        <a:pt x="135" y="228"/>
                      </a:lnTo>
                      <a:lnTo>
                        <a:pt x="135" y="227"/>
                      </a:lnTo>
                      <a:lnTo>
                        <a:pt x="135" y="225"/>
                      </a:lnTo>
                      <a:lnTo>
                        <a:pt x="135" y="223"/>
                      </a:lnTo>
                      <a:lnTo>
                        <a:pt x="135" y="222"/>
                      </a:lnTo>
                      <a:lnTo>
                        <a:pt x="137" y="220"/>
                      </a:lnTo>
                      <a:lnTo>
                        <a:pt x="137" y="218"/>
                      </a:lnTo>
                      <a:lnTo>
                        <a:pt x="139" y="217"/>
                      </a:lnTo>
                      <a:lnTo>
                        <a:pt x="140" y="217"/>
                      </a:lnTo>
                      <a:lnTo>
                        <a:pt x="140" y="215"/>
                      </a:lnTo>
                      <a:lnTo>
                        <a:pt x="142" y="215"/>
                      </a:lnTo>
                      <a:lnTo>
                        <a:pt x="142" y="213"/>
                      </a:lnTo>
                      <a:lnTo>
                        <a:pt x="142" y="210"/>
                      </a:lnTo>
                      <a:lnTo>
                        <a:pt x="144" y="208"/>
                      </a:lnTo>
                      <a:lnTo>
                        <a:pt x="144" y="207"/>
                      </a:lnTo>
                      <a:lnTo>
                        <a:pt x="144" y="204"/>
                      </a:lnTo>
                      <a:lnTo>
                        <a:pt x="142" y="202"/>
                      </a:lnTo>
                      <a:lnTo>
                        <a:pt x="144" y="200"/>
                      </a:lnTo>
                      <a:lnTo>
                        <a:pt x="144" y="199"/>
                      </a:lnTo>
                      <a:lnTo>
                        <a:pt x="144" y="197"/>
                      </a:lnTo>
                      <a:lnTo>
                        <a:pt x="144" y="195"/>
                      </a:lnTo>
                      <a:lnTo>
                        <a:pt x="142" y="195"/>
                      </a:lnTo>
                      <a:lnTo>
                        <a:pt x="140" y="194"/>
                      </a:lnTo>
                      <a:lnTo>
                        <a:pt x="140" y="192"/>
                      </a:lnTo>
                      <a:lnTo>
                        <a:pt x="140" y="190"/>
                      </a:lnTo>
                      <a:lnTo>
                        <a:pt x="142" y="187"/>
                      </a:lnTo>
                      <a:lnTo>
                        <a:pt x="142" y="185"/>
                      </a:lnTo>
                      <a:lnTo>
                        <a:pt x="140" y="184"/>
                      </a:lnTo>
                      <a:lnTo>
                        <a:pt x="140" y="182"/>
                      </a:lnTo>
                      <a:lnTo>
                        <a:pt x="140" y="181"/>
                      </a:lnTo>
                      <a:lnTo>
                        <a:pt x="142" y="179"/>
                      </a:lnTo>
                      <a:lnTo>
                        <a:pt x="142" y="177"/>
                      </a:lnTo>
                      <a:lnTo>
                        <a:pt x="144" y="176"/>
                      </a:lnTo>
                      <a:lnTo>
                        <a:pt x="145" y="174"/>
                      </a:lnTo>
                      <a:lnTo>
                        <a:pt x="145" y="172"/>
                      </a:lnTo>
                      <a:lnTo>
                        <a:pt x="144" y="172"/>
                      </a:lnTo>
                      <a:lnTo>
                        <a:pt x="142" y="171"/>
                      </a:lnTo>
                      <a:lnTo>
                        <a:pt x="142" y="169"/>
                      </a:lnTo>
                      <a:lnTo>
                        <a:pt x="140" y="167"/>
                      </a:lnTo>
                      <a:lnTo>
                        <a:pt x="139" y="164"/>
                      </a:lnTo>
                      <a:lnTo>
                        <a:pt x="139" y="162"/>
                      </a:lnTo>
                      <a:lnTo>
                        <a:pt x="139" y="161"/>
                      </a:lnTo>
                      <a:lnTo>
                        <a:pt x="137" y="161"/>
                      </a:lnTo>
                      <a:lnTo>
                        <a:pt x="137" y="159"/>
                      </a:lnTo>
                      <a:lnTo>
                        <a:pt x="134" y="158"/>
                      </a:lnTo>
                      <a:lnTo>
                        <a:pt x="132" y="158"/>
                      </a:lnTo>
                      <a:lnTo>
                        <a:pt x="130" y="158"/>
                      </a:lnTo>
                      <a:lnTo>
                        <a:pt x="130" y="156"/>
                      </a:lnTo>
                      <a:lnTo>
                        <a:pt x="130" y="158"/>
                      </a:lnTo>
                      <a:lnTo>
                        <a:pt x="130" y="159"/>
                      </a:lnTo>
                      <a:lnTo>
                        <a:pt x="129" y="159"/>
                      </a:lnTo>
                      <a:lnTo>
                        <a:pt x="127" y="161"/>
                      </a:lnTo>
                      <a:lnTo>
                        <a:pt x="125" y="161"/>
                      </a:lnTo>
                      <a:lnTo>
                        <a:pt x="127" y="162"/>
                      </a:lnTo>
                      <a:lnTo>
                        <a:pt x="125" y="162"/>
                      </a:lnTo>
                      <a:lnTo>
                        <a:pt x="125" y="164"/>
                      </a:lnTo>
                      <a:lnTo>
                        <a:pt x="123" y="164"/>
                      </a:lnTo>
                      <a:lnTo>
                        <a:pt x="123" y="166"/>
                      </a:lnTo>
                      <a:lnTo>
                        <a:pt x="125" y="166"/>
                      </a:lnTo>
                      <a:lnTo>
                        <a:pt x="125" y="167"/>
                      </a:lnTo>
                      <a:lnTo>
                        <a:pt x="123" y="167"/>
                      </a:lnTo>
                      <a:lnTo>
                        <a:pt x="122" y="167"/>
                      </a:lnTo>
                      <a:lnTo>
                        <a:pt x="122" y="169"/>
                      </a:lnTo>
                      <a:lnTo>
                        <a:pt x="120" y="169"/>
                      </a:lnTo>
                      <a:lnTo>
                        <a:pt x="118" y="169"/>
                      </a:lnTo>
                      <a:lnTo>
                        <a:pt x="118" y="171"/>
                      </a:lnTo>
                      <a:lnTo>
                        <a:pt x="120" y="172"/>
                      </a:lnTo>
                      <a:lnTo>
                        <a:pt x="118" y="172"/>
                      </a:lnTo>
                      <a:lnTo>
                        <a:pt x="115" y="172"/>
                      </a:lnTo>
                      <a:lnTo>
                        <a:pt x="115" y="171"/>
                      </a:lnTo>
                      <a:lnTo>
                        <a:pt x="113" y="172"/>
                      </a:lnTo>
                      <a:lnTo>
                        <a:pt x="112" y="172"/>
                      </a:lnTo>
                      <a:lnTo>
                        <a:pt x="112" y="171"/>
                      </a:lnTo>
                      <a:lnTo>
                        <a:pt x="112" y="169"/>
                      </a:lnTo>
                      <a:lnTo>
                        <a:pt x="110" y="171"/>
                      </a:lnTo>
                      <a:lnTo>
                        <a:pt x="110" y="169"/>
                      </a:lnTo>
                      <a:lnTo>
                        <a:pt x="112" y="169"/>
                      </a:lnTo>
                      <a:lnTo>
                        <a:pt x="110" y="167"/>
                      </a:lnTo>
                      <a:lnTo>
                        <a:pt x="108" y="167"/>
                      </a:lnTo>
                      <a:lnTo>
                        <a:pt x="107" y="167"/>
                      </a:lnTo>
                      <a:lnTo>
                        <a:pt x="107" y="169"/>
                      </a:lnTo>
                      <a:lnTo>
                        <a:pt x="105" y="169"/>
                      </a:lnTo>
                      <a:lnTo>
                        <a:pt x="105" y="167"/>
                      </a:lnTo>
                      <a:lnTo>
                        <a:pt x="105" y="166"/>
                      </a:lnTo>
                      <a:lnTo>
                        <a:pt x="107" y="166"/>
                      </a:lnTo>
                      <a:lnTo>
                        <a:pt x="108" y="166"/>
                      </a:lnTo>
                      <a:lnTo>
                        <a:pt x="107" y="166"/>
                      </a:lnTo>
                      <a:lnTo>
                        <a:pt x="107" y="164"/>
                      </a:lnTo>
                      <a:lnTo>
                        <a:pt x="105" y="164"/>
                      </a:lnTo>
                      <a:lnTo>
                        <a:pt x="103" y="164"/>
                      </a:lnTo>
                      <a:lnTo>
                        <a:pt x="102" y="166"/>
                      </a:lnTo>
                      <a:lnTo>
                        <a:pt x="102" y="167"/>
                      </a:lnTo>
                      <a:lnTo>
                        <a:pt x="102" y="166"/>
                      </a:lnTo>
                      <a:lnTo>
                        <a:pt x="100" y="166"/>
                      </a:lnTo>
                      <a:lnTo>
                        <a:pt x="98" y="164"/>
                      </a:lnTo>
                      <a:lnTo>
                        <a:pt x="100" y="162"/>
                      </a:lnTo>
                      <a:lnTo>
                        <a:pt x="98" y="162"/>
                      </a:lnTo>
                      <a:lnTo>
                        <a:pt x="98" y="164"/>
                      </a:lnTo>
                      <a:lnTo>
                        <a:pt x="98" y="166"/>
                      </a:lnTo>
                      <a:lnTo>
                        <a:pt x="98" y="167"/>
                      </a:lnTo>
                      <a:lnTo>
                        <a:pt x="96" y="167"/>
                      </a:lnTo>
                      <a:lnTo>
                        <a:pt x="95" y="167"/>
                      </a:lnTo>
                      <a:lnTo>
                        <a:pt x="95" y="166"/>
                      </a:lnTo>
                      <a:lnTo>
                        <a:pt x="96" y="166"/>
                      </a:lnTo>
                      <a:lnTo>
                        <a:pt x="96" y="164"/>
                      </a:lnTo>
                      <a:lnTo>
                        <a:pt x="95" y="166"/>
                      </a:lnTo>
                      <a:lnTo>
                        <a:pt x="95" y="164"/>
                      </a:lnTo>
                      <a:lnTo>
                        <a:pt x="95" y="166"/>
                      </a:lnTo>
                      <a:lnTo>
                        <a:pt x="93" y="166"/>
                      </a:lnTo>
                      <a:lnTo>
                        <a:pt x="91" y="167"/>
                      </a:lnTo>
                      <a:lnTo>
                        <a:pt x="90" y="167"/>
                      </a:lnTo>
                      <a:lnTo>
                        <a:pt x="90" y="166"/>
                      </a:lnTo>
                      <a:lnTo>
                        <a:pt x="90" y="164"/>
                      </a:lnTo>
                      <a:lnTo>
                        <a:pt x="88" y="164"/>
                      </a:lnTo>
                      <a:lnTo>
                        <a:pt x="86" y="164"/>
                      </a:lnTo>
                      <a:lnTo>
                        <a:pt x="86" y="166"/>
                      </a:lnTo>
                      <a:lnTo>
                        <a:pt x="85" y="166"/>
                      </a:lnTo>
                      <a:lnTo>
                        <a:pt x="85" y="164"/>
                      </a:lnTo>
                      <a:lnTo>
                        <a:pt x="85" y="166"/>
                      </a:lnTo>
                      <a:lnTo>
                        <a:pt x="83" y="166"/>
                      </a:lnTo>
                      <a:lnTo>
                        <a:pt x="81" y="166"/>
                      </a:lnTo>
                      <a:lnTo>
                        <a:pt x="80" y="166"/>
                      </a:lnTo>
                      <a:lnTo>
                        <a:pt x="80" y="167"/>
                      </a:lnTo>
                      <a:lnTo>
                        <a:pt x="80" y="169"/>
                      </a:lnTo>
                      <a:lnTo>
                        <a:pt x="81" y="169"/>
                      </a:lnTo>
                      <a:lnTo>
                        <a:pt x="80" y="169"/>
                      </a:lnTo>
                      <a:lnTo>
                        <a:pt x="78" y="169"/>
                      </a:lnTo>
                      <a:lnTo>
                        <a:pt x="80" y="169"/>
                      </a:lnTo>
                      <a:lnTo>
                        <a:pt x="78" y="169"/>
                      </a:lnTo>
                      <a:lnTo>
                        <a:pt x="78" y="167"/>
                      </a:lnTo>
                      <a:lnTo>
                        <a:pt x="76" y="167"/>
                      </a:lnTo>
                      <a:lnTo>
                        <a:pt x="76" y="169"/>
                      </a:lnTo>
                      <a:lnTo>
                        <a:pt x="74" y="169"/>
                      </a:lnTo>
                      <a:lnTo>
                        <a:pt x="74" y="167"/>
                      </a:lnTo>
                      <a:lnTo>
                        <a:pt x="73" y="167"/>
                      </a:lnTo>
                      <a:lnTo>
                        <a:pt x="71" y="167"/>
                      </a:lnTo>
                      <a:lnTo>
                        <a:pt x="69" y="167"/>
                      </a:lnTo>
                      <a:lnTo>
                        <a:pt x="69" y="169"/>
                      </a:lnTo>
                      <a:lnTo>
                        <a:pt x="68" y="169"/>
                      </a:lnTo>
                      <a:lnTo>
                        <a:pt x="68" y="171"/>
                      </a:lnTo>
                      <a:lnTo>
                        <a:pt x="68" y="169"/>
                      </a:lnTo>
                      <a:lnTo>
                        <a:pt x="68" y="167"/>
                      </a:lnTo>
                      <a:lnTo>
                        <a:pt x="66" y="167"/>
                      </a:lnTo>
                      <a:lnTo>
                        <a:pt x="64" y="167"/>
                      </a:lnTo>
                      <a:lnTo>
                        <a:pt x="63" y="167"/>
                      </a:lnTo>
                      <a:lnTo>
                        <a:pt x="61" y="167"/>
                      </a:lnTo>
                      <a:lnTo>
                        <a:pt x="61" y="169"/>
                      </a:lnTo>
                      <a:lnTo>
                        <a:pt x="59" y="169"/>
                      </a:lnTo>
                      <a:lnTo>
                        <a:pt x="58" y="171"/>
                      </a:lnTo>
                      <a:lnTo>
                        <a:pt x="59" y="171"/>
                      </a:lnTo>
                      <a:lnTo>
                        <a:pt x="58" y="171"/>
                      </a:lnTo>
                      <a:lnTo>
                        <a:pt x="59" y="171"/>
                      </a:lnTo>
                      <a:lnTo>
                        <a:pt x="58" y="172"/>
                      </a:lnTo>
                      <a:lnTo>
                        <a:pt x="56" y="172"/>
                      </a:lnTo>
                      <a:lnTo>
                        <a:pt x="56" y="171"/>
                      </a:lnTo>
                      <a:lnTo>
                        <a:pt x="54" y="171"/>
                      </a:lnTo>
                      <a:lnTo>
                        <a:pt x="53" y="171"/>
                      </a:lnTo>
                      <a:lnTo>
                        <a:pt x="53" y="172"/>
                      </a:lnTo>
                      <a:lnTo>
                        <a:pt x="53" y="171"/>
                      </a:lnTo>
                      <a:lnTo>
                        <a:pt x="51" y="172"/>
                      </a:lnTo>
                      <a:lnTo>
                        <a:pt x="51" y="171"/>
                      </a:lnTo>
                      <a:lnTo>
                        <a:pt x="51" y="172"/>
                      </a:lnTo>
                      <a:lnTo>
                        <a:pt x="49" y="172"/>
                      </a:lnTo>
                      <a:lnTo>
                        <a:pt x="47" y="172"/>
                      </a:lnTo>
                      <a:lnTo>
                        <a:pt x="46" y="172"/>
                      </a:lnTo>
                      <a:lnTo>
                        <a:pt x="44" y="172"/>
                      </a:lnTo>
                      <a:lnTo>
                        <a:pt x="44" y="174"/>
                      </a:lnTo>
                      <a:lnTo>
                        <a:pt x="42" y="174"/>
                      </a:lnTo>
                      <a:lnTo>
                        <a:pt x="41" y="176"/>
                      </a:lnTo>
                      <a:lnTo>
                        <a:pt x="39" y="174"/>
                      </a:lnTo>
                      <a:lnTo>
                        <a:pt x="39" y="176"/>
                      </a:lnTo>
                      <a:lnTo>
                        <a:pt x="37" y="176"/>
                      </a:lnTo>
                      <a:lnTo>
                        <a:pt x="37" y="177"/>
                      </a:lnTo>
                      <a:lnTo>
                        <a:pt x="36" y="177"/>
                      </a:lnTo>
                      <a:lnTo>
                        <a:pt x="37" y="176"/>
                      </a:lnTo>
                      <a:lnTo>
                        <a:pt x="36" y="174"/>
                      </a:lnTo>
                      <a:lnTo>
                        <a:pt x="36" y="176"/>
                      </a:lnTo>
                      <a:lnTo>
                        <a:pt x="34" y="176"/>
                      </a:lnTo>
                      <a:lnTo>
                        <a:pt x="32" y="176"/>
                      </a:lnTo>
                      <a:lnTo>
                        <a:pt x="31" y="176"/>
                      </a:lnTo>
                      <a:lnTo>
                        <a:pt x="29" y="176"/>
                      </a:lnTo>
                      <a:lnTo>
                        <a:pt x="27" y="177"/>
                      </a:lnTo>
                      <a:lnTo>
                        <a:pt x="26" y="176"/>
                      </a:lnTo>
                      <a:lnTo>
                        <a:pt x="26" y="177"/>
                      </a:lnTo>
                      <a:lnTo>
                        <a:pt x="24" y="176"/>
                      </a:lnTo>
                      <a:lnTo>
                        <a:pt x="24" y="177"/>
                      </a:lnTo>
                      <a:lnTo>
                        <a:pt x="22" y="177"/>
                      </a:lnTo>
                      <a:lnTo>
                        <a:pt x="22" y="179"/>
                      </a:lnTo>
                      <a:lnTo>
                        <a:pt x="22" y="177"/>
                      </a:lnTo>
                      <a:lnTo>
                        <a:pt x="20" y="177"/>
                      </a:lnTo>
                      <a:lnTo>
                        <a:pt x="19" y="177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4" name="Freeform 16"/>
                <p:cNvSpPr>
                  <a:spLocks noChangeAspect="1"/>
                </p:cNvSpPr>
                <p:nvPr/>
              </p:nvSpPr>
              <p:spPr bwMode="auto">
                <a:xfrm>
                  <a:off x="1297800" y="926905"/>
                  <a:ext cx="2622991" cy="1863275"/>
                </a:xfrm>
                <a:custGeom>
                  <a:avLst/>
                  <a:gdLst>
                    <a:gd name="T0" fmla="*/ 2147483647 w 1679"/>
                    <a:gd name="T1" fmla="*/ 2147483647 h 1114"/>
                    <a:gd name="T2" fmla="*/ 2147483647 w 1679"/>
                    <a:gd name="T3" fmla="*/ 2147483647 h 1114"/>
                    <a:gd name="T4" fmla="*/ 2147483647 w 1679"/>
                    <a:gd name="T5" fmla="*/ 2147483647 h 1114"/>
                    <a:gd name="T6" fmla="*/ 2147483647 w 1679"/>
                    <a:gd name="T7" fmla="*/ 2147483647 h 1114"/>
                    <a:gd name="T8" fmla="*/ 2147483647 w 1679"/>
                    <a:gd name="T9" fmla="*/ 2147483647 h 1114"/>
                    <a:gd name="T10" fmla="*/ 2147483647 w 1679"/>
                    <a:gd name="T11" fmla="*/ 2147483647 h 1114"/>
                    <a:gd name="T12" fmla="*/ 2147483647 w 1679"/>
                    <a:gd name="T13" fmla="*/ 2147483647 h 1114"/>
                    <a:gd name="T14" fmla="*/ 2147483647 w 1679"/>
                    <a:gd name="T15" fmla="*/ 2147483647 h 1114"/>
                    <a:gd name="T16" fmla="*/ 2147483647 w 1679"/>
                    <a:gd name="T17" fmla="*/ 2147483647 h 1114"/>
                    <a:gd name="T18" fmla="*/ 2147483647 w 1679"/>
                    <a:gd name="T19" fmla="*/ 2147483647 h 1114"/>
                    <a:gd name="T20" fmla="*/ 2147483647 w 1679"/>
                    <a:gd name="T21" fmla="*/ 2147483647 h 1114"/>
                    <a:gd name="T22" fmla="*/ 2147483647 w 1679"/>
                    <a:gd name="T23" fmla="*/ 2147483647 h 1114"/>
                    <a:gd name="T24" fmla="*/ 2147483647 w 1679"/>
                    <a:gd name="T25" fmla="*/ 2147483647 h 1114"/>
                    <a:gd name="T26" fmla="*/ 2147483647 w 1679"/>
                    <a:gd name="T27" fmla="*/ 2147483647 h 1114"/>
                    <a:gd name="T28" fmla="*/ 2147483647 w 1679"/>
                    <a:gd name="T29" fmla="*/ 2147483647 h 1114"/>
                    <a:gd name="T30" fmla="*/ 2147483647 w 1679"/>
                    <a:gd name="T31" fmla="*/ 2147483647 h 1114"/>
                    <a:gd name="T32" fmla="*/ 2147483647 w 1679"/>
                    <a:gd name="T33" fmla="*/ 2147483647 h 1114"/>
                    <a:gd name="T34" fmla="*/ 2147483647 w 1679"/>
                    <a:gd name="T35" fmla="*/ 2147483647 h 1114"/>
                    <a:gd name="T36" fmla="*/ 2147483647 w 1679"/>
                    <a:gd name="T37" fmla="*/ 2147483647 h 1114"/>
                    <a:gd name="T38" fmla="*/ 2147483647 w 1679"/>
                    <a:gd name="T39" fmla="*/ 2147483647 h 1114"/>
                    <a:gd name="T40" fmla="*/ 2147483647 w 1679"/>
                    <a:gd name="T41" fmla="*/ 2147483647 h 1114"/>
                    <a:gd name="T42" fmla="*/ 2147483647 w 1679"/>
                    <a:gd name="T43" fmla="*/ 2147483647 h 1114"/>
                    <a:gd name="T44" fmla="*/ 2147483647 w 1679"/>
                    <a:gd name="T45" fmla="*/ 2147483647 h 1114"/>
                    <a:gd name="T46" fmla="*/ 2147483647 w 1679"/>
                    <a:gd name="T47" fmla="*/ 2147483647 h 1114"/>
                    <a:gd name="T48" fmla="*/ 2147483647 w 1679"/>
                    <a:gd name="T49" fmla="*/ 2147483647 h 1114"/>
                    <a:gd name="T50" fmla="*/ 2147483647 w 1679"/>
                    <a:gd name="T51" fmla="*/ 2147483647 h 1114"/>
                    <a:gd name="T52" fmla="*/ 2147483647 w 1679"/>
                    <a:gd name="T53" fmla="*/ 2147483647 h 1114"/>
                    <a:gd name="T54" fmla="*/ 2147483647 w 1679"/>
                    <a:gd name="T55" fmla="*/ 2147483647 h 1114"/>
                    <a:gd name="T56" fmla="*/ 2147483647 w 1679"/>
                    <a:gd name="T57" fmla="*/ 2147483647 h 1114"/>
                    <a:gd name="T58" fmla="*/ 2147483647 w 1679"/>
                    <a:gd name="T59" fmla="*/ 2147483647 h 1114"/>
                    <a:gd name="T60" fmla="*/ 2147483647 w 1679"/>
                    <a:gd name="T61" fmla="*/ 2147483647 h 1114"/>
                    <a:gd name="T62" fmla="*/ 2147483647 w 1679"/>
                    <a:gd name="T63" fmla="*/ 2147483647 h 1114"/>
                    <a:gd name="T64" fmla="*/ 2147483647 w 1679"/>
                    <a:gd name="T65" fmla="*/ 2147483647 h 1114"/>
                    <a:gd name="T66" fmla="*/ 2147483647 w 1679"/>
                    <a:gd name="T67" fmla="*/ 2147483647 h 1114"/>
                    <a:gd name="T68" fmla="*/ 2147483647 w 1679"/>
                    <a:gd name="T69" fmla="*/ 2147483647 h 1114"/>
                    <a:gd name="T70" fmla="*/ 2147483647 w 1679"/>
                    <a:gd name="T71" fmla="*/ 2147483647 h 1114"/>
                    <a:gd name="T72" fmla="*/ 2147483647 w 1679"/>
                    <a:gd name="T73" fmla="*/ 2147483647 h 1114"/>
                    <a:gd name="T74" fmla="*/ 2147483647 w 1679"/>
                    <a:gd name="T75" fmla="*/ 2147483647 h 1114"/>
                    <a:gd name="T76" fmla="*/ 2147483647 w 1679"/>
                    <a:gd name="T77" fmla="*/ 2147483647 h 1114"/>
                    <a:gd name="T78" fmla="*/ 2147483647 w 1679"/>
                    <a:gd name="T79" fmla="*/ 2147483647 h 1114"/>
                    <a:gd name="T80" fmla="*/ 2147483647 w 1679"/>
                    <a:gd name="T81" fmla="*/ 2147483647 h 1114"/>
                    <a:gd name="T82" fmla="*/ 2147483647 w 1679"/>
                    <a:gd name="T83" fmla="*/ 2147483647 h 1114"/>
                    <a:gd name="T84" fmla="*/ 2147483647 w 1679"/>
                    <a:gd name="T85" fmla="*/ 2147483647 h 1114"/>
                    <a:gd name="T86" fmla="*/ 2147483647 w 1679"/>
                    <a:gd name="T87" fmla="*/ 2147483647 h 1114"/>
                    <a:gd name="T88" fmla="*/ 2147483647 w 1679"/>
                    <a:gd name="T89" fmla="*/ 2147483647 h 1114"/>
                    <a:gd name="T90" fmla="*/ 2147483647 w 1679"/>
                    <a:gd name="T91" fmla="*/ 2147483647 h 1114"/>
                    <a:gd name="T92" fmla="*/ 2147483647 w 1679"/>
                    <a:gd name="T93" fmla="*/ 2147483647 h 1114"/>
                    <a:gd name="T94" fmla="*/ 2147483647 w 1679"/>
                    <a:gd name="T95" fmla="*/ 2147483647 h 1114"/>
                    <a:gd name="T96" fmla="*/ 2147483647 w 1679"/>
                    <a:gd name="T97" fmla="*/ 2147483647 h 1114"/>
                    <a:gd name="T98" fmla="*/ 2147483647 w 1679"/>
                    <a:gd name="T99" fmla="*/ 2147483647 h 1114"/>
                    <a:gd name="T100" fmla="*/ 2147483647 w 1679"/>
                    <a:gd name="T101" fmla="*/ 2147483647 h 1114"/>
                    <a:gd name="T102" fmla="*/ 2147483647 w 1679"/>
                    <a:gd name="T103" fmla="*/ 2147483647 h 1114"/>
                    <a:gd name="T104" fmla="*/ 2147483647 w 1679"/>
                    <a:gd name="T105" fmla="*/ 2147483647 h 1114"/>
                    <a:gd name="T106" fmla="*/ 2147483647 w 1679"/>
                    <a:gd name="T107" fmla="*/ 2147483647 h 1114"/>
                    <a:gd name="T108" fmla="*/ 2147483647 w 1679"/>
                    <a:gd name="T109" fmla="*/ 2147483647 h 1114"/>
                    <a:gd name="T110" fmla="*/ 2147483647 w 1679"/>
                    <a:gd name="T111" fmla="*/ 2147483647 h 1114"/>
                    <a:gd name="T112" fmla="*/ 2147483647 w 1679"/>
                    <a:gd name="T113" fmla="*/ 2147483647 h 1114"/>
                    <a:gd name="T114" fmla="*/ 2147483647 w 1679"/>
                    <a:gd name="T115" fmla="*/ 2147483647 h 1114"/>
                    <a:gd name="T116" fmla="*/ 2147483647 w 1679"/>
                    <a:gd name="T117" fmla="*/ 2147483647 h 1114"/>
                    <a:gd name="T118" fmla="*/ 2147483647 w 1679"/>
                    <a:gd name="T119" fmla="*/ 2147483647 h 1114"/>
                    <a:gd name="T120" fmla="*/ 2147483647 w 1679"/>
                    <a:gd name="T121" fmla="*/ 2147483647 h 1114"/>
                    <a:gd name="T122" fmla="*/ 2147483647 w 1679"/>
                    <a:gd name="T123" fmla="*/ 2147483647 h 1114"/>
                    <a:gd name="T124" fmla="*/ 2147483647 w 1679"/>
                    <a:gd name="T125" fmla="*/ 2147483647 h 111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679"/>
                    <a:gd name="T190" fmla="*/ 0 h 1114"/>
                    <a:gd name="T191" fmla="*/ 1679 w 1679"/>
                    <a:gd name="T192" fmla="*/ 1114 h 111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679" h="1114">
                      <a:moveTo>
                        <a:pt x="90" y="902"/>
                      </a:moveTo>
                      <a:lnTo>
                        <a:pt x="7" y="867"/>
                      </a:lnTo>
                      <a:lnTo>
                        <a:pt x="0" y="864"/>
                      </a:lnTo>
                      <a:lnTo>
                        <a:pt x="2" y="862"/>
                      </a:lnTo>
                      <a:lnTo>
                        <a:pt x="4" y="862"/>
                      </a:lnTo>
                      <a:lnTo>
                        <a:pt x="4" y="861"/>
                      </a:lnTo>
                      <a:lnTo>
                        <a:pt x="7" y="857"/>
                      </a:lnTo>
                      <a:lnTo>
                        <a:pt x="9" y="856"/>
                      </a:lnTo>
                      <a:lnTo>
                        <a:pt x="9" y="854"/>
                      </a:lnTo>
                      <a:lnTo>
                        <a:pt x="7" y="853"/>
                      </a:lnTo>
                      <a:lnTo>
                        <a:pt x="7" y="851"/>
                      </a:lnTo>
                      <a:lnTo>
                        <a:pt x="5" y="848"/>
                      </a:lnTo>
                      <a:lnTo>
                        <a:pt x="7" y="846"/>
                      </a:lnTo>
                      <a:lnTo>
                        <a:pt x="7" y="844"/>
                      </a:lnTo>
                      <a:lnTo>
                        <a:pt x="9" y="843"/>
                      </a:lnTo>
                      <a:lnTo>
                        <a:pt x="9" y="841"/>
                      </a:lnTo>
                      <a:lnTo>
                        <a:pt x="11" y="841"/>
                      </a:lnTo>
                      <a:lnTo>
                        <a:pt x="11" y="839"/>
                      </a:lnTo>
                      <a:lnTo>
                        <a:pt x="12" y="838"/>
                      </a:lnTo>
                      <a:lnTo>
                        <a:pt x="12" y="836"/>
                      </a:lnTo>
                      <a:lnTo>
                        <a:pt x="14" y="836"/>
                      </a:lnTo>
                      <a:lnTo>
                        <a:pt x="14" y="834"/>
                      </a:lnTo>
                      <a:lnTo>
                        <a:pt x="16" y="833"/>
                      </a:lnTo>
                      <a:lnTo>
                        <a:pt x="16" y="831"/>
                      </a:lnTo>
                      <a:lnTo>
                        <a:pt x="17" y="831"/>
                      </a:lnTo>
                      <a:lnTo>
                        <a:pt x="19" y="830"/>
                      </a:lnTo>
                      <a:lnTo>
                        <a:pt x="21" y="830"/>
                      </a:lnTo>
                      <a:lnTo>
                        <a:pt x="21" y="828"/>
                      </a:lnTo>
                      <a:lnTo>
                        <a:pt x="22" y="828"/>
                      </a:lnTo>
                      <a:lnTo>
                        <a:pt x="24" y="828"/>
                      </a:lnTo>
                      <a:lnTo>
                        <a:pt x="26" y="826"/>
                      </a:lnTo>
                      <a:lnTo>
                        <a:pt x="26" y="825"/>
                      </a:lnTo>
                      <a:lnTo>
                        <a:pt x="27" y="825"/>
                      </a:lnTo>
                      <a:lnTo>
                        <a:pt x="29" y="823"/>
                      </a:lnTo>
                      <a:lnTo>
                        <a:pt x="31" y="823"/>
                      </a:lnTo>
                      <a:lnTo>
                        <a:pt x="33" y="823"/>
                      </a:lnTo>
                      <a:lnTo>
                        <a:pt x="34" y="823"/>
                      </a:lnTo>
                      <a:lnTo>
                        <a:pt x="36" y="821"/>
                      </a:lnTo>
                      <a:lnTo>
                        <a:pt x="38" y="821"/>
                      </a:lnTo>
                      <a:lnTo>
                        <a:pt x="38" y="820"/>
                      </a:lnTo>
                      <a:lnTo>
                        <a:pt x="39" y="820"/>
                      </a:lnTo>
                      <a:lnTo>
                        <a:pt x="41" y="820"/>
                      </a:lnTo>
                      <a:lnTo>
                        <a:pt x="41" y="818"/>
                      </a:lnTo>
                      <a:lnTo>
                        <a:pt x="43" y="818"/>
                      </a:lnTo>
                      <a:lnTo>
                        <a:pt x="43" y="816"/>
                      </a:lnTo>
                      <a:lnTo>
                        <a:pt x="44" y="816"/>
                      </a:lnTo>
                      <a:lnTo>
                        <a:pt x="46" y="816"/>
                      </a:lnTo>
                      <a:lnTo>
                        <a:pt x="48" y="816"/>
                      </a:lnTo>
                      <a:lnTo>
                        <a:pt x="49" y="816"/>
                      </a:lnTo>
                      <a:lnTo>
                        <a:pt x="49" y="815"/>
                      </a:lnTo>
                      <a:lnTo>
                        <a:pt x="51" y="815"/>
                      </a:lnTo>
                      <a:lnTo>
                        <a:pt x="53" y="815"/>
                      </a:lnTo>
                      <a:lnTo>
                        <a:pt x="54" y="815"/>
                      </a:lnTo>
                      <a:lnTo>
                        <a:pt x="56" y="813"/>
                      </a:lnTo>
                      <a:lnTo>
                        <a:pt x="56" y="815"/>
                      </a:lnTo>
                      <a:lnTo>
                        <a:pt x="58" y="815"/>
                      </a:lnTo>
                      <a:lnTo>
                        <a:pt x="58" y="813"/>
                      </a:lnTo>
                      <a:lnTo>
                        <a:pt x="58" y="811"/>
                      </a:lnTo>
                      <a:lnTo>
                        <a:pt x="60" y="811"/>
                      </a:lnTo>
                      <a:lnTo>
                        <a:pt x="60" y="810"/>
                      </a:lnTo>
                      <a:lnTo>
                        <a:pt x="61" y="808"/>
                      </a:lnTo>
                      <a:lnTo>
                        <a:pt x="61" y="810"/>
                      </a:lnTo>
                      <a:lnTo>
                        <a:pt x="63" y="810"/>
                      </a:lnTo>
                      <a:lnTo>
                        <a:pt x="63" y="808"/>
                      </a:lnTo>
                      <a:lnTo>
                        <a:pt x="65" y="808"/>
                      </a:lnTo>
                      <a:lnTo>
                        <a:pt x="65" y="807"/>
                      </a:lnTo>
                      <a:lnTo>
                        <a:pt x="65" y="805"/>
                      </a:lnTo>
                      <a:lnTo>
                        <a:pt x="66" y="803"/>
                      </a:lnTo>
                      <a:lnTo>
                        <a:pt x="66" y="802"/>
                      </a:lnTo>
                      <a:lnTo>
                        <a:pt x="66" y="800"/>
                      </a:lnTo>
                      <a:lnTo>
                        <a:pt x="66" y="798"/>
                      </a:lnTo>
                      <a:lnTo>
                        <a:pt x="65" y="797"/>
                      </a:lnTo>
                      <a:lnTo>
                        <a:pt x="65" y="795"/>
                      </a:lnTo>
                      <a:lnTo>
                        <a:pt x="63" y="793"/>
                      </a:lnTo>
                      <a:lnTo>
                        <a:pt x="63" y="792"/>
                      </a:lnTo>
                      <a:lnTo>
                        <a:pt x="63" y="790"/>
                      </a:lnTo>
                      <a:lnTo>
                        <a:pt x="63" y="792"/>
                      </a:lnTo>
                      <a:lnTo>
                        <a:pt x="61" y="790"/>
                      </a:lnTo>
                      <a:lnTo>
                        <a:pt x="61" y="788"/>
                      </a:lnTo>
                      <a:lnTo>
                        <a:pt x="61" y="787"/>
                      </a:lnTo>
                      <a:lnTo>
                        <a:pt x="61" y="785"/>
                      </a:lnTo>
                      <a:lnTo>
                        <a:pt x="60" y="785"/>
                      </a:lnTo>
                      <a:lnTo>
                        <a:pt x="58" y="784"/>
                      </a:lnTo>
                      <a:lnTo>
                        <a:pt x="58" y="782"/>
                      </a:lnTo>
                      <a:lnTo>
                        <a:pt x="56" y="782"/>
                      </a:lnTo>
                      <a:lnTo>
                        <a:pt x="56" y="780"/>
                      </a:lnTo>
                      <a:lnTo>
                        <a:pt x="56" y="779"/>
                      </a:lnTo>
                      <a:lnTo>
                        <a:pt x="56" y="777"/>
                      </a:lnTo>
                      <a:lnTo>
                        <a:pt x="54" y="777"/>
                      </a:lnTo>
                      <a:lnTo>
                        <a:pt x="54" y="775"/>
                      </a:lnTo>
                      <a:lnTo>
                        <a:pt x="53" y="775"/>
                      </a:lnTo>
                      <a:lnTo>
                        <a:pt x="54" y="774"/>
                      </a:lnTo>
                      <a:lnTo>
                        <a:pt x="53" y="774"/>
                      </a:lnTo>
                      <a:lnTo>
                        <a:pt x="53" y="772"/>
                      </a:lnTo>
                      <a:lnTo>
                        <a:pt x="53" y="770"/>
                      </a:lnTo>
                      <a:lnTo>
                        <a:pt x="54" y="770"/>
                      </a:lnTo>
                      <a:lnTo>
                        <a:pt x="54" y="769"/>
                      </a:lnTo>
                      <a:lnTo>
                        <a:pt x="54" y="765"/>
                      </a:lnTo>
                      <a:lnTo>
                        <a:pt x="54" y="764"/>
                      </a:lnTo>
                      <a:lnTo>
                        <a:pt x="56" y="764"/>
                      </a:lnTo>
                      <a:lnTo>
                        <a:pt x="56" y="762"/>
                      </a:lnTo>
                      <a:lnTo>
                        <a:pt x="58" y="762"/>
                      </a:lnTo>
                      <a:lnTo>
                        <a:pt x="60" y="761"/>
                      </a:lnTo>
                      <a:lnTo>
                        <a:pt x="60" y="759"/>
                      </a:lnTo>
                      <a:lnTo>
                        <a:pt x="60" y="757"/>
                      </a:lnTo>
                      <a:lnTo>
                        <a:pt x="60" y="756"/>
                      </a:lnTo>
                      <a:lnTo>
                        <a:pt x="60" y="754"/>
                      </a:lnTo>
                      <a:lnTo>
                        <a:pt x="61" y="754"/>
                      </a:lnTo>
                      <a:lnTo>
                        <a:pt x="61" y="752"/>
                      </a:lnTo>
                      <a:lnTo>
                        <a:pt x="61" y="751"/>
                      </a:lnTo>
                      <a:lnTo>
                        <a:pt x="63" y="751"/>
                      </a:lnTo>
                      <a:lnTo>
                        <a:pt x="61" y="749"/>
                      </a:lnTo>
                      <a:lnTo>
                        <a:pt x="63" y="749"/>
                      </a:lnTo>
                      <a:lnTo>
                        <a:pt x="65" y="747"/>
                      </a:lnTo>
                      <a:lnTo>
                        <a:pt x="66" y="747"/>
                      </a:lnTo>
                      <a:lnTo>
                        <a:pt x="66" y="746"/>
                      </a:lnTo>
                      <a:lnTo>
                        <a:pt x="68" y="744"/>
                      </a:lnTo>
                      <a:lnTo>
                        <a:pt x="70" y="744"/>
                      </a:lnTo>
                      <a:lnTo>
                        <a:pt x="71" y="743"/>
                      </a:lnTo>
                      <a:lnTo>
                        <a:pt x="71" y="741"/>
                      </a:lnTo>
                      <a:lnTo>
                        <a:pt x="73" y="739"/>
                      </a:lnTo>
                      <a:lnTo>
                        <a:pt x="73" y="738"/>
                      </a:lnTo>
                      <a:lnTo>
                        <a:pt x="75" y="738"/>
                      </a:lnTo>
                      <a:lnTo>
                        <a:pt x="75" y="736"/>
                      </a:lnTo>
                      <a:lnTo>
                        <a:pt x="76" y="736"/>
                      </a:lnTo>
                      <a:lnTo>
                        <a:pt x="78" y="734"/>
                      </a:lnTo>
                      <a:lnTo>
                        <a:pt x="76" y="734"/>
                      </a:lnTo>
                      <a:lnTo>
                        <a:pt x="78" y="734"/>
                      </a:lnTo>
                      <a:lnTo>
                        <a:pt x="78" y="733"/>
                      </a:lnTo>
                      <a:lnTo>
                        <a:pt x="78" y="731"/>
                      </a:lnTo>
                      <a:lnTo>
                        <a:pt x="78" y="729"/>
                      </a:lnTo>
                      <a:lnTo>
                        <a:pt x="80" y="729"/>
                      </a:lnTo>
                      <a:lnTo>
                        <a:pt x="81" y="729"/>
                      </a:lnTo>
                      <a:lnTo>
                        <a:pt x="80" y="728"/>
                      </a:lnTo>
                      <a:lnTo>
                        <a:pt x="80" y="726"/>
                      </a:lnTo>
                      <a:lnTo>
                        <a:pt x="80" y="724"/>
                      </a:lnTo>
                      <a:lnTo>
                        <a:pt x="81" y="723"/>
                      </a:lnTo>
                      <a:lnTo>
                        <a:pt x="81" y="721"/>
                      </a:lnTo>
                      <a:lnTo>
                        <a:pt x="81" y="720"/>
                      </a:lnTo>
                      <a:lnTo>
                        <a:pt x="81" y="718"/>
                      </a:lnTo>
                      <a:lnTo>
                        <a:pt x="81" y="716"/>
                      </a:lnTo>
                      <a:lnTo>
                        <a:pt x="81" y="715"/>
                      </a:lnTo>
                      <a:lnTo>
                        <a:pt x="81" y="713"/>
                      </a:lnTo>
                      <a:lnTo>
                        <a:pt x="81" y="711"/>
                      </a:lnTo>
                      <a:lnTo>
                        <a:pt x="81" y="710"/>
                      </a:lnTo>
                      <a:lnTo>
                        <a:pt x="83" y="710"/>
                      </a:lnTo>
                      <a:lnTo>
                        <a:pt x="83" y="708"/>
                      </a:lnTo>
                      <a:lnTo>
                        <a:pt x="83" y="706"/>
                      </a:lnTo>
                      <a:lnTo>
                        <a:pt x="85" y="706"/>
                      </a:lnTo>
                      <a:lnTo>
                        <a:pt x="85" y="705"/>
                      </a:lnTo>
                      <a:lnTo>
                        <a:pt x="85" y="703"/>
                      </a:lnTo>
                      <a:lnTo>
                        <a:pt x="87" y="703"/>
                      </a:lnTo>
                      <a:lnTo>
                        <a:pt x="87" y="701"/>
                      </a:lnTo>
                      <a:lnTo>
                        <a:pt x="87" y="700"/>
                      </a:lnTo>
                      <a:lnTo>
                        <a:pt x="88" y="700"/>
                      </a:lnTo>
                      <a:lnTo>
                        <a:pt x="88" y="698"/>
                      </a:lnTo>
                      <a:lnTo>
                        <a:pt x="90" y="697"/>
                      </a:lnTo>
                      <a:lnTo>
                        <a:pt x="88" y="697"/>
                      </a:lnTo>
                      <a:lnTo>
                        <a:pt x="90" y="695"/>
                      </a:lnTo>
                      <a:lnTo>
                        <a:pt x="90" y="693"/>
                      </a:lnTo>
                      <a:lnTo>
                        <a:pt x="90" y="692"/>
                      </a:lnTo>
                      <a:lnTo>
                        <a:pt x="90" y="690"/>
                      </a:lnTo>
                      <a:lnTo>
                        <a:pt x="90" y="688"/>
                      </a:lnTo>
                      <a:lnTo>
                        <a:pt x="90" y="687"/>
                      </a:lnTo>
                      <a:lnTo>
                        <a:pt x="88" y="687"/>
                      </a:lnTo>
                      <a:lnTo>
                        <a:pt x="88" y="685"/>
                      </a:lnTo>
                      <a:lnTo>
                        <a:pt x="88" y="683"/>
                      </a:lnTo>
                      <a:lnTo>
                        <a:pt x="90" y="683"/>
                      </a:lnTo>
                      <a:lnTo>
                        <a:pt x="92" y="682"/>
                      </a:lnTo>
                      <a:lnTo>
                        <a:pt x="92" y="683"/>
                      </a:lnTo>
                      <a:lnTo>
                        <a:pt x="93" y="683"/>
                      </a:lnTo>
                      <a:lnTo>
                        <a:pt x="93" y="682"/>
                      </a:lnTo>
                      <a:lnTo>
                        <a:pt x="95" y="682"/>
                      </a:lnTo>
                      <a:lnTo>
                        <a:pt x="95" y="678"/>
                      </a:lnTo>
                      <a:lnTo>
                        <a:pt x="97" y="680"/>
                      </a:lnTo>
                      <a:lnTo>
                        <a:pt x="98" y="680"/>
                      </a:lnTo>
                      <a:lnTo>
                        <a:pt x="98" y="678"/>
                      </a:lnTo>
                      <a:lnTo>
                        <a:pt x="100" y="678"/>
                      </a:lnTo>
                      <a:lnTo>
                        <a:pt x="100" y="677"/>
                      </a:lnTo>
                      <a:lnTo>
                        <a:pt x="102" y="677"/>
                      </a:lnTo>
                      <a:lnTo>
                        <a:pt x="103" y="677"/>
                      </a:lnTo>
                      <a:lnTo>
                        <a:pt x="102" y="675"/>
                      </a:lnTo>
                      <a:lnTo>
                        <a:pt x="103" y="675"/>
                      </a:lnTo>
                      <a:lnTo>
                        <a:pt x="105" y="675"/>
                      </a:lnTo>
                      <a:lnTo>
                        <a:pt x="105" y="674"/>
                      </a:lnTo>
                      <a:lnTo>
                        <a:pt x="105" y="675"/>
                      </a:lnTo>
                      <a:lnTo>
                        <a:pt x="107" y="675"/>
                      </a:lnTo>
                      <a:lnTo>
                        <a:pt x="109" y="674"/>
                      </a:lnTo>
                      <a:lnTo>
                        <a:pt x="110" y="675"/>
                      </a:lnTo>
                      <a:lnTo>
                        <a:pt x="110" y="674"/>
                      </a:lnTo>
                      <a:lnTo>
                        <a:pt x="112" y="674"/>
                      </a:lnTo>
                      <a:lnTo>
                        <a:pt x="112" y="675"/>
                      </a:lnTo>
                      <a:lnTo>
                        <a:pt x="112" y="674"/>
                      </a:lnTo>
                      <a:lnTo>
                        <a:pt x="114" y="672"/>
                      </a:lnTo>
                      <a:lnTo>
                        <a:pt x="114" y="670"/>
                      </a:lnTo>
                      <a:lnTo>
                        <a:pt x="115" y="670"/>
                      </a:lnTo>
                      <a:lnTo>
                        <a:pt x="115" y="669"/>
                      </a:lnTo>
                      <a:lnTo>
                        <a:pt x="117" y="667"/>
                      </a:lnTo>
                      <a:lnTo>
                        <a:pt x="119" y="667"/>
                      </a:lnTo>
                      <a:lnTo>
                        <a:pt x="120" y="665"/>
                      </a:lnTo>
                      <a:lnTo>
                        <a:pt x="122" y="665"/>
                      </a:lnTo>
                      <a:lnTo>
                        <a:pt x="122" y="664"/>
                      </a:lnTo>
                      <a:lnTo>
                        <a:pt x="124" y="664"/>
                      </a:lnTo>
                      <a:lnTo>
                        <a:pt x="125" y="665"/>
                      </a:lnTo>
                      <a:lnTo>
                        <a:pt x="125" y="664"/>
                      </a:lnTo>
                      <a:lnTo>
                        <a:pt x="127" y="665"/>
                      </a:lnTo>
                      <a:lnTo>
                        <a:pt x="127" y="664"/>
                      </a:lnTo>
                      <a:lnTo>
                        <a:pt x="127" y="662"/>
                      </a:lnTo>
                      <a:lnTo>
                        <a:pt x="129" y="662"/>
                      </a:lnTo>
                      <a:lnTo>
                        <a:pt x="129" y="660"/>
                      </a:lnTo>
                      <a:lnTo>
                        <a:pt x="127" y="660"/>
                      </a:lnTo>
                      <a:lnTo>
                        <a:pt x="129" y="659"/>
                      </a:lnTo>
                      <a:lnTo>
                        <a:pt x="129" y="660"/>
                      </a:lnTo>
                      <a:lnTo>
                        <a:pt x="130" y="660"/>
                      </a:lnTo>
                      <a:lnTo>
                        <a:pt x="132" y="660"/>
                      </a:lnTo>
                      <a:lnTo>
                        <a:pt x="132" y="659"/>
                      </a:lnTo>
                      <a:lnTo>
                        <a:pt x="132" y="657"/>
                      </a:lnTo>
                      <a:lnTo>
                        <a:pt x="132" y="659"/>
                      </a:lnTo>
                      <a:lnTo>
                        <a:pt x="134" y="659"/>
                      </a:lnTo>
                      <a:lnTo>
                        <a:pt x="134" y="657"/>
                      </a:lnTo>
                      <a:lnTo>
                        <a:pt x="136" y="657"/>
                      </a:lnTo>
                      <a:lnTo>
                        <a:pt x="136" y="655"/>
                      </a:lnTo>
                      <a:lnTo>
                        <a:pt x="136" y="654"/>
                      </a:lnTo>
                      <a:lnTo>
                        <a:pt x="137" y="654"/>
                      </a:lnTo>
                      <a:lnTo>
                        <a:pt x="137" y="651"/>
                      </a:lnTo>
                      <a:lnTo>
                        <a:pt x="139" y="651"/>
                      </a:lnTo>
                      <a:lnTo>
                        <a:pt x="141" y="651"/>
                      </a:lnTo>
                      <a:lnTo>
                        <a:pt x="141" y="649"/>
                      </a:lnTo>
                      <a:lnTo>
                        <a:pt x="142" y="649"/>
                      </a:lnTo>
                      <a:lnTo>
                        <a:pt x="144" y="649"/>
                      </a:lnTo>
                      <a:lnTo>
                        <a:pt x="146" y="649"/>
                      </a:lnTo>
                      <a:lnTo>
                        <a:pt x="146" y="651"/>
                      </a:lnTo>
                      <a:lnTo>
                        <a:pt x="147" y="649"/>
                      </a:lnTo>
                      <a:lnTo>
                        <a:pt x="147" y="647"/>
                      </a:lnTo>
                      <a:lnTo>
                        <a:pt x="149" y="649"/>
                      </a:lnTo>
                      <a:lnTo>
                        <a:pt x="151" y="649"/>
                      </a:lnTo>
                      <a:lnTo>
                        <a:pt x="151" y="647"/>
                      </a:lnTo>
                      <a:lnTo>
                        <a:pt x="152" y="647"/>
                      </a:lnTo>
                      <a:lnTo>
                        <a:pt x="152" y="646"/>
                      </a:lnTo>
                      <a:lnTo>
                        <a:pt x="152" y="647"/>
                      </a:lnTo>
                      <a:lnTo>
                        <a:pt x="154" y="647"/>
                      </a:lnTo>
                      <a:lnTo>
                        <a:pt x="154" y="646"/>
                      </a:lnTo>
                      <a:lnTo>
                        <a:pt x="156" y="644"/>
                      </a:lnTo>
                      <a:lnTo>
                        <a:pt x="157" y="644"/>
                      </a:lnTo>
                      <a:lnTo>
                        <a:pt x="159" y="642"/>
                      </a:lnTo>
                      <a:lnTo>
                        <a:pt x="161" y="644"/>
                      </a:lnTo>
                      <a:lnTo>
                        <a:pt x="163" y="642"/>
                      </a:lnTo>
                      <a:lnTo>
                        <a:pt x="163" y="641"/>
                      </a:lnTo>
                      <a:lnTo>
                        <a:pt x="164" y="641"/>
                      </a:lnTo>
                      <a:lnTo>
                        <a:pt x="164" y="639"/>
                      </a:lnTo>
                      <a:lnTo>
                        <a:pt x="166" y="637"/>
                      </a:lnTo>
                      <a:lnTo>
                        <a:pt x="168" y="637"/>
                      </a:lnTo>
                      <a:lnTo>
                        <a:pt x="168" y="636"/>
                      </a:lnTo>
                      <a:lnTo>
                        <a:pt x="169" y="636"/>
                      </a:lnTo>
                      <a:lnTo>
                        <a:pt x="168" y="634"/>
                      </a:lnTo>
                      <a:lnTo>
                        <a:pt x="171" y="636"/>
                      </a:lnTo>
                      <a:lnTo>
                        <a:pt x="173" y="634"/>
                      </a:lnTo>
                      <a:lnTo>
                        <a:pt x="174" y="634"/>
                      </a:lnTo>
                      <a:lnTo>
                        <a:pt x="174" y="632"/>
                      </a:lnTo>
                      <a:lnTo>
                        <a:pt x="176" y="632"/>
                      </a:lnTo>
                      <a:lnTo>
                        <a:pt x="178" y="632"/>
                      </a:lnTo>
                      <a:lnTo>
                        <a:pt x="176" y="632"/>
                      </a:lnTo>
                      <a:lnTo>
                        <a:pt x="178" y="631"/>
                      </a:lnTo>
                      <a:lnTo>
                        <a:pt x="178" y="629"/>
                      </a:lnTo>
                      <a:lnTo>
                        <a:pt x="179" y="629"/>
                      </a:lnTo>
                      <a:lnTo>
                        <a:pt x="178" y="629"/>
                      </a:lnTo>
                      <a:lnTo>
                        <a:pt x="179" y="629"/>
                      </a:lnTo>
                      <a:lnTo>
                        <a:pt x="179" y="628"/>
                      </a:lnTo>
                      <a:lnTo>
                        <a:pt x="179" y="626"/>
                      </a:lnTo>
                      <a:lnTo>
                        <a:pt x="181" y="626"/>
                      </a:lnTo>
                      <a:lnTo>
                        <a:pt x="181" y="628"/>
                      </a:lnTo>
                      <a:lnTo>
                        <a:pt x="181" y="626"/>
                      </a:lnTo>
                      <a:lnTo>
                        <a:pt x="183" y="626"/>
                      </a:lnTo>
                      <a:lnTo>
                        <a:pt x="183" y="624"/>
                      </a:lnTo>
                      <a:lnTo>
                        <a:pt x="185" y="624"/>
                      </a:lnTo>
                      <a:lnTo>
                        <a:pt x="185" y="626"/>
                      </a:lnTo>
                      <a:lnTo>
                        <a:pt x="185" y="624"/>
                      </a:lnTo>
                      <a:lnTo>
                        <a:pt x="186" y="624"/>
                      </a:lnTo>
                      <a:lnTo>
                        <a:pt x="188" y="623"/>
                      </a:lnTo>
                      <a:lnTo>
                        <a:pt x="190" y="623"/>
                      </a:lnTo>
                      <a:lnTo>
                        <a:pt x="191" y="623"/>
                      </a:lnTo>
                      <a:lnTo>
                        <a:pt x="193" y="621"/>
                      </a:lnTo>
                      <a:lnTo>
                        <a:pt x="193" y="623"/>
                      </a:lnTo>
                      <a:lnTo>
                        <a:pt x="195" y="623"/>
                      </a:lnTo>
                      <a:lnTo>
                        <a:pt x="196" y="623"/>
                      </a:lnTo>
                      <a:lnTo>
                        <a:pt x="196" y="621"/>
                      </a:lnTo>
                      <a:lnTo>
                        <a:pt x="195" y="621"/>
                      </a:lnTo>
                      <a:lnTo>
                        <a:pt x="196" y="621"/>
                      </a:lnTo>
                      <a:lnTo>
                        <a:pt x="196" y="623"/>
                      </a:lnTo>
                      <a:lnTo>
                        <a:pt x="198" y="623"/>
                      </a:lnTo>
                      <a:lnTo>
                        <a:pt x="198" y="624"/>
                      </a:lnTo>
                      <a:lnTo>
                        <a:pt x="200" y="624"/>
                      </a:lnTo>
                      <a:lnTo>
                        <a:pt x="201" y="624"/>
                      </a:lnTo>
                      <a:lnTo>
                        <a:pt x="201" y="623"/>
                      </a:lnTo>
                      <a:lnTo>
                        <a:pt x="203" y="623"/>
                      </a:lnTo>
                      <a:lnTo>
                        <a:pt x="203" y="624"/>
                      </a:lnTo>
                      <a:lnTo>
                        <a:pt x="205" y="623"/>
                      </a:lnTo>
                      <a:lnTo>
                        <a:pt x="205" y="624"/>
                      </a:lnTo>
                      <a:lnTo>
                        <a:pt x="206" y="623"/>
                      </a:lnTo>
                      <a:lnTo>
                        <a:pt x="208" y="623"/>
                      </a:lnTo>
                      <a:lnTo>
                        <a:pt x="206" y="621"/>
                      </a:lnTo>
                      <a:lnTo>
                        <a:pt x="208" y="621"/>
                      </a:lnTo>
                      <a:lnTo>
                        <a:pt x="208" y="624"/>
                      </a:lnTo>
                      <a:lnTo>
                        <a:pt x="206" y="624"/>
                      </a:lnTo>
                      <a:lnTo>
                        <a:pt x="208" y="626"/>
                      </a:lnTo>
                      <a:lnTo>
                        <a:pt x="210" y="626"/>
                      </a:lnTo>
                      <a:lnTo>
                        <a:pt x="212" y="624"/>
                      </a:lnTo>
                      <a:lnTo>
                        <a:pt x="213" y="624"/>
                      </a:lnTo>
                      <a:lnTo>
                        <a:pt x="213" y="623"/>
                      </a:lnTo>
                      <a:lnTo>
                        <a:pt x="215" y="621"/>
                      </a:lnTo>
                      <a:lnTo>
                        <a:pt x="217" y="619"/>
                      </a:lnTo>
                      <a:lnTo>
                        <a:pt x="218" y="619"/>
                      </a:lnTo>
                      <a:lnTo>
                        <a:pt x="218" y="621"/>
                      </a:lnTo>
                      <a:lnTo>
                        <a:pt x="220" y="621"/>
                      </a:lnTo>
                      <a:lnTo>
                        <a:pt x="218" y="619"/>
                      </a:lnTo>
                      <a:lnTo>
                        <a:pt x="218" y="618"/>
                      </a:lnTo>
                      <a:lnTo>
                        <a:pt x="220" y="618"/>
                      </a:lnTo>
                      <a:lnTo>
                        <a:pt x="220" y="619"/>
                      </a:lnTo>
                      <a:lnTo>
                        <a:pt x="222" y="619"/>
                      </a:lnTo>
                      <a:lnTo>
                        <a:pt x="222" y="618"/>
                      </a:lnTo>
                      <a:lnTo>
                        <a:pt x="223" y="618"/>
                      </a:lnTo>
                      <a:lnTo>
                        <a:pt x="225" y="618"/>
                      </a:lnTo>
                      <a:lnTo>
                        <a:pt x="225" y="619"/>
                      </a:lnTo>
                      <a:lnTo>
                        <a:pt x="227" y="619"/>
                      </a:lnTo>
                      <a:lnTo>
                        <a:pt x="228" y="618"/>
                      </a:lnTo>
                      <a:lnTo>
                        <a:pt x="230" y="616"/>
                      </a:lnTo>
                      <a:lnTo>
                        <a:pt x="232" y="616"/>
                      </a:lnTo>
                      <a:lnTo>
                        <a:pt x="232" y="618"/>
                      </a:lnTo>
                      <a:lnTo>
                        <a:pt x="233" y="616"/>
                      </a:lnTo>
                      <a:lnTo>
                        <a:pt x="233" y="618"/>
                      </a:lnTo>
                      <a:lnTo>
                        <a:pt x="235" y="618"/>
                      </a:lnTo>
                      <a:lnTo>
                        <a:pt x="237" y="618"/>
                      </a:lnTo>
                      <a:lnTo>
                        <a:pt x="237" y="619"/>
                      </a:lnTo>
                      <a:lnTo>
                        <a:pt x="239" y="618"/>
                      </a:lnTo>
                      <a:lnTo>
                        <a:pt x="237" y="616"/>
                      </a:lnTo>
                      <a:lnTo>
                        <a:pt x="239" y="618"/>
                      </a:lnTo>
                      <a:lnTo>
                        <a:pt x="240" y="618"/>
                      </a:lnTo>
                      <a:lnTo>
                        <a:pt x="242" y="616"/>
                      </a:lnTo>
                      <a:lnTo>
                        <a:pt x="242" y="614"/>
                      </a:lnTo>
                      <a:lnTo>
                        <a:pt x="242" y="613"/>
                      </a:lnTo>
                      <a:lnTo>
                        <a:pt x="240" y="613"/>
                      </a:lnTo>
                      <a:lnTo>
                        <a:pt x="242" y="613"/>
                      </a:lnTo>
                      <a:lnTo>
                        <a:pt x="244" y="613"/>
                      </a:lnTo>
                      <a:lnTo>
                        <a:pt x="245" y="613"/>
                      </a:lnTo>
                      <a:lnTo>
                        <a:pt x="245" y="614"/>
                      </a:lnTo>
                      <a:lnTo>
                        <a:pt x="245" y="613"/>
                      </a:lnTo>
                      <a:lnTo>
                        <a:pt x="247" y="611"/>
                      </a:lnTo>
                      <a:lnTo>
                        <a:pt x="247" y="613"/>
                      </a:lnTo>
                      <a:lnTo>
                        <a:pt x="247" y="614"/>
                      </a:lnTo>
                      <a:lnTo>
                        <a:pt x="247" y="616"/>
                      </a:lnTo>
                      <a:lnTo>
                        <a:pt x="249" y="616"/>
                      </a:lnTo>
                      <a:lnTo>
                        <a:pt x="249" y="614"/>
                      </a:lnTo>
                      <a:lnTo>
                        <a:pt x="249" y="613"/>
                      </a:lnTo>
                      <a:lnTo>
                        <a:pt x="250" y="613"/>
                      </a:lnTo>
                      <a:lnTo>
                        <a:pt x="252" y="613"/>
                      </a:lnTo>
                      <a:lnTo>
                        <a:pt x="252" y="614"/>
                      </a:lnTo>
                      <a:lnTo>
                        <a:pt x="252" y="613"/>
                      </a:lnTo>
                      <a:lnTo>
                        <a:pt x="254" y="613"/>
                      </a:lnTo>
                      <a:lnTo>
                        <a:pt x="255" y="614"/>
                      </a:lnTo>
                      <a:lnTo>
                        <a:pt x="257" y="614"/>
                      </a:lnTo>
                      <a:lnTo>
                        <a:pt x="257" y="613"/>
                      </a:lnTo>
                      <a:lnTo>
                        <a:pt x="257" y="611"/>
                      </a:lnTo>
                      <a:lnTo>
                        <a:pt x="259" y="611"/>
                      </a:lnTo>
                      <a:lnTo>
                        <a:pt x="259" y="613"/>
                      </a:lnTo>
                      <a:lnTo>
                        <a:pt x="262" y="613"/>
                      </a:lnTo>
                      <a:lnTo>
                        <a:pt x="262" y="611"/>
                      </a:lnTo>
                      <a:lnTo>
                        <a:pt x="262" y="613"/>
                      </a:lnTo>
                      <a:lnTo>
                        <a:pt x="262" y="614"/>
                      </a:lnTo>
                      <a:lnTo>
                        <a:pt x="264" y="613"/>
                      </a:lnTo>
                      <a:lnTo>
                        <a:pt x="266" y="613"/>
                      </a:lnTo>
                      <a:lnTo>
                        <a:pt x="267" y="613"/>
                      </a:lnTo>
                      <a:lnTo>
                        <a:pt x="267" y="611"/>
                      </a:lnTo>
                      <a:lnTo>
                        <a:pt x="267" y="609"/>
                      </a:lnTo>
                      <a:lnTo>
                        <a:pt x="267" y="608"/>
                      </a:lnTo>
                      <a:lnTo>
                        <a:pt x="269" y="609"/>
                      </a:lnTo>
                      <a:lnTo>
                        <a:pt x="269" y="611"/>
                      </a:lnTo>
                      <a:lnTo>
                        <a:pt x="271" y="611"/>
                      </a:lnTo>
                      <a:lnTo>
                        <a:pt x="272" y="611"/>
                      </a:lnTo>
                      <a:lnTo>
                        <a:pt x="272" y="613"/>
                      </a:lnTo>
                      <a:lnTo>
                        <a:pt x="272" y="611"/>
                      </a:lnTo>
                      <a:lnTo>
                        <a:pt x="274" y="609"/>
                      </a:lnTo>
                      <a:lnTo>
                        <a:pt x="276" y="609"/>
                      </a:lnTo>
                      <a:lnTo>
                        <a:pt x="276" y="608"/>
                      </a:lnTo>
                      <a:lnTo>
                        <a:pt x="276" y="606"/>
                      </a:lnTo>
                      <a:lnTo>
                        <a:pt x="277" y="606"/>
                      </a:lnTo>
                      <a:lnTo>
                        <a:pt x="279" y="606"/>
                      </a:lnTo>
                      <a:lnTo>
                        <a:pt x="277" y="605"/>
                      </a:lnTo>
                      <a:lnTo>
                        <a:pt x="279" y="605"/>
                      </a:lnTo>
                      <a:lnTo>
                        <a:pt x="281" y="603"/>
                      </a:lnTo>
                      <a:lnTo>
                        <a:pt x="281" y="601"/>
                      </a:lnTo>
                      <a:lnTo>
                        <a:pt x="279" y="601"/>
                      </a:lnTo>
                      <a:lnTo>
                        <a:pt x="279" y="600"/>
                      </a:lnTo>
                      <a:lnTo>
                        <a:pt x="281" y="600"/>
                      </a:lnTo>
                      <a:lnTo>
                        <a:pt x="282" y="600"/>
                      </a:lnTo>
                      <a:lnTo>
                        <a:pt x="284" y="598"/>
                      </a:lnTo>
                      <a:lnTo>
                        <a:pt x="282" y="596"/>
                      </a:lnTo>
                      <a:lnTo>
                        <a:pt x="284" y="596"/>
                      </a:lnTo>
                      <a:lnTo>
                        <a:pt x="284" y="595"/>
                      </a:lnTo>
                      <a:lnTo>
                        <a:pt x="286" y="593"/>
                      </a:lnTo>
                      <a:lnTo>
                        <a:pt x="288" y="595"/>
                      </a:lnTo>
                      <a:lnTo>
                        <a:pt x="288" y="591"/>
                      </a:lnTo>
                      <a:lnTo>
                        <a:pt x="289" y="591"/>
                      </a:lnTo>
                      <a:lnTo>
                        <a:pt x="291" y="591"/>
                      </a:lnTo>
                      <a:lnTo>
                        <a:pt x="293" y="593"/>
                      </a:lnTo>
                      <a:lnTo>
                        <a:pt x="294" y="595"/>
                      </a:lnTo>
                      <a:lnTo>
                        <a:pt x="296" y="595"/>
                      </a:lnTo>
                      <a:lnTo>
                        <a:pt x="298" y="595"/>
                      </a:lnTo>
                      <a:lnTo>
                        <a:pt x="298" y="591"/>
                      </a:lnTo>
                      <a:lnTo>
                        <a:pt x="298" y="590"/>
                      </a:lnTo>
                      <a:lnTo>
                        <a:pt x="299" y="590"/>
                      </a:lnTo>
                      <a:lnTo>
                        <a:pt x="299" y="591"/>
                      </a:lnTo>
                      <a:lnTo>
                        <a:pt x="299" y="590"/>
                      </a:lnTo>
                      <a:lnTo>
                        <a:pt x="299" y="588"/>
                      </a:lnTo>
                      <a:lnTo>
                        <a:pt x="301" y="588"/>
                      </a:lnTo>
                      <a:lnTo>
                        <a:pt x="303" y="590"/>
                      </a:lnTo>
                      <a:lnTo>
                        <a:pt x="301" y="591"/>
                      </a:lnTo>
                      <a:lnTo>
                        <a:pt x="301" y="593"/>
                      </a:lnTo>
                      <a:lnTo>
                        <a:pt x="301" y="595"/>
                      </a:lnTo>
                      <a:lnTo>
                        <a:pt x="303" y="595"/>
                      </a:lnTo>
                      <a:lnTo>
                        <a:pt x="304" y="595"/>
                      </a:lnTo>
                      <a:lnTo>
                        <a:pt x="306" y="593"/>
                      </a:lnTo>
                      <a:lnTo>
                        <a:pt x="308" y="593"/>
                      </a:lnTo>
                      <a:lnTo>
                        <a:pt x="308" y="591"/>
                      </a:lnTo>
                      <a:lnTo>
                        <a:pt x="309" y="591"/>
                      </a:lnTo>
                      <a:lnTo>
                        <a:pt x="309" y="590"/>
                      </a:lnTo>
                      <a:lnTo>
                        <a:pt x="311" y="590"/>
                      </a:lnTo>
                      <a:lnTo>
                        <a:pt x="313" y="590"/>
                      </a:lnTo>
                      <a:lnTo>
                        <a:pt x="313" y="591"/>
                      </a:lnTo>
                      <a:lnTo>
                        <a:pt x="313" y="593"/>
                      </a:lnTo>
                      <a:lnTo>
                        <a:pt x="313" y="595"/>
                      </a:lnTo>
                      <a:lnTo>
                        <a:pt x="315" y="595"/>
                      </a:lnTo>
                      <a:lnTo>
                        <a:pt x="315" y="591"/>
                      </a:lnTo>
                      <a:lnTo>
                        <a:pt x="316" y="591"/>
                      </a:lnTo>
                      <a:lnTo>
                        <a:pt x="316" y="593"/>
                      </a:lnTo>
                      <a:lnTo>
                        <a:pt x="318" y="593"/>
                      </a:lnTo>
                      <a:lnTo>
                        <a:pt x="318" y="591"/>
                      </a:lnTo>
                      <a:lnTo>
                        <a:pt x="320" y="591"/>
                      </a:lnTo>
                      <a:lnTo>
                        <a:pt x="320" y="590"/>
                      </a:lnTo>
                      <a:lnTo>
                        <a:pt x="321" y="590"/>
                      </a:lnTo>
                      <a:lnTo>
                        <a:pt x="325" y="590"/>
                      </a:lnTo>
                      <a:lnTo>
                        <a:pt x="326" y="590"/>
                      </a:lnTo>
                      <a:lnTo>
                        <a:pt x="326" y="591"/>
                      </a:lnTo>
                      <a:lnTo>
                        <a:pt x="328" y="593"/>
                      </a:lnTo>
                      <a:lnTo>
                        <a:pt x="330" y="595"/>
                      </a:lnTo>
                      <a:lnTo>
                        <a:pt x="330" y="593"/>
                      </a:lnTo>
                      <a:lnTo>
                        <a:pt x="330" y="591"/>
                      </a:lnTo>
                      <a:lnTo>
                        <a:pt x="331" y="590"/>
                      </a:lnTo>
                      <a:lnTo>
                        <a:pt x="331" y="591"/>
                      </a:lnTo>
                      <a:lnTo>
                        <a:pt x="333" y="591"/>
                      </a:lnTo>
                      <a:lnTo>
                        <a:pt x="335" y="593"/>
                      </a:lnTo>
                      <a:lnTo>
                        <a:pt x="333" y="595"/>
                      </a:lnTo>
                      <a:lnTo>
                        <a:pt x="335" y="598"/>
                      </a:lnTo>
                      <a:lnTo>
                        <a:pt x="335" y="600"/>
                      </a:lnTo>
                      <a:lnTo>
                        <a:pt x="333" y="600"/>
                      </a:lnTo>
                      <a:lnTo>
                        <a:pt x="331" y="600"/>
                      </a:lnTo>
                      <a:lnTo>
                        <a:pt x="331" y="601"/>
                      </a:lnTo>
                      <a:lnTo>
                        <a:pt x="333" y="601"/>
                      </a:lnTo>
                      <a:lnTo>
                        <a:pt x="333" y="603"/>
                      </a:lnTo>
                      <a:lnTo>
                        <a:pt x="335" y="603"/>
                      </a:lnTo>
                      <a:lnTo>
                        <a:pt x="333" y="603"/>
                      </a:lnTo>
                      <a:lnTo>
                        <a:pt x="335" y="605"/>
                      </a:lnTo>
                      <a:lnTo>
                        <a:pt x="338" y="603"/>
                      </a:lnTo>
                      <a:lnTo>
                        <a:pt x="338" y="605"/>
                      </a:lnTo>
                      <a:lnTo>
                        <a:pt x="337" y="605"/>
                      </a:lnTo>
                      <a:lnTo>
                        <a:pt x="337" y="606"/>
                      </a:lnTo>
                      <a:lnTo>
                        <a:pt x="338" y="606"/>
                      </a:lnTo>
                      <a:lnTo>
                        <a:pt x="340" y="606"/>
                      </a:lnTo>
                      <a:lnTo>
                        <a:pt x="342" y="606"/>
                      </a:lnTo>
                      <a:lnTo>
                        <a:pt x="342" y="608"/>
                      </a:lnTo>
                      <a:lnTo>
                        <a:pt x="342" y="609"/>
                      </a:lnTo>
                      <a:lnTo>
                        <a:pt x="343" y="611"/>
                      </a:lnTo>
                      <a:lnTo>
                        <a:pt x="345" y="609"/>
                      </a:lnTo>
                      <a:lnTo>
                        <a:pt x="345" y="608"/>
                      </a:lnTo>
                      <a:lnTo>
                        <a:pt x="347" y="608"/>
                      </a:lnTo>
                      <a:lnTo>
                        <a:pt x="347" y="606"/>
                      </a:lnTo>
                      <a:lnTo>
                        <a:pt x="345" y="606"/>
                      </a:lnTo>
                      <a:lnTo>
                        <a:pt x="347" y="605"/>
                      </a:lnTo>
                      <a:lnTo>
                        <a:pt x="347" y="603"/>
                      </a:lnTo>
                      <a:lnTo>
                        <a:pt x="348" y="603"/>
                      </a:lnTo>
                      <a:lnTo>
                        <a:pt x="350" y="605"/>
                      </a:lnTo>
                      <a:lnTo>
                        <a:pt x="350" y="603"/>
                      </a:lnTo>
                      <a:lnTo>
                        <a:pt x="352" y="603"/>
                      </a:lnTo>
                      <a:lnTo>
                        <a:pt x="352" y="601"/>
                      </a:lnTo>
                      <a:lnTo>
                        <a:pt x="352" y="603"/>
                      </a:lnTo>
                      <a:lnTo>
                        <a:pt x="352" y="605"/>
                      </a:lnTo>
                      <a:lnTo>
                        <a:pt x="353" y="603"/>
                      </a:lnTo>
                      <a:lnTo>
                        <a:pt x="355" y="605"/>
                      </a:lnTo>
                      <a:lnTo>
                        <a:pt x="353" y="605"/>
                      </a:lnTo>
                      <a:lnTo>
                        <a:pt x="353" y="606"/>
                      </a:lnTo>
                      <a:lnTo>
                        <a:pt x="355" y="608"/>
                      </a:lnTo>
                      <a:lnTo>
                        <a:pt x="357" y="608"/>
                      </a:lnTo>
                      <a:lnTo>
                        <a:pt x="357" y="609"/>
                      </a:lnTo>
                      <a:lnTo>
                        <a:pt x="358" y="609"/>
                      </a:lnTo>
                      <a:lnTo>
                        <a:pt x="360" y="609"/>
                      </a:lnTo>
                      <a:lnTo>
                        <a:pt x="360" y="608"/>
                      </a:lnTo>
                      <a:lnTo>
                        <a:pt x="362" y="608"/>
                      </a:lnTo>
                      <a:lnTo>
                        <a:pt x="364" y="606"/>
                      </a:lnTo>
                      <a:lnTo>
                        <a:pt x="365" y="605"/>
                      </a:lnTo>
                      <a:lnTo>
                        <a:pt x="365" y="603"/>
                      </a:lnTo>
                      <a:lnTo>
                        <a:pt x="365" y="601"/>
                      </a:lnTo>
                      <a:lnTo>
                        <a:pt x="367" y="598"/>
                      </a:lnTo>
                      <a:lnTo>
                        <a:pt x="367" y="596"/>
                      </a:lnTo>
                      <a:lnTo>
                        <a:pt x="369" y="596"/>
                      </a:lnTo>
                      <a:lnTo>
                        <a:pt x="372" y="577"/>
                      </a:lnTo>
                      <a:lnTo>
                        <a:pt x="377" y="549"/>
                      </a:lnTo>
                      <a:lnTo>
                        <a:pt x="389" y="485"/>
                      </a:lnTo>
                      <a:lnTo>
                        <a:pt x="399" y="434"/>
                      </a:lnTo>
                      <a:lnTo>
                        <a:pt x="406" y="393"/>
                      </a:lnTo>
                      <a:lnTo>
                        <a:pt x="414" y="350"/>
                      </a:lnTo>
                      <a:lnTo>
                        <a:pt x="414" y="348"/>
                      </a:lnTo>
                      <a:lnTo>
                        <a:pt x="413" y="347"/>
                      </a:lnTo>
                      <a:lnTo>
                        <a:pt x="413" y="345"/>
                      </a:lnTo>
                      <a:lnTo>
                        <a:pt x="414" y="345"/>
                      </a:lnTo>
                      <a:lnTo>
                        <a:pt x="414" y="343"/>
                      </a:lnTo>
                      <a:lnTo>
                        <a:pt x="416" y="342"/>
                      </a:lnTo>
                      <a:lnTo>
                        <a:pt x="416" y="339"/>
                      </a:lnTo>
                      <a:lnTo>
                        <a:pt x="416" y="337"/>
                      </a:lnTo>
                      <a:lnTo>
                        <a:pt x="416" y="335"/>
                      </a:lnTo>
                      <a:lnTo>
                        <a:pt x="418" y="335"/>
                      </a:lnTo>
                      <a:lnTo>
                        <a:pt x="419" y="334"/>
                      </a:lnTo>
                      <a:lnTo>
                        <a:pt x="418" y="330"/>
                      </a:lnTo>
                      <a:lnTo>
                        <a:pt x="418" y="327"/>
                      </a:lnTo>
                      <a:lnTo>
                        <a:pt x="418" y="325"/>
                      </a:lnTo>
                      <a:lnTo>
                        <a:pt x="416" y="324"/>
                      </a:lnTo>
                      <a:lnTo>
                        <a:pt x="416" y="322"/>
                      </a:lnTo>
                      <a:lnTo>
                        <a:pt x="416" y="320"/>
                      </a:lnTo>
                      <a:lnTo>
                        <a:pt x="418" y="319"/>
                      </a:lnTo>
                      <a:lnTo>
                        <a:pt x="418" y="317"/>
                      </a:lnTo>
                      <a:lnTo>
                        <a:pt x="418" y="316"/>
                      </a:lnTo>
                      <a:lnTo>
                        <a:pt x="418" y="314"/>
                      </a:lnTo>
                      <a:lnTo>
                        <a:pt x="419" y="314"/>
                      </a:lnTo>
                      <a:lnTo>
                        <a:pt x="419" y="312"/>
                      </a:lnTo>
                      <a:lnTo>
                        <a:pt x="419" y="311"/>
                      </a:lnTo>
                      <a:lnTo>
                        <a:pt x="416" y="307"/>
                      </a:lnTo>
                      <a:lnTo>
                        <a:pt x="416" y="306"/>
                      </a:lnTo>
                      <a:lnTo>
                        <a:pt x="416" y="304"/>
                      </a:lnTo>
                      <a:lnTo>
                        <a:pt x="414" y="304"/>
                      </a:lnTo>
                      <a:lnTo>
                        <a:pt x="414" y="302"/>
                      </a:lnTo>
                      <a:lnTo>
                        <a:pt x="416" y="302"/>
                      </a:lnTo>
                      <a:lnTo>
                        <a:pt x="416" y="301"/>
                      </a:lnTo>
                      <a:lnTo>
                        <a:pt x="414" y="299"/>
                      </a:lnTo>
                      <a:lnTo>
                        <a:pt x="414" y="301"/>
                      </a:lnTo>
                      <a:lnTo>
                        <a:pt x="413" y="299"/>
                      </a:lnTo>
                      <a:lnTo>
                        <a:pt x="413" y="297"/>
                      </a:lnTo>
                      <a:lnTo>
                        <a:pt x="413" y="296"/>
                      </a:lnTo>
                      <a:lnTo>
                        <a:pt x="411" y="296"/>
                      </a:lnTo>
                      <a:lnTo>
                        <a:pt x="409" y="296"/>
                      </a:lnTo>
                      <a:lnTo>
                        <a:pt x="409" y="294"/>
                      </a:lnTo>
                      <a:lnTo>
                        <a:pt x="407" y="294"/>
                      </a:lnTo>
                      <a:lnTo>
                        <a:pt x="406" y="293"/>
                      </a:lnTo>
                      <a:lnTo>
                        <a:pt x="407" y="289"/>
                      </a:lnTo>
                      <a:lnTo>
                        <a:pt x="406" y="289"/>
                      </a:lnTo>
                      <a:lnTo>
                        <a:pt x="406" y="288"/>
                      </a:lnTo>
                      <a:lnTo>
                        <a:pt x="404" y="288"/>
                      </a:lnTo>
                      <a:lnTo>
                        <a:pt x="404" y="286"/>
                      </a:lnTo>
                      <a:lnTo>
                        <a:pt x="402" y="286"/>
                      </a:lnTo>
                      <a:lnTo>
                        <a:pt x="402" y="284"/>
                      </a:lnTo>
                      <a:lnTo>
                        <a:pt x="404" y="284"/>
                      </a:lnTo>
                      <a:lnTo>
                        <a:pt x="402" y="283"/>
                      </a:lnTo>
                      <a:lnTo>
                        <a:pt x="401" y="283"/>
                      </a:lnTo>
                      <a:lnTo>
                        <a:pt x="401" y="281"/>
                      </a:lnTo>
                      <a:lnTo>
                        <a:pt x="399" y="279"/>
                      </a:lnTo>
                      <a:lnTo>
                        <a:pt x="399" y="278"/>
                      </a:lnTo>
                      <a:lnTo>
                        <a:pt x="397" y="278"/>
                      </a:lnTo>
                      <a:lnTo>
                        <a:pt x="397" y="276"/>
                      </a:lnTo>
                      <a:lnTo>
                        <a:pt x="399" y="274"/>
                      </a:lnTo>
                      <a:lnTo>
                        <a:pt x="399" y="273"/>
                      </a:lnTo>
                      <a:lnTo>
                        <a:pt x="401" y="271"/>
                      </a:lnTo>
                      <a:lnTo>
                        <a:pt x="401" y="270"/>
                      </a:lnTo>
                      <a:lnTo>
                        <a:pt x="402" y="268"/>
                      </a:lnTo>
                      <a:lnTo>
                        <a:pt x="402" y="266"/>
                      </a:lnTo>
                      <a:lnTo>
                        <a:pt x="402" y="265"/>
                      </a:lnTo>
                      <a:lnTo>
                        <a:pt x="401" y="265"/>
                      </a:lnTo>
                      <a:lnTo>
                        <a:pt x="399" y="263"/>
                      </a:lnTo>
                      <a:lnTo>
                        <a:pt x="401" y="261"/>
                      </a:lnTo>
                      <a:lnTo>
                        <a:pt x="401" y="260"/>
                      </a:lnTo>
                      <a:lnTo>
                        <a:pt x="399" y="260"/>
                      </a:lnTo>
                      <a:lnTo>
                        <a:pt x="399" y="258"/>
                      </a:lnTo>
                      <a:lnTo>
                        <a:pt x="399" y="256"/>
                      </a:lnTo>
                      <a:lnTo>
                        <a:pt x="399" y="255"/>
                      </a:lnTo>
                      <a:lnTo>
                        <a:pt x="397" y="255"/>
                      </a:lnTo>
                      <a:lnTo>
                        <a:pt x="396" y="255"/>
                      </a:lnTo>
                      <a:lnTo>
                        <a:pt x="396" y="253"/>
                      </a:lnTo>
                      <a:lnTo>
                        <a:pt x="394" y="253"/>
                      </a:lnTo>
                      <a:lnTo>
                        <a:pt x="394" y="251"/>
                      </a:lnTo>
                      <a:lnTo>
                        <a:pt x="392" y="251"/>
                      </a:lnTo>
                      <a:lnTo>
                        <a:pt x="391" y="250"/>
                      </a:lnTo>
                      <a:lnTo>
                        <a:pt x="389" y="250"/>
                      </a:lnTo>
                      <a:lnTo>
                        <a:pt x="387" y="250"/>
                      </a:lnTo>
                      <a:lnTo>
                        <a:pt x="387" y="248"/>
                      </a:lnTo>
                      <a:lnTo>
                        <a:pt x="385" y="248"/>
                      </a:lnTo>
                      <a:lnTo>
                        <a:pt x="385" y="247"/>
                      </a:lnTo>
                      <a:lnTo>
                        <a:pt x="384" y="247"/>
                      </a:lnTo>
                      <a:lnTo>
                        <a:pt x="384" y="245"/>
                      </a:lnTo>
                      <a:lnTo>
                        <a:pt x="382" y="245"/>
                      </a:lnTo>
                      <a:lnTo>
                        <a:pt x="380" y="245"/>
                      </a:lnTo>
                      <a:lnTo>
                        <a:pt x="380" y="243"/>
                      </a:lnTo>
                      <a:lnTo>
                        <a:pt x="379" y="243"/>
                      </a:lnTo>
                      <a:lnTo>
                        <a:pt x="377" y="242"/>
                      </a:lnTo>
                      <a:lnTo>
                        <a:pt x="377" y="240"/>
                      </a:lnTo>
                      <a:lnTo>
                        <a:pt x="375" y="240"/>
                      </a:lnTo>
                      <a:lnTo>
                        <a:pt x="374" y="240"/>
                      </a:lnTo>
                      <a:lnTo>
                        <a:pt x="372" y="240"/>
                      </a:lnTo>
                      <a:lnTo>
                        <a:pt x="370" y="240"/>
                      </a:lnTo>
                      <a:lnTo>
                        <a:pt x="370" y="238"/>
                      </a:lnTo>
                      <a:lnTo>
                        <a:pt x="369" y="238"/>
                      </a:lnTo>
                      <a:lnTo>
                        <a:pt x="369" y="237"/>
                      </a:lnTo>
                      <a:lnTo>
                        <a:pt x="367" y="237"/>
                      </a:lnTo>
                      <a:lnTo>
                        <a:pt x="367" y="235"/>
                      </a:lnTo>
                      <a:lnTo>
                        <a:pt x="365" y="235"/>
                      </a:lnTo>
                      <a:lnTo>
                        <a:pt x="364" y="233"/>
                      </a:lnTo>
                      <a:lnTo>
                        <a:pt x="364" y="232"/>
                      </a:lnTo>
                      <a:lnTo>
                        <a:pt x="362" y="232"/>
                      </a:lnTo>
                      <a:lnTo>
                        <a:pt x="362" y="230"/>
                      </a:lnTo>
                      <a:lnTo>
                        <a:pt x="362" y="228"/>
                      </a:lnTo>
                      <a:lnTo>
                        <a:pt x="360" y="228"/>
                      </a:lnTo>
                      <a:lnTo>
                        <a:pt x="358" y="227"/>
                      </a:lnTo>
                      <a:lnTo>
                        <a:pt x="357" y="227"/>
                      </a:lnTo>
                      <a:lnTo>
                        <a:pt x="357" y="225"/>
                      </a:lnTo>
                      <a:lnTo>
                        <a:pt x="357" y="222"/>
                      </a:lnTo>
                      <a:lnTo>
                        <a:pt x="358" y="219"/>
                      </a:lnTo>
                      <a:lnTo>
                        <a:pt x="357" y="217"/>
                      </a:lnTo>
                      <a:lnTo>
                        <a:pt x="357" y="210"/>
                      </a:lnTo>
                      <a:lnTo>
                        <a:pt x="357" y="202"/>
                      </a:lnTo>
                      <a:lnTo>
                        <a:pt x="358" y="156"/>
                      </a:lnTo>
                      <a:lnTo>
                        <a:pt x="360" y="158"/>
                      </a:lnTo>
                      <a:lnTo>
                        <a:pt x="362" y="158"/>
                      </a:lnTo>
                      <a:lnTo>
                        <a:pt x="362" y="156"/>
                      </a:lnTo>
                      <a:lnTo>
                        <a:pt x="364" y="155"/>
                      </a:lnTo>
                      <a:lnTo>
                        <a:pt x="365" y="155"/>
                      </a:lnTo>
                      <a:lnTo>
                        <a:pt x="365" y="156"/>
                      </a:lnTo>
                      <a:lnTo>
                        <a:pt x="367" y="156"/>
                      </a:lnTo>
                      <a:lnTo>
                        <a:pt x="369" y="156"/>
                      </a:lnTo>
                      <a:lnTo>
                        <a:pt x="370" y="155"/>
                      </a:lnTo>
                      <a:lnTo>
                        <a:pt x="372" y="155"/>
                      </a:lnTo>
                      <a:lnTo>
                        <a:pt x="374" y="155"/>
                      </a:lnTo>
                      <a:lnTo>
                        <a:pt x="375" y="155"/>
                      </a:lnTo>
                      <a:lnTo>
                        <a:pt x="377" y="155"/>
                      </a:lnTo>
                      <a:lnTo>
                        <a:pt x="377" y="153"/>
                      </a:lnTo>
                      <a:lnTo>
                        <a:pt x="379" y="155"/>
                      </a:lnTo>
                      <a:lnTo>
                        <a:pt x="380" y="155"/>
                      </a:lnTo>
                      <a:lnTo>
                        <a:pt x="382" y="155"/>
                      </a:lnTo>
                      <a:lnTo>
                        <a:pt x="382" y="153"/>
                      </a:lnTo>
                      <a:lnTo>
                        <a:pt x="384" y="153"/>
                      </a:lnTo>
                      <a:lnTo>
                        <a:pt x="385" y="151"/>
                      </a:lnTo>
                      <a:lnTo>
                        <a:pt x="387" y="151"/>
                      </a:lnTo>
                      <a:lnTo>
                        <a:pt x="389" y="150"/>
                      </a:lnTo>
                      <a:lnTo>
                        <a:pt x="389" y="148"/>
                      </a:lnTo>
                      <a:lnTo>
                        <a:pt x="391" y="148"/>
                      </a:lnTo>
                      <a:lnTo>
                        <a:pt x="391" y="146"/>
                      </a:lnTo>
                      <a:lnTo>
                        <a:pt x="392" y="146"/>
                      </a:lnTo>
                      <a:lnTo>
                        <a:pt x="394" y="146"/>
                      </a:lnTo>
                      <a:lnTo>
                        <a:pt x="396" y="146"/>
                      </a:lnTo>
                      <a:lnTo>
                        <a:pt x="396" y="150"/>
                      </a:lnTo>
                      <a:lnTo>
                        <a:pt x="397" y="150"/>
                      </a:lnTo>
                      <a:lnTo>
                        <a:pt x="399" y="150"/>
                      </a:lnTo>
                      <a:lnTo>
                        <a:pt x="401" y="150"/>
                      </a:lnTo>
                      <a:lnTo>
                        <a:pt x="401" y="148"/>
                      </a:lnTo>
                      <a:lnTo>
                        <a:pt x="402" y="146"/>
                      </a:lnTo>
                      <a:lnTo>
                        <a:pt x="402" y="145"/>
                      </a:lnTo>
                      <a:lnTo>
                        <a:pt x="406" y="145"/>
                      </a:lnTo>
                      <a:lnTo>
                        <a:pt x="406" y="143"/>
                      </a:lnTo>
                      <a:lnTo>
                        <a:pt x="407" y="141"/>
                      </a:lnTo>
                      <a:lnTo>
                        <a:pt x="407" y="143"/>
                      </a:lnTo>
                      <a:lnTo>
                        <a:pt x="409" y="141"/>
                      </a:lnTo>
                      <a:lnTo>
                        <a:pt x="411" y="140"/>
                      </a:lnTo>
                      <a:lnTo>
                        <a:pt x="413" y="140"/>
                      </a:lnTo>
                      <a:lnTo>
                        <a:pt x="413" y="141"/>
                      </a:lnTo>
                      <a:lnTo>
                        <a:pt x="414" y="141"/>
                      </a:lnTo>
                      <a:lnTo>
                        <a:pt x="416" y="143"/>
                      </a:lnTo>
                      <a:lnTo>
                        <a:pt x="416" y="145"/>
                      </a:lnTo>
                      <a:lnTo>
                        <a:pt x="418" y="145"/>
                      </a:lnTo>
                      <a:lnTo>
                        <a:pt x="418" y="146"/>
                      </a:lnTo>
                      <a:lnTo>
                        <a:pt x="419" y="148"/>
                      </a:lnTo>
                      <a:lnTo>
                        <a:pt x="421" y="150"/>
                      </a:lnTo>
                      <a:lnTo>
                        <a:pt x="423" y="151"/>
                      </a:lnTo>
                      <a:lnTo>
                        <a:pt x="424" y="150"/>
                      </a:lnTo>
                      <a:lnTo>
                        <a:pt x="426" y="150"/>
                      </a:lnTo>
                      <a:lnTo>
                        <a:pt x="428" y="150"/>
                      </a:lnTo>
                      <a:lnTo>
                        <a:pt x="428" y="148"/>
                      </a:lnTo>
                      <a:lnTo>
                        <a:pt x="429" y="148"/>
                      </a:lnTo>
                      <a:lnTo>
                        <a:pt x="429" y="150"/>
                      </a:lnTo>
                      <a:lnTo>
                        <a:pt x="429" y="151"/>
                      </a:lnTo>
                      <a:lnTo>
                        <a:pt x="428" y="153"/>
                      </a:lnTo>
                      <a:lnTo>
                        <a:pt x="429" y="153"/>
                      </a:lnTo>
                      <a:lnTo>
                        <a:pt x="431" y="153"/>
                      </a:lnTo>
                      <a:lnTo>
                        <a:pt x="431" y="151"/>
                      </a:lnTo>
                      <a:lnTo>
                        <a:pt x="433" y="153"/>
                      </a:lnTo>
                      <a:lnTo>
                        <a:pt x="433" y="151"/>
                      </a:lnTo>
                      <a:lnTo>
                        <a:pt x="434" y="153"/>
                      </a:lnTo>
                      <a:lnTo>
                        <a:pt x="436" y="151"/>
                      </a:lnTo>
                      <a:lnTo>
                        <a:pt x="438" y="153"/>
                      </a:lnTo>
                      <a:lnTo>
                        <a:pt x="438" y="151"/>
                      </a:lnTo>
                      <a:lnTo>
                        <a:pt x="438" y="150"/>
                      </a:lnTo>
                      <a:lnTo>
                        <a:pt x="438" y="148"/>
                      </a:lnTo>
                      <a:lnTo>
                        <a:pt x="440" y="148"/>
                      </a:lnTo>
                      <a:lnTo>
                        <a:pt x="441" y="148"/>
                      </a:lnTo>
                      <a:lnTo>
                        <a:pt x="443" y="148"/>
                      </a:lnTo>
                      <a:lnTo>
                        <a:pt x="445" y="148"/>
                      </a:lnTo>
                      <a:lnTo>
                        <a:pt x="445" y="150"/>
                      </a:lnTo>
                      <a:lnTo>
                        <a:pt x="446" y="150"/>
                      </a:lnTo>
                      <a:lnTo>
                        <a:pt x="446" y="148"/>
                      </a:lnTo>
                      <a:lnTo>
                        <a:pt x="445" y="146"/>
                      </a:lnTo>
                      <a:lnTo>
                        <a:pt x="443" y="143"/>
                      </a:lnTo>
                      <a:lnTo>
                        <a:pt x="441" y="143"/>
                      </a:lnTo>
                      <a:lnTo>
                        <a:pt x="441" y="141"/>
                      </a:lnTo>
                      <a:lnTo>
                        <a:pt x="440" y="141"/>
                      </a:lnTo>
                      <a:lnTo>
                        <a:pt x="440" y="140"/>
                      </a:lnTo>
                      <a:lnTo>
                        <a:pt x="440" y="138"/>
                      </a:lnTo>
                      <a:lnTo>
                        <a:pt x="441" y="138"/>
                      </a:lnTo>
                      <a:lnTo>
                        <a:pt x="443" y="138"/>
                      </a:lnTo>
                      <a:lnTo>
                        <a:pt x="443" y="137"/>
                      </a:lnTo>
                      <a:lnTo>
                        <a:pt x="443" y="135"/>
                      </a:lnTo>
                      <a:lnTo>
                        <a:pt x="443" y="133"/>
                      </a:lnTo>
                      <a:lnTo>
                        <a:pt x="441" y="133"/>
                      </a:lnTo>
                      <a:lnTo>
                        <a:pt x="441" y="132"/>
                      </a:lnTo>
                      <a:lnTo>
                        <a:pt x="441" y="130"/>
                      </a:lnTo>
                      <a:lnTo>
                        <a:pt x="443" y="130"/>
                      </a:lnTo>
                      <a:lnTo>
                        <a:pt x="443" y="128"/>
                      </a:lnTo>
                      <a:lnTo>
                        <a:pt x="443" y="127"/>
                      </a:lnTo>
                      <a:lnTo>
                        <a:pt x="441" y="127"/>
                      </a:lnTo>
                      <a:lnTo>
                        <a:pt x="441" y="125"/>
                      </a:lnTo>
                      <a:lnTo>
                        <a:pt x="440" y="125"/>
                      </a:lnTo>
                      <a:lnTo>
                        <a:pt x="440" y="123"/>
                      </a:lnTo>
                      <a:lnTo>
                        <a:pt x="438" y="123"/>
                      </a:lnTo>
                      <a:lnTo>
                        <a:pt x="438" y="122"/>
                      </a:lnTo>
                      <a:lnTo>
                        <a:pt x="440" y="122"/>
                      </a:lnTo>
                      <a:lnTo>
                        <a:pt x="441" y="120"/>
                      </a:lnTo>
                      <a:lnTo>
                        <a:pt x="440" y="120"/>
                      </a:lnTo>
                      <a:lnTo>
                        <a:pt x="440" y="118"/>
                      </a:lnTo>
                      <a:lnTo>
                        <a:pt x="438" y="118"/>
                      </a:lnTo>
                      <a:lnTo>
                        <a:pt x="436" y="118"/>
                      </a:lnTo>
                      <a:lnTo>
                        <a:pt x="436" y="117"/>
                      </a:lnTo>
                      <a:lnTo>
                        <a:pt x="438" y="115"/>
                      </a:lnTo>
                      <a:lnTo>
                        <a:pt x="436" y="114"/>
                      </a:lnTo>
                      <a:lnTo>
                        <a:pt x="434" y="114"/>
                      </a:lnTo>
                      <a:lnTo>
                        <a:pt x="434" y="112"/>
                      </a:lnTo>
                      <a:lnTo>
                        <a:pt x="433" y="112"/>
                      </a:lnTo>
                      <a:lnTo>
                        <a:pt x="433" y="110"/>
                      </a:lnTo>
                      <a:lnTo>
                        <a:pt x="431" y="110"/>
                      </a:lnTo>
                      <a:lnTo>
                        <a:pt x="429" y="110"/>
                      </a:lnTo>
                      <a:lnTo>
                        <a:pt x="428" y="109"/>
                      </a:lnTo>
                      <a:lnTo>
                        <a:pt x="426" y="107"/>
                      </a:lnTo>
                      <a:lnTo>
                        <a:pt x="424" y="107"/>
                      </a:lnTo>
                      <a:lnTo>
                        <a:pt x="423" y="107"/>
                      </a:lnTo>
                      <a:lnTo>
                        <a:pt x="421" y="107"/>
                      </a:lnTo>
                      <a:lnTo>
                        <a:pt x="419" y="109"/>
                      </a:lnTo>
                      <a:lnTo>
                        <a:pt x="418" y="110"/>
                      </a:lnTo>
                      <a:lnTo>
                        <a:pt x="416" y="110"/>
                      </a:lnTo>
                      <a:lnTo>
                        <a:pt x="414" y="109"/>
                      </a:lnTo>
                      <a:lnTo>
                        <a:pt x="416" y="109"/>
                      </a:lnTo>
                      <a:lnTo>
                        <a:pt x="414" y="109"/>
                      </a:lnTo>
                      <a:lnTo>
                        <a:pt x="413" y="109"/>
                      </a:lnTo>
                      <a:lnTo>
                        <a:pt x="411" y="109"/>
                      </a:lnTo>
                      <a:lnTo>
                        <a:pt x="409" y="107"/>
                      </a:lnTo>
                      <a:lnTo>
                        <a:pt x="407" y="109"/>
                      </a:lnTo>
                      <a:lnTo>
                        <a:pt x="406" y="109"/>
                      </a:lnTo>
                      <a:lnTo>
                        <a:pt x="404" y="109"/>
                      </a:lnTo>
                      <a:lnTo>
                        <a:pt x="402" y="109"/>
                      </a:lnTo>
                      <a:lnTo>
                        <a:pt x="401" y="107"/>
                      </a:lnTo>
                      <a:lnTo>
                        <a:pt x="399" y="105"/>
                      </a:lnTo>
                      <a:lnTo>
                        <a:pt x="397" y="107"/>
                      </a:lnTo>
                      <a:lnTo>
                        <a:pt x="396" y="107"/>
                      </a:lnTo>
                      <a:lnTo>
                        <a:pt x="394" y="107"/>
                      </a:lnTo>
                      <a:lnTo>
                        <a:pt x="392" y="107"/>
                      </a:lnTo>
                      <a:lnTo>
                        <a:pt x="392" y="109"/>
                      </a:lnTo>
                      <a:lnTo>
                        <a:pt x="391" y="109"/>
                      </a:lnTo>
                      <a:lnTo>
                        <a:pt x="389" y="109"/>
                      </a:lnTo>
                      <a:lnTo>
                        <a:pt x="389" y="107"/>
                      </a:lnTo>
                      <a:lnTo>
                        <a:pt x="389" y="105"/>
                      </a:lnTo>
                      <a:lnTo>
                        <a:pt x="389" y="104"/>
                      </a:lnTo>
                      <a:lnTo>
                        <a:pt x="389" y="105"/>
                      </a:lnTo>
                      <a:lnTo>
                        <a:pt x="387" y="105"/>
                      </a:lnTo>
                      <a:lnTo>
                        <a:pt x="385" y="105"/>
                      </a:lnTo>
                      <a:lnTo>
                        <a:pt x="384" y="105"/>
                      </a:lnTo>
                      <a:lnTo>
                        <a:pt x="382" y="107"/>
                      </a:lnTo>
                      <a:lnTo>
                        <a:pt x="380" y="107"/>
                      </a:lnTo>
                      <a:lnTo>
                        <a:pt x="380" y="109"/>
                      </a:lnTo>
                      <a:lnTo>
                        <a:pt x="379" y="110"/>
                      </a:lnTo>
                      <a:lnTo>
                        <a:pt x="377" y="109"/>
                      </a:lnTo>
                      <a:lnTo>
                        <a:pt x="377" y="69"/>
                      </a:lnTo>
                      <a:lnTo>
                        <a:pt x="377" y="49"/>
                      </a:lnTo>
                      <a:lnTo>
                        <a:pt x="379" y="49"/>
                      </a:lnTo>
                      <a:lnTo>
                        <a:pt x="377" y="51"/>
                      </a:lnTo>
                      <a:lnTo>
                        <a:pt x="379" y="51"/>
                      </a:lnTo>
                      <a:lnTo>
                        <a:pt x="380" y="51"/>
                      </a:lnTo>
                      <a:lnTo>
                        <a:pt x="382" y="51"/>
                      </a:lnTo>
                      <a:lnTo>
                        <a:pt x="382" y="49"/>
                      </a:lnTo>
                      <a:lnTo>
                        <a:pt x="384" y="49"/>
                      </a:lnTo>
                      <a:lnTo>
                        <a:pt x="385" y="48"/>
                      </a:lnTo>
                      <a:lnTo>
                        <a:pt x="387" y="46"/>
                      </a:lnTo>
                      <a:lnTo>
                        <a:pt x="389" y="48"/>
                      </a:lnTo>
                      <a:lnTo>
                        <a:pt x="389" y="46"/>
                      </a:lnTo>
                      <a:lnTo>
                        <a:pt x="391" y="48"/>
                      </a:lnTo>
                      <a:lnTo>
                        <a:pt x="392" y="46"/>
                      </a:lnTo>
                      <a:lnTo>
                        <a:pt x="392" y="48"/>
                      </a:lnTo>
                      <a:lnTo>
                        <a:pt x="394" y="48"/>
                      </a:lnTo>
                      <a:lnTo>
                        <a:pt x="396" y="48"/>
                      </a:lnTo>
                      <a:lnTo>
                        <a:pt x="397" y="48"/>
                      </a:lnTo>
                      <a:lnTo>
                        <a:pt x="397" y="46"/>
                      </a:lnTo>
                      <a:lnTo>
                        <a:pt x="399" y="45"/>
                      </a:lnTo>
                      <a:lnTo>
                        <a:pt x="401" y="45"/>
                      </a:lnTo>
                      <a:lnTo>
                        <a:pt x="402" y="45"/>
                      </a:lnTo>
                      <a:lnTo>
                        <a:pt x="404" y="43"/>
                      </a:lnTo>
                      <a:lnTo>
                        <a:pt x="407" y="45"/>
                      </a:lnTo>
                      <a:lnTo>
                        <a:pt x="409" y="45"/>
                      </a:lnTo>
                      <a:lnTo>
                        <a:pt x="411" y="45"/>
                      </a:lnTo>
                      <a:lnTo>
                        <a:pt x="411" y="46"/>
                      </a:lnTo>
                      <a:lnTo>
                        <a:pt x="411" y="45"/>
                      </a:lnTo>
                      <a:lnTo>
                        <a:pt x="413" y="46"/>
                      </a:lnTo>
                      <a:lnTo>
                        <a:pt x="414" y="45"/>
                      </a:lnTo>
                      <a:lnTo>
                        <a:pt x="414" y="46"/>
                      </a:lnTo>
                      <a:lnTo>
                        <a:pt x="416" y="46"/>
                      </a:lnTo>
                      <a:lnTo>
                        <a:pt x="418" y="46"/>
                      </a:lnTo>
                      <a:lnTo>
                        <a:pt x="419" y="48"/>
                      </a:lnTo>
                      <a:lnTo>
                        <a:pt x="419" y="49"/>
                      </a:lnTo>
                      <a:lnTo>
                        <a:pt x="419" y="48"/>
                      </a:lnTo>
                      <a:lnTo>
                        <a:pt x="440" y="48"/>
                      </a:lnTo>
                      <a:lnTo>
                        <a:pt x="456" y="48"/>
                      </a:lnTo>
                      <a:lnTo>
                        <a:pt x="536" y="48"/>
                      </a:lnTo>
                      <a:lnTo>
                        <a:pt x="536" y="46"/>
                      </a:lnTo>
                      <a:lnTo>
                        <a:pt x="534" y="46"/>
                      </a:lnTo>
                      <a:lnTo>
                        <a:pt x="536" y="45"/>
                      </a:lnTo>
                      <a:lnTo>
                        <a:pt x="534" y="45"/>
                      </a:lnTo>
                      <a:lnTo>
                        <a:pt x="534" y="43"/>
                      </a:lnTo>
                      <a:lnTo>
                        <a:pt x="532" y="43"/>
                      </a:lnTo>
                      <a:lnTo>
                        <a:pt x="531" y="45"/>
                      </a:lnTo>
                      <a:lnTo>
                        <a:pt x="529" y="45"/>
                      </a:lnTo>
                      <a:lnTo>
                        <a:pt x="527" y="43"/>
                      </a:lnTo>
                      <a:lnTo>
                        <a:pt x="529" y="41"/>
                      </a:lnTo>
                      <a:lnTo>
                        <a:pt x="529" y="40"/>
                      </a:lnTo>
                      <a:lnTo>
                        <a:pt x="526" y="40"/>
                      </a:lnTo>
                      <a:lnTo>
                        <a:pt x="526" y="38"/>
                      </a:lnTo>
                      <a:lnTo>
                        <a:pt x="526" y="36"/>
                      </a:lnTo>
                      <a:lnTo>
                        <a:pt x="527" y="35"/>
                      </a:lnTo>
                      <a:lnTo>
                        <a:pt x="529" y="30"/>
                      </a:lnTo>
                      <a:lnTo>
                        <a:pt x="531" y="28"/>
                      </a:lnTo>
                      <a:lnTo>
                        <a:pt x="532" y="26"/>
                      </a:lnTo>
                      <a:lnTo>
                        <a:pt x="534" y="26"/>
                      </a:lnTo>
                      <a:lnTo>
                        <a:pt x="534" y="25"/>
                      </a:lnTo>
                      <a:lnTo>
                        <a:pt x="536" y="25"/>
                      </a:lnTo>
                      <a:lnTo>
                        <a:pt x="538" y="25"/>
                      </a:lnTo>
                      <a:lnTo>
                        <a:pt x="539" y="25"/>
                      </a:lnTo>
                      <a:lnTo>
                        <a:pt x="539" y="26"/>
                      </a:lnTo>
                      <a:lnTo>
                        <a:pt x="541" y="28"/>
                      </a:lnTo>
                      <a:lnTo>
                        <a:pt x="541" y="30"/>
                      </a:lnTo>
                      <a:lnTo>
                        <a:pt x="543" y="31"/>
                      </a:lnTo>
                      <a:lnTo>
                        <a:pt x="543" y="33"/>
                      </a:lnTo>
                      <a:lnTo>
                        <a:pt x="544" y="33"/>
                      </a:lnTo>
                      <a:lnTo>
                        <a:pt x="546" y="33"/>
                      </a:lnTo>
                      <a:lnTo>
                        <a:pt x="548" y="33"/>
                      </a:lnTo>
                      <a:lnTo>
                        <a:pt x="549" y="35"/>
                      </a:lnTo>
                      <a:lnTo>
                        <a:pt x="551" y="36"/>
                      </a:lnTo>
                      <a:lnTo>
                        <a:pt x="554" y="40"/>
                      </a:lnTo>
                      <a:lnTo>
                        <a:pt x="558" y="40"/>
                      </a:lnTo>
                      <a:lnTo>
                        <a:pt x="558" y="38"/>
                      </a:lnTo>
                      <a:lnTo>
                        <a:pt x="559" y="38"/>
                      </a:lnTo>
                      <a:lnTo>
                        <a:pt x="559" y="36"/>
                      </a:lnTo>
                      <a:lnTo>
                        <a:pt x="559" y="35"/>
                      </a:lnTo>
                      <a:lnTo>
                        <a:pt x="559" y="33"/>
                      </a:lnTo>
                      <a:lnTo>
                        <a:pt x="561" y="33"/>
                      </a:lnTo>
                      <a:lnTo>
                        <a:pt x="563" y="33"/>
                      </a:lnTo>
                      <a:lnTo>
                        <a:pt x="565" y="31"/>
                      </a:lnTo>
                      <a:lnTo>
                        <a:pt x="566" y="30"/>
                      </a:lnTo>
                      <a:lnTo>
                        <a:pt x="566" y="28"/>
                      </a:lnTo>
                      <a:lnTo>
                        <a:pt x="568" y="28"/>
                      </a:lnTo>
                      <a:lnTo>
                        <a:pt x="568" y="26"/>
                      </a:lnTo>
                      <a:lnTo>
                        <a:pt x="570" y="25"/>
                      </a:lnTo>
                      <a:lnTo>
                        <a:pt x="571" y="23"/>
                      </a:lnTo>
                      <a:lnTo>
                        <a:pt x="573" y="20"/>
                      </a:lnTo>
                      <a:lnTo>
                        <a:pt x="575" y="20"/>
                      </a:lnTo>
                      <a:lnTo>
                        <a:pt x="578" y="20"/>
                      </a:lnTo>
                      <a:lnTo>
                        <a:pt x="580" y="22"/>
                      </a:lnTo>
                      <a:lnTo>
                        <a:pt x="583" y="22"/>
                      </a:lnTo>
                      <a:lnTo>
                        <a:pt x="585" y="22"/>
                      </a:lnTo>
                      <a:lnTo>
                        <a:pt x="588" y="22"/>
                      </a:lnTo>
                      <a:lnTo>
                        <a:pt x="588" y="20"/>
                      </a:lnTo>
                      <a:lnTo>
                        <a:pt x="590" y="18"/>
                      </a:lnTo>
                      <a:lnTo>
                        <a:pt x="590" y="15"/>
                      </a:lnTo>
                      <a:lnTo>
                        <a:pt x="592" y="15"/>
                      </a:lnTo>
                      <a:lnTo>
                        <a:pt x="593" y="13"/>
                      </a:lnTo>
                      <a:lnTo>
                        <a:pt x="593" y="12"/>
                      </a:lnTo>
                      <a:lnTo>
                        <a:pt x="593" y="10"/>
                      </a:lnTo>
                      <a:lnTo>
                        <a:pt x="595" y="8"/>
                      </a:lnTo>
                      <a:lnTo>
                        <a:pt x="597" y="8"/>
                      </a:lnTo>
                      <a:lnTo>
                        <a:pt x="598" y="7"/>
                      </a:lnTo>
                      <a:lnTo>
                        <a:pt x="600" y="7"/>
                      </a:lnTo>
                      <a:lnTo>
                        <a:pt x="602" y="5"/>
                      </a:lnTo>
                      <a:lnTo>
                        <a:pt x="603" y="5"/>
                      </a:lnTo>
                      <a:lnTo>
                        <a:pt x="605" y="3"/>
                      </a:lnTo>
                      <a:lnTo>
                        <a:pt x="605" y="2"/>
                      </a:lnTo>
                      <a:lnTo>
                        <a:pt x="607" y="0"/>
                      </a:lnTo>
                      <a:lnTo>
                        <a:pt x="610" y="2"/>
                      </a:lnTo>
                      <a:lnTo>
                        <a:pt x="612" y="2"/>
                      </a:lnTo>
                      <a:lnTo>
                        <a:pt x="614" y="5"/>
                      </a:lnTo>
                      <a:lnTo>
                        <a:pt x="614" y="7"/>
                      </a:lnTo>
                      <a:lnTo>
                        <a:pt x="614" y="10"/>
                      </a:lnTo>
                      <a:lnTo>
                        <a:pt x="614" y="13"/>
                      </a:lnTo>
                      <a:lnTo>
                        <a:pt x="614" y="15"/>
                      </a:lnTo>
                      <a:lnTo>
                        <a:pt x="615" y="17"/>
                      </a:lnTo>
                      <a:lnTo>
                        <a:pt x="615" y="18"/>
                      </a:lnTo>
                      <a:lnTo>
                        <a:pt x="615" y="22"/>
                      </a:lnTo>
                      <a:lnTo>
                        <a:pt x="617" y="23"/>
                      </a:lnTo>
                      <a:lnTo>
                        <a:pt x="617" y="26"/>
                      </a:lnTo>
                      <a:lnTo>
                        <a:pt x="619" y="30"/>
                      </a:lnTo>
                      <a:lnTo>
                        <a:pt x="619" y="33"/>
                      </a:lnTo>
                      <a:lnTo>
                        <a:pt x="620" y="35"/>
                      </a:lnTo>
                      <a:lnTo>
                        <a:pt x="622" y="36"/>
                      </a:lnTo>
                      <a:lnTo>
                        <a:pt x="624" y="36"/>
                      </a:lnTo>
                      <a:lnTo>
                        <a:pt x="625" y="36"/>
                      </a:lnTo>
                      <a:lnTo>
                        <a:pt x="627" y="36"/>
                      </a:lnTo>
                      <a:lnTo>
                        <a:pt x="630" y="36"/>
                      </a:lnTo>
                      <a:lnTo>
                        <a:pt x="632" y="38"/>
                      </a:lnTo>
                      <a:lnTo>
                        <a:pt x="634" y="40"/>
                      </a:lnTo>
                      <a:lnTo>
                        <a:pt x="634" y="43"/>
                      </a:lnTo>
                      <a:lnTo>
                        <a:pt x="635" y="45"/>
                      </a:lnTo>
                      <a:lnTo>
                        <a:pt x="637" y="48"/>
                      </a:lnTo>
                      <a:lnTo>
                        <a:pt x="637" y="51"/>
                      </a:lnTo>
                      <a:lnTo>
                        <a:pt x="637" y="53"/>
                      </a:lnTo>
                      <a:lnTo>
                        <a:pt x="639" y="54"/>
                      </a:lnTo>
                      <a:lnTo>
                        <a:pt x="639" y="58"/>
                      </a:lnTo>
                      <a:lnTo>
                        <a:pt x="639" y="59"/>
                      </a:lnTo>
                      <a:lnTo>
                        <a:pt x="639" y="61"/>
                      </a:lnTo>
                      <a:lnTo>
                        <a:pt x="639" y="66"/>
                      </a:lnTo>
                      <a:lnTo>
                        <a:pt x="639" y="69"/>
                      </a:lnTo>
                      <a:lnTo>
                        <a:pt x="639" y="72"/>
                      </a:lnTo>
                      <a:lnTo>
                        <a:pt x="639" y="76"/>
                      </a:lnTo>
                      <a:lnTo>
                        <a:pt x="639" y="79"/>
                      </a:lnTo>
                      <a:lnTo>
                        <a:pt x="639" y="82"/>
                      </a:lnTo>
                      <a:lnTo>
                        <a:pt x="637" y="86"/>
                      </a:lnTo>
                      <a:lnTo>
                        <a:pt x="637" y="89"/>
                      </a:lnTo>
                      <a:lnTo>
                        <a:pt x="639" y="92"/>
                      </a:lnTo>
                      <a:lnTo>
                        <a:pt x="637" y="94"/>
                      </a:lnTo>
                      <a:lnTo>
                        <a:pt x="639" y="97"/>
                      </a:lnTo>
                      <a:lnTo>
                        <a:pt x="639" y="99"/>
                      </a:lnTo>
                      <a:lnTo>
                        <a:pt x="637" y="100"/>
                      </a:lnTo>
                      <a:lnTo>
                        <a:pt x="659" y="94"/>
                      </a:lnTo>
                      <a:lnTo>
                        <a:pt x="684" y="115"/>
                      </a:lnTo>
                      <a:lnTo>
                        <a:pt x="711" y="138"/>
                      </a:lnTo>
                      <a:lnTo>
                        <a:pt x="722" y="137"/>
                      </a:lnTo>
                      <a:lnTo>
                        <a:pt x="723" y="137"/>
                      </a:lnTo>
                      <a:lnTo>
                        <a:pt x="725" y="138"/>
                      </a:lnTo>
                      <a:lnTo>
                        <a:pt x="725" y="140"/>
                      </a:lnTo>
                      <a:lnTo>
                        <a:pt x="727" y="140"/>
                      </a:lnTo>
                      <a:lnTo>
                        <a:pt x="728" y="140"/>
                      </a:lnTo>
                      <a:lnTo>
                        <a:pt x="730" y="138"/>
                      </a:lnTo>
                      <a:lnTo>
                        <a:pt x="732" y="138"/>
                      </a:lnTo>
                      <a:lnTo>
                        <a:pt x="733" y="138"/>
                      </a:lnTo>
                      <a:lnTo>
                        <a:pt x="733" y="137"/>
                      </a:lnTo>
                      <a:lnTo>
                        <a:pt x="733" y="135"/>
                      </a:lnTo>
                      <a:lnTo>
                        <a:pt x="735" y="133"/>
                      </a:lnTo>
                      <a:lnTo>
                        <a:pt x="737" y="133"/>
                      </a:lnTo>
                      <a:lnTo>
                        <a:pt x="740" y="135"/>
                      </a:lnTo>
                      <a:lnTo>
                        <a:pt x="740" y="133"/>
                      </a:lnTo>
                      <a:lnTo>
                        <a:pt x="742" y="133"/>
                      </a:lnTo>
                      <a:lnTo>
                        <a:pt x="744" y="133"/>
                      </a:lnTo>
                      <a:lnTo>
                        <a:pt x="745" y="133"/>
                      </a:lnTo>
                      <a:lnTo>
                        <a:pt x="744" y="133"/>
                      </a:lnTo>
                      <a:lnTo>
                        <a:pt x="745" y="132"/>
                      </a:lnTo>
                      <a:lnTo>
                        <a:pt x="747" y="130"/>
                      </a:lnTo>
                      <a:lnTo>
                        <a:pt x="747" y="128"/>
                      </a:lnTo>
                      <a:lnTo>
                        <a:pt x="747" y="127"/>
                      </a:lnTo>
                      <a:lnTo>
                        <a:pt x="749" y="125"/>
                      </a:lnTo>
                      <a:lnTo>
                        <a:pt x="749" y="127"/>
                      </a:lnTo>
                      <a:lnTo>
                        <a:pt x="750" y="127"/>
                      </a:lnTo>
                      <a:lnTo>
                        <a:pt x="750" y="125"/>
                      </a:lnTo>
                      <a:lnTo>
                        <a:pt x="752" y="125"/>
                      </a:lnTo>
                      <a:lnTo>
                        <a:pt x="752" y="123"/>
                      </a:lnTo>
                      <a:lnTo>
                        <a:pt x="754" y="123"/>
                      </a:lnTo>
                      <a:lnTo>
                        <a:pt x="752" y="122"/>
                      </a:lnTo>
                      <a:lnTo>
                        <a:pt x="754" y="122"/>
                      </a:lnTo>
                      <a:lnTo>
                        <a:pt x="755" y="122"/>
                      </a:lnTo>
                      <a:lnTo>
                        <a:pt x="757" y="122"/>
                      </a:lnTo>
                      <a:lnTo>
                        <a:pt x="757" y="120"/>
                      </a:lnTo>
                      <a:lnTo>
                        <a:pt x="759" y="120"/>
                      </a:lnTo>
                      <a:lnTo>
                        <a:pt x="760" y="120"/>
                      </a:lnTo>
                      <a:lnTo>
                        <a:pt x="762" y="118"/>
                      </a:lnTo>
                      <a:lnTo>
                        <a:pt x="762" y="120"/>
                      </a:lnTo>
                      <a:lnTo>
                        <a:pt x="764" y="118"/>
                      </a:lnTo>
                      <a:lnTo>
                        <a:pt x="764" y="117"/>
                      </a:lnTo>
                      <a:lnTo>
                        <a:pt x="766" y="117"/>
                      </a:lnTo>
                      <a:lnTo>
                        <a:pt x="766" y="115"/>
                      </a:lnTo>
                      <a:lnTo>
                        <a:pt x="767" y="115"/>
                      </a:lnTo>
                      <a:lnTo>
                        <a:pt x="769" y="117"/>
                      </a:lnTo>
                      <a:lnTo>
                        <a:pt x="769" y="115"/>
                      </a:lnTo>
                      <a:lnTo>
                        <a:pt x="771" y="115"/>
                      </a:lnTo>
                      <a:lnTo>
                        <a:pt x="771" y="117"/>
                      </a:lnTo>
                      <a:lnTo>
                        <a:pt x="772" y="117"/>
                      </a:lnTo>
                      <a:lnTo>
                        <a:pt x="772" y="115"/>
                      </a:lnTo>
                      <a:lnTo>
                        <a:pt x="774" y="115"/>
                      </a:lnTo>
                      <a:lnTo>
                        <a:pt x="776" y="115"/>
                      </a:lnTo>
                      <a:lnTo>
                        <a:pt x="777" y="117"/>
                      </a:lnTo>
                      <a:lnTo>
                        <a:pt x="776" y="115"/>
                      </a:lnTo>
                      <a:lnTo>
                        <a:pt x="777" y="115"/>
                      </a:lnTo>
                      <a:lnTo>
                        <a:pt x="779" y="115"/>
                      </a:lnTo>
                      <a:lnTo>
                        <a:pt x="781" y="115"/>
                      </a:lnTo>
                      <a:lnTo>
                        <a:pt x="782" y="117"/>
                      </a:lnTo>
                      <a:lnTo>
                        <a:pt x="782" y="118"/>
                      </a:lnTo>
                      <a:lnTo>
                        <a:pt x="784" y="118"/>
                      </a:lnTo>
                      <a:lnTo>
                        <a:pt x="784" y="120"/>
                      </a:lnTo>
                      <a:lnTo>
                        <a:pt x="786" y="120"/>
                      </a:lnTo>
                      <a:lnTo>
                        <a:pt x="786" y="122"/>
                      </a:lnTo>
                      <a:lnTo>
                        <a:pt x="787" y="123"/>
                      </a:lnTo>
                      <a:lnTo>
                        <a:pt x="787" y="125"/>
                      </a:lnTo>
                      <a:lnTo>
                        <a:pt x="787" y="127"/>
                      </a:lnTo>
                      <a:lnTo>
                        <a:pt x="789" y="127"/>
                      </a:lnTo>
                      <a:lnTo>
                        <a:pt x="787" y="128"/>
                      </a:lnTo>
                      <a:lnTo>
                        <a:pt x="787" y="130"/>
                      </a:lnTo>
                      <a:lnTo>
                        <a:pt x="789" y="130"/>
                      </a:lnTo>
                      <a:lnTo>
                        <a:pt x="787" y="130"/>
                      </a:lnTo>
                      <a:lnTo>
                        <a:pt x="787" y="132"/>
                      </a:lnTo>
                      <a:lnTo>
                        <a:pt x="786" y="130"/>
                      </a:lnTo>
                      <a:lnTo>
                        <a:pt x="786" y="132"/>
                      </a:lnTo>
                      <a:lnTo>
                        <a:pt x="786" y="133"/>
                      </a:lnTo>
                      <a:lnTo>
                        <a:pt x="784" y="133"/>
                      </a:lnTo>
                      <a:lnTo>
                        <a:pt x="784" y="135"/>
                      </a:lnTo>
                      <a:lnTo>
                        <a:pt x="784" y="137"/>
                      </a:lnTo>
                      <a:lnTo>
                        <a:pt x="782" y="137"/>
                      </a:lnTo>
                      <a:lnTo>
                        <a:pt x="781" y="138"/>
                      </a:lnTo>
                      <a:lnTo>
                        <a:pt x="781" y="140"/>
                      </a:lnTo>
                      <a:lnTo>
                        <a:pt x="779" y="141"/>
                      </a:lnTo>
                      <a:lnTo>
                        <a:pt x="781" y="141"/>
                      </a:lnTo>
                      <a:lnTo>
                        <a:pt x="781" y="143"/>
                      </a:lnTo>
                      <a:lnTo>
                        <a:pt x="782" y="145"/>
                      </a:lnTo>
                      <a:lnTo>
                        <a:pt x="782" y="146"/>
                      </a:lnTo>
                      <a:lnTo>
                        <a:pt x="784" y="148"/>
                      </a:lnTo>
                      <a:lnTo>
                        <a:pt x="786" y="148"/>
                      </a:lnTo>
                      <a:lnTo>
                        <a:pt x="786" y="146"/>
                      </a:lnTo>
                      <a:lnTo>
                        <a:pt x="787" y="146"/>
                      </a:lnTo>
                      <a:lnTo>
                        <a:pt x="789" y="146"/>
                      </a:lnTo>
                      <a:lnTo>
                        <a:pt x="789" y="145"/>
                      </a:lnTo>
                      <a:lnTo>
                        <a:pt x="791" y="145"/>
                      </a:lnTo>
                      <a:lnTo>
                        <a:pt x="793" y="145"/>
                      </a:lnTo>
                      <a:lnTo>
                        <a:pt x="794" y="145"/>
                      </a:lnTo>
                      <a:lnTo>
                        <a:pt x="794" y="143"/>
                      </a:lnTo>
                      <a:lnTo>
                        <a:pt x="796" y="143"/>
                      </a:lnTo>
                      <a:lnTo>
                        <a:pt x="796" y="140"/>
                      </a:lnTo>
                      <a:lnTo>
                        <a:pt x="798" y="140"/>
                      </a:lnTo>
                      <a:lnTo>
                        <a:pt x="796" y="140"/>
                      </a:lnTo>
                      <a:lnTo>
                        <a:pt x="796" y="138"/>
                      </a:lnTo>
                      <a:lnTo>
                        <a:pt x="798" y="138"/>
                      </a:lnTo>
                      <a:lnTo>
                        <a:pt x="798" y="137"/>
                      </a:lnTo>
                      <a:lnTo>
                        <a:pt x="798" y="135"/>
                      </a:lnTo>
                      <a:lnTo>
                        <a:pt x="798" y="133"/>
                      </a:lnTo>
                      <a:lnTo>
                        <a:pt x="796" y="133"/>
                      </a:lnTo>
                      <a:lnTo>
                        <a:pt x="798" y="133"/>
                      </a:lnTo>
                      <a:lnTo>
                        <a:pt x="798" y="132"/>
                      </a:lnTo>
                      <a:lnTo>
                        <a:pt x="799" y="130"/>
                      </a:lnTo>
                      <a:lnTo>
                        <a:pt x="801" y="128"/>
                      </a:lnTo>
                      <a:lnTo>
                        <a:pt x="803" y="128"/>
                      </a:lnTo>
                      <a:lnTo>
                        <a:pt x="803" y="127"/>
                      </a:lnTo>
                      <a:lnTo>
                        <a:pt x="803" y="125"/>
                      </a:lnTo>
                      <a:lnTo>
                        <a:pt x="804" y="125"/>
                      </a:lnTo>
                      <a:lnTo>
                        <a:pt x="804" y="123"/>
                      </a:lnTo>
                      <a:lnTo>
                        <a:pt x="804" y="122"/>
                      </a:lnTo>
                      <a:lnTo>
                        <a:pt x="806" y="122"/>
                      </a:lnTo>
                      <a:lnTo>
                        <a:pt x="808" y="122"/>
                      </a:lnTo>
                      <a:lnTo>
                        <a:pt x="809" y="122"/>
                      </a:lnTo>
                      <a:lnTo>
                        <a:pt x="811" y="122"/>
                      </a:lnTo>
                      <a:lnTo>
                        <a:pt x="811" y="123"/>
                      </a:lnTo>
                      <a:lnTo>
                        <a:pt x="813" y="123"/>
                      </a:lnTo>
                      <a:lnTo>
                        <a:pt x="814" y="123"/>
                      </a:lnTo>
                      <a:lnTo>
                        <a:pt x="814" y="122"/>
                      </a:lnTo>
                      <a:lnTo>
                        <a:pt x="816" y="122"/>
                      </a:lnTo>
                      <a:lnTo>
                        <a:pt x="816" y="123"/>
                      </a:lnTo>
                      <a:lnTo>
                        <a:pt x="816" y="125"/>
                      </a:lnTo>
                      <a:lnTo>
                        <a:pt x="818" y="123"/>
                      </a:lnTo>
                      <a:lnTo>
                        <a:pt x="820" y="122"/>
                      </a:lnTo>
                      <a:lnTo>
                        <a:pt x="820" y="120"/>
                      </a:lnTo>
                      <a:lnTo>
                        <a:pt x="820" y="118"/>
                      </a:lnTo>
                      <a:lnTo>
                        <a:pt x="821" y="118"/>
                      </a:lnTo>
                      <a:lnTo>
                        <a:pt x="821" y="117"/>
                      </a:lnTo>
                      <a:lnTo>
                        <a:pt x="821" y="115"/>
                      </a:lnTo>
                      <a:lnTo>
                        <a:pt x="820" y="115"/>
                      </a:lnTo>
                      <a:lnTo>
                        <a:pt x="820" y="114"/>
                      </a:lnTo>
                      <a:lnTo>
                        <a:pt x="821" y="114"/>
                      </a:lnTo>
                      <a:lnTo>
                        <a:pt x="821" y="112"/>
                      </a:lnTo>
                      <a:lnTo>
                        <a:pt x="821" y="110"/>
                      </a:lnTo>
                      <a:lnTo>
                        <a:pt x="821" y="109"/>
                      </a:lnTo>
                      <a:lnTo>
                        <a:pt x="821" y="107"/>
                      </a:lnTo>
                      <a:lnTo>
                        <a:pt x="821" y="105"/>
                      </a:lnTo>
                      <a:lnTo>
                        <a:pt x="821" y="104"/>
                      </a:lnTo>
                      <a:lnTo>
                        <a:pt x="823" y="104"/>
                      </a:lnTo>
                      <a:lnTo>
                        <a:pt x="825" y="104"/>
                      </a:lnTo>
                      <a:lnTo>
                        <a:pt x="825" y="102"/>
                      </a:lnTo>
                      <a:lnTo>
                        <a:pt x="826" y="102"/>
                      </a:lnTo>
                      <a:lnTo>
                        <a:pt x="828" y="102"/>
                      </a:lnTo>
                      <a:lnTo>
                        <a:pt x="830" y="102"/>
                      </a:lnTo>
                      <a:lnTo>
                        <a:pt x="830" y="104"/>
                      </a:lnTo>
                      <a:lnTo>
                        <a:pt x="830" y="105"/>
                      </a:lnTo>
                      <a:lnTo>
                        <a:pt x="831" y="105"/>
                      </a:lnTo>
                      <a:lnTo>
                        <a:pt x="833" y="105"/>
                      </a:lnTo>
                      <a:lnTo>
                        <a:pt x="835" y="104"/>
                      </a:lnTo>
                      <a:lnTo>
                        <a:pt x="836" y="102"/>
                      </a:lnTo>
                      <a:lnTo>
                        <a:pt x="838" y="100"/>
                      </a:lnTo>
                      <a:lnTo>
                        <a:pt x="840" y="99"/>
                      </a:lnTo>
                      <a:lnTo>
                        <a:pt x="840" y="97"/>
                      </a:lnTo>
                      <a:lnTo>
                        <a:pt x="838" y="95"/>
                      </a:lnTo>
                      <a:lnTo>
                        <a:pt x="840" y="95"/>
                      </a:lnTo>
                      <a:lnTo>
                        <a:pt x="840" y="94"/>
                      </a:lnTo>
                      <a:lnTo>
                        <a:pt x="842" y="95"/>
                      </a:lnTo>
                      <a:lnTo>
                        <a:pt x="842" y="97"/>
                      </a:lnTo>
                      <a:lnTo>
                        <a:pt x="843" y="95"/>
                      </a:lnTo>
                      <a:lnTo>
                        <a:pt x="845" y="94"/>
                      </a:lnTo>
                      <a:lnTo>
                        <a:pt x="845" y="92"/>
                      </a:lnTo>
                      <a:lnTo>
                        <a:pt x="847" y="92"/>
                      </a:lnTo>
                      <a:lnTo>
                        <a:pt x="847" y="94"/>
                      </a:lnTo>
                      <a:lnTo>
                        <a:pt x="847" y="95"/>
                      </a:lnTo>
                      <a:lnTo>
                        <a:pt x="848" y="94"/>
                      </a:lnTo>
                      <a:lnTo>
                        <a:pt x="850" y="92"/>
                      </a:lnTo>
                      <a:lnTo>
                        <a:pt x="848" y="91"/>
                      </a:lnTo>
                      <a:lnTo>
                        <a:pt x="850" y="91"/>
                      </a:lnTo>
                      <a:lnTo>
                        <a:pt x="852" y="89"/>
                      </a:lnTo>
                      <a:lnTo>
                        <a:pt x="853" y="89"/>
                      </a:lnTo>
                      <a:lnTo>
                        <a:pt x="853" y="87"/>
                      </a:lnTo>
                      <a:lnTo>
                        <a:pt x="855" y="87"/>
                      </a:lnTo>
                      <a:lnTo>
                        <a:pt x="855" y="89"/>
                      </a:lnTo>
                      <a:lnTo>
                        <a:pt x="855" y="91"/>
                      </a:lnTo>
                      <a:lnTo>
                        <a:pt x="857" y="92"/>
                      </a:lnTo>
                      <a:lnTo>
                        <a:pt x="858" y="94"/>
                      </a:lnTo>
                      <a:lnTo>
                        <a:pt x="858" y="95"/>
                      </a:lnTo>
                      <a:lnTo>
                        <a:pt x="860" y="95"/>
                      </a:lnTo>
                      <a:lnTo>
                        <a:pt x="860" y="94"/>
                      </a:lnTo>
                      <a:lnTo>
                        <a:pt x="862" y="94"/>
                      </a:lnTo>
                      <a:lnTo>
                        <a:pt x="863" y="92"/>
                      </a:lnTo>
                      <a:lnTo>
                        <a:pt x="863" y="91"/>
                      </a:lnTo>
                      <a:lnTo>
                        <a:pt x="863" y="89"/>
                      </a:lnTo>
                      <a:lnTo>
                        <a:pt x="865" y="89"/>
                      </a:lnTo>
                      <a:lnTo>
                        <a:pt x="867" y="89"/>
                      </a:lnTo>
                      <a:lnTo>
                        <a:pt x="869" y="89"/>
                      </a:lnTo>
                      <a:lnTo>
                        <a:pt x="870" y="87"/>
                      </a:lnTo>
                      <a:lnTo>
                        <a:pt x="870" y="86"/>
                      </a:lnTo>
                      <a:lnTo>
                        <a:pt x="872" y="86"/>
                      </a:lnTo>
                      <a:lnTo>
                        <a:pt x="874" y="84"/>
                      </a:lnTo>
                      <a:lnTo>
                        <a:pt x="875" y="84"/>
                      </a:lnTo>
                      <a:lnTo>
                        <a:pt x="875" y="82"/>
                      </a:lnTo>
                      <a:lnTo>
                        <a:pt x="875" y="81"/>
                      </a:lnTo>
                      <a:lnTo>
                        <a:pt x="877" y="81"/>
                      </a:lnTo>
                      <a:lnTo>
                        <a:pt x="877" y="79"/>
                      </a:lnTo>
                      <a:lnTo>
                        <a:pt x="877" y="77"/>
                      </a:lnTo>
                      <a:lnTo>
                        <a:pt x="879" y="77"/>
                      </a:lnTo>
                      <a:lnTo>
                        <a:pt x="880" y="77"/>
                      </a:lnTo>
                      <a:lnTo>
                        <a:pt x="880" y="76"/>
                      </a:lnTo>
                      <a:lnTo>
                        <a:pt x="880" y="74"/>
                      </a:lnTo>
                      <a:lnTo>
                        <a:pt x="880" y="76"/>
                      </a:lnTo>
                      <a:lnTo>
                        <a:pt x="882" y="76"/>
                      </a:lnTo>
                      <a:lnTo>
                        <a:pt x="884" y="76"/>
                      </a:lnTo>
                      <a:lnTo>
                        <a:pt x="884" y="74"/>
                      </a:lnTo>
                      <a:lnTo>
                        <a:pt x="885" y="72"/>
                      </a:lnTo>
                      <a:lnTo>
                        <a:pt x="887" y="71"/>
                      </a:lnTo>
                      <a:lnTo>
                        <a:pt x="889" y="72"/>
                      </a:lnTo>
                      <a:lnTo>
                        <a:pt x="890" y="72"/>
                      </a:lnTo>
                      <a:lnTo>
                        <a:pt x="890" y="71"/>
                      </a:lnTo>
                      <a:lnTo>
                        <a:pt x="892" y="69"/>
                      </a:lnTo>
                      <a:lnTo>
                        <a:pt x="892" y="68"/>
                      </a:lnTo>
                      <a:lnTo>
                        <a:pt x="894" y="68"/>
                      </a:lnTo>
                      <a:lnTo>
                        <a:pt x="896" y="68"/>
                      </a:lnTo>
                      <a:lnTo>
                        <a:pt x="897" y="68"/>
                      </a:lnTo>
                      <a:lnTo>
                        <a:pt x="897" y="69"/>
                      </a:lnTo>
                      <a:lnTo>
                        <a:pt x="897" y="71"/>
                      </a:lnTo>
                      <a:lnTo>
                        <a:pt x="896" y="72"/>
                      </a:lnTo>
                      <a:lnTo>
                        <a:pt x="896" y="74"/>
                      </a:lnTo>
                      <a:lnTo>
                        <a:pt x="894" y="74"/>
                      </a:lnTo>
                      <a:lnTo>
                        <a:pt x="894" y="76"/>
                      </a:lnTo>
                      <a:lnTo>
                        <a:pt x="892" y="77"/>
                      </a:lnTo>
                      <a:lnTo>
                        <a:pt x="894" y="77"/>
                      </a:lnTo>
                      <a:lnTo>
                        <a:pt x="892" y="79"/>
                      </a:lnTo>
                      <a:lnTo>
                        <a:pt x="894" y="81"/>
                      </a:lnTo>
                      <a:lnTo>
                        <a:pt x="896" y="81"/>
                      </a:lnTo>
                      <a:lnTo>
                        <a:pt x="897" y="79"/>
                      </a:lnTo>
                      <a:lnTo>
                        <a:pt x="897" y="81"/>
                      </a:lnTo>
                      <a:lnTo>
                        <a:pt x="897" y="82"/>
                      </a:lnTo>
                      <a:lnTo>
                        <a:pt x="899" y="82"/>
                      </a:lnTo>
                      <a:lnTo>
                        <a:pt x="899" y="81"/>
                      </a:lnTo>
                      <a:lnTo>
                        <a:pt x="899" y="79"/>
                      </a:lnTo>
                      <a:lnTo>
                        <a:pt x="901" y="77"/>
                      </a:lnTo>
                      <a:lnTo>
                        <a:pt x="899" y="77"/>
                      </a:lnTo>
                      <a:lnTo>
                        <a:pt x="899" y="76"/>
                      </a:lnTo>
                      <a:lnTo>
                        <a:pt x="901" y="76"/>
                      </a:lnTo>
                      <a:lnTo>
                        <a:pt x="901" y="74"/>
                      </a:lnTo>
                      <a:lnTo>
                        <a:pt x="902" y="74"/>
                      </a:lnTo>
                      <a:lnTo>
                        <a:pt x="902" y="72"/>
                      </a:lnTo>
                      <a:lnTo>
                        <a:pt x="904" y="72"/>
                      </a:lnTo>
                      <a:lnTo>
                        <a:pt x="904" y="71"/>
                      </a:lnTo>
                      <a:lnTo>
                        <a:pt x="906" y="71"/>
                      </a:lnTo>
                      <a:lnTo>
                        <a:pt x="906" y="69"/>
                      </a:lnTo>
                      <a:lnTo>
                        <a:pt x="907" y="69"/>
                      </a:lnTo>
                      <a:lnTo>
                        <a:pt x="909" y="69"/>
                      </a:lnTo>
                      <a:lnTo>
                        <a:pt x="911" y="69"/>
                      </a:lnTo>
                      <a:lnTo>
                        <a:pt x="911" y="68"/>
                      </a:lnTo>
                      <a:lnTo>
                        <a:pt x="912" y="68"/>
                      </a:lnTo>
                      <a:lnTo>
                        <a:pt x="912" y="66"/>
                      </a:lnTo>
                      <a:lnTo>
                        <a:pt x="912" y="64"/>
                      </a:lnTo>
                      <a:lnTo>
                        <a:pt x="914" y="64"/>
                      </a:lnTo>
                      <a:lnTo>
                        <a:pt x="914" y="63"/>
                      </a:lnTo>
                      <a:lnTo>
                        <a:pt x="916" y="63"/>
                      </a:lnTo>
                      <a:lnTo>
                        <a:pt x="918" y="63"/>
                      </a:lnTo>
                      <a:lnTo>
                        <a:pt x="919" y="63"/>
                      </a:lnTo>
                      <a:lnTo>
                        <a:pt x="921" y="61"/>
                      </a:lnTo>
                      <a:lnTo>
                        <a:pt x="921" y="59"/>
                      </a:lnTo>
                      <a:lnTo>
                        <a:pt x="923" y="56"/>
                      </a:lnTo>
                      <a:lnTo>
                        <a:pt x="924" y="56"/>
                      </a:lnTo>
                      <a:lnTo>
                        <a:pt x="924" y="53"/>
                      </a:lnTo>
                      <a:lnTo>
                        <a:pt x="924" y="51"/>
                      </a:lnTo>
                      <a:lnTo>
                        <a:pt x="924" y="49"/>
                      </a:lnTo>
                      <a:lnTo>
                        <a:pt x="924" y="48"/>
                      </a:lnTo>
                      <a:lnTo>
                        <a:pt x="924" y="46"/>
                      </a:lnTo>
                      <a:lnTo>
                        <a:pt x="923" y="46"/>
                      </a:lnTo>
                      <a:lnTo>
                        <a:pt x="924" y="45"/>
                      </a:lnTo>
                      <a:lnTo>
                        <a:pt x="924" y="43"/>
                      </a:lnTo>
                      <a:lnTo>
                        <a:pt x="924" y="41"/>
                      </a:lnTo>
                      <a:lnTo>
                        <a:pt x="926" y="41"/>
                      </a:lnTo>
                      <a:lnTo>
                        <a:pt x="924" y="40"/>
                      </a:lnTo>
                      <a:lnTo>
                        <a:pt x="926" y="40"/>
                      </a:lnTo>
                      <a:lnTo>
                        <a:pt x="926" y="38"/>
                      </a:lnTo>
                      <a:lnTo>
                        <a:pt x="924" y="38"/>
                      </a:lnTo>
                      <a:lnTo>
                        <a:pt x="924" y="36"/>
                      </a:lnTo>
                      <a:lnTo>
                        <a:pt x="924" y="35"/>
                      </a:lnTo>
                      <a:lnTo>
                        <a:pt x="924" y="33"/>
                      </a:lnTo>
                      <a:lnTo>
                        <a:pt x="924" y="31"/>
                      </a:lnTo>
                      <a:lnTo>
                        <a:pt x="924" y="30"/>
                      </a:lnTo>
                      <a:lnTo>
                        <a:pt x="926" y="30"/>
                      </a:lnTo>
                      <a:lnTo>
                        <a:pt x="926" y="28"/>
                      </a:lnTo>
                      <a:lnTo>
                        <a:pt x="928" y="28"/>
                      </a:lnTo>
                      <a:lnTo>
                        <a:pt x="929" y="28"/>
                      </a:lnTo>
                      <a:lnTo>
                        <a:pt x="929" y="26"/>
                      </a:lnTo>
                      <a:lnTo>
                        <a:pt x="931" y="26"/>
                      </a:lnTo>
                      <a:lnTo>
                        <a:pt x="931" y="25"/>
                      </a:lnTo>
                      <a:lnTo>
                        <a:pt x="933" y="25"/>
                      </a:lnTo>
                      <a:lnTo>
                        <a:pt x="934" y="25"/>
                      </a:lnTo>
                      <a:lnTo>
                        <a:pt x="936" y="25"/>
                      </a:lnTo>
                      <a:lnTo>
                        <a:pt x="938" y="25"/>
                      </a:lnTo>
                      <a:lnTo>
                        <a:pt x="939" y="25"/>
                      </a:lnTo>
                      <a:lnTo>
                        <a:pt x="941" y="25"/>
                      </a:lnTo>
                      <a:lnTo>
                        <a:pt x="943" y="25"/>
                      </a:lnTo>
                      <a:lnTo>
                        <a:pt x="945" y="25"/>
                      </a:lnTo>
                      <a:lnTo>
                        <a:pt x="945" y="26"/>
                      </a:lnTo>
                      <a:lnTo>
                        <a:pt x="946" y="26"/>
                      </a:lnTo>
                      <a:lnTo>
                        <a:pt x="948" y="25"/>
                      </a:lnTo>
                      <a:lnTo>
                        <a:pt x="950" y="25"/>
                      </a:lnTo>
                      <a:lnTo>
                        <a:pt x="951" y="25"/>
                      </a:lnTo>
                      <a:lnTo>
                        <a:pt x="953" y="23"/>
                      </a:lnTo>
                      <a:lnTo>
                        <a:pt x="955" y="23"/>
                      </a:lnTo>
                      <a:lnTo>
                        <a:pt x="955" y="22"/>
                      </a:lnTo>
                      <a:lnTo>
                        <a:pt x="956" y="22"/>
                      </a:lnTo>
                      <a:lnTo>
                        <a:pt x="958" y="20"/>
                      </a:lnTo>
                      <a:lnTo>
                        <a:pt x="960" y="20"/>
                      </a:lnTo>
                      <a:lnTo>
                        <a:pt x="960" y="22"/>
                      </a:lnTo>
                      <a:lnTo>
                        <a:pt x="961" y="22"/>
                      </a:lnTo>
                      <a:lnTo>
                        <a:pt x="963" y="22"/>
                      </a:lnTo>
                      <a:lnTo>
                        <a:pt x="963" y="20"/>
                      </a:lnTo>
                      <a:lnTo>
                        <a:pt x="963" y="18"/>
                      </a:lnTo>
                      <a:lnTo>
                        <a:pt x="963" y="17"/>
                      </a:lnTo>
                      <a:lnTo>
                        <a:pt x="965" y="18"/>
                      </a:lnTo>
                      <a:lnTo>
                        <a:pt x="965" y="17"/>
                      </a:lnTo>
                      <a:lnTo>
                        <a:pt x="966" y="15"/>
                      </a:lnTo>
                      <a:lnTo>
                        <a:pt x="966" y="13"/>
                      </a:lnTo>
                      <a:lnTo>
                        <a:pt x="968" y="13"/>
                      </a:lnTo>
                      <a:lnTo>
                        <a:pt x="970" y="12"/>
                      </a:lnTo>
                      <a:lnTo>
                        <a:pt x="970" y="13"/>
                      </a:lnTo>
                      <a:lnTo>
                        <a:pt x="972" y="12"/>
                      </a:lnTo>
                      <a:lnTo>
                        <a:pt x="973" y="12"/>
                      </a:lnTo>
                      <a:lnTo>
                        <a:pt x="975" y="12"/>
                      </a:lnTo>
                      <a:lnTo>
                        <a:pt x="977" y="12"/>
                      </a:lnTo>
                      <a:lnTo>
                        <a:pt x="977" y="13"/>
                      </a:lnTo>
                      <a:lnTo>
                        <a:pt x="978" y="13"/>
                      </a:lnTo>
                      <a:lnTo>
                        <a:pt x="980" y="12"/>
                      </a:lnTo>
                      <a:lnTo>
                        <a:pt x="980" y="10"/>
                      </a:lnTo>
                      <a:lnTo>
                        <a:pt x="982" y="10"/>
                      </a:lnTo>
                      <a:lnTo>
                        <a:pt x="982" y="12"/>
                      </a:lnTo>
                      <a:lnTo>
                        <a:pt x="983" y="12"/>
                      </a:lnTo>
                      <a:lnTo>
                        <a:pt x="985" y="12"/>
                      </a:lnTo>
                      <a:lnTo>
                        <a:pt x="987" y="10"/>
                      </a:lnTo>
                      <a:lnTo>
                        <a:pt x="988" y="10"/>
                      </a:lnTo>
                      <a:lnTo>
                        <a:pt x="988" y="8"/>
                      </a:lnTo>
                      <a:lnTo>
                        <a:pt x="988" y="7"/>
                      </a:lnTo>
                      <a:lnTo>
                        <a:pt x="988" y="5"/>
                      </a:lnTo>
                      <a:lnTo>
                        <a:pt x="990" y="3"/>
                      </a:lnTo>
                      <a:lnTo>
                        <a:pt x="990" y="2"/>
                      </a:lnTo>
                      <a:lnTo>
                        <a:pt x="990" y="3"/>
                      </a:lnTo>
                      <a:lnTo>
                        <a:pt x="992" y="5"/>
                      </a:lnTo>
                      <a:lnTo>
                        <a:pt x="994" y="5"/>
                      </a:lnTo>
                      <a:lnTo>
                        <a:pt x="994" y="7"/>
                      </a:lnTo>
                      <a:lnTo>
                        <a:pt x="995" y="7"/>
                      </a:lnTo>
                      <a:lnTo>
                        <a:pt x="997" y="8"/>
                      </a:lnTo>
                      <a:lnTo>
                        <a:pt x="999" y="8"/>
                      </a:lnTo>
                      <a:lnTo>
                        <a:pt x="1000" y="10"/>
                      </a:lnTo>
                      <a:lnTo>
                        <a:pt x="1002" y="10"/>
                      </a:lnTo>
                      <a:lnTo>
                        <a:pt x="1005" y="8"/>
                      </a:lnTo>
                      <a:lnTo>
                        <a:pt x="1007" y="8"/>
                      </a:lnTo>
                      <a:lnTo>
                        <a:pt x="1009" y="7"/>
                      </a:lnTo>
                      <a:lnTo>
                        <a:pt x="1010" y="7"/>
                      </a:lnTo>
                      <a:lnTo>
                        <a:pt x="1012" y="8"/>
                      </a:lnTo>
                      <a:lnTo>
                        <a:pt x="1014" y="8"/>
                      </a:lnTo>
                      <a:lnTo>
                        <a:pt x="1015" y="8"/>
                      </a:lnTo>
                      <a:lnTo>
                        <a:pt x="1015" y="10"/>
                      </a:lnTo>
                      <a:lnTo>
                        <a:pt x="1014" y="12"/>
                      </a:lnTo>
                      <a:lnTo>
                        <a:pt x="1015" y="12"/>
                      </a:lnTo>
                      <a:lnTo>
                        <a:pt x="1015" y="13"/>
                      </a:lnTo>
                      <a:lnTo>
                        <a:pt x="1015" y="15"/>
                      </a:lnTo>
                      <a:lnTo>
                        <a:pt x="1017" y="17"/>
                      </a:lnTo>
                      <a:lnTo>
                        <a:pt x="1017" y="18"/>
                      </a:lnTo>
                      <a:lnTo>
                        <a:pt x="1019" y="18"/>
                      </a:lnTo>
                      <a:lnTo>
                        <a:pt x="1021" y="20"/>
                      </a:lnTo>
                      <a:lnTo>
                        <a:pt x="1022" y="22"/>
                      </a:lnTo>
                      <a:lnTo>
                        <a:pt x="1024" y="22"/>
                      </a:lnTo>
                      <a:lnTo>
                        <a:pt x="1026" y="23"/>
                      </a:lnTo>
                      <a:lnTo>
                        <a:pt x="1027" y="23"/>
                      </a:lnTo>
                      <a:lnTo>
                        <a:pt x="1027" y="22"/>
                      </a:lnTo>
                      <a:lnTo>
                        <a:pt x="1029" y="23"/>
                      </a:lnTo>
                      <a:lnTo>
                        <a:pt x="1029" y="22"/>
                      </a:lnTo>
                      <a:lnTo>
                        <a:pt x="1031" y="22"/>
                      </a:lnTo>
                      <a:lnTo>
                        <a:pt x="1032" y="22"/>
                      </a:lnTo>
                      <a:lnTo>
                        <a:pt x="1034" y="22"/>
                      </a:lnTo>
                      <a:lnTo>
                        <a:pt x="1036" y="22"/>
                      </a:lnTo>
                      <a:lnTo>
                        <a:pt x="1039" y="22"/>
                      </a:lnTo>
                      <a:lnTo>
                        <a:pt x="1041" y="23"/>
                      </a:lnTo>
                      <a:lnTo>
                        <a:pt x="1042" y="23"/>
                      </a:lnTo>
                      <a:lnTo>
                        <a:pt x="1044" y="23"/>
                      </a:lnTo>
                      <a:lnTo>
                        <a:pt x="1044" y="25"/>
                      </a:lnTo>
                      <a:lnTo>
                        <a:pt x="1046" y="25"/>
                      </a:lnTo>
                      <a:lnTo>
                        <a:pt x="1048" y="25"/>
                      </a:lnTo>
                      <a:lnTo>
                        <a:pt x="1051" y="26"/>
                      </a:lnTo>
                      <a:lnTo>
                        <a:pt x="1053" y="28"/>
                      </a:lnTo>
                      <a:lnTo>
                        <a:pt x="1054" y="28"/>
                      </a:lnTo>
                      <a:lnTo>
                        <a:pt x="1054" y="30"/>
                      </a:lnTo>
                      <a:lnTo>
                        <a:pt x="1056" y="31"/>
                      </a:lnTo>
                      <a:lnTo>
                        <a:pt x="1056" y="33"/>
                      </a:lnTo>
                      <a:lnTo>
                        <a:pt x="1054" y="35"/>
                      </a:lnTo>
                      <a:lnTo>
                        <a:pt x="1054" y="36"/>
                      </a:lnTo>
                      <a:lnTo>
                        <a:pt x="1054" y="38"/>
                      </a:lnTo>
                      <a:lnTo>
                        <a:pt x="1053" y="40"/>
                      </a:lnTo>
                      <a:lnTo>
                        <a:pt x="1053" y="41"/>
                      </a:lnTo>
                      <a:lnTo>
                        <a:pt x="1053" y="43"/>
                      </a:lnTo>
                      <a:lnTo>
                        <a:pt x="1053" y="45"/>
                      </a:lnTo>
                      <a:lnTo>
                        <a:pt x="1053" y="46"/>
                      </a:lnTo>
                      <a:lnTo>
                        <a:pt x="1053" y="48"/>
                      </a:lnTo>
                      <a:lnTo>
                        <a:pt x="1053" y="49"/>
                      </a:lnTo>
                      <a:lnTo>
                        <a:pt x="1053" y="51"/>
                      </a:lnTo>
                      <a:lnTo>
                        <a:pt x="1051" y="53"/>
                      </a:lnTo>
                      <a:lnTo>
                        <a:pt x="1049" y="54"/>
                      </a:lnTo>
                      <a:lnTo>
                        <a:pt x="1048" y="56"/>
                      </a:lnTo>
                      <a:lnTo>
                        <a:pt x="1046" y="58"/>
                      </a:lnTo>
                      <a:lnTo>
                        <a:pt x="1046" y="59"/>
                      </a:lnTo>
                      <a:lnTo>
                        <a:pt x="1044" y="61"/>
                      </a:lnTo>
                      <a:lnTo>
                        <a:pt x="1046" y="61"/>
                      </a:lnTo>
                      <a:lnTo>
                        <a:pt x="1046" y="63"/>
                      </a:lnTo>
                      <a:lnTo>
                        <a:pt x="1051" y="66"/>
                      </a:lnTo>
                      <a:lnTo>
                        <a:pt x="1051" y="68"/>
                      </a:lnTo>
                      <a:lnTo>
                        <a:pt x="1051" y="69"/>
                      </a:lnTo>
                      <a:lnTo>
                        <a:pt x="1053" y="71"/>
                      </a:lnTo>
                      <a:lnTo>
                        <a:pt x="1054" y="72"/>
                      </a:lnTo>
                      <a:lnTo>
                        <a:pt x="1056" y="74"/>
                      </a:lnTo>
                      <a:lnTo>
                        <a:pt x="1058" y="74"/>
                      </a:lnTo>
                      <a:lnTo>
                        <a:pt x="1059" y="74"/>
                      </a:lnTo>
                      <a:lnTo>
                        <a:pt x="1059" y="76"/>
                      </a:lnTo>
                      <a:lnTo>
                        <a:pt x="1061" y="77"/>
                      </a:lnTo>
                      <a:lnTo>
                        <a:pt x="1061" y="79"/>
                      </a:lnTo>
                      <a:lnTo>
                        <a:pt x="1061" y="81"/>
                      </a:lnTo>
                      <a:lnTo>
                        <a:pt x="1061" y="82"/>
                      </a:lnTo>
                      <a:lnTo>
                        <a:pt x="1063" y="84"/>
                      </a:lnTo>
                      <a:lnTo>
                        <a:pt x="1063" y="86"/>
                      </a:lnTo>
                      <a:lnTo>
                        <a:pt x="1063" y="87"/>
                      </a:lnTo>
                      <a:lnTo>
                        <a:pt x="1063" y="89"/>
                      </a:lnTo>
                      <a:lnTo>
                        <a:pt x="1064" y="89"/>
                      </a:lnTo>
                      <a:lnTo>
                        <a:pt x="1064" y="91"/>
                      </a:lnTo>
                      <a:lnTo>
                        <a:pt x="1066" y="95"/>
                      </a:lnTo>
                      <a:lnTo>
                        <a:pt x="1068" y="99"/>
                      </a:lnTo>
                      <a:lnTo>
                        <a:pt x="1068" y="100"/>
                      </a:lnTo>
                      <a:lnTo>
                        <a:pt x="1068" y="102"/>
                      </a:lnTo>
                      <a:lnTo>
                        <a:pt x="1068" y="105"/>
                      </a:lnTo>
                      <a:lnTo>
                        <a:pt x="1070" y="107"/>
                      </a:lnTo>
                      <a:lnTo>
                        <a:pt x="1071" y="109"/>
                      </a:lnTo>
                      <a:lnTo>
                        <a:pt x="1075" y="109"/>
                      </a:lnTo>
                      <a:lnTo>
                        <a:pt x="1075" y="107"/>
                      </a:lnTo>
                      <a:lnTo>
                        <a:pt x="1076" y="109"/>
                      </a:lnTo>
                      <a:lnTo>
                        <a:pt x="1076" y="110"/>
                      </a:lnTo>
                      <a:lnTo>
                        <a:pt x="1075" y="110"/>
                      </a:lnTo>
                      <a:lnTo>
                        <a:pt x="1075" y="112"/>
                      </a:lnTo>
                      <a:lnTo>
                        <a:pt x="1075" y="114"/>
                      </a:lnTo>
                      <a:lnTo>
                        <a:pt x="1076" y="115"/>
                      </a:lnTo>
                      <a:lnTo>
                        <a:pt x="1076" y="117"/>
                      </a:lnTo>
                      <a:lnTo>
                        <a:pt x="1078" y="117"/>
                      </a:lnTo>
                      <a:lnTo>
                        <a:pt x="1078" y="118"/>
                      </a:lnTo>
                      <a:lnTo>
                        <a:pt x="1078" y="120"/>
                      </a:lnTo>
                      <a:lnTo>
                        <a:pt x="1078" y="122"/>
                      </a:lnTo>
                      <a:lnTo>
                        <a:pt x="1076" y="123"/>
                      </a:lnTo>
                      <a:lnTo>
                        <a:pt x="1075" y="125"/>
                      </a:lnTo>
                      <a:lnTo>
                        <a:pt x="1075" y="127"/>
                      </a:lnTo>
                      <a:lnTo>
                        <a:pt x="1075" y="128"/>
                      </a:lnTo>
                      <a:lnTo>
                        <a:pt x="1075" y="130"/>
                      </a:lnTo>
                      <a:lnTo>
                        <a:pt x="1076" y="132"/>
                      </a:lnTo>
                      <a:lnTo>
                        <a:pt x="1076" y="135"/>
                      </a:lnTo>
                      <a:lnTo>
                        <a:pt x="1076" y="137"/>
                      </a:lnTo>
                      <a:lnTo>
                        <a:pt x="1075" y="138"/>
                      </a:lnTo>
                      <a:lnTo>
                        <a:pt x="1073" y="140"/>
                      </a:lnTo>
                      <a:lnTo>
                        <a:pt x="1071" y="140"/>
                      </a:lnTo>
                      <a:lnTo>
                        <a:pt x="1071" y="141"/>
                      </a:lnTo>
                      <a:lnTo>
                        <a:pt x="1070" y="143"/>
                      </a:lnTo>
                      <a:lnTo>
                        <a:pt x="1070" y="145"/>
                      </a:lnTo>
                      <a:lnTo>
                        <a:pt x="1070" y="146"/>
                      </a:lnTo>
                      <a:lnTo>
                        <a:pt x="1070" y="148"/>
                      </a:lnTo>
                      <a:lnTo>
                        <a:pt x="1070" y="150"/>
                      </a:lnTo>
                      <a:lnTo>
                        <a:pt x="1071" y="151"/>
                      </a:lnTo>
                      <a:lnTo>
                        <a:pt x="1071" y="153"/>
                      </a:lnTo>
                      <a:lnTo>
                        <a:pt x="1071" y="155"/>
                      </a:lnTo>
                      <a:lnTo>
                        <a:pt x="1071" y="156"/>
                      </a:lnTo>
                      <a:lnTo>
                        <a:pt x="1070" y="158"/>
                      </a:lnTo>
                      <a:lnTo>
                        <a:pt x="1070" y="159"/>
                      </a:lnTo>
                      <a:lnTo>
                        <a:pt x="1070" y="161"/>
                      </a:lnTo>
                      <a:lnTo>
                        <a:pt x="1071" y="163"/>
                      </a:lnTo>
                      <a:lnTo>
                        <a:pt x="1071" y="166"/>
                      </a:lnTo>
                      <a:lnTo>
                        <a:pt x="1071" y="168"/>
                      </a:lnTo>
                      <a:lnTo>
                        <a:pt x="1073" y="168"/>
                      </a:lnTo>
                      <a:lnTo>
                        <a:pt x="1073" y="166"/>
                      </a:lnTo>
                      <a:lnTo>
                        <a:pt x="1075" y="166"/>
                      </a:lnTo>
                      <a:lnTo>
                        <a:pt x="1076" y="169"/>
                      </a:lnTo>
                      <a:lnTo>
                        <a:pt x="1076" y="171"/>
                      </a:lnTo>
                      <a:lnTo>
                        <a:pt x="1078" y="173"/>
                      </a:lnTo>
                      <a:lnTo>
                        <a:pt x="1078" y="174"/>
                      </a:lnTo>
                      <a:lnTo>
                        <a:pt x="1076" y="174"/>
                      </a:lnTo>
                      <a:lnTo>
                        <a:pt x="1076" y="176"/>
                      </a:lnTo>
                      <a:lnTo>
                        <a:pt x="1076" y="178"/>
                      </a:lnTo>
                      <a:lnTo>
                        <a:pt x="1076" y="179"/>
                      </a:lnTo>
                      <a:lnTo>
                        <a:pt x="1076" y="182"/>
                      </a:lnTo>
                      <a:lnTo>
                        <a:pt x="1076" y="184"/>
                      </a:lnTo>
                      <a:lnTo>
                        <a:pt x="1078" y="186"/>
                      </a:lnTo>
                      <a:lnTo>
                        <a:pt x="1078" y="187"/>
                      </a:lnTo>
                      <a:lnTo>
                        <a:pt x="1078" y="189"/>
                      </a:lnTo>
                      <a:lnTo>
                        <a:pt x="1078" y="191"/>
                      </a:lnTo>
                      <a:lnTo>
                        <a:pt x="1080" y="191"/>
                      </a:lnTo>
                      <a:lnTo>
                        <a:pt x="1080" y="192"/>
                      </a:lnTo>
                      <a:lnTo>
                        <a:pt x="1080" y="194"/>
                      </a:lnTo>
                      <a:lnTo>
                        <a:pt x="1080" y="196"/>
                      </a:lnTo>
                      <a:lnTo>
                        <a:pt x="1080" y="197"/>
                      </a:lnTo>
                      <a:lnTo>
                        <a:pt x="1080" y="199"/>
                      </a:lnTo>
                      <a:lnTo>
                        <a:pt x="1081" y="201"/>
                      </a:lnTo>
                      <a:lnTo>
                        <a:pt x="1083" y="202"/>
                      </a:lnTo>
                      <a:lnTo>
                        <a:pt x="1085" y="202"/>
                      </a:lnTo>
                      <a:lnTo>
                        <a:pt x="1086" y="204"/>
                      </a:lnTo>
                      <a:lnTo>
                        <a:pt x="1086" y="205"/>
                      </a:lnTo>
                      <a:lnTo>
                        <a:pt x="1088" y="205"/>
                      </a:lnTo>
                      <a:lnTo>
                        <a:pt x="1088" y="207"/>
                      </a:lnTo>
                      <a:lnTo>
                        <a:pt x="1088" y="209"/>
                      </a:lnTo>
                      <a:lnTo>
                        <a:pt x="1090" y="209"/>
                      </a:lnTo>
                      <a:lnTo>
                        <a:pt x="1090" y="210"/>
                      </a:lnTo>
                      <a:lnTo>
                        <a:pt x="1090" y="212"/>
                      </a:lnTo>
                      <a:lnTo>
                        <a:pt x="1090" y="214"/>
                      </a:lnTo>
                      <a:lnTo>
                        <a:pt x="1088" y="214"/>
                      </a:lnTo>
                      <a:lnTo>
                        <a:pt x="1090" y="214"/>
                      </a:lnTo>
                      <a:lnTo>
                        <a:pt x="1090" y="215"/>
                      </a:lnTo>
                      <a:lnTo>
                        <a:pt x="1090" y="217"/>
                      </a:lnTo>
                      <a:lnTo>
                        <a:pt x="1091" y="219"/>
                      </a:lnTo>
                      <a:lnTo>
                        <a:pt x="1093" y="220"/>
                      </a:lnTo>
                      <a:lnTo>
                        <a:pt x="1093" y="222"/>
                      </a:lnTo>
                      <a:lnTo>
                        <a:pt x="1095" y="222"/>
                      </a:lnTo>
                      <a:lnTo>
                        <a:pt x="1095" y="224"/>
                      </a:lnTo>
                      <a:lnTo>
                        <a:pt x="1097" y="224"/>
                      </a:lnTo>
                      <a:lnTo>
                        <a:pt x="1098" y="225"/>
                      </a:lnTo>
                      <a:lnTo>
                        <a:pt x="1097" y="225"/>
                      </a:lnTo>
                      <a:lnTo>
                        <a:pt x="1097" y="227"/>
                      </a:lnTo>
                      <a:lnTo>
                        <a:pt x="1097" y="228"/>
                      </a:lnTo>
                      <a:lnTo>
                        <a:pt x="1097" y="230"/>
                      </a:lnTo>
                      <a:lnTo>
                        <a:pt x="1097" y="232"/>
                      </a:lnTo>
                      <a:lnTo>
                        <a:pt x="1098" y="232"/>
                      </a:lnTo>
                      <a:lnTo>
                        <a:pt x="1097" y="233"/>
                      </a:lnTo>
                      <a:lnTo>
                        <a:pt x="1097" y="235"/>
                      </a:lnTo>
                      <a:lnTo>
                        <a:pt x="1098" y="237"/>
                      </a:lnTo>
                      <a:lnTo>
                        <a:pt x="1100" y="237"/>
                      </a:lnTo>
                      <a:lnTo>
                        <a:pt x="1102" y="238"/>
                      </a:lnTo>
                      <a:lnTo>
                        <a:pt x="1103" y="238"/>
                      </a:lnTo>
                      <a:lnTo>
                        <a:pt x="1102" y="240"/>
                      </a:lnTo>
                      <a:lnTo>
                        <a:pt x="1102" y="242"/>
                      </a:lnTo>
                      <a:lnTo>
                        <a:pt x="1100" y="243"/>
                      </a:lnTo>
                      <a:lnTo>
                        <a:pt x="1102" y="243"/>
                      </a:lnTo>
                      <a:lnTo>
                        <a:pt x="1102" y="245"/>
                      </a:lnTo>
                      <a:lnTo>
                        <a:pt x="1100" y="245"/>
                      </a:lnTo>
                      <a:lnTo>
                        <a:pt x="1100" y="247"/>
                      </a:lnTo>
                      <a:lnTo>
                        <a:pt x="1098" y="247"/>
                      </a:lnTo>
                      <a:lnTo>
                        <a:pt x="1098" y="248"/>
                      </a:lnTo>
                      <a:lnTo>
                        <a:pt x="1097" y="248"/>
                      </a:lnTo>
                      <a:lnTo>
                        <a:pt x="1097" y="250"/>
                      </a:lnTo>
                      <a:lnTo>
                        <a:pt x="1095" y="250"/>
                      </a:lnTo>
                      <a:lnTo>
                        <a:pt x="1093" y="251"/>
                      </a:lnTo>
                      <a:lnTo>
                        <a:pt x="1095" y="251"/>
                      </a:lnTo>
                      <a:lnTo>
                        <a:pt x="1093" y="251"/>
                      </a:lnTo>
                      <a:lnTo>
                        <a:pt x="1093" y="253"/>
                      </a:lnTo>
                      <a:lnTo>
                        <a:pt x="1093" y="255"/>
                      </a:lnTo>
                      <a:lnTo>
                        <a:pt x="1091" y="255"/>
                      </a:lnTo>
                      <a:lnTo>
                        <a:pt x="1091" y="258"/>
                      </a:lnTo>
                      <a:lnTo>
                        <a:pt x="1090" y="260"/>
                      </a:lnTo>
                      <a:lnTo>
                        <a:pt x="1091" y="260"/>
                      </a:lnTo>
                      <a:lnTo>
                        <a:pt x="1091" y="261"/>
                      </a:lnTo>
                      <a:lnTo>
                        <a:pt x="1091" y="263"/>
                      </a:lnTo>
                      <a:lnTo>
                        <a:pt x="1093" y="263"/>
                      </a:lnTo>
                      <a:lnTo>
                        <a:pt x="1093" y="265"/>
                      </a:lnTo>
                      <a:lnTo>
                        <a:pt x="1091" y="265"/>
                      </a:lnTo>
                      <a:lnTo>
                        <a:pt x="1093" y="265"/>
                      </a:lnTo>
                      <a:lnTo>
                        <a:pt x="1093" y="266"/>
                      </a:lnTo>
                      <a:lnTo>
                        <a:pt x="1093" y="268"/>
                      </a:lnTo>
                      <a:lnTo>
                        <a:pt x="1091" y="268"/>
                      </a:lnTo>
                      <a:lnTo>
                        <a:pt x="1091" y="270"/>
                      </a:lnTo>
                      <a:lnTo>
                        <a:pt x="1090" y="270"/>
                      </a:lnTo>
                      <a:lnTo>
                        <a:pt x="1090" y="268"/>
                      </a:lnTo>
                      <a:lnTo>
                        <a:pt x="1088" y="270"/>
                      </a:lnTo>
                      <a:lnTo>
                        <a:pt x="1086" y="271"/>
                      </a:lnTo>
                      <a:lnTo>
                        <a:pt x="1086" y="270"/>
                      </a:lnTo>
                      <a:lnTo>
                        <a:pt x="1085" y="271"/>
                      </a:lnTo>
                      <a:lnTo>
                        <a:pt x="1085" y="273"/>
                      </a:lnTo>
                      <a:lnTo>
                        <a:pt x="1086" y="273"/>
                      </a:lnTo>
                      <a:lnTo>
                        <a:pt x="1085" y="273"/>
                      </a:lnTo>
                      <a:lnTo>
                        <a:pt x="1083" y="273"/>
                      </a:lnTo>
                      <a:lnTo>
                        <a:pt x="1083" y="274"/>
                      </a:lnTo>
                      <a:lnTo>
                        <a:pt x="1081" y="274"/>
                      </a:lnTo>
                      <a:lnTo>
                        <a:pt x="1081" y="273"/>
                      </a:lnTo>
                      <a:lnTo>
                        <a:pt x="1080" y="273"/>
                      </a:lnTo>
                      <a:lnTo>
                        <a:pt x="1080" y="271"/>
                      </a:lnTo>
                      <a:lnTo>
                        <a:pt x="1076" y="271"/>
                      </a:lnTo>
                      <a:lnTo>
                        <a:pt x="1075" y="271"/>
                      </a:lnTo>
                      <a:lnTo>
                        <a:pt x="1073" y="271"/>
                      </a:lnTo>
                      <a:lnTo>
                        <a:pt x="1073" y="273"/>
                      </a:lnTo>
                      <a:lnTo>
                        <a:pt x="1073" y="274"/>
                      </a:lnTo>
                      <a:lnTo>
                        <a:pt x="1073" y="276"/>
                      </a:lnTo>
                      <a:lnTo>
                        <a:pt x="1073" y="278"/>
                      </a:lnTo>
                      <a:lnTo>
                        <a:pt x="1071" y="278"/>
                      </a:lnTo>
                      <a:lnTo>
                        <a:pt x="1073" y="279"/>
                      </a:lnTo>
                      <a:lnTo>
                        <a:pt x="1073" y="281"/>
                      </a:lnTo>
                      <a:lnTo>
                        <a:pt x="1075" y="281"/>
                      </a:lnTo>
                      <a:lnTo>
                        <a:pt x="1076" y="281"/>
                      </a:lnTo>
                      <a:lnTo>
                        <a:pt x="1076" y="283"/>
                      </a:lnTo>
                      <a:lnTo>
                        <a:pt x="1078" y="283"/>
                      </a:lnTo>
                      <a:lnTo>
                        <a:pt x="1080" y="283"/>
                      </a:lnTo>
                      <a:lnTo>
                        <a:pt x="1081" y="283"/>
                      </a:lnTo>
                      <a:lnTo>
                        <a:pt x="1083" y="284"/>
                      </a:lnTo>
                      <a:lnTo>
                        <a:pt x="1085" y="284"/>
                      </a:lnTo>
                      <a:lnTo>
                        <a:pt x="1085" y="286"/>
                      </a:lnTo>
                      <a:lnTo>
                        <a:pt x="1085" y="288"/>
                      </a:lnTo>
                      <a:lnTo>
                        <a:pt x="1086" y="288"/>
                      </a:lnTo>
                      <a:lnTo>
                        <a:pt x="1086" y="289"/>
                      </a:lnTo>
                      <a:lnTo>
                        <a:pt x="1088" y="291"/>
                      </a:lnTo>
                      <a:lnTo>
                        <a:pt x="1088" y="293"/>
                      </a:lnTo>
                      <a:lnTo>
                        <a:pt x="1090" y="293"/>
                      </a:lnTo>
                      <a:lnTo>
                        <a:pt x="1091" y="294"/>
                      </a:lnTo>
                      <a:lnTo>
                        <a:pt x="1093" y="296"/>
                      </a:lnTo>
                      <a:lnTo>
                        <a:pt x="1095" y="296"/>
                      </a:lnTo>
                      <a:lnTo>
                        <a:pt x="1095" y="297"/>
                      </a:lnTo>
                      <a:lnTo>
                        <a:pt x="1097" y="297"/>
                      </a:lnTo>
                      <a:lnTo>
                        <a:pt x="1098" y="297"/>
                      </a:lnTo>
                      <a:lnTo>
                        <a:pt x="1100" y="299"/>
                      </a:lnTo>
                      <a:lnTo>
                        <a:pt x="1102" y="299"/>
                      </a:lnTo>
                      <a:lnTo>
                        <a:pt x="1102" y="301"/>
                      </a:lnTo>
                      <a:lnTo>
                        <a:pt x="1103" y="301"/>
                      </a:lnTo>
                      <a:lnTo>
                        <a:pt x="1105" y="301"/>
                      </a:lnTo>
                      <a:lnTo>
                        <a:pt x="1105" y="302"/>
                      </a:lnTo>
                      <a:lnTo>
                        <a:pt x="1107" y="302"/>
                      </a:lnTo>
                      <a:lnTo>
                        <a:pt x="1107" y="304"/>
                      </a:lnTo>
                      <a:lnTo>
                        <a:pt x="1108" y="304"/>
                      </a:lnTo>
                      <a:lnTo>
                        <a:pt x="1110" y="306"/>
                      </a:lnTo>
                      <a:lnTo>
                        <a:pt x="1108" y="307"/>
                      </a:lnTo>
                      <a:lnTo>
                        <a:pt x="1110" y="307"/>
                      </a:lnTo>
                      <a:lnTo>
                        <a:pt x="1110" y="309"/>
                      </a:lnTo>
                      <a:lnTo>
                        <a:pt x="1112" y="309"/>
                      </a:lnTo>
                      <a:lnTo>
                        <a:pt x="1113" y="309"/>
                      </a:lnTo>
                      <a:lnTo>
                        <a:pt x="1115" y="309"/>
                      </a:lnTo>
                      <a:lnTo>
                        <a:pt x="1115" y="311"/>
                      </a:lnTo>
                      <a:lnTo>
                        <a:pt x="1117" y="311"/>
                      </a:lnTo>
                      <a:lnTo>
                        <a:pt x="1118" y="314"/>
                      </a:lnTo>
                      <a:lnTo>
                        <a:pt x="1122" y="319"/>
                      </a:lnTo>
                      <a:lnTo>
                        <a:pt x="1122" y="320"/>
                      </a:lnTo>
                      <a:lnTo>
                        <a:pt x="1124" y="322"/>
                      </a:lnTo>
                      <a:lnTo>
                        <a:pt x="1125" y="325"/>
                      </a:lnTo>
                      <a:lnTo>
                        <a:pt x="1125" y="327"/>
                      </a:lnTo>
                      <a:lnTo>
                        <a:pt x="1125" y="329"/>
                      </a:lnTo>
                      <a:lnTo>
                        <a:pt x="1127" y="330"/>
                      </a:lnTo>
                      <a:lnTo>
                        <a:pt x="1129" y="332"/>
                      </a:lnTo>
                      <a:lnTo>
                        <a:pt x="1129" y="334"/>
                      </a:lnTo>
                      <a:lnTo>
                        <a:pt x="1129" y="335"/>
                      </a:lnTo>
                      <a:lnTo>
                        <a:pt x="1130" y="335"/>
                      </a:lnTo>
                      <a:lnTo>
                        <a:pt x="1130" y="337"/>
                      </a:lnTo>
                      <a:lnTo>
                        <a:pt x="1132" y="337"/>
                      </a:lnTo>
                      <a:lnTo>
                        <a:pt x="1135" y="337"/>
                      </a:lnTo>
                      <a:lnTo>
                        <a:pt x="1137" y="337"/>
                      </a:lnTo>
                      <a:lnTo>
                        <a:pt x="1139" y="335"/>
                      </a:lnTo>
                      <a:lnTo>
                        <a:pt x="1140" y="335"/>
                      </a:lnTo>
                      <a:lnTo>
                        <a:pt x="1142" y="335"/>
                      </a:lnTo>
                      <a:lnTo>
                        <a:pt x="1146" y="337"/>
                      </a:lnTo>
                      <a:lnTo>
                        <a:pt x="1147" y="339"/>
                      </a:lnTo>
                      <a:lnTo>
                        <a:pt x="1149" y="339"/>
                      </a:lnTo>
                      <a:lnTo>
                        <a:pt x="1151" y="339"/>
                      </a:lnTo>
                      <a:lnTo>
                        <a:pt x="1152" y="340"/>
                      </a:lnTo>
                      <a:lnTo>
                        <a:pt x="1154" y="340"/>
                      </a:lnTo>
                      <a:lnTo>
                        <a:pt x="1156" y="340"/>
                      </a:lnTo>
                      <a:lnTo>
                        <a:pt x="1157" y="342"/>
                      </a:lnTo>
                      <a:lnTo>
                        <a:pt x="1159" y="343"/>
                      </a:lnTo>
                      <a:lnTo>
                        <a:pt x="1161" y="345"/>
                      </a:lnTo>
                      <a:lnTo>
                        <a:pt x="1162" y="345"/>
                      </a:lnTo>
                      <a:lnTo>
                        <a:pt x="1162" y="347"/>
                      </a:lnTo>
                      <a:lnTo>
                        <a:pt x="1164" y="348"/>
                      </a:lnTo>
                      <a:lnTo>
                        <a:pt x="1166" y="352"/>
                      </a:lnTo>
                      <a:lnTo>
                        <a:pt x="1167" y="352"/>
                      </a:lnTo>
                      <a:lnTo>
                        <a:pt x="1169" y="353"/>
                      </a:lnTo>
                      <a:lnTo>
                        <a:pt x="1171" y="353"/>
                      </a:lnTo>
                      <a:lnTo>
                        <a:pt x="1171" y="352"/>
                      </a:lnTo>
                      <a:lnTo>
                        <a:pt x="1171" y="350"/>
                      </a:lnTo>
                      <a:lnTo>
                        <a:pt x="1171" y="348"/>
                      </a:lnTo>
                      <a:lnTo>
                        <a:pt x="1169" y="348"/>
                      </a:lnTo>
                      <a:lnTo>
                        <a:pt x="1169" y="347"/>
                      </a:lnTo>
                      <a:lnTo>
                        <a:pt x="1167" y="347"/>
                      </a:lnTo>
                      <a:lnTo>
                        <a:pt x="1166" y="347"/>
                      </a:lnTo>
                      <a:lnTo>
                        <a:pt x="1166" y="345"/>
                      </a:lnTo>
                      <a:lnTo>
                        <a:pt x="1164" y="343"/>
                      </a:lnTo>
                      <a:lnTo>
                        <a:pt x="1164" y="342"/>
                      </a:lnTo>
                      <a:lnTo>
                        <a:pt x="1164" y="340"/>
                      </a:lnTo>
                      <a:lnTo>
                        <a:pt x="1162" y="340"/>
                      </a:lnTo>
                      <a:lnTo>
                        <a:pt x="1161" y="340"/>
                      </a:lnTo>
                      <a:lnTo>
                        <a:pt x="1161" y="339"/>
                      </a:lnTo>
                      <a:lnTo>
                        <a:pt x="1159" y="337"/>
                      </a:lnTo>
                      <a:lnTo>
                        <a:pt x="1157" y="339"/>
                      </a:lnTo>
                      <a:lnTo>
                        <a:pt x="1157" y="337"/>
                      </a:lnTo>
                      <a:lnTo>
                        <a:pt x="1156" y="337"/>
                      </a:lnTo>
                      <a:lnTo>
                        <a:pt x="1157" y="335"/>
                      </a:lnTo>
                      <a:lnTo>
                        <a:pt x="1159" y="334"/>
                      </a:lnTo>
                      <a:lnTo>
                        <a:pt x="1161" y="334"/>
                      </a:lnTo>
                      <a:lnTo>
                        <a:pt x="1159" y="332"/>
                      </a:lnTo>
                      <a:lnTo>
                        <a:pt x="1159" y="330"/>
                      </a:lnTo>
                      <a:lnTo>
                        <a:pt x="1157" y="329"/>
                      </a:lnTo>
                      <a:lnTo>
                        <a:pt x="1156" y="329"/>
                      </a:lnTo>
                      <a:lnTo>
                        <a:pt x="1156" y="327"/>
                      </a:lnTo>
                      <a:lnTo>
                        <a:pt x="1157" y="325"/>
                      </a:lnTo>
                      <a:lnTo>
                        <a:pt x="1157" y="324"/>
                      </a:lnTo>
                      <a:lnTo>
                        <a:pt x="1157" y="322"/>
                      </a:lnTo>
                      <a:lnTo>
                        <a:pt x="1159" y="320"/>
                      </a:lnTo>
                      <a:lnTo>
                        <a:pt x="1159" y="319"/>
                      </a:lnTo>
                      <a:lnTo>
                        <a:pt x="1161" y="317"/>
                      </a:lnTo>
                      <a:lnTo>
                        <a:pt x="1161" y="316"/>
                      </a:lnTo>
                      <a:lnTo>
                        <a:pt x="1161" y="314"/>
                      </a:lnTo>
                      <a:lnTo>
                        <a:pt x="1161" y="312"/>
                      </a:lnTo>
                      <a:lnTo>
                        <a:pt x="1161" y="311"/>
                      </a:lnTo>
                      <a:lnTo>
                        <a:pt x="1161" y="309"/>
                      </a:lnTo>
                      <a:lnTo>
                        <a:pt x="1161" y="307"/>
                      </a:lnTo>
                      <a:lnTo>
                        <a:pt x="1162" y="307"/>
                      </a:lnTo>
                      <a:lnTo>
                        <a:pt x="1164" y="307"/>
                      </a:lnTo>
                      <a:lnTo>
                        <a:pt x="1164" y="306"/>
                      </a:lnTo>
                      <a:lnTo>
                        <a:pt x="1164" y="304"/>
                      </a:lnTo>
                      <a:lnTo>
                        <a:pt x="1162" y="302"/>
                      </a:lnTo>
                      <a:lnTo>
                        <a:pt x="1162" y="301"/>
                      </a:lnTo>
                      <a:lnTo>
                        <a:pt x="1162" y="299"/>
                      </a:lnTo>
                      <a:lnTo>
                        <a:pt x="1161" y="299"/>
                      </a:lnTo>
                      <a:lnTo>
                        <a:pt x="1159" y="299"/>
                      </a:lnTo>
                      <a:lnTo>
                        <a:pt x="1159" y="297"/>
                      </a:lnTo>
                      <a:lnTo>
                        <a:pt x="1161" y="296"/>
                      </a:lnTo>
                      <a:lnTo>
                        <a:pt x="1159" y="296"/>
                      </a:lnTo>
                      <a:lnTo>
                        <a:pt x="1159" y="294"/>
                      </a:lnTo>
                      <a:lnTo>
                        <a:pt x="1161" y="294"/>
                      </a:lnTo>
                      <a:lnTo>
                        <a:pt x="1161" y="293"/>
                      </a:lnTo>
                      <a:lnTo>
                        <a:pt x="1161" y="291"/>
                      </a:lnTo>
                      <a:lnTo>
                        <a:pt x="1162" y="291"/>
                      </a:lnTo>
                      <a:lnTo>
                        <a:pt x="1162" y="289"/>
                      </a:lnTo>
                      <a:lnTo>
                        <a:pt x="1162" y="288"/>
                      </a:lnTo>
                      <a:lnTo>
                        <a:pt x="1164" y="286"/>
                      </a:lnTo>
                      <a:lnTo>
                        <a:pt x="1162" y="286"/>
                      </a:lnTo>
                      <a:lnTo>
                        <a:pt x="1162" y="284"/>
                      </a:lnTo>
                      <a:lnTo>
                        <a:pt x="1162" y="283"/>
                      </a:lnTo>
                      <a:lnTo>
                        <a:pt x="1164" y="279"/>
                      </a:lnTo>
                      <a:lnTo>
                        <a:pt x="1164" y="278"/>
                      </a:lnTo>
                      <a:lnTo>
                        <a:pt x="1166" y="276"/>
                      </a:lnTo>
                      <a:lnTo>
                        <a:pt x="1167" y="276"/>
                      </a:lnTo>
                      <a:lnTo>
                        <a:pt x="1169" y="274"/>
                      </a:lnTo>
                      <a:lnTo>
                        <a:pt x="1171" y="273"/>
                      </a:lnTo>
                      <a:lnTo>
                        <a:pt x="1171" y="271"/>
                      </a:lnTo>
                      <a:lnTo>
                        <a:pt x="1171" y="270"/>
                      </a:lnTo>
                      <a:lnTo>
                        <a:pt x="1173" y="268"/>
                      </a:lnTo>
                      <a:lnTo>
                        <a:pt x="1174" y="268"/>
                      </a:lnTo>
                      <a:lnTo>
                        <a:pt x="1174" y="266"/>
                      </a:lnTo>
                      <a:lnTo>
                        <a:pt x="1176" y="266"/>
                      </a:lnTo>
                      <a:lnTo>
                        <a:pt x="1178" y="265"/>
                      </a:lnTo>
                      <a:lnTo>
                        <a:pt x="1181" y="265"/>
                      </a:lnTo>
                      <a:lnTo>
                        <a:pt x="1181" y="263"/>
                      </a:lnTo>
                      <a:lnTo>
                        <a:pt x="1183" y="263"/>
                      </a:lnTo>
                      <a:lnTo>
                        <a:pt x="1184" y="263"/>
                      </a:lnTo>
                      <a:lnTo>
                        <a:pt x="1186" y="263"/>
                      </a:lnTo>
                      <a:lnTo>
                        <a:pt x="1186" y="261"/>
                      </a:lnTo>
                      <a:lnTo>
                        <a:pt x="1188" y="261"/>
                      </a:lnTo>
                      <a:lnTo>
                        <a:pt x="1189" y="261"/>
                      </a:lnTo>
                      <a:lnTo>
                        <a:pt x="1191" y="261"/>
                      </a:lnTo>
                      <a:lnTo>
                        <a:pt x="1193" y="260"/>
                      </a:lnTo>
                      <a:lnTo>
                        <a:pt x="1194" y="260"/>
                      </a:lnTo>
                      <a:lnTo>
                        <a:pt x="1194" y="258"/>
                      </a:lnTo>
                      <a:lnTo>
                        <a:pt x="1194" y="256"/>
                      </a:lnTo>
                      <a:lnTo>
                        <a:pt x="1194" y="255"/>
                      </a:lnTo>
                      <a:lnTo>
                        <a:pt x="1196" y="255"/>
                      </a:lnTo>
                      <a:lnTo>
                        <a:pt x="1198" y="255"/>
                      </a:lnTo>
                      <a:lnTo>
                        <a:pt x="1200" y="255"/>
                      </a:lnTo>
                      <a:lnTo>
                        <a:pt x="1201" y="255"/>
                      </a:lnTo>
                      <a:lnTo>
                        <a:pt x="1203" y="253"/>
                      </a:lnTo>
                      <a:lnTo>
                        <a:pt x="1205" y="255"/>
                      </a:lnTo>
                      <a:lnTo>
                        <a:pt x="1206" y="255"/>
                      </a:lnTo>
                      <a:lnTo>
                        <a:pt x="1208" y="255"/>
                      </a:lnTo>
                      <a:lnTo>
                        <a:pt x="1210" y="255"/>
                      </a:lnTo>
                      <a:lnTo>
                        <a:pt x="1210" y="256"/>
                      </a:lnTo>
                      <a:lnTo>
                        <a:pt x="1210" y="258"/>
                      </a:lnTo>
                      <a:lnTo>
                        <a:pt x="1211" y="258"/>
                      </a:lnTo>
                      <a:lnTo>
                        <a:pt x="1213" y="258"/>
                      </a:lnTo>
                      <a:lnTo>
                        <a:pt x="1215" y="260"/>
                      </a:lnTo>
                      <a:lnTo>
                        <a:pt x="1218" y="260"/>
                      </a:lnTo>
                      <a:lnTo>
                        <a:pt x="1220" y="260"/>
                      </a:lnTo>
                      <a:lnTo>
                        <a:pt x="1222" y="260"/>
                      </a:lnTo>
                      <a:lnTo>
                        <a:pt x="1223" y="260"/>
                      </a:lnTo>
                      <a:lnTo>
                        <a:pt x="1223" y="261"/>
                      </a:lnTo>
                      <a:lnTo>
                        <a:pt x="1223" y="263"/>
                      </a:lnTo>
                      <a:lnTo>
                        <a:pt x="1223" y="265"/>
                      </a:lnTo>
                      <a:lnTo>
                        <a:pt x="1223" y="266"/>
                      </a:lnTo>
                      <a:lnTo>
                        <a:pt x="1225" y="266"/>
                      </a:lnTo>
                      <a:lnTo>
                        <a:pt x="1225" y="268"/>
                      </a:lnTo>
                      <a:lnTo>
                        <a:pt x="1227" y="268"/>
                      </a:lnTo>
                      <a:lnTo>
                        <a:pt x="1228" y="268"/>
                      </a:lnTo>
                      <a:lnTo>
                        <a:pt x="1230" y="268"/>
                      </a:lnTo>
                      <a:lnTo>
                        <a:pt x="1230" y="270"/>
                      </a:lnTo>
                      <a:lnTo>
                        <a:pt x="1230" y="271"/>
                      </a:lnTo>
                      <a:lnTo>
                        <a:pt x="1232" y="271"/>
                      </a:lnTo>
                      <a:lnTo>
                        <a:pt x="1233" y="271"/>
                      </a:lnTo>
                      <a:lnTo>
                        <a:pt x="1235" y="273"/>
                      </a:lnTo>
                      <a:lnTo>
                        <a:pt x="1235" y="274"/>
                      </a:lnTo>
                      <a:lnTo>
                        <a:pt x="1233" y="276"/>
                      </a:lnTo>
                      <a:lnTo>
                        <a:pt x="1235" y="276"/>
                      </a:lnTo>
                      <a:lnTo>
                        <a:pt x="1237" y="278"/>
                      </a:lnTo>
                      <a:lnTo>
                        <a:pt x="1238" y="278"/>
                      </a:lnTo>
                      <a:lnTo>
                        <a:pt x="1237" y="279"/>
                      </a:lnTo>
                      <a:lnTo>
                        <a:pt x="1237" y="281"/>
                      </a:lnTo>
                      <a:lnTo>
                        <a:pt x="1238" y="281"/>
                      </a:lnTo>
                      <a:lnTo>
                        <a:pt x="1238" y="283"/>
                      </a:lnTo>
                      <a:lnTo>
                        <a:pt x="1238" y="284"/>
                      </a:lnTo>
                      <a:lnTo>
                        <a:pt x="1238" y="286"/>
                      </a:lnTo>
                      <a:lnTo>
                        <a:pt x="1238" y="288"/>
                      </a:lnTo>
                      <a:lnTo>
                        <a:pt x="1240" y="288"/>
                      </a:lnTo>
                      <a:lnTo>
                        <a:pt x="1242" y="288"/>
                      </a:lnTo>
                      <a:lnTo>
                        <a:pt x="1243" y="288"/>
                      </a:lnTo>
                      <a:lnTo>
                        <a:pt x="1245" y="289"/>
                      </a:lnTo>
                      <a:lnTo>
                        <a:pt x="1247" y="289"/>
                      </a:lnTo>
                      <a:lnTo>
                        <a:pt x="1247" y="291"/>
                      </a:lnTo>
                      <a:lnTo>
                        <a:pt x="1247" y="289"/>
                      </a:lnTo>
                      <a:lnTo>
                        <a:pt x="1249" y="289"/>
                      </a:lnTo>
                      <a:lnTo>
                        <a:pt x="1250" y="289"/>
                      </a:lnTo>
                      <a:lnTo>
                        <a:pt x="1250" y="288"/>
                      </a:lnTo>
                      <a:lnTo>
                        <a:pt x="1252" y="288"/>
                      </a:lnTo>
                      <a:lnTo>
                        <a:pt x="1254" y="289"/>
                      </a:lnTo>
                      <a:lnTo>
                        <a:pt x="1254" y="288"/>
                      </a:lnTo>
                      <a:lnTo>
                        <a:pt x="1254" y="286"/>
                      </a:lnTo>
                      <a:lnTo>
                        <a:pt x="1255" y="288"/>
                      </a:lnTo>
                      <a:lnTo>
                        <a:pt x="1257" y="288"/>
                      </a:lnTo>
                      <a:lnTo>
                        <a:pt x="1259" y="288"/>
                      </a:lnTo>
                      <a:lnTo>
                        <a:pt x="1259" y="289"/>
                      </a:lnTo>
                      <a:lnTo>
                        <a:pt x="1260" y="289"/>
                      </a:lnTo>
                      <a:lnTo>
                        <a:pt x="1260" y="288"/>
                      </a:lnTo>
                      <a:lnTo>
                        <a:pt x="1262" y="288"/>
                      </a:lnTo>
                      <a:lnTo>
                        <a:pt x="1262" y="286"/>
                      </a:lnTo>
                      <a:lnTo>
                        <a:pt x="1260" y="284"/>
                      </a:lnTo>
                      <a:lnTo>
                        <a:pt x="1262" y="284"/>
                      </a:lnTo>
                      <a:lnTo>
                        <a:pt x="1264" y="283"/>
                      </a:lnTo>
                      <a:lnTo>
                        <a:pt x="1264" y="281"/>
                      </a:lnTo>
                      <a:lnTo>
                        <a:pt x="1262" y="281"/>
                      </a:lnTo>
                      <a:lnTo>
                        <a:pt x="1264" y="279"/>
                      </a:lnTo>
                      <a:lnTo>
                        <a:pt x="1265" y="279"/>
                      </a:lnTo>
                      <a:lnTo>
                        <a:pt x="1267" y="279"/>
                      </a:lnTo>
                      <a:lnTo>
                        <a:pt x="1269" y="279"/>
                      </a:lnTo>
                      <a:lnTo>
                        <a:pt x="1271" y="279"/>
                      </a:lnTo>
                      <a:lnTo>
                        <a:pt x="1271" y="278"/>
                      </a:lnTo>
                      <a:lnTo>
                        <a:pt x="1272" y="278"/>
                      </a:lnTo>
                      <a:lnTo>
                        <a:pt x="1274" y="278"/>
                      </a:lnTo>
                      <a:lnTo>
                        <a:pt x="1274" y="276"/>
                      </a:lnTo>
                      <a:lnTo>
                        <a:pt x="1277" y="276"/>
                      </a:lnTo>
                      <a:lnTo>
                        <a:pt x="1281" y="274"/>
                      </a:lnTo>
                      <a:lnTo>
                        <a:pt x="1281" y="273"/>
                      </a:lnTo>
                      <a:lnTo>
                        <a:pt x="1281" y="271"/>
                      </a:lnTo>
                      <a:lnTo>
                        <a:pt x="1281" y="270"/>
                      </a:lnTo>
                      <a:lnTo>
                        <a:pt x="1281" y="268"/>
                      </a:lnTo>
                      <a:lnTo>
                        <a:pt x="1279" y="266"/>
                      </a:lnTo>
                      <a:lnTo>
                        <a:pt x="1277" y="266"/>
                      </a:lnTo>
                      <a:lnTo>
                        <a:pt x="1277" y="265"/>
                      </a:lnTo>
                      <a:lnTo>
                        <a:pt x="1276" y="265"/>
                      </a:lnTo>
                      <a:lnTo>
                        <a:pt x="1276" y="263"/>
                      </a:lnTo>
                      <a:lnTo>
                        <a:pt x="1274" y="263"/>
                      </a:lnTo>
                      <a:lnTo>
                        <a:pt x="1274" y="261"/>
                      </a:lnTo>
                      <a:lnTo>
                        <a:pt x="1274" y="260"/>
                      </a:lnTo>
                      <a:lnTo>
                        <a:pt x="1272" y="260"/>
                      </a:lnTo>
                      <a:lnTo>
                        <a:pt x="1272" y="258"/>
                      </a:lnTo>
                      <a:lnTo>
                        <a:pt x="1272" y="256"/>
                      </a:lnTo>
                      <a:lnTo>
                        <a:pt x="1272" y="255"/>
                      </a:lnTo>
                      <a:lnTo>
                        <a:pt x="1272" y="253"/>
                      </a:lnTo>
                      <a:lnTo>
                        <a:pt x="1274" y="253"/>
                      </a:lnTo>
                      <a:lnTo>
                        <a:pt x="1274" y="251"/>
                      </a:lnTo>
                      <a:lnTo>
                        <a:pt x="1276" y="250"/>
                      </a:lnTo>
                      <a:lnTo>
                        <a:pt x="1277" y="250"/>
                      </a:lnTo>
                      <a:lnTo>
                        <a:pt x="1277" y="248"/>
                      </a:lnTo>
                      <a:lnTo>
                        <a:pt x="1277" y="247"/>
                      </a:lnTo>
                      <a:lnTo>
                        <a:pt x="1277" y="245"/>
                      </a:lnTo>
                      <a:lnTo>
                        <a:pt x="1279" y="243"/>
                      </a:lnTo>
                      <a:lnTo>
                        <a:pt x="1279" y="242"/>
                      </a:lnTo>
                      <a:lnTo>
                        <a:pt x="1281" y="242"/>
                      </a:lnTo>
                      <a:lnTo>
                        <a:pt x="1281" y="240"/>
                      </a:lnTo>
                      <a:lnTo>
                        <a:pt x="1279" y="238"/>
                      </a:lnTo>
                      <a:lnTo>
                        <a:pt x="1281" y="238"/>
                      </a:lnTo>
                      <a:lnTo>
                        <a:pt x="1281" y="237"/>
                      </a:lnTo>
                      <a:lnTo>
                        <a:pt x="1282" y="235"/>
                      </a:lnTo>
                      <a:lnTo>
                        <a:pt x="1282" y="233"/>
                      </a:lnTo>
                      <a:lnTo>
                        <a:pt x="1281" y="233"/>
                      </a:lnTo>
                      <a:lnTo>
                        <a:pt x="1281" y="232"/>
                      </a:lnTo>
                      <a:lnTo>
                        <a:pt x="1282" y="232"/>
                      </a:lnTo>
                      <a:lnTo>
                        <a:pt x="1282" y="228"/>
                      </a:lnTo>
                      <a:lnTo>
                        <a:pt x="1282" y="227"/>
                      </a:lnTo>
                      <a:lnTo>
                        <a:pt x="1284" y="227"/>
                      </a:lnTo>
                      <a:lnTo>
                        <a:pt x="1284" y="225"/>
                      </a:lnTo>
                      <a:lnTo>
                        <a:pt x="1286" y="225"/>
                      </a:lnTo>
                      <a:lnTo>
                        <a:pt x="1284" y="225"/>
                      </a:lnTo>
                      <a:lnTo>
                        <a:pt x="1286" y="224"/>
                      </a:lnTo>
                      <a:lnTo>
                        <a:pt x="1287" y="222"/>
                      </a:lnTo>
                      <a:lnTo>
                        <a:pt x="1289" y="222"/>
                      </a:lnTo>
                      <a:lnTo>
                        <a:pt x="1289" y="220"/>
                      </a:lnTo>
                      <a:lnTo>
                        <a:pt x="1289" y="219"/>
                      </a:lnTo>
                      <a:lnTo>
                        <a:pt x="1287" y="219"/>
                      </a:lnTo>
                      <a:lnTo>
                        <a:pt x="1289" y="217"/>
                      </a:lnTo>
                      <a:lnTo>
                        <a:pt x="1289" y="215"/>
                      </a:lnTo>
                      <a:lnTo>
                        <a:pt x="1291" y="214"/>
                      </a:lnTo>
                      <a:lnTo>
                        <a:pt x="1291" y="212"/>
                      </a:lnTo>
                      <a:lnTo>
                        <a:pt x="1291" y="210"/>
                      </a:lnTo>
                      <a:lnTo>
                        <a:pt x="1292" y="210"/>
                      </a:lnTo>
                      <a:lnTo>
                        <a:pt x="1292" y="209"/>
                      </a:lnTo>
                      <a:lnTo>
                        <a:pt x="1294" y="209"/>
                      </a:lnTo>
                      <a:lnTo>
                        <a:pt x="1294" y="207"/>
                      </a:lnTo>
                      <a:lnTo>
                        <a:pt x="1296" y="205"/>
                      </a:lnTo>
                      <a:lnTo>
                        <a:pt x="1298" y="205"/>
                      </a:lnTo>
                      <a:lnTo>
                        <a:pt x="1296" y="204"/>
                      </a:lnTo>
                      <a:lnTo>
                        <a:pt x="1298" y="202"/>
                      </a:lnTo>
                      <a:lnTo>
                        <a:pt x="1298" y="201"/>
                      </a:lnTo>
                      <a:lnTo>
                        <a:pt x="1298" y="199"/>
                      </a:lnTo>
                      <a:lnTo>
                        <a:pt x="1299" y="197"/>
                      </a:lnTo>
                      <a:lnTo>
                        <a:pt x="1299" y="196"/>
                      </a:lnTo>
                      <a:lnTo>
                        <a:pt x="1301" y="196"/>
                      </a:lnTo>
                      <a:lnTo>
                        <a:pt x="1303" y="194"/>
                      </a:lnTo>
                      <a:lnTo>
                        <a:pt x="1304" y="192"/>
                      </a:lnTo>
                      <a:lnTo>
                        <a:pt x="1304" y="191"/>
                      </a:lnTo>
                      <a:lnTo>
                        <a:pt x="1306" y="187"/>
                      </a:lnTo>
                      <a:lnTo>
                        <a:pt x="1306" y="186"/>
                      </a:lnTo>
                      <a:lnTo>
                        <a:pt x="1306" y="184"/>
                      </a:lnTo>
                      <a:lnTo>
                        <a:pt x="1387" y="184"/>
                      </a:lnTo>
                      <a:lnTo>
                        <a:pt x="1414" y="184"/>
                      </a:lnTo>
                      <a:lnTo>
                        <a:pt x="1414" y="209"/>
                      </a:lnTo>
                      <a:lnTo>
                        <a:pt x="1414" y="210"/>
                      </a:lnTo>
                      <a:lnTo>
                        <a:pt x="1416" y="210"/>
                      </a:lnTo>
                      <a:lnTo>
                        <a:pt x="1416" y="212"/>
                      </a:lnTo>
                      <a:lnTo>
                        <a:pt x="1416" y="214"/>
                      </a:lnTo>
                      <a:lnTo>
                        <a:pt x="1417" y="214"/>
                      </a:lnTo>
                      <a:lnTo>
                        <a:pt x="1417" y="215"/>
                      </a:lnTo>
                      <a:lnTo>
                        <a:pt x="1417" y="217"/>
                      </a:lnTo>
                      <a:lnTo>
                        <a:pt x="1417" y="220"/>
                      </a:lnTo>
                      <a:lnTo>
                        <a:pt x="1417" y="222"/>
                      </a:lnTo>
                      <a:lnTo>
                        <a:pt x="1417" y="224"/>
                      </a:lnTo>
                      <a:lnTo>
                        <a:pt x="1417" y="225"/>
                      </a:lnTo>
                      <a:lnTo>
                        <a:pt x="1416" y="225"/>
                      </a:lnTo>
                      <a:lnTo>
                        <a:pt x="1416" y="227"/>
                      </a:lnTo>
                      <a:lnTo>
                        <a:pt x="1416" y="228"/>
                      </a:lnTo>
                      <a:lnTo>
                        <a:pt x="1417" y="232"/>
                      </a:lnTo>
                      <a:lnTo>
                        <a:pt x="1417" y="233"/>
                      </a:lnTo>
                      <a:lnTo>
                        <a:pt x="1417" y="235"/>
                      </a:lnTo>
                      <a:lnTo>
                        <a:pt x="1417" y="237"/>
                      </a:lnTo>
                      <a:lnTo>
                        <a:pt x="1416" y="237"/>
                      </a:lnTo>
                      <a:lnTo>
                        <a:pt x="1417" y="237"/>
                      </a:lnTo>
                      <a:lnTo>
                        <a:pt x="1417" y="238"/>
                      </a:lnTo>
                      <a:lnTo>
                        <a:pt x="1417" y="240"/>
                      </a:lnTo>
                      <a:lnTo>
                        <a:pt x="1419" y="242"/>
                      </a:lnTo>
                      <a:lnTo>
                        <a:pt x="1421" y="243"/>
                      </a:lnTo>
                      <a:lnTo>
                        <a:pt x="1423" y="243"/>
                      </a:lnTo>
                      <a:lnTo>
                        <a:pt x="1424" y="243"/>
                      </a:lnTo>
                      <a:lnTo>
                        <a:pt x="1426" y="243"/>
                      </a:lnTo>
                      <a:lnTo>
                        <a:pt x="1426" y="245"/>
                      </a:lnTo>
                      <a:lnTo>
                        <a:pt x="1428" y="245"/>
                      </a:lnTo>
                      <a:lnTo>
                        <a:pt x="1429" y="247"/>
                      </a:lnTo>
                      <a:lnTo>
                        <a:pt x="1429" y="248"/>
                      </a:lnTo>
                      <a:lnTo>
                        <a:pt x="1431" y="248"/>
                      </a:lnTo>
                      <a:lnTo>
                        <a:pt x="1431" y="250"/>
                      </a:lnTo>
                      <a:lnTo>
                        <a:pt x="1431" y="251"/>
                      </a:lnTo>
                      <a:lnTo>
                        <a:pt x="1429" y="251"/>
                      </a:lnTo>
                      <a:lnTo>
                        <a:pt x="1431" y="253"/>
                      </a:lnTo>
                      <a:lnTo>
                        <a:pt x="1431" y="255"/>
                      </a:lnTo>
                      <a:lnTo>
                        <a:pt x="1433" y="256"/>
                      </a:lnTo>
                      <a:lnTo>
                        <a:pt x="1433" y="258"/>
                      </a:lnTo>
                      <a:lnTo>
                        <a:pt x="1431" y="260"/>
                      </a:lnTo>
                      <a:lnTo>
                        <a:pt x="1431" y="261"/>
                      </a:lnTo>
                      <a:lnTo>
                        <a:pt x="1431" y="263"/>
                      </a:lnTo>
                      <a:lnTo>
                        <a:pt x="1431" y="265"/>
                      </a:lnTo>
                      <a:lnTo>
                        <a:pt x="1429" y="265"/>
                      </a:lnTo>
                      <a:lnTo>
                        <a:pt x="1431" y="266"/>
                      </a:lnTo>
                      <a:lnTo>
                        <a:pt x="1431" y="268"/>
                      </a:lnTo>
                      <a:lnTo>
                        <a:pt x="1433" y="268"/>
                      </a:lnTo>
                      <a:lnTo>
                        <a:pt x="1433" y="270"/>
                      </a:lnTo>
                      <a:lnTo>
                        <a:pt x="1433" y="271"/>
                      </a:lnTo>
                      <a:lnTo>
                        <a:pt x="1434" y="271"/>
                      </a:lnTo>
                      <a:lnTo>
                        <a:pt x="1436" y="273"/>
                      </a:lnTo>
                      <a:lnTo>
                        <a:pt x="1436" y="274"/>
                      </a:lnTo>
                      <a:lnTo>
                        <a:pt x="1438" y="274"/>
                      </a:lnTo>
                      <a:lnTo>
                        <a:pt x="1439" y="274"/>
                      </a:lnTo>
                      <a:lnTo>
                        <a:pt x="1441" y="276"/>
                      </a:lnTo>
                      <a:lnTo>
                        <a:pt x="1441" y="278"/>
                      </a:lnTo>
                      <a:lnTo>
                        <a:pt x="1443" y="278"/>
                      </a:lnTo>
                      <a:lnTo>
                        <a:pt x="1443" y="279"/>
                      </a:lnTo>
                      <a:lnTo>
                        <a:pt x="1444" y="279"/>
                      </a:lnTo>
                      <a:lnTo>
                        <a:pt x="1444" y="281"/>
                      </a:lnTo>
                      <a:lnTo>
                        <a:pt x="1446" y="281"/>
                      </a:lnTo>
                      <a:lnTo>
                        <a:pt x="1446" y="283"/>
                      </a:lnTo>
                      <a:lnTo>
                        <a:pt x="1448" y="283"/>
                      </a:lnTo>
                      <a:lnTo>
                        <a:pt x="1450" y="284"/>
                      </a:lnTo>
                      <a:lnTo>
                        <a:pt x="1451" y="284"/>
                      </a:lnTo>
                      <a:lnTo>
                        <a:pt x="1451" y="286"/>
                      </a:lnTo>
                      <a:lnTo>
                        <a:pt x="1451" y="284"/>
                      </a:lnTo>
                      <a:lnTo>
                        <a:pt x="1453" y="284"/>
                      </a:lnTo>
                      <a:lnTo>
                        <a:pt x="1453" y="286"/>
                      </a:lnTo>
                      <a:lnTo>
                        <a:pt x="1453" y="288"/>
                      </a:lnTo>
                      <a:lnTo>
                        <a:pt x="1455" y="288"/>
                      </a:lnTo>
                      <a:lnTo>
                        <a:pt x="1455" y="289"/>
                      </a:lnTo>
                      <a:lnTo>
                        <a:pt x="1455" y="288"/>
                      </a:lnTo>
                      <a:lnTo>
                        <a:pt x="1456" y="288"/>
                      </a:lnTo>
                      <a:lnTo>
                        <a:pt x="1458" y="289"/>
                      </a:lnTo>
                      <a:lnTo>
                        <a:pt x="1458" y="291"/>
                      </a:lnTo>
                      <a:lnTo>
                        <a:pt x="1456" y="291"/>
                      </a:lnTo>
                      <a:lnTo>
                        <a:pt x="1456" y="293"/>
                      </a:lnTo>
                      <a:lnTo>
                        <a:pt x="1456" y="294"/>
                      </a:lnTo>
                      <a:lnTo>
                        <a:pt x="1458" y="294"/>
                      </a:lnTo>
                      <a:lnTo>
                        <a:pt x="1460" y="296"/>
                      </a:lnTo>
                      <a:lnTo>
                        <a:pt x="1460" y="297"/>
                      </a:lnTo>
                      <a:lnTo>
                        <a:pt x="1461" y="299"/>
                      </a:lnTo>
                      <a:lnTo>
                        <a:pt x="1460" y="299"/>
                      </a:lnTo>
                      <a:lnTo>
                        <a:pt x="1460" y="301"/>
                      </a:lnTo>
                      <a:lnTo>
                        <a:pt x="1460" y="302"/>
                      </a:lnTo>
                      <a:lnTo>
                        <a:pt x="1460" y="304"/>
                      </a:lnTo>
                      <a:lnTo>
                        <a:pt x="1461" y="304"/>
                      </a:lnTo>
                      <a:lnTo>
                        <a:pt x="1463" y="304"/>
                      </a:lnTo>
                      <a:lnTo>
                        <a:pt x="1463" y="306"/>
                      </a:lnTo>
                      <a:lnTo>
                        <a:pt x="1465" y="306"/>
                      </a:lnTo>
                      <a:lnTo>
                        <a:pt x="1465" y="307"/>
                      </a:lnTo>
                      <a:lnTo>
                        <a:pt x="1465" y="309"/>
                      </a:lnTo>
                      <a:lnTo>
                        <a:pt x="1466" y="309"/>
                      </a:lnTo>
                      <a:lnTo>
                        <a:pt x="1465" y="311"/>
                      </a:lnTo>
                      <a:lnTo>
                        <a:pt x="1466" y="311"/>
                      </a:lnTo>
                      <a:lnTo>
                        <a:pt x="1468" y="312"/>
                      </a:lnTo>
                      <a:lnTo>
                        <a:pt x="1470" y="312"/>
                      </a:lnTo>
                      <a:lnTo>
                        <a:pt x="1470" y="314"/>
                      </a:lnTo>
                      <a:lnTo>
                        <a:pt x="1471" y="314"/>
                      </a:lnTo>
                      <a:lnTo>
                        <a:pt x="1473" y="312"/>
                      </a:lnTo>
                      <a:lnTo>
                        <a:pt x="1475" y="312"/>
                      </a:lnTo>
                      <a:lnTo>
                        <a:pt x="1477" y="314"/>
                      </a:lnTo>
                      <a:lnTo>
                        <a:pt x="1477" y="316"/>
                      </a:lnTo>
                      <a:lnTo>
                        <a:pt x="1480" y="316"/>
                      </a:lnTo>
                      <a:lnTo>
                        <a:pt x="1480" y="317"/>
                      </a:lnTo>
                      <a:lnTo>
                        <a:pt x="1482" y="319"/>
                      </a:lnTo>
                      <a:lnTo>
                        <a:pt x="1485" y="322"/>
                      </a:lnTo>
                      <a:lnTo>
                        <a:pt x="1485" y="320"/>
                      </a:lnTo>
                      <a:lnTo>
                        <a:pt x="1487" y="317"/>
                      </a:lnTo>
                      <a:lnTo>
                        <a:pt x="1488" y="317"/>
                      </a:lnTo>
                      <a:lnTo>
                        <a:pt x="1488" y="316"/>
                      </a:lnTo>
                      <a:lnTo>
                        <a:pt x="1490" y="316"/>
                      </a:lnTo>
                      <a:lnTo>
                        <a:pt x="1492" y="314"/>
                      </a:lnTo>
                      <a:lnTo>
                        <a:pt x="1492" y="312"/>
                      </a:lnTo>
                      <a:lnTo>
                        <a:pt x="1495" y="309"/>
                      </a:lnTo>
                      <a:lnTo>
                        <a:pt x="1497" y="309"/>
                      </a:lnTo>
                      <a:lnTo>
                        <a:pt x="1499" y="311"/>
                      </a:lnTo>
                      <a:lnTo>
                        <a:pt x="1499" y="312"/>
                      </a:lnTo>
                      <a:lnTo>
                        <a:pt x="1499" y="314"/>
                      </a:lnTo>
                      <a:lnTo>
                        <a:pt x="1500" y="314"/>
                      </a:lnTo>
                      <a:lnTo>
                        <a:pt x="1502" y="314"/>
                      </a:lnTo>
                      <a:lnTo>
                        <a:pt x="1502" y="316"/>
                      </a:lnTo>
                      <a:lnTo>
                        <a:pt x="1502" y="319"/>
                      </a:lnTo>
                      <a:lnTo>
                        <a:pt x="1504" y="319"/>
                      </a:lnTo>
                      <a:lnTo>
                        <a:pt x="1504" y="320"/>
                      </a:lnTo>
                      <a:lnTo>
                        <a:pt x="1502" y="322"/>
                      </a:lnTo>
                      <a:lnTo>
                        <a:pt x="1502" y="324"/>
                      </a:lnTo>
                      <a:lnTo>
                        <a:pt x="1500" y="327"/>
                      </a:lnTo>
                      <a:lnTo>
                        <a:pt x="1500" y="329"/>
                      </a:lnTo>
                      <a:lnTo>
                        <a:pt x="1500" y="330"/>
                      </a:lnTo>
                      <a:lnTo>
                        <a:pt x="1500" y="332"/>
                      </a:lnTo>
                      <a:lnTo>
                        <a:pt x="1502" y="334"/>
                      </a:lnTo>
                      <a:lnTo>
                        <a:pt x="1502" y="335"/>
                      </a:lnTo>
                      <a:lnTo>
                        <a:pt x="1504" y="335"/>
                      </a:lnTo>
                      <a:lnTo>
                        <a:pt x="1504" y="337"/>
                      </a:lnTo>
                      <a:lnTo>
                        <a:pt x="1505" y="337"/>
                      </a:lnTo>
                      <a:lnTo>
                        <a:pt x="1507" y="337"/>
                      </a:lnTo>
                      <a:lnTo>
                        <a:pt x="1509" y="339"/>
                      </a:lnTo>
                      <a:lnTo>
                        <a:pt x="1507" y="339"/>
                      </a:lnTo>
                      <a:lnTo>
                        <a:pt x="1509" y="340"/>
                      </a:lnTo>
                      <a:lnTo>
                        <a:pt x="1510" y="340"/>
                      </a:lnTo>
                      <a:lnTo>
                        <a:pt x="1510" y="339"/>
                      </a:lnTo>
                      <a:lnTo>
                        <a:pt x="1512" y="340"/>
                      </a:lnTo>
                      <a:lnTo>
                        <a:pt x="1514" y="340"/>
                      </a:lnTo>
                      <a:lnTo>
                        <a:pt x="1515" y="340"/>
                      </a:lnTo>
                      <a:lnTo>
                        <a:pt x="1517" y="340"/>
                      </a:lnTo>
                      <a:lnTo>
                        <a:pt x="1517" y="342"/>
                      </a:lnTo>
                      <a:lnTo>
                        <a:pt x="1517" y="343"/>
                      </a:lnTo>
                      <a:lnTo>
                        <a:pt x="1519" y="343"/>
                      </a:lnTo>
                      <a:lnTo>
                        <a:pt x="1519" y="345"/>
                      </a:lnTo>
                      <a:lnTo>
                        <a:pt x="1520" y="345"/>
                      </a:lnTo>
                      <a:lnTo>
                        <a:pt x="1520" y="347"/>
                      </a:lnTo>
                      <a:lnTo>
                        <a:pt x="1522" y="347"/>
                      </a:lnTo>
                      <a:lnTo>
                        <a:pt x="1524" y="347"/>
                      </a:lnTo>
                      <a:lnTo>
                        <a:pt x="1526" y="347"/>
                      </a:lnTo>
                      <a:lnTo>
                        <a:pt x="1527" y="347"/>
                      </a:lnTo>
                      <a:lnTo>
                        <a:pt x="1527" y="348"/>
                      </a:lnTo>
                      <a:lnTo>
                        <a:pt x="1527" y="350"/>
                      </a:lnTo>
                      <a:lnTo>
                        <a:pt x="1527" y="352"/>
                      </a:lnTo>
                      <a:lnTo>
                        <a:pt x="1527" y="353"/>
                      </a:lnTo>
                      <a:lnTo>
                        <a:pt x="1529" y="353"/>
                      </a:lnTo>
                      <a:lnTo>
                        <a:pt x="1531" y="355"/>
                      </a:lnTo>
                      <a:lnTo>
                        <a:pt x="1532" y="355"/>
                      </a:lnTo>
                      <a:lnTo>
                        <a:pt x="1532" y="353"/>
                      </a:lnTo>
                      <a:lnTo>
                        <a:pt x="1532" y="355"/>
                      </a:lnTo>
                      <a:lnTo>
                        <a:pt x="1534" y="355"/>
                      </a:lnTo>
                      <a:lnTo>
                        <a:pt x="1534" y="353"/>
                      </a:lnTo>
                      <a:lnTo>
                        <a:pt x="1536" y="355"/>
                      </a:lnTo>
                      <a:lnTo>
                        <a:pt x="1536" y="353"/>
                      </a:lnTo>
                      <a:lnTo>
                        <a:pt x="1537" y="353"/>
                      </a:lnTo>
                      <a:lnTo>
                        <a:pt x="1539" y="353"/>
                      </a:lnTo>
                      <a:lnTo>
                        <a:pt x="1537" y="355"/>
                      </a:lnTo>
                      <a:lnTo>
                        <a:pt x="1539" y="355"/>
                      </a:lnTo>
                      <a:lnTo>
                        <a:pt x="1541" y="357"/>
                      </a:lnTo>
                      <a:lnTo>
                        <a:pt x="1542" y="357"/>
                      </a:lnTo>
                      <a:lnTo>
                        <a:pt x="1544" y="358"/>
                      </a:lnTo>
                      <a:lnTo>
                        <a:pt x="1544" y="360"/>
                      </a:lnTo>
                      <a:lnTo>
                        <a:pt x="1546" y="360"/>
                      </a:lnTo>
                      <a:lnTo>
                        <a:pt x="1547" y="360"/>
                      </a:lnTo>
                      <a:lnTo>
                        <a:pt x="1547" y="361"/>
                      </a:lnTo>
                      <a:lnTo>
                        <a:pt x="1549" y="360"/>
                      </a:lnTo>
                      <a:lnTo>
                        <a:pt x="1549" y="361"/>
                      </a:lnTo>
                      <a:lnTo>
                        <a:pt x="1549" y="363"/>
                      </a:lnTo>
                      <a:lnTo>
                        <a:pt x="1551" y="363"/>
                      </a:lnTo>
                      <a:lnTo>
                        <a:pt x="1551" y="361"/>
                      </a:lnTo>
                      <a:lnTo>
                        <a:pt x="1553" y="361"/>
                      </a:lnTo>
                      <a:lnTo>
                        <a:pt x="1553" y="363"/>
                      </a:lnTo>
                      <a:lnTo>
                        <a:pt x="1554" y="365"/>
                      </a:lnTo>
                      <a:lnTo>
                        <a:pt x="1554" y="363"/>
                      </a:lnTo>
                      <a:lnTo>
                        <a:pt x="1556" y="361"/>
                      </a:lnTo>
                      <a:lnTo>
                        <a:pt x="1556" y="363"/>
                      </a:lnTo>
                      <a:lnTo>
                        <a:pt x="1556" y="365"/>
                      </a:lnTo>
                      <a:lnTo>
                        <a:pt x="1558" y="365"/>
                      </a:lnTo>
                      <a:lnTo>
                        <a:pt x="1556" y="366"/>
                      </a:lnTo>
                      <a:lnTo>
                        <a:pt x="1558" y="366"/>
                      </a:lnTo>
                      <a:lnTo>
                        <a:pt x="1559" y="366"/>
                      </a:lnTo>
                      <a:lnTo>
                        <a:pt x="1561" y="368"/>
                      </a:lnTo>
                      <a:lnTo>
                        <a:pt x="1561" y="366"/>
                      </a:lnTo>
                      <a:lnTo>
                        <a:pt x="1563" y="366"/>
                      </a:lnTo>
                      <a:lnTo>
                        <a:pt x="1564" y="366"/>
                      </a:lnTo>
                      <a:lnTo>
                        <a:pt x="1566" y="368"/>
                      </a:lnTo>
                      <a:lnTo>
                        <a:pt x="1566" y="366"/>
                      </a:lnTo>
                      <a:lnTo>
                        <a:pt x="1568" y="365"/>
                      </a:lnTo>
                      <a:lnTo>
                        <a:pt x="1568" y="366"/>
                      </a:lnTo>
                      <a:lnTo>
                        <a:pt x="1569" y="366"/>
                      </a:lnTo>
                      <a:lnTo>
                        <a:pt x="1569" y="365"/>
                      </a:lnTo>
                      <a:lnTo>
                        <a:pt x="1571" y="365"/>
                      </a:lnTo>
                      <a:lnTo>
                        <a:pt x="1571" y="366"/>
                      </a:lnTo>
                      <a:lnTo>
                        <a:pt x="1573" y="366"/>
                      </a:lnTo>
                      <a:lnTo>
                        <a:pt x="1575" y="366"/>
                      </a:lnTo>
                      <a:lnTo>
                        <a:pt x="1576" y="366"/>
                      </a:lnTo>
                      <a:lnTo>
                        <a:pt x="1576" y="368"/>
                      </a:lnTo>
                      <a:lnTo>
                        <a:pt x="1576" y="366"/>
                      </a:lnTo>
                      <a:lnTo>
                        <a:pt x="1578" y="368"/>
                      </a:lnTo>
                      <a:lnTo>
                        <a:pt x="1578" y="366"/>
                      </a:lnTo>
                      <a:lnTo>
                        <a:pt x="1580" y="366"/>
                      </a:lnTo>
                      <a:lnTo>
                        <a:pt x="1580" y="368"/>
                      </a:lnTo>
                      <a:lnTo>
                        <a:pt x="1578" y="370"/>
                      </a:lnTo>
                      <a:lnTo>
                        <a:pt x="1580" y="370"/>
                      </a:lnTo>
                      <a:lnTo>
                        <a:pt x="1580" y="371"/>
                      </a:lnTo>
                      <a:lnTo>
                        <a:pt x="1580" y="370"/>
                      </a:lnTo>
                      <a:lnTo>
                        <a:pt x="1583" y="371"/>
                      </a:lnTo>
                      <a:lnTo>
                        <a:pt x="1583" y="373"/>
                      </a:lnTo>
                      <a:lnTo>
                        <a:pt x="1585" y="371"/>
                      </a:lnTo>
                      <a:lnTo>
                        <a:pt x="1586" y="373"/>
                      </a:lnTo>
                      <a:lnTo>
                        <a:pt x="1586" y="375"/>
                      </a:lnTo>
                      <a:lnTo>
                        <a:pt x="1588" y="375"/>
                      </a:lnTo>
                      <a:lnTo>
                        <a:pt x="1588" y="376"/>
                      </a:lnTo>
                      <a:lnTo>
                        <a:pt x="1588" y="380"/>
                      </a:lnTo>
                      <a:lnTo>
                        <a:pt x="1590" y="380"/>
                      </a:lnTo>
                      <a:lnTo>
                        <a:pt x="1590" y="381"/>
                      </a:lnTo>
                      <a:lnTo>
                        <a:pt x="1590" y="383"/>
                      </a:lnTo>
                      <a:lnTo>
                        <a:pt x="1591" y="383"/>
                      </a:lnTo>
                      <a:lnTo>
                        <a:pt x="1591" y="384"/>
                      </a:lnTo>
                      <a:lnTo>
                        <a:pt x="1593" y="384"/>
                      </a:lnTo>
                      <a:lnTo>
                        <a:pt x="1595" y="384"/>
                      </a:lnTo>
                      <a:lnTo>
                        <a:pt x="1596" y="384"/>
                      </a:lnTo>
                      <a:lnTo>
                        <a:pt x="1596" y="386"/>
                      </a:lnTo>
                      <a:lnTo>
                        <a:pt x="1598" y="386"/>
                      </a:lnTo>
                      <a:lnTo>
                        <a:pt x="1598" y="388"/>
                      </a:lnTo>
                      <a:lnTo>
                        <a:pt x="1598" y="389"/>
                      </a:lnTo>
                      <a:lnTo>
                        <a:pt x="1600" y="389"/>
                      </a:lnTo>
                      <a:lnTo>
                        <a:pt x="1602" y="389"/>
                      </a:lnTo>
                      <a:lnTo>
                        <a:pt x="1603" y="389"/>
                      </a:lnTo>
                      <a:lnTo>
                        <a:pt x="1605" y="389"/>
                      </a:lnTo>
                      <a:lnTo>
                        <a:pt x="1605" y="391"/>
                      </a:lnTo>
                      <a:lnTo>
                        <a:pt x="1607" y="391"/>
                      </a:lnTo>
                      <a:lnTo>
                        <a:pt x="1607" y="393"/>
                      </a:lnTo>
                      <a:lnTo>
                        <a:pt x="1608" y="394"/>
                      </a:lnTo>
                      <a:lnTo>
                        <a:pt x="1610" y="394"/>
                      </a:lnTo>
                      <a:lnTo>
                        <a:pt x="1612" y="394"/>
                      </a:lnTo>
                      <a:lnTo>
                        <a:pt x="1613" y="394"/>
                      </a:lnTo>
                      <a:lnTo>
                        <a:pt x="1615" y="393"/>
                      </a:lnTo>
                      <a:lnTo>
                        <a:pt x="1617" y="393"/>
                      </a:lnTo>
                      <a:lnTo>
                        <a:pt x="1618" y="393"/>
                      </a:lnTo>
                      <a:lnTo>
                        <a:pt x="1618" y="394"/>
                      </a:lnTo>
                      <a:lnTo>
                        <a:pt x="1620" y="396"/>
                      </a:lnTo>
                      <a:lnTo>
                        <a:pt x="1620" y="398"/>
                      </a:lnTo>
                      <a:lnTo>
                        <a:pt x="1620" y="399"/>
                      </a:lnTo>
                      <a:lnTo>
                        <a:pt x="1620" y="401"/>
                      </a:lnTo>
                      <a:lnTo>
                        <a:pt x="1618" y="403"/>
                      </a:lnTo>
                      <a:lnTo>
                        <a:pt x="1617" y="406"/>
                      </a:lnTo>
                      <a:lnTo>
                        <a:pt x="1617" y="407"/>
                      </a:lnTo>
                      <a:lnTo>
                        <a:pt x="1617" y="409"/>
                      </a:lnTo>
                      <a:lnTo>
                        <a:pt x="1618" y="409"/>
                      </a:lnTo>
                      <a:lnTo>
                        <a:pt x="1620" y="409"/>
                      </a:lnTo>
                      <a:lnTo>
                        <a:pt x="1622" y="409"/>
                      </a:lnTo>
                      <a:lnTo>
                        <a:pt x="1623" y="411"/>
                      </a:lnTo>
                      <a:lnTo>
                        <a:pt x="1623" y="412"/>
                      </a:lnTo>
                      <a:lnTo>
                        <a:pt x="1625" y="412"/>
                      </a:lnTo>
                      <a:lnTo>
                        <a:pt x="1627" y="412"/>
                      </a:lnTo>
                      <a:lnTo>
                        <a:pt x="1629" y="411"/>
                      </a:lnTo>
                      <a:lnTo>
                        <a:pt x="1630" y="411"/>
                      </a:lnTo>
                      <a:lnTo>
                        <a:pt x="1632" y="412"/>
                      </a:lnTo>
                      <a:lnTo>
                        <a:pt x="1632" y="411"/>
                      </a:lnTo>
                      <a:lnTo>
                        <a:pt x="1632" y="409"/>
                      </a:lnTo>
                      <a:lnTo>
                        <a:pt x="1634" y="409"/>
                      </a:lnTo>
                      <a:lnTo>
                        <a:pt x="1635" y="409"/>
                      </a:lnTo>
                      <a:lnTo>
                        <a:pt x="1637" y="407"/>
                      </a:lnTo>
                      <a:lnTo>
                        <a:pt x="1639" y="406"/>
                      </a:lnTo>
                      <a:lnTo>
                        <a:pt x="1640" y="406"/>
                      </a:lnTo>
                      <a:lnTo>
                        <a:pt x="1642" y="407"/>
                      </a:lnTo>
                      <a:lnTo>
                        <a:pt x="1644" y="407"/>
                      </a:lnTo>
                      <a:lnTo>
                        <a:pt x="1645" y="407"/>
                      </a:lnTo>
                      <a:lnTo>
                        <a:pt x="1645" y="406"/>
                      </a:lnTo>
                      <a:lnTo>
                        <a:pt x="1647" y="406"/>
                      </a:lnTo>
                      <a:lnTo>
                        <a:pt x="1647" y="407"/>
                      </a:lnTo>
                      <a:lnTo>
                        <a:pt x="1649" y="407"/>
                      </a:lnTo>
                      <a:lnTo>
                        <a:pt x="1651" y="409"/>
                      </a:lnTo>
                      <a:lnTo>
                        <a:pt x="1652" y="407"/>
                      </a:lnTo>
                      <a:lnTo>
                        <a:pt x="1652" y="406"/>
                      </a:lnTo>
                      <a:lnTo>
                        <a:pt x="1654" y="406"/>
                      </a:lnTo>
                      <a:lnTo>
                        <a:pt x="1656" y="406"/>
                      </a:lnTo>
                      <a:lnTo>
                        <a:pt x="1657" y="406"/>
                      </a:lnTo>
                      <a:lnTo>
                        <a:pt x="1659" y="406"/>
                      </a:lnTo>
                      <a:lnTo>
                        <a:pt x="1659" y="404"/>
                      </a:lnTo>
                      <a:lnTo>
                        <a:pt x="1661" y="404"/>
                      </a:lnTo>
                      <a:lnTo>
                        <a:pt x="1661" y="403"/>
                      </a:lnTo>
                      <a:lnTo>
                        <a:pt x="1661" y="401"/>
                      </a:lnTo>
                      <a:lnTo>
                        <a:pt x="1662" y="401"/>
                      </a:lnTo>
                      <a:lnTo>
                        <a:pt x="1666" y="401"/>
                      </a:lnTo>
                      <a:lnTo>
                        <a:pt x="1666" y="399"/>
                      </a:lnTo>
                      <a:lnTo>
                        <a:pt x="1667" y="398"/>
                      </a:lnTo>
                      <a:lnTo>
                        <a:pt x="1669" y="398"/>
                      </a:lnTo>
                      <a:lnTo>
                        <a:pt x="1671" y="398"/>
                      </a:lnTo>
                      <a:lnTo>
                        <a:pt x="1671" y="396"/>
                      </a:lnTo>
                      <a:lnTo>
                        <a:pt x="1672" y="396"/>
                      </a:lnTo>
                      <a:lnTo>
                        <a:pt x="1674" y="396"/>
                      </a:lnTo>
                      <a:lnTo>
                        <a:pt x="1676" y="396"/>
                      </a:lnTo>
                      <a:lnTo>
                        <a:pt x="1679" y="394"/>
                      </a:lnTo>
                      <a:lnTo>
                        <a:pt x="1679" y="396"/>
                      </a:lnTo>
                      <a:lnTo>
                        <a:pt x="1679" y="398"/>
                      </a:lnTo>
                      <a:lnTo>
                        <a:pt x="1678" y="399"/>
                      </a:lnTo>
                      <a:lnTo>
                        <a:pt x="1676" y="401"/>
                      </a:lnTo>
                      <a:lnTo>
                        <a:pt x="1672" y="406"/>
                      </a:lnTo>
                      <a:lnTo>
                        <a:pt x="1672" y="407"/>
                      </a:lnTo>
                      <a:lnTo>
                        <a:pt x="1669" y="409"/>
                      </a:lnTo>
                      <a:lnTo>
                        <a:pt x="1669" y="411"/>
                      </a:lnTo>
                      <a:lnTo>
                        <a:pt x="1667" y="411"/>
                      </a:lnTo>
                      <a:lnTo>
                        <a:pt x="1664" y="412"/>
                      </a:lnTo>
                      <a:lnTo>
                        <a:pt x="1661" y="414"/>
                      </a:lnTo>
                      <a:lnTo>
                        <a:pt x="1657" y="416"/>
                      </a:lnTo>
                      <a:lnTo>
                        <a:pt x="1656" y="416"/>
                      </a:lnTo>
                      <a:lnTo>
                        <a:pt x="1654" y="417"/>
                      </a:lnTo>
                      <a:lnTo>
                        <a:pt x="1652" y="417"/>
                      </a:lnTo>
                      <a:lnTo>
                        <a:pt x="1651" y="422"/>
                      </a:lnTo>
                      <a:lnTo>
                        <a:pt x="1651" y="424"/>
                      </a:lnTo>
                      <a:lnTo>
                        <a:pt x="1649" y="426"/>
                      </a:lnTo>
                      <a:lnTo>
                        <a:pt x="1649" y="427"/>
                      </a:lnTo>
                      <a:lnTo>
                        <a:pt x="1645" y="432"/>
                      </a:lnTo>
                      <a:lnTo>
                        <a:pt x="1647" y="434"/>
                      </a:lnTo>
                      <a:lnTo>
                        <a:pt x="1649" y="434"/>
                      </a:lnTo>
                      <a:lnTo>
                        <a:pt x="1651" y="434"/>
                      </a:lnTo>
                      <a:lnTo>
                        <a:pt x="1649" y="439"/>
                      </a:lnTo>
                      <a:lnTo>
                        <a:pt x="1642" y="453"/>
                      </a:lnTo>
                      <a:lnTo>
                        <a:pt x="1632" y="475"/>
                      </a:lnTo>
                      <a:lnTo>
                        <a:pt x="1627" y="485"/>
                      </a:lnTo>
                      <a:lnTo>
                        <a:pt x="1617" y="508"/>
                      </a:lnTo>
                      <a:lnTo>
                        <a:pt x="1612" y="516"/>
                      </a:lnTo>
                      <a:lnTo>
                        <a:pt x="1605" y="531"/>
                      </a:lnTo>
                      <a:lnTo>
                        <a:pt x="1603" y="537"/>
                      </a:lnTo>
                      <a:lnTo>
                        <a:pt x="1598" y="545"/>
                      </a:lnTo>
                      <a:lnTo>
                        <a:pt x="1595" y="555"/>
                      </a:lnTo>
                      <a:lnTo>
                        <a:pt x="1539" y="669"/>
                      </a:lnTo>
                      <a:lnTo>
                        <a:pt x="1512" y="724"/>
                      </a:lnTo>
                      <a:lnTo>
                        <a:pt x="1495" y="761"/>
                      </a:lnTo>
                      <a:lnTo>
                        <a:pt x="1475" y="805"/>
                      </a:lnTo>
                      <a:lnTo>
                        <a:pt x="1473" y="805"/>
                      </a:lnTo>
                      <a:lnTo>
                        <a:pt x="1471" y="807"/>
                      </a:lnTo>
                      <a:lnTo>
                        <a:pt x="1470" y="807"/>
                      </a:lnTo>
                      <a:lnTo>
                        <a:pt x="1468" y="807"/>
                      </a:lnTo>
                      <a:lnTo>
                        <a:pt x="1468" y="808"/>
                      </a:lnTo>
                      <a:lnTo>
                        <a:pt x="1468" y="810"/>
                      </a:lnTo>
                      <a:lnTo>
                        <a:pt x="1468" y="811"/>
                      </a:lnTo>
                      <a:lnTo>
                        <a:pt x="1466" y="813"/>
                      </a:lnTo>
                      <a:lnTo>
                        <a:pt x="1465" y="815"/>
                      </a:lnTo>
                      <a:lnTo>
                        <a:pt x="1463" y="815"/>
                      </a:lnTo>
                      <a:lnTo>
                        <a:pt x="1463" y="816"/>
                      </a:lnTo>
                      <a:lnTo>
                        <a:pt x="1460" y="816"/>
                      </a:lnTo>
                      <a:lnTo>
                        <a:pt x="1460" y="818"/>
                      </a:lnTo>
                      <a:lnTo>
                        <a:pt x="1458" y="821"/>
                      </a:lnTo>
                      <a:lnTo>
                        <a:pt x="1456" y="823"/>
                      </a:lnTo>
                      <a:lnTo>
                        <a:pt x="1455" y="823"/>
                      </a:lnTo>
                      <a:lnTo>
                        <a:pt x="1455" y="825"/>
                      </a:lnTo>
                      <a:lnTo>
                        <a:pt x="1455" y="826"/>
                      </a:lnTo>
                      <a:lnTo>
                        <a:pt x="1455" y="830"/>
                      </a:lnTo>
                      <a:lnTo>
                        <a:pt x="1455" y="831"/>
                      </a:lnTo>
                      <a:lnTo>
                        <a:pt x="1455" y="833"/>
                      </a:lnTo>
                      <a:lnTo>
                        <a:pt x="1455" y="836"/>
                      </a:lnTo>
                      <a:lnTo>
                        <a:pt x="1456" y="838"/>
                      </a:lnTo>
                      <a:lnTo>
                        <a:pt x="1458" y="843"/>
                      </a:lnTo>
                      <a:lnTo>
                        <a:pt x="1458" y="844"/>
                      </a:lnTo>
                      <a:lnTo>
                        <a:pt x="1460" y="846"/>
                      </a:lnTo>
                      <a:lnTo>
                        <a:pt x="1461" y="848"/>
                      </a:lnTo>
                      <a:lnTo>
                        <a:pt x="1463" y="849"/>
                      </a:lnTo>
                      <a:lnTo>
                        <a:pt x="1463" y="851"/>
                      </a:lnTo>
                      <a:lnTo>
                        <a:pt x="1466" y="851"/>
                      </a:lnTo>
                      <a:lnTo>
                        <a:pt x="1468" y="853"/>
                      </a:lnTo>
                      <a:lnTo>
                        <a:pt x="1468" y="854"/>
                      </a:lnTo>
                      <a:lnTo>
                        <a:pt x="1470" y="856"/>
                      </a:lnTo>
                      <a:lnTo>
                        <a:pt x="1471" y="857"/>
                      </a:lnTo>
                      <a:lnTo>
                        <a:pt x="1471" y="859"/>
                      </a:lnTo>
                      <a:lnTo>
                        <a:pt x="1473" y="861"/>
                      </a:lnTo>
                      <a:lnTo>
                        <a:pt x="1475" y="861"/>
                      </a:lnTo>
                      <a:lnTo>
                        <a:pt x="1477" y="862"/>
                      </a:lnTo>
                      <a:lnTo>
                        <a:pt x="1478" y="864"/>
                      </a:lnTo>
                      <a:lnTo>
                        <a:pt x="1478" y="866"/>
                      </a:lnTo>
                      <a:lnTo>
                        <a:pt x="1480" y="866"/>
                      </a:lnTo>
                      <a:lnTo>
                        <a:pt x="1480" y="867"/>
                      </a:lnTo>
                      <a:lnTo>
                        <a:pt x="1483" y="871"/>
                      </a:lnTo>
                      <a:lnTo>
                        <a:pt x="1483" y="876"/>
                      </a:lnTo>
                      <a:lnTo>
                        <a:pt x="1483" y="877"/>
                      </a:lnTo>
                      <a:lnTo>
                        <a:pt x="1483" y="879"/>
                      </a:lnTo>
                      <a:lnTo>
                        <a:pt x="1483" y="882"/>
                      </a:lnTo>
                      <a:lnTo>
                        <a:pt x="1485" y="884"/>
                      </a:lnTo>
                      <a:lnTo>
                        <a:pt x="1485" y="885"/>
                      </a:lnTo>
                      <a:lnTo>
                        <a:pt x="1487" y="887"/>
                      </a:lnTo>
                      <a:lnTo>
                        <a:pt x="1485" y="887"/>
                      </a:lnTo>
                      <a:lnTo>
                        <a:pt x="1485" y="889"/>
                      </a:lnTo>
                      <a:lnTo>
                        <a:pt x="1483" y="890"/>
                      </a:lnTo>
                      <a:lnTo>
                        <a:pt x="1480" y="894"/>
                      </a:lnTo>
                      <a:lnTo>
                        <a:pt x="1480" y="895"/>
                      </a:lnTo>
                      <a:lnTo>
                        <a:pt x="1480" y="897"/>
                      </a:lnTo>
                      <a:lnTo>
                        <a:pt x="1480" y="899"/>
                      </a:lnTo>
                      <a:lnTo>
                        <a:pt x="1478" y="902"/>
                      </a:lnTo>
                      <a:lnTo>
                        <a:pt x="1478" y="903"/>
                      </a:lnTo>
                      <a:lnTo>
                        <a:pt x="1478" y="905"/>
                      </a:lnTo>
                      <a:lnTo>
                        <a:pt x="1480" y="908"/>
                      </a:lnTo>
                      <a:lnTo>
                        <a:pt x="1480" y="910"/>
                      </a:lnTo>
                      <a:lnTo>
                        <a:pt x="1480" y="912"/>
                      </a:lnTo>
                      <a:lnTo>
                        <a:pt x="1477" y="913"/>
                      </a:lnTo>
                      <a:lnTo>
                        <a:pt x="1477" y="917"/>
                      </a:lnTo>
                      <a:lnTo>
                        <a:pt x="1473" y="918"/>
                      </a:lnTo>
                      <a:lnTo>
                        <a:pt x="1473" y="920"/>
                      </a:lnTo>
                      <a:lnTo>
                        <a:pt x="1473" y="922"/>
                      </a:lnTo>
                      <a:lnTo>
                        <a:pt x="1473" y="923"/>
                      </a:lnTo>
                      <a:lnTo>
                        <a:pt x="1471" y="923"/>
                      </a:lnTo>
                      <a:lnTo>
                        <a:pt x="1471" y="925"/>
                      </a:lnTo>
                      <a:lnTo>
                        <a:pt x="1470" y="926"/>
                      </a:lnTo>
                      <a:lnTo>
                        <a:pt x="1468" y="928"/>
                      </a:lnTo>
                      <a:lnTo>
                        <a:pt x="1465" y="928"/>
                      </a:lnTo>
                      <a:lnTo>
                        <a:pt x="1465" y="930"/>
                      </a:lnTo>
                      <a:lnTo>
                        <a:pt x="1463" y="930"/>
                      </a:lnTo>
                      <a:lnTo>
                        <a:pt x="1463" y="931"/>
                      </a:lnTo>
                      <a:lnTo>
                        <a:pt x="1465" y="933"/>
                      </a:lnTo>
                      <a:lnTo>
                        <a:pt x="1465" y="935"/>
                      </a:lnTo>
                      <a:lnTo>
                        <a:pt x="1465" y="936"/>
                      </a:lnTo>
                      <a:lnTo>
                        <a:pt x="1465" y="938"/>
                      </a:lnTo>
                      <a:lnTo>
                        <a:pt x="1466" y="941"/>
                      </a:lnTo>
                      <a:lnTo>
                        <a:pt x="1468" y="943"/>
                      </a:lnTo>
                      <a:lnTo>
                        <a:pt x="1468" y="945"/>
                      </a:lnTo>
                      <a:lnTo>
                        <a:pt x="1468" y="946"/>
                      </a:lnTo>
                      <a:lnTo>
                        <a:pt x="1470" y="948"/>
                      </a:lnTo>
                      <a:lnTo>
                        <a:pt x="1471" y="953"/>
                      </a:lnTo>
                      <a:lnTo>
                        <a:pt x="1473" y="954"/>
                      </a:lnTo>
                      <a:lnTo>
                        <a:pt x="1471" y="956"/>
                      </a:lnTo>
                      <a:lnTo>
                        <a:pt x="1473" y="958"/>
                      </a:lnTo>
                      <a:lnTo>
                        <a:pt x="1471" y="958"/>
                      </a:lnTo>
                      <a:lnTo>
                        <a:pt x="1471" y="959"/>
                      </a:lnTo>
                      <a:lnTo>
                        <a:pt x="1470" y="959"/>
                      </a:lnTo>
                      <a:lnTo>
                        <a:pt x="1470" y="961"/>
                      </a:lnTo>
                      <a:lnTo>
                        <a:pt x="1470" y="963"/>
                      </a:lnTo>
                      <a:lnTo>
                        <a:pt x="1470" y="964"/>
                      </a:lnTo>
                      <a:lnTo>
                        <a:pt x="1470" y="966"/>
                      </a:lnTo>
                      <a:lnTo>
                        <a:pt x="1470" y="967"/>
                      </a:lnTo>
                      <a:lnTo>
                        <a:pt x="1470" y="969"/>
                      </a:lnTo>
                      <a:lnTo>
                        <a:pt x="1470" y="971"/>
                      </a:lnTo>
                      <a:lnTo>
                        <a:pt x="1468" y="971"/>
                      </a:lnTo>
                      <a:lnTo>
                        <a:pt x="1468" y="972"/>
                      </a:lnTo>
                      <a:lnTo>
                        <a:pt x="1470" y="974"/>
                      </a:lnTo>
                      <a:lnTo>
                        <a:pt x="1470" y="976"/>
                      </a:lnTo>
                      <a:lnTo>
                        <a:pt x="1468" y="976"/>
                      </a:lnTo>
                      <a:lnTo>
                        <a:pt x="1468" y="977"/>
                      </a:lnTo>
                      <a:lnTo>
                        <a:pt x="1466" y="977"/>
                      </a:lnTo>
                      <a:lnTo>
                        <a:pt x="1466" y="979"/>
                      </a:lnTo>
                      <a:lnTo>
                        <a:pt x="1466" y="981"/>
                      </a:lnTo>
                      <a:lnTo>
                        <a:pt x="1466" y="982"/>
                      </a:lnTo>
                      <a:lnTo>
                        <a:pt x="1465" y="984"/>
                      </a:lnTo>
                      <a:lnTo>
                        <a:pt x="1465" y="986"/>
                      </a:lnTo>
                      <a:lnTo>
                        <a:pt x="1463" y="986"/>
                      </a:lnTo>
                      <a:lnTo>
                        <a:pt x="1461" y="987"/>
                      </a:lnTo>
                      <a:lnTo>
                        <a:pt x="1461" y="989"/>
                      </a:lnTo>
                      <a:lnTo>
                        <a:pt x="1460" y="990"/>
                      </a:lnTo>
                      <a:lnTo>
                        <a:pt x="1460" y="992"/>
                      </a:lnTo>
                      <a:lnTo>
                        <a:pt x="1460" y="994"/>
                      </a:lnTo>
                      <a:lnTo>
                        <a:pt x="1461" y="994"/>
                      </a:lnTo>
                      <a:lnTo>
                        <a:pt x="1461" y="995"/>
                      </a:lnTo>
                      <a:lnTo>
                        <a:pt x="1461" y="997"/>
                      </a:lnTo>
                      <a:lnTo>
                        <a:pt x="1461" y="999"/>
                      </a:lnTo>
                      <a:lnTo>
                        <a:pt x="1463" y="1000"/>
                      </a:lnTo>
                      <a:lnTo>
                        <a:pt x="1463" y="1002"/>
                      </a:lnTo>
                      <a:lnTo>
                        <a:pt x="1461" y="1002"/>
                      </a:lnTo>
                      <a:lnTo>
                        <a:pt x="1461" y="1004"/>
                      </a:lnTo>
                      <a:lnTo>
                        <a:pt x="1460" y="1005"/>
                      </a:lnTo>
                      <a:lnTo>
                        <a:pt x="1460" y="1009"/>
                      </a:lnTo>
                      <a:lnTo>
                        <a:pt x="1458" y="1009"/>
                      </a:lnTo>
                      <a:lnTo>
                        <a:pt x="1458" y="1010"/>
                      </a:lnTo>
                      <a:lnTo>
                        <a:pt x="1458" y="1012"/>
                      </a:lnTo>
                      <a:lnTo>
                        <a:pt x="1460" y="1012"/>
                      </a:lnTo>
                      <a:lnTo>
                        <a:pt x="1461" y="1012"/>
                      </a:lnTo>
                      <a:lnTo>
                        <a:pt x="1463" y="1010"/>
                      </a:lnTo>
                      <a:lnTo>
                        <a:pt x="1465" y="1010"/>
                      </a:lnTo>
                      <a:lnTo>
                        <a:pt x="1466" y="1010"/>
                      </a:lnTo>
                      <a:lnTo>
                        <a:pt x="1468" y="1010"/>
                      </a:lnTo>
                      <a:lnTo>
                        <a:pt x="1468" y="1012"/>
                      </a:lnTo>
                      <a:lnTo>
                        <a:pt x="1466" y="1013"/>
                      </a:lnTo>
                      <a:lnTo>
                        <a:pt x="1465" y="1013"/>
                      </a:lnTo>
                      <a:lnTo>
                        <a:pt x="1465" y="1015"/>
                      </a:lnTo>
                      <a:lnTo>
                        <a:pt x="1463" y="1017"/>
                      </a:lnTo>
                      <a:lnTo>
                        <a:pt x="1461" y="1017"/>
                      </a:lnTo>
                      <a:lnTo>
                        <a:pt x="1460" y="1018"/>
                      </a:lnTo>
                      <a:lnTo>
                        <a:pt x="1458" y="1020"/>
                      </a:lnTo>
                      <a:lnTo>
                        <a:pt x="1453" y="1020"/>
                      </a:lnTo>
                      <a:lnTo>
                        <a:pt x="1392" y="1020"/>
                      </a:lnTo>
                      <a:lnTo>
                        <a:pt x="1357" y="1020"/>
                      </a:lnTo>
                      <a:lnTo>
                        <a:pt x="1309" y="1020"/>
                      </a:lnTo>
                      <a:lnTo>
                        <a:pt x="1271" y="1018"/>
                      </a:lnTo>
                      <a:lnTo>
                        <a:pt x="1167" y="1020"/>
                      </a:lnTo>
                      <a:lnTo>
                        <a:pt x="1159" y="1020"/>
                      </a:lnTo>
                      <a:lnTo>
                        <a:pt x="1159" y="1018"/>
                      </a:lnTo>
                      <a:lnTo>
                        <a:pt x="1157" y="1018"/>
                      </a:lnTo>
                      <a:lnTo>
                        <a:pt x="1157" y="1017"/>
                      </a:lnTo>
                      <a:lnTo>
                        <a:pt x="1156" y="1015"/>
                      </a:lnTo>
                      <a:lnTo>
                        <a:pt x="1156" y="1013"/>
                      </a:lnTo>
                      <a:lnTo>
                        <a:pt x="1156" y="1012"/>
                      </a:lnTo>
                      <a:lnTo>
                        <a:pt x="1154" y="1012"/>
                      </a:lnTo>
                      <a:lnTo>
                        <a:pt x="1152" y="1010"/>
                      </a:lnTo>
                      <a:lnTo>
                        <a:pt x="1151" y="1010"/>
                      </a:lnTo>
                      <a:lnTo>
                        <a:pt x="1149" y="1012"/>
                      </a:lnTo>
                      <a:lnTo>
                        <a:pt x="1149" y="1010"/>
                      </a:lnTo>
                      <a:lnTo>
                        <a:pt x="1147" y="1010"/>
                      </a:lnTo>
                      <a:lnTo>
                        <a:pt x="1147" y="1009"/>
                      </a:lnTo>
                      <a:lnTo>
                        <a:pt x="1146" y="1010"/>
                      </a:lnTo>
                      <a:lnTo>
                        <a:pt x="1144" y="1010"/>
                      </a:lnTo>
                      <a:lnTo>
                        <a:pt x="1146" y="1012"/>
                      </a:lnTo>
                      <a:lnTo>
                        <a:pt x="1144" y="1012"/>
                      </a:lnTo>
                      <a:lnTo>
                        <a:pt x="1144" y="1013"/>
                      </a:lnTo>
                      <a:lnTo>
                        <a:pt x="1142" y="1013"/>
                      </a:lnTo>
                      <a:lnTo>
                        <a:pt x="1142" y="1015"/>
                      </a:lnTo>
                      <a:lnTo>
                        <a:pt x="1140" y="1015"/>
                      </a:lnTo>
                      <a:lnTo>
                        <a:pt x="1139" y="1015"/>
                      </a:lnTo>
                      <a:lnTo>
                        <a:pt x="1137" y="1013"/>
                      </a:lnTo>
                      <a:lnTo>
                        <a:pt x="1135" y="1013"/>
                      </a:lnTo>
                      <a:lnTo>
                        <a:pt x="1135" y="1015"/>
                      </a:lnTo>
                      <a:lnTo>
                        <a:pt x="1135" y="1017"/>
                      </a:lnTo>
                      <a:lnTo>
                        <a:pt x="1135" y="1018"/>
                      </a:lnTo>
                      <a:lnTo>
                        <a:pt x="1134" y="1018"/>
                      </a:lnTo>
                      <a:lnTo>
                        <a:pt x="1134" y="1020"/>
                      </a:lnTo>
                      <a:lnTo>
                        <a:pt x="1134" y="1022"/>
                      </a:lnTo>
                      <a:lnTo>
                        <a:pt x="1134" y="1025"/>
                      </a:lnTo>
                      <a:lnTo>
                        <a:pt x="1132" y="1025"/>
                      </a:lnTo>
                      <a:lnTo>
                        <a:pt x="1130" y="1025"/>
                      </a:lnTo>
                      <a:lnTo>
                        <a:pt x="1129" y="1027"/>
                      </a:lnTo>
                      <a:lnTo>
                        <a:pt x="1127" y="1027"/>
                      </a:lnTo>
                      <a:lnTo>
                        <a:pt x="1125" y="1027"/>
                      </a:lnTo>
                      <a:lnTo>
                        <a:pt x="1124" y="1027"/>
                      </a:lnTo>
                      <a:lnTo>
                        <a:pt x="1122" y="1027"/>
                      </a:lnTo>
                      <a:lnTo>
                        <a:pt x="1122" y="1025"/>
                      </a:lnTo>
                      <a:lnTo>
                        <a:pt x="1120" y="1023"/>
                      </a:lnTo>
                      <a:lnTo>
                        <a:pt x="1120" y="1022"/>
                      </a:lnTo>
                      <a:lnTo>
                        <a:pt x="1118" y="1022"/>
                      </a:lnTo>
                      <a:lnTo>
                        <a:pt x="1118" y="1020"/>
                      </a:lnTo>
                      <a:lnTo>
                        <a:pt x="1117" y="1020"/>
                      </a:lnTo>
                      <a:lnTo>
                        <a:pt x="1117" y="1018"/>
                      </a:lnTo>
                      <a:lnTo>
                        <a:pt x="1115" y="1018"/>
                      </a:lnTo>
                      <a:lnTo>
                        <a:pt x="1113" y="1020"/>
                      </a:lnTo>
                      <a:lnTo>
                        <a:pt x="1112" y="1020"/>
                      </a:lnTo>
                      <a:lnTo>
                        <a:pt x="1110" y="1020"/>
                      </a:lnTo>
                      <a:lnTo>
                        <a:pt x="1108" y="1020"/>
                      </a:lnTo>
                      <a:lnTo>
                        <a:pt x="1108" y="1018"/>
                      </a:lnTo>
                      <a:lnTo>
                        <a:pt x="1105" y="1013"/>
                      </a:lnTo>
                      <a:lnTo>
                        <a:pt x="1107" y="1012"/>
                      </a:lnTo>
                      <a:lnTo>
                        <a:pt x="1105" y="1012"/>
                      </a:lnTo>
                      <a:lnTo>
                        <a:pt x="1105" y="1010"/>
                      </a:lnTo>
                      <a:lnTo>
                        <a:pt x="1103" y="1010"/>
                      </a:lnTo>
                      <a:lnTo>
                        <a:pt x="1105" y="1009"/>
                      </a:lnTo>
                      <a:lnTo>
                        <a:pt x="1103" y="1007"/>
                      </a:lnTo>
                      <a:lnTo>
                        <a:pt x="1102" y="1005"/>
                      </a:lnTo>
                      <a:lnTo>
                        <a:pt x="1102" y="1004"/>
                      </a:lnTo>
                      <a:lnTo>
                        <a:pt x="1103" y="1004"/>
                      </a:lnTo>
                      <a:lnTo>
                        <a:pt x="1103" y="1000"/>
                      </a:lnTo>
                      <a:lnTo>
                        <a:pt x="1102" y="1000"/>
                      </a:lnTo>
                      <a:lnTo>
                        <a:pt x="1100" y="1000"/>
                      </a:lnTo>
                      <a:lnTo>
                        <a:pt x="1098" y="1000"/>
                      </a:lnTo>
                      <a:lnTo>
                        <a:pt x="1097" y="999"/>
                      </a:lnTo>
                      <a:lnTo>
                        <a:pt x="1095" y="999"/>
                      </a:lnTo>
                      <a:lnTo>
                        <a:pt x="1093" y="1000"/>
                      </a:lnTo>
                      <a:lnTo>
                        <a:pt x="1093" y="1002"/>
                      </a:lnTo>
                      <a:lnTo>
                        <a:pt x="1093" y="1004"/>
                      </a:lnTo>
                      <a:lnTo>
                        <a:pt x="1093" y="1005"/>
                      </a:lnTo>
                      <a:lnTo>
                        <a:pt x="1091" y="1004"/>
                      </a:lnTo>
                      <a:lnTo>
                        <a:pt x="1090" y="1002"/>
                      </a:lnTo>
                      <a:lnTo>
                        <a:pt x="1088" y="1002"/>
                      </a:lnTo>
                      <a:lnTo>
                        <a:pt x="1088" y="1000"/>
                      </a:lnTo>
                      <a:lnTo>
                        <a:pt x="1088" y="999"/>
                      </a:lnTo>
                      <a:lnTo>
                        <a:pt x="1090" y="999"/>
                      </a:lnTo>
                      <a:lnTo>
                        <a:pt x="1090" y="997"/>
                      </a:lnTo>
                      <a:lnTo>
                        <a:pt x="1088" y="995"/>
                      </a:lnTo>
                      <a:lnTo>
                        <a:pt x="1088" y="994"/>
                      </a:lnTo>
                      <a:lnTo>
                        <a:pt x="1088" y="992"/>
                      </a:lnTo>
                      <a:lnTo>
                        <a:pt x="1086" y="992"/>
                      </a:lnTo>
                      <a:lnTo>
                        <a:pt x="1086" y="990"/>
                      </a:lnTo>
                      <a:lnTo>
                        <a:pt x="1085" y="987"/>
                      </a:lnTo>
                      <a:lnTo>
                        <a:pt x="1085" y="986"/>
                      </a:lnTo>
                      <a:lnTo>
                        <a:pt x="1086" y="984"/>
                      </a:lnTo>
                      <a:lnTo>
                        <a:pt x="1086" y="982"/>
                      </a:lnTo>
                      <a:lnTo>
                        <a:pt x="1085" y="981"/>
                      </a:lnTo>
                      <a:lnTo>
                        <a:pt x="1083" y="981"/>
                      </a:lnTo>
                      <a:lnTo>
                        <a:pt x="1081" y="981"/>
                      </a:lnTo>
                      <a:lnTo>
                        <a:pt x="1080" y="981"/>
                      </a:lnTo>
                      <a:lnTo>
                        <a:pt x="1078" y="979"/>
                      </a:lnTo>
                      <a:lnTo>
                        <a:pt x="1078" y="977"/>
                      </a:lnTo>
                      <a:lnTo>
                        <a:pt x="1076" y="977"/>
                      </a:lnTo>
                      <a:lnTo>
                        <a:pt x="1075" y="977"/>
                      </a:lnTo>
                      <a:lnTo>
                        <a:pt x="1075" y="979"/>
                      </a:lnTo>
                      <a:lnTo>
                        <a:pt x="1073" y="979"/>
                      </a:lnTo>
                      <a:lnTo>
                        <a:pt x="1073" y="981"/>
                      </a:lnTo>
                      <a:lnTo>
                        <a:pt x="1071" y="981"/>
                      </a:lnTo>
                      <a:lnTo>
                        <a:pt x="1070" y="981"/>
                      </a:lnTo>
                      <a:lnTo>
                        <a:pt x="1070" y="979"/>
                      </a:lnTo>
                      <a:lnTo>
                        <a:pt x="1068" y="979"/>
                      </a:lnTo>
                      <a:lnTo>
                        <a:pt x="1068" y="977"/>
                      </a:lnTo>
                      <a:lnTo>
                        <a:pt x="1068" y="976"/>
                      </a:lnTo>
                      <a:lnTo>
                        <a:pt x="1068" y="974"/>
                      </a:lnTo>
                      <a:lnTo>
                        <a:pt x="1068" y="972"/>
                      </a:lnTo>
                      <a:lnTo>
                        <a:pt x="1066" y="972"/>
                      </a:lnTo>
                      <a:lnTo>
                        <a:pt x="1066" y="971"/>
                      </a:lnTo>
                      <a:lnTo>
                        <a:pt x="1064" y="971"/>
                      </a:lnTo>
                      <a:lnTo>
                        <a:pt x="1063" y="971"/>
                      </a:lnTo>
                      <a:lnTo>
                        <a:pt x="1063" y="969"/>
                      </a:lnTo>
                      <a:lnTo>
                        <a:pt x="1061" y="969"/>
                      </a:lnTo>
                      <a:lnTo>
                        <a:pt x="1059" y="967"/>
                      </a:lnTo>
                      <a:lnTo>
                        <a:pt x="1058" y="967"/>
                      </a:lnTo>
                      <a:lnTo>
                        <a:pt x="1059" y="966"/>
                      </a:lnTo>
                      <a:lnTo>
                        <a:pt x="1058" y="964"/>
                      </a:lnTo>
                      <a:lnTo>
                        <a:pt x="1056" y="964"/>
                      </a:lnTo>
                      <a:lnTo>
                        <a:pt x="1056" y="963"/>
                      </a:lnTo>
                      <a:lnTo>
                        <a:pt x="1056" y="961"/>
                      </a:lnTo>
                      <a:lnTo>
                        <a:pt x="1056" y="959"/>
                      </a:lnTo>
                      <a:lnTo>
                        <a:pt x="1056" y="958"/>
                      </a:lnTo>
                      <a:lnTo>
                        <a:pt x="1056" y="956"/>
                      </a:lnTo>
                      <a:lnTo>
                        <a:pt x="1054" y="954"/>
                      </a:lnTo>
                      <a:lnTo>
                        <a:pt x="1053" y="953"/>
                      </a:lnTo>
                      <a:lnTo>
                        <a:pt x="1051" y="953"/>
                      </a:lnTo>
                      <a:lnTo>
                        <a:pt x="1051" y="951"/>
                      </a:lnTo>
                      <a:lnTo>
                        <a:pt x="1051" y="949"/>
                      </a:lnTo>
                      <a:lnTo>
                        <a:pt x="1049" y="949"/>
                      </a:lnTo>
                      <a:lnTo>
                        <a:pt x="1048" y="949"/>
                      </a:lnTo>
                      <a:lnTo>
                        <a:pt x="1048" y="948"/>
                      </a:lnTo>
                      <a:lnTo>
                        <a:pt x="1046" y="948"/>
                      </a:lnTo>
                      <a:lnTo>
                        <a:pt x="1044" y="948"/>
                      </a:lnTo>
                      <a:lnTo>
                        <a:pt x="1042" y="948"/>
                      </a:lnTo>
                      <a:lnTo>
                        <a:pt x="1042" y="946"/>
                      </a:lnTo>
                      <a:lnTo>
                        <a:pt x="1041" y="945"/>
                      </a:lnTo>
                      <a:lnTo>
                        <a:pt x="1039" y="945"/>
                      </a:lnTo>
                      <a:lnTo>
                        <a:pt x="1037" y="943"/>
                      </a:lnTo>
                      <a:lnTo>
                        <a:pt x="1015" y="943"/>
                      </a:lnTo>
                      <a:lnTo>
                        <a:pt x="978" y="943"/>
                      </a:lnTo>
                      <a:lnTo>
                        <a:pt x="966" y="943"/>
                      </a:lnTo>
                      <a:lnTo>
                        <a:pt x="966" y="945"/>
                      </a:lnTo>
                      <a:lnTo>
                        <a:pt x="966" y="946"/>
                      </a:lnTo>
                      <a:lnTo>
                        <a:pt x="966" y="948"/>
                      </a:lnTo>
                      <a:lnTo>
                        <a:pt x="966" y="949"/>
                      </a:lnTo>
                      <a:lnTo>
                        <a:pt x="965" y="949"/>
                      </a:lnTo>
                      <a:lnTo>
                        <a:pt x="965" y="951"/>
                      </a:lnTo>
                      <a:lnTo>
                        <a:pt x="963" y="951"/>
                      </a:lnTo>
                      <a:lnTo>
                        <a:pt x="961" y="953"/>
                      </a:lnTo>
                      <a:lnTo>
                        <a:pt x="961" y="954"/>
                      </a:lnTo>
                      <a:lnTo>
                        <a:pt x="963" y="954"/>
                      </a:lnTo>
                      <a:lnTo>
                        <a:pt x="961" y="958"/>
                      </a:lnTo>
                      <a:lnTo>
                        <a:pt x="960" y="959"/>
                      </a:lnTo>
                      <a:lnTo>
                        <a:pt x="960" y="961"/>
                      </a:lnTo>
                      <a:lnTo>
                        <a:pt x="956" y="963"/>
                      </a:lnTo>
                      <a:lnTo>
                        <a:pt x="955" y="963"/>
                      </a:lnTo>
                      <a:lnTo>
                        <a:pt x="955" y="964"/>
                      </a:lnTo>
                      <a:lnTo>
                        <a:pt x="955" y="966"/>
                      </a:lnTo>
                      <a:lnTo>
                        <a:pt x="956" y="967"/>
                      </a:lnTo>
                      <a:lnTo>
                        <a:pt x="956" y="969"/>
                      </a:lnTo>
                      <a:lnTo>
                        <a:pt x="955" y="971"/>
                      </a:lnTo>
                      <a:lnTo>
                        <a:pt x="953" y="972"/>
                      </a:lnTo>
                      <a:lnTo>
                        <a:pt x="953" y="974"/>
                      </a:lnTo>
                      <a:lnTo>
                        <a:pt x="953" y="976"/>
                      </a:lnTo>
                      <a:lnTo>
                        <a:pt x="951" y="976"/>
                      </a:lnTo>
                      <a:lnTo>
                        <a:pt x="950" y="976"/>
                      </a:lnTo>
                      <a:lnTo>
                        <a:pt x="948" y="974"/>
                      </a:lnTo>
                      <a:lnTo>
                        <a:pt x="945" y="972"/>
                      </a:lnTo>
                      <a:lnTo>
                        <a:pt x="943" y="972"/>
                      </a:lnTo>
                      <a:lnTo>
                        <a:pt x="941" y="972"/>
                      </a:lnTo>
                      <a:lnTo>
                        <a:pt x="941" y="974"/>
                      </a:lnTo>
                      <a:lnTo>
                        <a:pt x="939" y="974"/>
                      </a:lnTo>
                      <a:lnTo>
                        <a:pt x="939" y="976"/>
                      </a:lnTo>
                      <a:lnTo>
                        <a:pt x="938" y="976"/>
                      </a:lnTo>
                      <a:lnTo>
                        <a:pt x="936" y="976"/>
                      </a:lnTo>
                      <a:lnTo>
                        <a:pt x="936" y="977"/>
                      </a:lnTo>
                      <a:lnTo>
                        <a:pt x="936" y="979"/>
                      </a:lnTo>
                      <a:lnTo>
                        <a:pt x="936" y="981"/>
                      </a:lnTo>
                      <a:lnTo>
                        <a:pt x="934" y="982"/>
                      </a:lnTo>
                      <a:lnTo>
                        <a:pt x="933" y="984"/>
                      </a:lnTo>
                      <a:lnTo>
                        <a:pt x="934" y="984"/>
                      </a:lnTo>
                      <a:lnTo>
                        <a:pt x="934" y="986"/>
                      </a:lnTo>
                      <a:lnTo>
                        <a:pt x="936" y="986"/>
                      </a:lnTo>
                      <a:lnTo>
                        <a:pt x="936" y="987"/>
                      </a:lnTo>
                      <a:lnTo>
                        <a:pt x="934" y="989"/>
                      </a:lnTo>
                      <a:lnTo>
                        <a:pt x="933" y="990"/>
                      </a:lnTo>
                      <a:lnTo>
                        <a:pt x="933" y="992"/>
                      </a:lnTo>
                      <a:lnTo>
                        <a:pt x="934" y="992"/>
                      </a:lnTo>
                      <a:lnTo>
                        <a:pt x="936" y="994"/>
                      </a:lnTo>
                      <a:lnTo>
                        <a:pt x="936" y="995"/>
                      </a:lnTo>
                      <a:lnTo>
                        <a:pt x="936" y="997"/>
                      </a:lnTo>
                      <a:lnTo>
                        <a:pt x="938" y="997"/>
                      </a:lnTo>
                      <a:lnTo>
                        <a:pt x="938" y="999"/>
                      </a:lnTo>
                      <a:lnTo>
                        <a:pt x="938" y="1000"/>
                      </a:lnTo>
                      <a:lnTo>
                        <a:pt x="936" y="1000"/>
                      </a:lnTo>
                      <a:lnTo>
                        <a:pt x="936" y="1002"/>
                      </a:lnTo>
                      <a:lnTo>
                        <a:pt x="934" y="1002"/>
                      </a:lnTo>
                      <a:lnTo>
                        <a:pt x="934" y="1000"/>
                      </a:lnTo>
                      <a:lnTo>
                        <a:pt x="933" y="999"/>
                      </a:lnTo>
                      <a:lnTo>
                        <a:pt x="933" y="1000"/>
                      </a:lnTo>
                      <a:lnTo>
                        <a:pt x="931" y="1002"/>
                      </a:lnTo>
                      <a:lnTo>
                        <a:pt x="931" y="1004"/>
                      </a:lnTo>
                      <a:lnTo>
                        <a:pt x="929" y="1004"/>
                      </a:lnTo>
                      <a:lnTo>
                        <a:pt x="931" y="1005"/>
                      </a:lnTo>
                      <a:lnTo>
                        <a:pt x="929" y="1005"/>
                      </a:lnTo>
                      <a:lnTo>
                        <a:pt x="929" y="1007"/>
                      </a:lnTo>
                      <a:lnTo>
                        <a:pt x="929" y="1009"/>
                      </a:lnTo>
                      <a:lnTo>
                        <a:pt x="928" y="1009"/>
                      </a:lnTo>
                      <a:lnTo>
                        <a:pt x="928" y="1010"/>
                      </a:lnTo>
                      <a:lnTo>
                        <a:pt x="928" y="1012"/>
                      </a:lnTo>
                      <a:lnTo>
                        <a:pt x="926" y="1012"/>
                      </a:lnTo>
                      <a:lnTo>
                        <a:pt x="924" y="1012"/>
                      </a:lnTo>
                      <a:lnTo>
                        <a:pt x="923" y="1012"/>
                      </a:lnTo>
                      <a:lnTo>
                        <a:pt x="921" y="1013"/>
                      </a:lnTo>
                      <a:lnTo>
                        <a:pt x="921" y="1012"/>
                      </a:lnTo>
                      <a:lnTo>
                        <a:pt x="919" y="1012"/>
                      </a:lnTo>
                      <a:lnTo>
                        <a:pt x="918" y="1012"/>
                      </a:lnTo>
                      <a:lnTo>
                        <a:pt x="918" y="1013"/>
                      </a:lnTo>
                      <a:lnTo>
                        <a:pt x="918" y="1015"/>
                      </a:lnTo>
                      <a:lnTo>
                        <a:pt x="918" y="1017"/>
                      </a:lnTo>
                      <a:lnTo>
                        <a:pt x="918" y="1018"/>
                      </a:lnTo>
                      <a:lnTo>
                        <a:pt x="919" y="1020"/>
                      </a:lnTo>
                      <a:lnTo>
                        <a:pt x="918" y="1020"/>
                      </a:lnTo>
                      <a:lnTo>
                        <a:pt x="918" y="1022"/>
                      </a:lnTo>
                      <a:lnTo>
                        <a:pt x="916" y="1023"/>
                      </a:lnTo>
                      <a:lnTo>
                        <a:pt x="916" y="1025"/>
                      </a:lnTo>
                      <a:lnTo>
                        <a:pt x="916" y="1027"/>
                      </a:lnTo>
                      <a:lnTo>
                        <a:pt x="916" y="1028"/>
                      </a:lnTo>
                      <a:lnTo>
                        <a:pt x="918" y="1032"/>
                      </a:lnTo>
                      <a:lnTo>
                        <a:pt x="918" y="1033"/>
                      </a:lnTo>
                      <a:lnTo>
                        <a:pt x="916" y="1035"/>
                      </a:lnTo>
                      <a:lnTo>
                        <a:pt x="914" y="1033"/>
                      </a:lnTo>
                      <a:lnTo>
                        <a:pt x="914" y="1035"/>
                      </a:lnTo>
                      <a:lnTo>
                        <a:pt x="911" y="1036"/>
                      </a:lnTo>
                      <a:lnTo>
                        <a:pt x="909" y="1036"/>
                      </a:lnTo>
                      <a:lnTo>
                        <a:pt x="907" y="1036"/>
                      </a:lnTo>
                      <a:lnTo>
                        <a:pt x="906" y="1036"/>
                      </a:lnTo>
                      <a:lnTo>
                        <a:pt x="904" y="1036"/>
                      </a:lnTo>
                      <a:lnTo>
                        <a:pt x="902" y="1038"/>
                      </a:lnTo>
                      <a:lnTo>
                        <a:pt x="901" y="1038"/>
                      </a:lnTo>
                      <a:lnTo>
                        <a:pt x="901" y="1036"/>
                      </a:lnTo>
                      <a:lnTo>
                        <a:pt x="899" y="1036"/>
                      </a:lnTo>
                      <a:lnTo>
                        <a:pt x="901" y="1033"/>
                      </a:lnTo>
                      <a:lnTo>
                        <a:pt x="901" y="1032"/>
                      </a:lnTo>
                      <a:lnTo>
                        <a:pt x="899" y="1032"/>
                      </a:lnTo>
                      <a:lnTo>
                        <a:pt x="896" y="1033"/>
                      </a:lnTo>
                      <a:lnTo>
                        <a:pt x="894" y="1033"/>
                      </a:lnTo>
                      <a:lnTo>
                        <a:pt x="892" y="1035"/>
                      </a:lnTo>
                      <a:lnTo>
                        <a:pt x="889" y="1035"/>
                      </a:lnTo>
                      <a:lnTo>
                        <a:pt x="889" y="1036"/>
                      </a:lnTo>
                      <a:lnTo>
                        <a:pt x="887" y="1036"/>
                      </a:lnTo>
                      <a:lnTo>
                        <a:pt x="885" y="1035"/>
                      </a:lnTo>
                      <a:lnTo>
                        <a:pt x="884" y="1036"/>
                      </a:lnTo>
                      <a:lnTo>
                        <a:pt x="882" y="1036"/>
                      </a:lnTo>
                      <a:lnTo>
                        <a:pt x="880" y="1035"/>
                      </a:lnTo>
                      <a:lnTo>
                        <a:pt x="879" y="1036"/>
                      </a:lnTo>
                      <a:lnTo>
                        <a:pt x="877" y="1036"/>
                      </a:lnTo>
                      <a:lnTo>
                        <a:pt x="875" y="1036"/>
                      </a:lnTo>
                      <a:lnTo>
                        <a:pt x="875" y="1038"/>
                      </a:lnTo>
                      <a:lnTo>
                        <a:pt x="874" y="1038"/>
                      </a:lnTo>
                      <a:lnTo>
                        <a:pt x="874" y="1040"/>
                      </a:lnTo>
                      <a:lnTo>
                        <a:pt x="872" y="1040"/>
                      </a:lnTo>
                      <a:lnTo>
                        <a:pt x="870" y="1038"/>
                      </a:lnTo>
                      <a:lnTo>
                        <a:pt x="869" y="1038"/>
                      </a:lnTo>
                      <a:lnTo>
                        <a:pt x="867" y="1040"/>
                      </a:lnTo>
                      <a:lnTo>
                        <a:pt x="867" y="1038"/>
                      </a:lnTo>
                      <a:lnTo>
                        <a:pt x="865" y="1036"/>
                      </a:lnTo>
                      <a:lnTo>
                        <a:pt x="863" y="1036"/>
                      </a:lnTo>
                      <a:lnTo>
                        <a:pt x="862" y="1038"/>
                      </a:lnTo>
                      <a:lnTo>
                        <a:pt x="862" y="1040"/>
                      </a:lnTo>
                      <a:lnTo>
                        <a:pt x="860" y="1040"/>
                      </a:lnTo>
                      <a:lnTo>
                        <a:pt x="858" y="1040"/>
                      </a:lnTo>
                      <a:lnTo>
                        <a:pt x="857" y="1038"/>
                      </a:lnTo>
                      <a:lnTo>
                        <a:pt x="857" y="1036"/>
                      </a:lnTo>
                      <a:lnTo>
                        <a:pt x="855" y="1036"/>
                      </a:lnTo>
                      <a:lnTo>
                        <a:pt x="853" y="1036"/>
                      </a:lnTo>
                      <a:lnTo>
                        <a:pt x="852" y="1036"/>
                      </a:lnTo>
                      <a:lnTo>
                        <a:pt x="850" y="1038"/>
                      </a:lnTo>
                      <a:lnTo>
                        <a:pt x="848" y="1038"/>
                      </a:lnTo>
                      <a:lnTo>
                        <a:pt x="848" y="1040"/>
                      </a:lnTo>
                      <a:lnTo>
                        <a:pt x="847" y="1040"/>
                      </a:lnTo>
                      <a:lnTo>
                        <a:pt x="847" y="1041"/>
                      </a:lnTo>
                      <a:lnTo>
                        <a:pt x="845" y="1041"/>
                      </a:lnTo>
                      <a:lnTo>
                        <a:pt x="843" y="1041"/>
                      </a:lnTo>
                      <a:lnTo>
                        <a:pt x="843" y="1043"/>
                      </a:lnTo>
                      <a:lnTo>
                        <a:pt x="843" y="1045"/>
                      </a:lnTo>
                      <a:lnTo>
                        <a:pt x="843" y="1046"/>
                      </a:lnTo>
                      <a:lnTo>
                        <a:pt x="843" y="1048"/>
                      </a:lnTo>
                      <a:lnTo>
                        <a:pt x="842" y="1050"/>
                      </a:lnTo>
                      <a:lnTo>
                        <a:pt x="842" y="1051"/>
                      </a:lnTo>
                      <a:lnTo>
                        <a:pt x="842" y="1053"/>
                      </a:lnTo>
                      <a:lnTo>
                        <a:pt x="843" y="1053"/>
                      </a:lnTo>
                      <a:lnTo>
                        <a:pt x="843" y="1055"/>
                      </a:lnTo>
                      <a:lnTo>
                        <a:pt x="842" y="1055"/>
                      </a:lnTo>
                      <a:lnTo>
                        <a:pt x="843" y="1056"/>
                      </a:lnTo>
                      <a:lnTo>
                        <a:pt x="843" y="1058"/>
                      </a:lnTo>
                      <a:lnTo>
                        <a:pt x="843" y="1059"/>
                      </a:lnTo>
                      <a:lnTo>
                        <a:pt x="842" y="1059"/>
                      </a:lnTo>
                      <a:lnTo>
                        <a:pt x="842" y="1061"/>
                      </a:lnTo>
                      <a:lnTo>
                        <a:pt x="842" y="1063"/>
                      </a:lnTo>
                      <a:lnTo>
                        <a:pt x="840" y="1063"/>
                      </a:lnTo>
                      <a:lnTo>
                        <a:pt x="840" y="1064"/>
                      </a:lnTo>
                      <a:lnTo>
                        <a:pt x="838" y="1064"/>
                      </a:lnTo>
                      <a:lnTo>
                        <a:pt x="836" y="1064"/>
                      </a:lnTo>
                      <a:lnTo>
                        <a:pt x="836" y="1066"/>
                      </a:lnTo>
                      <a:lnTo>
                        <a:pt x="836" y="1068"/>
                      </a:lnTo>
                      <a:lnTo>
                        <a:pt x="835" y="1068"/>
                      </a:lnTo>
                      <a:lnTo>
                        <a:pt x="835" y="1069"/>
                      </a:lnTo>
                      <a:lnTo>
                        <a:pt x="833" y="1069"/>
                      </a:lnTo>
                      <a:lnTo>
                        <a:pt x="833" y="1071"/>
                      </a:lnTo>
                      <a:lnTo>
                        <a:pt x="831" y="1071"/>
                      </a:lnTo>
                      <a:lnTo>
                        <a:pt x="833" y="1073"/>
                      </a:lnTo>
                      <a:lnTo>
                        <a:pt x="831" y="1073"/>
                      </a:lnTo>
                      <a:lnTo>
                        <a:pt x="831" y="1074"/>
                      </a:lnTo>
                      <a:lnTo>
                        <a:pt x="830" y="1074"/>
                      </a:lnTo>
                      <a:lnTo>
                        <a:pt x="828" y="1074"/>
                      </a:lnTo>
                      <a:lnTo>
                        <a:pt x="828" y="1076"/>
                      </a:lnTo>
                      <a:lnTo>
                        <a:pt x="826" y="1076"/>
                      </a:lnTo>
                      <a:lnTo>
                        <a:pt x="828" y="1078"/>
                      </a:lnTo>
                      <a:lnTo>
                        <a:pt x="826" y="1078"/>
                      </a:lnTo>
                      <a:lnTo>
                        <a:pt x="825" y="1078"/>
                      </a:lnTo>
                      <a:lnTo>
                        <a:pt x="825" y="1079"/>
                      </a:lnTo>
                      <a:lnTo>
                        <a:pt x="823" y="1079"/>
                      </a:lnTo>
                      <a:lnTo>
                        <a:pt x="821" y="1079"/>
                      </a:lnTo>
                      <a:lnTo>
                        <a:pt x="821" y="1078"/>
                      </a:lnTo>
                      <a:lnTo>
                        <a:pt x="820" y="1078"/>
                      </a:lnTo>
                      <a:lnTo>
                        <a:pt x="818" y="1078"/>
                      </a:lnTo>
                      <a:lnTo>
                        <a:pt x="818" y="1076"/>
                      </a:lnTo>
                      <a:lnTo>
                        <a:pt x="820" y="1074"/>
                      </a:lnTo>
                      <a:lnTo>
                        <a:pt x="820" y="1073"/>
                      </a:lnTo>
                      <a:lnTo>
                        <a:pt x="818" y="1073"/>
                      </a:lnTo>
                      <a:lnTo>
                        <a:pt x="818" y="1071"/>
                      </a:lnTo>
                      <a:lnTo>
                        <a:pt x="818" y="1069"/>
                      </a:lnTo>
                      <a:lnTo>
                        <a:pt x="816" y="1068"/>
                      </a:lnTo>
                      <a:lnTo>
                        <a:pt x="816" y="1066"/>
                      </a:lnTo>
                      <a:lnTo>
                        <a:pt x="816" y="1064"/>
                      </a:lnTo>
                      <a:lnTo>
                        <a:pt x="816" y="1063"/>
                      </a:lnTo>
                      <a:lnTo>
                        <a:pt x="814" y="1063"/>
                      </a:lnTo>
                      <a:lnTo>
                        <a:pt x="813" y="1061"/>
                      </a:lnTo>
                      <a:lnTo>
                        <a:pt x="811" y="1061"/>
                      </a:lnTo>
                      <a:lnTo>
                        <a:pt x="809" y="1063"/>
                      </a:lnTo>
                      <a:lnTo>
                        <a:pt x="808" y="1063"/>
                      </a:lnTo>
                      <a:lnTo>
                        <a:pt x="808" y="1064"/>
                      </a:lnTo>
                      <a:lnTo>
                        <a:pt x="806" y="1064"/>
                      </a:lnTo>
                      <a:lnTo>
                        <a:pt x="806" y="1066"/>
                      </a:lnTo>
                      <a:lnTo>
                        <a:pt x="804" y="1066"/>
                      </a:lnTo>
                      <a:lnTo>
                        <a:pt x="803" y="1066"/>
                      </a:lnTo>
                      <a:lnTo>
                        <a:pt x="803" y="1068"/>
                      </a:lnTo>
                      <a:lnTo>
                        <a:pt x="799" y="1068"/>
                      </a:lnTo>
                      <a:lnTo>
                        <a:pt x="799" y="1069"/>
                      </a:lnTo>
                      <a:lnTo>
                        <a:pt x="798" y="1069"/>
                      </a:lnTo>
                      <a:lnTo>
                        <a:pt x="798" y="1068"/>
                      </a:lnTo>
                      <a:lnTo>
                        <a:pt x="796" y="1068"/>
                      </a:lnTo>
                      <a:lnTo>
                        <a:pt x="794" y="1066"/>
                      </a:lnTo>
                      <a:lnTo>
                        <a:pt x="794" y="1068"/>
                      </a:lnTo>
                      <a:lnTo>
                        <a:pt x="793" y="1068"/>
                      </a:lnTo>
                      <a:lnTo>
                        <a:pt x="794" y="1068"/>
                      </a:lnTo>
                      <a:lnTo>
                        <a:pt x="794" y="1069"/>
                      </a:lnTo>
                      <a:lnTo>
                        <a:pt x="794" y="1073"/>
                      </a:lnTo>
                      <a:lnTo>
                        <a:pt x="793" y="1074"/>
                      </a:lnTo>
                      <a:lnTo>
                        <a:pt x="793" y="1076"/>
                      </a:lnTo>
                      <a:lnTo>
                        <a:pt x="794" y="1076"/>
                      </a:lnTo>
                      <a:lnTo>
                        <a:pt x="794" y="1078"/>
                      </a:lnTo>
                      <a:lnTo>
                        <a:pt x="794" y="1079"/>
                      </a:lnTo>
                      <a:lnTo>
                        <a:pt x="794" y="1081"/>
                      </a:lnTo>
                      <a:lnTo>
                        <a:pt x="793" y="1081"/>
                      </a:lnTo>
                      <a:lnTo>
                        <a:pt x="791" y="1081"/>
                      </a:lnTo>
                      <a:lnTo>
                        <a:pt x="789" y="1081"/>
                      </a:lnTo>
                      <a:lnTo>
                        <a:pt x="787" y="1081"/>
                      </a:lnTo>
                      <a:lnTo>
                        <a:pt x="787" y="1079"/>
                      </a:lnTo>
                      <a:lnTo>
                        <a:pt x="786" y="1079"/>
                      </a:lnTo>
                      <a:lnTo>
                        <a:pt x="786" y="1078"/>
                      </a:lnTo>
                      <a:lnTo>
                        <a:pt x="784" y="1078"/>
                      </a:lnTo>
                      <a:lnTo>
                        <a:pt x="782" y="1078"/>
                      </a:lnTo>
                      <a:lnTo>
                        <a:pt x="782" y="1076"/>
                      </a:lnTo>
                      <a:lnTo>
                        <a:pt x="781" y="1076"/>
                      </a:lnTo>
                      <a:lnTo>
                        <a:pt x="779" y="1076"/>
                      </a:lnTo>
                      <a:lnTo>
                        <a:pt x="777" y="1078"/>
                      </a:lnTo>
                      <a:lnTo>
                        <a:pt x="776" y="1078"/>
                      </a:lnTo>
                      <a:lnTo>
                        <a:pt x="774" y="1079"/>
                      </a:lnTo>
                      <a:lnTo>
                        <a:pt x="772" y="1079"/>
                      </a:lnTo>
                      <a:lnTo>
                        <a:pt x="771" y="1081"/>
                      </a:lnTo>
                      <a:lnTo>
                        <a:pt x="771" y="1084"/>
                      </a:lnTo>
                      <a:lnTo>
                        <a:pt x="769" y="1086"/>
                      </a:lnTo>
                      <a:lnTo>
                        <a:pt x="769" y="1087"/>
                      </a:lnTo>
                      <a:lnTo>
                        <a:pt x="767" y="1089"/>
                      </a:lnTo>
                      <a:lnTo>
                        <a:pt x="766" y="1089"/>
                      </a:lnTo>
                      <a:lnTo>
                        <a:pt x="764" y="1089"/>
                      </a:lnTo>
                      <a:lnTo>
                        <a:pt x="764" y="1091"/>
                      </a:lnTo>
                      <a:lnTo>
                        <a:pt x="762" y="1091"/>
                      </a:lnTo>
                      <a:lnTo>
                        <a:pt x="762" y="1092"/>
                      </a:lnTo>
                      <a:lnTo>
                        <a:pt x="760" y="1092"/>
                      </a:lnTo>
                      <a:lnTo>
                        <a:pt x="759" y="1091"/>
                      </a:lnTo>
                      <a:lnTo>
                        <a:pt x="759" y="1089"/>
                      </a:lnTo>
                      <a:lnTo>
                        <a:pt x="757" y="1087"/>
                      </a:lnTo>
                      <a:lnTo>
                        <a:pt x="755" y="1087"/>
                      </a:lnTo>
                      <a:lnTo>
                        <a:pt x="755" y="1086"/>
                      </a:lnTo>
                      <a:lnTo>
                        <a:pt x="755" y="1084"/>
                      </a:lnTo>
                      <a:lnTo>
                        <a:pt x="754" y="1086"/>
                      </a:lnTo>
                      <a:lnTo>
                        <a:pt x="754" y="1084"/>
                      </a:lnTo>
                      <a:lnTo>
                        <a:pt x="754" y="1082"/>
                      </a:lnTo>
                      <a:lnTo>
                        <a:pt x="752" y="1082"/>
                      </a:lnTo>
                      <a:lnTo>
                        <a:pt x="750" y="1082"/>
                      </a:lnTo>
                      <a:lnTo>
                        <a:pt x="749" y="1082"/>
                      </a:lnTo>
                      <a:lnTo>
                        <a:pt x="749" y="1081"/>
                      </a:lnTo>
                      <a:lnTo>
                        <a:pt x="749" y="1079"/>
                      </a:lnTo>
                      <a:lnTo>
                        <a:pt x="747" y="1079"/>
                      </a:lnTo>
                      <a:lnTo>
                        <a:pt x="745" y="1078"/>
                      </a:lnTo>
                      <a:lnTo>
                        <a:pt x="744" y="1076"/>
                      </a:lnTo>
                      <a:lnTo>
                        <a:pt x="742" y="1076"/>
                      </a:lnTo>
                      <a:lnTo>
                        <a:pt x="740" y="1076"/>
                      </a:lnTo>
                      <a:lnTo>
                        <a:pt x="738" y="1074"/>
                      </a:lnTo>
                      <a:lnTo>
                        <a:pt x="737" y="1074"/>
                      </a:lnTo>
                      <a:lnTo>
                        <a:pt x="737" y="1076"/>
                      </a:lnTo>
                      <a:lnTo>
                        <a:pt x="735" y="1076"/>
                      </a:lnTo>
                      <a:lnTo>
                        <a:pt x="732" y="1076"/>
                      </a:lnTo>
                      <a:lnTo>
                        <a:pt x="730" y="1076"/>
                      </a:lnTo>
                      <a:lnTo>
                        <a:pt x="727" y="1076"/>
                      </a:lnTo>
                      <a:lnTo>
                        <a:pt x="727" y="1078"/>
                      </a:lnTo>
                      <a:lnTo>
                        <a:pt x="725" y="1078"/>
                      </a:lnTo>
                      <a:lnTo>
                        <a:pt x="723" y="1078"/>
                      </a:lnTo>
                      <a:lnTo>
                        <a:pt x="722" y="1078"/>
                      </a:lnTo>
                      <a:lnTo>
                        <a:pt x="720" y="1078"/>
                      </a:lnTo>
                      <a:lnTo>
                        <a:pt x="718" y="1078"/>
                      </a:lnTo>
                      <a:lnTo>
                        <a:pt x="717" y="1076"/>
                      </a:lnTo>
                      <a:lnTo>
                        <a:pt x="715" y="1076"/>
                      </a:lnTo>
                      <a:lnTo>
                        <a:pt x="713" y="1076"/>
                      </a:lnTo>
                      <a:lnTo>
                        <a:pt x="713" y="1078"/>
                      </a:lnTo>
                      <a:lnTo>
                        <a:pt x="715" y="1078"/>
                      </a:lnTo>
                      <a:lnTo>
                        <a:pt x="713" y="1078"/>
                      </a:lnTo>
                      <a:lnTo>
                        <a:pt x="711" y="1078"/>
                      </a:lnTo>
                      <a:lnTo>
                        <a:pt x="711" y="1076"/>
                      </a:lnTo>
                      <a:lnTo>
                        <a:pt x="710" y="1078"/>
                      </a:lnTo>
                      <a:lnTo>
                        <a:pt x="708" y="1078"/>
                      </a:lnTo>
                      <a:lnTo>
                        <a:pt x="708" y="1076"/>
                      </a:lnTo>
                      <a:lnTo>
                        <a:pt x="706" y="1076"/>
                      </a:lnTo>
                      <a:lnTo>
                        <a:pt x="706" y="1078"/>
                      </a:lnTo>
                      <a:lnTo>
                        <a:pt x="705" y="1078"/>
                      </a:lnTo>
                      <a:lnTo>
                        <a:pt x="705" y="1076"/>
                      </a:lnTo>
                      <a:lnTo>
                        <a:pt x="703" y="1076"/>
                      </a:lnTo>
                      <a:lnTo>
                        <a:pt x="701" y="1076"/>
                      </a:lnTo>
                      <a:lnTo>
                        <a:pt x="701" y="1078"/>
                      </a:lnTo>
                      <a:lnTo>
                        <a:pt x="703" y="1078"/>
                      </a:lnTo>
                      <a:lnTo>
                        <a:pt x="705" y="1079"/>
                      </a:lnTo>
                      <a:lnTo>
                        <a:pt x="705" y="1081"/>
                      </a:lnTo>
                      <a:lnTo>
                        <a:pt x="703" y="1082"/>
                      </a:lnTo>
                      <a:lnTo>
                        <a:pt x="703" y="1084"/>
                      </a:lnTo>
                      <a:lnTo>
                        <a:pt x="701" y="1086"/>
                      </a:lnTo>
                      <a:lnTo>
                        <a:pt x="700" y="1087"/>
                      </a:lnTo>
                      <a:lnTo>
                        <a:pt x="700" y="1089"/>
                      </a:lnTo>
                      <a:lnTo>
                        <a:pt x="698" y="1091"/>
                      </a:lnTo>
                      <a:lnTo>
                        <a:pt x="696" y="1092"/>
                      </a:lnTo>
                      <a:lnTo>
                        <a:pt x="695" y="1092"/>
                      </a:lnTo>
                      <a:lnTo>
                        <a:pt x="695" y="1094"/>
                      </a:lnTo>
                      <a:lnTo>
                        <a:pt x="695" y="1096"/>
                      </a:lnTo>
                      <a:lnTo>
                        <a:pt x="693" y="1096"/>
                      </a:lnTo>
                      <a:lnTo>
                        <a:pt x="691" y="1097"/>
                      </a:lnTo>
                      <a:lnTo>
                        <a:pt x="690" y="1097"/>
                      </a:lnTo>
                      <a:lnTo>
                        <a:pt x="690" y="1099"/>
                      </a:lnTo>
                      <a:lnTo>
                        <a:pt x="688" y="1099"/>
                      </a:lnTo>
                      <a:lnTo>
                        <a:pt x="686" y="1099"/>
                      </a:lnTo>
                      <a:lnTo>
                        <a:pt x="686" y="1101"/>
                      </a:lnTo>
                      <a:lnTo>
                        <a:pt x="684" y="1101"/>
                      </a:lnTo>
                      <a:lnTo>
                        <a:pt x="684" y="1099"/>
                      </a:lnTo>
                      <a:lnTo>
                        <a:pt x="683" y="1099"/>
                      </a:lnTo>
                      <a:lnTo>
                        <a:pt x="683" y="1101"/>
                      </a:lnTo>
                      <a:lnTo>
                        <a:pt x="681" y="1101"/>
                      </a:lnTo>
                      <a:lnTo>
                        <a:pt x="679" y="1102"/>
                      </a:lnTo>
                      <a:lnTo>
                        <a:pt x="678" y="1102"/>
                      </a:lnTo>
                      <a:lnTo>
                        <a:pt x="678" y="1104"/>
                      </a:lnTo>
                      <a:lnTo>
                        <a:pt x="676" y="1104"/>
                      </a:lnTo>
                      <a:lnTo>
                        <a:pt x="676" y="1105"/>
                      </a:lnTo>
                      <a:lnTo>
                        <a:pt x="674" y="1107"/>
                      </a:lnTo>
                      <a:lnTo>
                        <a:pt x="673" y="1107"/>
                      </a:lnTo>
                      <a:lnTo>
                        <a:pt x="671" y="1107"/>
                      </a:lnTo>
                      <a:lnTo>
                        <a:pt x="669" y="1109"/>
                      </a:lnTo>
                      <a:lnTo>
                        <a:pt x="668" y="1107"/>
                      </a:lnTo>
                      <a:lnTo>
                        <a:pt x="668" y="1109"/>
                      </a:lnTo>
                      <a:lnTo>
                        <a:pt x="668" y="1110"/>
                      </a:lnTo>
                      <a:lnTo>
                        <a:pt x="666" y="1112"/>
                      </a:lnTo>
                      <a:lnTo>
                        <a:pt x="664" y="1114"/>
                      </a:lnTo>
                      <a:lnTo>
                        <a:pt x="635" y="1101"/>
                      </a:lnTo>
                      <a:lnTo>
                        <a:pt x="634" y="1101"/>
                      </a:lnTo>
                      <a:lnTo>
                        <a:pt x="615" y="1092"/>
                      </a:lnTo>
                      <a:lnTo>
                        <a:pt x="558" y="1069"/>
                      </a:lnTo>
                      <a:lnTo>
                        <a:pt x="534" y="1059"/>
                      </a:lnTo>
                      <a:lnTo>
                        <a:pt x="482" y="1038"/>
                      </a:lnTo>
                      <a:lnTo>
                        <a:pt x="456" y="1027"/>
                      </a:lnTo>
                      <a:lnTo>
                        <a:pt x="416" y="1005"/>
                      </a:lnTo>
                      <a:lnTo>
                        <a:pt x="404" y="999"/>
                      </a:lnTo>
                      <a:lnTo>
                        <a:pt x="384" y="989"/>
                      </a:lnTo>
                      <a:lnTo>
                        <a:pt x="326" y="959"/>
                      </a:lnTo>
                      <a:lnTo>
                        <a:pt x="315" y="956"/>
                      </a:lnTo>
                      <a:lnTo>
                        <a:pt x="308" y="954"/>
                      </a:lnTo>
                      <a:lnTo>
                        <a:pt x="264" y="946"/>
                      </a:lnTo>
                      <a:lnTo>
                        <a:pt x="244" y="941"/>
                      </a:lnTo>
                      <a:lnTo>
                        <a:pt x="220" y="936"/>
                      </a:lnTo>
                      <a:lnTo>
                        <a:pt x="218" y="935"/>
                      </a:lnTo>
                      <a:lnTo>
                        <a:pt x="173" y="925"/>
                      </a:lnTo>
                      <a:lnTo>
                        <a:pt x="156" y="922"/>
                      </a:lnTo>
                      <a:lnTo>
                        <a:pt x="110" y="912"/>
                      </a:lnTo>
                      <a:lnTo>
                        <a:pt x="90" y="902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5" name="Freeform 17"/>
                <p:cNvSpPr>
                  <a:spLocks noChangeAspect="1" noEditPoints="1"/>
                </p:cNvSpPr>
                <p:nvPr/>
              </p:nvSpPr>
              <p:spPr bwMode="auto">
                <a:xfrm>
                  <a:off x="3505930" y="873382"/>
                  <a:ext cx="1900330" cy="1916798"/>
                </a:xfrm>
                <a:custGeom>
                  <a:avLst/>
                  <a:gdLst>
                    <a:gd name="T0" fmla="*/ 2147483647 w 1218"/>
                    <a:gd name="T1" fmla="*/ 2147483647 h 1146"/>
                    <a:gd name="T2" fmla="*/ 2147483647 w 1218"/>
                    <a:gd name="T3" fmla="*/ 2147483647 h 1146"/>
                    <a:gd name="T4" fmla="*/ 2147483647 w 1218"/>
                    <a:gd name="T5" fmla="*/ 2147483647 h 1146"/>
                    <a:gd name="T6" fmla="*/ 2147483647 w 1218"/>
                    <a:gd name="T7" fmla="*/ 2147483647 h 1146"/>
                    <a:gd name="T8" fmla="*/ 2147483647 w 1218"/>
                    <a:gd name="T9" fmla="*/ 2147483647 h 1146"/>
                    <a:gd name="T10" fmla="*/ 2147483647 w 1218"/>
                    <a:gd name="T11" fmla="*/ 2147483647 h 1146"/>
                    <a:gd name="T12" fmla="*/ 2147483647 w 1218"/>
                    <a:gd name="T13" fmla="*/ 2147483647 h 1146"/>
                    <a:gd name="T14" fmla="*/ 2147483647 w 1218"/>
                    <a:gd name="T15" fmla="*/ 2147483647 h 1146"/>
                    <a:gd name="T16" fmla="*/ 2147483647 w 1218"/>
                    <a:gd name="T17" fmla="*/ 2147483647 h 1146"/>
                    <a:gd name="T18" fmla="*/ 2147483647 w 1218"/>
                    <a:gd name="T19" fmla="*/ 2147483647 h 1146"/>
                    <a:gd name="T20" fmla="*/ 2147483647 w 1218"/>
                    <a:gd name="T21" fmla="*/ 2147483647 h 1146"/>
                    <a:gd name="T22" fmla="*/ 2147483647 w 1218"/>
                    <a:gd name="T23" fmla="*/ 2147483647 h 1146"/>
                    <a:gd name="T24" fmla="*/ 2147483647 w 1218"/>
                    <a:gd name="T25" fmla="*/ 2147483647 h 1146"/>
                    <a:gd name="T26" fmla="*/ 2147483647 w 1218"/>
                    <a:gd name="T27" fmla="*/ 2147483647 h 1146"/>
                    <a:gd name="T28" fmla="*/ 2147483647 w 1218"/>
                    <a:gd name="T29" fmla="*/ 2147483647 h 1146"/>
                    <a:gd name="T30" fmla="*/ 2147483647 w 1218"/>
                    <a:gd name="T31" fmla="*/ 2147483647 h 1146"/>
                    <a:gd name="T32" fmla="*/ 2147483647 w 1218"/>
                    <a:gd name="T33" fmla="*/ 2147483647 h 1146"/>
                    <a:gd name="T34" fmla="*/ 2147483647 w 1218"/>
                    <a:gd name="T35" fmla="*/ 2147483647 h 1146"/>
                    <a:gd name="T36" fmla="*/ 2147483647 w 1218"/>
                    <a:gd name="T37" fmla="*/ 2147483647 h 1146"/>
                    <a:gd name="T38" fmla="*/ 2147483647 w 1218"/>
                    <a:gd name="T39" fmla="*/ 2147483647 h 1146"/>
                    <a:gd name="T40" fmla="*/ 2147483647 w 1218"/>
                    <a:gd name="T41" fmla="*/ 2147483647 h 1146"/>
                    <a:gd name="T42" fmla="*/ 2147483647 w 1218"/>
                    <a:gd name="T43" fmla="*/ 2147483647 h 1146"/>
                    <a:gd name="T44" fmla="*/ 2147483647 w 1218"/>
                    <a:gd name="T45" fmla="*/ 2147483647 h 1146"/>
                    <a:gd name="T46" fmla="*/ 2147483647 w 1218"/>
                    <a:gd name="T47" fmla="*/ 2147483647 h 1146"/>
                    <a:gd name="T48" fmla="*/ 2147483647 w 1218"/>
                    <a:gd name="T49" fmla="*/ 2147483647 h 1146"/>
                    <a:gd name="T50" fmla="*/ 2147483647 w 1218"/>
                    <a:gd name="T51" fmla="*/ 2147483647 h 1146"/>
                    <a:gd name="T52" fmla="*/ 2147483647 w 1218"/>
                    <a:gd name="T53" fmla="*/ 2147483647 h 1146"/>
                    <a:gd name="T54" fmla="*/ 2147483647 w 1218"/>
                    <a:gd name="T55" fmla="*/ 2147483647 h 1146"/>
                    <a:gd name="T56" fmla="*/ 2147483647 w 1218"/>
                    <a:gd name="T57" fmla="*/ 2147483647 h 1146"/>
                    <a:gd name="T58" fmla="*/ 2147483647 w 1218"/>
                    <a:gd name="T59" fmla="*/ 2147483647 h 1146"/>
                    <a:gd name="T60" fmla="*/ 2147483647 w 1218"/>
                    <a:gd name="T61" fmla="*/ 2147483647 h 1146"/>
                    <a:gd name="T62" fmla="*/ 2147483647 w 1218"/>
                    <a:gd name="T63" fmla="*/ 2147483647 h 1146"/>
                    <a:gd name="T64" fmla="*/ 2147483647 w 1218"/>
                    <a:gd name="T65" fmla="*/ 2147483647 h 1146"/>
                    <a:gd name="T66" fmla="*/ 2147483647 w 1218"/>
                    <a:gd name="T67" fmla="*/ 2147483647 h 1146"/>
                    <a:gd name="T68" fmla="*/ 2147483647 w 1218"/>
                    <a:gd name="T69" fmla="*/ 2147483647 h 1146"/>
                    <a:gd name="T70" fmla="*/ 2147483647 w 1218"/>
                    <a:gd name="T71" fmla="*/ 2147483647 h 1146"/>
                    <a:gd name="T72" fmla="*/ 2147483647 w 1218"/>
                    <a:gd name="T73" fmla="*/ 2147483647 h 1146"/>
                    <a:gd name="T74" fmla="*/ 2147483647 w 1218"/>
                    <a:gd name="T75" fmla="*/ 2147483647 h 1146"/>
                    <a:gd name="T76" fmla="*/ 2147483647 w 1218"/>
                    <a:gd name="T77" fmla="*/ 2147483647 h 1146"/>
                    <a:gd name="T78" fmla="*/ 2147483647 w 1218"/>
                    <a:gd name="T79" fmla="*/ 2147483647 h 1146"/>
                    <a:gd name="T80" fmla="*/ 2147483647 w 1218"/>
                    <a:gd name="T81" fmla="*/ 2147483647 h 1146"/>
                    <a:gd name="T82" fmla="*/ 2147483647 w 1218"/>
                    <a:gd name="T83" fmla="*/ 2147483647 h 1146"/>
                    <a:gd name="T84" fmla="*/ 2147483647 w 1218"/>
                    <a:gd name="T85" fmla="*/ 2147483647 h 1146"/>
                    <a:gd name="T86" fmla="*/ 2147483647 w 1218"/>
                    <a:gd name="T87" fmla="*/ 2147483647 h 1146"/>
                    <a:gd name="T88" fmla="*/ 2147483647 w 1218"/>
                    <a:gd name="T89" fmla="*/ 2147483647 h 1146"/>
                    <a:gd name="T90" fmla="*/ 2147483647 w 1218"/>
                    <a:gd name="T91" fmla="*/ 2147483647 h 1146"/>
                    <a:gd name="T92" fmla="*/ 2147483647 w 1218"/>
                    <a:gd name="T93" fmla="*/ 2147483647 h 1146"/>
                    <a:gd name="T94" fmla="*/ 2147483647 w 1218"/>
                    <a:gd name="T95" fmla="*/ 2147483647 h 1146"/>
                    <a:gd name="T96" fmla="*/ 2147483647 w 1218"/>
                    <a:gd name="T97" fmla="*/ 2147483647 h 1146"/>
                    <a:gd name="T98" fmla="*/ 2147483647 w 1218"/>
                    <a:gd name="T99" fmla="*/ 2147483647 h 1146"/>
                    <a:gd name="T100" fmla="*/ 2147483647 w 1218"/>
                    <a:gd name="T101" fmla="*/ 2147483647 h 1146"/>
                    <a:gd name="T102" fmla="*/ 2147483647 w 1218"/>
                    <a:gd name="T103" fmla="*/ 2147483647 h 1146"/>
                    <a:gd name="T104" fmla="*/ 2147483647 w 1218"/>
                    <a:gd name="T105" fmla="*/ 2147483647 h 1146"/>
                    <a:gd name="T106" fmla="*/ 2147483647 w 1218"/>
                    <a:gd name="T107" fmla="*/ 2147483647 h 1146"/>
                    <a:gd name="T108" fmla="*/ 2147483647 w 1218"/>
                    <a:gd name="T109" fmla="*/ 2147483647 h 1146"/>
                    <a:gd name="T110" fmla="*/ 2147483647 w 1218"/>
                    <a:gd name="T111" fmla="*/ 2147483647 h 1146"/>
                    <a:gd name="T112" fmla="*/ 2147483647 w 1218"/>
                    <a:gd name="T113" fmla="*/ 2147483647 h 1146"/>
                    <a:gd name="T114" fmla="*/ 2147483647 w 1218"/>
                    <a:gd name="T115" fmla="*/ 2147483647 h 1146"/>
                    <a:gd name="T116" fmla="*/ 2147483647 w 1218"/>
                    <a:gd name="T117" fmla="*/ 2147483647 h 1146"/>
                    <a:gd name="T118" fmla="*/ 2147483647 w 1218"/>
                    <a:gd name="T119" fmla="*/ 2147483647 h 1146"/>
                    <a:gd name="T120" fmla="*/ 2147483647 w 1218"/>
                    <a:gd name="T121" fmla="*/ 2147483647 h 1146"/>
                    <a:gd name="T122" fmla="*/ 2147483647 w 1218"/>
                    <a:gd name="T123" fmla="*/ 2147483647 h 11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218"/>
                    <a:gd name="T187" fmla="*/ 0 h 1146"/>
                    <a:gd name="T188" fmla="*/ 1218 w 1218"/>
                    <a:gd name="T189" fmla="*/ 1146 h 11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218" h="1146">
                      <a:moveTo>
                        <a:pt x="0" y="240"/>
                      </a:moveTo>
                      <a:lnTo>
                        <a:pt x="0" y="215"/>
                      </a:lnTo>
                      <a:lnTo>
                        <a:pt x="0" y="126"/>
                      </a:lnTo>
                      <a:lnTo>
                        <a:pt x="2" y="125"/>
                      </a:lnTo>
                      <a:lnTo>
                        <a:pt x="2" y="126"/>
                      </a:lnTo>
                      <a:lnTo>
                        <a:pt x="3" y="126"/>
                      </a:lnTo>
                      <a:lnTo>
                        <a:pt x="3" y="128"/>
                      </a:lnTo>
                      <a:lnTo>
                        <a:pt x="5" y="130"/>
                      </a:lnTo>
                      <a:lnTo>
                        <a:pt x="7" y="130"/>
                      </a:lnTo>
                      <a:lnTo>
                        <a:pt x="7" y="131"/>
                      </a:lnTo>
                      <a:lnTo>
                        <a:pt x="9" y="131"/>
                      </a:lnTo>
                      <a:lnTo>
                        <a:pt x="9" y="130"/>
                      </a:lnTo>
                      <a:lnTo>
                        <a:pt x="10" y="131"/>
                      </a:lnTo>
                      <a:lnTo>
                        <a:pt x="10" y="130"/>
                      </a:lnTo>
                      <a:lnTo>
                        <a:pt x="12" y="130"/>
                      </a:lnTo>
                      <a:lnTo>
                        <a:pt x="14" y="128"/>
                      </a:lnTo>
                      <a:lnTo>
                        <a:pt x="15" y="128"/>
                      </a:lnTo>
                      <a:lnTo>
                        <a:pt x="17" y="128"/>
                      </a:lnTo>
                      <a:lnTo>
                        <a:pt x="17" y="126"/>
                      </a:lnTo>
                      <a:lnTo>
                        <a:pt x="17" y="125"/>
                      </a:lnTo>
                      <a:lnTo>
                        <a:pt x="19" y="125"/>
                      </a:lnTo>
                      <a:lnTo>
                        <a:pt x="17" y="125"/>
                      </a:lnTo>
                      <a:lnTo>
                        <a:pt x="17" y="123"/>
                      </a:lnTo>
                      <a:lnTo>
                        <a:pt x="17" y="122"/>
                      </a:lnTo>
                      <a:lnTo>
                        <a:pt x="19" y="122"/>
                      </a:lnTo>
                      <a:lnTo>
                        <a:pt x="19" y="120"/>
                      </a:lnTo>
                      <a:lnTo>
                        <a:pt x="20" y="120"/>
                      </a:lnTo>
                      <a:lnTo>
                        <a:pt x="22" y="120"/>
                      </a:lnTo>
                      <a:lnTo>
                        <a:pt x="22" y="122"/>
                      </a:lnTo>
                      <a:lnTo>
                        <a:pt x="24" y="122"/>
                      </a:lnTo>
                      <a:lnTo>
                        <a:pt x="24" y="120"/>
                      </a:lnTo>
                      <a:lnTo>
                        <a:pt x="25" y="120"/>
                      </a:lnTo>
                      <a:lnTo>
                        <a:pt x="27" y="120"/>
                      </a:lnTo>
                      <a:lnTo>
                        <a:pt x="27" y="122"/>
                      </a:lnTo>
                      <a:lnTo>
                        <a:pt x="29" y="122"/>
                      </a:lnTo>
                      <a:lnTo>
                        <a:pt x="30" y="122"/>
                      </a:lnTo>
                      <a:lnTo>
                        <a:pt x="30" y="123"/>
                      </a:lnTo>
                      <a:lnTo>
                        <a:pt x="30" y="122"/>
                      </a:lnTo>
                      <a:lnTo>
                        <a:pt x="30" y="120"/>
                      </a:lnTo>
                      <a:lnTo>
                        <a:pt x="32" y="120"/>
                      </a:lnTo>
                      <a:lnTo>
                        <a:pt x="34" y="120"/>
                      </a:lnTo>
                      <a:lnTo>
                        <a:pt x="34" y="122"/>
                      </a:lnTo>
                      <a:lnTo>
                        <a:pt x="36" y="122"/>
                      </a:lnTo>
                      <a:lnTo>
                        <a:pt x="36" y="123"/>
                      </a:lnTo>
                      <a:lnTo>
                        <a:pt x="37" y="123"/>
                      </a:lnTo>
                      <a:lnTo>
                        <a:pt x="36" y="122"/>
                      </a:lnTo>
                      <a:lnTo>
                        <a:pt x="37" y="122"/>
                      </a:lnTo>
                      <a:lnTo>
                        <a:pt x="39" y="122"/>
                      </a:lnTo>
                      <a:lnTo>
                        <a:pt x="39" y="120"/>
                      </a:lnTo>
                      <a:lnTo>
                        <a:pt x="41" y="120"/>
                      </a:lnTo>
                      <a:lnTo>
                        <a:pt x="41" y="118"/>
                      </a:lnTo>
                      <a:lnTo>
                        <a:pt x="41" y="117"/>
                      </a:lnTo>
                      <a:lnTo>
                        <a:pt x="41" y="115"/>
                      </a:lnTo>
                      <a:lnTo>
                        <a:pt x="41" y="113"/>
                      </a:lnTo>
                      <a:lnTo>
                        <a:pt x="42" y="113"/>
                      </a:lnTo>
                      <a:lnTo>
                        <a:pt x="42" y="112"/>
                      </a:lnTo>
                      <a:lnTo>
                        <a:pt x="41" y="112"/>
                      </a:lnTo>
                      <a:lnTo>
                        <a:pt x="41" y="113"/>
                      </a:lnTo>
                      <a:lnTo>
                        <a:pt x="41" y="112"/>
                      </a:lnTo>
                      <a:lnTo>
                        <a:pt x="39" y="112"/>
                      </a:lnTo>
                      <a:lnTo>
                        <a:pt x="41" y="112"/>
                      </a:lnTo>
                      <a:lnTo>
                        <a:pt x="41" y="110"/>
                      </a:lnTo>
                      <a:lnTo>
                        <a:pt x="39" y="110"/>
                      </a:lnTo>
                      <a:lnTo>
                        <a:pt x="37" y="110"/>
                      </a:lnTo>
                      <a:lnTo>
                        <a:pt x="37" y="108"/>
                      </a:lnTo>
                      <a:lnTo>
                        <a:pt x="39" y="108"/>
                      </a:lnTo>
                      <a:lnTo>
                        <a:pt x="37" y="108"/>
                      </a:lnTo>
                      <a:lnTo>
                        <a:pt x="39" y="107"/>
                      </a:lnTo>
                      <a:lnTo>
                        <a:pt x="37" y="107"/>
                      </a:lnTo>
                      <a:lnTo>
                        <a:pt x="37" y="105"/>
                      </a:lnTo>
                      <a:lnTo>
                        <a:pt x="37" y="103"/>
                      </a:lnTo>
                      <a:lnTo>
                        <a:pt x="39" y="103"/>
                      </a:lnTo>
                      <a:lnTo>
                        <a:pt x="39" y="105"/>
                      </a:lnTo>
                      <a:lnTo>
                        <a:pt x="41" y="103"/>
                      </a:lnTo>
                      <a:lnTo>
                        <a:pt x="42" y="103"/>
                      </a:lnTo>
                      <a:lnTo>
                        <a:pt x="42" y="105"/>
                      </a:lnTo>
                      <a:lnTo>
                        <a:pt x="44" y="105"/>
                      </a:lnTo>
                      <a:lnTo>
                        <a:pt x="44" y="103"/>
                      </a:lnTo>
                      <a:lnTo>
                        <a:pt x="46" y="103"/>
                      </a:lnTo>
                      <a:lnTo>
                        <a:pt x="47" y="103"/>
                      </a:lnTo>
                      <a:lnTo>
                        <a:pt x="49" y="103"/>
                      </a:lnTo>
                      <a:lnTo>
                        <a:pt x="51" y="102"/>
                      </a:lnTo>
                      <a:lnTo>
                        <a:pt x="49" y="102"/>
                      </a:lnTo>
                      <a:lnTo>
                        <a:pt x="49" y="100"/>
                      </a:lnTo>
                      <a:lnTo>
                        <a:pt x="49" y="99"/>
                      </a:lnTo>
                      <a:lnTo>
                        <a:pt x="47" y="99"/>
                      </a:lnTo>
                      <a:lnTo>
                        <a:pt x="49" y="99"/>
                      </a:lnTo>
                      <a:lnTo>
                        <a:pt x="49" y="97"/>
                      </a:lnTo>
                      <a:lnTo>
                        <a:pt x="51" y="97"/>
                      </a:lnTo>
                      <a:lnTo>
                        <a:pt x="51" y="95"/>
                      </a:lnTo>
                      <a:lnTo>
                        <a:pt x="52" y="95"/>
                      </a:lnTo>
                      <a:lnTo>
                        <a:pt x="52" y="94"/>
                      </a:lnTo>
                      <a:lnTo>
                        <a:pt x="54" y="94"/>
                      </a:lnTo>
                      <a:lnTo>
                        <a:pt x="54" y="92"/>
                      </a:lnTo>
                      <a:lnTo>
                        <a:pt x="56" y="92"/>
                      </a:lnTo>
                      <a:lnTo>
                        <a:pt x="56" y="94"/>
                      </a:lnTo>
                      <a:lnTo>
                        <a:pt x="57" y="95"/>
                      </a:lnTo>
                      <a:lnTo>
                        <a:pt x="57" y="94"/>
                      </a:lnTo>
                      <a:lnTo>
                        <a:pt x="59" y="94"/>
                      </a:lnTo>
                      <a:lnTo>
                        <a:pt x="59" y="95"/>
                      </a:lnTo>
                      <a:lnTo>
                        <a:pt x="61" y="94"/>
                      </a:lnTo>
                      <a:lnTo>
                        <a:pt x="61" y="95"/>
                      </a:lnTo>
                      <a:lnTo>
                        <a:pt x="63" y="95"/>
                      </a:lnTo>
                      <a:lnTo>
                        <a:pt x="63" y="97"/>
                      </a:lnTo>
                      <a:lnTo>
                        <a:pt x="64" y="97"/>
                      </a:lnTo>
                      <a:lnTo>
                        <a:pt x="64" y="95"/>
                      </a:lnTo>
                      <a:lnTo>
                        <a:pt x="66" y="95"/>
                      </a:lnTo>
                      <a:lnTo>
                        <a:pt x="68" y="95"/>
                      </a:lnTo>
                      <a:lnTo>
                        <a:pt x="68" y="94"/>
                      </a:lnTo>
                      <a:lnTo>
                        <a:pt x="68" y="95"/>
                      </a:lnTo>
                      <a:lnTo>
                        <a:pt x="69" y="95"/>
                      </a:lnTo>
                      <a:lnTo>
                        <a:pt x="71" y="95"/>
                      </a:lnTo>
                      <a:lnTo>
                        <a:pt x="71" y="97"/>
                      </a:lnTo>
                      <a:lnTo>
                        <a:pt x="71" y="99"/>
                      </a:lnTo>
                      <a:lnTo>
                        <a:pt x="71" y="100"/>
                      </a:lnTo>
                      <a:lnTo>
                        <a:pt x="73" y="100"/>
                      </a:lnTo>
                      <a:lnTo>
                        <a:pt x="74" y="100"/>
                      </a:lnTo>
                      <a:lnTo>
                        <a:pt x="76" y="100"/>
                      </a:lnTo>
                      <a:lnTo>
                        <a:pt x="78" y="99"/>
                      </a:lnTo>
                      <a:lnTo>
                        <a:pt x="78" y="100"/>
                      </a:lnTo>
                      <a:lnTo>
                        <a:pt x="79" y="100"/>
                      </a:lnTo>
                      <a:lnTo>
                        <a:pt x="79" y="99"/>
                      </a:lnTo>
                      <a:lnTo>
                        <a:pt x="81" y="99"/>
                      </a:lnTo>
                      <a:lnTo>
                        <a:pt x="83" y="100"/>
                      </a:lnTo>
                      <a:lnTo>
                        <a:pt x="85" y="100"/>
                      </a:lnTo>
                      <a:lnTo>
                        <a:pt x="85" y="99"/>
                      </a:lnTo>
                      <a:lnTo>
                        <a:pt x="86" y="99"/>
                      </a:lnTo>
                      <a:lnTo>
                        <a:pt x="86" y="97"/>
                      </a:lnTo>
                      <a:lnTo>
                        <a:pt x="86" y="95"/>
                      </a:lnTo>
                      <a:lnTo>
                        <a:pt x="88" y="95"/>
                      </a:lnTo>
                      <a:lnTo>
                        <a:pt x="88" y="94"/>
                      </a:lnTo>
                      <a:lnTo>
                        <a:pt x="88" y="92"/>
                      </a:lnTo>
                      <a:lnTo>
                        <a:pt x="88" y="90"/>
                      </a:lnTo>
                      <a:lnTo>
                        <a:pt x="86" y="90"/>
                      </a:lnTo>
                      <a:lnTo>
                        <a:pt x="88" y="90"/>
                      </a:lnTo>
                      <a:lnTo>
                        <a:pt x="88" y="89"/>
                      </a:lnTo>
                      <a:lnTo>
                        <a:pt x="86" y="89"/>
                      </a:lnTo>
                      <a:lnTo>
                        <a:pt x="86" y="87"/>
                      </a:lnTo>
                      <a:lnTo>
                        <a:pt x="86" y="85"/>
                      </a:lnTo>
                      <a:lnTo>
                        <a:pt x="88" y="85"/>
                      </a:lnTo>
                      <a:lnTo>
                        <a:pt x="88" y="87"/>
                      </a:lnTo>
                      <a:lnTo>
                        <a:pt x="90" y="87"/>
                      </a:lnTo>
                      <a:lnTo>
                        <a:pt x="90" y="85"/>
                      </a:lnTo>
                      <a:lnTo>
                        <a:pt x="90" y="87"/>
                      </a:lnTo>
                      <a:lnTo>
                        <a:pt x="91" y="87"/>
                      </a:lnTo>
                      <a:lnTo>
                        <a:pt x="93" y="87"/>
                      </a:lnTo>
                      <a:lnTo>
                        <a:pt x="95" y="87"/>
                      </a:lnTo>
                      <a:lnTo>
                        <a:pt x="95" y="85"/>
                      </a:lnTo>
                      <a:lnTo>
                        <a:pt x="96" y="85"/>
                      </a:lnTo>
                      <a:lnTo>
                        <a:pt x="98" y="85"/>
                      </a:lnTo>
                      <a:lnTo>
                        <a:pt x="96" y="84"/>
                      </a:lnTo>
                      <a:lnTo>
                        <a:pt x="98" y="84"/>
                      </a:lnTo>
                      <a:lnTo>
                        <a:pt x="98" y="85"/>
                      </a:lnTo>
                      <a:lnTo>
                        <a:pt x="100" y="85"/>
                      </a:lnTo>
                      <a:lnTo>
                        <a:pt x="100" y="84"/>
                      </a:lnTo>
                      <a:lnTo>
                        <a:pt x="101" y="84"/>
                      </a:lnTo>
                      <a:lnTo>
                        <a:pt x="103" y="84"/>
                      </a:lnTo>
                      <a:lnTo>
                        <a:pt x="105" y="84"/>
                      </a:lnTo>
                      <a:lnTo>
                        <a:pt x="105" y="82"/>
                      </a:lnTo>
                      <a:lnTo>
                        <a:pt x="105" y="80"/>
                      </a:lnTo>
                      <a:lnTo>
                        <a:pt x="106" y="80"/>
                      </a:lnTo>
                      <a:lnTo>
                        <a:pt x="106" y="79"/>
                      </a:lnTo>
                      <a:lnTo>
                        <a:pt x="108" y="80"/>
                      </a:lnTo>
                      <a:lnTo>
                        <a:pt x="110" y="80"/>
                      </a:lnTo>
                      <a:lnTo>
                        <a:pt x="112" y="80"/>
                      </a:lnTo>
                      <a:lnTo>
                        <a:pt x="113" y="80"/>
                      </a:lnTo>
                      <a:lnTo>
                        <a:pt x="112" y="80"/>
                      </a:lnTo>
                      <a:lnTo>
                        <a:pt x="113" y="80"/>
                      </a:lnTo>
                      <a:lnTo>
                        <a:pt x="113" y="79"/>
                      </a:lnTo>
                      <a:lnTo>
                        <a:pt x="115" y="80"/>
                      </a:lnTo>
                      <a:lnTo>
                        <a:pt x="115" y="82"/>
                      </a:lnTo>
                      <a:lnTo>
                        <a:pt x="117" y="82"/>
                      </a:lnTo>
                      <a:lnTo>
                        <a:pt x="117" y="80"/>
                      </a:lnTo>
                      <a:lnTo>
                        <a:pt x="117" y="82"/>
                      </a:lnTo>
                      <a:lnTo>
                        <a:pt x="118" y="82"/>
                      </a:lnTo>
                      <a:lnTo>
                        <a:pt x="118" y="84"/>
                      </a:lnTo>
                      <a:lnTo>
                        <a:pt x="120" y="84"/>
                      </a:lnTo>
                      <a:lnTo>
                        <a:pt x="120" y="82"/>
                      </a:lnTo>
                      <a:lnTo>
                        <a:pt x="122" y="82"/>
                      </a:lnTo>
                      <a:lnTo>
                        <a:pt x="123" y="82"/>
                      </a:lnTo>
                      <a:lnTo>
                        <a:pt x="125" y="82"/>
                      </a:lnTo>
                      <a:lnTo>
                        <a:pt x="125" y="84"/>
                      </a:lnTo>
                      <a:lnTo>
                        <a:pt x="127" y="84"/>
                      </a:lnTo>
                      <a:lnTo>
                        <a:pt x="127" y="82"/>
                      </a:lnTo>
                      <a:lnTo>
                        <a:pt x="127" y="84"/>
                      </a:lnTo>
                      <a:lnTo>
                        <a:pt x="128" y="84"/>
                      </a:lnTo>
                      <a:lnTo>
                        <a:pt x="128" y="82"/>
                      </a:lnTo>
                      <a:lnTo>
                        <a:pt x="130" y="82"/>
                      </a:lnTo>
                      <a:lnTo>
                        <a:pt x="130" y="80"/>
                      </a:lnTo>
                      <a:lnTo>
                        <a:pt x="128" y="80"/>
                      </a:lnTo>
                      <a:lnTo>
                        <a:pt x="130" y="80"/>
                      </a:lnTo>
                      <a:lnTo>
                        <a:pt x="132" y="80"/>
                      </a:lnTo>
                      <a:lnTo>
                        <a:pt x="132" y="79"/>
                      </a:lnTo>
                      <a:lnTo>
                        <a:pt x="132" y="77"/>
                      </a:lnTo>
                      <a:lnTo>
                        <a:pt x="133" y="77"/>
                      </a:lnTo>
                      <a:lnTo>
                        <a:pt x="133" y="76"/>
                      </a:lnTo>
                      <a:lnTo>
                        <a:pt x="133" y="74"/>
                      </a:lnTo>
                      <a:lnTo>
                        <a:pt x="135" y="72"/>
                      </a:lnTo>
                      <a:lnTo>
                        <a:pt x="135" y="74"/>
                      </a:lnTo>
                      <a:lnTo>
                        <a:pt x="137" y="72"/>
                      </a:lnTo>
                      <a:lnTo>
                        <a:pt x="139" y="72"/>
                      </a:lnTo>
                      <a:lnTo>
                        <a:pt x="139" y="71"/>
                      </a:lnTo>
                      <a:lnTo>
                        <a:pt x="139" y="69"/>
                      </a:lnTo>
                      <a:lnTo>
                        <a:pt x="139" y="67"/>
                      </a:lnTo>
                      <a:lnTo>
                        <a:pt x="140" y="67"/>
                      </a:lnTo>
                      <a:lnTo>
                        <a:pt x="140" y="66"/>
                      </a:lnTo>
                      <a:lnTo>
                        <a:pt x="139" y="66"/>
                      </a:lnTo>
                      <a:lnTo>
                        <a:pt x="140" y="64"/>
                      </a:lnTo>
                      <a:lnTo>
                        <a:pt x="139" y="64"/>
                      </a:lnTo>
                      <a:lnTo>
                        <a:pt x="140" y="62"/>
                      </a:lnTo>
                      <a:lnTo>
                        <a:pt x="142" y="62"/>
                      </a:lnTo>
                      <a:lnTo>
                        <a:pt x="144" y="62"/>
                      </a:lnTo>
                      <a:lnTo>
                        <a:pt x="144" y="61"/>
                      </a:lnTo>
                      <a:lnTo>
                        <a:pt x="145" y="62"/>
                      </a:lnTo>
                      <a:lnTo>
                        <a:pt x="145" y="61"/>
                      </a:lnTo>
                      <a:lnTo>
                        <a:pt x="147" y="61"/>
                      </a:lnTo>
                      <a:lnTo>
                        <a:pt x="147" y="59"/>
                      </a:lnTo>
                      <a:lnTo>
                        <a:pt x="145" y="59"/>
                      </a:lnTo>
                      <a:lnTo>
                        <a:pt x="147" y="59"/>
                      </a:lnTo>
                      <a:lnTo>
                        <a:pt x="147" y="57"/>
                      </a:lnTo>
                      <a:lnTo>
                        <a:pt x="147" y="56"/>
                      </a:lnTo>
                      <a:lnTo>
                        <a:pt x="149" y="57"/>
                      </a:lnTo>
                      <a:lnTo>
                        <a:pt x="149" y="56"/>
                      </a:lnTo>
                      <a:lnTo>
                        <a:pt x="150" y="56"/>
                      </a:lnTo>
                      <a:lnTo>
                        <a:pt x="150" y="57"/>
                      </a:lnTo>
                      <a:lnTo>
                        <a:pt x="150" y="56"/>
                      </a:lnTo>
                      <a:lnTo>
                        <a:pt x="152" y="54"/>
                      </a:lnTo>
                      <a:lnTo>
                        <a:pt x="154" y="56"/>
                      </a:lnTo>
                      <a:lnTo>
                        <a:pt x="155" y="56"/>
                      </a:lnTo>
                      <a:lnTo>
                        <a:pt x="154" y="57"/>
                      </a:lnTo>
                      <a:lnTo>
                        <a:pt x="155" y="57"/>
                      </a:lnTo>
                      <a:lnTo>
                        <a:pt x="155" y="59"/>
                      </a:lnTo>
                      <a:lnTo>
                        <a:pt x="157" y="59"/>
                      </a:lnTo>
                      <a:lnTo>
                        <a:pt x="157" y="61"/>
                      </a:lnTo>
                      <a:lnTo>
                        <a:pt x="159" y="61"/>
                      </a:lnTo>
                      <a:lnTo>
                        <a:pt x="159" y="59"/>
                      </a:lnTo>
                      <a:lnTo>
                        <a:pt x="161" y="57"/>
                      </a:lnTo>
                      <a:lnTo>
                        <a:pt x="162" y="56"/>
                      </a:lnTo>
                      <a:lnTo>
                        <a:pt x="164" y="56"/>
                      </a:lnTo>
                      <a:lnTo>
                        <a:pt x="166" y="56"/>
                      </a:lnTo>
                      <a:lnTo>
                        <a:pt x="167" y="56"/>
                      </a:lnTo>
                      <a:lnTo>
                        <a:pt x="167" y="54"/>
                      </a:lnTo>
                      <a:lnTo>
                        <a:pt x="169" y="54"/>
                      </a:lnTo>
                      <a:lnTo>
                        <a:pt x="169" y="53"/>
                      </a:lnTo>
                      <a:lnTo>
                        <a:pt x="171" y="53"/>
                      </a:lnTo>
                      <a:lnTo>
                        <a:pt x="172" y="53"/>
                      </a:lnTo>
                      <a:lnTo>
                        <a:pt x="172" y="54"/>
                      </a:lnTo>
                      <a:lnTo>
                        <a:pt x="174" y="54"/>
                      </a:lnTo>
                      <a:lnTo>
                        <a:pt x="174" y="56"/>
                      </a:lnTo>
                      <a:lnTo>
                        <a:pt x="174" y="57"/>
                      </a:lnTo>
                      <a:lnTo>
                        <a:pt x="174" y="59"/>
                      </a:lnTo>
                      <a:lnTo>
                        <a:pt x="176" y="59"/>
                      </a:lnTo>
                      <a:lnTo>
                        <a:pt x="177" y="59"/>
                      </a:lnTo>
                      <a:lnTo>
                        <a:pt x="177" y="61"/>
                      </a:lnTo>
                      <a:lnTo>
                        <a:pt x="179" y="62"/>
                      </a:lnTo>
                      <a:lnTo>
                        <a:pt x="181" y="62"/>
                      </a:lnTo>
                      <a:lnTo>
                        <a:pt x="182" y="64"/>
                      </a:lnTo>
                      <a:lnTo>
                        <a:pt x="182" y="62"/>
                      </a:lnTo>
                      <a:lnTo>
                        <a:pt x="182" y="64"/>
                      </a:lnTo>
                      <a:lnTo>
                        <a:pt x="182" y="62"/>
                      </a:lnTo>
                      <a:lnTo>
                        <a:pt x="184" y="62"/>
                      </a:lnTo>
                      <a:lnTo>
                        <a:pt x="184" y="61"/>
                      </a:lnTo>
                      <a:lnTo>
                        <a:pt x="184" y="62"/>
                      </a:lnTo>
                      <a:lnTo>
                        <a:pt x="186" y="62"/>
                      </a:lnTo>
                      <a:lnTo>
                        <a:pt x="188" y="61"/>
                      </a:lnTo>
                      <a:lnTo>
                        <a:pt x="189" y="62"/>
                      </a:lnTo>
                      <a:lnTo>
                        <a:pt x="191" y="64"/>
                      </a:lnTo>
                      <a:lnTo>
                        <a:pt x="193" y="64"/>
                      </a:lnTo>
                      <a:lnTo>
                        <a:pt x="194" y="64"/>
                      </a:lnTo>
                      <a:lnTo>
                        <a:pt x="196" y="66"/>
                      </a:lnTo>
                      <a:lnTo>
                        <a:pt x="196" y="64"/>
                      </a:lnTo>
                      <a:lnTo>
                        <a:pt x="196" y="66"/>
                      </a:lnTo>
                      <a:lnTo>
                        <a:pt x="198" y="66"/>
                      </a:lnTo>
                      <a:lnTo>
                        <a:pt x="199" y="66"/>
                      </a:lnTo>
                      <a:lnTo>
                        <a:pt x="199" y="67"/>
                      </a:lnTo>
                      <a:lnTo>
                        <a:pt x="201" y="69"/>
                      </a:lnTo>
                      <a:lnTo>
                        <a:pt x="201" y="67"/>
                      </a:lnTo>
                      <a:lnTo>
                        <a:pt x="203" y="66"/>
                      </a:lnTo>
                      <a:lnTo>
                        <a:pt x="203" y="64"/>
                      </a:lnTo>
                      <a:lnTo>
                        <a:pt x="204" y="64"/>
                      </a:lnTo>
                      <a:lnTo>
                        <a:pt x="204" y="62"/>
                      </a:lnTo>
                      <a:lnTo>
                        <a:pt x="206" y="62"/>
                      </a:lnTo>
                      <a:lnTo>
                        <a:pt x="206" y="61"/>
                      </a:lnTo>
                      <a:lnTo>
                        <a:pt x="208" y="61"/>
                      </a:lnTo>
                      <a:lnTo>
                        <a:pt x="208" y="62"/>
                      </a:lnTo>
                      <a:lnTo>
                        <a:pt x="209" y="62"/>
                      </a:lnTo>
                      <a:lnTo>
                        <a:pt x="211" y="62"/>
                      </a:lnTo>
                      <a:lnTo>
                        <a:pt x="213" y="62"/>
                      </a:lnTo>
                      <a:lnTo>
                        <a:pt x="215" y="61"/>
                      </a:lnTo>
                      <a:lnTo>
                        <a:pt x="216" y="59"/>
                      </a:lnTo>
                      <a:lnTo>
                        <a:pt x="218" y="61"/>
                      </a:lnTo>
                      <a:lnTo>
                        <a:pt x="220" y="61"/>
                      </a:lnTo>
                      <a:lnTo>
                        <a:pt x="218" y="61"/>
                      </a:lnTo>
                      <a:lnTo>
                        <a:pt x="220" y="62"/>
                      </a:lnTo>
                      <a:lnTo>
                        <a:pt x="220" y="64"/>
                      </a:lnTo>
                      <a:lnTo>
                        <a:pt x="221" y="62"/>
                      </a:lnTo>
                      <a:lnTo>
                        <a:pt x="223" y="62"/>
                      </a:lnTo>
                      <a:lnTo>
                        <a:pt x="225" y="62"/>
                      </a:lnTo>
                      <a:lnTo>
                        <a:pt x="225" y="61"/>
                      </a:lnTo>
                      <a:lnTo>
                        <a:pt x="226" y="61"/>
                      </a:lnTo>
                      <a:lnTo>
                        <a:pt x="228" y="61"/>
                      </a:lnTo>
                      <a:lnTo>
                        <a:pt x="230" y="59"/>
                      </a:lnTo>
                      <a:lnTo>
                        <a:pt x="231" y="59"/>
                      </a:lnTo>
                      <a:lnTo>
                        <a:pt x="233" y="59"/>
                      </a:lnTo>
                      <a:lnTo>
                        <a:pt x="235" y="59"/>
                      </a:lnTo>
                      <a:lnTo>
                        <a:pt x="235" y="61"/>
                      </a:lnTo>
                      <a:lnTo>
                        <a:pt x="237" y="61"/>
                      </a:lnTo>
                      <a:lnTo>
                        <a:pt x="238" y="61"/>
                      </a:lnTo>
                      <a:lnTo>
                        <a:pt x="238" y="62"/>
                      </a:lnTo>
                      <a:lnTo>
                        <a:pt x="238" y="61"/>
                      </a:lnTo>
                      <a:lnTo>
                        <a:pt x="240" y="61"/>
                      </a:lnTo>
                      <a:lnTo>
                        <a:pt x="242" y="61"/>
                      </a:lnTo>
                      <a:lnTo>
                        <a:pt x="243" y="61"/>
                      </a:lnTo>
                      <a:lnTo>
                        <a:pt x="245" y="61"/>
                      </a:lnTo>
                      <a:lnTo>
                        <a:pt x="245" y="62"/>
                      </a:lnTo>
                      <a:lnTo>
                        <a:pt x="247" y="62"/>
                      </a:lnTo>
                      <a:lnTo>
                        <a:pt x="248" y="62"/>
                      </a:lnTo>
                      <a:lnTo>
                        <a:pt x="248" y="64"/>
                      </a:lnTo>
                      <a:lnTo>
                        <a:pt x="250" y="64"/>
                      </a:lnTo>
                      <a:lnTo>
                        <a:pt x="250" y="66"/>
                      </a:lnTo>
                      <a:lnTo>
                        <a:pt x="252" y="66"/>
                      </a:lnTo>
                      <a:lnTo>
                        <a:pt x="253" y="64"/>
                      </a:lnTo>
                      <a:lnTo>
                        <a:pt x="255" y="64"/>
                      </a:lnTo>
                      <a:lnTo>
                        <a:pt x="257" y="64"/>
                      </a:lnTo>
                      <a:lnTo>
                        <a:pt x="258" y="64"/>
                      </a:lnTo>
                      <a:lnTo>
                        <a:pt x="258" y="66"/>
                      </a:lnTo>
                      <a:lnTo>
                        <a:pt x="260" y="66"/>
                      </a:lnTo>
                      <a:lnTo>
                        <a:pt x="260" y="64"/>
                      </a:lnTo>
                      <a:lnTo>
                        <a:pt x="260" y="66"/>
                      </a:lnTo>
                      <a:lnTo>
                        <a:pt x="262" y="66"/>
                      </a:lnTo>
                      <a:lnTo>
                        <a:pt x="264" y="67"/>
                      </a:lnTo>
                      <a:lnTo>
                        <a:pt x="264" y="69"/>
                      </a:lnTo>
                      <a:lnTo>
                        <a:pt x="265" y="67"/>
                      </a:lnTo>
                      <a:lnTo>
                        <a:pt x="265" y="69"/>
                      </a:lnTo>
                      <a:lnTo>
                        <a:pt x="267" y="67"/>
                      </a:lnTo>
                      <a:lnTo>
                        <a:pt x="267" y="69"/>
                      </a:lnTo>
                      <a:lnTo>
                        <a:pt x="269" y="69"/>
                      </a:lnTo>
                      <a:lnTo>
                        <a:pt x="270" y="69"/>
                      </a:lnTo>
                      <a:lnTo>
                        <a:pt x="272" y="69"/>
                      </a:lnTo>
                      <a:lnTo>
                        <a:pt x="274" y="69"/>
                      </a:lnTo>
                      <a:lnTo>
                        <a:pt x="275" y="69"/>
                      </a:lnTo>
                      <a:lnTo>
                        <a:pt x="275" y="71"/>
                      </a:lnTo>
                      <a:lnTo>
                        <a:pt x="277" y="69"/>
                      </a:lnTo>
                      <a:lnTo>
                        <a:pt x="279" y="69"/>
                      </a:lnTo>
                      <a:lnTo>
                        <a:pt x="280" y="69"/>
                      </a:lnTo>
                      <a:lnTo>
                        <a:pt x="280" y="67"/>
                      </a:lnTo>
                      <a:lnTo>
                        <a:pt x="282" y="67"/>
                      </a:lnTo>
                      <a:lnTo>
                        <a:pt x="282" y="66"/>
                      </a:lnTo>
                      <a:lnTo>
                        <a:pt x="284" y="66"/>
                      </a:lnTo>
                      <a:lnTo>
                        <a:pt x="284" y="64"/>
                      </a:lnTo>
                      <a:lnTo>
                        <a:pt x="285" y="64"/>
                      </a:lnTo>
                      <a:lnTo>
                        <a:pt x="284" y="62"/>
                      </a:lnTo>
                      <a:lnTo>
                        <a:pt x="282" y="62"/>
                      </a:lnTo>
                      <a:lnTo>
                        <a:pt x="282" y="61"/>
                      </a:lnTo>
                      <a:lnTo>
                        <a:pt x="282" y="59"/>
                      </a:lnTo>
                      <a:lnTo>
                        <a:pt x="282" y="57"/>
                      </a:lnTo>
                      <a:lnTo>
                        <a:pt x="282" y="56"/>
                      </a:lnTo>
                      <a:lnTo>
                        <a:pt x="282" y="54"/>
                      </a:lnTo>
                      <a:lnTo>
                        <a:pt x="282" y="56"/>
                      </a:lnTo>
                      <a:lnTo>
                        <a:pt x="284" y="56"/>
                      </a:lnTo>
                      <a:lnTo>
                        <a:pt x="284" y="54"/>
                      </a:lnTo>
                      <a:lnTo>
                        <a:pt x="284" y="53"/>
                      </a:lnTo>
                      <a:lnTo>
                        <a:pt x="284" y="51"/>
                      </a:lnTo>
                      <a:lnTo>
                        <a:pt x="282" y="49"/>
                      </a:lnTo>
                      <a:lnTo>
                        <a:pt x="282" y="48"/>
                      </a:lnTo>
                      <a:lnTo>
                        <a:pt x="280" y="48"/>
                      </a:lnTo>
                      <a:lnTo>
                        <a:pt x="280" y="46"/>
                      </a:lnTo>
                      <a:lnTo>
                        <a:pt x="279" y="46"/>
                      </a:lnTo>
                      <a:lnTo>
                        <a:pt x="277" y="44"/>
                      </a:lnTo>
                      <a:lnTo>
                        <a:pt x="279" y="44"/>
                      </a:lnTo>
                      <a:lnTo>
                        <a:pt x="277" y="44"/>
                      </a:lnTo>
                      <a:lnTo>
                        <a:pt x="277" y="43"/>
                      </a:lnTo>
                      <a:lnTo>
                        <a:pt x="275" y="43"/>
                      </a:lnTo>
                      <a:lnTo>
                        <a:pt x="275" y="41"/>
                      </a:lnTo>
                      <a:lnTo>
                        <a:pt x="277" y="41"/>
                      </a:lnTo>
                      <a:lnTo>
                        <a:pt x="275" y="41"/>
                      </a:lnTo>
                      <a:lnTo>
                        <a:pt x="275" y="39"/>
                      </a:lnTo>
                      <a:lnTo>
                        <a:pt x="274" y="39"/>
                      </a:lnTo>
                      <a:lnTo>
                        <a:pt x="272" y="39"/>
                      </a:lnTo>
                      <a:lnTo>
                        <a:pt x="272" y="38"/>
                      </a:lnTo>
                      <a:lnTo>
                        <a:pt x="270" y="38"/>
                      </a:lnTo>
                      <a:lnTo>
                        <a:pt x="270" y="36"/>
                      </a:lnTo>
                      <a:lnTo>
                        <a:pt x="272" y="36"/>
                      </a:lnTo>
                      <a:lnTo>
                        <a:pt x="272" y="34"/>
                      </a:lnTo>
                      <a:lnTo>
                        <a:pt x="272" y="33"/>
                      </a:lnTo>
                      <a:lnTo>
                        <a:pt x="270" y="33"/>
                      </a:lnTo>
                      <a:lnTo>
                        <a:pt x="269" y="33"/>
                      </a:lnTo>
                      <a:lnTo>
                        <a:pt x="267" y="33"/>
                      </a:lnTo>
                      <a:lnTo>
                        <a:pt x="267" y="31"/>
                      </a:lnTo>
                      <a:lnTo>
                        <a:pt x="267" y="33"/>
                      </a:lnTo>
                      <a:lnTo>
                        <a:pt x="265" y="31"/>
                      </a:lnTo>
                      <a:lnTo>
                        <a:pt x="264" y="31"/>
                      </a:lnTo>
                      <a:lnTo>
                        <a:pt x="264" y="30"/>
                      </a:lnTo>
                      <a:lnTo>
                        <a:pt x="262" y="30"/>
                      </a:lnTo>
                      <a:lnTo>
                        <a:pt x="264" y="30"/>
                      </a:lnTo>
                      <a:lnTo>
                        <a:pt x="264" y="28"/>
                      </a:lnTo>
                      <a:lnTo>
                        <a:pt x="265" y="26"/>
                      </a:lnTo>
                      <a:lnTo>
                        <a:pt x="265" y="25"/>
                      </a:lnTo>
                      <a:lnTo>
                        <a:pt x="267" y="25"/>
                      </a:lnTo>
                      <a:lnTo>
                        <a:pt x="267" y="23"/>
                      </a:lnTo>
                      <a:lnTo>
                        <a:pt x="267" y="21"/>
                      </a:lnTo>
                      <a:lnTo>
                        <a:pt x="267" y="20"/>
                      </a:lnTo>
                      <a:lnTo>
                        <a:pt x="267" y="21"/>
                      </a:lnTo>
                      <a:lnTo>
                        <a:pt x="269" y="21"/>
                      </a:lnTo>
                      <a:lnTo>
                        <a:pt x="269" y="20"/>
                      </a:lnTo>
                      <a:lnTo>
                        <a:pt x="269" y="21"/>
                      </a:lnTo>
                      <a:lnTo>
                        <a:pt x="270" y="21"/>
                      </a:lnTo>
                      <a:lnTo>
                        <a:pt x="270" y="23"/>
                      </a:lnTo>
                      <a:lnTo>
                        <a:pt x="270" y="25"/>
                      </a:lnTo>
                      <a:lnTo>
                        <a:pt x="272" y="23"/>
                      </a:lnTo>
                      <a:lnTo>
                        <a:pt x="272" y="25"/>
                      </a:lnTo>
                      <a:lnTo>
                        <a:pt x="272" y="23"/>
                      </a:lnTo>
                      <a:lnTo>
                        <a:pt x="274" y="23"/>
                      </a:lnTo>
                      <a:lnTo>
                        <a:pt x="272" y="23"/>
                      </a:lnTo>
                      <a:lnTo>
                        <a:pt x="272" y="21"/>
                      </a:lnTo>
                      <a:lnTo>
                        <a:pt x="272" y="20"/>
                      </a:lnTo>
                      <a:lnTo>
                        <a:pt x="274" y="20"/>
                      </a:lnTo>
                      <a:lnTo>
                        <a:pt x="274" y="18"/>
                      </a:lnTo>
                      <a:lnTo>
                        <a:pt x="275" y="18"/>
                      </a:lnTo>
                      <a:lnTo>
                        <a:pt x="275" y="16"/>
                      </a:lnTo>
                      <a:lnTo>
                        <a:pt x="277" y="16"/>
                      </a:lnTo>
                      <a:lnTo>
                        <a:pt x="275" y="16"/>
                      </a:lnTo>
                      <a:lnTo>
                        <a:pt x="277" y="15"/>
                      </a:lnTo>
                      <a:lnTo>
                        <a:pt x="275" y="15"/>
                      </a:lnTo>
                      <a:lnTo>
                        <a:pt x="275" y="13"/>
                      </a:lnTo>
                      <a:lnTo>
                        <a:pt x="274" y="13"/>
                      </a:lnTo>
                      <a:lnTo>
                        <a:pt x="275" y="11"/>
                      </a:lnTo>
                      <a:lnTo>
                        <a:pt x="277" y="11"/>
                      </a:lnTo>
                      <a:lnTo>
                        <a:pt x="277" y="10"/>
                      </a:lnTo>
                      <a:lnTo>
                        <a:pt x="277" y="8"/>
                      </a:lnTo>
                      <a:lnTo>
                        <a:pt x="275" y="8"/>
                      </a:lnTo>
                      <a:lnTo>
                        <a:pt x="275" y="7"/>
                      </a:lnTo>
                      <a:lnTo>
                        <a:pt x="277" y="7"/>
                      </a:lnTo>
                      <a:lnTo>
                        <a:pt x="279" y="7"/>
                      </a:lnTo>
                      <a:lnTo>
                        <a:pt x="279" y="5"/>
                      </a:lnTo>
                      <a:lnTo>
                        <a:pt x="280" y="5"/>
                      </a:lnTo>
                      <a:lnTo>
                        <a:pt x="282" y="5"/>
                      </a:lnTo>
                      <a:lnTo>
                        <a:pt x="282" y="7"/>
                      </a:lnTo>
                      <a:lnTo>
                        <a:pt x="284" y="7"/>
                      </a:lnTo>
                      <a:lnTo>
                        <a:pt x="285" y="7"/>
                      </a:lnTo>
                      <a:lnTo>
                        <a:pt x="285" y="8"/>
                      </a:lnTo>
                      <a:lnTo>
                        <a:pt x="287" y="10"/>
                      </a:lnTo>
                      <a:lnTo>
                        <a:pt x="289" y="10"/>
                      </a:lnTo>
                      <a:lnTo>
                        <a:pt x="289" y="11"/>
                      </a:lnTo>
                      <a:lnTo>
                        <a:pt x="291" y="11"/>
                      </a:lnTo>
                      <a:lnTo>
                        <a:pt x="292" y="11"/>
                      </a:lnTo>
                      <a:lnTo>
                        <a:pt x="294" y="13"/>
                      </a:lnTo>
                      <a:lnTo>
                        <a:pt x="294" y="11"/>
                      </a:lnTo>
                      <a:lnTo>
                        <a:pt x="294" y="13"/>
                      </a:lnTo>
                      <a:lnTo>
                        <a:pt x="296" y="11"/>
                      </a:lnTo>
                      <a:lnTo>
                        <a:pt x="296" y="13"/>
                      </a:lnTo>
                      <a:lnTo>
                        <a:pt x="296" y="11"/>
                      </a:lnTo>
                      <a:lnTo>
                        <a:pt x="297" y="13"/>
                      </a:lnTo>
                      <a:lnTo>
                        <a:pt x="297" y="15"/>
                      </a:lnTo>
                      <a:lnTo>
                        <a:pt x="299" y="15"/>
                      </a:lnTo>
                      <a:lnTo>
                        <a:pt x="299" y="16"/>
                      </a:lnTo>
                      <a:lnTo>
                        <a:pt x="301" y="16"/>
                      </a:lnTo>
                      <a:lnTo>
                        <a:pt x="302" y="18"/>
                      </a:lnTo>
                      <a:lnTo>
                        <a:pt x="304" y="16"/>
                      </a:lnTo>
                      <a:lnTo>
                        <a:pt x="306" y="16"/>
                      </a:lnTo>
                      <a:lnTo>
                        <a:pt x="307" y="16"/>
                      </a:lnTo>
                      <a:lnTo>
                        <a:pt x="309" y="16"/>
                      </a:lnTo>
                      <a:lnTo>
                        <a:pt x="311" y="16"/>
                      </a:lnTo>
                      <a:lnTo>
                        <a:pt x="313" y="15"/>
                      </a:lnTo>
                      <a:lnTo>
                        <a:pt x="314" y="15"/>
                      </a:lnTo>
                      <a:lnTo>
                        <a:pt x="316" y="15"/>
                      </a:lnTo>
                      <a:lnTo>
                        <a:pt x="318" y="15"/>
                      </a:lnTo>
                      <a:lnTo>
                        <a:pt x="319" y="15"/>
                      </a:lnTo>
                      <a:lnTo>
                        <a:pt x="321" y="15"/>
                      </a:lnTo>
                      <a:lnTo>
                        <a:pt x="323" y="15"/>
                      </a:lnTo>
                      <a:lnTo>
                        <a:pt x="323" y="13"/>
                      </a:lnTo>
                      <a:lnTo>
                        <a:pt x="324" y="15"/>
                      </a:lnTo>
                      <a:lnTo>
                        <a:pt x="329" y="15"/>
                      </a:lnTo>
                      <a:lnTo>
                        <a:pt x="333" y="16"/>
                      </a:lnTo>
                      <a:lnTo>
                        <a:pt x="338" y="13"/>
                      </a:lnTo>
                      <a:lnTo>
                        <a:pt x="336" y="11"/>
                      </a:lnTo>
                      <a:lnTo>
                        <a:pt x="340" y="7"/>
                      </a:lnTo>
                      <a:lnTo>
                        <a:pt x="345" y="7"/>
                      </a:lnTo>
                      <a:lnTo>
                        <a:pt x="348" y="8"/>
                      </a:lnTo>
                      <a:lnTo>
                        <a:pt x="350" y="7"/>
                      </a:lnTo>
                      <a:lnTo>
                        <a:pt x="353" y="3"/>
                      </a:lnTo>
                      <a:lnTo>
                        <a:pt x="358" y="2"/>
                      </a:lnTo>
                      <a:lnTo>
                        <a:pt x="360" y="7"/>
                      </a:lnTo>
                      <a:lnTo>
                        <a:pt x="365" y="3"/>
                      </a:lnTo>
                      <a:lnTo>
                        <a:pt x="370" y="0"/>
                      </a:lnTo>
                      <a:lnTo>
                        <a:pt x="375" y="0"/>
                      </a:lnTo>
                      <a:lnTo>
                        <a:pt x="377" y="7"/>
                      </a:lnTo>
                      <a:lnTo>
                        <a:pt x="378" y="10"/>
                      </a:lnTo>
                      <a:lnTo>
                        <a:pt x="382" y="15"/>
                      </a:lnTo>
                      <a:lnTo>
                        <a:pt x="382" y="16"/>
                      </a:lnTo>
                      <a:lnTo>
                        <a:pt x="383" y="16"/>
                      </a:lnTo>
                      <a:lnTo>
                        <a:pt x="383" y="18"/>
                      </a:lnTo>
                      <a:lnTo>
                        <a:pt x="385" y="20"/>
                      </a:lnTo>
                      <a:lnTo>
                        <a:pt x="387" y="23"/>
                      </a:lnTo>
                      <a:lnTo>
                        <a:pt x="389" y="23"/>
                      </a:lnTo>
                      <a:lnTo>
                        <a:pt x="389" y="25"/>
                      </a:lnTo>
                      <a:lnTo>
                        <a:pt x="390" y="25"/>
                      </a:lnTo>
                      <a:lnTo>
                        <a:pt x="390" y="26"/>
                      </a:lnTo>
                      <a:lnTo>
                        <a:pt x="389" y="26"/>
                      </a:lnTo>
                      <a:lnTo>
                        <a:pt x="389" y="28"/>
                      </a:lnTo>
                      <a:lnTo>
                        <a:pt x="389" y="30"/>
                      </a:lnTo>
                      <a:lnTo>
                        <a:pt x="389" y="31"/>
                      </a:lnTo>
                      <a:lnTo>
                        <a:pt x="390" y="33"/>
                      </a:lnTo>
                      <a:lnTo>
                        <a:pt x="390" y="34"/>
                      </a:lnTo>
                      <a:lnTo>
                        <a:pt x="392" y="34"/>
                      </a:lnTo>
                      <a:lnTo>
                        <a:pt x="392" y="36"/>
                      </a:lnTo>
                      <a:lnTo>
                        <a:pt x="392" y="38"/>
                      </a:lnTo>
                      <a:lnTo>
                        <a:pt x="390" y="38"/>
                      </a:lnTo>
                      <a:lnTo>
                        <a:pt x="390" y="39"/>
                      </a:lnTo>
                      <a:lnTo>
                        <a:pt x="390" y="41"/>
                      </a:lnTo>
                      <a:lnTo>
                        <a:pt x="389" y="41"/>
                      </a:lnTo>
                      <a:lnTo>
                        <a:pt x="389" y="43"/>
                      </a:lnTo>
                      <a:lnTo>
                        <a:pt x="389" y="44"/>
                      </a:lnTo>
                      <a:lnTo>
                        <a:pt x="389" y="46"/>
                      </a:lnTo>
                      <a:lnTo>
                        <a:pt x="389" y="48"/>
                      </a:lnTo>
                      <a:lnTo>
                        <a:pt x="389" y="49"/>
                      </a:lnTo>
                      <a:lnTo>
                        <a:pt x="389" y="51"/>
                      </a:lnTo>
                      <a:lnTo>
                        <a:pt x="389" y="53"/>
                      </a:lnTo>
                      <a:lnTo>
                        <a:pt x="390" y="53"/>
                      </a:lnTo>
                      <a:lnTo>
                        <a:pt x="390" y="54"/>
                      </a:lnTo>
                      <a:lnTo>
                        <a:pt x="392" y="54"/>
                      </a:lnTo>
                      <a:lnTo>
                        <a:pt x="392" y="56"/>
                      </a:lnTo>
                      <a:lnTo>
                        <a:pt x="394" y="57"/>
                      </a:lnTo>
                      <a:lnTo>
                        <a:pt x="394" y="59"/>
                      </a:lnTo>
                      <a:lnTo>
                        <a:pt x="392" y="59"/>
                      </a:lnTo>
                      <a:lnTo>
                        <a:pt x="392" y="61"/>
                      </a:lnTo>
                      <a:lnTo>
                        <a:pt x="392" y="62"/>
                      </a:lnTo>
                      <a:lnTo>
                        <a:pt x="392" y="64"/>
                      </a:lnTo>
                      <a:lnTo>
                        <a:pt x="394" y="64"/>
                      </a:lnTo>
                      <a:lnTo>
                        <a:pt x="394" y="66"/>
                      </a:lnTo>
                      <a:lnTo>
                        <a:pt x="394" y="67"/>
                      </a:lnTo>
                      <a:lnTo>
                        <a:pt x="394" y="69"/>
                      </a:lnTo>
                      <a:lnTo>
                        <a:pt x="395" y="69"/>
                      </a:lnTo>
                      <a:lnTo>
                        <a:pt x="395" y="71"/>
                      </a:lnTo>
                      <a:lnTo>
                        <a:pt x="394" y="71"/>
                      </a:lnTo>
                      <a:lnTo>
                        <a:pt x="394" y="72"/>
                      </a:lnTo>
                      <a:lnTo>
                        <a:pt x="394" y="74"/>
                      </a:lnTo>
                      <a:lnTo>
                        <a:pt x="394" y="76"/>
                      </a:lnTo>
                      <a:lnTo>
                        <a:pt x="395" y="76"/>
                      </a:lnTo>
                      <a:lnTo>
                        <a:pt x="397" y="76"/>
                      </a:lnTo>
                      <a:lnTo>
                        <a:pt x="399" y="76"/>
                      </a:lnTo>
                      <a:lnTo>
                        <a:pt x="400" y="76"/>
                      </a:lnTo>
                      <a:lnTo>
                        <a:pt x="402" y="76"/>
                      </a:lnTo>
                      <a:lnTo>
                        <a:pt x="404" y="76"/>
                      </a:lnTo>
                      <a:lnTo>
                        <a:pt x="405" y="76"/>
                      </a:lnTo>
                      <a:lnTo>
                        <a:pt x="407" y="76"/>
                      </a:lnTo>
                      <a:lnTo>
                        <a:pt x="407" y="74"/>
                      </a:lnTo>
                      <a:lnTo>
                        <a:pt x="409" y="74"/>
                      </a:lnTo>
                      <a:lnTo>
                        <a:pt x="409" y="76"/>
                      </a:lnTo>
                      <a:lnTo>
                        <a:pt x="410" y="76"/>
                      </a:lnTo>
                      <a:lnTo>
                        <a:pt x="410" y="74"/>
                      </a:lnTo>
                      <a:lnTo>
                        <a:pt x="410" y="76"/>
                      </a:lnTo>
                      <a:lnTo>
                        <a:pt x="412" y="76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6" y="77"/>
                      </a:lnTo>
                      <a:lnTo>
                        <a:pt x="417" y="77"/>
                      </a:lnTo>
                      <a:lnTo>
                        <a:pt x="419" y="77"/>
                      </a:lnTo>
                      <a:lnTo>
                        <a:pt x="421" y="77"/>
                      </a:lnTo>
                      <a:lnTo>
                        <a:pt x="422" y="77"/>
                      </a:lnTo>
                      <a:lnTo>
                        <a:pt x="424" y="77"/>
                      </a:lnTo>
                      <a:lnTo>
                        <a:pt x="426" y="77"/>
                      </a:lnTo>
                      <a:lnTo>
                        <a:pt x="427" y="77"/>
                      </a:lnTo>
                      <a:lnTo>
                        <a:pt x="427" y="79"/>
                      </a:lnTo>
                      <a:lnTo>
                        <a:pt x="429" y="77"/>
                      </a:lnTo>
                      <a:lnTo>
                        <a:pt x="431" y="77"/>
                      </a:lnTo>
                      <a:lnTo>
                        <a:pt x="432" y="77"/>
                      </a:lnTo>
                      <a:lnTo>
                        <a:pt x="432" y="79"/>
                      </a:lnTo>
                      <a:lnTo>
                        <a:pt x="434" y="79"/>
                      </a:lnTo>
                      <a:lnTo>
                        <a:pt x="436" y="79"/>
                      </a:lnTo>
                      <a:lnTo>
                        <a:pt x="436" y="80"/>
                      </a:lnTo>
                      <a:lnTo>
                        <a:pt x="437" y="80"/>
                      </a:lnTo>
                      <a:lnTo>
                        <a:pt x="437" y="82"/>
                      </a:lnTo>
                      <a:lnTo>
                        <a:pt x="439" y="82"/>
                      </a:lnTo>
                      <a:lnTo>
                        <a:pt x="439" y="80"/>
                      </a:lnTo>
                      <a:lnTo>
                        <a:pt x="439" y="82"/>
                      </a:lnTo>
                      <a:lnTo>
                        <a:pt x="439" y="84"/>
                      </a:lnTo>
                      <a:lnTo>
                        <a:pt x="441" y="84"/>
                      </a:lnTo>
                      <a:lnTo>
                        <a:pt x="443" y="84"/>
                      </a:lnTo>
                      <a:lnTo>
                        <a:pt x="443" y="85"/>
                      </a:lnTo>
                      <a:lnTo>
                        <a:pt x="444" y="85"/>
                      </a:lnTo>
                      <a:lnTo>
                        <a:pt x="444" y="87"/>
                      </a:lnTo>
                      <a:lnTo>
                        <a:pt x="446" y="87"/>
                      </a:lnTo>
                      <a:lnTo>
                        <a:pt x="446" y="89"/>
                      </a:lnTo>
                      <a:lnTo>
                        <a:pt x="448" y="89"/>
                      </a:lnTo>
                      <a:lnTo>
                        <a:pt x="448" y="87"/>
                      </a:lnTo>
                      <a:lnTo>
                        <a:pt x="448" y="85"/>
                      </a:lnTo>
                      <a:lnTo>
                        <a:pt x="448" y="87"/>
                      </a:lnTo>
                      <a:lnTo>
                        <a:pt x="449" y="87"/>
                      </a:lnTo>
                      <a:lnTo>
                        <a:pt x="451" y="87"/>
                      </a:lnTo>
                      <a:lnTo>
                        <a:pt x="451" y="89"/>
                      </a:lnTo>
                      <a:lnTo>
                        <a:pt x="453" y="89"/>
                      </a:lnTo>
                      <a:lnTo>
                        <a:pt x="453" y="90"/>
                      </a:lnTo>
                      <a:lnTo>
                        <a:pt x="453" y="92"/>
                      </a:lnTo>
                      <a:lnTo>
                        <a:pt x="454" y="94"/>
                      </a:lnTo>
                      <a:lnTo>
                        <a:pt x="454" y="92"/>
                      </a:lnTo>
                      <a:lnTo>
                        <a:pt x="456" y="92"/>
                      </a:lnTo>
                      <a:lnTo>
                        <a:pt x="456" y="94"/>
                      </a:lnTo>
                      <a:lnTo>
                        <a:pt x="454" y="94"/>
                      </a:lnTo>
                      <a:lnTo>
                        <a:pt x="454" y="95"/>
                      </a:lnTo>
                      <a:lnTo>
                        <a:pt x="456" y="95"/>
                      </a:lnTo>
                      <a:lnTo>
                        <a:pt x="456" y="97"/>
                      </a:lnTo>
                      <a:lnTo>
                        <a:pt x="456" y="99"/>
                      </a:lnTo>
                      <a:lnTo>
                        <a:pt x="456" y="100"/>
                      </a:lnTo>
                      <a:lnTo>
                        <a:pt x="456" y="102"/>
                      </a:lnTo>
                      <a:lnTo>
                        <a:pt x="458" y="102"/>
                      </a:lnTo>
                      <a:lnTo>
                        <a:pt x="458" y="100"/>
                      </a:lnTo>
                      <a:lnTo>
                        <a:pt x="459" y="102"/>
                      </a:lnTo>
                      <a:lnTo>
                        <a:pt x="461" y="100"/>
                      </a:lnTo>
                      <a:lnTo>
                        <a:pt x="463" y="100"/>
                      </a:lnTo>
                      <a:lnTo>
                        <a:pt x="463" y="99"/>
                      </a:lnTo>
                      <a:lnTo>
                        <a:pt x="465" y="99"/>
                      </a:lnTo>
                      <a:lnTo>
                        <a:pt x="465" y="100"/>
                      </a:lnTo>
                      <a:lnTo>
                        <a:pt x="465" y="102"/>
                      </a:lnTo>
                      <a:lnTo>
                        <a:pt x="465" y="103"/>
                      </a:lnTo>
                      <a:lnTo>
                        <a:pt x="466" y="103"/>
                      </a:lnTo>
                      <a:lnTo>
                        <a:pt x="466" y="102"/>
                      </a:lnTo>
                      <a:lnTo>
                        <a:pt x="466" y="103"/>
                      </a:lnTo>
                      <a:lnTo>
                        <a:pt x="468" y="103"/>
                      </a:lnTo>
                      <a:lnTo>
                        <a:pt x="468" y="102"/>
                      </a:lnTo>
                      <a:lnTo>
                        <a:pt x="470" y="102"/>
                      </a:lnTo>
                      <a:lnTo>
                        <a:pt x="470" y="103"/>
                      </a:lnTo>
                      <a:lnTo>
                        <a:pt x="471" y="103"/>
                      </a:lnTo>
                      <a:lnTo>
                        <a:pt x="471" y="105"/>
                      </a:lnTo>
                      <a:lnTo>
                        <a:pt x="471" y="107"/>
                      </a:lnTo>
                      <a:lnTo>
                        <a:pt x="473" y="107"/>
                      </a:lnTo>
                      <a:lnTo>
                        <a:pt x="473" y="105"/>
                      </a:lnTo>
                      <a:lnTo>
                        <a:pt x="475" y="105"/>
                      </a:lnTo>
                      <a:lnTo>
                        <a:pt x="476" y="107"/>
                      </a:lnTo>
                      <a:lnTo>
                        <a:pt x="476" y="108"/>
                      </a:lnTo>
                      <a:lnTo>
                        <a:pt x="476" y="110"/>
                      </a:lnTo>
                      <a:lnTo>
                        <a:pt x="476" y="108"/>
                      </a:lnTo>
                      <a:lnTo>
                        <a:pt x="478" y="110"/>
                      </a:lnTo>
                      <a:lnTo>
                        <a:pt x="480" y="110"/>
                      </a:lnTo>
                      <a:lnTo>
                        <a:pt x="481" y="110"/>
                      </a:lnTo>
                      <a:lnTo>
                        <a:pt x="481" y="112"/>
                      </a:lnTo>
                      <a:lnTo>
                        <a:pt x="483" y="110"/>
                      </a:lnTo>
                      <a:lnTo>
                        <a:pt x="483" y="108"/>
                      </a:lnTo>
                      <a:lnTo>
                        <a:pt x="481" y="108"/>
                      </a:lnTo>
                      <a:lnTo>
                        <a:pt x="483" y="108"/>
                      </a:lnTo>
                      <a:lnTo>
                        <a:pt x="485" y="108"/>
                      </a:lnTo>
                      <a:lnTo>
                        <a:pt x="485" y="110"/>
                      </a:lnTo>
                      <a:lnTo>
                        <a:pt x="486" y="110"/>
                      </a:lnTo>
                      <a:lnTo>
                        <a:pt x="488" y="108"/>
                      </a:lnTo>
                      <a:lnTo>
                        <a:pt x="488" y="110"/>
                      </a:lnTo>
                      <a:lnTo>
                        <a:pt x="490" y="110"/>
                      </a:lnTo>
                      <a:lnTo>
                        <a:pt x="490" y="112"/>
                      </a:lnTo>
                      <a:lnTo>
                        <a:pt x="490" y="110"/>
                      </a:lnTo>
                      <a:lnTo>
                        <a:pt x="492" y="110"/>
                      </a:lnTo>
                      <a:lnTo>
                        <a:pt x="492" y="108"/>
                      </a:lnTo>
                      <a:lnTo>
                        <a:pt x="492" y="107"/>
                      </a:lnTo>
                      <a:lnTo>
                        <a:pt x="493" y="108"/>
                      </a:lnTo>
                      <a:lnTo>
                        <a:pt x="493" y="110"/>
                      </a:lnTo>
                      <a:lnTo>
                        <a:pt x="492" y="110"/>
                      </a:lnTo>
                      <a:lnTo>
                        <a:pt x="492" y="112"/>
                      </a:lnTo>
                      <a:lnTo>
                        <a:pt x="493" y="112"/>
                      </a:lnTo>
                      <a:lnTo>
                        <a:pt x="495" y="112"/>
                      </a:lnTo>
                      <a:lnTo>
                        <a:pt x="497" y="112"/>
                      </a:lnTo>
                      <a:lnTo>
                        <a:pt x="497" y="110"/>
                      </a:lnTo>
                      <a:lnTo>
                        <a:pt x="498" y="110"/>
                      </a:lnTo>
                      <a:lnTo>
                        <a:pt x="498" y="108"/>
                      </a:lnTo>
                      <a:lnTo>
                        <a:pt x="498" y="110"/>
                      </a:lnTo>
                      <a:lnTo>
                        <a:pt x="498" y="112"/>
                      </a:lnTo>
                      <a:lnTo>
                        <a:pt x="498" y="113"/>
                      </a:lnTo>
                      <a:lnTo>
                        <a:pt x="498" y="115"/>
                      </a:lnTo>
                      <a:lnTo>
                        <a:pt x="497" y="115"/>
                      </a:lnTo>
                      <a:lnTo>
                        <a:pt x="498" y="117"/>
                      </a:lnTo>
                      <a:lnTo>
                        <a:pt x="500" y="115"/>
                      </a:lnTo>
                      <a:lnTo>
                        <a:pt x="502" y="115"/>
                      </a:lnTo>
                      <a:lnTo>
                        <a:pt x="503" y="113"/>
                      </a:lnTo>
                      <a:lnTo>
                        <a:pt x="503" y="115"/>
                      </a:lnTo>
                      <a:lnTo>
                        <a:pt x="505" y="115"/>
                      </a:lnTo>
                      <a:lnTo>
                        <a:pt x="507" y="115"/>
                      </a:lnTo>
                      <a:lnTo>
                        <a:pt x="508" y="115"/>
                      </a:lnTo>
                      <a:lnTo>
                        <a:pt x="508" y="117"/>
                      </a:lnTo>
                      <a:lnTo>
                        <a:pt x="508" y="118"/>
                      </a:lnTo>
                      <a:lnTo>
                        <a:pt x="507" y="118"/>
                      </a:lnTo>
                      <a:lnTo>
                        <a:pt x="507" y="120"/>
                      </a:lnTo>
                      <a:lnTo>
                        <a:pt x="507" y="122"/>
                      </a:lnTo>
                      <a:lnTo>
                        <a:pt x="508" y="122"/>
                      </a:lnTo>
                      <a:lnTo>
                        <a:pt x="510" y="122"/>
                      </a:lnTo>
                      <a:lnTo>
                        <a:pt x="510" y="123"/>
                      </a:lnTo>
                      <a:lnTo>
                        <a:pt x="510" y="125"/>
                      </a:lnTo>
                      <a:lnTo>
                        <a:pt x="508" y="125"/>
                      </a:lnTo>
                      <a:lnTo>
                        <a:pt x="508" y="126"/>
                      </a:lnTo>
                      <a:lnTo>
                        <a:pt x="508" y="128"/>
                      </a:lnTo>
                      <a:lnTo>
                        <a:pt x="510" y="128"/>
                      </a:lnTo>
                      <a:lnTo>
                        <a:pt x="510" y="126"/>
                      </a:lnTo>
                      <a:lnTo>
                        <a:pt x="512" y="126"/>
                      </a:lnTo>
                      <a:lnTo>
                        <a:pt x="513" y="126"/>
                      </a:lnTo>
                      <a:lnTo>
                        <a:pt x="515" y="125"/>
                      </a:lnTo>
                      <a:lnTo>
                        <a:pt x="517" y="125"/>
                      </a:lnTo>
                      <a:lnTo>
                        <a:pt x="519" y="125"/>
                      </a:lnTo>
                      <a:lnTo>
                        <a:pt x="519" y="126"/>
                      </a:lnTo>
                      <a:lnTo>
                        <a:pt x="520" y="126"/>
                      </a:lnTo>
                      <a:lnTo>
                        <a:pt x="520" y="128"/>
                      </a:lnTo>
                      <a:lnTo>
                        <a:pt x="522" y="128"/>
                      </a:lnTo>
                      <a:lnTo>
                        <a:pt x="522" y="130"/>
                      </a:lnTo>
                      <a:lnTo>
                        <a:pt x="522" y="131"/>
                      </a:lnTo>
                      <a:lnTo>
                        <a:pt x="522" y="133"/>
                      </a:lnTo>
                      <a:lnTo>
                        <a:pt x="520" y="133"/>
                      </a:lnTo>
                      <a:lnTo>
                        <a:pt x="519" y="133"/>
                      </a:lnTo>
                      <a:lnTo>
                        <a:pt x="517" y="133"/>
                      </a:lnTo>
                      <a:lnTo>
                        <a:pt x="517" y="135"/>
                      </a:lnTo>
                      <a:lnTo>
                        <a:pt x="517" y="136"/>
                      </a:lnTo>
                      <a:lnTo>
                        <a:pt x="517" y="140"/>
                      </a:lnTo>
                      <a:lnTo>
                        <a:pt x="517" y="141"/>
                      </a:lnTo>
                      <a:lnTo>
                        <a:pt x="519" y="141"/>
                      </a:lnTo>
                      <a:lnTo>
                        <a:pt x="519" y="143"/>
                      </a:lnTo>
                      <a:lnTo>
                        <a:pt x="520" y="143"/>
                      </a:lnTo>
                      <a:lnTo>
                        <a:pt x="520" y="145"/>
                      </a:lnTo>
                      <a:lnTo>
                        <a:pt x="519" y="145"/>
                      </a:lnTo>
                      <a:lnTo>
                        <a:pt x="519" y="146"/>
                      </a:lnTo>
                      <a:lnTo>
                        <a:pt x="519" y="148"/>
                      </a:lnTo>
                      <a:lnTo>
                        <a:pt x="520" y="148"/>
                      </a:lnTo>
                      <a:lnTo>
                        <a:pt x="520" y="149"/>
                      </a:lnTo>
                      <a:lnTo>
                        <a:pt x="520" y="151"/>
                      </a:lnTo>
                      <a:lnTo>
                        <a:pt x="520" y="153"/>
                      </a:lnTo>
                      <a:lnTo>
                        <a:pt x="522" y="154"/>
                      </a:lnTo>
                      <a:lnTo>
                        <a:pt x="524" y="154"/>
                      </a:lnTo>
                      <a:lnTo>
                        <a:pt x="524" y="156"/>
                      </a:lnTo>
                      <a:lnTo>
                        <a:pt x="525" y="156"/>
                      </a:lnTo>
                      <a:lnTo>
                        <a:pt x="525" y="158"/>
                      </a:lnTo>
                      <a:lnTo>
                        <a:pt x="529" y="159"/>
                      </a:lnTo>
                      <a:lnTo>
                        <a:pt x="530" y="159"/>
                      </a:lnTo>
                      <a:lnTo>
                        <a:pt x="532" y="161"/>
                      </a:lnTo>
                      <a:lnTo>
                        <a:pt x="534" y="163"/>
                      </a:lnTo>
                      <a:lnTo>
                        <a:pt x="535" y="164"/>
                      </a:lnTo>
                      <a:lnTo>
                        <a:pt x="537" y="166"/>
                      </a:lnTo>
                      <a:lnTo>
                        <a:pt x="539" y="166"/>
                      </a:lnTo>
                      <a:lnTo>
                        <a:pt x="541" y="168"/>
                      </a:lnTo>
                      <a:lnTo>
                        <a:pt x="542" y="168"/>
                      </a:lnTo>
                      <a:lnTo>
                        <a:pt x="542" y="169"/>
                      </a:lnTo>
                      <a:lnTo>
                        <a:pt x="542" y="171"/>
                      </a:lnTo>
                      <a:lnTo>
                        <a:pt x="544" y="171"/>
                      </a:lnTo>
                      <a:lnTo>
                        <a:pt x="546" y="172"/>
                      </a:lnTo>
                      <a:lnTo>
                        <a:pt x="546" y="174"/>
                      </a:lnTo>
                      <a:lnTo>
                        <a:pt x="547" y="176"/>
                      </a:lnTo>
                      <a:lnTo>
                        <a:pt x="547" y="174"/>
                      </a:lnTo>
                      <a:lnTo>
                        <a:pt x="549" y="174"/>
                      </a:lnTo>
                      <a:lnTo>
                        <a:pt x="549" y="176"/>
                      </a:lnTo>
                      <a:lnTo>
                        <a:pt x="549" y="177"/>
                      </a:lnTo>
                      <a:lnTo>
                        <a:pt x="549" y="179"/>
                      </a:lnTo>
                      <a:lnTo>
                        <a:pt x="549" y="181"/>
                      </a:lnTo>
                      <a:lnTo>
                        <a:pt x="547" y="181"/>
                      </a:lnTo>
                      <a:lnTo>
                        <a:pt x="547" y="182"/>
                      </a:lnTo>
                      <a:lnTo>
                        <a:pt x="546" y="184"/>
                      </a:lnTo>
                      <a:lnTo>
                        <a:pt x="546" y="186"/>
                      </a:lnTo>
                      <a:lnTo>
                        <a:pt x="546" y="187"/>
                      </a:lnTo>
                      <a:lnTo>
                        <a:pt x="546" y="189"/>
                      </a:lnTo>
                      <a:lnTo>
                        <a:pt x="546" y="190"/>
                      </a:lnTo>
                      <a:lnTo>
                        <a:pt x="544" y="190"/>
                      </a:lnTo>
                      <a:lnTo>
                        <a:pt x="544" y="192"/>
                      </a:lnTo>
                      <a:lnTo>
                        <a:pt x="544" y="194"/>
                      </a:lnTo>
                      <a:lnTo>
                        <a:pt x="546" y="194"/>
                      </a:lnTo>
                      <a:lnTo>
                        <a:pt x="546" y="195"/>
                      </a:lnTo>
                      <a:lnTo>
                        <a:pt x="544" y="197"/>
                      </a:lnTo>
                      <a:lnTo>
                        <a:pt x="544" y="199"/>
                      </a:lnTo>
                      <a:lnTo>
                        <a:pt x="544" y="200"/>
                      </a:lnTo>
                      <a:lnTo>
                        <a:pt x="544" y="202"/>
                      </a:lnTo>
                      <a:lnTo>
                        <a:pt x="544" y="204"/>
                      </a:lnTo>
                      <a:lnTo>
                        <a:pt x="544" y="205"/>
                      </a:lnTo>
                      <a:lnTo>
                        <a:pt x="544" y="207"/>
                      </a:lnTo>
                      <a:lnTo>
                        <a:pt x="546" y="207"/>
                      </a:lnTo>
                      <a:lnTo>
                        <a:pt x="546" y="209"/>
                      </a:lnTo>
                      <a:lnTo>
                        <a:pt x="547" y="209"/>
                      </a:lnTo>
                      <a:lnTo>
                        <a:pt x="547" y="210"/>
                      </a:lnTo>
                      <a:lnTo>
                        <a:pt x="547" y="212"/>
                      </a:lnTo>
                      <a:lnTo>
                        <a:pt x="549" y="212"/>
                      </a:lnTo>
                      <a:lnTo>
                        <a:pt x="549" y="213"/>
                      </a:lnTo>
                      <a:lnTo>
                        <a:pt x="551" y="215"/>
                      </a:lnTo>
                      <a:lnTo>
                        <a:pt x="549" y="217"/>
                      </a:lnTo>
                      <a:lnTo>
                        <a:pt x="549" y="218"/>
                      </a:lnTo>
                      <a:lnTo>
                        <a:pt x="551" y="218"/>
                      </a:lnTo>
                      <a:lnTo>
                        <a:pt x="551" y="222"/>
                      </a:lnTo>
                      <a:lnTo>
                        <a:pt x="552" y="222"/>
                      </a:lnTo>
                      <a:lnTo>
                        <a:pt x="552" y="223"/>
                      </a:lnTo>
                      <a:lnTo>
                        <a:pt x="554" y="223"/>
                      </a:lnTo>
                      <a:lnTo>
                        <a:pt x="554" y="225"/>
                      </a:lnTo>
                      <a:lnTo>
                        <a:pt x="556" y="225"/>
                      </a:lnTo>
                      <a:lnTo>
                        <a:pt x="556" y="227"/>
                      </a:lnTo>
                      <a:lnTo>
                        <a:pt x="556" y="228"/>
                      </a:lnTo>
                      <a:lnTo>
                        <a:pt x="557" y="230"/>
                      </a:lnTo>
                      <a:lnTo>
                        <a:pt x="559" y="230"/>
                      </a:lnTo>
                      <a:lnTo>
                        <a:pt x="559" y="232"/>
                      </a:lnTo>
                      <a:lnTo>
                        <a:pt x="559" y="233"/>
                      </a:lnTo>
                      <a:lnTo>
                        <a:pt x="559" y="235"/>
                      </a:lnTo>
                      <a:lnTo>
                        <a:pt x="561" y="235"/>
                      </a:lnTo>
                      <a:lnTo>
                        <a:pt x="561" y="236"/>
                      </a:lnTo>
                      <a:lnTo>
                        <a:pt x="562" y="236"/>
                      </a:lnTo>
                      <a:lnTo>
                        <a:pt x="562" y="238"/>
                      </a:lnTo>
                      <a:lnTo>
                        <a:pt x="562" y="240"/>
                      </a:lnTo>
                      <a:lnTo>
                        <a:pt x="562" y="241"/>
                      </a:lnTo>
                      <a:lnTo>
                        <a:pt x="562" y="243"/>
                      </a:lnTo>
                      <a:lnTo>
                        <a:pt x="562" y="245"/>
                      </a:lnTo>
                      <a:lnTo>
                        <a:pt x="564" y="245"/>
                      </a:lnTo>
                      <a:lnTo>
                        <a:pt x="564" y="246"/>
                      </a:lnTo>
                      <a:lnTo>
                        <a:pt x="564" y="248"/>
                      </a:lnTo>
                      <a:lnTo>
                        <a:pt x="566" y="250"/>
                      </a:lnTo>
                      <a:lnTo>
                        <a:pt x="566" y="253"/>
                      </a:lnTo>
                      <a:lnTo>
                        <a:pt x="568" y="253"/>
                      </a:lnTo>
                      <a:lnTo>
                        <a:pt x="569" y="253"/>
                      </a:lnTo>
                      <a:lnTo>
                        <a:pt x="571" y="253"/>
                      </a:lnTo>
                      <a:lnTo>
                        <a:pt x="573" y="253"/>
                      </a:lnTo>
                      <a:lnTo>
                        <a:pt x="574" y="253"/>
                      </a:lnTo>
                      <a:lnTo>
                        <a:pt x="574" y="255"/>
                      </a:lnTo>
                      <a:lnTo>
                        <a:pt x="574" y="256"/>
                      </a:lnTo>
                      <a:lnTo>
                        <a:pt x="576" y="256"/>
                      </a:lnTo>
                      <a:lnTo>
                        <a:pt x="578" y="258"/>
                      </a:lnTo>
                      <a:lnTo>
                        <a:pt x="583" y="261"/>
                      </a:lnTo>
                      <a:lnTo>
                        <a:pt x="583" y="263"/>
                      </a:lnTo>
                      <a:lnTo>
                        <a:pt x="584" y="264"/>
                      </a:lnTo>
                      <a:lnTo>
                        <a:pt x="586" y="266"/>
                      </a:lnTo>
                      <a:lnTo>
                        <a:pt x="588" y="266"/>
                      </a:lnTo>
                      <a:lnTo>
                        <a:pt x="590" y="266"/>
                      </a:lnTo>
                      <a:lnTo>
                        <a:pt x="590" y="268"/>
                      </a:lnTo>
                      <a:lnTo>
                        <a:pt x="590" y="269"/>
                      </a:lnTo>
                      <a:lnTo>
                        <a:pt x="590" y="271"/>
                      </a:lnTo>
                      <a:lnTo>
                        <a:pt x="590" y="273"/>
                      </a:lnTo>
                      <a:lnTo>
                        <a:pt x="588" y="273"/>
                      </a:lnTo>
                      <a:lnTo>
                        <a:pt x="588" y="274"/>
                      </a:lnTo>
                      <a:lnTo>
                        <a:pt x="588" y="276"/>
                      </a:lnTo>
                      <a:lnTo>
                        <a:pt x="590" y="278"/>
                      </a:lnTo>
                      <a:lnTo>
                        <a:pt x="590" y="279"/>
                      </a:lnTo>
                      <a:lnTo>
                        <a:pt x="588" y="281"/>
                      </a:lnTo>
                      <a:lnTo>
                        <a:pt x="588" y="282"/>
                      </a:lnTo>
                      <a:lnTo>
                        <a:pt x="590" y="282"/>
                      </a:lnTo>
                      <a:lnTo>
                        <a:pt x="590" y="284"/>
                      </a:lnTo>
                      <a:lnTo>
                        <a:pt x="588" y="284"/>
                      </a:lnTo>
                      <a:lnTo>
                        <a:pt x="590" y="287"/>
                      </a:lnTo>
                      <a:lnTo>
                        <a:pt x="591" y="287"/>
                      </a:lnTo>
                      <a:lnTo>
                        <a:pt x="591" y="289"/>
                      </a:lnTo>
                      <a:lnTo>
                        <a:pt x="591" y="291"/>
                      </a:lnTo>
                      <a:lnTo>
                        <a:pt x="595" y="292"/>
                      </a:lnTo>
                      <a:lnTo>
                        <a:pt x="595" y="294"/>
                      </a:lnTo>
                      <a:lnTo>
                        <a:pt x="596" y="294"/>
                      </a:lnTo>
                      <a:lnTo>
                        <a:pt x="598" y="292"/>
                      </a:lnTo>
                      <a:lnTo>
                        <a:pt x="600" y="292"/>
                      </a:lnTo>
                      <a:lnTo>
                        <a:pt x="603" y="292"/>
                      </a:lnTo>
                      <a:lnTo>
                        <a:pt x="605" y="292"/>
                      </a:lnTo>
                      <a:lnTo>
                        <a:pt x="605" y="294"/>
                      </a:lnTo>
                      <a:lnTo>
                        <a:pt x="605" y="296"/>
                      </a:lnTo>
                      <a:lnTo>
                        <a:pt x="606" y="296"/>
                      </a:lnTo>
                      <a:lnTo>
                        <a:pt x="606" y="297"/>
                      </a:lnTo>
                      <a:lnTo>
                        <a:pt x="606" y="299"/>
                      </a:lnTo>
                      <a:lnTo>
                        <a:pt x="606" y="301"/>
                      </a:lnTo>
                      <a:lnTo>
                        <a:pt x="606" y="302"/>
                      </a:lnTo>
                      <a:lnTo>
                        <a:pt x="608" y="304"/>
                      </a:lnTo>
                      <a:lnTo>
                        <a:pt x="608" y="305"/>
                      </a:lnTo>
                      <a:lnTo>
                        <a:pt x="608" y="307"/>
                      </a:lnTo>
                      <a:lnTo>
                        <a:pt x="606" y="307"/>
                      </a:lnTo>
                      <a:lnTo>
                        <a:pt x="606" y="310"/>
                      </a:lnTo>
                      <a:lnTo>
                        <a:pt x="605" y="310"/>
                      </a:lnTo>
                      <a:lnTo>
                        <a:pt x="605" y="312"/>
                      </a:lnTo>
                      <a:lnTo>
                        <a:pt x="605" y="314"/>
                      </a:lnTo>
                      <a:lnTo>
                        <a:pt x="606" y="314"/>
                      </a:lnTo>
                      <a:lnTo>
                        <a:pt x="605" y="315"/>
                      </a:lnTo>
                      <a:lnTo>
                        <a:pt x="605" y="317"/>
                      </a:lnTo>
                      <a:lnTo>
                        <a:pt x="603" y="317"/>
                      </a:lnTo>
                      <a:lnTo>
                        <a:pt x="603" y="319"/>
                      </a:lnTo>
                      <a:lnTo>
                        <a:pt x="605" y="319"/>
                      </a:lnTo>
                      <a:lnTo>
                        <a:pt x="606" y="319"/>
                      </a:lnTo>
                      <a:lnTo>
                        <a:pt x="608" y="317"/>
                      </a:lnTo>
                      <a:lnTo>
                        <a:pt x="610" y="317"/>
                      </a:lnTo>
                      <a:lnTo>
                        <a:pt x="611" y="317"/>
                      </a:lnTo>
                      <a:lnTo>
                        <a:pt x="611" y="315"/>
                      </a:lnTo>
                      <a:lnTo>
                        <a:pt x="613" y="315"/>
                      </a:lnTo>
                      <a:lnTo>
                        <a:pt x="613" y="317"/>
                      </a:lnTo>
                      <a:lnTo>
                        <a:pt x="615" y="317"/>
                      </a:lnTo>
                      <a:lnTo>
                        <a:pt x="615" y="319"/>
                      </a:lnTo>
                      <a:lnTo>
                        <a:pt x="617" y="320"/>
                      </a:lnTo>
                      <a:lnTo>
                        <a:pt x="617" y="324"/>
                      </a:lnTo>
                      <a:lnTo>
                        <a:pt x="615" y="324"/>
                      </a:lnTo>
                      <a:lnTo>
                        <a:pt x="613" y="324"/>
                      </a:lnTo>
                      <a:lnTo>
                        <a:pt x="613" y="325"/>
                      </a:lnTo>
                      <a:lnTo>
                        <a:pt x="613" y="327"/>
                      </a:lnTo>
                      <a:lnTo>
                        <a:pt x="615" y="327"/>
                      </a:lnTo>
                      <a:lnTo>
                        <a:pt x="615" y="328"/>
                      </a:lnTo>
                      <a:lnTo>
                        <a:pt x="615" y="332"/>
                      </a:lnTo>
                      <a:lnTo>
                        <a:pt x="615" y="333"/>
                      </a:lnTo>
                      <a:lnTo>
                        <a:pt x="615" y="335"/>
                      </a:lnTo>
                      <a:lnTo>
                        <a:pt x="613" y="335"/>
                      </a:lnTo>
                      <a:lnTo>
                        <a:pt x="615" y="337"/>
                      </a:lnTo>
                      <a:lnTo>
                        <a:pt x="617" y="335"/>
                      </a:lnTo>
                      <a:lnTo>
                        <a:pt x="618" y="335"/>
                      </a:lnTo>
                      <a:lnTo>
                        <a:pt x="618" y="337"/>
                      </a:lnTo>
                      <a:lnTo>
                        <a:pt x="620" y="337"/>
                      </a:lnTo>
                      <a:lnTo>
                        <a:pt x="622" y="338"/>
                      </a:lnTo>
                      <a:lnTo>
                        <a:pt x="623" y="342"/>
                      </a:lnTo>
                      <a:lnTo>
                        <a:pt x="625" y="342"/>
                      </a:lnTo>
                      <a:lnTo>
                        <a:pt x="627" y="342"/>
                      </a:lnTo>
                      <a:lnTo>
                        <a:pt x="628" y="343"/>
                      </a:lnTo>
                      <a:lnTo>
                        <a:pt x="630" y="343"/>
                      </a:lnTo>
                      <a:lnTo>
                        <a:pt x="632" y="343"/>
                      </a:lnTo>
                      <a:lnTo>
                        <a:pt x="633" y="343"/>
                      </a:lnTo>
                      <a:lnTo>
                        <a:pt x="635" y="343"/>
                      </a:lnTo>
                      <a:lnTo>
                        <a:pt x="637" y="343"/>
                      </a:lnTo>
                      <a:lnTo>
                        <a:pt x="638" y="343"/>
                      </a:lnTo>
                      <a:lnTo>
                        <a:pt x="640" y="345"/>
                      </a:lnTo>
                      <a:lnTo>
                        <a:pt x="642" y="345"/>
                      </a:lnTo>
                      <a:lnTo>
                        <a:pt x="644" y="345"/>
                      </a:lnTo>
                      <a:lnTo>
                        <a:pt x="644" y="347"/>
                      </a:lnTo>
                      <a:lnTo>
                        <a:pt x="645" y="348"/>
                      </a:lnTo>
                      <a:lnTo>
                        <a:pt x="644" y="350"/>
                      </a:lnTo>
                      <a:lnTo>
                        <a:pt x="644" y="351"/>
                      </a:lnTo>
                      <a:lnTo>
                        <a:pt x="645" y="351"/>
                      </a:lnTo>
                      <a:lnTo>
                        <a:pt x="647" y="353"/>
                      </a:lnTo>
                      <a:lnTo>
                        <a:pt x="649" y="353"/>
                      </a:lnTo>
                      <a:lnTo>
                        <a:pt x="650" y="353"/>
                      </a:lnTo>
                      <a:lnTo>
                        <a:pt x="650" y="351"/>
                      </a:lnTo>
                      <a:lnTo>
                        <a:pt x="649" y="350"/>
                      </a:lnTo>
                      <a:lnTo>
                        <a:pt x="649" y="348"/>
                      </a:lnTo>
                      <a:lnTo>
                        <a:pt x="650" y="347"/>
                      </a:lnTo>
                      <a:lnTo>
                        <a:pt x="652" y="347"/>
                      </a:lnTo>
                      <a:lnTo>
                        <a:pt x="654" y="347"/>
                      </a:lnTo>
                      <a:lnTo>
                        <a:pt x="655" y="347"/>
                      </a:lnTo>
                      <a:lnTo>
                        <a:pt x="655" y="345"/>
                      </a:lnTo>
                      <a:lnTo>
                        <a:pt x="655" y="343"/>
                      </a:lnTo>
                      <a:lnTo>
                        <a:pt x="655" y="342"/>
                      </a:lnTo>
                      <a:lnTo>
                        <a:pt x="657" y="342"/>
                      </a:lnTo>
                      <a:lnTo>
                        <a:pt x="657" y="343"/>
                      </a:lnTo>
                      <a:lnTo>
                        <a:pt x="659" y="343"/>
                      </a:lnTo>
                      <a:lnTo>
                        <a:pt x="657" y="345"/>
                      </a:lnTo>
                      <a:lnTo>
                        <a:pt x="657" y="347"/>
                      </a:lnTo>
                      <a:lnTo>
                        <a:pt x="659" y="347"/>
                      </a:lnTo>
                      <a:lnTo>
                        <a:pt x="660" y="347"/>
                      </a:lnTo>
                      <a:lnTo>
                        <a:pt x="660" y="345"/>
                      </a:lnTo>
                      <a:lnTo>
                        <a:pt x="660" y="343"/>
                      </a:lnTo>
                      <a:lnTo>
                        <a:pt x="662" y="343"/>
                      </a:lnTo>
                      <a:lnTo>
                        <a:pt x="662" y="345"/>
                      </a:lnTo>
                      <a:lnTo>
                        <a:pt x="664" y="345"/>
                      </a:lnTo>
                      <a:lnTo>
                        <a:pt x="664" y="347"/>
                      </a:lnTo>
                      <a:lnTo>
                        <a:pt x="666" y="347"/>
                      </a:lnTo>
                      <a:lnTo>
                        <a:pt x="671" y="347"/>
                      </a:lnTo>
                      <a:lnTo>
                        <a:pt x="672" y="345"/>
                      </a:lnTo>
                      <a:lnTo>
                        <a:pt x="674" y="345"/>
                      </a:lnTo>
                      <a:lnTo>
                        <a:pt x="676" y="345"/>
                      </a:lnTo>
                      <a:lnTo>
                        <a:pt x="676" y="343"/>
                      </a:lnTo>
                      <a:lnTo>
                        <a:pt x="677" y="342"/>
                      </a:lnTo>
                      <a:lnTo>
                        <a:pt x="681" y="338"/>
                      </a:lnTo>
                      <a:lnTo>
                        <a:pt x="682" y="337"/>
                      </a:lnTo>
                      <a:lnTo>
                        <a:pt x="684" y="335"/>
                      </a:lnTo>
                      <a:lnTo>
                        <a:pt x="684" y="332"/>
                      </a:lnTo>
                      <a:lnTo>
                        <a:pt x="684" y="328"/>
                      </a:lnTo>
                      <a:lnTo>
                        <a:pt x="684" y="324"/>
                      </a:lnTo>
                      <a:lnTo>
                        <a:pt x="684" y="322"/>
                      </a:lnTo>
                      <a:lnTo>
                        <a:pt x="684" y="320"/>
                      </a:lnTo>
                      <a:lnTo>
                        <a:pt x="684" y="319"/>
                      </a:lnTo>
                      <a:lnTo>
                        <a:pt x="684" y="317"/>
                      </a:lnTo>
                      <a:lnTo>
                        <a:pt x="684" y="315"/>
                      </a:lnTo>
                      <a:lnTo>
                        <a:pt x="684" y="314"/>
                      </a:lnTo>
                      <a:lnTo>
                        <a:pt x="684" y="312"/>
                      </a:lnTo>
                      <a:lnTo>
                        <a:pt x="686" y="312"/>
                      </a:lnTo>
                      <a:lnTo>
                        <a:pt x="686" y="310"/>
                      </a:lnTo>
                      <a:lnTo>
                        <a:pt x="686" y="309"/>
                      </a:lnTo>
                      <a:lnTo>
                        <a:pt x="687" y="309"/>
                      </a:lnTo>
                      <a:lnTo>
                        <a:pt x="689" y="304"/>
                      </a:lnTo>
                      <a:lnTo>
                        <a:pt x="691" y="302"/>
                      </a:lnTo>
                      <a:lnTo>
                        <a:pt x="691" y="301"/>
                      </a:lnTo>
                      <a:lnTo>
                        <a:pt x="693" y="299"/>
                      </a:lnTo>
                      <a:lnTo>
                        <a:pt x="696" y="297"/>
                      </a:lnTo>
                      <a:lnTo>
                        <a:pt x="699" y="292"/>
                      </a:lnTo>
                      <a:lnTo>
                        <a:pt x="701" y="291"/>
                      </a:lnTo>
                      <a:lnTo>
                        <a:pt x="703" y="291"/>
                      </a:lnTo>
                      <a:lnTo>
                        <a:pt x="703" y="289"/>
                      </a:lnTo>
                      <a:lnTo>
                        <a:pt x="704" y="289"/>
                      </a:lnTo>
                      <a:lnTo>
                        <a:pt x="706" y="287"/>
                      </a:lnTo>
                      <a:lnTo>
                        <a:pt x="706" y="286"/>
                      </a:lnTo>
                      <a:lnTo>
                        <a:pt x="708" y="282"/>
                      </a:lnTo>
                      <a:lnTo>
                        <a:pt x="709" y="282"/>
                      </a:lnTo>
                      <a:lnTo>
                        <a:pt x="709" y="279"/>
                      </a:lnTo>
                      <a:lnTo>
                        <a:pt x="709" y="278"/>
                      </a:lnTo>
                      <a:lnTo>
                        <a:pt x="711" y="278"/>
                      </a:lnTo>
                      <a:lnTo>
                        <a:pt x="711" y="276"/>
                      </a:lnTo>
                      <a:lnTo>
                        <a:pt x="714" y="274"/>
                      </a:lnTo>
                      <a:lnTo>
                        <a:pt x="714" y="273"/>
                      </a:lnTo>
                      <a:lnTo>
                        <a:pt x="716" y="268"/>
                      </a:lnTo>
                      <a:lnTo>
                        <a:pt x="716" y="266"/>
                      </a:lnTo>
                      <a:lnTo>
                        <a:pt x="718" y="266"/>
                      </a:lnTo>
                      <a:lnTo>
                        <a:pt x="718" y="264"/>
                      </a:lnTo>
                      <a:lnTo>
                        <a:pt x="720" y="263"/>
                      </a:lnTo>
                      <a:lnTo>
                        <a:pt x="721" y="263"/>
                      </a:lnTo>
                      <a:lnTo>
                        <a:pt x="721" y="261"/>
                      </a:lnTo>
                      <a:lnTo>
                        <a:pt x="721" y="259"/>
                      </a:lnTo>
                      <a:lnTo>
                        <a:pt x="725" y="256"/>
                      </a:lnTo>
                      <a:lnTo>
                        <a:pt x="726" y="253"/>
                      </a:lnTo>
                      <a:lnTo>
                        <a:pt x="728" y="251"/>
                      </a:lnTo>
                      <a:lnTo>
                        <a:pt x="730" y="250"/>
                      </a:lnTo>
                      <a:lnTo>
                        <a:pt x="731" y="250"/>
                      </a:lnTo>
                      <a:lnTo>
                        <a:pt x="733" y="248"/>
                      </a:lnTo>
                      <a:lnTo>
                        <a:pt x="735" y="248"/>
                      </a:lnTo>
                      <a:lnTo>
                        <a:pt x="736" y="248"/>
                      </a:lnTo>
                      <a:lnTo>
                        <a:pt x="738" y="248"/>
                      </a:lnTo>
                      <a:lnTo>
                        <a:pt x="740" y="248"/>
                      </a:lnTo>
                      <a:lnTo>
                        <a:pt x="740" y="246"/>
                      </a:lnTo>
                      <a:lnTo>
                        <a:pt x="740" y="248"/>
                      </a:lnTo>
                      <a:lnTo>
                        <a:pt x="742" y="246"/>
                      </a:lnTo>
                      <a:lnTo>
                        <a:pt x="743" y="246"/>
                      </a:lnTo>
                      <a:lnTo>
                        <a:pt x="743" y="245"/>
                      </a:lnTo>
                      <a:lnTo>
                        <a:pt x="745" y="243"/>
                      </a:lnTo>
                      <a:lnTo>
                        <a:pt x="748" y="240"/>
                      </a:lnTo>
                      <a:lnTo>
                        <a:pt x="750" y="240"/>
                      </a:lnTo>
                      <a:lnTo>
                        <a:pt x="750" y="238"/>
                      </a:lnTo>
                      <a:lnTo>
                        <a:pt x="752" y="236"/>
                      </a:lnTo>
                      <a:lnTo>
                        <a:pt x="752" y="235"/>
                      </a:lnTo>
                      <a:lnTo>
                        <a:pt x="753" y="233"/>
                      </a:lnTo>
                      <a:lnTo>
                        <a:pt x="755" y="233"/>
                      </a:lnTo>
                      <a:lnTo>
                        <a:pt x="757" y="232"/>
                      </a:lnTo>
                      <a:lnTo>
                        <a:pt x="769" y="228"/>
                      </a:lnTo>
                      <a:lnTo>
                        <a:pt x="772" y="228"/>
                      </a:lnTo>
                      <a:lnTo>
                        <a:pt x="774" y="227"/>
                      </a:lnTo>
                      <a:lnTo>
                        <a:pt x="775" y="225"/>
                      </a:lnTo>
                      <a:lnTo>
                        <a:pt x="777" y="223"/>
                      </a:lnTo>
                      <a:lnTo>
                        <a:pt x="780" y="223"/>
                      </a:lnTo>
                      <a:lnTo>
                        <a:pt x="780" y="222"/>
                      </a:lnTo>
                      <a:lnTo>
                        <a:pt x="782" y="220"/>
                      </a:lnTo>
                      <a:lnTo>
                        <a:pt x="784" y="218"/>
                      </a:lnTo>
                      <a:lnTo>
                        <a:pt x="785" y="218"/>
                      </a:lnTo>
                      <a:lnTo>
                        <a:pt x="785" y="217"/>
                      </a:lnTo>
                      <a:lnTo>
                        <a:pt x="787" y="217"/>
                      </a:lnTo>
                      <a:lnTo>
                        <a:pt x="787" y="215"/>
                      </a:lnTo>
                      <a:lnTo>
                        <a:pt x="789" y="213"/>
                      </a:lnTo>
                      <a:lnTo>
                        <a:pt x="792" y="210"/>
                      </a:lnTo>
                      <a:lnTo>
                        <a:pt x="792" y="209"/>
                      </a:lnTo>
                      <a:lnTo>
                        <a:pt x="794" y="207"/>
                      </a:lnTo>
                      <a:lnTo>
                        <a:pt x="794" y="205"/>
                      </a:lnTo>
                      <a:lnTo>
                        <a:pt x="796" y="202"/>
                      </a:lnTo>
                      <a:lnTo>
                        <a:pt x="796" y="200"/>
                      </a:lnTo>
                      <a:lnTo>
                        <a:pt x="797" y="199"/>
                      </a:lnTo>
                      <a:lnTo>
                        <a:pt x="797" y="197"/>
                      </a:lnTo>
                      <a:lnTo>
                        <a:pt x="799" y="194"/>
                      </a:lnTo>
                      <a:lnTo>
                        <a:pt x="799" y="192"/>
                      </a:lnTo>
                      <a:lnTo>
                        <a:pt x="801" y="190"/>
                      </a:lnTo>
                      <a:lnTo>
                        <a:pt x="801" y="187"/>
                      </a:lnTo>
                      <a:lnTo>
                        <a:pt x="802" y="186"/>
                      </a:lnTo>
                      <a:lnTo>
                        <a:pt x="802" y="184"/>
                      </a:lnTo>
                      <a:lnTo>
                        <a:pt x="804" y="182"/>
                      </a:lnTo>
                      <a:lnTo>
                        <a:pt x="806" y="182"/>
                      </a:lnTo>
                      <a:lnTo>
                        <a:pt x="807" y="181"/>
                      </a:lnTo>
                      <a:lnTo>
                        <a:pt x="811" y="177"/>
                      </a:lnTo>
                      <a:lnTo>
                        <a:pt x="812" y="177"/>
                      </a:lnTo>
                      <a:lnTo>
                        <a:pt x="814" y="177"/>
                      </a:lnTo>
                      <a:lnTo>
                        <a:pt x="819" y="176"/>
                      </a:lnTo>
                      <a:lnTo>
                        <a:pt x="826" y="174"/>
                      </a:lnTo>
                      <a:lnTo>
                        <a:pt x="829" y="174"/>
                      </a:lnTo>
                      <a:lnTo>
                        <a:pt x="831" y="174"/>
                      </a:lnTo>
                      <a:lnTo>
                        <a:pt x="833" y="174"/>
                      </a:lnTo>
                      <a:lnTo>
                        <a:pt x="834" y="174"/>
                      </a:lnTo>
                      <a:lnTo>
                        <a:pt x="836" y="174"/>
                      </a:lnTo>
                      <a:lnTo>
                        <a:pt x="836" y="179"/>
                      </a:lnTo>
                      <a:lnTo>
                        <a:pt x="838" y="181"/>
                      </a:lnTo>
                      <a:lnTo>
                        <a:pt x="838" y="182"/>
                      </a:lnTo>
                      <a:lnTo>
                        <a:pt x="839" y="182"/>
                      </a:lnTo>
                      <a:lnTo>
                        <a:pt x="839" y="186"/>
                      </a:lnTo>
                      <a:lnTo>
                        <a:pt x="841" y="186"/>
                      </a:lnTo>
                      <a:lnTo>
                        <a:pt x="841" y="189"/>
                      </a:lnTo>
                      <a:lnTo>
                        <a:pt x="841" y="190"/>
                      </a:lnTo>
                      <a:lnTo>
                        <a:pt x="841" y="192"/>
                      </a:lnTo>
                      <a:lnTo>
                        <a:pt x="839" y="194"/>
                      </a:lnTo>
                      <a:lnTo>
                        <a:pt x="839" y="205"/>
                      </a:lnTo>
                      <a:lnTo>
                        <a:pt x="839" y="207"/>
                      </a:lnTo>
                      <a:lnTo>
                        <a:pt x="838" y="209"/>
                      </a:lnTo>
                      <a:lnTo>
                        <a:pt x="839" y="209"/>
                      </a:lnTo>
                      <a:lnTo>
                        <a:pt x="841" y="209"/>
                      </a:lnTo>
                      <a:lnTo>
                        <a:pt x="843" y="209"/>
                      </a:lnTo>
                      <a:lnTo>
                        <a:pt x="845" y="209"/>
                      </a:lnTo>
                      <a:lnTo>
                        <a:pt x="846" y="209"/>
                      </a:lnTo>
                      <a:lnTo>
                        <a:pt x="846" y="210"/>
                      </a:lnTo>
                      <a:lnTo>
                        <a:pt x="848" y="210"/>
                      </a:lnTo>
                      <a:lnTo>
                        <a:pt x="848" y="209"/>
                      </a:lnTo>
                      <a:lnTo>
                        <a:pt x="850" y="209"/>
                      </a:lnTo>
                      <a:lnTo>
                        <a:pt x="850" y="210"/>
                      </a:lnTo>
                      <a:lnTo>
                        <a:pt x="851" y="209"/>
                      </a:lnTo>
                      <a:lnTo>
                        <a:pt x="851" y="210"/>
                      </a:lnTo>
                      <a:lnTo>
                        <a:pt x="853" y="210"/>
                      </a:lnTo>
                      <a:lnTo>
                        <a:pt x="855" y="210"/>
                      </a:lnTo>
                      <a:lnTo>
                        <a:pt x="856" y="209"/>
                      </a:lnTo>
                      <a:lnTo>
                        <a:pt x="858" y="209"/>
                      </a:lnTo>
                      <a:lnTo>
                        <a:pt x="860" y="209"/>
                      </a:lnTo>
                      <a:lnTo>
                        <a:pt x="860" y="207"/>
                      </a:lnTo>
                      <a:lnTo>
                        <a:pt x="860" y="209"/>
                      </a:lnTo>
                      <a:lnTo>
                        <a:pt x="861" y="209"/>
                      </a:lnTo>
                      <a:lnTo>
                        <a:pt x="863" y="209"/>
                      </a:lnTo>
                      <a:lnTo>
                        <a:pt x="865" y="209"/>
                      </a:lnTo>
                      <a:lnTo>
                        <a:pt x="866" y="207"/>
                      </a:lnTo>
                      <a:lnTo>
                        <a:pt x="868" y="209"/>
                      </a:lnTo>
                      <a:lnTo>
                        <a:pt x="870" y="209"/>
                      </a:lnTo>
                      <a:lnTo>
                        <a:pt x="868" y="209"/>
                      </a:lnTo>
                      <a:lnTo>
                        <a:pt x="868" y="207"/>
                      </a:lnTo>
                      <a:lnTo>
                        <a:pt x="870" y="207"/>
                      </a:lnTo>
                      <a:lnTo>
                        <a:pt x="872" y="207"/>
                      </a:lnTo>
                      <a:lnTo>
                        <a:pt x="872" y="205"/>
                      </a:lnTo>
                      <a:lnTo>
                        <a:pt x="873" y="205"/>
                      </a:lnTo>
                      <a:lnTo>
                        <a:pt x="875" y="205"/>
                      </a:lnTo>
                      <a:lnTo>
                        <a:pt x="877" y="207"/>
                      </a:lnTo>
                      <a:lnTo>
                        <a:pt x="878" y="207"/>
                      </a:lnTo>
                      <a:lnTo>
                        <a:pt x="878" y="209"/>
                      </a:lnTo>
                      <a:lnTo>
                        <a:pt x="880" y="209"/>
                      </a:lnTo>
                      <a:lnTo>
                        <a:pt x="880" y="210"/>
                      </a:lnTo>
                      <a:lnTo>
                        <a:pt x="882" y="210"/>
                      </a:lnTo>
                      <a:lnTo>
                        <a:pt x="882" y="212"/>
                      </a:lnTo>
                      <a:lnTo>
                        <a:pt x="882" y="213"/>
                      </a:lnTo>
                      <a:lnTo>
                        <a:pt x="882" y="215"/>
                      </a:lnTo>
                      <a:lnTo>
                        <a:pt x="883" y="215"/>
                      </a:lnTo>
                      <a:lnTo>
                        <a:pt x="883" y="217"/>
                      </a:lnTo>
                      <a:lnTo>
                        <a:pt x="885" y="220"/>
                      </a:lnTo>
                      <a:lnTo>
                        <a:pt x="887" y="222"/>
                      </a:lnTo>
                      <a:lnTo>
                        <a:pt x="888" y="223"/>
                      </a:lnTo>
                      <a:lnTo>
                        <a:pt x="890" y="227"/>
                      </a:lnTo>
                      <a:lnTo>
                        <a:pt x="892" y="228"/>
                      </a:lnTo>
                      <a:lnTo>
                        <a:pt x="894" y="230"/>
                      </a:lnTo>
                      <a:lnTo>
                        <a:pt x="894" y="232"/>
                      </a:lnTo>
                      <a:lnTo>
                        <a:pt x="895" y="232"/>
                      </a:lnTo>
                      <a:lnTo>
                        <a:pt x="895" y="233"/>
                      </a:lnTo>
                      <a:lnTo>
                        <a:pt x="897" y="233"/>
                      </a:lnTo>
                      <a:lnTo>
                        <a:pt x="899" y="233"/>
                      </a:lnTo>
                      <a:lnTo>
                        <a:pt x="900" y="235"/>
                      </a:lnTo>
                      <a:lnTo>
                        <a:pt x="902" y="235"/>
                      </a:lnTo>
                      <a:lnTo>
                        <a:pt x="902" y="236"/>
                      </a:lnTo>
                      <a:lnTo>
                        <a:pt x="902" y="238"/>
                      </a:lnTo>
                      <a:lnTo>
                        <a:pt x="904" y="238"/>
                      </a:lnTo>
                      <a:lnTo>
                        <a:pt x="904" y="240"/>
                      </a:lnTo>
                      <a:lnTo>
                        <a:pt x="937" y="255"/>
                      </a:lnTo>
                      <a:lnTo>
                        <a:pt x="939" y="255"/>
                      </a:lnTo>
                      <a:lnTo>
                        <a:pt x="939" y="256"/>
                      </a:lnTo>
                      <a:lnTo>
                        <a:pt x="941" y="256"/>
                      </a:lnTo>
                      <a:lnTo>
                        <a:pt x="941" y="258"/>
                      </a:lnTo>
                      <a:lnTo>
                        <a:pt x="942" y="258"/>
                      </a:lnTo>
                      <a:lnTo>
                        <a:pt x="944" y="258"/>
                      </a:lnTo>
                      <a:lnTo>
                        <a:pt x="946" y="259"/>
                      </a:lnTo>
                      <a:lnTo>
                        <a:pt x="948" y="259"/>
                      </a:lnTo>
                      <a:lnTo>
                        <a:pt x="948" y="261"/>
                      </a:lnTo>
                      <a:lnTo>
                        <a:pt x="948" y="259"/>
                      </a:lnTo>
                      <a:lnTo>
                        <a:pt x="949" y="259"/>
                      </a:lnTo>
                      <a:lnTo>
                        <a:pt x="951" y="259"/>
                      </a:lnTo>
                      <a:lnTo>
                        <a:pt x="953" y="259"/>
                      </a:lnTo>
                      <a:lnTo>
                        <a:pt x="954" y="259"/>
                      </a:lnTo>
                      <a:lnTo>
                        <a:pt x="956" y="259"/>
                      </a:lnTo>
                      <a:lnTo>
                        <a:pt x="958" y="259"/>
                      </a:lnTo>
                      <a:lnTo>
                        <a:pt x="959" y="259"/>
                      </a:lnTo>
                      <a:lnTo>
                        <a:pt x="961" y="261"/>
                      </a:lnTo>
                      <a:lnTo>
                        <a:pt x="963" y="263"/>
                      </a:lnTo>
                      <a:lnTo>
                        <a:pt x="964" y="263"/>
                      </a:lnTo>
                      <a:lnTo>
                        <a:pt x="966" y="263"/>
                      </a:lnTo>
                      <a:lnTo>
                        <a:pt x="968" y="263"/>
                      </a:lnTo>
                      <a:lnTo>
                        <a:pt x="970" y="263"/>
                      </a:lnTo>
                      <a:lnTo>
                        <a:pt x="971" y="261"/>
                      </a:lnTo>
                      <a:lnTo>
                        <a:pt x="973" y="261"/>
                      </a:lnTo>
                      <a:lnTo>
                        <a:pt x="975" y="261"/>
                      </a:lnTo>
                      <a:lnTo>
                        <a:pt x="976" y="261"/>
                      </a:lnTo>
                      <a:lnTo>
                        <a:pt x="976" y="259"/>
                      </a:lnTo>
                      <a:lnTo>
                        <a:pt x="978" y="261"/>
                      </a:lnTo>
                      <a:lnTo>
                        <a:pt x="980" y="261"/>
                      </a:lnTo>
                      <a:lnTo>
                        <a:pt x="981" y="261"/>
                      </a:lnTo>
                      <a:lnTo>
                        <a:pt x="983" y="261"/>
                      </a:lnTo>
                      <a:lnTo>
                        <a:pt x="985" y="261"/>
                      </a:lnTo>
                      <a:lnTo>
                        <a:pt x="986" y="261"/>
                      </a:lnTo>
                      <a:lnTo>
                        <a:pt x="988" y="261"/>
                      </a:lnTo>
                      <a:lnTo>
                        <a:pt x="990" y="261"/>
                      </a:lnTo>
                      <a:lnTo>
                        <a:pt x="991" y="261"/>
                      </a:lnTo>
                      <a:lnTo>
                        <a:pt x="993" y="263"/>
                      </a:lnTo>
                      <a:lnTo>
                        <a:pt x="995" y="263"/>
                      </a:lnTo>
                      <a:lnTo>
                        <a:pt x="997" y="264"/>
                      </a:lnTo>
                      <a:lnTo>
                        <a:pt x="997" y="266"/>
                      </a:lnTo>
                      <a:lnTo>
                        <a:pt x="998" y="266"/>
                      </a:lnTo>
                      <a:lnTo>
                        <a:pt x="997" y="269"/>
                      </a:lnTo>
                      <a:lnTo>
                        <a:pt x="997" y="271"/>
                      </a:lnTo>
                      <a:lnTo>
                        <a:pt x="997" y="273"/>
                      </a:lnTo>
                      <a:lnTo>
                        <a:pt x="997" y="274"/>
                      </a:lnTo>
                      <a:lnTo>
                        <a:pt x="995" y="274"/>
                      </a:lnTo>
                      <a:lnTo>
                        <a:pt x="993" y="276"/>
                      </a:lnTo>
                      <a:lnTo>
                        <a:pt x="991" y="278"/>
                      </a:lnTo>
                      <a:lnTo>
                        <a:pt x="991" y="279"/>
                      </a:lnTo>
                      <a:lnTo>
                        <a:pt x="991" y="281"/>
                      </a:lnTo>
                      <a:lnTo>
                        <a:pt x="990" y="282"/>
                      </a:lnTo>
                      <a:lnTo>
                        <a:pt x="990" y="286"/>
                      </a:lnTo>
                      <a:lnTo>
                        <a:pt x="1012" y="292"/>
                      </a:lnTo>
                      <a:lnTo>
                        <a:pt x="1034" y="301"/>
                      </a:lnTo>
                      <a:lnTo>
                        <a:pt x="1034" y="302"/>
                      </a:lnTo>
                      <a:lnTo>
                        <a:pt x="1034" y="304"/>
                      </a:lnTo>
                      <a:lnTo>
                        <a:pt x="1035" y="304"/>
                      </a:lnTo>
                      <a:lnTo>
                        <a:pt x="1035" y="302"/>
                      </a:lnTo>
                      <a:lnTo>
                        <a:pt x="1037" y="301"/>
                      </a:lnTo>
                      <a:lnTo>
                        <a:pt x="1037" y="299"/>
                      </a:lnTo>
                      <a:lnTo>
                        <a:pt x="1037" y="297"/>
                      </a:lnTo>
                      <a:lnTo>
                        <a:pt x="1039" y="297"/>
                      </a:lnTo>
                      <a:lnTo>
                        <a:pt x="1040" y="297"/>
                      </a:lnTo>
                      <a:lnTo>
                        <a:pt x="1040" y="296"/>
                      </a:lnTo>
                      <a:lnTo>
                        <a:pt x="1040" y="297"/>
                      </a:lnTo>
                      <a:lnTo>
                        <a:pt x="1042" y="297"/>
                      </a:lnTo>
                      <a:lnTo>
                        <a:pt x="1042" y="296"/>
                      </a:lnTo>
                      <a:lnTo>
                        <a:pt x="1042" y="294"/>
                      </a:lnTo>
                      <a:lnTo>
                        <a:pt x="1044" y="294"/>
                      </a:lnTo>
                      <a:lnTo>
                        <a:pt x="1042" y="294"/>
                      </a:lnTo>
                      <a:lnTo>
                        <a:pt x="1042" y="292"/>
                      </a:lnTo>
                      <a:lnTo>
                        <a:pt x="1044" y="292"/>
                      </a:lnTo>
                      <a:lnTo>
                        <a:pt x="1044" y="291"/>
                      </a:lnTo>
                      <a:lnTo>
                        <a:pt x="1042" y="292"/>
                      </a:lnTo>
                      <a:lnTo>
                        <a:pt x="1042" y="291"/>
                      </a:lnTo>
                      <a:lnTo>
                        <a:pt x="1044" y="291"/>
                      </a:lnTo>
                      <a:lnTo>
                        <a:pt x="1044" y="289"/>
                      </a:lnTo>
                      <a:lnTo>
                        <a:pt x="1046" y="291"/>
                      </a:lnTo>
                      <a:lnTo>
                        <a:pt x="1047" y="291"/>
                      </a:lnTo>
                      <a:lnTo>
                        <a:pt x="1047" y="292"/>
                      </a:lnTo>
                      <a:lnTo>
                        <a:pt x="1049" y="292"/>
                      </a:lnTo>
                      <a:lnTo>
                        <a:pt x="1049" y="294"/>
                      </a:lnTo>
                      <a:lnTo>
                        <a:pt x="1049" y="296"/>
                      </a:lnTo>
                      <a:lnTo>
                        <a:pt x="1049" y="297"/>
                      </a:lnTo>
                      <a:lnTo>
                        <a:pt x="1047" y="297"/>
                      </a:lnTo>
                      <a:lnTo>
                        <a:pt x="1047" y="299"/>
                      </a:lnTo>
                      <a:lnTo>
                        <a:pt x="1047" y="301"/>
                      </a:lnTo>
                      <a:lnTo>
                        <a:pt x="1046" y="302"/>
                      </a:lnTo>
                      <a:lnTo>
                        <a:pt x="1047" y="302"/>
                      </a:lnTo>
                      <a:lnTo>
                        <a:pt x="1047" y="301"/>
                      </a:lnTo>
                      <a:lnTo>
                        <a:pt x="1049" y="301"/>
                      </a:lnTo>
                      <a:lnTo>
                        <a:pt x="1049" y="302"/>
                      </a:lnTo>
                      <a:lnTo>
                        <a:pt x="1051" y="301"/>
                      </a:lnTo>
                      <a:lnTo>
                        <a:pt x="1051" y="299"/>
                      </a:lnTo>
                      <a:lnTo>
                        <a:pt x="1051" y="297"/>
                      </a:lnTo>
                      <a:lnTo>
                        <a:pt x="1051" y="299"/>
                      </a:lnTo>
                      <a:lnTo>
                        <a:pt x="1051" y="297"/>
                      </a:lnTo>
                      <a:lnTo>
                        <a:pt x="1051" y="296"/>
                      </a:lnTo>
                      <a:lnTo>
                        <a:pt x="1051" y="294"/>
                      </a:lnTo>
                      <a:lnTo>
                        <a:pt x="1052" y="294"/>
                      </a:lnTo>
                      <a:lnTo>
                        <a:pt x="1051" y="294"/>
                      </a:lnTo>
                      <a:lnTo>
                        <a:pt x="1052" y="292"/>
                      </a:lnTo>
                      <a:lnTo>
                        <a:pt x="1052" y="291"/>
                      </a:lnTo>
                      <a:lnTo>
                        <a:pt x="1051" y="291"/>
                      </a:lnTo>
                      <a:lnTo>
                        <a:pt x="1052" y="291"/>
                      </a:lnTo>
                      <a:lnTo>
                        <a:pt x="1052" y="289"/>
                      </a:lnTo>
                      <a:lnTo>
                        <a:pt x="1054" y="291"/>
                      </a:lnTo>
                      <a:lnTo>
                        <a:pt x="1054" y="292"/>
                      </a:lnTo>
                      <a:lnTo>
                        <a:pt x="1052" y="292"/>
                      </a:lnTo>
                      <a:lnTo>
                        <a:pt x="1052" y="294"/>
                      </a:lnTo>
                      <a:lnTo>
                        <a:pt x="1054" y="292"/>
                      </a:lnTo>
                      <a:lnTo>
                        <a:pt x="1056" y="292"/>
                      </a:lnTo>
                      <a:lnTo>
                        <a:pt x="1056" y="294"/>
                      </a:lnTo>
                      <a:lnTo>
                        <a:pt x="1056" y="296"/>
                      </a:lnTo>
                      <a:lnTo>
                        <a:pt x="1056" y="297"/>
                      </a:lnTo>
                      <a:lnTo>
                        <a:pt x="1057" y="297"/>
                      </a:lnTo>
                      <a:lnTo>
                        <a:pt x="1057" y="296"/>
                      </a:lnTo>
                      <a:lnTo>
                        <a:pt x="1057" y="294"/>
                      </a:lnTo>
                      <a:lnTo>
                        <a:pt x="1057" y="292"/>
                      </a:lnTo>
                      <a:lnTo>
                        <a:pt x="1056" y="291"/>
                      </a:lnTo>
                      <a:lnTo>
                        <a:pt x="1057" y="291"/>
                      </a:lnTo>
                      <a:lnTo>
                        <a:pt x="1059" y="291"/>
                      </a:lnTo>
                      <a:lnTo>
                        <a:pt x="1059" y="289"/>
                      </a:lnTo>
                      <a:lnTo>
                        <a:pt x="1061" y="289"/>
                      </a:lnTo>
                      <a:lnTo>
                        <a:pt x="1062" y="289"/>
                      </a:lnTo>
                      <a:lnTo>
                        <a:pt x="1062" y="291"/>
                      </a:lnTo>
                      <a:lnTo>
                        <a:pt x="1062" y="292"/>
                      </a:lnTo>
                      <a:lnTo>
                        <a:pt x="1062" y="294"/>
                      </a:lnTo>
                      <a:lnTo>
                        <a:pt x="1064" y="294"/>
                      </a:lnTo>
                      <a:lnTo>
                        <a:pt x="1066" y="292"/>
                      </a:lnTo>
                      <a:lnTo>
                        <a:pt x="1067" y="292"/>
                      </a:lnTo>
                      <a:lnTo>
                        <a:pt x="1067" y="294"/>
                      </a:lnTo>
                      <a:lnTo>
                        <a:pt x="1069" y="294"/>
                      </a:lnTo>
                      <a:lnTo>
                        <a:pt x="1069" y="296"/>
                      </a:lnTo>
                      <a:lnTo>
                        <a:pt x="1069" y="297"/>
                      </a:lnTo>
                      <a:lnTo>
                        <a:pt x="1069" y="299"/>
                      </a:lnTo>
                      <a:lnTo>
                        <a:pt x="1067" y="299"/>
                      </a:lnTo>
                      <a:lnTo>
                        <a:pt x="1069" y="301"/>
                      </a:lnTo>
                      <a:lnTo>
                        <a:pt x="1067" y="302"/>
                      </a:lnTo>
                      <a:lnTo>
                        <a:pt x="1069" y="302"/>
                      </a:lnTo>
                      <a:lnTo>
                        <a:pt x="1069" y="304"/>
                      </a:lnTo>
                      <a:lnTo>
                        <a:pt x="1071" y="304"/>
                      </a:lnTo>
                      <a:lnTo>
                        <a:pt x="1071" y="302"/>
                      </a:lnTo>
                      <a:lnTo>
                        <a:pt x="1073" y="301"/>
                      </a:lnTo>
                      <a:lnTo>
                        <a:pt x="1073" y="299"/>
                      </a:lnTo>
                      <a:lnTo>
                        <a:pt x="1074" y="299"/>
                      </a:lnTo>
                      <a:lnTo>
                        <a:pt x="1074" y="297"/>
                      </a:lnTo>
                      <a:lnTo>
                        <a:pt x="1074" y="296"/>
                      </a:lnTo>
                      <a:lnTo>
                        <a:pt x="1073" y="294"/>
                      </a:lnTo>
                      <a:lnTo>
                        <a:pt x="1074" y="294"/>
                      </a:lnTo>
                      <a:lnTo>
                        <a:pt x="1074" y="292"/>
                      </a:lnTo>
                      <a:lnTo>
                        <a:pt x="1076" y="294"/>
                      </a:lnTo>
                      <a:lnTo>
                        <a:pt x="1078" y="294"/>
                      </a:lnTo>
                      <a:lnTo>
                        <a:pt x="1078" y="296"/>
                      </a:lnTo>
                      <a:lnTo>
                        <a:pt x="1078" y="297"/>
                      </a:lnTo>
                      <a:lnTo>
                        <a:pt x="1078" y="299"/>
                      </a:lnTo>
                      <a:lnTo>
                        <a:pt x="1079" y="299"/>
                      </a:lnTo>
                      <a:lnTo>
                        <a:pt x="1079" y="301"/>
                      </a:lnTo>
                      <a:lnTo>
                        <a:pt x="1079" y="302"/>
                      </a:lnTo>
                      <a:lnTo>
                        <a:pt x="1081" y="302"/>
                      </a:lnTo>
                      <a:lnTo>
                        <a:pt x="1081" y="304"/>
                      </a:lnTo>
                      <a:lnTo>
                        <a:pt x="1081" y="305"/>
                      </a:lnTo>
                      <a:lnTo>
                        <a:pt x="1083" y="305"/>
                      </a:lnTo>
                      <a:lnTo>
                        <a:pt x="1083" y="307"/>
                      </a:lnTo>
                      <a:lnTo>
                        <a:pt x="1083" y="309"/>
                      </a:lnTo>
                      <a:lnTo>
                        <a:pt x="1083" y="310"/>
                      </a:lnTo>
                      <a:lnTo>
                        <a:pt x="1083" y="309"/>
                      </a:lnTo>
                      <a:lnTo>
                        <a:pt x="1084" y="310"/>
                      </a:lnTo>
                      <a:lnTo>
                        <a:pt x="1084" y="309"/>
                      </a:lnTo>
                      <a:lnTo>
                        <a:pt x="1084" y="307"/>
                      </a:lnTo>
                      <a:lnTo>
                        <a:pt x="1084" y="304"/>
                      </a:lnTo>
                      <a:lnTo>
                        <a:pt x="1084" y="302"/>
                      </a:lnTo>
                      <a:lnTo>
                        <a:pt x="1084" y="301"/>
                      </a:lnTo>
                      <a:lnTo>
                        <a:pt x="1083" y="301"/>
                      </a:lnTo>
                      <a:lnTo>
                        <a:pt x="1084" y="299"/>
                      </a:lnTo>
                      <a:lnTo>
                        <a:pt x="1084" y="297"/>
                      </a:lnTo>
                      <a:lnTo>
                        <a:pt x="1083" y="297"/>
                      </a:lnTo>
                      <a:lnTo>
                        <a:pt x="1083" y="296"/>
                      </a:lnTo>
                      <a:lnTo>
                        <a:pt x="1084" y="296"/>
                      </a:lnTo>
                      <a:lnTo>
                        <a:pt x="1084" y="294"/>
                      </a:lnTo>
                      <a:lnTo>
                        <a:pt x="1086" y="294"/>
                      </a:lnTo>
                      <a:lnTo>
                        <a:pt x="1088" y="294"/>
                      </a:lnTo>
                      <a:lnTo>
                        <a:pt x="1089" y="294"/>
                      </a:lnTo>
                      <a:lnTo>
                        <a:pt x="1089" y="296"/>
                      </a:lnTo>
                      <a:lnTo>
                        <a:pt x="1089" y="297"/>
                      </a:lnTo>
                      <a:lnTo>
                        <a:pt x="1088" y="299"/>
                      </a:lnTo>
                      <a:lnTo>
                        <a:pt x="1089" y="299"/>
                      </a:lnTo>
                      <a:lnTo>
                        <a:pt x="1091" y="299"/>
                      </a:lnTo>
                      <a:lnTo>
                        <a:pt x="1091" y="297"/>
                      </a:lnTo>
                      <a:lnTo>
                        <a:pt x="1093" y="297"/>
                      </a:lnTo>
                      <a:lnTo>
                        <a:pt x="1094" y="297"/>
                      </a:lnTo>
                      <a:lnTo>
                        <a:pt x="1093" y="296"/>
                      </a:lnTo>
                      <a:lnTo>
                        <a:pt x="1094" y="296"/>
                      </a:lnTo>
                      <a:lnTo>
                        <a:pt x="1096" y="296"/>
                      </a:lnTo>
                      <a:lnTo>
                        <a:pt x="1096" y="294"/>
                      </a:lnTo>
                      <a:lnTo>
                        <a:pt x="1098" y="294"/>
                      </a:lnTo>
                      <a:lnTo>
                        <a:pt x="1100" y="294"/>
                      </a:lnTo>
                      <a:lnTo>
                        <a:pt x="1101" y="294"/>
                      </a:lnTo>
                      <a:lnTo>
                        <a:pt x="1101" y="296"/>
                      </a:lnTo>
                      <a:lnTo>
                        <a:pt x="1101" y="297"/>
                      </a:lnTo>
                      <a:lnTo>
                        <a:pt x="1101" y="299"/>
                      </a:lnTo>
                      <a:lnTo>
                        <a:pt x="1103" y="299"/>
                      </a:lnTo>
                      <a:lnTo>
                        <a:pt x="1105" y="299"/>
                      </a:lnTo>
                      <a:lnTo>
                        <a:pt x="1103" y="297"/>
                      </a:lnTo>
                      <a:lnTo>
                        <a:pt x="1105" y="297"/>
                      </a:lnTo>
                      <a:lnTo>
                        <a:pt x="1106" y="297"/>
                      </a:lnTo>
                      <a:lnTo>
                        <a:pt x="1108" y="297"/>
                      </a:lnTo>
                      <a:lnTo>
                        <a:pt x="1108" y="299"/>
                      </a:lnTo>
                      <a:lnTo>
                        <a:pt x="1110" y="299"/>
                      </a:lnTo>
                      <a:lnTo>
                        <a:pt x="1110" y="301"/>
                      </a:lnTo>
                      <a:lnTo>
                        <a:pt x="1110" y="302"/>
                      </a:lnTo>
                      <a:lnTo>
                        <a:pt x="1108" y="302"/>
                      </a:lnTo>
                      <a:lnTo>
                        <a:pt x="1106" y="302"/>
                      </a:lnTo>
                      <a:lnTo>
                        <a:pt x="1105" y="304"/>
                      </a:lnTo>
                      <a:lnTo>
                        <a:pt x="1106" y="304"/>
                      </a:lnTo>
                      <a:lnTo>
                        <a:pt x="1108" y="304"/>
                      </a:lnTo>
                      <a:lnTo>
                        <a:pt x="1108" y="302"/>
                      </a:lnTo>
                      <a:lnTo>
                        <a:pt x="1110" y="302"/>
                      </a:lnTo>
                      <a:lnTo>
                        <a:pt x="1110" y="304"/>
                      </a:lnTo>
                      <a:lnTo>
                        <a:pt x="1110" y="302"/>
                      </a:lnTo>
                      <a:lnTo>
                        <a:pt x="1111" y="301"/>
                      </a:lnTo>
                      <a:lnTo>
                        <a:pt x="1113" y="301"/>
                      </a:lnTo>
                      <a:lnTo>
                        <a:pt x="1113" y="302"/>
                      </a:lnTo>
                      <a:lnTo>
                        <a:pt x="1113" y="304"/>
                      </a:lnTo>
                      <a:lnTo>
                        <a:pt x="1113" y="305"/>
                      </a:lnTo>
                      <a:lnTo>
                        <a:pt x="1113" y="307"/>
                      </a:lnTo>
                      <a:lnTo>
                        <a:pt x="1111" y="307"/>
                      </a:lnTo>
                      <a:lnTo>
                        <a:pt x="1111" y="309"/>
                      </a:lnTo>
                      <a:lnTo>
                        <a:pt x="1113" y="309"/>
                      </a:lnTo>
                      <a:lnTo>
                        <a:pt x="1113" y="310"/>
                      </a:lnTo>
                      <a:lnTo>
                        <a:pt x="1113" y="309"/>
                      </a:lnTo>
                      <a:lnTo>
                        <a:pt x="1113" y="310"/>
                      </a:lnTo>
                      <a:lnTo>
                        <a:pt x="1113" y="309"/>
                      </a:lnTo>
                      <a:lnTo>
                        <a:pt x="1113" y="307"/>
                      </a:lnTo>
                      <a:lnTo>
                        <a:pt x="1113" y="305"/>
                      </a:lnTo>
                      <a:lnTo>
                        <a:pt x="1115" y="305"/>
                      </a:lnTo>
                      <a:lnTo>
                        <a:pt x="1115" y="307"/>
                      </a:lnTo>
                      <a:lnTo>
                        <a:pt x="1115" y="305"/>
                      </a:lnTo>
                      <a:lnTo>
                        <a:pt x="1115" y="304"/>
                      </a:lnTo>
                      <a:lnTo>
                        <a:pt x="1116" y="304"/>
                      </a:lnTo>
                      <a:lnTo>
                        <a:pt x="1115" y="304"/>
                      </a:lnTo>
                      <a:lnTo>
                        <a:pt x="1115" y="302"/>
                      </a:lnTo>
                      <a:lnTo>
                        <a:pt x="1116" y="302"/>
                      </a:lnTo>
                      <a:lnTo>
                        <a:pt x="1118" y="302"/>
                      </a:lnTo>
                      <a:lnTo>
                        <a:pt x="1118" y="301"/>
                      </a:lnTo>
                      <a:lnTo>
                        <a:pt x="1120" y="301"/>
                      </a:lnTo>
                      <a:lnTo>
                        <a:pt x="1120" y="302"/>
                      </a:lnTo>
                      <a:lnTo>
                        <a:pt x="1122" y="302"/>
                      </a:lnTo>
                      <a:lnTo>
                        <a:pt x="1122" y="304"/>
                      </a:lnTo>
                      <a:lnTo>
                        <a:pt x="1120" y="304"/>
                      </a:lnTo>
                      <a:lnTo>
                        <a:pt x="1120" y="305"/>
                      </a:lnTo>
                      <a:lnTo>
                        <a:pt x="1122" y="305"/>
                      </a:lnTo>
                      <a:lnTo>
                        <a:pt x="1122" y="307"/>
                      </a:lnTo>
                      <a:lnTo>
                        <a:pt x="1120" y="309"/>
                      </a:lnTo>
                      <a:lnTo>
                        <a:pt x="1122" y="307"/>
                      </a:lnTo>
                      <a:lnTo>
                        <a:pt x="1122" y="309"/>
                      </a:lnTo>
                      <a:lnTo>
                        <a:pt x="1122" y="310"/>
                      </a:lnTo>
                      <a:lnTo>
                        <a:pt x="1123" y="310"/>
                      </a:lnTo>
                      <a:lnTo>
                        <a:pt x="1122" y="310"/>
                      </a:lnTo>
                      <a:lnTo>
                        <a:pt x="1123" y="310"/>
                      </a:lnTo>
                      <a:lnTo>
                        <a:pt x="1123" y="309"/>
                      </a:lnTo>
                      <a:lnTo>
                        <a:pt x="1123" y="307"/>
                      </a:lnTo>
                      <a:lnTo>
                        <a:pt x="1123" y="304"/>
                      </a:lnTo>
                      <a:lnTo>
                        <a:pt x="1123" y="305"/>
                      </a:lnTo>
                      <a:lnTo>
                        <a:pt x="1123" y="307"/>
                      </a:lnTo>
                      <a:lnTo>
                        <a:pt x="1123" y="309"/>
                      </a:lnTo>
                      <a:lnTo>
                        <a:pt x="1123" y="310"/>
                      </a:lnTo>
                      <a:lnTo>
                        <a:pt x="1123" y="312"/>
                      </a:lnTo>
                      <a:lnTo>
                        <a:pt x="1123" y="314"/>
                      </a:lnTo>
                      <a:lnTo>
                        <a:pt x="1123" y="312"/>
                      </a:lnTo>
                      <a:lnTo>
                        <a:pt x="1125" y="312"/>
                      </a:lnTo>
                      <a:lnTo>
                        <a:pt x="1125" y="314"/>
                      </a:lnTo>
                      <a:lnTo>
                        <a:pt x="1127" y="314"/>
                      </a:lnTo>
                      <a:lnTo>
                        <a:pt x="1125" y="312"/>
                      </a:lnTo>
                      <a:lnTo>
                        <a:pt x="1123" y="310"/>
                      </a:lnTo>
                      <a:lnTo>
                        <a:pt x="1125" y="310"/>
                      </a:lnTo>
                      <a:lnTo>
                        <a:pt x="1125" y="309"/>
                      </a:lnTo>
                      <a:lnTo>
                        <a:pt x="1125" y="307"/>
                      </a:lnTo>
                      <a:lnTo>
                        <a:pt x="1125" y="305"/>
                      </a:lnTo>
                      <a:lnTo>
                        <a:pt x="1125" y="307"/>
                      </a:lnTo>
                      <a:lnTo>
                        <a:pt x="1127" y="307"/>
                      </a:lnTo>
                      <a:lnTo>
                        <a:pt x="1127" y="305"/>
                      </a:lnTo>
                      <a:lnTo>
                        <a:pt x="1128" y="305"/>
                      </a:lnTo>
                      <a:lnTo>
                        <a:pt x="1130" y="305"/>
                      </a:lnTo>
                      <a:lnTo>
                        <a:pt x="1130" y="304"/>
                      </a:lnTo>
                      <a:lnTo>
                        <a:pt x="1132" y="304"/>
                      </a:lnTo>
                      <a:lnTo>
                        <a:pt x="1133" y="305"/>
                      </a:lnTo>
                      <a:lnTo>
                        <a:pt x="1133" y="307"/>
                      </a:lnTo>
                      <a:lnTo>
                        <a:pt x="1132" y="309"/>
                      </a:lnTo>
                      <a:lnTo>
                        <a:pt x="1132" y="310"/>
                      </a:lnTo>
                      <a:lnTo>
                        <a:pt x="1130" y="310"/>
                      </a:lnTo>
                      <a:lnTo>
                        <a:pt x="1132" y="312"/>
                      </a:lnTo>
                      <a:lnTo>
                        <a:pt x="1132" y="310"/>
                      </a:lnTo>
                      <a:lnTo>
                        <a:pt x="1132" y="312"/>
                      </a:lnTo>
                      <a:lnTo>
                        <a:pt x="1133" y="312"/>
                      </a:lnTo>
                      <a:lnTo>
                        <a:pt x="1132" y="312"/>
                      </a:lnTo>
                      <a:lnTo>
                        <a:pt x="1133" y="312"/>
                      </a:lnTo>
                      <a:lnTo>
                        <a:pt x="1133" y="314"/>
                      </a:lnTo>
                      <a:lnTo>
                        <a:pt x="1133" y="315"/>
                      </a:lnTo>
                      <a:lnTo>
                        <a:pt x="1135" y="317"/>
                      </a:lnTo>
                      <a:lnTo>
                        <a:pt x="1135" y="319"/>
                      </a:lnTo>
                      <a:lnTo>
                        <a:pt x="1133" y="319"/>
                      </a:lnTo>
                      <a:lnTo>
                        <a:pt x="1135" y="319"/>
                      </a:lnTo>
                      <a:lnTo>
                        <a:pt x="1135" y="320"/>
                      </a:lnTo>
                      <a:lnTo>
                        <a:pt x="1137" y="320"/>
                      </a:lnTo>
                      <a:lnTo>
                        <a:pt x="1137" y="319"/>
                      </a:lnTo>
                      <a:lnTo>
                        <a:pt x="1138" y="319"/>
                      </a:lnTo>
                      <a:lnTo>
                        <a:pt x="1137" y="319"/>
                      </a:lnTo>
                      <a:lnTo>
                        <a:pt x="1137" y="317"/>
                      </a:lnTo>
                      <a:lnTo>
                        <a:pt x="1137" y="315"/>
                      </a:lnTo>
                      <a:lnTo>
                        <a:pt x="1137" y="314"/>
                      </a:lnTo>
                      <a:lnTo>
                        <a:pt x="1138" y="314"/>
                      </a:lnTo>
                      <a:lnTo>
                        <a:pt x="1140" y="314"/>
                      </a:lnTo>
                      <a:lnTo>
                        <a:pt x="1140" y="312"/>
                      </a:lnTo>
                      <a:lnTo>
                        <a:pt x="1140" y="310"/>
                      </a:lnTo>
                      <a:lnTo>
                        <a:pt x="1140" y="309"/>
                      </a:lnTo>
                      <a:lnTo>
                        <a:pt x="1142" y="309"/>
                      </a:lnTo>
                      <a:lnTo>
                        <a:pt x="1142" y="310"/>
                      </a:lnTo>
                      <a:lnTo>
                        <a:pt x="1142" y="309"/>
                      </a:lnTo>
                      <a:lnTo>
                        <a:pt x="1143" y="309"/>
                      </a:lnTo>
                      <a:lnTo>
                        <a:pt x="1143" y="307"/>
                      </a:lnTo>
                      <a:lnTo>
                        <a:pt x="1142" y="307"/>
                      </a:lnTo>
                      <a:lnTo>
                        <a:pt x="1143" y="307"/>
                      </a:lnTo>
                      <a:lnTo>
                        <a:pt x="1145" y="309"/>
                      </a:lnTo>
                      <a:lnTo>
                        <a:pt x="1143" y="309"/>
                      </a:lnTo>
                      <a:lnTo>
                        <a:pt x="1143" y="310"/>
                      </a:lnTo>
                      <a:lnTo>
                        <a:pt x="1145" y="310"/>
                      </a:lnTo>
                      <a:lnTo>
                        <a:pt x="1145" y="312"/>
                      </a:lnTo>
                      <a:lnTo>
                        <a:pt x="1143" y="312"/>
                      </a:lnTo>
                      <a:lnTo>
                        <a:pt x="1142" y="312"/>
                      </a:lnTo>
                      <a:lnTo>
                        <a:pt x="1143" y="312"/>
                      </a:lnTo>
                      <a:lnTo>
                        <a:pt x="1145" y="314"/>
                      </a:lnTo>
                      <a:lnTo>
                        <a:pt x="1143" y="314"/>
                      </a:lnTo>
                      <a:lnTo>
                        <a:pt x="1143" y="315"/>
                      </a:lnTo>
                      <a:lnTo>
                        <a:pt x="1142" y="315"/>
                      </a:lnTo>
                      <a:lnTo>
                        <a:pt x="1143" y="315"/>
                      </a:lnTo>
                      <a:lnTo>
                        <a:pt x="1145" y="315"/>
                      </a:lnTo>
                      <a:lnTo>
                        <a:pt x="1143" y="315"/>
                      </a:lnTo>
                      <a:lnTo>
                        <a:pt x="1143" y="317"/>
                      </a:lnTo>
                      <a:lnTo>
                        <a:pt x="1142" y="317"/>
                      </a:lnTo>
                      <a:lnTo>
                        <a:pt x="1143" y="319"/>
                      </a:lnTo>
                      <a:lnTo>
                        <a:pt x="1143" y="317"/>
                      </a:lnTo>
                      <a:lnTo>
                        <a:pt x="1145" y="317"/>
                      </a:lnTo>
                      <a:lnTo>
                        <a:pt x="1145" y="315"/>
                      </a:lnTo>
                      <a:lnTo>
                        <a:pt x="1147" y="315"/>
                      </a:lnTo>
                      <a:lnTo>
                        <a:pt x="1147" y="317"/>
                      </a:lnTo>
                      <a:lnTo>
                        <a:pt x="1147" y="319"/>
                      </a:lnTo>
                      <a:lnTo>
                        <a:pt x="1145" y="320"/>
                      </a:lnTo>
                      <a:lnTo>
                        <a:pt x="1145" y="322"/>
                      </a:lnTo>
                      <a:lnTo>
                        <a:pt x="1145" y="320"/>
                      </a:lnTo>
                      <a:lnTo>
                        <a:pt x="1147" y="320"/>
                      </a:lnTo>
                      <a:lnTo>
                        <a:pt x="1147" y="319"/>
                      </a:lnTo>
                      <a:lnTo>
                        <a:pt x="1149" y="319"/>
                      </a:lnTo>
                      <a:lnTo>
                        <a:pt x="1149" y="320"/>
                      </a:lnTo>
                      <a:lnTo>
                        <a:pt x="1149" y="322"/>
                      </a:lnTo>
                      <a:lnTo>
                        <a:pt x="1149" y="320"/>
                      </a:lnTo>
                      <a:lnTo>
                        <a:pt x="1149" y="319"/>
                      </a:lnTo>
                      <a:lnTo>
                        <a:pt x="1149" y="317"/>
                      </a:lnTo>
                      <a:lnTo>
                        <a:pt x="1149" y="315"/>
                      </a:lnTo>
                      <a:lnTo>
                        <a:pt x="1150" y="315"/>
                      </a:lnTo>
                      <a:lnTo>
                        <a:pt x="1150" y="317"/>
                      </a:lnTo>
                      <a:lnTo>
                        <a:pt x="1152" y="317"/>
                      </a:lnTo>
                      <a:lnTo>
                        <a:pt x="1150" y="317"/>
                      </a:lnTo>
                      <a:lnTo>
                        <a:pt x="1150" y="315"/>
                      </a:lnTo>
                      <a:lnTo>
                        <a:pt x="1150" y="314"/>
                      </a:lnTo>
                      <a:lnTo>
                        <a:pt x="1152" y="315"/>
                      </a:lnTo>
                      <a:lnTo>
                        <a:pt x="1154" y="317"/>
                      </a:lnTo>
                      <a:lnTo>
                        <a:pt x="1154" y="319"/>
                      </a:lnTo>
                      <a:lnTo>
                        <a:pt x="1154" y="320"/>
                      </a:lnTo>
                      <a:lnTo>
                        <a:pt x="1154" y="322"/>
                      </a:lnTo>
                      <a:lnTo>
                        <a:pt x="1154" y="324"/>
                      </a:lnTo>
                      <a:lnTo>
                        <a:pt x="1152" y="324"/>
                      </a:lnTo>
                      <a:lnTo>
                        <a:pt x="1154" y="324"/>
                      </a:lnTo>
                      <a:lnTo>
                        <a:pt x="1155" y="322"/>
                      </a:lnTo>
                      <a:lnTo>
                        <a:pt x="1155" y="320"/>
                      </a:lnTo>
                      <a:lnTo>
                        <a:pt x="1154" y="319"/>
                      </a:lnTo>
                      <a:lnTo>
                        <a:pt x="1155" y="315"/>
                      </a:lnTo>
                      <a:lnTo>
                        <a:pt x="1157" y="315"/>
                      </a:lnTo>
                      <a:lnTo>
                        <a:pt x="1159" y="317"/>
                      </a:lnTo>
                      <a:lnTo>
                        <a:pt x="1159" y="319"/>
                      </a:lnTo>
                      <a:lnTo>
                        <a:pt x="1160" y="319"/>
                      </a:lnTo>
                      <a:lnTo>
                        <a:pt x="1160" y="317"/>
                      </a:lnTo>
                      <a:lnTo>
                        <a:pt x="1160" y="319"/>
                      </a:lnTo>
                      <a:lnTo>
                        <a:pt x="1160" y="317"/>
                      </a:lnTo>
                      <a:lnTo>
                        <a:pt x="1159" y="317"/>
                      </a:lnTo>
                      <a:lnTo>
                        <a:pt x="1159" y="314"/>
                      </a:lnTo>
                      <a:lnTo>
                        <a:pt x="1160" y="314"/>
                      </a:lnTo>
                      <a:lnTo>
                        <a:pt x="1160" y="312"/>
                      </a:lnTo>
                      <a:lnTo>
                        <a:pt x="1162" y="310"/>
                      </a:lnTo>
                      <a:lnTo>
                        <a:pt x="1162" y="312"/>
                      </a:lnTo>
                      <a:lnTo>
                        <a:pt x="1164" y="312"/>
                      </a:lnTo>
                      <a:lnTo>
                        <a:pt x="1162" y="312"/>
                      </a:lnTo>
                      <a:lnTo>
                        <a:pt x="1162" y="314"/>
                      </a:lnTo>
                      <a:lnTo>
                        <a:pt x="1164" y="314"/>
                      </a:lnTo>
                      <a:lnTo>
                        <a:pt x="1165" y="315"/>
                      </a:lnTo>
                      <a:lnTo>
                        <a:pt x="1165" y="317"/>
                      </a:lnTo>
                      <a:lnTo>
                        <a:pt x="1164" y="317"/>
                      </a:lnTo>
                      <a:lnTo>
                        <a:pt x="1164" y="319"/>
                      </a:lnTo>
                      <a:lnTo>
                        <a:pt x="1164" y="320"/>
                      </a:lnTo>
                      <a:lnTo>
                        <a:pt x="1164" y="319"/>
                      </a:lnTo>
                      <a:lnTo>
                        <a:pt x="1162" y="319"/>
                      </a:lnTo>
                      <a:lnTo>
                        <a:pt x="1162" y="320"/>
                      </a:lnTo>
                      <a:lnTo>
                        <a:pt x="1164" y="320"/>
                      </a:lnTo>
                      <a:lnTo>
                        <a:pt x="1164" y="322"/>
                      </a:lnTo>
                      <a:lnTo>
                        <a:pt x="1162" y="322"/>
                      </a:lnTo>
                      <a:lnTo>
                        <a:pt x="1164" y="324"/>
                      </a:lnTo>
                      <a:lnTo>
                        <a:pt x="1164" y="325"/>
                      </a:lnTo>
                      <a:lnTo>
                        <a:pt x="1162" y="325"/>
                      </a:lnTo>
                      <a:lnTo>
                        <a:pt x="1162" y="327"/>
                      </a:lnTo>
                      <a:lnTo>
                        <a:pt x="1160" y="325"/>
                      </a:lnTo>
                      <a:lnTo>
                        <a:pt x="1160" y="327"/>
                      </a:lnTo>
                      <a:lnTo>
                        <a:pt x="1159" y="327"/>
                      </a:lnTo>
                      <a:lnTo>
                        <a:pt x="1159" y="328"/>
                      </a:lnTo>
                      <a:lnTo>
                        <a:pt x="1160" y="328"/>
                      </a:lnTo>
                      <a:lnTo>
                        <a:pt x="1162" y="328"/>
                      </a:lnTo>
                      <a:lnTo>
                        <a:pt x="1162" y="327"/>
                      </a:lnTo>
                      <a:lnTo>
                        <a:pt x="1162" y="328"/>
                      </a:lnTo>
                      <a:lnTo>
                        <a:pt x="1164" y="328"/>
                      </a:lnTo>
                      <a:lnTo>
                        <a:pt x="1164" y="327"/>
                      </a:lnTo>
                      <a:lnTo>
                        <a:pt x="1165" y="327"/>
                      </a:lnTo>
                      <a:lnTo>
                        <a:pt x="1167" y="327"/>
                      </a:lnTo>
                      <a:lnTo>
                        <a:pt x="1167" y="328"/>
                      </a:lnTo>
                      <a:lnTo>
                        <a:pt x="1169" y="328"/>
                      </a:lnTo>
                      <a:lnTo>
                        <a:pt x="1169" y="327"/>
                      </a:lnTo>
                      <a:lnTo>
                        <a:pt x="1170" y="327"/>
                      </a:lnTo>
                      <a:lnTo>
                        <a:pt x="1170" y="325"/>
                      </a:lnTo>
                      <a:lnTo>
                        <a:pt x="1170" y="324"/>
                      </a:lnTo>
                      <a:lnTo>
                        <a:pt x="1170" y="322"/>
                      </a:lnTo>
                      <a:lnTo>
                        <a:pt x="1172" y="324"/>
                      </a:lnTo>
                      <a:lnTo>
                        <a:pt x="1172" y="325"/>
                      </a:lnTo>
                      <a:lnTo>
                        <a:pt x="1172" y="327"/>
                      </a:lnTo>
                      <a:lnTo>
                        <a:pt x="1172" y="328"/>
                      </a:lnTo>
                      <a:lnTo>
                        <a:pt x="1174" y="327"/>
                      </a:lnTo>
                      <a:lnTo>
                        <a:pt x="1172" y="327"/>
                      </a:lnTo>
                      <a:lnTo>
                        <a:pt x="1174" y="327"/>
                      </a:lnTo>
                      <a:lnTo>
                        <a:pt x="1174" y="325"/>
                      </a:lnTo>
                      <a:lnTo>
                        <a:pt x="1174" y="324"/>
                      </a:lnTo>
                      <a:lnTo>
                        <a:pt x="1174" y="322"/>
                      </a:lnTo>
                      <a:lnTo>
                        <a:pt x="1176" y="322"/>
                      </a:lnTo>
                      <a:lnTo>
                        <a:pt x="1176" y="320"/>
                      </a:lnTo>
                      <a:lnTo>
                        <a:pt x="1177" y="320"/>
                      </a:lnTo>
                      <a:lnTo>
                        <a:pt x="1179" y="320"/>
                      </a:lnTo>
                      <a:lnTo>
                        <a:pt x="1179" y="322"/>
                      </a:lnTo>
                      <a:lnTo>
                        <a:pt x="1179" y="320"/>
                      </a:lnTo>
                      <a:lnTo>
                        <a:pt x="1181" y="320"/>
                      </a:lnTo>
                      <a:lnTo>
                        <a:pt x="1181" y="319"/>
                      </a:lnTo>
                      <a:lnTo>
                        <a:pt x="1182" y="319"/>
                      </a:lnTo>
                      <a:lnTo>
                        <a:pt x="1181" y="319"/>
                      </a:lnTo>
                      <a:lnTo>
                        <a:pt x="1182" y="319"/>
                      </a:lnTo>
                      <a:lnTo>
                        <a:pt x="1184" y="319"/>
                      </a:lnTo>
                      <a:lnTo>
                        <a:pt x="1184" y="320"/>
                      </a:lnTo>
                      <a:lnTo>
                        <a:pt x="1184" y="322"/>
                      </a:lnTo>
                      <a:lnTo>
                        <a:pt x="1182" y="322"/>
                      </a:lnTo>
                      <a:lnTo>
                        <a:pt x="1181" y="322"/>
                      </a:lnTo>
                      <a:lnTo>
                        <a:pt x="1179" y="324"/>
                      </a:lnTo>
                      <a:lnTo>
                        <a:pt x="1177" y="324"/>
                      </a:lnTo>
                      <a:lnTo>
                        <a:pt x="1177" y="325"/>
                      </a:lnTo>
                      <a:lnTo>
                        <a:pt x="1179" y="325"/>
                      </a:lnTo>
                      <a:lnTo>
                        <a:pt x="1179" y="327"/>
                      </a:lnTo>
                      <a:lnTo>
                        <a:pt x="1177" y="327"/>
                      </a:lnTo>
                      <a:lnTo>
                        <a:pt x="1179" y="327"/>
                      </a:lnTo>
                      <a:lnTo>
                        <a:pt x="1177" y="327"/>
                      </a:lnTo>
                      <a:lnTo>
                        <a:pt x="1177" y="328"/>
                      </a:lnTo>
                      <a:lnTo>
                        <a:pt x="1177" y="327"/>
                      </a:lnTo>
                      <a:lnTo>
                        <a:pt x="1177" y="328"/>
                      </a:lnTo>
                      <a:lnTo>
                        <a:pt x="1176" y="328"/>
                      </a:lnTo>
                      <a:lnTo>
                        <a:pt x="1177" y="328"/>
                      </a:lnTo>
                      <a:lnTo>
                        <a:pt x="1179" y="328"/>
                      </a:lnTo>
                      <a:lnTo>
                        <a:pt x="1179" y="330"/>
                      </a:lnTo>
                      <a:lnTo>
                        <a:pt x="1179" y="332"/>
                      </a:lnTo>
                      <a:lnTo>
                        <a:pt x="1177" y="332"/>
                      </a:lnTo>
                      <a:lnTo>
                        <a:pt x="1179" y="332"/>
                      </a:lnTo>
                      <a:lnTo>
                        <a:pt x="1177" y="333"/>
                      </a:lnTo>
                      <a:lnTo>
                        <a:pt x="1179" y="333"/>
                      </a:lnTo>
                      <a:lnTo>
                        <a:pt x="1179" y="335"/>
                      </a:lnTo>
                      <a:lnTo>
                        <a:pt x="1177" y="335"/>
                      </a:lnTo>
                      <a:lnTo>
                        <a:pt x="1179" y="335"/>
                      </a:lnTo>
                      <a:lnTo>
                        <a:pt x="1179" y="337"/>
                      </a:lnTo>
                      <a:lnTo>
                        <a:pt x="1179" y="335"/>
                      </a:lnTo>
                      <a:lnTo>
                        <a:pt x="1179" y="333"/>
                      </a:lnTo>
                      <a:lnTo>
                        <a:pt x="1181" y="333"/>
                      </a:lnTo>
                      <a:lnTo>
                        <a:pt x="1179" y="333"/>
                      </a:lnTo>
                      <a:lnTo>
                        <a:pt x="1181" y="333"/>
                      </a:lnTo>
                      <a:lnTo>
                        <a:pt x="1182" y="333"/>
                      </a:lnTo>
                      <a:lnTo>
                        <a:pt x="1182" y="332"/>
                      </a:lnTo>
                      <a:lnTo>
                        <a:pt x="1184" y="333"/>
                      </a:lnTo>
                      <a:lnTo>
                        <a:pt x="1184" y="335"/>
                      </a:lnTo>
                      <a:lnTo>
                        <a:pt x="1182" y="337"/>
                      </a:lnTo>
                      <a:lnTo>
                        <a:pt x="1184" y="337"/>
                      </a:lnTo>
                      <a:lnTo>
                        <a:pt x="1182" y="337"/>
                      </a:lnTo>
                      <a:lnTo>
                        <a:pt x="1184" y="337"/>
                      </a:lnTo>
                      <a:lnTo>
                        <a:pt x="1184" y="335"/>
                      </a:lnTo>
                      <a:lnTo>
                        <a:pt x="1186" y="335"/>
                      </a:lnTo>
                      <a:lnTo>
                        <a:pt x="1184" y="335"/>
                      </a:lnTo>
                      <a:lnTo>
                        <a:pt x="1186" y="333"/>
                      </a:lnTo>
                      <a:lnTo>
                        <a:pt x="1184" y="333"/>
                      </a:lnTo>
                      <a:lnTo>
                        <a:pt x="1184" y="332"/>
                      </a:lnTo>
                      <a:lnTo>
                        <a:pt x="1184" y="330"/>
                      </a:lnTo>
                      <a:lnTo>
                        <a:pt x="1186" y="330"/>
                      </a:lnTo>
                      <a:lnTo>
                        <a:pt x="1186" y="333"/>
                      </a:lnTo>
                      <a:lnTo>
                        <a:pt x="1187" y="333"/>
                      </a:lnTo>
                      <a:lnTo>
                        <a:pt x="1187" y="335"/>
                      </a:lnTo>
                      <a:lnTo>
                        <a:pt x="1187" y="337"/>
                      </a:lnTo>
                      <a:lnTo>
                        <a:pt x="1187" y="335"/>
                      </a:lnTo>
                      <a:lnTo>
                        <a:pt x="1187" y="333"/>
                      </a:lnTo>
                      <a:lnTo>
                        <a:pt x="1189" y="333"/>
                      </a:lnTo>
                      <a:lnTo>
                        <a:pt x="1189" y="332"/>
                      </a:lnTo>
                      <a:lnTo>
                        <a:pt x="1189" y="330"/>
                      </a:lnTo>
                      <a:lnTo>
                        <a:pt x="1191" y="330"/>
                      </a:lnTo>
                      <a:lnTo>
                        <a:pt x="1191" y="332"/>
                      </a:lnTo>
                      <a:lnTo>
                        <a:pt x="1191" y="333"/>
                      </a:lnTo>
                      <a:lnTo>
                        <a:pt x="1192" y="335"/>
                      </a:lnTo>
                      <a:lnTo>
                        <a:pt x="1191" y="335"/>
                      </a:lnTo>
                      <a:lnTo>
                        <a:pt x="1191" y="337"/>
                      </a:lnTo>
                      <a:lnTo>
                        <a:pt x="1191" y="338"/>
                      </a:lnTo>
                      <a:lnTo>
                        <a:pt x="1192" y="338"/>
                      </a:lnTo>
                      <a:lnTo>
                        <a:pt x="1194" y="338"/>
                      </a:lnTo>
                      <a:lnTo>
                        <a:pt x="1192" y="337"/>
                      </a:lnTo>
                      <a:lnTo>
                        <a:pt x="1192" y="338"/>
                      </a:lnTo>
                      <a:lnTo>
                        <a:pt x="1192" y="337"/>
                      </a:lnTo>
                      <a:lnTo>
                        <a:pt x="1192" y="335"/>
                      </a:lnTo>
                      <a:lnTo>
                        <a:pt x="1192" y="333"/>
                      </a:lnTo>
                      <a:lnTo>
                        <a:pt x="1194" y="332"/>
                      </a:lnTo>
                      <a:lnTo>
                        <a:pt x="1194" y="333"/>
                      </a:lnTo>
                      <a:lnTo>
                        <a:pt x="1196" y="333"/>
                      </a:lnTo>
                      <a:lnTo>
                        <a:pt x="1196" y="335"/>
                      </a:lnTo>
                      <a:lnTo>
                        <a:pt x="1194" y="337"/>
                      </a:lnTo>
                      <a:lnTo>
                        <a:pt x="1196" y="337"/>
                      </a:lnTo>
                      <a:lnTo>
                        <a:pt x="1196" y="335"/>
                      </a:lnTo>
                      <a:lnTo>
                        <a:pt x="1196" y="333"/>
                      </a:lnTo>
                      <a:lnTo>
                        <a:pt x="1194" y="332"/>
                      </a:lnTo>
                      <a:lnTo>
                        <a:pt x="1196" y="330"/>
                      </a:lnTo>
                      <a:lnTo>
                        <a:pt x="1196" y="332"/>
                      </a:lnTo>
                      <a:lnTo>
                        <a:pt x="1196" y="330"/>
                      </a:lnTo>
                      <a:lnTo>
                        <a:pt x="1198" y="330"/>
                      </a:lnTo>
                      <a:lnTo>
                        <a:pt x="1196" y="330"/>
                      </a:lnTo>
                      <a:lnTo>
                        <a:pt x="1196" y="328"/>
                      </a:lnTo>
                      <a:lnTo>
                        <a:pt x="1198" y="328"/>
                      </a:lnTo>
                      <a:lnTo>
                        <a:pt x="1198" y="327"/>
                      </a:lnTo>
                      <a:lnTo>
                        <a:pt x="1198" y="325"/>
                      </a:lnTo>
                      <a:lnTo>
                        <a:pt x="1199" y="327"/>
                      </a:lnTo>
                      <a:lnTo>
                        <a:pt x="1199" y="325"/>
                      </a:lnTo>
                      <a:lnTo>
                        <a:pt x="1199" y="327"/>
                      </a:lnTo>
                      <a:lnTo>
                        <a:pt x="1199" y="325"/>
                      </a:lnTo>
                      <a:lnTo>
                        <a:pt x="1201" y="325"/>
                      </a:lnTo>
                      <a:lnTo>
                        <a:pt x="1199" y="325"/>
                      </a:lnTo>
                      <a:lnTo>
                        <a:pt x="1198" y="325"/>
                      </a:lnTo>
                      <a:lnTo>
                        <a:pt x="1199" y="324"/>
                      </a:lnTo>
                      <a:lnTo>
                        <a:pt x="1201" y="324"/>
                      </a:lnTo>
                      <a:lnTo>
                        <a:pt x="1201" y="322"/>
                      </a:lnTo>
                      <a:lnTo>
                        <a:pt x="1203" y="322"/>
                      </a:lnTo>
                      <a:lnTo>
                        <a:pt x="1203" y="320"/>
                      </a:lnTo>
                      <a:lnTo>
                        <a:pt x="1204" y="320"/>
                      </a:lnTo>
                      <a:lnTo>
                        <a:pt x="1206" y="322"/>
                      </a:lnTo>
                      <a:lnTo>
                        <a:pt x="1206" y="324"/>
                      </a:lnTo>
                      <a:lnTo>
                        <a:pt x="1206" y="325"/>
                      </a:lnTo>
                      <a:lnTo>
                        <a:pt x="1204" y="325"/>
                      </a:lnTo>
                      <a:lnTo>
                        <a:pt x="1203" y="327"/>
                      </a:lnTo>
                      <a:lnTo>
                        <a:pt x="1204" y="327"/>
                      </a:lnTo>
                      <a:lnTo>
                        <a:pt x="1204" y="328"/>
                      </a:lnTo>
                      <a:lnTo>
                        <a:pt x="1203" y="328"/>
                      </a:lnTo>
                      <a:lnTo>
                        <a:pt x="1201" y="328"/>
                      </a:lnTo>
                      <a:lnTo>
                        <a:pt x="1203" y="328"/>
                      </a:lnTo>
                      <a:lnTo>
                        <a:pt x="1203" y="330"/>
                      </a:lnTo>
                      <a:lnTo>
                        <a:pt x="1201" y="330"/>
                      </a:lnTo>
                      <a:lnTo>
                        <a:pt x="1199" y="330"/>
                      </a:lnTo>
                      <a:lnTo>
                        <a:pt x="1199" y="332"/>
                      </a:lnTo>
                      <a:lnTo>
                        <a:pt x="1201" y="330"/>
                      </a:lnTo>
                      <a:lnTo>
                        <a:pt x="1203" y="330"/>
                      </a:lnTo>
                      <a:lnTo>
                        <a:pt x="1203" y="332"/>
                      </a:lnTo>
                      <a:lnTo>
                        <a:pt x="1203" y="333"/>
                      </a:lnTo>
                      <a:lnTo>
                        <a:pt x="1204" y="333"/>
                      </a:lnTo>
                      <a:lnTo>
                        <a:pt x="1204" y="335"/>
                      </a:lnTo>
                      <a:lnTo>
                        <a:pt x="1204" y="337"/>
                      </a:lnTo>
                      <a:lnTo>
                        <a:pt x="1203" y="337"/>
                      </a:lnTo>
                      <a:lnTo>
                        <a:pt x="1203" y="338"/>
                      </a:lnTo>
                      <a:lnTo>
                        <a:pt x="1201" y="338"/>
                      </a:lnTo>
                      <a:lnTo>
                        <a:pt x="1199" y="342"/>
                      </a:lnTo>
                      <a:lnTo>
                        <a:pt x="1199" y="343"/>
                      </a:lnTo>
                      <a:lnTo>
                        <a:pt x="1198" y="345"/>
                      </a:lnTo>
                      <a:lnTo>
                        <a:pt x="1198" y="347"/>
                      </a:lnTo>
                      <a:lnTo>
                        <a:pt x="1199" y="345"/>
                      </a:lnTo>
                      <a:lnTo>
                        <a:pt x="1199" y="343"/>
                      </a:lnTo>
                      <a:lnTo>
                        <a:pt x="1201" y="343"/>
                      </a:lnTo>
                      <a:lnTo>
                        <a:pt x="1201" y="342"/>
                      </a:lnTo>
                      <a:lnTo>
                        <a:pt x="1201" y="340"/>
                      </a:lnTo>
                      <a:lnTo>
                        <a:pt x="1203" y="340"/>
                      </a:lnTo>
                      <a:lnTo>
                        <a:pt x="1204" y="338"/>
                      </a:lnTo>
                      <a:lnTo>
                        <a:pt x="1204" y="337"/>
                      </a:lnTo>
                      <a:lnTo>
                        <a:pt x="1206" y="337"/>
                      </a:lnTo>
                      <a:lnTo>
                        <a:pt x="1206" y="335"/>
                      </a:lnTo>
                      <a:lnTo>
                        <a:pt x="1206" y="333"/>
                      </a:lnTo>
                      <a:lnTo>
                        <a:pt x="1206" y="332"/>
                      </a:lnTo>
                      <a:lnTo>
                        <a:pt x="1208" y="330"/>
                      </a:lnTo>
                      <a:lnTo>
                        <a:pt x="1209" y="332"/>
                      </a:lnTo>
                      <a:lnTo>
                        <a:pt x="1208" y="332"/>
                      </a:lnTo>
                      <a:lnTo>
                        <a:pt x="1208" y="333"/>
                      </a:lnTo>
                      <a:lnTo>
                        <a:pt x="1209" y="333"/>
                      </a:lnTo>
                      <a:lnTo>
                        <a:pt x="1208" y="335"/>
                      </a:lnTo>
                      <a:lnTo>
                        <a:pt x="1209" y="335"/>
                      </a:lnTo>
                      <a:lnTo>
                        <a:pt x="1208" y="337"/>
                      </a:lnTo>
                      <a:lnTo>
                        <a:pt x="1208" y="338"/>
                      </a:lnTo>
                      <a:lnTo>
                        <a:pt x="1206" y="340"/>
                      </a:lnTo>
                      <a:lnTo>
                        <a:pt x="1206" y="342"/>
                      </a:lnTo>
                      <a:lnTo>
                        <a:pt x="1204" y="343"/>
                      </a:lnTo>
                      <a:lnTo>
                        <a:pt x="1206" y="343"/>
                      </a:lnTo>
                      <a:lnTo>
                        <a:pt x="1208" y="345"/>
                      </a:lnTo>
                      <a:lnTo>
                        <a:pt x="1206" y="343"/>
                      </a:lnTo>
                      <a:lnTo>
                        <a:pt x="1206" y="342"/>
                      </a:lnTo>
                      <a:lnTo>
                        <a:pt x="1208" y="342"/>
                      </a:lnTo>
                      <a:lnTo>
                        <a:pt x="1208" y="340"/>
                      </a:lnTo>
                      <a:lnTo>
                        <a:pt x="1208" y="338"/>
                      </a:lnTo>
                      <a:lnTo>
                        <a:pt x="1209" y="340"/>
                      </a:lnTo>
                      <a:lnTo>
                        <a:pt x="1209" y="343"/>
                      </a:lnTo>
                      <a:lnTo>
                        <a:pt x="1209" y="342"/>
                      </a:lnTo>
                      <a:lnTo>
                        <a:pt x="1211" y="343"/>
                      </a:lnTo>
                      <a:lnTo>
                        <a:pt x="1209" y="342"/>
                      </a:lnTo>
                      <a:lnTo>
                        <a:pt x="1209" y="340"/>
                      </a:lnTo>
                      <a:lnTo>
                        <a:pt x="1209" y="338"/>
                      </a:lnTo>
                      <a:lnTo>
                        <a:pt x="1209" y="337"/>
                      </a:lnTo>
                      <a:lnTo>
                        <a:pt x="1211" y="337"/>
                      </a:lnTo>
                      <a:lnTo>
                        <a:pt x="1214" y="335"/>
                      </a:lnTo>
                      <a:lnTo>
                        <a:pt x="1214" y="333"/>
                      </a:lnTo>
                      <a:lnTo>
                        <a:pt x="1216" y="333"/>
                      </a:lnTo>
                      <a:lnTo>
                        <a:pt x="1216" y="335"/>
                      </a:lnTo>
                      <a:lnTo>
                        <a:pt x="1214" y="335"/>
                      </a:lnTo>
                      <a:lnTo>
                        <a:pt x="1214" y="337"/>
                      </a:lnTo>
                      <a:lnTo>
                        <a:pt x="1214" y="338"/>
                      </a:lnTo>
                      <a:lnTo>
                        <a:pt x="1214" y="340"/>
                      </a:lnTo>
                      <a:lnTo>
                        <a:pt x="1216" y="340"/>
                      </a:lnTo>
                      <a:lnTo>
                        <a:pt x="1216" y="342"/>
                      </a:lnTo>
                      <a:lnTo>
                        <a:pt x="1214" y="345"/>
                      </a:lnTo>
                      <a:lnTo>
                        <a:pt x="1214" y="347"/>
                      </a:lnTo>
                      <a:lnTo>
                        <a:pt x="1214" y="348"/>
                      </a:lnTo>
                      <a:lnTo>
                        <a:pt x="1213" y="348"/>
                      </a:lnTo>
                      <a:lnTo>
                        <a:pt x="1213" y="350"/>
                      </a:lnTo>
                      <a:lnTo>
                        <a:pt x="1211" y="350"/>
                      </a:lnTo>
                      <a:lnTo>
                        <a:pt x="1209" y="351"/>
                      </a:lnTo>
                      <a:lnTo>
                        <a:pt x="1209" y="353"/>
                      </a:lnTo>
                      <a:lnTo>
                        <a:pt x="1211" y="353"/>
                      </a:lnTo>
                      <a:lnTo>
                        <a:pt x="1209" y="355"/>
                      </a:lnTo>
                      <a:lnTo>
                        <a:pt x="1209" y="356"/>
                      </a:lnTo>
                      <a:lnTo>
                        <a:pt x="1209" y="358"/>
                      </a:lnTo>
                      <a:lnTo>
                        <a:pt x="1211" y="358"/>
                      </a:lnTo>
                      <a:lnTo>
                        <a:pt x="1211" y="360"/>
                      </a:lnTo>
                      <a:lnTo>
                        <a:pt x="1211" y="361"/>
                      </a:lnTo>
                      <a:lnTo>
                        <a:pt x="1213" y="361"/>
                      </a:lnTo>
                      <a:lnTo>
                        <a:pt x="1214" y="361"/>
                      </a:lnTo>
                      <a:lnTo>
                        <a:pt x="1213" y="363"/>
                      </a:lnTo>
                      <a:lnTo>
                        <a:pt x="1213" y="365"/>
                      </a:lnTo>
                      <a:lnTo>
                        <a:pt x="1211" y="365"/>
                      </a:lnTo>
                      <a:lnTo>
                        <a:pt x="1211" y="366"/>
                      </a:lnTo>
                      <a:lnTo>
                        <a:pt x="1211" y="368"/>
                      </a:lnTo>
                      <a:lnTo>
                        <a:pt x="1209" y="370"/>
                      </a:lnTo>
                      <a:lnTo>
                        <a:pt x="1211" y="371"/>
                      </a:lnTo>
                      <a:lnTo>
                        <a:pt x="1209" y="371"/>
                      </a:lnTo>
                      <a:lnTo>
                        <a:pt x="1209" y="373"/>
                      </a:lnTo>
                      <a:lnTo>
                        <a:pt x="1208" y="374"/>
                      </a:lnTo>
                      <a:lnTo>
                        <a:pt x="1208" y="376"/>
                      </a:lnTo>
                      <a:lnTo>
                        <a:pt x="1209" y="376"/>
                      </a:lnTo>
                      <a:lnTo>
                        <a:pt x="1209" y="378"/>
                      </a:lnTo>
                      <a:lnTo>
                        <a:pt x="1211" y="379"/>
                      </a:lnTo>
                      <a:lnTo>
                        <a:pt x="1211" y="381"/>
                      </a:lnTo>
                      <a:lnTo>
                        <a:pt x="1211" y="383"/>
                      </a:lnTo>
                      <a:lnTo>
                        <a:pt x="1211" y="384"/>
                      </a:lnTo>
                      <a:lnTo>
                        <a:pt x="1209" y="384"/>
                      </a:lnTo>
                      <a:lnTo>
                        <a:pt x="1209" y="386"/>
                      </a:lnTo>
                      <a:lnTo>
                        <a:pt x="1209" y="388"/>
                      </a:lnTo>
                      <a:lnTo>
                        <a:pt x="1208" y="388"/>
                      </a:lnTo>
                      <a:lnTo>
                        <a:pt x="1208" y="389"/>
                      </a:lnTo>
                      <a:lnTo>
                        <a:pt x="1209" y="391"/>
                      </a:lnTo>
                      <a:lnTo>
                        <a:pt x="1209" y="392"/>
                      </a:lnTo>
                      <a:lnTo>
                        <a:pt x="1208" y="394"/>
                      </a:lnTo>
                      <a:lnTo>
                        <a:pt x="1208" y="396"/>
                      </a:lnTo>
                      <a:lnTo>
                        <a:pt x="1206" y="396"/>
                      </a:lnTo>
                      <a:lnTo>
                        <a:pt x="1204" y="396"/>
                      </a:lnTo>
                      <a:lnTo>
                        <a:pt x="1204" y="397"/>
                      </a:lnTo>
                      <a:lnTo>
                        <a:pt x="1203" y="397"/>
                      </a:lnTo>
                      <a:lnTo>
                        <a:pt x="1201" y="397"/>
                      </a:lnTo>
                      <a:lnTo>
                        <a:pt x="1199" y="397"/>
                      </a:lnTo>
                      <a:lnTo>
                        <a:pt x="1196" y="397"/>
                      </a:lnTo>
                      <a:lnTo>
                        <a:pt x="1194" y="397"/>
                      </a:lnTo>
                      <a:lnTo>
                        <a:pt x="1194" y="399"/>
                      </a:lnTo>
                      <a:lnTo>
                        <a:pt x="1192" y="401"/>
                      </a:lnTo>
                      <a:lnTo>
                        <a:pt x="1192" y="402"/>
                      </a:lnTo>
                      <a:lnTo>
                        <a:pt x="1194" y="404"/>
                      </a:lnTo>
                      <a:lnTo>
                        <a:pt x="1194" y="406"/>
                      </a:lnTo>
                      <a:lnTo>
                        <a:pt x="1196" y="404"/>
                      </a:lnTo>
                      <a:lnTo>
                        <a:pt x="1198" y="404"/>
                      </a:lnTo>
                      <a:lnTo>
                        <a:pt x="1199" y="404"/>
                      </a:lnTo>
                      <a:lnTo>
                        <a:pt x="1201" y="404"/>
                      </a:lnTo>
                      <a:lnTo>
                        <a:pt x="1203" y="406"/>
                      </a:lnTo>
                      <a:lnTo>
                        <a:pt x="1204" y="407"/>
                      </a:lnTo>
                      <a:lnTo>
                        <a:pt x="1204" y="409"/>
                      </a:lnTo>
                      <a:lnTo>
                        <a:pt x="1203" y="409"/>
                      </a:lnTo>
                      <a:lnTo>
                        <a:pt x="1201" y="412"/>
                      </a:lnTo>
                      <a:lnTo>
                        <a:pt x="1203" y="412"/>
                      </a:lnTo>
                      <a:lnTo>
                        <a:pt x="1203" y="414"/>
                      </a:lnTo>
                      <a:lnTo>
                        <a:pt x="1203" y="415"/>
                      </a:lnTo>
                      <a:lnTo>
                        <a:pt x="1203" y="419"/>
                      </a:lnTo>
                      <a:lnTo>
                        <a:pt x="1201" y="419"/>
                      </a:lnTo>
                      <a:lnTo>
                        <a:pt x="1201" y="420"/>
                      </a:lnTo>
                      <a:lnTo>
                        <a:pt x="1199" y="424"/>
                      </a:lnTo>
                      <a:lnTo>
                        <a:pt x="1199" y="425"/>
                      </a:lnTo>
                      <a:lnTo>
                        <a:pt x="1199" y="427"/>
                      </a:lnTo>
                      <a:lnTo>
                        <a:pt x="1199" y="429"/>
                      </a:lnTo>
                      <a:lnTo>
                        <a:pt x="1198" y="429"/>
                      </a:lnTo>
                      <a:lnTo>
                        <a:pt x="1198" y="430"/>
                      </a:lnTo>
                      <a:lnTo>
                        <a:pt x="1198" y="432"/>
                      </a:lnTo>
                      <a:lnTo>
                        <a:pt x="1198" y="434"/>
                      </a:lnTo>
                      <a:lnTo>
                        <a:pt x="1198" y="435"/>
                      </a:lnTo>
                      <a:lnTo>
                        <a:pt x="1196" y="435"/>
                      </a:lnTo>
                      <a:lnTo>
                        <a:pt x="1196" y="437"/>
                      </a:lnTo>
                      <a:lnTo>
                        <a:pt x="1198" y="437"/>
                      </a:lnTo>
                      <a:lnTo>
                        <a:pt x="1196" y="438"/>
                      </a:lnTo>
                      <a:lnTo>
                        <a:pt x="1194" y="438"/>
                      </a:lnTo>
                      <a:lnTo>
                        <a:pt x="1194" y="440"/>
                      </a:lnTo>
                      <a:lnTo>
                        <a:pt x="1192" y="440"/>
                      </a:lnTo>
                      <a:lnTo>
                        <a:pt x="1191" y="443"/>
                      </a:lnTo>
                      <a:lnTo>
                        <a:pt x="1191" y="445"/>
                      </a:lnTo>
                      <a:lnTo>
                        <a:pt x="1189" y="445"/>
                      </a:lnTo>
                      <a:lnTo>
                        <a:pt x="1187" y="447"/>
                      </a:lnTo>
                      <a:lnTo>
                        <a:pt x="1186" y="447"/>
                      </a:lnTo>
                      <a:lnTo>
                        <a:pt x="1186" y="445"/>
                      </a:lnTo>
                      <a:lnTo>
                        <a:pt x="1184" y="445"/>
                      </a:lnTo>
                      <a:lnTo>
                        <a:pt x="1182" y="445"/>
                      </a:lnTo>
                      <a:lnTo>
                        <a:pt x="1182" y="447"/>
                      </a:lnTo>
                      <a:lnTo>
                        <a:pt x="1184" y="447"/>
                      </a:lnTo>
                      <a:lnTo>
                        <a:pt x="1184" y="448"/>
                      </a:lnTo>
                      <a:lnTo>
                        <a:pt x="1184" y="450"/>
                      </a:lnTo>
                      <a:lnTo>
                        <a:pt x="1182" y="450"/>
                      </a:lnTo>
                      <a:lnTo>
                        <a:pt x="1182" y="452"/>
                      </a:lnTo>
                      <a:lnTo>
                        <a:pt x="1182" y="453"/>
                      </a:lnTo>
                      <a:lnTo>
                        <a:pt x="1182" y="455"/>
                      </a:lnTo>
                      <a:lnTo>
                        <a:pt x="1181" y="455"/>
                      </a:lnTo>
                      <a:lnTo>
                        <a:pt x="1179" y="457"/>
                      </a:lnTo>
                      <a:lnTo>
                        <a:pt x="1179" y="458"/>
                      </a:lnTo>
                      <a:lnTo>
                        <a:pt x="1181" y="458"/>
                      </a:lnTo>
                      <a:lnTo>
                        <a:pt x="1182" y="458"/>
                      </a:lnTo>
                      <a:lnTo>
                        <a:pt x="1182" y="457"/>
                      </a:lnTo>
                      <a:lnTo>
                        <a:pt x="1184" y="457"/>
                      </a:lnTo>
                      <a:lnTo>
                        <a:pt x="1184" y="458"/>
                      </a:lnTo>
                      <a:lnTo>
                        <a:pt x="1182" y="460"/>
                      </a:lnTo>
                      <a:lnTo>
                        <a:pt x="1182" y="461"/>
                      </a:lnTo>
                      <a:lnTo>
                        <a:pt x="1182" y="463"/>
                      </a:lnTo>
                      <a:lnTo>
                        <a:pt x="1182" y="465"/>
                      </a:lnTo>
                      <a:lnTo>
                        <a:pt x="1182" y="466"/>
                      </a:lnTo>
                      <a:lnTo>
                        <a:pt x="1182" y="468"/>
                      </a:lnTo>
                      <a:lnTo>
                        <a:pt x="1182" y="470"/>
                      </a:lnTo>
                      <a:lnTo>
                        <a:pt x="1182" y="471"/>
                      </a:lnTo>
                      <a:lnTo>
                        <a:pt x="1184" y="471"/>
                      </a:lnTo>
                      <a:lnTo>
                        <a:pt x="1184" y="473"/>
                      </a:lnTo>
                      <a:lnTo>
                        <a:pt x="1182" y="473"/>
                      </a:lnTo>
                      <a:lnTo>
                        <a:pt x="1181" y="473"/>
                      </a:lnTo>
                      <a:lnTo>
                        <a:pt x="1179" y="473"/>
                      </a:lnTo>
                      <a:lnTo>
                        <a:pt x="1177" y="473"/>
                      </a:lnTo>
                      <a:lnTo>
                        <a:pt x="1176" y="473"/>
                      </a:lnTo>
                      <a:lnTo>
                        <a:pt x="1176" y="475"/>
                      </a:lnTo>
                      <a:lnTo>
                        <a:pt x="1177" y="475"/>
                      </a:lnTo>
                      <a:lnTo>
                        <a:pt x="1177" y="476"/>
                      </a:lnTo>
                      <a:lnTo>
                        <a:pt x="1176" y="476"/>
                      </a:lnTo>
                      <a:lnTo>
                        <a:pt x="1176" y="478"/>
                      </a:lnTo>
                      <a:lnTo>
                        <a:pt x="1176" y="480"/>
                      </a:lnTo>
                      <a:lnTo>
                        <a:pt x="1174" y="481"/>
                      </a:lnTo>
                      <a:lnTo>
                        <a:pt x="1172" y="481"/>
                      </a:lnTo>
                      <a:lnTo>
                        <a:pt x="1170" y="481"/>
                      </a:lnTo>
                      <a:lnTo>
                        <a:pt x="1169" y="481"/>
                      </a:lnTo>
                      <a:lnTo>
                        <a:pt x="1169" y="483"/>
                      </a:lnTo>
                      <a:lnTo>
                        <a:pt x="1167" y="483"/>
                      </a:lnTo>
                      <a:lnTo>
                        <a:pt x="1167" y="484"/>
                      </a:lnTo>
                      <a:lnTo>
                        <a:pt x="1167" y="483"/>
                      </a:lnTo>
                      <a:lnTo>
                        <a:pt x="1165" y="483"/>
                      </a:lnTo>
                      <a:lnTo>
                        <a:pt x="1164" y="483"/>
                      </a:lnTo>
                      <a:lnTo>
                        <a:pt x="1165" y="483"/>
                      </a:lnTo>
                      <a:lnTo>
                        <a:pt x="1165" y="484"/>
                      </a:lnTo>
                      <a:lnTo>
                        <a:pt x="1164" y="484"/>
                      </a:lnTo>
                      <a:lnTo>
                        <a:pt x="1164" y="486"/>
                      </a:lnTo>
                      <a:lnTo>
                        <a:pt x="1162" y="486"/>
                      </a:lnTo>
                      <a:lnTo>
                        <a:pt x="1162" y="488"/>
                      </a:lnTo>
                      <a:lnTo>
                        <a:pt x="1160" y="488"/>
                      </a:lnTo>
                      <a:lnTo>
                        <a:pt x="1160" y="489"/>
                      </a:lnTo>
                      <a:lnTo>
                        <a:pt x="1160" y="491"/>
                      </a:lnTo>
                      <a:lnTo>
                        <a:pt x="1162" y="491"/>
                      </a:lnTo>
                      <a:lnTo>
                        <a:pt x="1160" y="491"/>
                      </a:lnTo>
                      <a:lnTo>
                        <a:pt x="1162" y="493"/>
                      </a:lnTo>
                      <a:lnTo>
                        <a:pt x="1164" y="493"/>
                      </a:lnTo>
                      <a:lnTo>
                        <a:pt x="1164" y="494"/>
                      </a:lnTo>
                      <a:lnTo>
                        <a:pt x="1164" y="496"/>
                      </a:lnTo>
                      <a:lnTo>
                        <a:pt x="1164" y="498"/>
                      </a:lnTo>
                      <a:lnTo>
                        <a:pt x="1165" y="498"/>
                      </a:lnTo>
                      <a:lnTo>
                        <a:pt x="1165" y="496"/>
                      </a:lnTo>
                      <a:lnTo>
                        <a:pt x="1167" y="496"/>
                      </a:lnTo>
                      <a:lnTo>
                        <a:pt x="1167" y="498"/>
                      </a:lnTo>
                      <a:lnTo>
                        <a:pt x="1167" y="499"/>
                      </a:lnTo>
                      <a:lnTo>
                        <a:pt x="1167" y="501"/>
                      </a:lnTo>
                      <a:lnTo>
                        <a:pt x="1167" y="499"/>
                      </a:lnTo>
                      <a:lnTo>
                        <a:pt x="1169" y="499"/>
                      </a:lnTo>
                      <a:lnTo>
                        <a:pt x="1169" y="501"/>
                      </a:lnTo>
                      <a:lnTo>
                        <a:pt x="1167" y="501"/>
                      </a:lnTo>
                      <a:lnTo>
                        <a:pt x="1165" y="501"/>
                      </a:lnTo>
                      <a:lnTo>
                        <a:pt x="1165" y="499"/>
                      </a:lnTo>
                      <a:lnTo>
                        <a:pt x="1165" y="501"/>
                      </a:lnTo>
                      <a:lnTo>
                        <a:pt x="1165" y="503"/>
                      </a:lnTo>
                      <a:lnTo>
                        <a:pt x="1164" y="503"/>
                      </a:lnTo>
                      <a:lnTo>
                        <a:pt x="1162" y="503"/>
                      </a:lnTo>
                      <a:lnTo>
                        <a:pt x="1164" y="503"/>
                      </a:lnTo>
                      <a:lnTo>
                        <a:pt x="1162" y="503"/>
                      </a:lnTo>
                      <a:lnTo>
                        <a:pt x="1162" y="504"/>
                      </a:lnTo>
                      <a:lnTo>
                        <a:pt x="1164" y="503"/>
                      </a:lnTo>
                      <a:lnTo>
                        <a:pt x="1164" y="504"/>
                      </a:lnTo>
                      <a:lnTo>
                        <a:pt x="1162" y="504"/>
                      </a:lnTo>
                      <a:lnTo>
                        <a:pt x="1160" y="504"/>
                      </a:lnTo>
                      <a:lnTo>
                        <a:pt x="1159" y="504"/>
                      </a:lnTo>
                      <a:lnTo>
                        <a:pt x="1159" y="506"/>
                      </a:lnTo>
                      <a:lnTo>
                        <a:pt x="1160" y="506"/>
                      </a:lnTo>
                      <a:lnTo>
                        <a:pt x="1160" y="507"/>
                      </a:lnTo>
                      <a:lnTo>
                        <a:pt x="1162" y="509"/>
                      </a:lnTo>
                      <a:lnTo>
                        <a:pt x="1160" y="509"/>
                      </a:lnTo>
                      <a:lnTo>
                        <a:pt x="1160" y="511"/>
                      </a:lnTo>
                      <a:lnTo>
                        <a:pt x="1162" y="511"/>
                      </a:lnTo>
                      <a:lnTo>
                        <a:pt x="1162" y="512"/>
                      </a:lnTo>
                      <a:lnTo>
                        <a:pt x="1160" y="512"/>
                      </a:lnTo>
                      <a:lnTo>
                        <a:pt x="1160" y="514"/>
                      </a:lnTo>
                      <a:lnTo>
                        <a:pt x="1162" y="514"/>
                      </a:lnTo>
                      <a:lnTo>
                        <a:pt x="1162" y="516"/>
                      </a:lnTo>
                      <a:lnTo>
                        <a:pt x="1160" y="516"/>
                      </a:lnTo>
                      <a:lnTo>
                        <a:pt x="1160" y="517"/>
                      </a:lnTo>
                      <a:lnTo>
                        <a:pt x="1160" y="519"/>
                      </a:lnTo>
                      <a:lnTo>
                        <a:pt x="1159" y="519"/>
                      </a:lnTo>
                      <a:lnTo>
                        <a:pt x="1159" y="521"/>
                      </a:lnTo>
                      <a:lnTo>
                        <a:pt x="1159" y="522"/>
                      </a:lnTo>
                      <a:lnTo>
                        <a:pt x="1159" y="524"/>
                      </a:lnTo>
                      <a:lnTo>
                        <a:pt x="1157" y="524"/>
                      </a:lnTo>
                      <a:lnTo>
                        <a:pt x="1157" y="526"/>
                      </a:lnTo>
                      <a:lnTo>
                        <a:pt x="1157" y="527"/>
                      </a:lnTo>
                      <a:lnTo>
                        <a:pt x="1155" y="527"/>
                      </a:lnTo>
                      <a:lnTo>
                        <a:pt x="1155" y="526"/>
                      </a:lnTo>
                      <a:lnTo>
                        <a:pt x="1154" y="527"/>
                      </a:lnTo>
                      <a:lnTo>
                        <a:pt x="1152" y="527"/>
                      </a:lnTo>
                      <a:lnTo>
                        <a:pt x="1154" y="527"/>
                      </a:lnTo>
                      <a:lnTo>
                        <a:pt x="1154" y="529"/>
                      </a:lnTo>
                      <a:lnTo>
                        <a:pt x="1155" y="529"/>
                      </a:lnTo>
                      <a:lnTo>
                        <a:pt x="1155" y="530"/>
                      </a:lnTo>
                      <a:lnTo>
                        <a:pt x="1154" y="530"/>
                      </a:lnTo>
                      <a:lnTo>
                        <a:pt x="1152" y="530"/>
                      </a:lnTo>
                      <a:lnTo>
                        <a:pt x="1152" y="532"/>
                      </a:lnTo>
                      <a:lnTo>
                        <a:pt x="1150" y="532"/>
                      </a:lnTo>
                      <a:lnTo>
                        <a:pt x="1152" y="532"/>
                      </a:lnTo>
                      <a:lnTo>
                        <a:pt x="1152" y="534"/>
                      </a:lnTo>
                      <a:lnTo>
                        <a:pt x="1150" y="534"/>
                      </a:lnTo>
                      <a:lnTo>
                        <a:pt x="1152" y="535"/>
                      </a:lnTo>
                      <a:lnTo>
                        <a:pt x="1150" y="535"/>
                      </a:lnTo>
                      <a:lnTo>
                        <a:pt x="1150" y="537"/>
                      </a:lnTo>
                      <a:lnTo>
                        <a:pt x="1149" y="537"/>
                      </a:lnTo>
                      <a:lnTo>
                        <a:pt x="1149" y="539"/>
                      </a:lnTo>
                      <a:lnTo>
                        <a:pt x="1149" y="537"/>
                      </a:lnTo>
                      <a:lnTo>
                        <a:pt x="1147" y="537"/>
                      </a:lnTo>
                      <a:lnTo>
                        <a:pt x="1147" y="539"/>
                      </a:lnTo>
                      <a:lnTo>
                        <a:pt x="1147" y="540"/>
                      </a:lnTo>
                      <a:lnTo>
                        <a:pt x="1145" y="540"/>
                      </a:lnTo>
                      <a:lnTo>
                        <a:pt x="1147" y="540"/>
                      </a:lnTo>
                      <a:lnTo>
                        <a:pt x="1147" y="542"/>
                      </a:lnTo>
                      <a:lnTo>
                        <a:pt x="1145" y="542"/>
                      </a:lnTo>
                      <a:lnTo>
                        <a:pt x="1145" y="544"/>
                      </a:lnTo>
                      <a:lnTo>
                        <a:pt x="1147" y="544"/>
                      </a:lnTo>
                      <a:lnTo>
                        <a:pt x="1145" y="544"/>
                      </a:lnTo>
                      <a:lnTo>
                        <a:pt x="1143" y="544"/>
                      </a:lnTo>
                      <a:lnTo>
                        <a:pt x="1143" y="545"/>
                      </a:lnTo>
                      <a:lnTo>
                        <a:pt x="1142" y="545"/>
                      </a:lnTo>
                      <a:lnTo>
                        <a:pt x="1142" y="547"/>
                      </a:lnTo>
                      <a:lnTo>
                        <a:pt x="1143" y="547"/>
                      </a:lnTo>
                      <a:lnTo>
                        <a:pt x="1142" y="547"/>
                      </a:lnTo>
                      <a:lnTo>
                        <a:pt x="1142" y="545"/>
                      </a:lnTo>
                      <a:lnTo>
                        <a:pt x="1140" y="545"/>
                      </a:lnTo>
                      <a:lnTo>
                        <a:pt x="1140" y="547"/>
                      </a:lnTo>
                      <a:lnTo>
                        <a:pt x="1142" y="547"/>
                      </a:lnTo>
                      <a:lnTo>
                        <a:pt x="1140" y="547"/>
                      </a:lnTo>
                      <a:lnTo>
                        <a:pt x="1138" y="547"/>
                      </a:lnTo>
                      <a:lnTo>
                        <a:pt x="1138" y="549"/>
                      </a:lnTo>
                      <a:lnTo>
                        <a:pt x="1137" y="550"/>
                      </a:lnTo>
                      <a:lnTo>
                        <a:pt x="1137" y="549"/>
                      </a:lnTo>
                      <a:lnTo>
                        <a:pt x="1137" y="550"/>
                      </a:lnTo>
                      <a:lnTo>
                        <a:pt x="1135" y="550"/>
                      </a:lnTo>
                      <a:lnTo>
                        <a:pt x="1133" y="550"/>
                      </a:lnTo>
                      <a:lnTo>
                        <a:pt x="1135" y="550"/>
                      </a:lnTo>
                      <a:lnTo>
                        <a:pt x="1135" y="552"/>
                      </a:lnTo>
                      <a:lnTo>
                        <a:pt x="1133" y="552"/>
                      </a:lnTo>
                      <a:lnTo>
                        <a:pt x="1133" y="553"/>
                      </a:lnTo>
                      <a:lnTo>
                        <a:pt x="1135" y="553"/>
                      </a:lnTo>
                      <a:lnTo>
                        <a:pt x="1133" y="555"/>
                      </a:lnTo>
                      <a:lnTo>
                        <a:pt x="1133" y="553"/>
                      </a:lnTo>
                      <a:lnTo>
                        <a:pt x="1133" y="555"/>
                      </a:lnTo>
                      <a:lnTo>
                        <a:pt x="1133" y="557"/>
                      </a:lnTo>
                      <a:lnTo>
                        <a:pt x="1135" y="557"/>
                      </a:lnTo>
                      <a:lnTo>
                        <a:pt x="1133" y="557"/>
                      </a:lnTo>
                      <a:lnTo>
                        <a:pt x="1133" y="558"/>
                      </a:lnTo>
                      <a:lnTo>
                        <a:pt x="1133" y="560"/>
                      </a:lnTo>
                      <a:lnTo>
                        <a:pt x="1132" y="560"/>
                      </a:lnTo>
                      <a:lnTo>
                        <a:pt x="1132" y="562"/>
                      </a:lnTo>
                      <a:lnTo>
                        <a:pt x="1130" y="562"/>
                      </a:lnTo>
                      <a:lnTo>
                        <a:pt x="1132" y="562"/>
                      </a:lnTo>
                      <a:lnTo>
                        <a:pt x="1132" y="563"/>
                      </a:lnTo>
                      <a:lnTo>
                        <a:pt x="1130" y="563"/>
                      </a:lnTo>
                      <a:lnTo>
                        <a:pt x="1132" y="563"/>
                      </a:lnTo>
                      <a:lnTo>
                        <a:pt x="1130" y="565"/>
                      </a:lnTo>
                      <a:lnTo>
                        <a:pt x="1128" y="565"/>
                      </a:lnTo>
                      <a:lnTo>
                        <a:pt x="1128" y="567"/>
                      </a:lnTo>
                      <a:lnTo>
                        <a:pt x="1127" y="567"/>
                      </a:lnTo>
                      <a:lnTo>
                        <a:pt x="1127" y="568"/>
                      </a:lnTo>
                      <a:lnTo>
                        <a:pt x="1127" y="567"/>
                      </a:lnTo>
                      <a:lnTo>
                        <a:pt x="1125" y="568"/>
                      </a:lnTo>
                      <a:lnTo>
                        <a:pt x="1127" y="568"/>
                      </a:lnTo>
                      <a:lnTo>
                        <a:pt x="1127" y="570"/>
                      </a:lnTo>
                      <a:lnTo>
                        <a:pt x="1125" y="570"/>
                      </a:lnTo>
                      <a:lnTo>
                        <a:pt x="1127" y="570"/>
                      </a:lnTo>
                      <a:lnTo>
                        <a:pt x="1127" y="572"/>
                      </a:lnTo>
                      <a:lnTo>
                        <a:pt x="1125" y="572"/>
                      </a:lnTo>
                      <a:lnTo>
                        <a:pt x="1125" y="573"/>
                      </a:lnTo>
                      <a:lnTo>
                        <a:pt x="1123" y="573"/>
                      </a:lnTo>
                      <a:lnTo>
                        <a:pt x="1125" y="575"/>
                      </a:lnTo>
                      <a:lnTo>
                        <a:pt x="1125" y="573"/>
                      </a:lnTo>
                      <a:lnTo>
                        <a:pt x="1125" y="575"/>
                      </a:lnTo>
                      <a:lnTo>
                        <a:pt x="1123" y="575"/>
                      </a:lnTo>
                      <a:lnTo>
                        <a:pt x="1123" y="576"/>
                      </a:lnTo>
                      <a:lnTo>
                        <a:pt x="1125" y="576"/>
                      </a:lnTo>
                      <a:lnTo>
                        <a:pt x="1123" y="576"/>
                      </a:lnTo>
                      <a:lnTo>
                        <a:pt x="1125" y="578"/>
                      </a:lnTo>
                      <a:lnTo>
                        <a:pt x="1125" y="576"/>
                      </a:lnTo>
                      <a:lnTo>
                        <a:pt x="1125" y="578"/>
                      </a:lnTo>
                      <a:lnTo>
                        <a:pt x="1123" y="578"/>
                      </a:lnTo>
                      <a:lnTo>
                        <a:pt x="1123" y="580"/>
                      </a:lnTo>
                      <a:lnTo>
                        <a:pt x="1125" y="580"/>
                      </a:lnTo>
                      <a:lnTo>
                        <a:pt x="1125" y="581"/>
                      </a:lnTo>
                      <a:lnTo>
                        <a:pt x="1123" y="581"/>
                      </a:lnTo>
                      <a:lnTo>
                        <a:pt x="1123" y="583"/>
                      </a:lnTo>
                      <a:lnTo>
                        <a:pt x="1123" y="585"/>
                      </a:lnTo>
                      <a:lnTo>
                        <a:pt x="1123" y="586"/>
                      </a:lnTo>
                      <a:lnTo>
                        <a:pt x="1123" y="588"/>
                      </a:lnTo>
                      <a:lnTo>
                        <a:pt x="1123" y="590"/>
                      </a:lnTo>
                      <a:lnTo>
                        <a:pt x="1122" y="590"/>
                      </a:lnTo>
                      <a:lnTo>
                        <a:pt x="1122" y="591"/>
                      </a:lnTo>
                      <a:lnTo>
                        <a:pt x="1120" y="591"/>
                      </a:lnTo>
                      <a:lnTo>
                        <a:pt x="1122" y="593"/>
                      </a:lnTo>
                      <a:lnTo>
                        <a:pt x="1120" y="594"/>
                      </a:lnTo>
                      <a:lnTo>
                        <a:pt x="1118" y="596"/>
                      </a:lnTo>
                      <a:lnTo>
                        <a:pt x="1116" y="596"/>
                      </a:lnTo>
                      <a:lnTo>
                        <a:pt x="1116" y="598"/>
                      </a:lnTo>
                      <a:lnTo>
                        <a:pt x="1115" y="599"/>
                      </a:lnTo>
                      <a:lnTo>
                        <a:pt x="1115" y="598"/>
                      </a:lnTo>
                      <a:lnTo>
                        <a:pt x="1113" y="599"/>
                      </a:lnTo>
                      <a:lnTo>
                        <a:pt x="1113" y="601"/>
                      </a:lnTo>
                      <a:lnTo>
                        <a:pt x="1113" y="603"/>
                      </a:lnTo>
                      <a:lnTo>
                        <a:pt x="1111" y="603"/>
                      </a:lnTo>
                      <a:lnTo>
                        <a:pt x="1111" y="604"/>
                      </a:lnTo>
                      <a:lnTo>
                        <a:pt x="1110" y="606"/>
                      </a:lnTo>
                      <a:lnTo>
                        <a:pt x="1110" y="604"/>
                      </a:lnTo>
                      <a:lnTo>
                        <a:pt x="1110" y="606"/>
                      </a:lnTo>
                      <a:lnTo>
                        <a:pt x="1108" y="606"/>
                      </a:lnTo>
                      <a:lnTo>
                        <a:pt x="1108" y="608"/>
                      </a:lnTo>
                      <a:lnTo>
                        <a:pt x="1106" y="608"/>
                      </a:lnTo>
                      <a:lnTo>
                        <a:pt x="1106" y="609"/>
                      </a:lnTo>
                      <a:lnTo>
                        <a:pt x="1105" y="609"/>
                      </a:lnTo>
                      <a:lnTo>
                        <a:pt x="1103" y="611"/>
                      </a:lnTo>
                      <a:lnTo>
                        <a:pt x="1101" y="611"/>
                      </a:lnTo>
                      <a:lnTo>
                        <a:pt x="1101" y="613"/>
                      </a:lnTo>
                      <a:lnTo>
                        <a:pt x="1101" y="611"/>
                      </a:lnTo>
                      <a:lnTo>
                        <a:pt x="1101" y="613"/>
                      </a:lnTo>
                      <a:lnTo>
                        <a:pt x="1100" y="613"/>
                      </a:lnTo>
                      <a:lnTo>
                        <a:pt x="1098" y="613"/>
                      </a:lnTo>
                      <a:lnTo>
                        <a:pt x="1098" y="614"/>
                      </a:lnTo>
                      <a:lnTo>
                        <a:pt x="1096" y="616"/>
                      </a:lnTo>
                      <a:lnTo>
                        <a:pt x="1098" y="616"/>
                      </a:lnTo>
                      <a:lnTo>
                        <a:pt x="1096" y="617"/>
                      </a:lnTo>
                      <a:lnTo>
                        <a:pt x="1096" y="619"/>
                      </a:lnTo>
                      <a:lnTo>
                        <a:pt x="1096" y="621"/>
                      </a:lnTo>
                      <a:lnTo>
                        <a:pt x="1096" y="622"/>
                      </a:lnTo>
                      <a:lnTo>
                        <a:pt x="1096" y="624"/>
                      </a:lnTo>
                      <a:lnTo>
                        <a:pt x="1094" y="624"/>
                      </a:lnTo>
                      <a:lnTo>
                        <a:pt x="1094" y="626"/>
                      </a:lnTo>
                      <a:lnTo>
                        <a:pt x="1094" y="627"/>
                      </a:lnTo>
                      <a:lnTo>
                        <a:pt x="1093" y="627"/>
                      </a:lnTo>
                      <a:lnTo>
                        <a:pt x="1093" y="629"/>
                      </a:lnTo>
                      <a:lnTo>
                        <a:pt x="1093" y="631"/>
                      </a:lnTo>
                      <a:lnTo>
                        <a:pt x="1091" y="631"/>
                      </a:lnTo>
                      <a:lnTo>
                        <a:pt x="1091" y="632"/>
                      </a:lnTo>
                      <a:lnTo>
                        <a:pt x="1089" y="632"/>
                      </a:lnTo>
                      <a:lnTo>
                        <a:pt x="1089" y="634"/>
                      </a:lnTo>
                      <a:lnTo>
                        <a:pt x="1088" y="634"/>
                      </a:lnTo>
                      <a:lnTo>
                        <a:pt x="1086" y="634"/>
                      </a:lnTo>
                      <a:lnTo>
                        <a:pt x="1086" y="636"/>
                      </a:lnTo>
                      <a:lnTo>
                        <a:pt x="1084" y="636"/>
                      </a:lnTo>
                      <a:lnTo>
                        <a:pt x="1084" y="637"/>
                      </a:lnTo>
                      <a:lnTo>
                        <a:pt x="1083" y="637"/>
                      </a:lnTo>
                      <a:lnTo>
                        <a:pt x="1083" y="639"/>
                      </a:lnTo>
                      <a:lnTo>
                        <a:pt x="1084" y="639"/>
                      </a:lnTo>
                      <a:lnTo>
                        <a:pt x="1083" y="640"/>
                      </a:lnTo>
                      <a:lnTo>
                        <a:pt x="1084" y="640"/>
                      </a:lnTo>
                      <a:lnTo>
                        <a:pt x="1083" y="640"/>
                      </a:lnTo>
                      <a:lnTo>
                        <a:pt x="1083" y="642"/>
                      </a:lnTo>
                      <a:lnTo>
                        <a:pt x="1081" y="644"/>
                      </a:lnTo>
                      <a:lnTo>
                        <a:pt x="1081" y="645"/>
                      </a:lnTo>
                      <a:lnTo>
                        <a:pt x="1079" y="647"/>
                      </a:lnTo>
                      <a:lnTo>
                        <a:pt x="1078" y="649"/>
                      </a:lnTo>
                      <a:lnTo>
                        <a:pt x="1076" y="650"/>
                      </a:lnTo>
                      <a:lnTo>
                        <a:pt x="1076" y="652"/>
                      </a:lnTo>
                      <a:lnTo>
                        <a:pt x="1074" y="652"/>
                      </a:lnTo>
                      <a:lnTo>
                        <a:pt x="1074" y="654"/>
                      </a:lnTo>
                      <a:lnTo>
                        <a:pt x="1074" y="655"/>
                      </a:lnTo>
                      <a:lnTo>
                        <a:pt x="1073" y="657"/>
                      </a:lnTo>
                      <a:lnTo>
                        <a:pt x="1071" y="659"/>
                      </a:lnTo>
                      <a:lnTo>
                        <a:pt x="1071" y="660"/>
                      </a:lnTo>
                      <a:lnTo>
                        <a:pt x="1069" y="660"/>
                      </a:lnTo>
                      <a:lnTo>
                        <a:pt x="1067" y="662"/>
                      </a:lnTo>
                      <a:lnTo>
                        <a:pt x="1066" y="662"/>
                      </a:lnTo>
                      <a:lnTo>
                        <a:pt x="1066" y="663"/>
                      </a:lnTo>
                      <a:lnTo>
                        <a:pt x="1064" y="663"/>
                      </a:lnTo>
                      <a:lnTo>
                        <a:pt x="1062" y="663"/>
                      </a:lnTo>
                      <a:lnTo>
                        <a:pt x="1061" y="663"/>
                      </a:lnTo>
                      <a:lnTo>
                        <a:pt x="1059" y="663"/>
                      </a:lnTo>
                      <a:lnTo>
                        <a:pt x="1057" y="663"/>
                      </a:lnTo>
                      <a:lnTo>
                        <a:pt x="1057" y="662"/>
                      </a:lnTo>
                      <a:lnTo>
                        <a:pt x="1056" y="662"/>
                      </a:lnTo>
                      <a:lnTo>
                        <a:pt x="1054" y="662"/>
                      </a:lnTo>
                      <a:lnTo>
                        <a:pt x="1052" y="663"/>
                      </a:lnTo>
                      <a:lnTo>
                        <a:pt x="1051" y="665"/>
                      </a:lnTo>
                      <a:lnTo>
                        <a:pt x="1034" y="678"/>
                      </a:lnTo>
                      <a:lnTo>
                        <a:pt x="1032" y="680"/>
                      </a:lnTo>
                      <a:lnTo>
                        <a:pt x="1015" y="691"/>
                      </a:lnTo>
                      <a:lnTo>
                        <a:pt x="1003" y="701"/>
                      </a:lnTo>
                      <a:lnTo>
                        <a:pt x="998" y="705"/>
                      </a:lnTo>
                      <a:lnTo>
                        <a:pt x="997" y="706"/>
                      </a:lnTo>
                      <a:lnTo>
                        <a:pt x="995" y="708"/>
                      </a:lnTo>
                      <a:lnTo>
                        <a:pt x="993" y="706"/>
                      </a:lnTo>
                      <a:lnTo>
                        <a:pt x="993" y="708"/>
                      </a:lnTo>
                      <a:lnTo>
                        <a:pt x="993" y="709"/>
                      </a:lnTo>
                      <a:lnTo>
                        <a:pt x="991" y="709"/>
                      </a:lnTo>
                      <a:lnTo>
                        <a:pt x="991" y="711"/>
                      </a:lnTo>
                      <a:lnTo>
                        <a:pt x="990" y="711"/>
                      </a:lnTo>
                      <a:lnTo>
                        <a:pt x="986" y="713"/>
                      </a:lnTo>
                      <a:lnTo>
                        <a:pt x="963" y="732"/>
                      </a:lnTo>
                      <a:lnTo>
                        <a:pt x="963" y="734"/>
                      </a:lnTo>
                      <a:lnTo>
                        <a:pt x="964" y="734"/>
                      </a:lnTo>
                      <a:lnTo>
                        <a:pt x="966" y="734"/>
                      </a:lnTo>
                      <a:lnTo>
                        <a:pt x="968" y="734"/>
                      </a:lnTo>
                      <a:lnTo>
                        <a:pt x="968" y="736"/>
                      </a:lnTo>
                      <a:lnTo>
                        <a:pt x="970" y="736"/>
                      </a:lnTo>
                      <a:lnTo>
                        <a:pt x="973" y="736"/>
                      </a:lnTo>
                      <a:lnTo>
                        <a:pt x="975" y="737"/>
                      </a:lnTo>
                      <a:lnTo>
                        <a:pt x="976" y="739"/>
                      </a:lnTo>
                      <a:lnTo>
                        <a:pt x="978" y="739"/>
                      </a:lnTo>
                      <a:lnTo>
                        <a:pt x="980" y="739"/>
                      </a:lnTo>
                      <a:lnTo>
                        <a:pt x="986" y="737"/>
                      </a:lnTo>
                      <a:lnTo>
                        <a:pt x="990" y="737"/>
                      </a:lnTo>
                      <a:lnTo>
                        <a:pt x="991" y="736"/>
                      </a:lnTo>
                      <a:lnTo>
                        <a:pt x="991" y="737"/>
                      </a:lnTo>
                      <a:lnTo>
                        <a:pt x="993" y="737"/>
                      </a:lnTo>
                      <a:lnTo>
                        <a:pt x="997" y="737"/>
                      </a:lnTo>
                      <a:lnTo>
                        <a:pt x="997" y="739"/>
                      </a:lnTo>
                      <a:lnTo>
                        <a:pt x="998" y="739"/>
                      </a:lnTo>
                      <a:lnTo>
                        <a:pt x="1000" y="739"/>
                      </a:lnTo>
                      <a:lnTo>
                        <a:pt x="1002" y="741"/>
                      </a:lnTo>
                      <a:lnTo>
                        <a:pt x="1002" y="742"/>
                      </a:lnTo>
                      <a:lnTo>
                        <a:pt x="1002" y="744"/>
                      </a:lnTo>
                      <a:lnTo>
                        <a:pt x="1003" y="744"/>
                      </a:lnTo>
                      <a:lnTo>
                        <a:pt x="1003" y="746"/>
                      </a:lnTo>
                      <a:lnTo>
                        <a:pt x="1005" y="749"/>
                      </a:lnTo>
                      <a:lnTo>
                        <a:pt x="1007" y="751"/>
                      </a:lnTo>
                      <a:lnTo>
                        <a:pt x="1008" y="751"/>
                      </a:lnTo>
                      <a:lnTo>
                        <a:pt x="1012" y="751"/>
                      </a:lnTo>
                      <a:lnTo>
                        <a:pt x="1013" y="752"/>
                      </a:lnTo>
                      <a:lnTo>
                        <a:pt x="1015" y="752"/>
                      </a:lnTo>
                      <a:lnTo>
                        <a:pt x="1017" y="754"/>
                      </a:lnTo>
                      <a:lnTo>
                        <a:pt x="1018" y="755"/>
                      </a:lnTo>
                      <a:lnTo>
                        <a:pt x="1020" y="757"/>
                      </a:lnTo>
                      <a:lnTo>
                        <a:pt x="1020" y="759"/>
                      </a:lnTo>
                      <a:lnTo>
                        <a:pt x="1020" y="760"/>
                      </a:lnTo>
                      <a:lnTo>
                        <a:pt x="1018" y="762"/>
                      </a:lnTo>
                      <a:lnTo>
                        <a:pt x="1018" y="764"/>
                      </a:lnTo>
                      <a:lnTo>
                        <a:pt x="1018" y="765"/>
                      </a:lnTo>
                      <a:lnTo>
                        <a:pt x="1017" y="765"/>
                      </a:lnTo>
                      <a:lnTo>
                        <a:pt x="1015" y="767"/>
                      </a:lnTo>
                      <a:lnTo>
                        <a:pt x="1013" y="767"/>
                      </a:lnTo>
                      <a:lnTo>
                        <a:pt x="1012" y="767"/>
                      </a:lnTo>
                      <a:lnTo>
                        <a:pt x="1010" y="767"/>
                      </a:lnTo>
                      <a:lnTo>
                        <a:pt x="1008" y="767"/>
                      </a:lnTo>
                      <a:lnTo>
                        <a:pt x="1007" y="767"/>
                      </a:lnTo>
                      <a:lnTo>
                        <a:pt x="1007" y="769"/>
                      </a:lnTo>
                      <a:lnTo>
                        <a:pt x="1005" y="770"/>
                      </a:lnTo>
                      <a:lnTo>
                        <a:pt x="1005" y="772"/>
                      </a:lnTo>
                      <a:lnTo>
                        <a:pt x="1005" y="774"/>
                      </a:lnTo>
                      <a:lnTo>
                        <a:pt x="1005" y="775"/>
                      </a:lnTo>
                      <a:lnTo>
                        <a:pt x="1007" y="777"/>
                      </a:lnTo>
                      <a:lnTo>
                        <a:pt x="1007" y="778"/>
                      </a:lnTo>
                      <a:lnTo>
                        <a:pt x="1007" y="780"/>
                      </a:lnTo>
                      <a:lnTo>
                        <a:pt x="1008" y="780"/>
                      </a:lnTo>
                      <a:lnTo>
                        <a:pt x="1010" y="782"/>
                      </a:lnTo>
                      <a:lnTo>
                        <a:pt x="1012" y="783"/>
                      </a:lnTo>
                      <a:lnTo>
                        <a:pt x="1012" y="785"/>
                      </a:lnTo>
                      <a:lnTo>
                        <a:pt x="1012" y="787"/>
                      </a:lnTo>
                      <a:lnTo>
                        <a:pt x="1012" y="788"/>
                      </a:lnTo>
                      <a:lnTo>
                        <a:pt x="1010" y="788"/>
                      </a:lnTo>
                      <a:lnTo>
                        <a:pt x="1008" y="788"/>
                      </a:lnTo>
                      <a:lnTo>
                        <a:pt x="1007" y="790"/>
                      </a:lnTo>
                      <a:lnTo>
                        <a:pt x="1005" y="790"/>
                      </a:lnTo>
                      <a:lnTo>
                        <a:pt x="1003" y="792"/>
                      </a:lnTo>
                      <a:lnTo>
                        <a:pt x="1002" y="793"/>
                      </a:lnTo>
                      <a:lnTo>
                        <a:pt x="1002" y="795"/>
                      </a:lnTo>
                      <a:lnTo>
                        <a:pt x="1002" y="796"/>
                      </a:lnTo>
                      <a:lnTo>
                        <a:pt x="1003" y="796"/>
                      </a:lnTo>
                      <a:lnTo>
                        <a:pt x="1005" y="796"/>
                      </a:lnTo>
                      <a:lnTo>
                        <a:pt x="1007" y="798"/>
                      </a:lnTo>
                      <a:lnTo>
                        <a:pt x="1007" y="800"/>
                      </a:lnTo>
                      <a:lnTo>
                        <a:pt x="1007" y="801"/>
                      </a:lnTo>
                      <a:lnTo>
                        <a:pt x="1005" y="803"/>
                      </a:lnTo>
                      <a:lnTo>
                        <a:pt x="1003" y="805"/>
                      </a:lnTo>
                      <a:lnTo>
                        <a:pt x="1002" y="805"/>
                      </a:lnTo>
                      <a:lnTo>
                        <a:pt x="1000" y="806"/>
                      </a:lnTo>
                      <a:lnTo>
                        <a:pt x="998" y="806"/>
                      </a:lnTo>
                      <a:lnTo>
                        <a:pt x="997" y="806"/>
                      </a:lnTo>
                      <a:lnTo>
                        <a:pt x="995" y="806"/>
                      </a:lnTo>
                      <a:lnTo>
                        <a:pt x="995" y="808"/>
                      </a:lnTo>
                      <a:lnTo>
                        <a:pt x="993" y="808"/>
                      </a:lnTo>
                      <a:lnTo>
                        <a:pt x="993" y="810"/>
                      </a:lnTo>
                      <a:lnTo>
                        <a:pt x="993" y="811"/>
                      </a:lnTo>
                      <a:lnTo>
                        <a:pt x="993" y="815"/>
                      </a:lnTo>
                      <a:lnTo>
                        <a:pt x="995" y="816"/>
                      </a:lnTo>
                      <a:lnTo>
                        <a:pt x="995" y="818"/>
                      </a:lnTo>
                      <a:lnTo>
                        <a:pt x="995" y="819"/>
                      </a:lnTo>
                      <a:lnTo>
                        <a:pt x="995" y="821"/>
                      </a:lnTo>
                      <a:lnTo>
                        <a:pt x="997" y="821"/>
                      </a:lnTo>
                      <a:lnTo>
                        <a:pt x="998" y="823"/>
                      </a:lnTo>
                      <a:lnTo>
                        <a:pt x="998" y="824"/>
                      </a:lnTo>
                      <a:lnTo>
                        <a:pt x="998" y="826"/>
                      </a:lnTo>
                      <a:lnTo>
                        <a:pt x="998" y="828"/>
                      </a:lnTo>
                      <a:lnTo>
                        <a:pt x="997" y="828"/>
                      </a:lnTo>
                      <a:lnTo>
                        <a:pt x="997" y="826"/>
                      </a:lnTo>
                      <a:lnTo>
                        <a:pt x="993" y="824"/>
                      </a:lnTo>
                      <a:lnTo>
                        <a:pt x="991" y="824"/>
                      </a:lnTo>
                      <a:lnTo>
                        <a:pt x="990" y="824"/>
                      </a:lnTo>
                      <a:lnTo>
                        <a:pt x="986" y="824"/>
                      </a:lnTo>
                      <a:lnTo>
                        <a:pt x="985" y="824"/>
                      </a:lnTo>
                      <a:lnTo>
                        <a:pt x="985" y="826"/>
                      </a:lnTo>
                      <a:lnTo>
                        <a:pt x="983" y="828"/>
                      </a:lnTo>
                      <a:lnTo>
                        <a:pt x="983" y="829"/>
                      </a:lnTo>
                      <a:lnTo>
                        <a:pt x="981" y="829"/>
                      </a:lnTo>
                      <a:lnTo>
                        <a:pt x="980" y="831"/>
                      </a:lnTo>
                      <a:lnTo>
                        <a:pt x="978" y="833"/>
                      </a:lnTo>
                      <a:lnTo>
                        <a:pt x="976" y="833"/>
                      </a:lnTo>
                      <a:lnTo>
                        <a:pt x="976" y="834"/>
                      </a:lnTo>
                      <a:lnTo>
                        <a:pt x="975" y="834"/>
                      </a:lnTo>
                      <a:lnTo>
                        <a:pt x="975" y="836"/>
                      </a:lnTo>
                      <a:lnTo>
                        <a:pt x="975" y="838"/>
                      </a:lnTo>
                      <a:lnTo>
                        <a:pt x="973" y="838"/>
                      </a:lnTo>
                      <a:lnTo>
                        <a:pt x="973" y="839"/>
                      </a:lnTo>
                      <a:lnTo>
                        <a:pt x="973" y="841"/>
                      </a:lnTo>
                      <a:lnTo>
                        <a:pt x="971" y="842"/>
                      </a:lnTo>
                      <a:lnTo>
                        <a:pt x="971" y="844"/>
                      </a:lnTo>
                      <a:lnTo>
                        <a:pt x="971" y="846"/>
                      </a:lnTo>
                      <a:lnTo>
                        <a:pt x="971" y="847"/>
                      </a:lnTo>
                      <a:lnTo>
                        <a:pt x="971" y="849"/>
                      </a:lnTo>
                      <a:lnTo>
                        <a:pt x="971" y="851"/>
                      </a:lnTo>
                      <a:lnTo>
                        <a:pt x="971" y="852"/>
                      </a:lnTo>
                      <a:lnTo>
                        <a:pt x="971" y="854"/>
                      </a:lnTo>
                      <a:lnTo>
                        <a:pt x="970" y="854"/>
                      </a:lnTo>
                      <a:lnTo>
                        <a:pt x="970" y="856"/>
                      </a:lnTo>
                      <a:lnTo>
                        <a:pt x="968" y="856"/>
                      </a:lnTo>
                      <a:lnTo>
                        <a:pt x="964" y="856"/>
                      </a:lnTo>
                      <a:lnTo>
                        <a:pt x="963" y="857"/>
                      </a:lnTo>
                      <a:lnTo>
                        <a:pt x="963" y="859"/>
                      </a:lnTo>
                      <a:lnTo>
                        <a:pt x="961" y="859"/>
                      </a:lnTo>
                      <a:lnTo>
                        <a:pt x="961" y="861"/>
                      </a:lnTo>
                      <a:lnTo>
                        <a:pt x="959" y="861"/>
                      </a:lnTo>
                      <a:lnTo>
                        <a:pt x="956" y="862"/>
                      </a:lnTo>
                      <a:lnTo>
                        <a:pt x="954" y="862"/>
                      </a:lnTo>
                      <a:lnTo>
                        <a:pt x="954" y="861"/>
                      </a:lnTo>
                      <a:lnTo>
                        <a:pt x="953" y="861"/>
                      </a:lnTo>
                      <a:lnTo>
                        <a:pt x="949" y="862"/>
                      </a:lnTo>
                      <a:lnTo>
                        <a:pt x="948" y="862"/>
                      </a:lnTo>
                      <a:lnTo>
                        <a:pt x="946" y="862"/>
                      </a:lnTo>
                      <a:lnTo>
                        <a:pt x="944" y="862"/>
                      </a:lnTo>
                      <a:lnTo>
                        <a:pt x="944" y="864"/>
                      </a:lnTo>
                      <a:lnTo>
                        <a:pt x="942" y="864"/>
                      </a:lnTo>
                      <a:lnTo>
                        <a:pt x="941" y="864"/>
                      </a:lnTo>
                      <a:lnTo>
                        <a:pt x="939" y="864"/>
                      </a:lnTo>
                      <a:lnTo>
                        <a:pt x="937" y="864"/>
                      </a:lnTo>
                      <a:lnTo>
                        <a:pt x="937" y="865"/>
                      </a:lnTo>
                      <a:lnTo>
                        <a:pt x="936" y="865"/>
                      </a:lnTo>
                      <a:lnTo>
                        <a:pt x="934" y="867"/>
                      </a:lnTo>
                      <a:lnTo>
                        <a:pt x="932" y="869"/>
                      </a:lnTo>
                      <a:lnTo>
                        <a:pt x="931" y="870"/>
                      </a:lnTo>
                      <a:lnTo>
                        <a:pt x="929" y="872"/>
                      </a:lnTo>
                      <a:lnTo>
                        <a:pt x="927" y="872"/>
                      </a:lnTo>
                      <a:lnTo>
                        <a:pt x="926" y="874"/>
                      </a:lnTo>
                      <a:lnTo>
                        <a:pt x="924" y="874"/>
                      </a:lnTo>
                      <a:lnTo>
                        <a:pt x="922" y="875"/>
                      </a:lnTo>
                      <a:lnTo>
                        <a:pt x="921" y="877"/>
                      </a:lnTo>
                      <a:lnTo>
                        <a:pt x="919" y="877"/>
                      </a:lnTo>
                      <a:lnTo>
                        <a:pt x="919" y="879"/>
                      </a:lnTo>
                      <a:lnTo>
                        <a:pt x="919" y="880"/>
                      </a:lnTo>
                      <a:lnTo>
                        <a:pt x="919" y="882"/>
                      </a:lnTo>
                      <a:lnTo>
                        <a:pt x="919" y="884"/>
                      </a:lnTo>
                      <a:lnTo>
                        <a:pt x="921" y="885"/>
                      </a:lnTo>
                      <a:lnTo>
                        <a:pt x="921" y="887"/>
                      </a:lnTo>
                      <a:lnTo>
                        <a:pt x="921" y="888"/>
                      </a:lnTo>
                      <a:lnTo>
                        <a:pt x="921" y="890"/>
                      </a:lnTo>
                      <a:lnTo>
                        <a:pt x="921" y="892"/>
                      </a:lnTo>
                      <a:lnTo>
                        <a:pt x="921" y="893"/>
                      </a:lnTo>
                      <a:lnTo>
                        <a:pt x="921" y="897"/>
                      </a:lnTo>
                      <a:lnTo>
                        <a:pt x="921" y="902"/>
                      </a:lnTo>
                      <a:lnTo>
                        <a:pt x="922" y="905"/>
                      </a:lnTo>
                      <a:lnTo>
                        <a:pt x="922" y="907"/>
                      </a:lnTo>
                      <a:lnTo>
                        <a:pt x="921" y="907"/>
                      </a:lnTo>
                      <a:lnTo>
                        <a:pt x="919" y="910"/>
                      </a:lnTo>
                      <a:lnTo>
                        <a:pt x="919" y="911"/>
                      </a:lnTo>
                      <a:lnTo>
                        <a:pt x="917" y="915"/>
                      </a:lnTo>
                      <a:lnTo>
                        <a:pt x="915" y="915"/>
                      </a:lnTo>
                      <a:lnTo>
                        <a:pt x="915" y="916"/>
                      </a:lnTo>
                      <a:lnTo>
                        <a:pt x="914" y="918"/>
                      </a:lnTo>
                      <a:lnTo>
                        <a:pt x="914" y="920"/>
                      </a:lnTo>
                      <a:lnTo>
                        <a:pt x="912" y="920"/>
                      </a:lnTo>
                      <a:lnTo>
                        <a:pt x="910" y="921"/>
                      </a:lnTo>
                      <a:lnTo>
                        <a:pt x="910" y="923"/>
                      </a:lnTo>
                      <a:lnTo>
                        <a:pt x="909" y="923"/>
                      </a:lnTo>
                      <a:lnTo>
                        <a:pt x="909" y="925"/>
                      </a:lnTo>
                      <a:lnTo>
                        <a:pt x="907" y="925"/>
                      </a:lnTo>
                      <a:lnTo>
                        <a:pt x="904" y="930"/>
                      </a:lnTo>
                      <a:lnTo>
                        <a:pt x="904" y="931"/>
                      </a:lnTo>
                      <a:lnTo>
                        <a:pt x="902" y="934"/>
                      </a:lnTo>
                      <a:lnTo>
                        <a:pt x="902" y="936"/>
                      </a:lnTo>
                      <a:lnTo>
                        <a:pt x="904" y="936"/>
                      </a:lnTo>
                      <a:lnTo>
                        <a:pt x="904" y="939"/>
                      </a:lnTo>
                      <a:lnTo>
                        <a:pt x="905" y="941"/>
                      </a:lnTo>
                      <a:lnTo>
                        <a:pt x="905" y="943"/>
                      </a:lnTo>
                      <a:lnTo>
                        <a:pt x="907" y="944"/>
                      </a:lnTo>
                      <a:lnTo>
                        <a:pt x="907" y="946"/>
                      </a:lnTo>
                      <a:lnTo>
                        <a:pt x="909" y="948"/>
                      </a:lnTo>
                      <a:lnTo>
                        <a:pt x="910" y="949"/>
                      </a:lnTo>
                      <a:lnTo>
                        <a:pt x="912" y="949"/>
                      </a:lnTo>
                      <a:lnTo>
                        <a:pt x="914" y="951"/>
                      </a:lnTo>
                      <a:lnTo>
                        <a:pt x="915" y="953"/>
                      </a:lnTo>
                      <a:lnTo>
                        <a:pt x="917" y="953"/>
                      </a:lnTo>
                      <a:lnTo>
                        <a:pt x="917" y="954"/>
                      </a:lnTo>
                      <a:lnTo>
                        <a:pt x="919" y="954"/>
                      </a:lnTo>
                      <a:lnTo>
                        <a:pt x="921" y="956"/>
                      </a:lnTo>
                      <a:lnTo>
                        <a:pt x="922" y="957"/>
                      </a:lnTo>
                      <a:lnTo>
                        <a:pt x="924" y="957"/>
                      </a:lnTo>
                      <a:lnTo>
                        <a:pt x="926" y="959"/>
                      </a:lnTo>
                      <a:lnTo>
                        <a:pt x="924" y="961"/>
                      </a:lnTo>
                      <a:lnTo>
                        <a:pt x="924" y="962"/>
                      </a:lnTo>
                      <a:lnTo>
                        <a:pt x="924" y="964"/>
                      </a:lnTo>
                      <a:lnTo>
                        <a:pt x="924" y="966"/>
                      </a:lnTo>
                      <a:lnTo>
                        <a:pt x="924" y="967"/>
                      </a:lnTo>
                      <a:lnTo>
                        <a:pt x="924" y="969"/>
                      </a:lnTo>
                      <a:lnTo>
                        <a:pt x="924" y="972"/>
                      </a:lnTo>
                      <a:lnTo>
                        <a:pt x="922" y="972"/>
                      </a:lnTo>
                      <a:lnTo>
                        <a:pt x="922" y="974"/>
                      </a:lnTo>
                      <a:lnTo>
                        <a:pt x="922" y="976"/>
                      </a:lnTo>
                      <a:lnTo>
                        <a:pt x="922" y="977"/>
                      </a:lnTo>
                      <a:lnTo>
                        <a:pt x="922" y="979"/>
                      </a:lnTo>
                      <a:lnTo>
                        <a:pt x="922" y="980"/>
                      </a:lnTo>
                      <a:lnTo>
                        <a:pt x="922" y="982"/>
                      </a:lnTo>
                      <a:lnTo>
                        <a:pt x="922" y="984"/>
                      </a:lnTo>
                      <a:lnTo>
                        <a:pt x="921" y="984"/>
                      </a:lnTo>
                      <a:lnTo>
                        <a:pt x="921" y="985"/>
                      </a:lnTo>
                      <a:lnTo>
                        <a:pt x="921" y="987"/>
                      </a:lnTo>
                      <a:lnTo>
                        <a:pt x="919" y="989"/>
                      </a:lnTo>
                      <a:lnTo>
                        <a:pt x="921" y="990"/>
                      </a:lnTo>
                      <a:lnTo>
                        <a:pt x="919" y="994"/>
                      </a:lnTo>
                      <a:lnTo>
                        <a:pt x="919" y="995"/>
                      </a:lnTo>
                      <a:lnTo>
                        <a:pt x="917" y="995"/>
                      </a:lnTo>
                      <a:lnTo>
                        <a:pt x="917" y="997"/>
                      </a:lnTo>
                      <a:lnTo>
                        <a:pt x="917" y="998"/>
                      </a:lnTo>
                      <a:lnTo>
                        <a:pt x="915" y="1000"/>
                      </a:lnTo>
                      <a:lnTo>
                        <a:pt x="915" y="1002"/>
                      </a:lnTo>
                      <a:lnTo>
                        <a:pt x="915" y="1003"/>
                      </a:lnTo>
                      <a:lnTo>
                        <a:pt x="914" y="1005"/>
                      </a:lnTo>
                      <a:lnTo>
                        <a:pt x="914" y="1007"/>
                      </a:lnTo>
                      <a:lnTo>
                        <a:pt x="912" y="1010"/>
                      </a:lnTo>
                      <a:lnTo>
                        <a:pt x="912" y="1012"/>
                      </a:lnTo>
                      <a:lnTo>
                        <a:pt x="910" y="1013"/>
                      </a:lnTo>
                      <a:lnTo>
                        <a:pt x="909" y="1013"/>
                      </a:lnTo>
                      <a:lnTo>
                        <a:pt x="907" y="1015"/>
                      </a:lnTo>
                      <a:lnTo>
                        <a:pt x="905" y="1015"/>
                      </a:lnTo>
                      <a:lnTo>
                        <a:pt x="904" y="1018"/>
                      </a:lnTo>
                      <a:lnTo>
                        <a:pt x="902" y="1021"/>
                      </a:lnTo>
                      <a:lnTo>
                        <a:pt x="902" y="1023"/>
                      </a:lnTo>
                      <a:lnTo>
                        <a:pt x="902" y="1025"/>
                      </a:lnTo>
                      <a:lnTo>
                        <a:pt x="902" y="1026"/>
                      </a:lnTo>
                      <a:lnTo>
                        <a:pt x="902" y="1028"/>
                      </a:lnTo>
                      <a:lnTo>
                        <a:pt x="900" y="1028"/>
                      </a:lnTo>
                      <a:lnTo>
                        <a:pt x="900" y="1030"/>
                      </a:lnTo>
                      <a:lnTo>
                        <a:pt x="899" y="1031"/>
                      </a:lnTo>
                      <a:lnTo>
                        <a:pt x="895" y="1033"/>
                      </a:lnTo>
                      <a:lnTo>
                        <a:pt x="895" y="1035"/>
                      </a:lnTo>
                      <a:lnTo>
                        <a:pt x="895" y="1036"/>
                      </a:lnTo>
                      <a:lnTo>
                        <a:pt x="894" y="1036"/>
                      </a:lnTo>
                      <a:lnTo>
                        <a:pt x="894" y="1038"/>
                      </a:lnTo>
                      <a:lnTo>
                        <a:pt x="894" y="1040"/>
                      </a:lnTo>
                      <a:lnTo>
                        <a:pt x="892" y="1041"/>
                      </a:lnTo>
                      <a:lnTo>
                        <a:pt x="890" y="1043"/>
                      </a:lnTo>
                      <a:lnTo>
                        <a:pt x="888" y="1046"/>
                      </a:lnTo>
                      <a:lnTo>
                        <a:pt x="887" y="1046"/>
                      </a:lnTo>
                      <a:lnTo>
                        <a:pt x="887" y="1048"/>
                      </a:lnTo>
                      <a:lnTo>
                        <a:pt x="885" y="1049"/>
                      </a:lnTo>
                      <a:lnTo>
                        <a:pt x="885" y="1051"/>
                      </a:lnTo>
                      <a:lnTo>
                        <a:pt x="883" y="1053"/>
                      </a:lnTo>
                      <a:lnTo>
                        <a:pt x="883" y="1054"/>
                      </a:lnTo>
                      <a:lnTo>
                        <a:pt x="882" y="1054"/>
                      </a:lnTo>
                      <a:lnTo>
                        <a:pt x="880" y="1054"/>
                      </a:lnTo>
                      <a:lnTo>
                        <a:pt x="878" y="1054"/>
                      </a:lnTo>
                      <a:lnTo>
                        <a:pt x="875" y="1056"/>
                      </a:lnTo>
                      <a:lnTo>
                        <a:pt x="873" y="1058"/>
                      </a:lnTo>
                      <a:lnTo>
                        <a:pt x="872" y="1058"/>
                      </a:lnTo>
                      <a:lnTo>
                        <a:pt x="870" y="1059"/>
                      </a:lnTo>
                      <a:lnTo>
                        <a:pt x="868" y="1061"/>
                      </a:lnTo>
                      <a:lnTo>
                        <a:pt x="866" y="1063"/>
                      </a:lnTo>
                      <a:lnTo>
                        <a:pt x="866" y="1064"/>
                      </a:lnTo>
                      <a:lnTo>
                        <a:pt x="865" y="1066"/>
                      </a:lnTo>
                      <a:lnTo>
                        <a:pt x="863" y="1067"/>
                      </a:lnTo>
                      <a:lnTo>
                        <a:pt x="861" y="1069"/>
                      </a:lnTo>
                      <a:lnTo>
                        <a:pt x="860" y="1071"/>
                      </a:lnTo>
                      <a:lnTo>
                        <a:pt x="858" y="1072"/>
                      </a:lnTo>
                      <a:lnTo>
                        <a:pt x="858" y="1074"/>
                      </a:lnTo>
                      <a:lnTo>
                        <a:pt x="858" y="1076"/>
                      </a:lnTo>
                      <a:lnTo>
                        <a:pt x="858" y="1077"/>
                      </a:lnTo>
                      <a:lnTo>
                        <a:pt x="856" y="1077"/>
                      </a:lnTo>
                      <a:lnTo>
                        <a:pt x="856" y="1079"/>
                      </a:lnTo>
                      <a:lnTo>
                        <a:pt x="855" y="1081"/>
                      </a:lnTo>
                      <a:lnTo>
                        <a:pt x="855" y="1082"/>
                      </a:lnTo>
                      <a:lnTo>
                        <a:pt x="853" y="1082"/>
                      </a:lnTo>
                      <a:lnTo>
                        <a:pt x="853" y="1084"/>
                      </a:lnTo>
                      <a:lnTo>
                        <a:pt x="853" y="1086"/>
                      </a:lnTo>
                      <a:lnTo>
                        <a:pt x="851" y="1086"/>
                      </a:lnTo>
                      <a:lnTo>
                        <a:pt x="850" y="1087"/>
                      </a:lnTo>
                      <a:lnTo>
                        <a:pt x="848" y="1089"/>
                      </a:lnTo>
                      <a:lnTo>
                        <a:pt x="848" y="1090"/>
                      </a:lnTo>
                      <a:lnTo>
                        <a:pt x="846" y="1090"/>
                      </a:lnTo>
                      <a:lnTo>
                        <a:pt x="845" y="1090"/>
                      </a:lnTo>
                      <a:lnTo>
                        <a:pt x="845" y="1092"/>
                      </a:lnTo>
                      <a:lnTo>
                        <a:pt x="845" y="1094"/>
                      </a:lnTo>
                      <a:lnTo>
                        <a:pt x="843" y="1094"/>
                      </a:lnTo>
                      <a:lnTo>
                        <a:pt x="843" y="1095"/>
                      </a:lnTo>
                      <a:lnTo>
                        <a:pt x="841" y="1095"/>
                      </a:lnTo>
                      <a:lnTo>
                        <a:pt x="839" y="1097"/>
                      </a:lnTo>
                      <a:lnTo>
                        <a:pt x="839" y="1100"/>
                      </a:lnTo>
                      <a:lnTo>
                        <a:pt x="839" y="1102"/>
                      </a:lnTo>
                      <a:lnTo>
                        <a:pt x="839" y="1104"/>
                      </a:lnTo>
                      <a:lnTo>
                        <a:pt x="838" y="1105"/>
                      </a:lnTo>
                      <a:lnTo>
                        <a:pt x="838" y="1107"/>
                      </a:lnTo>
                      <a:lnTo>
                        <a:pt x="836" y="1107"/>
                      </a:lnTo>
                      <a:lnTo>
                        <a:pt x="836" y="1109"/>
                      </a:lnTo>
                      <a:lnTo>
                        <a:pt x="836" y="1110"/>
                      </a:lnTo>
                      <a:lnTo>
                        <a:pt x="834" y="1110"/>
                      </a:lnTo>
                      <a:lnTo>
                        <a:pt x="834" y="1113"/>
                      </a:lnTo>
                      <a:lnTo>
                        <a:pt x="834" y="1115"/>
                      </a:lnTo>
                      <a:lnTo>
                        <a:pt x="836" y="1117"/>
                      </a:lnTo>
                      <a:lnTo>
                        <a:pt x="836" y="1118"/>
                      </a:lnTo>
                      <a:lnTo>
                        <a:pt x="836" y="1120"/>
                      </a:lnTo>
                      <a:lnTo>
                        <a:pt x="834" y="1120"/>
                      </a:lnTo>
                      <a:lnTo>
                        <a:pt x="834" y="1122"/>
                      </a:lnTo>
                      <a:lnTo>
                        <a:pt x="834" y="1123"/>
                      </a:lnTo>
                      <a:lnTo>
                        <a:pt x="833" y="1125"/>
                      </a:lnTo>
                      <a:lnTo>
                        <a:pt x="833" y="1127"/>
                      </a:lnTo>
                      <a:lnTo>
                        <a:pt x="831" y="1127"/>
                      </a:lnTo>
                      <a:lnTo>
                        <a:pt x="831" y="1128"/>
                      </a:lnTo>
                      <a:lnTo>
                        <a:pt x="831" y="1130"/>
                      </a:lnTo>
                      <a:lnTo>
                        <a:pt x="829" y="1132"/>
                      </a:lnTo>
                      <a:lnTo>
                        <a:pt x="829" y="1133"/>
                      </a:lnTo>
                      <a:lnTo>
                        <a:pt x="829" y="1135"/>
                      </a:lnTo>
                      <a:lnTo>
                        <a:pt x="828" y="1136"/>
                      </a:lnTo>
                      <a:lnTo>
                        <a:pt x="826" y="1138"/>
                      </a:lnTo>
                      <a:lnTo>
                        <a:pt x="826" y="1140"/>
                      </a:lnTo>
                      <a:lnTo>
                        <a:pt x="824" y="1141"/>
                      </a:lnTo>
                      <a:lnTo>
                        <a:pt x="824" y="1143"/>
                      </a:lnTo>
                      <a:lnTo>
                        <a:pt x="824" y="1145"/>
                      </a:lnTo>
                      <a:lnTo>
                        <a:pt x="824" y="1146"/>
                      </a:lnTo>
                      <a:lnTo>
                        <a:pt x="823" y="1146"/>
                      </a:lnTo>
                      <a:lnTo>
                        <a:pt x="797" y="1145"/>
                      </a:lnTo>
                      <a:lnTo>
                        <a:pt x="763" y="1143"/>
                      </a:lnTo>
                      <a:lnTo>
                        <a:pt x="721" y="1140"/>
                      </a:lnTo>
                      <a:lnTo>
                        <a:pt x="655" y="1136"/>
                      </a:lnTo>
                      <a:lnTo>
                        <a:pt x="630" y="1135"/>
                      </a:lnTo>
                      <a:lnTo>
                        <a:pt x="596" y="1132"/>
                      </a:lnTo>
                      <a:lnTo>
                        <a:pt x="547" y="1128"/>
                      </a:lnTo>
                      <a:lnTo>
                        <a:pt x="503" y="1125"/>
                      </a:lnTo>
                      <a:lnTo>
                        <a:pt x="454" y="1122"/>
                      </a:lnTo>
                      <a:lnTo>
                        <a:pt x="407" y="1118"/>
                      </a:lnTo>
                      <a:lnTo>
                        <a:pt x="368" y="1115"/>
                      </a:lnTo>
                      <a:lnTo>
                        <a:pt x="260" y="1107"/>
                      </a:lnTo>
                      <a:lnTo>
                        <a:pt x="211" y="1102"/>
                      </a:lnTo>
                      <a:lnTo>
                        <a:pt x="211" y="1104"/>
                      </a:lnTo>
                      <a:lnTo>
                        <a:pt x="209" y="1104"/>
                      </a:lnTo>
                      <a:lnTo>
                        <a:pt x="208" y="1104"/>
                      </a:lnTo>
                      <a:lnTo>
                        <a:pt x="206" y="1105"/>
                      </a:lnTo>
                      <a:lnTo>
                        <a:pt x="204" y="1105"/>
                      </a:lnTo>
                      <a:lnTo>
                        <a:pt x="204" y="1107"/>
                      </a:lnTo>
                      <a:lnTo>
                        <a:pt x="203" y="1107"/>
                      </a:lnTo>
                      <a:lnTo>
                        <a:pt x="203" y="1105"/>
                      </a:lnTo>
                      <a:lnTo>
                        <a:pt x="203" y="1104"/>
                      </a:lnTo>
                      <a:lnTo>
                        <a:pt x="201" y="1104"/>
                      </a:lnTo>
                      <a:lnTo>
                        <a:pt x="201" y="1102"/>
                      </a:lnTo>
                      <a:lnTo>
                        <a:pt x="201" y="1100"/>
                      </a:lnTo>
                      <a:lnTo>
                        <a:pt x="201" y="1099"/>
                      </a:lnTo>
                      <a:lnTo>
                        <a:pt x="201" y="1095"/>
                      </a:lnTo>
                      <a:lnTo>
                        <a:pt x="199" y="1095"/>
                      </a:lnTo>
                      <a:lnTo>
                        <a:pt x="199" y="1094"/>
                      </a:lnTo>
                      <a:lnTo>
                        <a:pt x="198" y="1092"/>
                      </a:lnTo>
                      <a:lnTo>
                        <a:pt x="196" y="1090"/>
                      </a:lnTo>
                      <a:lnTo>
                        <a:pt x="194" y="1090"/>
                      </a:lnTo>
                      <a:lnTo>
                        <a:pt x="193" y="1090"/>
                      </a:lnTo>
                      <a:lnTo>
                        <a:pt x="191" y="1090"/>
                      </a:lnTo>
                      <a:lnTo>
                        <a:pt x="189" y="1090"/>
                      </a:lnTo>
                      <a:lnTo>
                        <a:pt x="188" y="1090"/>
                      </a:lnTo>
                      <a:lnTo>
                        <a:pt x="186" y="1090"/>
                      </a:lnTo>
                      <a:lnTo>
                        <a:pt x="186" y="1089"/>
                      </a:lnTo>
                      <a:lnTo>
                        <a:pt x="184" y="1089"/>
                      </a:lnTo>
                      <a:lnTo>
                        <a:pt x="182" y="1090"/>
                      </a:lnTo>
                      <a:lnTo>
                        <a:pt x="181" y="1090"/>
                      </a:lnTo>
                      <a:lnTo>
                        <a:pt x="179" y="1089"/>
                      </a:lnTo>
                      <a:lnTo>
                        <a:pt x="177" y="1089"/>
                      </a:lnTo>
                      <a:lnTo>
                        <a:pt x="177" y="1087"/>
                      </a:lnTo>
                      <a:lnTo>
                        <a:pt x="176" y="1087"/>
                      </a:lnTo>
                      <a:lnTo>
                        <a:pt x="176" y="1086"/>
                      </a:lnTo>
                      <a:lnTo>
                        <a:pt x="174" y="1086"/>
                      </a:lnTo>
                      <a:lnTo>
                        <a:pt x="176" y="1084"/>
                      </a:lnTo>
                      <a:lnTo>
                        <a:pt x="176" y="1082"/>
                      </a:lnTo>
                      <a:lnTo>
                        <a:pt x="174" y="1082"/>
                      </a:lnTo>
                      <a:lnTo>
                        <a:pt x="176" y="1081"/>
                      </a:lnTo>
                      <a:lnTo>
                        <a:pt x="176" y="1079"/>
                      </a:lnTo>
                      <a:lnTo>
                        <a:pt x="177" y="1079"/>
                      </a:lnTo>
                      <a:lnTo>
                        <a:pt x="177" y="1077"/>
                      </a:lnTo>
                      <a:lnTo>
                        <a:pt x="176" y="1077"/>
                      </a:lnTo>
                      <a:lnTo>
                        <a:pt x="174" y="1076"/>
                      </a:lnTo>
                      <a:lnTo>
                        <a:pt x="174" y="1074"/>
                      </a:lnTo>
                      <a:lnTo>
                        <a:pt x="172" y="1072"/>
                      </a:lnTo>
                      <a:lnTo>
                        <a:pt x="172" y="1071"/>
                      </a:lnTo>
                      <a:lnTo>
                        <a:pt x="171" y="1071"/>
                      </a:lnTo>
                      <a:lnTo>
                        <a:pt x="171" y="1069"/>
                      </a:lnTo>
                      <a:lnTo>
                        <a:pt x="167" y="1069"/>
                      </a:lnTo>
                      <a:lnTo>
                        <a:pt x="167" y="1067"/>
                      </a:lnTo>
                      <a:lnTo>
                        <a:pt x="166" y="1066"/>
                      </a:lnTo>
                      <a:lnTo>
                        <a:pt x="164" y="1063"/>
                      </a:lnTo>
                      <a:lnTo>
                        <a:pt x="162" y="1063"/>
                      </a:lnTo>
                      <a:lnTo>
                        <a:pt x="161" y="1061"/>
                      </a:lnTo>
                      <a:lnTo>
                        <a:pt x="159" y="1061"/>
                      </a:lnTo>
                      <a:lnTo>
                        <a:pt x="157" y="1061"/>
                      </a:lnTo>
                      <a:lnTo>
                        <a:pt x="155" y="1061"/>
                      </a:lnTo>
                      <a:lnTo>
                        <a:pt x="154" y="1061"/>
                      </a:lnTo>
                      <a:lnTo>
                        <a:pt x="152" y="1061"/>
                      </a:lnTo>
                      <a:lnTo>
                        <a:pt x="150" y="1059"/>
                      </a:lnTo>
                      <a:lnTo>
                        <a:pt x="150" y="1058"/>
                      </a:lnTo>
                      <a:lnTo>
                        <a:pt x="147" y="1058"/>
                      </a:lnTo>
                      <a:lnTo>
                        <a:pt x="145" y="1058"/>
                      </a:lnTo>
                      <a:lnTo>
                        <a:pt x="144" y="1058"/>
                      </a:lnTo>
                      <a:lnTo>
                        <a:pt x="142" y="1056"/>
                      </a:lnTo>
                      <a:lnTo>
                        <a:pt x="140" y="1056"/>
                      </a:lnTo>
                      <a:lnTo>
                        <a:pt x="140" y="1054"/>
                      </a:lnTo>
                      <a:lnTo>
                        <a:pt x="142" y="1053"/>
                      </a:lnTo>
                      <a:lnTo>
                        <a:pt x="142" y="1051"/>
                      </a:lnTo>
                      <a:lnTo>
                        <a:pt x="140" y="1049"/>
                      </a:lnTo>
                      <a:lnTo>
                        <a:pt x="139" y="1049"/>
                      </a:lnTo>
                      <a:lnTo>
                        <a:pt x="137" y="1049"/>
                      </a:lnTo>
                      <a:lnTo>
                        <a:pt x="135" y="1049"/>
                      </a:lnTo>
                      <a:lnTo>
                        <a:pt x="135" y="1048"/>
                      </a:lnTo>
                      <a:lnTo>
                        <a:pt x="132" y="1046"/>
                      </a:lnTo>
                      <a:lnTo>
                        <a:pt x="130" y="1046"/>
                      </a:lnTo>
                      <a:lnTo>
                        <a:pt x="128" y="1046"/>
                      </a:lnTo>
                      <a:lnTo>
                        <a:pt x="127" y="1046"/>
                      </a:lnTo>
                      <a:lnTo>
                        <a:pt x="125" y="1046"/>
                      </a:lnTo>
                      <a:lnTo>
                        <a:pt x="123" y="1046"/>
                      </a:lnTo>
                      <a:lnTo>
                        <a:pt x="123" y="1044"/>
                      </a:lnTo>
                      <a:lnTo>
                        <a:pt x="123" y="1043"/>
                      </a:lnTo>
                      <a:lnTo>
                        <a:pt x="123" y="1041"/>
                      </a:lnTo>
                      <a:lnTo>
                        <a:pt x="123" y="1040"/>
                      </a:lnTo>
                      <a:lnTo>
                        <a:pt x="123" y="1038"/>
                      </a:lnTo>
                      <a:lnTo>
                        <a:pt x="122" y="1036"/>
                      </a:lnTo>
                      <a:lnTo>
                        <a:pt x="122" y="1035"/>
                      </a:lnTo>
                      <a:lnTo>
                        <a:pt x="122" y="1033"/>
                      </a:lnTo>
                      <a:lnTo>
                        <a:pt x="122" y="1031"/>
                      </a:lnTo>
                      <a:lnTo>
                        <a:pt x="120" y="1031"/>
                      </a:lnTo>
                      <a:lnTo>
                        <a:pt x="120" y="1030"/>
                      </a:lnTo>
                      <a:lnTo>
                        <a:pt x="118" y="1030"/>
                      </a:lnTo>
                      <a:lnTo>
                        <a:pt x="118" y="1028"/>
                      </a:lnTo>
                      <a:lnTo>
                        <a:pt x="120" y="1026"/>
                      </a:lnTo>
                      <a:lnTo>
                        <a:pt x="120" y="1025"/>
                      </a:lnTo>
                      <a:lnTo>
                        <a:pt x="118" y="1023"/>
                      </a:lnTo>
                      <a:lnTo>
                        <a:pt x="118" y="1021"/>
                      </a:lnTo>
                      <a:lnTo>
                        <a:pt x="118" y="1020"/>
                      </a:lnTo>
                      <a:lnTo>
                        <a:pt x="118" y="1018"/>
                      </a:lnTo>
                      <a:lnTo>
                        <a:pt x="117" y="1018"/>
                      </a:lnTo>
                      <a:lnTo>
                        <a:pt x="117" y="1017"/>
                      </a:lnTo>
                      <a:lnTo>
                        <a:pt x="115" y="1017"/>
                      </a:lnTo>
                      <a:lnTo>
                        <a:pt x="115" y="1015"/>
                      </a:lnTo>
                      <a:lnTo>
                        <a:pt x="117" y="1013"/>
                      </a:lnTo>
                      <a:lnTo>
                        <a:pt x="117" y="1012"/>
                      </a:lnTo>
                      <a:lnTo>
                        <a:pt x="117" y="1010"/>
                      </a:lnTo>
                      <a:lnTo>
                        <a:pt x="117" y="1008"/>
                      </a:lnTo>
                      <a:lnTo>
                        <a:pt x="117" y="1007"/>
                      </a:lnTo>
                      <a:lnTo>
                        <a:pt x="117" y="1005"/>
                      </a:lnTo>
                      <a:lnTo>
                        <a:pt x="117" y="1003"/>
                      </a:lnTo>
                      <a:lnTo>
                        <a:pt x="118" y="1003"/>
                      </a:lnTo>
                      <a:lnTo>
                        <a:pt x="118" y="1002"/>
                      </a:lnTo>
                      <a:lnTo>
                        <a:pt x="120" y="998"/>
                      </a:lnTo>
                      <a:lnTo>
                        <a:pt x="120" y="997"/>
                      </a:lnTo>
                      <a:lnTo>
                        <a:pt x="120" y="995"/>
                      </a:lnTo>
                      <a:lnTo>
                        <a:pt x="118" y="995"/>
                      </a:lnTo>
                      <a:lnTo>
                        <a:pt x="118" y="994"/>
                      </a:lnTo>
                      <a:lnTo>
                        <a:pt x="117" y="994"/>
                      </a:lnTo>
                      <a:lnTo>
                        <a:pt x="117" y="992"/>
                      </a:lnTo>
                      <a:lnTo>
                        <a:pt x="115" y="992"/>
                      </a:lnTo>
                      <a:lnTo>
                        <a:pt x="113" y="992"/>
                      </a:lnTo>
                      <a:lnTo>
                        <a:pt x="112" y="990"/>
                      </a:lnTo>
                      <a:lnTo>
                        <a:pt x="112" y="989"/>
                      </a:lnTo>
                      <a:lnTo>
                        <a:pt x="112" y="987"/>
                      </a:lnTo>
                      <a:lnTo>
                        <a:pt x="112" y="985"/>
                      </a:lnTo>
                      <a:lnTo>
                        <a:pt x="110" y="984"/>
                      </a:lnTo>
                      <a:lnTo>
                        <a:pt x="106" y="982"/>
                      </a:lnTo>
                      <a:lnTo>
                        <a:pt x="105" y="979"/>
                      </a:lnTo>
                      <a:lnTo>
                        <a:pt x="105" y="977"/>
                      </a:lnTo>
                      <a:lnTo>
                        <a:pt x="103" y="976"/>
                      </a:lnTo>
                      <a:lnTo>
                        <a:pt x="101" y="974"/>
                      </a:lnTo>
                      <a:lnTo>
                        <a:pt x="101" y="972"/>
                      </a:lnTo>
                      <a:lnTo>
                        <a:pt x="101" y="971"/>
                      </a:lnTo>
                      <a:lnTo>
                        <a:pt x="101" y="969"/>
                      </a:lnTo>
                      <a:lnTo>
                        <a:pt x="101" y="967"/>
                      </a:lnTo>
                      <a:lnTo>
                        <a:pt x="101" y="966"/>
                      </a:lnTo>
                      <a:lnTo>
                        <a:pt x="101" y="964"/>
                      </a:lnTo>
                      <a:lnTo>
                        <a:pt x="100" y="961"/>
                      </a:lnTo>
                      <a:lnTo>
                        <a:pt x="98" y="959"/>
                      </a:lnTo>
                      <a:lnTo>
                        <a:pt x="98" y="957"/>
                      </a:lnTo>
                      <a:lnTo>
                        <a:pt x="96" y="956"/>
                      </a:lnTo>
                      <a:lnTo>
                        <a:pt x="96" y="953"/>
                      </a:lnTo>
                      <a:lnTo>
                        <a:pt x="96" y="951"/>
                      </a:lnTo>
                      <a:lnTo>
                        <a:pt x="96" y="949"/>
                      </a:lnTo>
                      <a:lnTo>
                        <a:pt x="95" y="946"/>
                      </a:lnTo>
                      <a:lnTo>
                        <a:pt x="93" y="944"/>
                      </a:lnTo>
                      <a:lnTo>
                        <a:pt x="91" y="944"/>
                      </a:lnTo>
                      <a:lnTo>
                        <a:pt x="91" y="941"/>
                      </a:lnTo>
                      <a:lnTo>
                        <a:pt x="91" y="939"/>
                      </a:lnTo>
                      <a:lnTo>
                        <a:pt x="90" y="938"/>
                      </a:lnTo>
                      <a:lnTo>
                        <a:pt x="90" y="936"/>
                      </a:lnTo>
                      <a:lnTo>
                        <a:pt x="88" y="934"/>
                      </a:lnTo>
                      <a:lnTo>
                        <a:pt x="88" y="933"/>
                      </a:lnTo>
                      <a:lnTo>
                        <a:pt x="86" y="931"/>
                      </a:lnTo>
                      <a:lnTo>
                        <a:pt x="86" y="930"/>
                      </a:lnTo>
                      <a:lnTo>
                        <a:pt x="85" y="928"/>
                      </a:lnTo>
                      <a:lnTo>
                        <a:pt x="83" y="926"/>
                      </a:lnTo>
                      <a:lnTo>
                        <a:pt x="81" y="926"/>
                      </a:lnTo>
                      <a:lnTo>
                        <a:pt x="81" y="923"/>
                      </a:lnTo>
                      <a:lnTo>
                        <a:pt x="79" y="921"/>
                      </a:lnTo>
                      <a:lnTo>
                        <a:pt x="79" y="920"/>
                      </a:lnTo>
                      <a:lnTo>
                        <a:pt x="78" y="920"/>
                      </a:lnTo>
                      <a:lnTo>
                        <a:pt x="74" y="916"/>
                      </a:lnTo>
                      <a:lnTo>
                        <a:pt x="73" y="916"/>
                      </a:lnTo>
                      <a:lnTo>
                        <a:pt x="73" y="918"/>
                      </a:lnTo>
                      <a:lnTo>
                        <a:pt x="71" y="916"/>
                      </a:lnTo>
                      <a:lnTo>
                        <a:pt x="71" y="915"/>
                      </a:lnTo>
                      <a:lnTo>
                        <a:pt x="69" y="913"/>
                      </a:lnTo>
                      <a:lnTo>
                        <a:pt x="69" y="910"/>
                      </a:lnTo>
                      <a:lnTo>
                        <a:pt x="69" y="908"/>
                      </a:lnTo>
                      <a:lnTo>
                        <a:pt x="69" y="907"/>
                      </a:lnTo>
                      <a:lnTo>
                        <a:pt x="69" y="902"/>
                      </a:lnTo>
                      <a:lnTo>
                        <a:pt x="66" y="898"/>
                      </a:lnTo>
                      <a:lnTo>
                        <a:pt x="66" y="897"/>
                      </a:lnTo>
                      <a:lnTo>
                        <a:pt x="64" y="897"/>
                      </a:lnTo>
                      <a:lnTo>
                        <a:pt x="64" y="895"/>
                      </a:lnTo>
                      <a:lnTo>
                        <a:pt x="63" y="893"/>
                      </a:lnTo>
                      <a:lnTo>
                        <a:pt x="61" y="892"/>
                      </a:lnTo>
                      <a:lnTo>
                        <a:pt x="59" y="892"/>
                      </a:lnTo>
                      <a:lnTo>
                        <a:pt x="57" y="890"/>
                      </a:lnTo>
                      <a:lnTo>
                        <a:pt x="57" y="888"/>
                      </a:lnTo>
                      <a:lnTo>
                        <a:pt x="56" y="887"/>
                      </a:lnTo>
                      <a:lnTo>
                        <a:pt x="54" y="885"/>
                      </a:lnTo>
                      <a:lnTo>
                        <a:pt x="54" y="884"/>
                      </a:lnTo>
                      <a:lnTo>
                        <a:pt x="52" y="882"/>
                      </a:lnTo>
                      <a:lnTo>
                        <a:pt x="49" y="882"/>
                      </a:lnTo>
                      <a:lnTo>
                        <a:pt x="49" y="880"/>
                      </a:lnTo>
                      <a:lnTo>
                        <a:pt x="47" y="879"/>
                      </a:lnTo>
                      <a:lnTo>
                        <a:pt x="46" y="877"/>
                      </a:lnTo>
                      <a:lnTo>
                        <a:pt x="44" y="875"/>
                      </a:lnTo>
                      <a:lnTo>
                        <a:pt x="44" y="874"/>
                      </a:lnTo>
                      <a:lnTo>
                        <a:pt x="42" y="869"/>
                      </a:lnTo>
                      <a:lnTo>
                        <a:pt x="41" y="867"/>
                      </a:lnTo>
                      <a:lnTo>
                        <a:pt x="41" y="864"/>
                      </a:lnTo>
                      <a:lnTo>
                        <a:pt x="41" y="862"/>
                      </a:lnTo>
                      <a:lnTo>
                        <a:pt x="41" y="861"/>
                      </a:lnTo>
                      <a:lnTo>
                        <a:pt x="41" y="857"/>
                      </a:lnTo>
                      <a:lnTo>
                        <a:pt x="41" y="856"/>
                      </a:lnTo>
                      <a:lnTo>
                        <a:pt x="41" y="854"/>
                      </a:lnTo>
                      <a:lnTo>
                        <a:pt x="42" y="854"/>
                      </a:lnTo>
                      <a:lnTo>
                        <a:pt x="44" y="852"/>
                      </a:lnTo>
                      <a:lnTo>
                        <a:pt x="46" y="849"/>
                      </a:lnTo>
                      <a:lnTo>
                        <a:pt x="46" y="847"/>
                      </a:lnTo>
                      <a:lnTo>
                        <a:pt x="49" y="847"/>
                      </a:lnTo>
                      <a:lnTo>
                        <a:pt x="49" y="846"/>
                      </a:lnTo>
                      <a:lnTo>
                        <a:pt x="51" y="846"/>
                      </a:lnTo>
                      <a:lnTo>
                        <a:pt x="52" y="844"/>
                      </a:lnTo>
                      <a:lnTo>
                        <a:pt x="54" y="842"/>
                      </a:lnTo>
                      <a:lnTo>
                        <a:pt x="54" y="841"/>
                      </a:lnTo>
                      <a:lnTo>
                        <a:pt x="54" y="839"/>
                      </a:lnTo>
                      <a:lnTo>
                        <a:pt x="54" y="838"/>
                      </a:lnTo>
                      <a:lnTo>
                        <a:pt x="56" y="838"/>
                      </a:lnTo>
                      <a:lnTo>
                        <a:pt x="57" y="838"/>
                      </a:lnTo>
                      <a:lnTo>
                        <a:pt x="59" y="836"/>
                      </a:lnTo>
                      <a:lnTo>
                        <a:pt x="61" y="836"/>
                      </a:lnTo>
                      <a:lnTo>
                        <a:pt x="81" y="792"/>
                      </a:lnTo>
                      <a:lnTo>
                        <a:pt x="98" y="755"/>
                      </a:lnTo>
                      <a:lnTo>
                        <a:pt x="125" y="700"/>
                      </a:lnTo>
                      <a:lnTo>
                        <a:pt x="181" y="586"/>
                      </a:lnTo>
                      <a:lnTo>
                        <a:pt x="184" y="576"/>
                      </a:lnTo>
                      <a:lnTo>
                        <a:pt x="189" y="568"/>
                      </a:lnTo>
                      <a:lnTo>
                        <a:pt x="191" y="562"/>
                      </a:lnTo>
                      <a:lnTo>
                        <a:pt x="198" y="547"/>
                      </a:lnTo>
                      <a:lnTo>
                        <a:pt x="203" y="539"/>
                      </a:lnTo>
                      <a:lnTo>
                        <a:pt x="213" y="516"/>
                      </a:lnTo>
                      <a:lnTo>
                        <a:pt x="218" y="506"/>
                      </a:lnTo>
                      <a:lnTo>
                        <a:pt x="228" y="484"/>
                      </a:lnTo>
                      <a:lnTo>
                        <a:pt x="235" y="470"/>
                      </a:lnTo>
                      <a:lnTo>
                        <a:pt x="237" y="465"/>
                      </a:lnTo>
                      <a:lnTo>
                        <a:pt x="235" y="465"/>
                      </a:lnTo>
                      <a:lnTo>
                        <a:pt x="233" y="465"/>
                      </a:lnTo>
                      <a:lnTo>
                        <a:pt x="231" y="463"/>
                      </a:lnTo>
                      <a:lnTo>
                        <a:pt x="235" y="458"/>
                      </a:lnTo>
                      <a:lnTo>
                        <a:pt x="235" y="457"/>
                      </a:lnTo>
                      <a:lnTo>
                        <a:pt x="237" y="455"/>
                      </a:lnTo>
                      <a:lnTo>
                        <a:pt x="237" y="453"/>
                      </a:lnTo>
                      <a:lnTo>
                        <a:pt x="238" y="448"/>
                      </a:lnTo>
                      <a:lnTo>
                        <a:pt x="240" y="448"/>
                      </a:lnTo>
                      <a:lnTo>
                        <a:pt x="242" y="447"/>
                      </a:lnTo>
                      <a:lnTo>
                        <a:pt x="243" y="447"/>
                      </a:lnTo>
                      <a:lnTo>
                        <a:pt x="247" y="445"/>
                      </a:lnTo>
                      <a:lnTo>
                        <a:pt x="250" y="443"/>
                      </a:lnTo>
                      <a:lnTo>
                        <a:pt x="253" y="442"/>
                      </a:lnTo>
                      <a:lnTo>
                        <a:pt x="255" y="442"/>
                      </a:lnTo>
                      <a:lnTo>
                        <a:pt x="255" y="440"/>
                      </a:lnTo>
                      <a:lnTo>
                        <a:pt x="258" y="438"/>
                      </a:lnTo>
                      <a:lnTo>
                        <a:pt x="258" y="437"/>
                      </a:lnTo>
                      <a:lnTo>
                        <a:pt x="262" y="432"/>
                      </a:lnTo>
                      <a:lnTo>
                        <a:pt x="264" y="430"/>
                      </a:lnTo>
                      <a:lnTo>
                        <a:pt x="265" y="429"/>
                      </a:lnTo>
                      <a:lnTo>
                        <a:pt x="265" y="427"/>
                      </a:lnTo>
                      <a:lnTo>
                        <a:pt x="265" y="425"/>
                      </a:lnTo>
                      <a:lnTo>
                        <a:pt x="262" y="427"/>
                      </a:lnTo>
                      <a:lnTo>
                        <a:pt x="260" y="427"/>
                      </a:lnTo>
                      <a:lnTo>
                        <a:pt x="258" y="427"/>
                      </a:lnTo>
                      <a:lnTo>
                        <a:pt x="257" y="427"/>
                      </a:lnTo>
                      <a:lnTo>
                        <a:pt x="257" y="429"/>
                      </a:lnTo>
                      <a:lnTo>
                        <a:pt x="255" y="429"/>
                      </a:lnTo>
                      <a:lnTo>
                        <a:pt x="253" y="429"/>
                      </a:lnTo>
                      <a:lnTo>
                        <a:pt x="252" y="430"/>
                      </a:lnTo>
                      <a:lnTo>
                        <a:pt x="252" y="432"/>
                      </a:lnTo>
                      <a:lnTo>
                        <a:pt x="248" y="432"/>
                      </a:lnTo>
                      <a:lnTo>
                        <a:pt x="247" y="432"/>
                      </a:lnTo>
                      <a:lnTo>
                        <a:pt x="247" y="434"/>
                      </a:lnTo>
                      <a:lnTo>
                        <a:pt x="247" y="435"/>
                      </a:lnTo>
                      <a:lnTo>
                        <a:pt x="245" y="435"/>
                      </a:lnTo>
                      <a:lnTo>
                        <a:pt x="245" y="437"/>
                      </a:lnTo>
                      <a:lnTo>
                        <a:pt x="243" y="437"/>
                      </a:lnTo>
                      <a:lnTo>
                        <a:pt x="242" y="437"/>
                      </a:lnTo>
                      <a:lnTo>
                        <a:pt x="240" y="437"/>
                      </a:lnTo>
                      <a:lnTo>
                        <a:pt x="238" y="437"/>
                      </a:lnTo>
                      <a:lnTo>
                        <a:pt x="238" y="438"/>
                      </a:lnTo>
                      <a:lnTo>
                        <a:pt x="237" y="440"/>
                      </a:lnTo>
                      <a:lnTo>
                        <a:pt x="235" y="438"/>
                      </a:lnTo>
                      <a:lnTo>
                        <a:pt x="233" y="438"/>
                      </a:lnTo>
                      <a:lnTo>
                        <a:pt x="233" y="437"/>
                      </a:lnTo>
                      <a:lnTo>
                        <a:pt x="231" y="437"/>
                      </a:lnTo>
                      <a:lnTo>
                        <a:pt x="231" y="438"/>
                      </a:lnTo>
                      <a:lnTo>
                        <a:pt x="230" y="438"/>
                      </a:lnTo>
                      <a:lnTo>
                        <a:pt x="228" y="438"/>
                      </a:lnTo>
                      <a:lnTo>
                        <a:pt x="226" y="437"/>
                      </a:lnTo>
                      <a:lnTo>
                        <a:pt x="225" y="437"/>
                      </a:lnTo>
                      <a:lnTo>
                        <a:pt x="223" y="438"/>
                      </a:lnTo>
                      <a:lnTo>
                        <a:pt x="221" y="440"/>
                      </a:lnTo>
                      <a:lnTo>
                        <a:pt x="220" y="440"/>
                      </a:lnTo>
                      <a:lnTo>
                        <a:pt x="218" y="440"/>
                      </a:lnTo>
                      <a:lnTo>
                        <a:pt x="218" y="442"/>
                      </a:lnTo>
                      <a:lnTo>
                        <a:pt x="218" y="443"/>
                      </a:lnTo>
                      <a:lnTo>
                        <a:pt x="216" y="442"/>
                      </a:lnTo>
                      <a:lnTo>
                        <a:pt x="215" y="442"/>
                      </a:lnTo>
                      <a:lnTo>
                        <a:pt x="213" y="443"/>
                      </a:lnTo>
                      <a:lnTo>
                        <a:pt x="211" y="443"/>
                      </a:lnTo>
                      <a:lnTo>
                        <a:pt x="209" y="443"/>
                      </a:lnTo>
                      <a:lnTo>
                        <a:pt x="209" y="442"/>
                      </a:lnTo>
                      <a:lnTo>
                        <a:pt x="208" y="440"/>
                      </a:lnTo>
                      <a:lnTo>
                        <a:pt x="206" y="440"/>
                      </a:lnTo>
                      <a:lnTo>
                        <a:pt x="204" y="440"/>
                      </a:lnTo>
                      <a:lnTo>
                        <a:pt x="203" y="440"/>
                      </a:lnTo>
                      <a:lnTo>
                        <a:pt x="203" y="438"/>
                      </a:lnTo>
                      <a:lnTo>
                        <a:pt x="203" y="437"/>
                      </a:lnTo>
                      <a:lnTo>
                        <a:pt x="204" y="434"/>
                      </a:lnTo>
                      <a:lnTo>
                        <a:pt x="206" y="432"/>
                      </a:lnTo>
                      <a:lnTo>
                        <a:pt x="206" y="430"/>
                      </a:lnTo>
                      <a:lnTo>
                        <a:pt x="206" y="429"/>
                      </a:lnTo>
                      <a:lnTo>
                        <a:pt x="206" y="427"/>
                      </a:lnTo>
                      <a:lnTo>
                        <a:pt x="204" y="425"/>
                      </a:lnTo>
                      <a:lnTo>
                        <a:pt x="204" y="424"/>
                      </a:lnTo>
                      <a:lnTo>
                        <a:pt x="203" y="424"/>
                      </a:lnTo>
                      <a:lnTo>
                        <a:pt x="201" y="424"/>
                      </a:lnTo>
                      <a:lnTo>
                        <a:pt x="199" y="425"/>
                      </a:lnTo>
                      <a:lnTo>
                        <a:pt x="198" y="425"/>
                      </a:lnTo>
                      <a:lnTo>
                        <a:pt x="196" y="425"/>
                      </a:lnTo>
                      <a:lnTo>
                        <a:pt x="194" y="425"/>
                      </a:lnTo>
                      <a:lnTo>
                        <a:pt x="193" y="424"/>
                      </a:lnTo>
                      <a:lnTo>
                        <a:pt x="193" y="422"/>
                      </a:lnTo>
                      <a:lnTo>
                        <a:pt x="191" y="422"/>
                      </a:lnTo>
                      <a:lnTo>
                        <a:pt x="191" y="420"/>
                      </a:lnTo>
                      <a:lnTo>
                        <a:pt x="189" y="420"/>
                      </a:lnTo>
                      <a:lnTo>
                        <a:pt x="188" y="420"/>
                      </a:lnTo>
                      <a:lnTo>
                        <a:pt x="186" y="420"/>
                      </a:lnTo>
                      <a:lnTo>
                        <a:pt x="184" y="420"/>
                      </a:lnTo>
                      <a:lnTo>
                        <a:pt x="184" y="419"/>
                      </a:lnTo>
                      <a:lnTo>
                        <a:pt x="184" y="417"/>
                      </a:lnTo>
                      <a:lnTo>
                        <a:pt x="182" y="417"/>
                      </a:lnTo>
                      <a:lnTo>
                        <a:pt x="182" y="415"/>
                      </a:lnTo>
                      <a:lnTo>
                        <a:pt x="181" y="415"/>
                      </a:lnTo>
                      <a:lnTo>
                        <a:pt x="179" y="415"/>
                      </a:lnTo>
                      <a:lnTo>
                        <a:pt x="177" y="415"/>
                      </a:lnTo>
                      <a:lnTo>
                        <a:pt x="177" y="414"/>
                      </a:lnTo>
                      <a:lnTo>
                        <a:pt x="176" y="414"/>
                      </a:lnTo>
                      <a:lnTo>
                        <a:pt x="176" y="412"/>
                      </a:lnTo>
                      <a:lnTo>
                        <a:pt x="176" y="411"/>
                      </a:lnTo>
                      <a:lnTo>
                        <a:pt x="174" y="411"/>
                      </a:lnTo>
                      <a:lnTo>
                        <a:pt x="174" y="407"/>
                      </a:lnTo>
                      <a:lnTo>
                        <a:pt x="174" y="406"/>
                      </a:lnTo>
                      <a:lnTo>
                        <a:pt x="172" y="406"/>
                      </a:lnTo>
                      <a:lnTo>
                        <a:pt x="172" y="404"/>
                      </a:lnTo>
                      <a:lnTo>
                        <a:pt x="171" y="402"/>
                      </a:lnTo>
                      <a:lnTo>
                        <a:pt x="169" y="404"/>
                      </a:lnTo>
                      <a:lnTo>
                        <a:pt x="169" y="402"/>
                      </a:lnTo>
                      <a:lnTo>
                        <a:pt x="166" y="401"/>
                      </a:lnTo>
                      <a:lnTo>
                        <a:pt x="166" y="402"/>
                      </a:lnTo>
                      <a:lnTo>
                        <a:pt x="166" y="401"/>
                      </a:lnTo>
                      <a:lnTo>
                        <a:pt x="164" y="401"/>
                      </a:lnTo>
                      <a:lnTo>
                        <a:pt x="166" y="399"/>
                      </a:lnTo>
                      <a:lnTo>
                        <a:pt x="166" y="397"/>
                      </a:lnTo>
                      <a:lnTo>
                        <a:pt x="164" y="397"/>
                      </a:lnTo>
                      <a:lnTo>
                        <a:pt x="164" y="399"/>
                      </a:lnTo>
                      <a:lnTo>
                        <a:pt x="162" y="397"/>
                      </a:lnTo>
                      <a:lnTo>
                        <a:pt x="162" y="399"/>
                      </a:lnTo>
                      <a:lnTo>
                        <a:pt x="162" y="397"/>
                      </a:lnTo>
                      <a:lnTo>
                        <a:pt x="161" y="397"/>
                      </a:lnTo>
                      <a:lnTo>
                        <a:pt x="159" y="397"/>
                      </a:lnTo>
                      <a:lnTo>
                        <a:pt x="157" y="397"/>
                      </a:lnTo>
                      <a:lnTo>
                        <a:pt x="157" y="396"/>
                      </a:lnTo>
                      <a:lnTo>
                        <a:pt x="155" y="396"/>
                      </a:lnTo>
                      <a:lnTo>
                        <a:pt x="155" y="397"/>
                      </a:lnTo>
                      <a:lnTo>
                        <a:pt x="154" y="397"/>
                      </a:lnTo>
                      <a:lnTo>
                        <a:pt x="154" y="396"/>
                      </a:lnTo>
                      <a:lnTo>
                        <a:pt x="152" y="397"/>
                      </a:lnTo>
                      <a:lnTo>
                        <a:pt x="152" y="399"/>
                      </a:lnTo>
                      <a:lnTo>
                        <a:pt x="150" y="397"/>
                      </a:lnTo>
                      <a:lnTo>
                        <a:pt x="149" y="397"/>
                      </a:lnTo>
                      <a:lnTo>
                        <a:pt x="147" y="397"/>
                      </a:lnTo>
                      <a:lnTo>
                        <a:pt x="147" y="399"/>
                      </a:lnTo>
                      <a:lnTo>
                        <a:pt x="145" y="397"/>
                      </a:lnTo>
                      <a:lnTo>
                        <a:pt x="144" y="397"/>
                      </a:lnTo>
                      <a:lnTo>
                        <a:pt x="142" y="397"/>
                      </a:lnTo>
                      <a:lnTo>
                        <a:pt x="144" y="396"/>
                      </a:lnTo>
                      <a:lnTo>
                        <a:pt x="142" y="396"/>
                      </a:lnTo>
                      <a:lnTo>
                        <a:pt x="142" y="394"/>
                      </a:lnTo>
                      <a:lnTo>
                        <a:pt x="142" y="392"/>
                      </a:lnTo>
                      <a:lnTo>
                        <a:pt x="140" y="394"/>
                      </a:lnTo>
                      <a:lnTo>
                        <a:pt x="140" y="396"/>
                      </a:lnTo>
                      <a:lnTo>
                        <a:pt x="139" y="394"/>
                      </a:lnTo>
                      <a:lnTo>
                        <a:pt x="139" y="392"/>
                      </a:lnTo>
                      <a:lnTo>
                        <a:pt x="137" y="392"/>
                      </a:lnTo>
                      <a:lnTo>
                        <a:pt x="137" y="394"/>
                      </a:lnTo>
                      <a:lnTo>
                        <a:pt x="135" y="394"/>
                      </a:lnTo>
                      <a:lnTo>
                        <a:pt x="135" y="392"/>
                      </a:lnTo>
                      <a:lnTo>
                        <a:pt x="135" y="391"/>
                      </a:lnTo>
                      <a:lnTo>
                        <a:pt x="133" y="392"/>
                      </a:lnTo>
                      <a:lnTo>
                        <a:pt x="133" y="391"/>
                      </a:lnTo>
                      <a:lnTo>
                        <a:pt x="132" y="391"/>
                      </a:lnTo>
                      <a:lnTo>
                        <a:pt x="130" y="391"/>
                      </a:lnTo>
                      <a:lnTo>
                        <a:pt x="130" y="389"/>
                      </a:lnTo>
                      <a:lnTo>
                        <a:pt x="128" y="388"/>
                      </a:lnTo>
                      <a:lnTo>
                        <a:pt x="127" y="388"/>
                      </a:lnTo>
                      <a:lnTo>
                        <a:pt x="125" y="386"/>
                      </a:lnTo>
                      <a:lnTo>
                        <a:pt x="123" y="386"/>
                      </a:lnTo>
                      <a:lnTo>
                        <a:pt x="125" y="384"/>
                      </a:lnTo>
                      <a:lnTo>
                        <a:pt x="123" y="384"/>
                      </a:lnTo>
                      <a:lnTo>
                        <a:pt x="122" y="384"/>
                      </a:lnTo>
                      <a:lnTo>
                        <a:pt x="122" y="386"/>
                      </a:lnTo>
                      <a:lnTo>
                        <a:pt x="120" y="384"/>
                      </a:lnTo>
                      <a:lnTo>
                        <a:pt x="120" y="386"/>
                      </a:lnTo>
                      <a:lnTo>
                        <a:pt x="118" y="386"/>
                      </a:lnTo>
                      <a:lnTo>
                        <a:pt x="118" y="384"/>
                      </a:lnTo>
                      <a:lnTo>
                        <a:pt x="118" y="386"/>
                      </a:lnTo>
                      <a:lnTo>
                        <a:pt x="117" y="386"/>
                      </a:lnTo>
                      <a:lnTo>
                        <a:pt x="115" y="384"/>
                      </a:lnTo>
                      <a:lnTo>
                        <a:pt x="113" y="384"/>
                      </a:lnTo>
                      <a:lnTo>
                        <a:pt x="113" y="383"/>
                      </a:lnTo>
                      <a:lnTo>
                        <a:pt x="113" y="381"/>
                      </a:lnTo>
                      <a:lnTo>
                        <a:pt x="113" y="379"/>
                      </a:lnTo>
                      <a:lnTo>
                        <a:pt x="113" y="378"/>
                      </a:lnTo>
                      <a:lnTo>
                        <a:pt x="112" y="378"/>
                      </a:lnTo>
                      <a:lnTo>
                        <a:pt x="110" y="378"/>
                      </a:lnTo>
                      <a:lnTo>
                        <a:pt x="108" y="378"/>
                      </a:lnTo>
                      <a:lnTo>
                        <a:pt x="106" y="378"/>
                      </a:lnTo>
                      <a:lnTo>
                        <a:pt x="106" y="376"/>
                      </a:lnTo>
                      <a:lnTo>
                        <a:pt x="105" y="376"/>
                      </a:lnTo>
                      <a:lnTo>
                        <a:pt x="105" y="374"/>
                      </a:lnTo>
                      <a:lnTo>
                        <a:pt x="103" y="374"/>
                      </a:lnTo>
                      <a:lnTo>
                        <a:pt x="103" y="373"/>
                      </a:lnTo>
                      <a:lnTo>
                        <a:pt x="103" y="371"/>
                      </a:lnTo>
                      <a:lnTo>
                        <a:pt x="101" y="371"/>
                      </a:lnTo>
                      <a:lnTo>
                        <a:pt x="100" y="371"/>
                      </a:lnTo>
                      <a:lnTo>
                        <a:pt x="98" y="371"/>
                      </a:lnTo>
                      <a:lnTo>
                        <a:pt x="96" y="370"/>
                      </a:lnTo>
                      <a:lnTo>
                        <a:pt x="96" y="371"/>
                      </a:lnTo>
                      <a:lnTo>
                        <a:pt x="95" y="371"/>
                      </a:lnTo>
                      <a:lnTo>
                        <a:pt x="93" y="370"/>
                      </a:lnTo>
                      <a:lnTo>
                        <a:pt x="95" y="370"/>
                      </a:lnTo>
                      <a:lnTo>
                        <a:pt x="93" y="368"/>
                      </a:lnTo>
                      <a:lnTo>
                        <a:pt x="91" y="368"/>
                      </a:lnTo>
                      <a:lnTo>
                        <a:pt x="90" y="368"/>
                      </a:lnTo>
                      <a:lnTo>
                        <a:pt x="90" y="366"/>
                      </a:lnTo>
                      <a:lnTo>
                        <a:pt x="88" y="366"/>
                      </a:lnTo>
                      <a:lnTo>
                        <a:pt x="88" y="365"/>
                      </a:lnTo>
                      <a:lnTo>
                        <a:pt x="86" y="363"/>
                      </a:lnTo>
                      <a:lnTo>
                        <a:pt x="86" y="361"/>
                      </a:lnTo>
                      <a:lnTo>
                        <a:pt x="86" y="360"/>
                      </a:lnTo>
                      <a:lnTo>
                        <a:pt x="86" y="358"/>
                      </a:lnTo>
                      <a:lnTo>
                        <a:pt x="88" y="355"/>
                      </a:lnTo>
                      <a:lnTo>
                        <a:pt x="88" y="353"/>
                      </a:lnTo>
                      <a:lnTo>
                        <a:pt x="90" y="351"/>
                      </a:lnTo>
                      <a:lnTo>
                        <a:pt x="90" y="350"/>
                      </a:lnTo>
                      <a:lnTo>
                        <a:pt x="88" y="350"/>
                      </a:lnTo>
                      <a:lnTo>
                        <a:pt x="88" y="347"/>
                      </a:lnTo>
                      <a:lnTo>
                        <a:pt x="88" y="345"/>
                      </a:lnTo>
                      <a:lnTo>
                        <a:pt x="86" y="345"/>
                      </a:lnTo>
                      <a:lnTo>
                        <a:pt x="85" y="345"/>
                      </a:lnTo>
                      <a:lnTo>
                        <a:pt x="85" y="343"/>
                      </a:lnTo>
                      <a:lnTo>
                        <a:pt x="85" y="342"/>
                      </a:lnTo>
                      <a:lnTo>
                        <a:pt x="83" y="340"/>
                      </a:lnTo>
                      <a:lnTo>
                        <a:pt x="81" y="340"/>
                      </a:lnTo>
                      <a:lnTo>
                        <a:pt x="78" y="343"/>
                      </a:lnTo>
                      <a:lnTo>
                        <a:pt x="78" y="345"/>
                      </a:lnTo>
                      <a:lnTo>
                        <a:pt x="76" y="347"/>
                      </a:lnTo>
                      <a:lnTo>
                        <a:pt x="74" y="347"/>
                      </a:lnTo>
                      <a:lnTo>
                        <a:pt x="74" y="348"/>
                      </a:lnTo>
                      <a:lnTo>
                        <a:pt x="73" y="348"/>
                      </a:lnTo>
                      <a:lnTo>
                        <a:pt x="71" y="351"/>
                      </a:lnTo>
                      <a:lnTo>
                        <a:pt x="71" y="353"/>
                      </a:lnTo>
                      <a:lnTo>
                        <a:pt x="68" y="350"/>
                      </a:lnTo>
                      <a:lnTo>
                        <a:pt x="66" y="348"/>
                      </a:lnTo>
                      <a:lnTo>
                        <a:pt x="66" y="347"/>
                      </a:lnTo>
                      <a:lnTo>
                        <a:pt x="63" y="347"/>
                      </a:lnTo>
                      <a:lnTo>
                        <a:pt x="63" y="345"/>
                      </a:lnTo>
                      <a:lnTo>
                        <a:pt x="61" y="343"/>
                      </a:lnTo>
                      <a:lnTo>
                        <a:pt x="59" y="343"/>
                      </a:lnTo>
                      <a:lnTo>
                        <a:pt x="57" y="345"/>
                      </a:lnTo>
                      <a:lnTo>
                        <a:pt x="56" y="345"/>
                      </a:lnTo>
                      <a:lnTo>
                        <a:pt x="56" y="343"/>
                      </a:lnTo>
                      <a:lnTo>
                        <a:pt x="54" y="343"/>
                      </a:lnTo>
                      <a:lnTo>
                        <a:pt x="52" y="342"/>
                      </a:lnTo>
                      <a:lnTo>
                        <a:pt x="51" y="342"/>
                      </a:lnTo>
                      <a:lnTo>
                        <a:pt x="52" y="340"/>
                      </a:lnTo>
                      <a:lnTo>
                        <a:pt x="51" y="340"/>
                      </a:lnTo>
                      <a:lnTo>
                        <a:pt x="51" y="338"/>
                      </a:lnTo>
                      <a:lnTo>
                        <a:pt x="51" y="337"/>
                      </a:lnTo>
                      <a:lnTo>
                        <a:pt x="49" y="337"/>
                      </a:lnTo>
                      <a:lnTo>
                        <a:pt x="49" y="335"/>
                      </a:lnTo>
                      <a:lnTo>
                        <a:pt x="47" y="335"/>
                      </a:lnTo>
                      <a:lnTo>
                        <a:pt x="46" y="335"/>
                      </a:lnTo>
                      <a:lnTo>
                        <a:pt x="46" y="333"/>
                      </a:lnTo>
                      <a:lnTo>
                        <a:pt x="46" y="332"/>
                      </a:lnTo>
                      <a:lnTo>
                        <a:pt x="46" y="330"/>
                      </a:lnTo>
                      <a:lnTo>
                        <a:pt x="47" y="330"/>
                      </a:lnTo>
                      <a:lnTo>
                        <a:pt x="46" y="328"/>
                      </a:lnTo>
                      <a:lnTo>
                        <a:pt x="46" y="327"/>
                      </a:lnTo>
                      <a:lnTo>
                        <a:pt x="44" y="325"/>
                      </a:lnTo>
                      <a:lnTo>
                        <a:pt x="42" y="325"/>
                      </a:lnTo>
                      <a:lnTo>
                        <a:pt x="42" y="324"/>
                      </a:lnTo>
                      <a:lnTo>
                        <a:pt x="42" y="322"/>
                      </a:lnTo>
                      <a:lnTo>
                        <a:pt x="44" y="322"/>
                      </a:lnTo>
                      <a:lnTo>
                        <a:pt x="44" y="320"/>
                      </a:lnTo>
                      <a:lnTo>
                        <a:pt x="42" y="319"/>
                      </a:lnTo>
                      <a:lnTo>
                        <a:pt x="41" y="319"/>
                      </a:lnTo>
                      <a:lnTo>
                        <a:pt x="41" y="320"/>
                      </a:lnTo>
                      <a:lnTo>
                        <a:pt x="41" y="319"/>
                      </a:lnTo>
                      <a:lnTo>
                        <a:pt x="39" y="319"/>
                      </a:lnTo>
                      <a:lnTo>
                        <a:pt x="39" y="317"/>
                      </a:lnTo>
                      <a:lnTo>
                        <a:pt x="39" y="315"/>
                      </a:lnTo>
                      <a:lnTo>
                        <a:pt x="37" y="315"/>
                      </a:lnTo>
                      <a:lnTo>
                        <a:pt x="37" y="317"/>
                      </a:lnTo>
                      <a:lnTo>
                        <a:pt x="37" y="315"/>
                      </a:lnTo>
                      <a:lnTo>
                        <a:pt x="36" y="315"/>
                      </a:lnTo>
                      <a:lnTo>
                        <a:pt x="34" y="314"/>
                      </a:lnTo>
                      <a:lnTo>
                        <a:pt x="32" y="314"/>
                      </a:lnTo>
                      <a:lnTo>
                        <a:pt x="32" y="312"/>
                      </a:lnTo>
                      <a:lnTo>
                        <a:pt x="30" y="312"/>
                      </a:lnTo>
                      <a:lnTo>
                        <a:pt x="30" y="310"/>
                      </a:lnTo>
                      <a:lnTo>
                        <a:pt x="29" y="310"/>
                      </a:lnTo>
                      <a:lnTo>
                        <a:pt x="29" y="309"/>
                      </a:lnTo>
                      <a:lnTo>
                        <a:pt x="27" y="309"/>
                      </a:lnTo>
                      <a:lnTo>
                        <a:pt x="27" y="307"/>
                      </a:lnTo>
                      <a:lnTo>
                        <a:pt x="25" y="305"/>
                      </a:lnTo>
                      <a:lnTo>
                        <a:pt x="24" y="305"/>
                      </a:lnTo>
                      <a:lnTo>
                        <a:pt x="22" y="305"/>
                      </a:lnTo>
                      <a:lnTo>
                        <a:pt x="22" y="304"/>
                      </a:lnTo>
                      <a:lnTo>
                        <a:pt x="20" y="302"/>
                      </a:lnTo>
                      <a:lnTo>
                        <a:pt x="19" y="302"/>
                      </a:lnTo>
                      <a:lnTo>
                        <a:pt x="19" y="301"/>
                      </a:lnTo>
                      <a:lnTo>
                        <a:pt x="19" y="299"/>
                      </a:lnTo>
                      <a:lnTo>
                        <a:pt x="17" y="299"/>
                      </a:lnTo>
                      <a:lnTo>
                        <a:pt x="17" y="297"/>
                      </a:lnTo>
                      <a:lnTo>
                        <a:pt x="15" y="296"/>
                      </a:lnTo>
                      <a:lnTo>
                        <a:pt x="17" y="296"/>
                      </a:lnTo>
                      <a:lnTo>
                        <a:pt x="17" y="294"/>
                      </a:lnTo>
                      <a:lnTo>
                        <a:pt x="17" y="292"/>
                      </a:lnTo>
                      <a:lnTo>
                        <a:pt x="17" y="291"/>
                      </a:lnTo>
                      <a:lnTo>
                        <a:pt x="19" y="289"/>
                      </a:lnTo>
                      <a:lnTo>
                        <a:pt x="19" y="287"/>
                      </a:lnTo>
                      <a:lnTo>
                        <a:pt x="17" y="286"/>
                      </a:lnTo>
                      <a:lnTo>
                        <a:pt x="17" y="284"/>
                      </a:lnTo>
                      <a:lnTo>
                        <a:pt x="15" y="282"/>
                      </a:lnTo>
                      <a:lnTo>
                        <a:pt x="17" y="282"/>
                      </a:lnTo>
                      <a:lnTo>
                        <a:pt x="17" y="281"/>
                      </a:lnTo>
                      <a:lnTo>
                        <a:pt x="17" y="279"/>
                      </a:lnTo>
                      <a:lnTo>
                        <a:pt x="15" y="279"/>
                      </a:lnTo>
                      <a:lnTo>
                        <a:pt x="15" y="278"/>
                      </a:lnTo>
                      <a:lnTo>
                        <a:pt x="14" y="276"/>
                      </a:lnTo>
                      <a:lnTo>
                        <a:pt x="12" y="276"/>
                      </a:lnTo>
                      <a:lnTo>
                        <a:pt x="12" y="274"/>
                      </a:lnTo>
                      <a:lnTo>
                        <a:pt x="10" y="274"/>
                      </a:lnTo>
                      <a:lnTo>
                        <a:pt x="9" y="274"/>
                      </a:lnTo>
                      <a:lnTo>
                        <a:pt x="7" y="274"/>
                      </a:lnTo>
                      <a:lnTo>
                        <a:pt x="5" y="273"/>
                      </a:lnTo>
                      <a:lnTo>
                        <a:pt x="3" y="271"/>
                      </a:lnTo>
                      <a:lnTo>
                        <a:pt x="3" y="269"/>
                      </a:lnTo>
                      <a:lnTo>
                        <a:pt x="3" y="268"/>
                      </a:lnTo>
                      <a:lnTo>
                        <a:pt x="2" y="268"/>
                      </a:lnTo>
                      <a:lnTo>
                        <a:pt x="3" y="268"/>
                      </a:lnTo>
                      <a:lnTo>
                        <a:pt x="3" y="266"/>
                      </a:lnTo>
                      <a:lnTo>
                        <a:pt x="3" y="264"/>
                      </a:lnTo>
                      <a:lnTo>
                        <a:pt x="3" y="263"/>
                      </a:lnTo>
                      <a:lnTo>
                        <a:pt x="2" y="259"/>
                      </a:lnTo>
                      <a:lnTo>
                        <a:pt x="2" y="258"/>
                      </a:lnTo>
                      <a:lnTo>
                        <a:pt x="2" y="256"/>
                      </a:lnTo>
                      <a:lnTo>
                        <a:pt x="3" y="256"/>
                      </a:lnTo>
                      <a:lnTo>
                        <a:pt x="3" y="255"/>
                      </a:lnTo>
                      <a:lnTo>
                        <a:pt x="3" y="253"/>
                      </a:lnTo>
                      <a:lnTo>
                        <a:pt x="3" y="251"/>
                      </a:lnTo>
                      <a:lnTo>
                        <a:pt x="3" y="248"/>
                      </a:lnTo>
                      <a:lnTo>
                        <a:pt x="3" y="246"/>
                      </a:lnTo>
                      <a:lnTo>
                        <a:pt x="3" y="245"/>
                      </a:lnTo>
                      <a:lnTo>
                        <a:pt x="2" y="245"/>
                      </a:lnTo>
                      <a:lnTo>
                        <a:pt x="2" y="243"/>
                      </a:lnTo>
                      <a:lnTo>
                        <a:pt x="2" y="241"/>
                      </a:lnTo>
                      <a:lnTo>
                        <a:pt x="0" y="241"/>
                      </a:lnTo>
                      <a:lnTo>
                        <a:pt x="0" y="240"/>
                      </a:lnTo>
                      <a:close/>
                      <a:moveTo>
                        <a:pt x="1110" y="299"/>
                      </a:moveTo>
                      <a:lnTo>
                        <a:pt x="1110" y="297"/>
                      </a:lnTo>
                      <a:lnTo>
                        <a:pt x="1110" y="299"/>
                      </a:lnTo>
                      <a:close/>
                      <a:moveTo>
                        <a:pt x="1115" y="299"/>
                      </a:moveTo>
                      <a:lnTo>
                        <a:pt x="1115" y="301"/>
                      </a:lnTo>
                      <a:lnTo>
                        <a:pt x="1113" y="299"/>
                      </a:lnTo>
                      <a:lnTo>
                        <a:pt x="1115" y="299"/>
                      </a:lnTo>
                      <a:close/>
                      <a:moveTo>
                        <a:pt x="1116" y="301"/>
                      </a:moveTo>
                      <a:lnTo>
                        <a:pt x="1118" y="301"/>
                      </a:lnTo>
                      <a:lnTo>
                        <a:pt x="1116" y="301"/>
                      </a:lnTo>
                      <a:close/>
                      <a:moveTo>
                        <a:pt x="1123" y="301"/>
                      </a:moveTo>
                      <a:lnTo>
                        <a:pt x="1122" y="301"/>
                      </a:lnTo>
                      <a:lnTo>
                        <a:pt x="1123" y="301"/>
                      </a:lnTo>
                      <a:close/>
                      <a:moveTo>
                        <a:pt x="1123" y="302"/>
                      </a:moveTo>
                      <a:lnTo>
                        <a:pt x="1125" y="302"/>
                      </a:lnTo>
                      <a:lnTo>
                        <a:pt x="1123" y="302"/>
                      </a:lnTo>
                      <a:close/>
                      <a:moveTo>
                        <a:pt x="1194" y="332"/>
                      </a:moveTo>
                      <a:lnTo>
                        <a:pt x="1192" y="330"/>
                      </a:lnTo>
                      <a:lnTo>
                        <a:pt x="1192" y="328"/>
                      </a:lnTo>
                      <a:lnTo>
                        <a:pt x="1192" y="327"/>
                      </a:lnTo>
                      <a:lnTo>
                        <a:pt x="1192" y="325"/>
                      </a:lnTo>
                      <a:lnTo>
                        <a:pt x="1194" y="325"/>
                      </a:lnTo>
                      <a:lnTo>
                        <a:pt x="1194" y="327"/>
                      </a:lnTo>
                      <a:lnTo>
                        <a:pt x="1192" y="327"/>
                      </a:lnTo>
                      <a:lnTo>
                        <a:pt x="1192" y="328"/>
                      </a:lnTo>
                      <a:lnTo>
                        <a:pt x="1194" y="328"/>
                      </a:lnTo>
                      <a:lnTo>
                        <a:pt x="1194" y="330"/>
                      </a:lnTo>
                      <a:lnTo>
                        <a:pt x="1194" y="332"/>
                      </a:lnTo>
                      <a:close/>
                      <a:moveTo>
                        <a:pt x="1218" y="342"/>
                      </a:moveTo>
                      <a:lnTo>
                        <a:pt x="1216" y="340"/>
                      </a:lnTo>
                      <a:lnTo>
                        <a:pt x="1216" y="338"/>
                      </a:lnTo>
                      <a:lnTo>
                        <a:pt x="1214" y="338"/>
                      </a:lnTo>
                      <a:lnTo>
                        <a:pt x="1214" y="337"/>
                      </a:lnTo>
                      <a:lnTo>
                        <a:pt x="1216" y="337"/>
                      </a:lnTo>
                      <a:lnTo>
                        <a:pt x="1216" y="338"/>
                      </a:lnTo>
                      <a:lnTo>
                        <a:pt x="1218" y="340"/>
                      </a:lnTo>
                      <a:lnTo>
                        <a:pt x="1218" y="342"/>
                      </a:lnTo>
                      <a:close/>
                      <a:moveTo>
                        <a:pt x="1182" y="330"/>
                      </a:moveTo>
                      <a:lnTo>
                        <a:pt x="1182" y="328"/>
                      </a:lnTo>
                      <a:lnTo>
                        <a:pt x="1182" y="327"/>
                      </a:lnTo>
                      <a:lnTo>
                        <a:pt x="1184" y="327"/>
                      </a:lnTo>
                      <a:lnTo>
                        <a:pt x="1184" y="325"/>
                      </a:lnTo>
                      <a:lnTo>
                        <a:pt x="1186" y="325"/>
                      </a:lnTo>
                      <a:lnTo>
                        <a:pt x="1186" y="327"/>
                      </a:lnTo>
                      <a:lnTo>
                        <a:pt x="1184" y="328"/>
                      </a:lnTo>
                      <a:lnTo>
                        <a:pt x="1182" y="330"/>
                      </a:lnTo>
                      <a:close/>
                      <a:moveTo>
                        <a:pt x="1179" y="328"/>
                      </a:moveTo>
                      <a:lnTo>
                        <a:pt x="1179" y="327"/>
                      </a:lnTo>
                      <a:lnTo>
                        <a:pt x="1179" y="328"/>
                      </a:lnTo>
                      <a:close/>
                      <a:moveTo>
                        <a:pt x="1187" y="332"/>
                      </a:moveTo>
                      <a:lnTo>
                        <a:pt x="1187" y="330"/>
                      </a:lnTo>
                      <a:lnTo>
                        <a:pt x="1189" y="330"/>
                      </a:lnTo>
                      <a:lnTo>
                        <a:pt x="1187" y="330"/>
                      </a:lnTo>
                      <a:lnTo>
                        <a:pt x="1187" y="332"/>
                      </a:lnTo>
                      <a:close/>
                      <a:moveTo>
                        <a:pt x="1181" y="332"/>
                      </a:moveTo>
                      <a:lnTo>
                        <a:pt x="1182" y="332"/>
                      </a:lnTo>
                      <a:lnTo>
                        <a:pt x="1181" y="332"/>
                      </a:lnTo>
                      <a:close/>
                      <a:moveTo>
                        <a:pt x="1127" y="302"/>
                      </a:moveTo>
                      <a:lnTo>
                        <a:pt x="1127" y="304"/>
                      </a:lnTo>
                      <a:lnTo>
                        <a:pt x="1128" y="304"/>
                      </a:lnTo>
                      <a:lnTo>
                        <a:pt x="1127" y="304"/>
                      </a:lnTo>
                      <a:lnTo>
                        <a:pt x="1125" y="304"/>
                      </a:lnTo>
                      <a:lnTo>
                        <a:pt x="1125" y="302"/>
                      </a:lnTo>
                      <a:lnTo>
                        <a:pt x="1127" y="302"/>
                      </a:lnTo>
                      <a:close/>
                      <a:moveTo>
                        <a:pt x="1049" y="301"/>
                      </a:moveTo>
                      <a:lnTo>
                        <a:pt x="1049" y="299"/>
                      </a:lnTo>
                      <a:lnTo>
                        <a:pt x="1051" y="301"/>
                      </a:lnTo>
                      <a:lnTo>
                        <a:pt x="1049" y="301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6" name="Freeform 18"/>
                <p:cNvSpPr>
                  <a:spLocks noChangeAspect="1"/>
                </p:cNvSpPr>
                <p:nvPr/>
              </p:nvSpPr>
              <p:spPr bwMode="auto">
                <a:xfrm>
                  <a:off x="6563856" y="2743347"/>
                  <a:ext cx="274343" cy="314448"/>
                </a:xfrm>
                <a:custGeom>
                  <a:avLst/>
                  <a:gdLst>
                    <a:gd name="T0" fmla="*/ 2147483647 w 176"/>
                    <a:gd name="T1" fmla="*/ 2147483647 h 189"/>
                    <a:gd name="T2" fmla="*/ 2147483647 w 176"/>
                    <a:gd name="T3" fmla="*/ 2147483647 h 189"/>
                    <a:gd name="T4" fmla="*/ 2147483647 w 176"/>
                    <a:gd name="T5" fmla="*/ 2147483647 h 189"/>
                    <a:gd name="T6" fmla="*/ 2147483647 w 176"/>
                    <a:gd name="T7" fmla="*/ 2147483647 h 189"/>
                    <a:gd name="T8" fmla="*/ 2147483647 w 176"/>
                    <a:gd name="T9" fmla="*/ 2147483647 h 189"/>
                    <a:gd name="T10" fmla="*/ 2147483647 w 176"/>
                    <a:gd name="T11" fmla="*/ 2147483647 h 189"/>
                    <a:gd name="T12" fmla="*/ 2147483647 w 176"/>
                    <a:gd name="T13" fmla="*/ 2147483647 h 189"/>
                    <a:gd name="T14" fmla="*/ 2147483647 w 176"/>
                    <a:gd name="T15" fmla="*/ 2147483647 h 189"/>
                    <a:gd name="T16" fmla="*/ 2147483647 w 176"/>
                    <a:gd name="T17" fmla="*/ 2147483647 h 189"/>
                    <a:gd name="T18" fmla="*/ 2147483647 w 176"/>
                    <a:gd name="T19" fmla="*/ 2147483647 h 189"/>
                    <a:gd name="T20" fmla="*/ 2147483647 w 176"/>
                    <a:gd name="T21" fmla="*/ 2147483647 h 189"/>
                    <a:gd name="T22" fmla="*/ 2147483647 w 176"/>
                    <a:gd name="T23" fmla="*/ 2147483647 h 189"/>
                    <a:gd name="T24" fmla="*/ 2147483647 w 176"/>
                    <a:gd name="T25" fmla="*/ 2147483647 h 189"/>
                    <a:gd name="T26" fmla="*/ 2147483647 w 176"/>
                    <a:gd name="T27" fmla="*/ 2147483647 h 189"/>
                    <a:gd name="T28" fmla="*/ 2147483647 w 176"/>
                    <a:gd name="T29" fmla="*/ 2147483647 h 189"/>
                    <a:gd name="T30" fmla="*/ 2147483647 w 176"/>
                    <a:gd name="T31" fmla="*/ 2147483647 h 189"/>
                    <a:gd name="T32" fmla="*/ 2147483647 w 176"/>
                    <a:gd name="T33" fmla="*/ 2147483647 h 189"/>
                    <a:gd name="T34" fmla="*/ 2147483647 w 176"/>
                    <a:gd name="T35" fmla="*/ 2147483647 h 189"/>
                    <a:gd name="T36" fmla="*/ 2147483647 w 176"/>
                    <a:gd name="T37" fmla="*/ 2147483647 h 189"/>
                    <a:gd name="T38" fmla="*/ 2147483647 w 176"/>
                    <a:gd name="T39" fmla="*/ 2147483647 h 189"/>
                    <a:gd name="T40" fmla="*/ 2147483647 w 176"/>
                    <a:gd name="T41" fmla="*/ 2147483647 h 189"/>
                    <a:gd name="T42" fmla="*/ 2147483647 w 176"/>
                    <a:gd name="T43" fmla="*/ 2147483647 h 189"/>
                    <a:gd name="T44" fmla="*/ 2147483647 w 176"/>
                    <a:gd name="T45" fmla="*/ 2147483647 h 189"/>
                    <a:gd name="T46" fmla="*/ 2147483647 w 176"/>
                    <a:gd name="T47" fmla="*/ 2147483647 h 189"/>
                    <a:gd name="T48" fmla="*/ 2147483647 w 176"/>
                    <a:gd name="T49" fmla="*/ 2147483647 h 189"/>
                    <a:gd name="T50" fmla="*/ 2147483647 w 176"/>
                    <a:gd name="T51" fmla="*/ 2147483647 h 189"/>
                    <a:gd name="T52" fmla="*/ 2147483647 w 176"/>
                    <a:gd name="T53" fmla="*/ 2147483647 h 189"/>
                    <a:gd name="T54" fmla="*/ 0 w 176"/>
                    <a:gd name="T55" fmla="*/ 2147483647 h 189"/>
                    <a:gd name="T56" fmla="*/ 2147483647 w 176"/>
                    <a:gd name="T57" fmla="*/ 2147483647 h 189"/>
                    <a:gd name="T58" fmla="*/ 2147483647 w 176"/>
                    <a:gd name="T59" fmla="*/ 2147483647 h 189"/>
                    <a:gd name="T60" fmla="*/ 2147483647 w 176"/>
                    <a:gd name="T61" fmla="*/ 2147483647 h 189"/>
                    <a:gd name="T62" fmla="*/ 2147483647 w 176"/>
                    <a:gd name="T63" fmla="*/ 2147483647 h 189"/>
                    <a:gd name="T64" fmla="*/ 2147483647 w 176"/>
                    <a:gd name="T65" fmla="*/ 2147483647 h 189"/>
                    <a:gd name="T66" fmla="*/ 2147483647 w 176"/>
                    <a:gd name="T67" fmla="*/ 2147483647 h 189"/>
                    <a:gd name="T68" fmla="*/ 2147483647 w 176"/>
                    <a:gd name="T69" fmla="*/ 2147483647 h 189"/>
                    <a:gd name="T70" fmla="*/ 2147483647 w 176"/>
                    <a:gd name="T71" fmla="*/ 2147483647 h 189"/>
                    <a:gd name="T72" fmla="*/ 2147483647 w 176"/>
                    <a:gd name="T73" fmla="*/ 2147483647 h 189"/>
                    <a:gd name="T74" fmla="*/ 2147483647 w 176"/>
                    <a:gd name="T75" fmla="*/ 2147483647 h 189"/>
                    <a:gd name="T76" fmla="*/ 2147483647 w 176"/>
                    <a:gd name="T77" fmla="*/ 2147483647 h 189"/>
                    <a:gd name="T78" fmla="*/ 2147483647 w 176"/>
                    <a:gd name="T79" fmla="*/ 2147483647 h 189"/>
                    <a:gd name="T80" fmla="*/ 2147483647 w 176"/>
                    <a:gd name="T81" fmla="*/ 2147483647 h 189"/>
                    <a:gd name="T82" fmla="*/ 2147483647 w 176"/>
                    <a:gd name="T83" fmla="*/ 2147483647 h 189"/>
                    <a:gd name="T84" fmla="*/ 2147483647 w 176"/>
                    <a:gd name="T85" fmla="*/ 2147483647 h 189"/>
                    <a:gd name="T86" fmla="*/ 2147483647 w 176"/>
                    <a:gd name="T87" fmla="*/ 2147483647 h 189"/>
                    <a:gd name="T88" fmla="*/ 2147483647 w 176"/>
                    <a:gd name="T89" fmla="*/ 2147483647 h 189"/>
                    <a:gd name="T90" fmla="*/ 2147483647 w 176"/>
                    <a:gd name="T91" fmla="*/ 2147483647 h 189"/>
                    <a:gd name="T92" fmla="*/ 2147483647 w 176"/>
                    <a:gd name="T93" fmla="*/ 2147483647 h 189"/>
                    <a:gd name="T94" fmla="*/ 2147483647 w 176"/>
                    <a:gd name="T95" fmla="*/ 2147483647 h 189"/>
                    <a:gd name="T96" fmla="*/ 2147483647 w 176"/>
                    <a:gd name="T97" fmla="*/ 2147483647 h 189"/>
                    <a:gd name="T98" fmla="*/ 2147483647 w 176"/>
                    <a:gd name="T99" fmla="*/ 2147483647 h 189"/>
                    <a:gd name="T100" fmla="*/ 2147483647 w 176"/>
                    <a:gd name="T101" fmla="*/ 2147483647 h 189"/>
                    <a:gd name="T102" fmla="*/ 2147483647 w 176"/>
                    <a:gd name="T103" fmla="*/ 2147483647 h 189"/>
                    <a:gd name="T104" fmla="*/ 2147483647 w 176"/>
                    <a:gd name="T105" fmla="*/ 2147483647 h 189"/>
                    <a:gd name="T106" fmla="*/ 2147483647 w 176"/>
                    <a:gd name="T107" fmla="*/ 2147483647 h 189"/>
                    <a:gd name="T108" fmla="*/ 2147483647 w 176"/>
                    <a:gd name="T109" fmla="*/ 2147483647 h 189"/>
                    <a:gd name="T110" fmla="*/ 2147483647 w 176"/>
                    <a:gd name="T111" fmla="*/ 2147483647 h 189"/>
                    <a:gd name="T112" fmla="*/ 2147483647 w 176"/>
                    <a:gd name="T113" fmla="*/ 2147483647 h 189"/>
                    <a:gd name="T114" fmla="*/ 2147483647 w 176"/>
                    <a:gd name="T115" fmla="*/ 2147483647 h 189"/>
                    <a:gd name="T116" fmla="*/ 2147483647 w 176"/>
                    <a:gd name="T117" fmla="*/ 2147483647 h 189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76"/>
                    <a:gd name="T178" fmla="*/ 0 h 189"/>
                    <a:gd name="T179" fmla="*/ 176 w 176"/>
                    <a:gd name="T180" fmla="*/ 189 h 189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76" h="189">
                      <a:moveTo>
                        <a:pt x="166" y="84"/>
                      </a:moveTo>
                      <a:lnTo>
                        <a:pt x="167" y="82"/>
                      </a:lnTo>
                      <a:lnTo>
                        <a:pt x="169" y="82"/>
                      </a:lnTo>
                      <a:lnTo>
                        <a:pt x="173" y="84"/>
                      </a:lnTo>
                      <a:lnTo>
                        <a:pt x="174" y="88"/>
                      </a:lnTo>
                      <a:lnTo>
                        <a:pt x="174" y="90"/>
                      </a:lnTo>
                      <a:lnTo>
                        <a:pt x="176" y="90"/>
                      </a:lnTo>
                      <a:lnTo>
                        <a:pt x="174" y="92"/>
                      </a:lnTo>
                      <a:lnTo>
                        <a:pt x="173" y="92"/>
                      </a:lnTo>
                      <a:lnTo>
                        <a:pt x="171" y="92"/>
                      </a:lnTo>
                      <a:lnTo>
                        <a:pt x="169" y="93"/>
                      </a:lnTo>
                      <a:lnTo>
                        <a:pt x="167" y="93"/>
                      </a:lnTo>
                      <a:lnTo>
                        <a:pt x="166" y="93"/>
                      </a:lnTo>
                      <a:lnTo>
                        <a:pt x="164" y="95"/>
                      </a:lnTo>
                      <a:lnTo>
                        <a:pt x="162" y="95"/>
                      </a:lnTo>
                      <a:lnTo>
                        <a:pt x="161" y="95"/>
                      </a:lnTo>
                      <a:lnTo>
                        <a:pt x="157" y="97"/>
                      </a:lnTo>
                      <a:lnTo>
                        <a:pt x="156" y="97"/>
                      </a:lnTo>
                      <a:lnTo>
                        <a:pt x="154" y="98"/>
                      </a:lnTo>
                      <a:lnTo>
                        <a:pt x="152" y="98"/>
                      </a:lnTo>
                      <a:lnTo>
                        <a:pt x="152" y="100"/>
                      </a:lnTo>
                      <a:lnTo>
                        <a:pt x="151" y="100"/>
                      </a:lnTo>
                      <a:lnTo>
                        <a:pt x="149" y="102"/>
                      </a:lnTo>
                      <a:lnTo>
                        <a:pt x="149" y="103"/>
                      </a:lnTo>
                      <a:lnTo>
                        <a:pt x="145" y="103"/>
                      </a:lnTo>
                      <a:lnTo>
                        <a:pt x="144" y="105"/>
                      </a:lnTo>
                      <a:lnTo>
                        <a:pt x="142" y="105"/>
                      </a:lnTo>
                      <a:lnTo>
                        <a:pt x="139" y="106"/>
                      </a:lnTo>
                      <a:lnTo>
                        <a:pt x="139" y="108"/>
                      </a:lnTo>
                      <a:lnTo>
                        <a:pt x="135" y="110"/>
                      </a:lnTo>
                      <a:lnTo>
                        <a:pt x="132" y="113"/>
                      </a:lnTo>
                      <a:lnTo>
                        <a:pt x="130" y="115"/>
                      </a:lnTo>
                      <a:lnTo>
                        <a:pt x="129" y="116"/>
                      </a:lnTo>
                      <a:lnTo>
                        <a:pt x="127" y="118"/>
                      </a:lnTo>
                      <a:lnTo>
                        <a:pt x="125" y="118"/>
                      </a:lnTo>
                      <a:lnTo>
                        <a:pt x="125" y="120"/>
                      </a:lnTo>
                      <a:lnTo>
                        <a:pt x="124" y="121"/>
                      </a:lnTo>
                      <a:lnTo>
                        <a:pt x="122" y="123"/>
                      </a:lnTo>
                      <a:lnTo>
                        <a:pt x="120" y="125"/>
                      </a:lnTo>
                      <a:lnTo>
                        <a:pt x="117" y="128"/>
                      </a:lnTo>
                      <a:lnTo>
                        <a:pt x="115" y="131"/>
                      </a:lnTo>
                      <a:lnTo>
                        <a:pt x="115" y="133"/>
                      </a:lnTo>
                      <a:lnTo>
                        <a:pt x="113" y="133"/>
                      </a:lnTo>
                      <a:lnTo>
                        <a:pt x="115" y="133"/>
                      </a:lnTo>
                      <a:lnTo>
                        <a:pt x="112" y="136"/>
                      </a:lnTo>
                      <a:lnTo>
                        <a:pt x="112" y="138"/>
                      </a:lnTo>
                      <a:lnTo>
                        <a:pt x="110" y="139"/>
                      </a:lnTo>
                      <a:lnTo>
                        <a:pt x="108" y="141"/>
                      </a:lnTo>
                      <a:lnTo>
                        <a:pt x="107" y="144"/>
                      </a:lnTo>
                      <a:lnTo>
                        <a:pt x="105" y="146"/>
                      </a:lnTo>
                      <a:lnTo>
                        <a:pt x="105" y="148"/>
                      </a:lnTo>
                      <a:lnTo>
                        <a:pt x="103" y="148"/>
                      </a:lnTo>
                      <a:lnTo>
                        <a:pt x="103" y="149"/>
                      </a:lnTo>
                      <a:lnTo>
                        <a:pt x="102" y="151"/>
                      </a:lnTo>
                      <a:lnTo>
                        <a:pt x="103" y="151"/>
                      </a:lnTo>
                      <a:lnTo>
                        <a:pt x="103" y="152"/>
                      </a:lnTo>
                      <a:lnTo>
                        <a:pt x="102" y="154"/>
                      </a:lnTo>
                      <a:lnTo>
                        <a:pt x="98" y="157"/>
                      </a:lnTo>
                      <a:lnTo>
                        <a:pt x="93" y="162"/>
                      </a:lnTo>
                      <a:lnTo>
                        <a:pt x="93" y="164"/>
                      </a:lnTo>
                      <a:lnTo>
                        <a:pt x="91" y="166"/>
                      </a:lnTo>
                      <a:lnTo>
                        <a:pt x="90" y="169"/>
                      </a:lnTo>
                      <a:lnTo>
                        <a:pt x="90" y="171"/>
                      </a:lnTo>
                      <a:lnTo>
                        <a:pt x="88" y="172"/>
                      </a:lnTo>
                      <a:lnTo>
                        <a:pt x="88" y="174"/>
                      </a:lnTo>
                      <a:lnTo>
                        <a:pt x="88" y="175"/>
                      </a:lnTo>
                      <a:lnTo>
                        <a:pt x="86" y="175"/>
                      </a:lnTo>
                      <a:lnTo>
                        <a:pt x="86" y="177"/>
                      </a:lnTo>
                      <a:lnTo>
                        <a:pt x="85" y="177"/>
                      </a:lnTo>
                      <a:lnTo>
                        <a:pt x="83" y="177"/>
                      </a:lnTo>
                      <a:lnTo>
                        <a:pt x="83" y="179"/>
                      </a:lnTo>
                      <a:lnTo>
                        <a:pt x="81" y="180"/>
                      </a:lnTo>
                      <a:lnTo>
                        <a:pt x="80" y="180"/>
                      </a:lnTo>
                      <a:lnTo>
                        <a:pt x="76" y="184"/>
                      </a:lnTo>
                      <a:lnTo>
                        <a:pt x="75" y="184"/>
                      </a:lnTo>
                      <a:lnTo>
                        <a:pt x="73" y="185"/>
                      </a:lnTo>
                      <a:lnTo>
                        <a:pt x="73" y="184"/>
                      </a:lnTo>
                      <a:lnTo>
                        <a:pt x="71" y="185"/>
                      </a:lnTo>
                      <a:lnTo>
                        <a:pt x="69" y="185"/>
                      </a:lnTo>
                      <a:lnTo>
                        <a:pt x="69" y="187"/>
                      </a:lnTo>
                      <a:lnTo>
                        <a:pt x="68" y="187"/>
                      </a:lnTo>
                      <a:lnTo>
                        <a:pt x="66" y="187"/>
                      </a:lnTo>
                      <a:lnTo>
                        <a:pt x="64" y="187"/>
                      </a:lnTo>
                      <a:lnTo>
                        <a:pt x="64" y="185"/>
                      </a:lnTo>
                      <a:lnTo>
                        <a:pt x="63" y="187"/>
                      </a:lnTo>
                      <a:lnTo>
                        <a:pt x="64" y="187"/>
                      </a:lnTo>
                      <a:lnTo>
                        <a:pt x="63" y="187"/>
                      </a:lnTo>
                      <a:lnTo>
                        <a:pt x="63" y="185"/>
                      </a:lnTo>
                      <a:lnTo>
                        <a:pt x="61" y="185"/>
                      </a:lnTo>
                      <a:lnTo>
                        <a:pt x="59" y="185"/>
                      </a:lnTo>
                      <a:lnTo>
                        <a:pt x="58" y="185"/>
                      </a:lnTo>
                      <a:lnTo>
                        <a:pt x="58" y="184"/>
                      </a:lnTo>
                      <a:lnTo>
                        <a:pt x="58" y="185"/>
                      </a:lnTo>
                      <a:lnTo>
                        <a:pt x="56" y="184"/>
                      </a:lnTo>
                      <a:lnTo>
                        <a:pt x="56" y="185"/>
                      </a:lnTo>
                      <a:lnTo>
                        <a:pt x="54" y="185"/>
                      </a:lnTo>
                      <a:lnTo>
                        <a:pt x="56" y="185"/>
                      </a:lnTo>
                      <a:lnTo>
                        <a:pt x="56" y="187"/>
                      </a:lnTo>
                      <a:lnTo>
                        <a:pt x="54" y="187"/>
                      </a:lnTo>
                      <a:lnTo>
                        <a:pt x="54" y="189"/>
                      </a:lnTo>
                      <a:lnTo>
                        <a:pt x="53" y="189"/>
                      </a:lnTo>
                      <a:lnTo>
                        <a:pt x="51" y="189"/>
                      </a:lnTo>
                      <a:lnTo>
                        <a:pt x="51" y="187"/>
                      </a:lnTo>
                      <a:lnTo>
                        <a:pt x="53" y="187"/>
                      </a:lnTo>
                      <a:lnTo>
                        <a:pt x="51" y="185"/>
                      </a:lnTo>
                      <a:lnTo>
                        <a:pt x="51" y="187"/>
                      </a:lnTo>
                      <a:lnTo>
                        <a:pt x="49" y="187"/>
                      </a:lnTo>
                      <a:lnTo>
                        <a:pt x="49" y="185"/>
                      </a:lnTo>
                      <a:lnTo>
                        <a:pt x="48" y="185"/>
                      </a:lnTo>
                      <a:lnTo>
                        <a:pt x="46" y="185"/>
                      </a:lnTo>
                      <a:lnTo>
                        <a:pt x="44" y="185"/>
                      </a:lnTo>
                      <a:lnTo>
                        <a:pt x="42" y="185"/>
                      </a:lnTo>
                      <a:lnTo>
                        <a:pt x="42" y="184"/>
                      </a:lnTo>
                      <a:lnTo>
                        <a:pt x="41" y="184"/>
                      </a:lnTo>
                      <a:lnTo>
                        <a:pt x="41" y="182"/>
                      </a:lnTo>
                      <a:lnTo>
                        <a:pt x="39" y="182"/>
                      </a:lnTo>
                      <a:lnTo>
                        <a:pt x="39" y="180"/>
                      </a:lnTo>
                      <a:lnTo>
                        <a:pt x="37" y="180"/>
                      </a:lnTo>
                      <a:lnTo>
                        <a:pt x="37" y="179"/>
                      </a:lnTo>
                      <a:lnTo>
                        <a:pt x="37" y="180"/>
                      </a:lnTo>
                      <a:lnTo>
                        <a:pt x="37" y="179"/>
                      </a:lnTo>
                      <a:lnTo>
                        <a:pt x="37" y="180"/>
                      </a:lnTo>
                      <a:lnTo>
                        <a:pt x="36" y="179"/>
                      </a:lnTo>
                      <a:lnTo>
                        <a:pt x="37" y="179"/>
                      </a:lnTo>
                      <a:lnTo>
                        <a:pt x="37" y="177"/>
                      </a:lnTo>
                      <a:lnTo>
                        <a:pt x="36" y="177"/>
                      </a:lnTo>
                      <a:lnTo>
                        <a:pt x="34" y="175"/>
                      </a:lnTo>
                      <a:lnTo>
                        <a:pt x="36" y="175"/>
                      </a:lnTo>
                      <a:lnTo>
                        <a:pt x="34" y="175"/>
                      </a:lnTo>
                      <a:lnTo>
                        <a:pt x="34" y="177"/>
                      </a:lnTo>
                      <a:lnTo>
                        <a:pt x="32" y="177"/>
                      </a:lnTo>
                      <a:lnTo>
                        <a:pt x="32" y="175"/>
                      </a:lnTo>
                      <a:lnTo>
                        <a:pt x="32" y="174"/>
                      </a:lnTo>
                      <a:lnTo>
                        <a:pt x="31" y="174"/>
                      </a:lnTo>
                      <a:lnTo>
                        <a:pt x="29" y="174"/>
                      </a:lnTo>
                      <a:lnTo>
                        <a:pt x="29" y="175"/>
                      </a:lnTo>
                      <a:lnTo>
                        <a:pt x="29" y="174"/>
                      </a:lnTo>
                      <a:lnTo>
                        <a:pt x="27" y="174"/>
                      </a:lnTo>
                      <a:lnTo>
                        <a:pt x="27" y="172"/>
                      </a:lnTo>
                      <a:lnTo>
                        <a:pt x="27" y="174"/>
                      </a:lnTo>
                      <a:lnTo>
                        <a:pt x="26" y="174"/>
                      </a:lnTo>
                      <a:lnTo>
                        <a:pt x="26" y="172"/>
                      </a:lnTo>
                      <a:lnTo>
                        <a:pt x="27" y="172"/>
                      </a:lnTo>
                      <a:lnTo>
                        <a:pt x="26" y="172"/>
                      </a:lnTo>
                      <a:lnTo>
                        <a:pt x="24" y="172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2" y="171"/>
                      </a:lnTo>
                      <a:lnTo>
                        <a:pt x="21" y="171"/>
                      </a:lnTo>
                      <a:lnTo>
                        <a:pt x="21" y="169"/>
                      </a:lnTo>
                      <a:lnTo>
                        <a:pt x="19" y="169"/>
                      </a:lnTo>
                      <a:lnTo>
                        <a:pt x="19" y="167"/>
                      </a:lnTo>
                      <a:lnTo>
                        <a:pt x="19" y="166"/>
                      </a:lnTo>
                      <a:lnTo>
                        <a:pt x="19" y="164"/>
                      </a:lnTo>
                      <a:lnTo>
                        <a:pt x="21" y="164"/>
                      </a:lnTo>
                      <a:lnTo>
                        <a:pt x="21" y="162"/>
                      </a:lnTo>
                      <a:lnTo>
                        <a:pt x="22" y="162"/>
                      </a:lnTo>
                      <a:lnTo>
                        <a:pt x="22" y="161"/>
                      </a:lnTo>
                      <a:lnTo>
                        <a:pt x="24" y="162"/>
                      </a:lnTo>
                      <a:lnTo>
                        <a:pt x="24" y="161"/>
                      </a:lnTo>
                      <a:lnTo>
                        <a:pt x="24" y="159"/>
                      </a:lnTo>
                      <a:lnTo>
                        <a:pt x="24" y="157"/>
                      </a:lnTo>
                      <a:lnTo>
                        <a:pt x="26" y="157"/>
                      </a:lnTo>
                      <a:lnTo>
                        <a:pt x="26" y="156"/>
                      </a:lnTo>
                      <a:lnTo>
                        <a:pt x="26" y="154"/>
                      </a:lnTo>
                      <a:lnTo>
                        <a:pt x="24" y="154"/>
                      </a:lnTo>
                      <a:lnTo>
                        <a:pt x="22" y="154"/>
                      </a:lnTo>
                      <a:lnTo>
                        <a:pt x="21" y="154"/>
                      </a:lnTo>
                      <a:lnTo>
                        <a:pt x="21" y="152"/>
                      </a:lnTo>
                      <a:lnTo>
                        <a:pt x="19" y="152"/>
                      </a:lnTo>
                      <a:lnTo>
                        <a:pt x="17" y="152"/>
                      </a:lnTo>
                      <a:lnTo>
                        <a:pt x="15" y="151"/>
                      </a:lnTo>
                      <a:lnTo>
                        <a:pt x="15" y="149"/>
                      </a:lnTo>
                      <a:lnTo>
                        <a:pt x="15" y="148"/>
                      </a:lnTo>
                      <a:lnTo>
                        <a:pt x="15" y="144"/>
                      </a:lnTo>
                      <a:lnTo>
                        <a:pt x="14" y="144"/>
                      </a:lnTo>
                      <a:lnTo>
                        <a:pt x="14" y="143"/>
                      </a:lnTo>
                      <a:lnTo>
                        <a:pt x="14" y="141"/>
                      </a:lnTo>
                      <a:lnTo>
                        <a:pt x="12" y="139"/>
                      </a:lnTo>
                      <a:lnTo>
                        <a:pt x="14" y="138"/>
                      </a:lnTo>
                      <a:lnTo>
                        <a:pt x="12" y="138"/>
                      </a:lnTo>
                      <a:lnTo>
                        <a:pt x="10" y="138"/>
                      </a:lnTo>
                      <a:lnTo>
                        <a:pt x="9" y="138"/>
                      </a:lnTo>
                      <a:lnTo>
                        <a:pt x="9" y="136"/>
                      </a:lnTo>
                      <a:lnTo>
                        <a:pt x="9" y="134"/>
                      </a:lnTo>
                      <a:lnTo>
                        <a:pt x="7" y="134"/>
                      </a:lnTo>
                      <a:lnTo>
                        <a:pt x="7" y="133"/>
                      </a:lnTo>
                      <a:lnTo>
                        <a:pt x="5" y="133"/>
                      </a:lnTo>
                      <a:lnTo>
                        <a:pt x="5" y="131"/>
                      </a:lnTo>
                      <a:lnTo>
                        <a:pt x="5" y="129"/>
                      </a:lnTo>
                      <a:lnTo>
                        <a:pt x="4" y="129"/>
                      </a:lnTo>
                      <a:lnTo>
                        <a:pt x="4" y="128"/>
                      </a:lnTo>
                      <a:lnTo>
                        <a:pt x="2" y="128"/>
                      </a:lnTo>
                      <a:lnTo>
                        <a:pt x="2" y="126"/>
                      </a:lnTo>
                      <a:lnTo>
                        <a:pt x="0" y="125"/>
                      </a:lnTo>
                      <a:lnTo>
                        <a:pt x="0" y="123"/>
                      </a:lnTo>
                      <a:lnTo>
                        <a:pt x="0" y="121"/>
                      </a:lnTo>
                      <a:lnTo>
                        <a:pt x="0" y="120"/>
                      </a:lnTo>
                      <a:lnTo>
                        <a:pt x="0" y="118"/>
                      </a:lnTo>
                      <a:lnTo>
                        <a:pt x="0" y="116"/>
                      </a:lnTo>
                      <a:lnTo>
                        <a:pt x="0" y="115"/>
                      </a:lnTo>
                      <a:lnTo>
                        <a:pt x="2" y="113"/>
                      </a:lnTo>
                      <a:lnTo>
                        <a:pt x="2" y="111"/>
                      </a:lnTo>
                      <a:lnTo>
                        <a:pt x="2" y="110"/>
                      </a:lnTo>
                      <a:lnTo>
                        <a:pt x="4" y="110"/>
                      </a:lnTo>
                      <a:lnTo>
                        <a:pt x="4" y="108"/>
                      </a:lnTo>
                      <a:lnTo>
                        <a:pt x="5" y="108"/>
                      </a:lnTo>
                      <a:lnTo>
                        <a:pt x="7" y="108"/>
                      </a:lnTo>
                      <a:lnTo>
                        <a:pt x="9" y="110"/>
                      </a:lnTo>
                      <a:lnTo>
                        <a:pt x="9" y="108"/>
                      </a:lnTo>
                      <a:lnTo>
                        <a:pt x="10" y="108"/>
                      </a:lnTo>
                      <a:lnTo>
                        <a:pt x="10" y="110"/>
                      </a:lnTo>
                      <a:lnTo>
                        <a:pt x="14" y="110"/>
                      </a:lnTo>
                      <a:lnTo>
                        <a:pt x="15" y="110"/>
                      </a:lnTo>
                      <a:lnTo>
                        <a:pt x="17" y="111"/>
                      </a:lnTo>
                      <a:lnTo>
                        <a:pt x="21" y="113"/>
                      </a:lnTo>
                      <a:lnTo>
                        <a:pt x="22" y="115"/>
                      </a:lnTo>
                      <a:lnTo>
                        <a:pt x="24" y="115"/>
                      </a:lnTo>
                      <a:lnTo>
                        <a:pt x="26" y="113"/>
                      </a:lnTo>
                      <a:lnTo>
                        <a:pt x="41" y="108"/>
                      </a:lnTo>
                      <a:lnTo>
                        <a:pt x="41" y="98"/>
                      </a:lnTo>
                      <a:lnTo>
                        <a:pt x="39" y="98"/>
                      </a:lnTo>
                      <a:lnTo>
                        <a:pt x="39" y="97"/>
                      </a:lnTo>
                      <a:lnTo>
                        <a:pt x="39" y="98"/>
                      </a:lnTo>
                      <a:lnTo>
                        <a:pt x="39" y="97"/>
                      </a:lnTo>
                      <a:lnTo>
                        <a:pt x="39" y="95"/>
                      </a:lnTo>
                      <a:lnTo>
                        <a:pt x="37" y="95"/>
                      </a:lnTo>
                      <a:lnTo>
                        <a:pt x="39" y="95"/>
                      </a:lnTo>
                      <a:lnTo>
                        <a:pt x="39" y="93"/>
                      </a:lnTo>
                      <a:lnTo>
                        <a:pt x="41" y="93"/>
                      </a:lnTo>
                      <a:lnTo>
                        <a:pt x="41" y="92"/>
                      </a:lnTo>
                      <a:lnTo>
                        <a:pt x="41" y="90"/>
                      </a:lnTo>
                      <a:lnTo>
                        <a:pt x="41" y="88"/>
                      </a:lnTo>
                      <a:lnTo>
                        <a:pt x="39" y="88"/>
                      </a:lnTo>
                      <a:lnTo>
                        <a:pt x="39" y="87"/>
                      </a:lnTo>
                      <a:lnTo>
                        <a:pt x="37" y="85"/>
                      </a:lnTo>
                      <a:lnTo>
                        <a:pt x="37" y="84"/>
                      </a:lnTo>
                      <a:lnTo>
                        <a:pt x="36" y="84"/>
                      </a:lnTo>
                      <a:lnTo>
                        <a:pt x="37" y="84"/>
                      </a:lnTo>
                      <a:lnTo>
                        <a:pt x="37" y="82"/>
                      </a:lnTo>
                      <a:lnTo>
                        <a:pt x="39" y="82"/>
                      </a:lnTo>
                      <a:lnTo>
                        <a:pt x="39" y="80"/>
                      </a:lnTo>
                      <a:lnTo>
                        <a:pt x="37" y="80"/>
                      </a:lnTo>
                      <a:lnTo>
                        <a:pt x="39" y="80"/>
                      </a:lnTo>
                      <a:lnTo>
                        <a:pt x="39" y="79"/>
                      </a:lnTo>
                      <a:lnTo>
                        <a:pt x="41" y="79"/>
                      </a:lnTo>
                      <a:lnTo>
                        <a:pt x="42" y="77"/>
                      </a:lnTo>
                      <a:lnTo>
                        <a:pt x="44" y="75"/>
                      </a:lnTo>
                      <a:lnTo>
                        <a:pt x="46" y="75"/>
                      </a:lnTo>
                      <a:lnTo>
                        <a:pt x="48" y="75"/>
                      </a:lnTo>
                      <a:lnTo>
                        <a:pt x="46" y="62"/>
                      </a:lnTo>
                      <a:lnTo>
                        <a:pt x="44" y="57"/>
                      </a:lnTo>
                      <a:lnTo>
                        <a:pt x="44" y="56"/>
                      </a:lnTo>
                      <a:lnTo>
                        <a:pt x="42" y="54"/>
                      </a:lnTo>
                      <a:lnTo>
                        <a:pt x="41" y="51"/>
                      </a:lnTo>
                      <a:lnTo>
                        <a:pt x="41" y="49"/>
                      </a:lnTo>
                      <a:lnTo>
                        <a:pt x="39" y="49"/>
                      </a:lnTo>
                      <a:lnTo>
                        <a:pt x="39" y="47"/>
                      </a:lnTo>
                      <a:lnTo>
                        <a:pt x="41" y="47"/>
                      </a:lnTo>
                      <a:lnTo>
                        <a:pt x="41" y="46"/>
                      </a:lnTo>
                      <a:lnTo>
                        <a:pt x="39" y="46"/>
                      </a:lnTo>
                      <a:lnTo>
                        <a:pt x="39" y="44"/>
                      </a:lnTo>
                      <a:lnTo>
                        <a:pt x="37" y="44"/>
                      </a:lnTo>
                      <a:lnTo>
                        <a:pt x="37" y="42"/>
                      </a:lnTo>
                      <a:lnTo>
                        <a:pt x="36" y="42"/>
                      </a:lnTo>
                      <a:lnTo>
                        <a:pt x="34" y="42"/>
                      </a:lnTo>
                      <a:lnTo>
                        <a:pt x="32" y="42"/>
                      </a:lnTo>
                      <a:lnTo>
                        <a:pt x="31" y="42"/>
                      </a:lnTo>
                      <a:lnTo>
                        <a:pt x="31" y="41"/>
                      </a:lnTo>
                      <a:lnTo>
                        <a:pt x="29" y="41"/>
                      </a:lnTo>
                      <a:lnTo>
                        <a:pt x="27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4" y="38"/>
                      </a:lnTo>
                      <a:lnTo>
                        <a:pt x="24" y="36"/>
                      </a:lnTo>
                      <a:lnTo>
                        <a:pt x="24" y="34"/>
                      </a:lnTo>
                      <a:lnTo>
                        <a:pt x="24" y="33"/>
                      </a:lnTo>
                      <a:lnTo>
                        <a:pt x="26" y="33"/>
                      </a:lnTo>
                      <a:lnTo>
                        <a:pt x="26" y="31"/>
                      </a:lnTo>
                      <a:lnTo>
                        <a:pt x="26" y="29"/>
                      </a:lnTo>
                      <a:lnTo>
                        <a:pt x="26" y="28"/>
                      </a:lnTo>
                      <a:lnTo>
                        <a:pt x="24" y="26"/>
                      </a:lnTo>
                      <a:lnTo>
                        <a:pt x="22" y="24"/>
                      </a:lnTo>
                      <a:lnTo>
                        <a:pt x="21" y="23"/>
                      </a:lnTo>
                      <a:lnTo>
                        <a:pt x="21" y="24"/>
                      </a:lnTo>
                      <a:lnTo>
                        <a:pt x="21" y="23"/>
                      </a:lnTo>
                      <a:lnTo>
                        <a:pt x="21" y="21"/>
                      </a:lnTo>
                      <a:lnTo>
                        <a:pt x="19" y="21"/>
                      </a:lnTo>
                      <a:lnTo>
                        <a:pt x="19" y="19"/>
                      </a:lnTo>
                      <a:lnTo>
                        <a:pt x="19" y="18"/>
                      </a:lnTo>
                      <a:lnTo>
                        <a:pt x="19" y="16"/>
                      </a:lnTo>
                      <a:lnTo>
                        <a:pt x="19" y="15"/>
                      </a:lnTo>
                      <a:lnTo>
                        <a:pt x="21" y="15"/>
                      </a:lnTo>
                      <a:lnTo>
                        <a:pt x="21" y="13"/>
                      </a:lnTo>
                      <a:lnTo>
                        <a:pt x="22" y="13"/>
                      </a:lnTo>
                      <a:lnTo>
                        <a:pt x="22" y="11"/>
                      </a:lnTo>
                      <a:lnTo>
                        <a:pt x="24" y="11"/>
                      </a:lnTo>
                      <a:lnTo>
                        <a:pt x="24" y="13"/>
                      </a:lnTo>
                      <a:lnTo>
                        <a:pt x="24" y="11"/>
                      </a:lnTo>
                      <a:lnTo>
                        <a:pt x="22" y="11"/>
                      </a:lnTo>
                      <a:lnTo>
                        <a:pt x="22" y="10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19" y="8"/>
                      </a:lnTo>
                      <a:lnTo>
                        <a:pt x="19" y="6"/>
                      </a:lnTo>
                      <a:lnTo>
                        <a:pt x="19" y="5"/>
                      </a:lnTo>
                      <a:lnTo>
                        <a:pt x="21" y="5"/>
                      </a:lnTo>
                      <a:lnTo>
                        <a:pt x="21" y="3"/>
                      </a:lnTo>
                      <a:lnTo>
                        <a:pt x="22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22" y="1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1"/>
                      </a:lnTo>
                      <a:lnTo>
                        <a:pt x="27" y="1"/>
                      </a:lnTo>
                      <a:lnTo>
                        <a:pt x="29" y="1"/>
                      </a:lnTo>
                      <a:lnTo>
                        <a:pt x="31" y="3"/>
                      </a:lnTo>
                      <a:lnTo>
                        <a:pt x="32" y="3"/>
                      </a:lnTo>
                      <a:lnTo>
                        <a:pt x="32" y="1"/>
                      </a:lnTo>
                      <a:lnTo>
                        <a:pt x="34" y="1"/>
                      </a:lnTo>
                      <a:lnTo>
                        <a:pt x="34" y="3"/>
                      </a:lnTo>
                      <a:lnTo>
                        <a:pt x="36" y="3"/>
                      </a:lnTo>
                      <a:lnTo>
                        <a:pt x="36" y="5"/>
                      </a:lnTo>
                      <a:lnTo>
                        <a:pt x="37" y="5"/>
                      </a:lnTo>
                      <a:lnTo>
                        <a:pt x="39" y="6"/>
                      </a:lnTo>
                      <a:lnTo>
                        <a:pt x="41" y="6"/>
                      </a:lnTo>
                      <a:lnTo>
                        <a:pt x="41" y="8"/>
                      </a:lnTo>
                      <a:lnTo>
                        <a:pt x="42" y="10"/>
                      </a:lnTo>
                      <a:lnTo>
                        <a:pt x="42" y="11"/>
                      </a:lnTo>
                      <a:lnTo>
                        <a:pt x="44" y="11"/>
                      </a:lnTo>
                      <a:lnTo>
                        <a:pt x="46" y="10"/>
                      </a:lnTo>
                      <a:lnTo>
                        <a:pt x="48" y="10"/>
                      </a:lnTo>
                      <a:lnTo>
                        <a:pt x="49" y="10"/>
                      </a:lnTo>
                      <a:lnTo>
                        <a:pt x="51" y="10"/>
                      </a:lnTo>
                      <a:lnTo>
                        <a:pt x="51" y="11"/>
                      </a:lnTo>
                      <a:lnTo>
                        <a:pt x="53" y="11"/>
                      </a:lnTo>
                      <a:lnTo>
                        <a:pt x="54" y="13"/>
                      </a:lnTo>
                      <a:lnTo>
                        <a:pt x="56" y="15"/>
                      </a:lnTo>
                      <a:lnTo>
                        <a:pt x="58" y="16"/>
                      </a:lnTo>
                      <a:lnTo>
                        <a:pt x="59" y="18"/>
                      </a:lnTo>
                      <a:lnTo>
                        <a:pt x="61" y="18"/>
                      </a:lnTo>
                      <a:lnTo>
                        <a:pt x="63" y="19"/>
                      </a:lnTo>
                      <a:lnTo>
                        <a:pt x="64" y="19"/>
                      </a:lnTo>
                      <a:lnTo>
                        <a:pt x="68" y="21"/>
                      </a:lnTo>
                      <a:lnTo>
                        <a:pt x="69" y="21"/>
                      </a:lnTo>
                      <a:lnTo>
                        <a:pt x="71" y="21"/>
                      </a:lnTo>
                      <a:lnTo>
                        <a:pt x="73" y="21"/>
                      </a:lnTo>
                      <a:lnTo>
                        <a:pt x="75" y="21"/>
                      </a:lnTo>
                      <a:lnTo>
                        <a:pt x="78" y="23"/>
                      </a:lnTo>
                      <a:lnTo>
                        <a:pt x="80" y="23"/>
                      </a:lnTo>
                      <a:lnTo>
                        <a:pt x="83" y="24"/>
                      </a:lnTo>
                      <a:lnTo>
                        <a:pt x="85" y="24"/>
                      </a:lnTo>
                      <a:lnTo>
                        <a:pt x="86" y="28"/>
                      </a:lnTo>
                      <a:lnTo>
                        <a:pt x="88" y="28"/>
                      </a:lnTo>
                      <a:lnTo>
                        <a:pt x="90" y="28"/>
                      </a:lnTo>
                      <a:lnTo>
                        <a:pt x="91" y="29"/>
                      </a:lnTo>
                      <a:lnTo>
                        <a:pt x="93" y="31"/>
                      </a:lnTo>
                      <a:lnTo>
                        <a:pt x="95" y="33"/>
                      </a:lnTo>
                      <a:lnTo>
                        <a:pt x="95" y="34"/>
                      </a:lnTo>
                      <a:lnTo>
                        <a:pt x="97" y="34"/>
                      </a:lnTo>
                      <a:lnTo>
                        <a:pt x="100" y="34"/>
                      </a:lnTo>
                      <a:lnTo>
                        <a:pt x="103" y="34"/>
                      </a:lnTo>
                      <a:lnTo>
                        <a:pt x="105" y="36"/>
                      </a:lnTo>
                      <a:lnTo>
                        <a:pt x="107" y="38"/>
                      </a:lnTo>
                      <a:lnTo>
                        <a:pt x="108" y="39"/>
                      </a:lnTo>
                      <a:lnTo>
                        <a:pt x="110" y="41"/>
                      </a:lnTo>
                      <a:lnTo>
                        <a:pt x="113" y="42"/>
                      </a:lnTo>
                      <a:lnTo>
                        <a:pt x="115" y="42"/>
                      </a:lnTo>
                      <a:lnTo>
                        <a:pt x="117" y="42"/>
                      </a:lnTo>
                      <a:lnTo>
                        <a:pt x="118" y="42"/>
                      </a:lnTo>
                      <a:lnTo>
                        <a:pt x="120" y="42"/>
                      </a:lnTo>
                      <a:lnTo>
                        <a:pt x="122" y="44"/>
                      </a:lnTo>
                      <a:lnTo>
                        <a:pt x="122" y="46"/>
                      </a:lnTo>
                      <a:lnTo>
                        <a:pt x="122" y="47"/>
                      </a:lnTo>
                      <a:lnTo>
                        <a:pt x="122" y="49"/>
                      </a:lnTo>
                      <a:lnTo>
                        <a:pt x="122" y="51"/>
                      </a:lnTo>
                      <a:lnTo>
                        <a:pt x="124" y="52"/>
                      </a:lnTo>
                      <a:lnTo>
                        <a:pt x="125" y="54"/>
                      </a:lnTo>
                      <a:lnTo>
                        <a:pt x="125" y="56"/>
                      </a:lnTo>
                      <a:lnTo>
                        <a:pt x="127" y="57"/>
                      </a:lnTo>
                      <a:lnTo>
                        <a:pt x="129" y="57"/>
                      </a:lnTo>
                      <a:lnTo>
                        <a:pt x="130" y="57"/>
                      </a:lnTo>
                      <a:lnTo>
                        <a:pt x="130" y="59"/>
                      </a:lnTo>
                      <a:lnTo>
                        <a:pt x="132" y="59"/>
                      </a:lnTo>
                      <a:lnTo>
                        <a:pt x="132" y="61"/>
                      </a:lnTo>
                      <a:lnTo>
                        <a:pt x="132" y="62"/>
                      </a:lnTo>
                      <a:lnTo>
                        <a:pt x="134" y="62"/>
                      </a:lnTo>
                      <a:lnTo>
                        <a:pt x="134" y="64"/>
                      </a:lnTo>
                      <a:lnTo>
                        <a:pt x="135" y="64"/>
                      </a:lnTo>
                      <a:lnTo>
                        <a:pt x="137" y="64"/>
                      </a:lnTo>
                      <a:lnTo>
                        <a:pt x="139" y="64"/>
                      </a:lnTo>
                      <a:lnTo>
                        <a:pt x="140" y="65"/>
                      </a:lnTo>
                      <a:lnTo>
                        <a:pt x="142" y="65"/>
                      </a:lnTo>
                      <a:lnTo>
                        <a:pt x="142" y="67"/>
                      </a:lnTo>
                      <a:lnTo>
                        <a:pt x="144" y="69"/>
                      </a:lnTo>
                      <a:lnTo>
                        <a:pt x="145" y="69"/>
                      </a:lnTo>
                      <a:lnTo>
                        <a:pt x="147" y="69"/>
                      </a:lnTo>
                      <a:lnTo>
                        <a:pt x="149" y="69"/>
                      </a:lnTo>
                      <a:lnTo>
                        <a:pt x="151" y="69"/>
                      </a:lnTo>
                      <a:lnTo>
                        <a:pt x="151" y="67"/>
                      </a:lnTo>
                      <a:lnTo>
                        <a:pt x="152" y="67"/>
                      </a:lnTo>
                      <a:lnTo>
                        <a:pt x="154" y="69"/>
                      </a:lnTo>
                      <a:lnTo>
                        <a:pt x="156" y="70"/>
                      </a:lnTo>
                      <a:lnTo>
                        <a:pt x="157" y="70"/>
                      </a:lnTo>
                      <a:lnTo>
                        <a:pt x="157" y="72"/>
                      </a:lnTo>
                      <a:lnTo>
                        <a:pt x="159" y="74"/>
                      </a:lnTo>
                      <a:lnTo>
                        <a:pt x="159" y="75"/>
                      </a:lnTo>
                      <a:lnTo>
                        <a:pt x="159" y="77"/>
                      </a:lnTo>
                      <a:lnTo>
                        <a:pt x="159" y="79"/>
                      </a:lnTo>
                      <a:lnTo>
                        <a:pt x="159" y="80"/>
                      </a:lnTo>
                      <a:lnTo>
                        <a:pt x="159" y="82"/>
                      </a:lnTo>
                      <a:lnTo>
                        <a:pt x="161" y="84"/>
                      </a:lnTo>
                      <a:lnTo>
                        <a:pt x="162" y="84"/>
                      </a:lnTo>
                      <a:lnTo>
                        <a:pt x="164" y="84"/>
                      </a:lnTo>
                      <a:lnTo>
                        <a:pt x="166" y="84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7" name="Freeform 19"/>
                <p:cNvSpPr>
                  <a:spLocks noChangeAspect="1"/>
                </p:cNvSpPr>
                <p:nvPr/>
              </p:nvSpPr>
              <p:spPr bwMode="auto">
                <a:xfrm>
                  <a:off x="6563856" y="2632954"/>
                  <a:ext cx="455009" cy="260925"/>
                </a:xfrm>
                <a:custGeom>
                  <a:avLst/>
                  <a:gdLst>
                    <a:gd name="T0" fmla="*/ 2147483647 w 292"/>
                    <a:gd name="T1" fmla="*/ 2147483647 h 156"/>
                    <a:gd name="T2" fmla="*/ 2147483647 w 292"/>
                    <a:gd name="T3" fmla="*/ 2147483647 h 156"/>
                    <a:gd name="T4" fmla="*/ 2147483647 w 292"/>
                    <a:gd name="T5" fmla="*/ 2147483647 h 156"/>
                    <a:gd name="T6" fmla="*/ 2147483647 w 292"/>
                    <a:gd name="T7" fmla="*/ 2147483647 h 156"/>
                    <a:gd name="T8" fmla="*/ 2147483647 w 292"/>
                    <a:gd name="T9" fmla="*/ 2147483647 h 156"/>
                    <a:gd name="T10" fmla="*/ 2147483647 w 292"/>
                    <a:gd name="T11" fmla="*/ 2147483647 h 156"/>
                    <a:gd name="T12" fmla="*/ 2147483647 w 292"/>
                    <a:gd name="T13" fmla="*/ 2147483647 h 156"/>
                    <a:gd name="T14" fmla="*/ 2147483647 w 292"/>
                    <a:gd name="T15" fmla="*/ 2147483647 h 156"/>
                    <a:gd name="T16" fmla="*/ 2147483647 w 292"/>
                    <a:gd name="T17" fmla="*/ 2147483647 h 156"/>
                    <a:gd name="T18" fmla="*/ 2147483647 w 292"/>
                    <a:gd name="T19" fmla="*/ 2147483647 h 156"/>
                    <a:gd name="T20" fmla="*/ 2147483647 w 292"/>
                    <a:gd name="T21" fmla="*/ 2147483647 h 156"/>
                    <a:gd name="T22" fmla="*/ 2147483647 w 292"/>
                    <a:gd name="T23" fmla="*/ 2147483647 h 156"/>
                    <a:gd name="T24" fmla="*/ 2147483647 w 292"/>
                    <a:gd name="T25" fmla="*/ 2147483647 h 156"/>
                    <a:gd name="T26" fmla="*/ 2147483647 w 292"/>
                    <a:gd name="T27" fmla="*/ 2147483647 h 156"/>
                    <a:gd name="T28" fmla="*/ 2147483647 w 292"/>
                    <a:gd name="T29" fmla="*/ 2147483647 h 156"/>
                    <a:gd name="T30" fmla="*/ 2147483647 w 292"/>
                    <a:gd name="T31" fmla="*/ 2147483647 h 156"/>
                    <a:gd name="T32" fmla="*/ 2147483647 w 292"/>
                    <a:gd name="T33" fmla="*/ 2147483647 h 156"/>
                    <a:gd name="T34" fmla="*/ 2147483647 w 292"/>
                    <a:gd name="T35" fmla="*/ 2147483647 h 156"/>
                    <a:gd name="T36" fmla="*/ 2147483647 w 292"/>
                    <a:gd name="T37" fmla="*/ 2147483647 h 156"/>
                    <a:gd name="T38" fmla="*/ 2147483647 w 292"/>
                    <a:gd name="T39" fmla="*/ 2147483647 h 156"/>
                    <a:gd name="T40" fmla="*/ 2147483647 w 292"/>
                    <a:gd name="T41" fmla="*/ 2147483647 h 156"/>
                    <a:gd name="T42" fmla="*/ 2147483647 w 292"/>
                    <a:gd name="T43" fmla="*/ 2147483647 h 156"/>
                    <a:gd name="T44" fmla="*/ 2147483647 w 292"/>
                    <a:gd name="T45" fmla="*/ 2147483647 h 156"/>
                    <a:gd name="T46" fmla="*/ 2147483647 w 292"/>
                    <a:gd name="T47" fmla="*/ 2147483647 h 156"/>
                    <a:gd name="T48" fmla="*/ 2147483647 w 292"/>
                    <a:gd name="T49" fmla="*/ 2147483647 h 156"/>
                    <a:gd name="T50" fmla="*/ 2147483647 w 292"/>
                    <a:gd name="T51" fmla="*/ 2147483647 h 156"/>
                    <a:gd name="T52" fmla="*/ 2147483647 w 292"/>
                    <a:gd name="T53" fmla="*/ 2147483647 h 156"/>
                    <a:gd name="T54" fmla="*/ 2147483647 w 292"/>
                    <a:gd name="T55" fmla="*/ 2147483647 h 156"/>
                    <a:gd name="T56" fmla="*/ 2147483647 w 292"/>
                    <a:gd name="T57" fmla="*/ 2147483647 h 156"/>
                    <a:gd name="T58" fmla="*/ 2147483647 w 292"/>
                    <a:gd name="T59" fmla="*/ 2147483647 h 156"/>
                    <a:gd name="T60" fmla="*/ 2147483647 w 292"/>
                    <a:gd name="T61" fmla="*/ 0 h 156"/>
                    <a:gd name="T62" fmla="*/ 2147483647 w 292"/>
                    <a:gd name="T63" fmla="*/ 0 h 156"/>
                    <a:gd name="T64" fmla="*/ 2147483647 w 292"/>
                    <a:gd name="T65" fmla="*/ 2147483647 h 156"/>
                    <a:gd name="T66" fmla="*/ 2147483647 w 292"/>
                    <a:gd name="T67" fmla="*/ 2147483647 h 156"/>
                    <a:gd name="T68" fmla="*/ 2147483647 w 292"/>
                    <a:gd name="T69" fmla="*/ 2147483647 h 156"/>
                    <a:gd name="T70" fmla="*/ 2147483647 w 292"/>
                    <a:gd name="T71" fmla="*/ 2147483647 h 156"/>
                    <a:gd name="T72" fmla="*/ 2147483647 w 292"/>
                    <a:gd name="T73" fmla="*/ 2147483647 h 156"/>
                    <a:gd name="T74" fmla="*/ 2147483647 w 292"/>
                    <a:gd name="T75" fmla="*/ 2147483647 h 156"/>
                    <a:gd name="T76" fmla="*/ 2147483647 w 292"/>
                    <a:gd name="T77" fmla="*/ 2147483647 h 156"/>
                    <a:gd name="T78" fmla="*/ 2147483647 w 292"/>
                    <a:gd name="T79" fmla="*/ 2147483647 h 156"/>
                    <a:gd name="T80" fmla="*/ 2147483647 w 292"/>
                    <a:gd name="T81" fmla="*/ 2147483647 h 156"/>
                    <a:gd name="T82" fmla="*/ 2147483647 w 292"/>
                    <a:gd name="T83" fmla="*/ 2147483647 h 156"/>
                    <a:gd name="T84" fmla="*/ 2147483647 w 292"/>
                    <a:gd name="T85" fmla="*/ 2147483647 h 156"/>
                    <a:gd name="T86" fmla="*/ 2147483647 w 292"/>
                    <a:gd name="T87" fmla="*/ 2147483647 h 156"/>
                    <a:gd name="T88" fmla="*/ 2147483647 w 292"/>
                    <a:gd name="T89" fmla="*/ 2147483647 h 156"/>
                    <a:gd name="T90" fmla="*/ 2147483647 w 292"/>
                    <a:gd name="T91" fmla="*/ 2147483647 h 156"/>
                    <a:gd name="T92" fmla="*/ 2147483647 w 292"/>
                    <a:gd name="T93" fmla="*/ 2147483647 h 156"/>
                    <a:gd name="T94" fmla="*/ 2147483647 w 292"/>
                    <a:gd name="T95" fmla="*/ 2147483647 h 156"/>
                    <a:gd name="T96" fmla="*/ 2147483647 w 292"/>
                    <a:gd name="T97" fmla="*/ 2147483647 h 156"/>
                    <a:gd name="T98" fmla="*/ 2147483647 w 292"/>
                    <a:gd name="T99" fmla="*/ 2147483647 h 156"/>
                    <a:gd name="T100" fmla="*/ 2147483647 w 292"/>
                    <a:gd name="T101" fmla="*/ 2147483647 h 156"/>
                    <a:gd name="T102" fmla="*/ 2147483647 w 292"/>
                    <a:gd name="T103" fmla="*/ 2147483647 h 156"/>
                    <a:gd name="T104" fmla="*/ 2147483647 w 292"/>
                    <a:gd name="T105" fmla="*/ 2147483647 h 156"/>
                    <a:gd name="T106" fmla="*/ 2147483647 w 292"/>
                    <a:gd name="T107" fmla="*/ 2147483647 h 156"/>
                    <a:gd name="T108" fmla="*/ 2147483647 w 292"/>
                    <a:gd name="T109" fmla="*/ 2147483647 h 156"/>
                    <a:gd name="T110" fmla="*/ 2147483647 w 292"/>
                    <a:gd name="T111" fmla="*/ 2147483647 h 156"/>
                    <a:gd name="T112" fmla="*/ 2147483647 w 292"/>
                    <a:gd name="T113" fmla="*/ 2147483647 h 156"/>
                    <a:gd name="T114" fmla="*/ 2147483647 w 292"/>
                    <a:gd name="T115" fmla="*/ 2147483647 h 156"/>
                    <a:gd name="T116" fmla="*/ 2147483647 w 292"/>
                    <a:gd name="T117" fmla="*/ 2147483647 h 156"/>
                    <a:gd name="T118" fmla="*/ 2147483647 w 292"/>
                    <a:gd name="T119" fmla="*/ 2147483647 h 156"/>
                    <a:gd name="T120" fmla="*/ 2147483647 w 292"/>
                    <a:gd name="T121" fmla="*/ 2147483647 h 156"/>
                    <a:gd name="T122" fmla="*/ 2147483647 w 292"/>
                    <a:gd name="T123" fmla="*/ 2147483647 h 156"/>
                    <a:gd name="T124" fmla="*/ 2147483647 w 292"/>
                    <a:gd name="T125" fmla="*/ 2147483647 h 15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92"/>
                    <a:gd name="T190" fmla="*/ 0 h 156"/>
                    <a:gd name="T191" fmla="*/ 292 w 292"/>
                    <a:gd name="T192" fmla="*/ 156 h 15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92" h="156">
                      <a:moveTo>
                        <a:pt x="0" y="48"/>
                      </a:moveTo>
                      <a:lnTo>
                        <a:pt x="2" y="48"/>
                      </a:lnTo>
                      <a:lnTo>
                        <a:pt x="2" y="46"/>
                      </a:lnTo>
                      <a:lnTo>
                        <a:pt x="4" y="46"/>
                      </a:lnTo>
                      <a:lnTo>
                        <a:pt x="4" y="44"/>
                      </a:lnTo>
                      <a:lnTo>
                        <a:pt x="5" y="44"/>
                      </a:lnTo>
                      <a:lnTo>
                        <a:pt x="7" y="44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9" y="41"/>
                      </a:lnTo>
                      <a:lnTo>
                        <a:pt x="9" y="39"/>
                      </a:lnTo>
                      <a:lnTo>
                        <a:pt x="9" y="38"/>
                      </a:lnTo>
                      <a:lnTo>
                        <a:pt x="10" y="38"/>
                      </a:lnTo>
                      <a:lnTo>
                        <a:pt x="12" y="36"/>
                      </a:lnTo>
                      <a:lnTo>
                        <a:pt x="14" y="35"/>
                      </a:lnTo>
                      <a:lnTo>
                        <a:pt x="15" y="33"/>
                      </a:lnTo>
                      <a:lnTo>
                        <a:pt x="17" y="35"/>
                      </a:lnTo>
                      <a:lnTo>
                        <a:pt x="17" y="33"/>
                      </a:lnTo>
                      <a:lnTo>
                        <a:pt x="19" y="33"/>
                      </a:lnTo>
                      <a:lnTo>
                        <a:pt x="21" y="33"/>
                      </a:lnTo>
                      <a:lnTo>
                        <a:pt x="22" y="33"/>
                      </a:lnTo>
                      <a:lnTo>
                        <a:pt x="24" y="31"/>
                      </a:lnTo>
                      <a:lnTo>
                        <a:pt x="24" y="33"/>
                      </a:lnTo>
                      <a:lnTo>
                        <a:pt x="24" y="31"/>
                      </a:lnTo>
                      <a:lnTo>
                        <a:pt x="26" y="31"/>
                      </a:lnTo>
                      <a:lnTo>
                        <a:pt x="26" y="30"/>
                      </a:lnTo>
                      <a:lnTo>
                        <a:pt x="27" y="30"/>
                      </a:lnTo>
                      <a:lnTo>
                        <a:pt x="27" y="28"/>
                      </a:lnTo>
                      <a:lnTo>
                        <a:pt x="27" y="26"/>
                      </a:lnTo>
                      <a:lnTo>
                        <a:pt x="29" y="26"/>
                      </a:lnTo>
                      <a:lnTo>
                        <a:pt x="29" y="25"/>
                      </a:lnTo>
                      <a:lnTo>
                        <a:pt x="31" y="23"/>
                      </a:lnTo>
                      <a:lnTo>
                        <a:pt x="32" y="23"/>
                      </a:lnTo>
                      <a:lnTo>
                        <a:pt x="32" y="21"/>
                      </a:lnTo>
                      <a:lnTo>
                        <a:pt x="34" y="21"/>
                      </a:lnTo>
                      <a:lnTo>
                        <a:pt x="36" y="20"/>
                      </a:lnTo>
                      <a:lnTo>
                        <a:pt x="34" y="20"/>
                      </a:lnTo>
                      <a:lnTo>
                        <a:pt x="36" y="18"/>
                      </a:lnTo>
                      <a:lnTo>
                        <a:pt x="37" y="18"/>
                      </a:lnTo>
                      <a:lnTo>
                        <a:pt x="37" y="16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2"/>
                      </a:lnTo>
                      <a:lnTo>
                        <a:pt x="39" y="10"/>
                      </a:lnTo>
                      <a:lnTo>
                        <a:pt x="41" y="10"/>
                      </a:lnTo>
                      <a:lnTo>
                        <a:pt x="41" y="8"/>
                      </a:lnTo>
                      <a:lnTo>
                        <a:pt x="39" y="8"/>
                      </a:lnTo>
                      <a:lnTo>
                        <a:pt x="39" y="7"/>
                      </a:lnTo>
                      <a:lnTo>
                        <a:pt x="41" y="7"/>
                      </a:lnTo>
                      <a:lnTo>
                        <a:pt x="42" y="7"/>
                      </a:lnTo>
                      <a:lnTo>
                        <a:pt x="42" y="5"/>
                      </a:lnTo>
                      <a:lnTo>
                        <a:pt x="44" y="5"/>
                      </a:lnTo>
                      <a:lnTo>
                        <a:pt x="46" y="5"/>
                      </a:lnTo>
                      <a:lnTo>
                        <a:pt x="46" y="3"/>
                      </a:lnTo>
                      <a:lnTo>
                        <a:pt x="46" y="5"/>
                      </a:lnTo>
                      <a:lnTo>
                        <a:pt x="48" y="5"/>
                      </a:lnTo>
                      <a:lnTo>
                        <a:pt x="48" y="7"/>
                      </a:lnTo>
                      <a:lnTo>
                        <a:pt x="49" y="7"/>
                      </a:lnTo>
                      <a:lnTo>
                        <a:pt x="49" y="8"/>
                      </a:lnTo>
                      <a:lnTo>
                        <a:pt x="49" y="10"/>
                      </a:lnTo>
                      <a:lnTo>
                        <a:pt x="51" y="10"/>
                      </a:lnTo>
                      <a:lnTo>
                        <a:pt x="51" y="12"/>
                      </a:lnTo>
                      <a:lnTo>
                        <a:pt x="51" y="13"/>
                      </a:lnTo>
                      <a:lnTo>
                        <a:pt x="53" y="13"/>
                      </a:lnTo>
                      <a:lnTo>
                        <a:pt x="53" y="15"/>
                      </a:lnTo>
                      <a:lnTo>
                        <a:pt x="53" y="16"/>
                      </a:lnTo>
                      <a:lnTo>
                        <a:pt x="51" y="16"/>
                      </a:lnTo>
                      <a:lnTo>
                        <a:pt x="53" y="16"/>
                      </a:lnTo>
                      <a:lnTo>
                        <a:pt x="53" y="18"/>
                      </a:lnTo>
                      <a:lnTo>
                        <a:pt x="54" y="16"/>
                      </a:lnTo>
                      <a:lnTo>
                        <a:pt x="56" y="16"/>
                      </a:lnTo>
                      <a:lnTo>
                        <a:pt x="56" y="18"/>
                      </a:lnTo>
                      <a:lnTo>
                        <a:pt x="54" y="18"/>
                      </a:lnTo>
                      <a:lnTo>
                        <a:pt x="56" y="20"/>
                      </a:lnTo>
                      <a:lnTo>
                        <a:pt x="58" y="20"/>
                      </a:lnTo>
                      <a:lnTo>
                        <a:pt x="59" y="20"/>
                      </a:lnTo>
                      <a:lnTo>
                        <a:pt x="59" y="18"/>
                      </a:lnTo>
                      <a:lnTo>
                        <a:pt x="59" y="16"/>
                      </a:lnTo>
                      <a:lnTo>
                        <a:pt x="61" y="15"/>
                      </a:lnTo>
                      <a:lnTo>
                        <a:pt x="63" y="15"/>
                      </a:lnTo>
                      <a:lnTo>
                        <a:pt x="64" y="15"/>
                      </a:lnTo>
                      <a:lnTo>
                        <a:pt x="66" y="15"/>
                      </a:lnTo>
                      <a:lnTo>
                        <a:pt x="68" y="13"/>
                      </a:lnTo>
                      <a:lnTo>
                        <a:pt x="68" y="15"/>
                      </a:lnTo>
                      <a:lnTo>
                        <a:pt x="69" y="15"/>
                      </a:lnTo>
                      <a:lnTo>
                        <a:pt x="71" y="15"/>
                      </a:lnTo>
                      <a:lnTo>
                        <a:pt x="71" y="18"/>
                      </a:lnTo>
                      <a:lnTo>
                        <a:pt x="73" y="20"/>
                      </a:lnTo>
                      <a:lnTo>
                        <a:pt x="75" y="20"/>
                      </a:lnTo>
                      <a:lnTo>
                        <a:pt x="76" y="20"/>
                      </a:lnTo>
                      <a:lnTo>
                        <a:pt x="78" y="21"/>
                      </a:lnTo>
                      <a:lnTo>
                        <a:pt x="80" y="23"/>
                      </a:lnTo>
                      <a:lnTo>
                        <a:pt x="81" y="23"/>
                      </a:lnTo>
                      <a:lnTo>
                        <a:pt x="83" y="25"/>
                      </a:lnTo>
                      <a:lnTo>
                        <a:pt x="86" y="25"/>
                      </a:lnTo>
                      <a:lnTo>
                        <a:pt x="86" y="26"/>
                      </a:lnTo>
                      <a:lnTo>
                        <a:pt x="88" y="26"/>
                      </a:lnTo>
                      <a:lnTo>
                        <a:pt x="88" y="28"/>
                      </a:lnTo>
                      <a:lnTo>
                        <a:pt x="90" y="28"/>
                      </a:lnTo>
                      <a:lnTo>
                        <a:pt x="90" y="30"/>
                      </a:lnTo>
                      <a:lnTo>
                        <a:pt x="91" y="31"/>
                      </a:lnTo>
                      <a:lnTo>
                        <a:pt x="91" y="33"/>
                      </a:lnTo>
                      <a:lnTo>
                        <a:pt x="93" y="33"/>
                      </a:lnTo>
                      <a:lnTo>
                        <a:pt x="93" y="35"/>
                      </a:lnTo>
                      <a:lnTo>
                        <a:pt x="95" y="35"/>
                      </a:lnTo>
                      <a:lnTo>
                        <a:pt x="95" y="36"/>
                      </a:lnTo>
                      <a:lnTo>
                        <a:pt x="97" y="36"/>
                      </a:lnTo>
                      <a:lnTo>
                        <a:pt x="97" y="38"/>
                      </a:lnTo>
                      <a:lnTo>
                        <a:pt x="97" y="39"/>
                      </a:lnTo>
                      <a:lnTo>
                        <a:pt x="98" y="39"/>
                      </a:lnTo>
                      <a:lnTo>
                        <a:pt x="98" y="38"/>
                      </a:lnTo>
                      <a:lnTo>
                        <a:pt x="100" y="38"/>
                      </a:lnTo>
                      <a:lnTo>
                        <a:pt x="103" y="39"/>
                      </a:lnTo>
                      <a:lnTo>
                        <a:pt x="103" y="41"/>
                      </a:lnTo>
                      <a:lnTo>
                        <a:pt x="102" y="41"/>
                      </a:lnTo>
                      <a:lnTo>
                        <a:pt x="102" y="43"/>
                      </a:lnTo>
                      <a:lnTo>
                        <a:pt x="103" y="43"/>
                      </a:lnTo>
                      <a:lnTo>
                        <a:pt x="105" y="43"/>
                      </a:lnTo>
                      <a:lnTo>
                        <a:pt x="105" y="41"/>
                      </a:lnTo>
                      <a:lnTo>
                        <a:pt x="107" y="41"/>
                      </a:lnTo>
                      <a:lnTo>
                        <a:pt x="107" y="39"/>
                      </a:lnTo>
                      <a:lnTo>
                        <a:pt x="108" y="39"/>
                      </a:lnTo>
                      <a:lnTo>
                        <a:pt x="108" y="41"/>
                      </a:lnTo>
                      <a:lnTo>
                        <a:pt x="110" y="41"/>
                      </a:lnTo>
                      <a:lnTo>
                        <a:pt x="112" y="43"/>
                      </a:lnTo>
                      <a:lnTo>
                        <a:pt x="112" y="44"/>
                      </a:lnTo>
                      <a:lnTo>
                        <a:pt x="112" y="46"/>
                      </a:lnTo>
                      <a:lnTo>
                        <a:pt x="112" y="48"/>
                      </a:lnTo>
                      <a:lnTo>
                        <a:pt x="113" y="48"/>
                      </a:lnTo>
                      <a:lnTo>
                        <a:pt x="113" y="46"/>
                      </a:lnTo>
                      <a:lnTo>
                        <a:pt x="115" y="48"/>
                      </a:lnTo>
                      <a:lnTo>
                        <a:pt x="115" y="46"/>
                      </a:lnTo>
                      <a:lnTo>
                        <a:pt x="117" y="46"/>
                      </a:lnTo>
                      <a:lnTo>
                        <a:pt x="117" y="48"/>
                      </a:lnTo>
                      <a:lnTo>
                        <a:pt x="117" y="49"/>
                      </a:lnTo>
                      <a:lnTo>
                        <a:pt x="118" y="51"/>
                      </a:lnTo>
                      <a:lnTo>
                        <a:pt x="120" y="51"/>
                      </a:lnTo>
                      <a:lnTo>
                        <a:pt x="120" y="53"/>
                      </a:lnTo>
                      <a:lnTo>
                        <a:pt x="122" y="53"/>
                      </a:lnTo>
                      <a:lnTo>
                        <a:pt x="124" y="53"/>
                      </a:lnTo>
                      <a:lnTo>
                        <a:pt x="124" y="51"/>
                      </a:lnTo>
                      <a:lnTo>
                        <a:pt x="124" y="49"/>
                      </a:lnTo>
                      <a:lnTo>
                        <a:pt x="125" y="49"/>
                      </a:lnTo>
                      <a:lnTo>
                        <a:pt x="125" y="48"/>
                      </a:lnTo>
                      <a:lnTo>
                        <a:pt x="125" y="46"/>
                      </a:lnTo>
                      <a:lnTo>
                        <a:pt x="125" y="44"/>
                      </a:lnTo>
                      <a:lnTo>
                        <a:pt x="127" y="44"/>
                      </a:lnTo>
                      <a:lnTo>
                        <a:pt x="129" y="44"/>
                      </a:lnTo>
                      <a:lnTo>
                        <a:pt x="129" y="43"/>
                      </a:lnTo>
                      <a:lnTo>
                        <a:pt x="130" y="43"/>
                      </a:lnTo>
                      <a:lnTo>
                        <a:pt x="132" y="43"/>
                      </a:lnTo>
                      <a:lnTo>
                        <a:pt x="132" y="44"/>
                      </a:lnTo>
                      <a:lnTo>
                        <a:pt x="134" y="44"/>
                      </a:lnTo>
                      <a:lnTo>
                        <a:pt x="137" y="44"/>
                      </a:lnTo>
                      <a:lnTo>
                        <a:pt x="140" y="43"/>
                      </a:lnTo>
                      <a:lnTo>
                        <a:pt x="147" y="43"/>
                      </a:lnTo>
                      <a:lnTo>
                        <a:pt x="149" y="46"/>
                      </a:lnTo>
                      <a:lnTo>
                        <a:pt x="151" y="46"/>
                      </a:lnTo>
                      <a:lnTo>
                        <a:pt x="152" y="46"/>
                      </a:lnTo>
                      <a:lnTo>
                        <a:pt x="152" y="48"/>
                      </a:lnTo>
                      <a:lnTo>
                        <a:pt x="154" y="48"/>
                      </a:lnTo>
                      <a:lnTo>
                        <a:pt x="154" y="46"/>
                      </a:lnTo>
                      <a:lnTo>
                        <a:pt x="166" y="43"/>
                      </a:lnTo>
                      <a:lnTo>
                        <a:pt x="166" y="41"/>
                      </a:lnTo>
                      <a:lnTo>
                        <a:pt x="167" y="41"/>
                      </a:lnTo>
                      <a:lnTo>
                        <a:pt x="167" y="39"/>
                      </a:lnTo>
                      <a:lnTo>
                        <a:pt x="167" y="41"/>
                      </a:lnTo>
                      <a:lnTo>
                        <a:pt x="167" y="39"/>
                      </a:lnTo>
                      <a:lnTo>
                        <a:pt x="169" y="39"/>
                      </a:lnTo>
                      <a:lnTo>
                        <a:pt x="171" y="38"/>
                      </a:lnTo>
                      <a:lnTo>
                        <a:pt x="173" y="38"/>
                      </a:lnTo>
                      <a:lnTo>
                        <a:pt x="173" y="39"/>
                      </a:lnTo>
                      <a:lnTo>
                        <a:pt x="174" y="38"/>
                      </a:lnTo>
                      <a:lnTo>
                        <a:pt x="176" y="38"/>
                      </a:lnTo>
                      <a:lnTo>
                        <a:pt x="178" y="38"/>
                      </a:lnTo>
                      <a:lnTo>
                        <a:pt x="179" y="38"/>
                      </a:lnTo>
                      <a:lnTo>
                        <a:pt x="179" y="36"/>
                      </a:lnTo>
                      <a:lnTo>
                        <a:pt x="181" y="36"/>
                      </a:lnTo>
                      <a:lnTo>
                        <a:pt x="183" y="36"/>
                      </a:lnTo>
                      <a:lnTo>
                        <a:pt x="183" y="35"/>
                      </a:lnTo>
                      <a:lnTo>
                        <a:pt x="184" y="35"/>
                      </a:lnTo>
                      <a:lnTo>
                        <a:pt x="186" y="35"/>
                      </a:lnTo>
                      <a:lnTo>
                        <a:pt x="186" y="33"/>
                      </a:lnTo>
                      <a:lnTo>
                        <a:pt x="188" y="33"/>
                      </a:lnTo>
                      <a:lnTo>
                        <a:pt x="188" y="35"/>
                      </a:lnTo>
                      <a:lnTo>
                        <a:pt x="188" y="33"/>
                      </a:lnTo>
                      <a:lnTo>
                        <a:pt x="188" y="35"/>
                      </a:lnTo>
                      <a:lnTo>
                        <a:pt x="189" y="35"/>
                      </a:lnTo>
                      <a:lnTo>
                        <a:pt x="188" y="35"/>
                      </a:lnTo>
                      <a:lnTo>
                        <a:pt x="189" y="35"/>
                      </a:lnTo>
                      <a:lnTo>
                        <a:pt x="191" y="35"/>
                      </a:lnTo>
                      <a:lnTo>
                        <a:pt x="191" y="33"/>
                      </a:lnTo>
                      <a:lnTo>
                        <a:pt x="189" y="33"/>
                      </a:lnTo>
                      <a:lnTo>
                        <a:pt x="189" y="31"/>
                      </a:lnTo>
                      <a:lnTo>
                        <a:pt x="188" y="31"/>
                      </a:lnTo>
                      <a:lnTo>
                        <a:pt x="188" y="30"/>
                      </a:lnTo>
                      <a:lnTo>
                        <a:pt x="188" y="28"/>
                      </a:lnTo>
                      <a:lnTo>
                        <a:pt x="189" y="26"/>
                      </a:lnTo>
                      <a:lnTo>
                        <a:pt x="189" y="28"/>
                      </a:lnTo>
                      <a:lnTo>
                        <a:pt x="191" y="28"/>
                      </a:lnTo>
                      <a:lnTo>
                        <a:pt x="191" y="26"/>
                      </a:lnTo>
                      <a:lnTo>
                        <a:pt x="191" y="25"/>
                      </a:lnTo>
                      <a:lnTo>
                        <a:pt x="193" y="25"/>
                      </a:lnTo>
                      <a:lnTo>
                        <a:pt x="193" y="23"/>
                      </a:lnTo>
                      <a:lnTo>
                        <a:pt x="194" y="21"/>
                      </a:lnTo>
                      <a:lnTo>
                        <a:pt x="196" y="21"/>
                      </a:lnTo>
                      <a:lnTo>
                        <a:pt x="198" y="21"/>
                      </a:lnTo>
                      <a:lnTo>
                        <a:pt x="200" y="21"/>
                      </a:lnTo>
                      <a:lnTo>
                        <a:pt x="201" y="21"/>
                      </a:lnTo>
                      <a:lnTo>
                        <a:pt x="203" y="20"/>
                      </a:lnTo>
                      <a:lnTo>
                        <a:pt x="201" y="20"/>
                      </a:lnTo>
                      <a:lnTo>
                        <a:pt x="203" y="18"/>
                      </a:lnTo>
                      <a:lnTo>
                        <a:pt x="203" y="16"/>
                      </a:lnTo>
                      <a:lnTo>
                        <a:pt x="201" y="16"/>
                      </a:lnTo>
                      <a:lnTo>
                        <a:pt x="201" y="15"/>
                      </a:lnTo>
                      <a:lnTo>
                        <a:pt x="201" y="13"/>
                      </a:lnTo>
                      <a:lnTo>
                        <a:pt x="203" y="13"/>
                      </a:lnTo>
                      <a:lnTo>
                        <a:pt x="205" y="13"/>
                      </a:lnTo>
                      <a:lnTo>
                        <a:pt x="205" y="12"/>
                      </a:lnTo>
                      <a:lnTo>
                        <a:pt x="206" y="10"/>
                      </a:lnTo>
                      <a:lnTo>
                        <a:pt x="208" y="10"/>
                      </a:lnTo>
                      <a:lnTo>
                        <a:pt x="210" y="10"/>
                      </a:lnTo>
                      <a:lnTo>
                        <a:pt x="211" y="10"/>
                      </a:lnTo>
                      <a:lnTo>
                        <a:pt x="213" y="10"/>
                      </a:lnTo>
                      <a:lnTo>
                        <a:pt x="213" y="8"/>
                      </a:lnTo>
                      <a:lnTo>
                        <a:pt x="215" y="8"/>
                      </a:lnTo>
                      <a:lnTo>
                        <a:pt x="215" y="10"/>
                      </a:lnTo>
                      <a:lnTo>
                        <a:pt x="215" y="8"/>
                      </a:lnTo>
                      <a:lnTo>
                        <a:pt x="216" y="8"/>
                      </a:lnTo>
                      <a:lnTo>
                        <a:pt x="218" y="8"/>
                      </a:lnTo>
                      <a:lnTo>
                        <a:pt x="218" y="7"/>
                      </a:lnTo>
                      <a:lnTo>
                        <a:pt x="220" y="7"/>
                      </a:lnTo>
                      <a:lnTo>
                        <a:pt x="221" y="5"/>
                      </a:lnTo>
                      <a:lnTo>
                        <a:pt x="223" y="5"/>
                      </a:lnTo>
                      <a:lnTo>
                        <a:pt x="225" y="5"/>
                      </a:lnTo>
                      <a:lnTo>
                        <a:pt x="227" y="5"/>
                      </a:lnTo>
                      <a:lnTo>
                        <a:pt x="227" y="7"/>
                      </a:lnTo>
                      <a:lnTo>
                        <a:pt x="228" y="7"/>
                      </a:lnTo>
                      <a:lnTo>
                        <a:pt x="228" y="5"/>
                      </a:lnTo>
                      <a:lnTo>
                        <a:pt x="228" y="7"/>
                      </a:lnTo>
                      <a:lnTo>
                        <a:pt x="228" y="5"/>
                      </a:lnTo>
                      <a:lnTo>
                        <a:pt x="228" y="7"/>
                      </a:lnTo>
                      <a:lnTo>
                        <a:pt x="230" y="5"/>
                      </a:lnTo>
                      <a:lnTo>
                        <a:pt x="230" y="7"/>
                      </a:lnTo>
                      <a:lnTo>
                        <a:pt x="230" y="5"/>
                      </a:lnTo>
                      <a:lnTo>
                        <a:pt x="232" y="5"/>
                      </a:lnTo>
                      <a:lnTo>
                        <a:pt x="232" y="3"/>
                      </a:lnTo>
                      <a:lnTo>
                        <a:pt x="233" y="3"/>
                      </a:lnTo>
                      <a:lnTo>
                        <a:pt x="233" y="5"/>
                      </a:lnTo>
                      <a:lnTo>
                        <a:pt x="235" y="5"/>
                      </a:lnTo>
                      <a:lnTo>
                        <a:pt x="233" y="5"/>
                      </a:lnTo>
                      <a:lnTo>
                        <a:pt x="235" y="5"/>
                      </a:lnTo>
                      <a:lnTo>
                        <a:pt x="233" y="5"/>
                      </a:lnTo>
                      <a:lnTo>
                        <a:pt x="235" y="5"/>
                      </a:lnTo>
                      <a:lnTo>
                        <a:pt x="233" y="7"/>
                      </a:lnTo>
                      <a:lnTo>
                        <a:pt x="233" y="8"/>
                      </a:lnTo>
                      <a:lnTo>
                        <a:pt x="235" y="8"/>
                      </a:lnTo>
                      <a:lnTo>
                        <a:pt x="235" y="10"/>
                      </a:lnTo>
                      <a:lnTo>
                        <a:pt x="237" y="10"/>
                      </a:lnTo>
                      <a:lnTo>
                        <a:pt x="238" y="10"/>
                      </a:lnTo>
                      <a:lnTo>
                        <a:pt x="238" y="8"/>
                      </a:lnTo>
                      <a:lnTo>
                        <a:pt x="238" y="10"/>
                      </a:lnTo>
                      <a:lnTo>
                        <a:pt x="238" y="8"/>
                      </a:lnTo>
                      <a:lnTo>
                        <a:pt x="240" y="8"/>
                      </a:lnTo>
                      <a:lnTo>
                        <a:pt x="242" y="8"/>
                      </a:lnTo>
                      <a:lnTo>
                        <a:pt x="243" y="8"/>
                      </a:lnTo>
                      <a:lnTo>
                        <a:pt x="245" y="8"/>
                      </a:lnTo>
                      <a:lnTo>
                        <a:pt x="245" y="7"/>
                      </a:lnTo>
                      <a:lnTo>
                        <a:pt x="247" y="7"/>
                      </a:lnTo>
                      <a:lnTo>
                        <a:pt x="249" y="7"/>
                      </a:lnTo>
                      <a:lnTo>
                        <a:pt x="249" y="5"/>
                      </a:lnTo>
                      <a:lnTo>
                        <a:pt x="250" y="5"/>
                      </a:lnTo>
                      <a:lnTo>
                        <a:pt x="252" y="5"/>
                      </a:lnTo>
                      <a:lnTo>
                        <a:pt x="252" y="3"/>
                      </a:lnTo>
                      <a:lnTo>
                        <a:pt x="254" y="3"/>
                      </a:lnTo>
                      <a:lnTo>
                        <a:pt x="254" y="2"/>
                      </a:lnTo>
                      <a:lnTo>
                        <a:pt x="255" y="2"/>
                      </a:lnTo>
                      <a:lnTo>
                        <a:pt x="257" y="2"/>
                      </a:lnTo>
                      <a:lnTo>
                        <a:pt x="257" y="0"/>
                      </a:lnTo>
                      <a:lnTo>
                        <a:pt x="257" y="2"/>
                      </a:lnTo>
                      <a:lnTo>
                        <a:pt x="259" y="2"/>
                      </a:lnTo>
                      <a:lnTo>
                        <a:pt x="259" y="0"/>
                      </a:lnTo>
                      <a:lnTo>
                        <a:pt x="259" y="2"/>
                      </a:lnTo>
                      <a:lnTo>
                        <a:pt x="260" y="2"/>
                      </a:lnTo>
                      <a:lnTo>
                        <a:pt x="262" y="2"/>
                      </a:lnTo>
                      <a:lnTo>
                        <a:pt x="264" y="0"/>
                      </a:lnTo>
                      <a:lnTo>
                        <a:pt x="264" y="2"/>
                      </a:lnTo>
                      <a:lnTo>
                        <a:pt x="264" y="0"/>
                      </a:lnTo>
                      <a:lnTo>
                        <a:pt x="264" y="2"/>
                      </a:lnTo>
                      <a:lnTo>
                        <a:pt x="264" y="3"/>
                      </a:lnTo>
                      <a:lnTo>
                        <a:pt x="265" y="3"/>
                      </a:lnTo>
                      <a:lnTo>
                        <a:pt x="267" y="3"/>
                      </a:lnTo>
                      <a:lnTo>
                        <a:pt x="269" y="3"/>
                      </a:lnTo>
                      <a:lnTo>
                        <a:pt x="270" y="3"/>
                      </a:lnTo>
                      <a:lnTo>
                        <a:pt x="274" y="5"/>
                      </a:lnTo>
                      <a:lnTo>
                        <a:pt x="281" y="7"/>
                      </a:lnTo>
                      <a:lnTo>
                        <a:pt x="282" y="7"/>
                      </a:lnTo>
                      <a:lnTo>
                        <a:pt x="284" y="7"/>
                      </a:lnTo>
                      <a:lnTo>
                        <a:pt x="284" y="8"/>
                      </a:lnTo>
                      <a:lnTo>
                        <a:pt x="284" y="7"/>
                      </a:lnTo>
                      <a:lnTo>
                        <a:pt x="286" y="7"/>
                      </a:lnTo>
                      <a:lnTo>
                        <a:pt x="286" y="8"/>
                      </a:lnTo>
                      <a:lnTo>
                        <a:pt x="287" y="8"/>
                      </a:lnTo>
                      <a:lnTo>
                        <a:pt x="289" y="8"/>
                      </a:lnTo>
                      <a:lnTo>
                        <a:pt x="289" y="7"/>
                      </a:lnTo>
                      <a:lnTo>
                        <a:pt x="289" y="8"/>
                      </a:lnTo>
                      <a:lnTo>
                        <a:pt x="291" y="8"/>
                      </a:lnTo>
                      <a:lnTo>
                        <a:pt x="292" y="8"/>
                      </a:lnTo>
                      <a:lnTo>
                        <a:pt x="292" y="10"/>
                      </a:lnTo>
                      <a:lnTo>
                        <a:pt x="292" y="12"/>
                      </a:lnTo>
                      <a:lnTo>
                        <a:pt x="291" y="12"/>
                      </a:lnTo>
                      <a:lnTo>
                        <a:pt x="291" y="13"/>
                      </a:lnTo>
                      <a:lnTo>
                        <a:pt x="291" y="15"/>
                      </a:lnTo>
                      <a:lnTo>
                        <a:pt x="291" y="16"/>
                      </a:lnTo>
                      <a:lnTo>
                        <a:pt x="289" y="16"/>
                      </a:lnTo>
                      <a:lnTo>
                        <a:pt x="287" y="18"/>
                      </a:lnTo>
                      <a:lnTo>
                        <a:pt x="287" y="20"/>
                      </a:lnTo>
                      <a:lnTo>
                        <a:pt x="286" y="21"/>
                      </a:lnTo>
                      <a:lnTo>
                        <a:pt x="286" y="23"/>
                      </a:lnTo>
                      <a:lnTo>
                        <a:pt x="284" y="23"/>
                      </a:lnTo>
                      <a:lnTo>
                        <a:pt x="286" y="25"/>
                      </a:lnTo>
                      <a:lnTo>
                        <a:pt x="284" y="25"/>
                      </a:lnTo>
                      <a:lnTo>
                        <a:pt x="284" y="26"/>
                      </a:lnTo>
                      <a:lnTo>
                        <a:pt x="282" y="26"/>
                      </a:lnTo>
                      <a:lnTo>
                        <a:pt x="282" y="28"/>
                      </a:lnTo>
                      <a:lnTo>
                        <a:pt x="282" y="30"/>
                      </a:lnTo>
                      <a:lnTo>
                        <a:pt x="281" y="30"/>
                      </a:lnTo>
                      <a:lnTo>
                        <a:pt x="281" y="31"/>
                      </a:lnTo>
                      <a:lnTo>
                        <a:pt x="281" y="33"/>
                      </a:lnTo>
                      <a:lnTo>
                        <a:pt x="279" y="33"/>
                      </a:lnTo>
                      <a:lnTo>
                        <a:pt x="279" y="35"/>
                      </a:lnTo>
                      <a:lnTo>
                        <a:pt x="279" y="36"/>
                      </a:lnTo>
                      <a:lnTo>
                        <a:pt x="277" y="36"/>
                      </a:lnTo>
                      <a:lnTo>
                        <a:pt x="277" y="38"/>
                      </a:lnTo>
                      <a:lnTo>
                        <a:pt x="276" y="38"/>
                      </a:lnTo>
                      <a:lnTo>
                        <a:pt x="276" y="39"/>
                      </a:lnTo>
                      <a:lnTo>
                        <a:pt x="274" y="41"/>
                      </a:lnTo>
                      <a:lnTo>
                        <a:pt x="272" y="43"/>
                      </a:lnTo>
                      <a:lnTo>
                        <a:pt x="272" y="44"/>
                      </a:lnTo>
                      <a:lnTo>
                        <a:pt x="270" y="44"/>
                      </a:lnTo>
                      <a:lnTo>
                        <a:pt x="270" y="46"/>
                      </a:lnTo>
                      <a:lnTo>
                        <a:pt x="269" y="46"/>
                      </a:lnTo>
                      <a:lnTo>
                        <a:pt x="267" y="46"/>
                      </a:lnTo>
                      <a:lnTo>
                        <a:pt x="267" y="48"/>
                      </a:lnTo>
                      <a:lnTo>
                        <a:pt x="269" y="48"/>
                      </a:lnTo>
                      <a:lnTo>
                        <a:pt x="267" y="48"/>
                      </a:lnTo>
                      <a:lnTo>
                        <a:pt x="265" y="48"/>
                      </a:lnTo>
                      <a:lnTo>
                        <a:pt x="265" y="49"/>
                      </a:lnTo>
                      <a:lnTo>
                        <a:pt x="264" y="49"/>
                      </a:lnTo>
                      <a:lnTo>
                        <a:pt x="264" y="51"/>
                      </a:lnTo>
                      <a:lnTo>
                        <a:pt x="262" y="53"/>
                      </a:lnTo>
                      <a:lnTo>
                        <a:pt x="260" y="54"/>
                      </a:lnTo>
                      <a:lnTo>
                        <a:pt x="260" y="56"/>
                      </a:lnTo>
                      <a:lnTo>
                        <a:pt x="260" y="58"/>
                      </a:lnTo>
                      <a:lnTo>
                        <a:pt x="259" y="58"/>
                      </a:lnTo>
                      <a:lnTo>
                        <a:pt x="259" y="59"/>
                      </a:lnTo>
                      <a:lnTo>
                        <a:pt x="257" y="59"/>
                      </a:lnTo>
                      <a:lnTo>
                        <a:pt x="257" y="61"/>
                      </a:lnTo>
                      <a:lnTo>
                        <a:pt x="257" y="59"/>
                      </a:lnTo>
                      <a:lnTo>
                        <a:pt x="257" y="61"/>
                      </a:lnTo>
                      <a:lnTo>
                        <a:pt x="255" y="61"/>
                      </a:lnTo>
                      <a:lnTo>
                        <a:pt x="255" y="62"/>
                      </a:lnTo>
                      <a:lnTo>
                        <a:pt x="254" y="64"/>
                      </a:lnTo>
                      <a:lnTo>
                        <a:pt x="252" y="64"/>
                      </a:lnTo>
                      <a:lnTo>
                        <a:pt x="252" y="66"/>
                      </a:lnTo>
                      <a:lnTo>
                        <a:pt x="252" y="67"/>
                      </a:lnTo>
                      <a:lnTo>
                        <a:pt x="250" y="67"/>
                      </a:lnTo>
                      <a:lnTo>
                        <a:pt x="249" y="67"/>
                      </a:lnTo>
                      <a:lnTo>
                        <a:pt x="249" y="69"/>
                      </a:lnTo>
                      <a:lnTo>
                        <a:pt x="247" y="69"/>
                      </a:lnTo>
                      <a:lnTo>
                        <a:pt x="247" y="71"/>
                      </a:lnTo>
                      <a:lnTo>
                        <a:pt x="245" y="71"/>
                      </a:lnTo>
                      <a:lnTo>
                        <a:pt x="245" y="72"/>
                      </a:lnTo>
                      <a:lnTo>
                        <a:pt x="243" y="72"/>
                      </a:lnTo>
                      <a:lnTo>
                        <a:pt x="243" y="74"/>
                      </a:lnTo>
                      <a:lnTo>
                        <a:pt x="242" y="76"/>
                      </a:lnTo>
                      <a:lnTo>
                        <a:pt x="242" y="77"/>
                      </a:lnTo>
                      <a:lnTo>
                        <a:pt x="242" y="79"/>
                      </a:lnTo>
                      <a:lnTo>
                        <a:pt x="240" y="79"/>
                      </a:lnTo>
                      <a:lnTo>
                        <a:pt x="240" y="81"/>
                      </a:lnTo>
                      <a:lnTo>
                        <a:pt x="238" y="81"/>
                      </a:lnTo>
                      <a:lnTo>
                        <a:pt x="238" y="79"/>
                      </a:lnTo>
                      <a:lnTo>
                        <a:pt x="237" y="81"/>
                      </a:lnTo>
                      <a:lnTo>
                        <a:pt x="235" y="81"/>
                      </a:lnTo>
                      <a:lnTo>
                        <a:pt x="233" y="82"/>
                      </a:lnTo>
                      <a:lnTo>
                        <a:pt x="233" y="84"/>
                      </a:lnTo>
                      <a:lnTo>
                        <a:pt x="232" y="84"/>
                      </a:lnTo>
                      <a:lnTo>
                        <a:pt x="230" y="85"/>
                      </a:lnTo>
                      <a:lnTo>
                        <a:pt x="230" y="87"/>
                      </a:lnTo>
                      <a:lnTo>
                        <a:pt x="230" y="85"/>
                      </a:lnTo>
                      <a:lnTo>
                        <a:pt x="230" y="87"/>
                      </a:lnTo>
                      <a:lnTo>
                        <a:pt x="228" y="87"/>
                      </a:lnTo>
                      <a:lnTo>
                        <a:pt x="228" y="89"/>
                      </a:lnTo>
                      <a:lnTo>
                        <a:pt x="227" y="90"/>
                      </a:lnTo>
                      <a:lnTo>
                        <a:pt x="225" y="92"/>
                      </a:lnTo>
                      <a:lnTo>
                        <a:pt x="225" y="94"/>
                      </a:lnTo>
                      <a:lnTo>
                        <a:pt x="223" y="95"/>
                      </a:lnTo>
                      <a:lnTo>
                        <a:pt x="221" y="99"/>
                      </a:lnTo>
                      <a:lnTo>
                        <a:pt x="218" y="100"/>
                      </a:lnTo>
                      <a:lnTo>
                        <a:pt x="218" y="102"/>
                      </a:lnTo>
                      <a:lnTo>
                        <a:pt x="216" y="104"/>
                      </a:lnTo>
                      <a:lnTo>
                        <a:pt x="216" y="105"/>
                      </a:lnTo>
                      <a:lnTo>
                        <a:pt x="215" y="107"/>
                      </a:lnTo>
                      <a:lnTo>
                        <a:pt x="215" y="108"/>
                      </a:lnTo>
                      <a:lnTo>
                        <a:pt x="213" y="108"/>
                      </a:lnTo>
                      <a:lnTo>
                        <a:pt x="213" y="110"/>
                      </a:lnTo>
                      <a:lnTo>
                        <a:pt x="211" y="112"/>
                      </a:lnTo>
                      <a:lnTo>
                        <a:pt x="211" y="113"/>
                      </a:lnTo>
                      <a:lnTo>
                        <a:pt x="210" y="115"/>
                      </a:lnTo>
                      <a:lnTo>
                        <a:pt x="208" y="117"/>
                      </a:lnTo>
                      <a:lnTo>
                        <a:pt x="208" y="118"/>
                      </a:lnTo>
                      <a:lnTo>
                        <a:pt x="206" y="118"/>
                      </a:lnTo>
                      <a:lnTo>
                        <a:pt x="205" y="118"/>
                      </a:lnTo>
                      <a:lnTo>
                        <a:pt x="203" y="120"/>
                      </a:lnTo>
                      <a:lnTo>
                        <a:pt x="203" y="122"/>
                      </a:lnTo>
                      <a:lnTo>
                        <a:pt x="201" y="123"/>
                      </a:lnTo>
                      <a:lnTo>
                        <a:pt x="200" y="125"/>
                      </a:lnTo>
                      <a:lnTo>
                        <a:pt x="198" y="125"/>
                      </a:lnTo>
                      <a:lnTo>
                        <a:pt x="196" y="127"/>
                      </a:lnTo>
                      <a:lnTo>
                        <a:pt x="194" y="128"/>
                      </a:lnTo>
                      <a:lnTo>
                        <a:pt x="193" y="130"/>
                      </a:lnTo>
                      <a:lnTo>
                        <a:pt x="191" y="130"/>
                      </a:lnTo>
                      <a:lnTo>
                        <a:pt x="191" y="131"/>
                      </a:lnTo>
                      <a:lnTo>
                        <a:pt x="189" y="133"/>
                      </a:lnTo>
                      <a:lnTo>
                        <a:pt x="188" y="135"/>
                      </a:lnTo>
                      <a:lnTo>
                        <a:pt x="186" y="136"/>
                      </a:lnTo>
                      <a:lnTo>
                        <a:pt x="184" y="138"/>
                      </a:lnTo>
                      <a:lnTo>
                        <a:pt x="184" y="140"/>
                      </a:lnTo>
                      <a:lnTo>
                        <a:pt x="184" y="141"/>
                      </a:lnTo>
                      <a:lnTo>
                        <a:pt x="184" y="143"/>
                      </a:lnTo>
                      <a:lnTo>
                        <a:pt x="183" y="145"/>
                      </a:lnTo>
                      <a:lnTo>
                        <a:pt x="181" y="146"/>
                      </a:lnTo>
                      <a:lnTo>
                        <a:pt x="181" y="148"/>
                      </a:lnTo>
                      <a:lnTo>
                        <a:pt x="179" y="150"/>
                      </a:lnTo>
                      <a:lnTo>
                        <a:pt x="179" y="151"/>
                      </a:lnTo>
                      <a:lnTo>
                        <a:pt x="178" y="154"/>
                      </a:lnTo>
                      <a:lnTo>
                        <a:pt x="176" y="156"/>
                      </a:lnTo>
                      <a:lnTo>
                        <a:pt x="174" y="156"/>
                      </a:lnTo>
                      <a:lnTo>
                        <a:pt x="174" y="154"/>
                      </a:lnTo>
                      <a:lnTo>
                        <a:pt x="173" y="150"/>
                      </a:lnTo>
                      <a:lnTo>
                        <a:pt x="169" y="148"/>
                      </a:lnTo>
                      <a:lnTo>
                        <a:pt x="167" y="148"/>
                      </a:lnTo>
                      <a:lnTo>
                        <a:pt x="166" y="150"/>
                      </a:lnTo>
                      <a:lnTo>
                        <a:pt x="164" y="150"/>
                      </a:lnTo>
                      <a:lnTo>
                        <a:pt x="162" y="150"/>
                      </a:lnTo>
                      <a:lnTo>
                        <a:pt x="161" y="150"/>
                      </a:lnTo>
                      <a:lnTo>
                        <a:pt x="159" y="148"/>
                      </a:lnTo>
                      <a:lnTo>
                        <a:pt x="159" y="146"/>
                      </a:lnTo>
                      <a:lnTo>
                        <a:pt x="159" y="145"/>
                      </a:lnTo>
                      <a:lnTo>
                        <a:pt x="159" y="143"/>
                      </a:lnTo>
                      <a:lnTo>
                        <a:pt x="159" y="141"/>
                      </a:lnTo>
                      <a:lnTo>
                        <a:pt x="159" y="140"/>
                      </a:lnTo>
                      <a:lnTo>
                        <a:pt x="157" y="138"/>
                      </a:lnTo>
                      <a:lnTo>
                        <a:pt x="157" y="136"/>
                      </a:lnTo>
                      <a:lnTo>
                        <a:pt x="156" y="136"/>
                      </a:lnTo>
                      <a:lnTo>
                        <a:pt x="154" y="135"/>
                      </a:lnTo>
                      <a:lnTo>
                        <a:pt x="152" y="133"/>
                      </a:lnTo>
                      <a:lnTo>
                        <a:pt x="151" y="133"/>
                      </a:lnTo>
                      <a:lnTo>
                        <a:pt x="151" y="135"/>
                      </a:lnTo>
                      <a:lnTo>
                        <a:pt x="149" y="135"/>
                      </a:lnTo>
                      <a:lnTo>
                        <a:pt x="147" y="135"/>
                      </a:lnTo>
                      <a:lnTo>
                        <a:pt x="145" y="135"/>
                      </a:lnTo>
                      <a:lnTo>
                        <a:pt x="144" y="135"/>
                      </a:lnTo>
                      <a:lnTo>
                        <a:pt x="142" y="133"/>
                      </a:lnTo>
                      <a:lnTo>
                        <a:pt x="142" y="131"/>
                      </a:lnTo>
                      <a:lnTo>
                        <a:pt x="140" y="131"/>
                      </a:lnTo>
                      <a:lnTo>
                        <a:pt x="139" y="130"/>
                      </a:lnTo>
                      <a:lnTo>
                        <a:pt x="137" y="130"/>
                      </a:lnTo>
                      <a:lnTo>
                        <a:pt x="135" y="130"/>
                      </a:lnTo>
                      <a:lnTo>
                        <a:pt x="134" y="130"/>
                      </a:lnTo>
                      <a:lnTo>
                        <a:pt x="134" y="128"/>
                      </a:lnTo>
                      <a:lnTo>
                        <a:pt x="132" y="128"/>
                      </a:lnTo>
                      <a:lnTo>
                        <a:pt x="132" y="127"/>
                      </a:lnTo>
                      <a:lnTo>
                        <a:pt x="132" y="125"/>
                      </a:lnTo>
                      <a:lnTo>
                        <a:pt x="130" y="125"/>
                      </a:lnTo>
                      <a:lnTo>
                        <a:pt x="130" y="123"/>
                      </a:lnTo>
                      <a:lnTo>
                        <a:pt x="129" y="123"/>
                      </a:lnTo>
                      <a:lnTo>
                        <a:pt x="127" y="123"/>
                      </a:lnTo>
                      <a:lnTo>
                        <a:pt x="125" y="122"/>
                      </a:lnTo>
                      <a:lnTo>
                        <a:pt x="125" y="120"/>
                      </a:lnTo>
                      <a:lnTo>
                        <a:pt x="124" y="118"/>
                      </a:lnTo>
                      <a:lnTo>
                        <a:pt x="122" y="117"/>
                      </a:lnTo>
                      <a:lnTo>
                        <a:pt x="122" y="115"/>
                      </a:lnTo>
                      <a:lnTo>
                        <a:pt x="122" y="113"/>
                      </a:lnTo>
                      <a:lnTo>
                        <a:pt x="122" y="112"/>
                      </a:lnTo>
                      <a:lnTo>
                        <a:pt x="122" y="110"/>
                      </a:lnTo>
                      <a:lnTo>
                        <a:pt x="120" y="108"/>
                      </a:lnTo>
                      <a:lnTo>
                        <a:pt x="118" y="108"/>
                      </a:lnTo>
                      <a:lnTo>
                        <a:pt x="117" y="108"/>
                      </a:lnTo>
                      <a:lnTo>
                        <a:pt x="115" y="108"/>
                      </a:lnTo>
                      <a:lnTo>
                        <a:pt x="113" y="108"/>
                      </a:lnTo>
                      <a:lnTo>
                        <a:pt x="110" y="107"/>
                      </a:lnTo>
                      <a:lnTo>
                        <a:pt x="108" y="105"/>
                      </a:lnTo>
                      <a:lnTo>
                        <a:pt x="107" y="104"/>
                      </a:lnTo>
                      <a:lnTo>
                        <a:pt x="105" y="102"/>
                      </a:lnTo>
                      <a:lnTo>
                        <a:pt x="103" y="100"/>
                      </a:lnTo>
                      <a:lnTo>
                        <a:pt x="100" y="100"/>
                      </a:lnTo>
                      <a:lnTo>
                        <a:pt x="97" y="100"/>
                      </a:lnTo>
                      <a:lnTo>
                        <a:pt x="95" y="100"/>
                      </a:lnTo>
                      <a:lnTo>
                        <a:pt x="95" y="99"/>
                      </a:lnTo>
                      <a:lnTo>
                        <a:pt x="93" y="97"/>
                      </a:lnTo>
                      <a:lnTo>
                        <a:pt x="91" y="95"/>
                      </a:lnTo>
                      <a:lnTo>
                        <a:pt x="90" y="94"/>
                      </a:lnTo>
                      <a:lnTo>
                        <a:pt x="88" y="94"/>
                      </a:lnTo>
                      <a:lnTo>
                        <a:pt x="86" y="94"/>
                      </a:lnTo>
                      <a:lnTo>
                        <a:pt x="85" y="90"/>
                      </a:lnTo>
                      <a:lnTo>
                        <a:pt x="83" y="90"/>
                      </a:lnTo>
                      <a:lnTo>
                        <a:pt x="80" y="89"/>
                      </a:lnTo>
                      <a:lnTo>
                        <a:pt x="78" y="89"/>
                      </a:lnTo>
                      <a:lnTo>
                        <a:pt x="75" y="87"/>
                      </a:lnTo>
                      <a:lnTo>
                        <a:pt x="73" y="87"/>
                      </a:lnTo>
                      <a:lnTo>
                        <a:pt x="71" y="87"/>
                      </a:lnTo>
                      <a:lnTo>
                        <a:pt x="69" y="87"/>
                      </a:lnTo>
                      <a:lnTo>
                        <a:pt x="68" y="87"/>
                      </a:lnTo>
                      <a:lnTo>
                        <a:pt x="64" y="85"/>
                      </a:lnTo>
                      <a:lnTo>
                        <a:pt x="63" y="85"/>
                      </a:lnTo>
                      <a:lnTo>
                        <a:pt x="61" y="84"/>
                      </a:lnTo>
                      <a:lnTo>
                        <a:pt x="59" y="84"/>
                      </a:lnTo>
                      <a:lnTo>
                        <a:pt x="58" y="82"/>
                      </a:lnTo>
                      <a:lnTo>
                        <a:pt x="56" y="81"/>
                      </a:lnTo>
                      <a:lnTo>
                        <a:pt x="54" y="79"/>
                      </a:lnTo>
                      <a:lnTo>
                        <a:pt x="53" y="77"/>
                      </a:lnTo>
                      <a:lnTo>
                        <a:pt x="51" y="77"/>
                      </a:lnTo>
                      <a:lnTo>
                        <a:pt x="51" y="76"/>
                      </a:lnTo>
                      <a:lnTo>
                        <a:pt x="49" y="76"/>
                      </a:lnTo>
                      <a:lnTo>
                        <a:pt x="48" y="76"/>
                      </a:lnTo>
                      <a:lnTo>
                        <a:pt x="46" y="76"/>
                      </a:lnTo>
                      <a:lnTo>
                        <a:pt x="44" y="77"/>
                      </a:lnTo>
                      <a:lnTo>
                        <a:pt x="42" y="77"/>
                      </a:lnTo>
                      <a:lnTo>
                        <a:pt x="42" y="76"/>
                      </a:lnTo>
                      <a:lnTo>
                        <a:pt x="41" y="74"/>
                      </a:lnTo>
                      <a:lnTo>
                        <a:pt x="41" y="72"/>
                      </a:lnTo>
                      <a:lnTo>
                        <a:pt x="39" y="72"/>
                      </a:lnTo>
                      <a:lnTo>
                        <a:pt x="37" y="71"/>
                      </a:lnTo>
                      <a:lnTo>
                        <a:pt x="36" y="71"/>
                      </a:lnTo>
                      <a:lnTo>
                        <a:pt x="36" y="69"/>
                      </a:lnTo>
                      <a:lnTo>
                        <a:pt x="34" y="69"/>
                      </a:lnTo>
                      <a:lnTo>
                        <a:pt x="34" y="67"/>
                      </a:lnTo>
                      <a:lnTo>
                        <a:pt x="32" y="67"/>
                      </a:lnTo>
                      <a:lnTo>
                        <a:pt x="32" y="69"/>
                      </a:lnTo>
                      <a:lnTo>
                        <a:pt x="31" y="69"/>
                      </a:lnTo>
                      <a:lnTo>
                        <a:pt x="29" y="67"/>
                      </a:lnTo>
                      <a:lnTo>
                        <a:pt x="27" y="67"/>
                      </a:lnTo>
                      <a:lnTo>
                        <a:pt x="26" y="67"/>
                      </a:lnTo>
                      <a:lnTo>
                        <a:pt x="24" y="66"/>
                      </a:lnTo>
                      <a:lnTo>
                        <a:pt x="22" y="66"/>
                      </a:lnTo>
                      <a:lnTo>
                        <a:pt x="22" y="64"/>
                      </a:lnTo>
                      <a:lnTo>
                        <a:pt x="24" y="64"/>
                      </a:lnTo>
                      <a:lnTo>
                        <a:pt x="22" y="62"/>
                      </a:lnTo>
                      <a:lnTo>
                        <a:pt x="21" y="62"/>
                      </a:lnTo>
                      <a:lnTo>
                        <a:pt x="21" y="61"/>
                      </a:lnTo>
                      <a:lnTo>
                        <a:pt x="19" y="61"/>
                      </a:lnTo>
                      <a:lnTo>
                        <a:pt x="17" y="61"/>
                      </a:lnTo>
                      <a:lnTo>
                        <a:pt x="17" y="59"/>
                      </a:lnTo>
                      <a:lnTo>
                        <a:pt x="15" y="59"/>
                      </a:lnTo>
                      <a:lnTo>
                        <a:pt x="14" y="58"/>
                      </a:lnTo>
                      <a:lnTo>
                        <a:pt x="12" y="58"/>
                      </a:lnTo>
                      <a:lnTo>
                        <a:pt x="12" y="59"/>
                      </a:lnTo>
                      <a:lnTo>
                        <a:pt x="10" y="58"/>
                      </a:lnTo>
                      <a:lnTo>
                        <a:pt x="9" y="59"/>
                      </a:lnTo>
                      <a:lnTo>
                        <a:pt x="9" y="58"/>
                      </a:lnTo>
                      <a:lnTo>
                        <a:pt x="7" y="58"/>
                      </a:lnTo>
                      <a:lnTo>
                        <a:pt x="5" y="58"/>
                      </a:lnTo>
                      <a:lnTo>
                        <a:pt x="4" y="56"/>
                      </a:lnTo>
                      <a:lnTo>
                        <a:pt x="4" y="54"/>
                      </a:lnTo>
                      <a:lnTo>
                        <a:pt x="5" y="54"/>
                      </a:lnTo>
                      <a:lnTo>
                        <a:pt x="5" y="53"/>
                      </a:lnTo>
                      <a:lnTo>
                        <a:pt x="4" y="53"/>
                      </a:lnTo>
                      <a:lnTo>
                        <a:pt x="4" y="51"/>
                      </a:lnTo>
                      <a:lnTo>
                        <a:pt x="2" y="51"/>
                      </a:lnTo>
                      <a:lnTo>
                        <a:pt x="2" y="49"/>
                      </a:lnTo>
                      <a:lnTo>
                        <a:pt x="0" y="48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8" name="Freeform 20"/>
                <p:cNvSpPr>
                  <a:spLocks noChangeAspect="1" noEditPoints="1"/>
                </p:cNvSpPr>
                <p:nvPr/>
              </p:nvSpPr>
              <p:spPr bwMode="auto">
                <a:xfrm>
                  <a:off x="5008127" y="1432030"/>
                  <a:ext cx="1027116" cy="1425053"/>
                </a:xfrm>
                <a:custGeom>
                  <a:avLst/>
                  <a:gdLst>
                    <a:gd name="T0" fmla="*/ 2147483647 w 658"/>
                    <a:gd name="T1" fmla="*/ 2147483647 h 851"/>
                    <a:gd name="T2" fmla="*/ 2147483647 w 658"/>
                    <a:gd name="T3" fmla="*/ 2147483647 h 851"/>
                    <a:gd name="T4" fmla="*/ 2147483647 w 658"/>
                    <a:gd name="T5" fmla="*/ 2147483647 h 851"/>
                    <a:gd name="T6" fmla="*/ 2147483647 w 658"/>
                    <a:gd name="T7" fmla="*/ 2147483647 h 851"/>
                    <a:gd name="T8" fmla="*/ 2147483647 w 658"/>
                    <a:gd name="T9" fmla="*/ 2147483647 h 851"/>
                    <a:gd name="T10" fmla="*/ 2147483647 w 658"/>
                    <a:gd name="T11" fmla="*/ 2147483647 h 851"/>
                    <a:gd name="T12" fmla="*/ 2147483647 w 658"/>
                    <a:gd name="T13" fmla="*/ 2147483647 h 851"/>
                    <a:gd name="T14" fmla="*/ 2147483647 w 658"/>
                    <a:gd name="T15" fmla="*/ 2147483647 h 851"/>
                    <a:gd name="T16" fmla="*/ 2147483647 w 658"/>
                    <a:gd name="T17" fmla="*/ 2147483647 h 851"/>
                    <a:gd name="T18" fmla="*/ 2147483647 w 658"/>
                    <a:gd name="T19" fmla="*/ 2147483647 h 851"/>
                    <a:gd name="T20" fmla="*/ 2147483647 w 658"/>
                    <a:gd name="T21" fmla="*/ 2147483647 h 851"/>
                    <a:gd name="T22" fmla="*/ 2147483647 w 658"/>
                    <a:gd name="T23" fmla="*/ 2147483647 h 851"/>
                    <a:gd name="T24" fmla="*/ 2147483647 w 658"/>
                    <a:gd name="T25" fmla="*/ 2147483647 h 851"/>
                    <a:gd name="T26" fmla="*/ 2147483647 w 658"/>
                    <a:gd name="T27" fmla="*/ 2147483647 h 851"/>
                    <a:gd name="T28" fmla="*/ 2147483647 w 658"/>
                    <a:gd name="T29" fmla="*/ 2147483647 h 851"/>
                    <a:gd name="T30" fmla="*/ 2147483647 w 658"/>
                    <a:gd name="T31" fmla="*/ 2147483647 h 851"/>
                    <a:gd name="T32" fmla="*/ 2147483647 w 658"/>
                    <a:gd name="T33" fmla="*/ 2147483647 h 851"/>
                    <a:gd name="T34" fmla="*/ 2147483647 w 658"/>
                    <a:gd name="T35" fmla="*/ 2147483647 h 851"/>
                    <a:gd name="T36" fmla="*/ 2147483647 w 658"/>
                    <a:gd name="T37" fmla="*/ 2147483647 h 851"/>
                    <a:gd name="T38" fmla="*/ 2147483647 w 658"/>
                    <a:gd name="T39" fmla="*/ 2147483647 h 851"/>
                    <a:gd name="T40" fmla="*/ 2147483647 w 658"/>
                    <a:gd name="T41" fmla="*/ 2147483647 h 851"/>
                    <a:gd name="T42" fmla="*/ 2147483647 w 658"/>
                    <a:gd name="T43" fmla="*/ 2147483647 h 851"/>
                    <a:gd name="T44" fmla="*/ 2147483647 w 658"/>
                    <a:gd name="T45" fmla="*/ 2147483647 h 851"/>
                    <a:gd name="T46" fmla="*/ 2147483647 w 658"/>
                    <a:gd name="T47" fmla="*/ 2147483647 h 851"/>
                    <a:gd name="T48" fmla="*/ 2147483647 w 658"/>
                    <a:gd name="T49" fmla="*/ 2147483647 h 851"/>
                    <a:gd name="T50" fmla="*/ 2147483647 w 658"/>
                    <a:gd name="T51" fmla="*/ 2147483647 h 851"/>
                    <a:gd name="T52" fmla="*/ 2147483647 w 658"/>
                    <a:gd name="T53" fmla="*/ 2147483647 h 851"/>
                    <a:gd name="T54" fmla="*/ 2147483647 w 658"/>
                    <a:gd name="T55" fmla="*/ 2147483647 h 851"/>
                    <a:gd name="T56" fmla="*/ 2147483647 w 658"/>
                    <a:gd name="T57" fmla="*/ 2147483647 h 851"/>
                    <a:gd name="T58" fmla="*/ 2147483647 w 658"/>
                    <a:gd name="T59" fmla="*/ 2147483647 h 851"/>
                    <a:gd name="T60" fmla="*/ 2147483647 w 658"/>
                    <a:gd name="T61" fmla="*/ 2147483647 h 851"/>
                    <a:gd name="T62" fmla="*/ 2147483647 w 658"/>
                    <a:gd name="T63" fmla="*/ 2147483647 h 851"/>
                    <a:gd name="T64" fmla="*/ 2147483647 w 658"/>
                    <a:gd name="T65" fmla="*/ 2147483647 h 851"/>
                    <a:gd name="T66" fmla="*/ 2147483647 w 658"/>
                    <a:gd name="T67" fmla="*/ 2147483647 h 851"/>
                    <a:gd name="T68" fmla="*/ 2147483647 w 658"/>
                    <a:gd name="T69" fmla="*/ 2147483647 h 851"/>
                    <a:gd name="T70" fmla="*/ 2147483647 w 658"/>
                    <a:gd name="T71" fmla="*/ 2147483647 h 851"/>
                    <a:gd name="T72" fmla="*/ 2147483647 w 658"/>
                    <a:gd name="T73" fmla="*/ 2147483647 h 851"/>
                    <a:gd name="T74" fmla="*/ 2147483647 w 658"/>
                    <a:gd name="T75" fmla="*/ 2147483647 h 851"/>
                    <a:gd name="T76" fmla="*/ 2147483647 w 658"/>
                    <a:gd name="T77" fmla="*/ 2147483647 h 851"/>
                    <a:gd name="T78" fmla="*/ 2147483647 w 658"/>
                    <a:gd name="T79" fmla="*/ 2147483647 h 851"/>
                    <a:gd name="T80" fmla="*/ 2147483647 w 658"/>
                    <a:gd name="T81" fmla="*/ 2147483647 h 851"/>
                    <a:gd name="T82" fmla="*/ 2147483647 w 658"/>
                    <a:gd name="T83" fmla="*/ 2147483647 h 851"/>
                    <a:gd name="T84" fmla="*/ 2147483647 w 658"/>
                    <a:gd name="T85" fmla="*/ 2147483647 h 851"/>
                    <a:gd name="T86" fmla="*/ 2147483647 w 658"/>
                    <a:gd name="T87" fmla="*/ 2147483647 h 851"/>
                    <a:gd name="T88" fmla="*/ 2147483647 w 658"/>
                    <a:gd name="T89" fmla="*/ 2147483647 h 851"/>
                    <a:gd name="T90" fmla="*/ 2147483647 w 658"/>
                    <a:gd name="T91" fmla="*/ 2147483647 h 851"/>
                    <a:gd name="T92" fmla="*/ 2147483647 w 658"/>
                    <a:gd name="T93" fmla="*/ 2147483647 h 851"/>
                    <a:gd name="T94" fmla="*/ 2147483647 w 658"/>
                    <a:gd name="T95" fmla="*/ 2147483647 h 851"/>
                    <a:gd name="T96" fmla="*/ 2147483647 w 658"/>
                    <a:gd name="T97" fmla="*/ 2147483647 h 851"/>
                    <a:gd name="T98" fmla="*/ 2147483647 w 658"/>
                    <a:gd name="T99" fmla="*/ 2147483647 h 851"/>
                    <a:gd name="T100" fmla="*/ 2147483647 w 658"/>
                    <a:gd name="T101" fmla="*/ 2147483647 h 851"/>
                    <a:gd name="T102" fmla="*/ 2147483647 w 658"/>
                    <a:gd name="T103" fmla="*/ 2147483647 h 851"/>
                    <a:gd name="T104" fmla="*/ 2147483647 w 658"/>
                    <a:gd name="T105" fmla="*/ 2147483647 h 851"/>
                    <a:gd name="T106" fmla="*/ 2147483647 w 658"/>
                    <a:gd name="T107" fmla="*/ 2147483647 h 851"/>
                    <a:gd name="T108" fmla="*/ 2147483647 w 658"/>
                    <a:gd name="T109" fmla="*/ 2147483647 h 851"/>
                    <a:gd name="T110" fmla="*/ 2147483647 w 658"/>
                    <a:gd name="T111" fmla="*/ 2147483647 h 851"/>
                    <a:gd name="T112" fmla="*/ 2147483647 w 658"/>
                    <a:gd name="T113" fmla="*/ 2147483647 h 851"/>
                    <a:gd name="T114" fmla="*/ 2147483647 w 658"/>
                    <a:gd name="T115" fmla="*/ 2147483647 h 851"/>
                    <a:gd name="T116" fmla="*/ 2147483647 w 658"/>
                    <a:gd name="T117" fmla="*/ 2147483647 h 851"/>
                    <a:gd name="T118" fmla="*/ 2147483647 w 658"/>
                    <a:gd name="T119" fmla="*/ 2147483647 h 851"/>
                    <a:gd name="T120" fmla="*/ 2147483647 w 658"/>
                    <a:gd name="T121" fmla="*/ 2147483647 h 851"/>
                    <a:gd name="T122" fmla="*/ 2147483647 w 658"/>
                    <a:gd name="T123" fmla="*/ 2147483647 h 851"/>
                    <a:gd name="T124" fmla="*/ 2147483647 w 658"/>
                    <a:gd name="T125" fmla="*/ 2147483647 h 851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58"/>
                    <a:gd name="T190" fmla="*/ 0 h 851"/>
                    <a:gd name="T191" fmla="*/ 658 w 658"/>
                    <a:gd name="T192" fmla="*/ 851 h 851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58" h="851">
                      <a:moveTo>
                        <a:pt x="272" y="20"/>
                      </a:moveTo>
                      <a:lnTo>
                        <a:pt x="273" y="20"/>
                      </a:lnTo>
                      <a:lnTo>
                        <a:pt x="275" y="20"/>
                      </a:lnTo>
                      <a:lnTo>
                        <a:pt x="275" y="16"/>
                      </a:lnTo>
                      <a:lnTo>
                        <a:pt x="277" y="16"/>
                      </a:lnTo>
                      <a:lnTo>
                        <a:pt x="277" y="13"/>
                      </a:lnTo>
                      <a:lnTo>
                        <a:pt x="277" y="15"/>
                      </a:lnTo>
                      <a:lnTo>
                        <a:pt x="277" y="16"/>
                      </a:lnTo>
                      <a:lnTo>
                        <a:pt x="278" y="16"/>
                      </a:lnTo>
                      <a:lnTo>
                        <a:pt x="277" y="18"/>
                      </a:lnTo>
                      <a:lnTo>
                        <a:pt x="277" y="20"/>
                      </a:lnTo>
                      <a:lnTo>
                        <a:pt x="278" y="16"/>
                      </a:lnTo>
                      <a:lnTo>
                        <a:pt x="278" y="15"/>
                      </a:lnTo>
                      <a:lnTo>
                        <a:pt x="277" y="15"/>
                      </a:lnTo>
                      <a:lnTo>
                        <a:pt x="277" y="13"/>
                      </a:lnTo>
                      <a:lnTo>
                        <a:pt x="277" y="12"/>
                      </a:lnTo>
                      <a:lnTo>
                        <a:pt x="278" y="12"/>
                      </a:lnTo>
                      <a:lnTo>
                        <a:pt x="280" y="12"/>
                      </a:lnTo>
                      <a:lnTo>
                        <a:pt x="280" y="13"/>
                      </a:lnTo>
                      <a:lnTo>
                        <a:pt x="278" y="13"/>
                      </a:lnTo>
                      <a:lnTo>
                        <a:pt x="278" y="15"/>
                      </a:lnTo>
                      <a:lnTo>
                        <a:pt x="280" y="16"/>
                      </a:lnTo>
                      <a:lnTo>
                        <a:pt x="278" y="18"/>
                      </a:lnTo>
                      <a:lnTo>
                        <a:pt x="278" y="20"/>
                      </a:lnTo>
                      <a:lnTo>
                        <a:pt x="277" y="20"/>
                      </a:lnTo>
                      <a:lnTo>
                        <a:pt x="277" y="21"/>
                      </a:lnTo>
                      <a:lnTo>
                        <a:pt x="278" y="20"/>
                      </a:lnTo>
                      <a:lnTo>
                        <a:pt x="280" y="20"/>
                      </a:lnTo>
                      <a:lnTo>
                        <a:pt x="280" y="18"/>
                      </a:lnTo>
                      <a:lnTo>
                        <a:pt x="282" y="16"/>
                      </a:lnTo>
                      <a:lnTo>
                        <a:pt x="282" y="15"/>
                      </a:lnTo>
                      <a:lnTo>
                        <a:pt x="282" y="13"/>
                      </a:lnTo>
                      <a:lnTo>
                        <a:pt x="284" y="15"/>
                      </a:lnTo>
                      <a:lnTo>
                        <a:pt x="284" y="13"/>
                      </a:lnTo>
                      <a:lnTo>
                        <a:pt x="285" y="12"/>
                      </a:lnTo>
                      <a:lnTo>
                        <a:pt x="285" y="10"/>
                      </a:lnTo>
                      <a:lnTo>
                        <a:pt x="285" y="8"/>
                      </a:lnTo>
                      <a:lnTo>
                        <a:pt x="287" y="8"/>
                      </a:lnTo>
                      <a:lnTo>
                        <a:pt x="289" y="8"/>
                      </a:lnTo>
                      <a:lnTo>
                        <a:pt x="290" y="8"/>
                      </a:lnTo>
                      <a:lnTo>
                        <a:pt x="290" y="10"/>
                      </a:lnTo>
                      <a:lnTo>
                        <a:pt x="289" y="12"/>
                      </a:lnTo>
                      <a:lnTo>
                        <a:pt x="289" y="10"/>
                      </a:lnTo>
                      <a:lnTo>
                        <a:pt x="289" y="12"/>
                      </a:lnTo>
                      <a:lnTo>
                        <a:pt x="287" y="13"/>
                      </a:lnTo>
                      <a:lnTo>
                        <a:pt x="287" y="15"/>
                      </a:lnTo>
                      <a:lnTo>
                        <a:pt x="287" y="16"/>
                      </a:lnTo>
                      <a:lnTo>
                        <a:pt x="285" y="16"/>
                      </a:lnTo>
                      <a:lnTo>
                        <a:pt x="287" y="16"/>
                      </a:lnTo>
                      <a:lnTo>
                        <a:pt x="287" y="18"/>
                      </a:lnTo>
                      <a:lnTo>
                        <a:pt x="289" y="20"/>
                      </a:lnTo>
                      <a:lnTo>
                        <a:pt x="289" y="21"/>
                      </a:lnTo>
                      <a:lnTo>
                        <a:pt x="289" y="23"/>
                      </a:lnTo>
                      <a:lnTo>
                        <a:pt x="289" y="25"/>
                      </a:lnTo>
                      <a:lnTo>
                        <a:pt x="290" y="25"/>
                      </a:lnTo>
                      <a:lnTo>
                        <a:pt x="289" y="26"/>
                      </a:lnTo>
                      <a:lnTo>
                        <a:pt x="290" y="28"/>
                      </a:lnTo>
                      <a:lnTo>
                        <a:pt x="289" y="28"/>
                      </a:lnTo>
                      <a:lnTo>
                        <a:pt x="289" y="30"/>
                      </a:lnTo>
                      <a:lnTo>
                        <a:pt x="290" y="30"/>
                      </a:lnTo>
                      <a:lnTo>
                        <a:pt x="292" y="30"/>
                      </a:lnTo>
                      <a:lnTo>
                        <a:pt x="294" y="31"/>
                      </a:lnTo>
                      <a:lnTo>
                        <a:pt x="294" y="30"/>
                      </a:lnTo>
                      <a:lnTo>
                        <a:pt x="295" y="30"/>
                      </a:lnTo>
                      <a:lnTo>
                        <a:pt x="297" y="28"/>
                      </a:lnTo>
                      <a:lnTo>
                        <a:pt x="297" y="26"/>
                      </a:lnTo>
                      <a:lnTo>
                        <a:pt x="297" y="25"/>
                      </a:lnTo>
                      <a:lnTo>
                        <a:pt x="297" y="23"/>
                      </a:lnTo>
                      <a:lnTo>
                        <a:pt x="297" y="21"/>
                      </a:lnTo>
                      <a:lnTo>
                        <a:pt x="299" y="21"/>
                      </a:lnTo>
                      <a:lnTo>
                        <a:pt x="299" y="20"/>
                      </a:lnTo>
                      <a:lnTo>
                        <a:pt x="300" y="20"/>
                      </a:lnTo>
                      <a:lnTo>
                        <a:pt x="300" y="21"/>
                      </a:lnTo>
                      <a:lnTo>
                        <a:pt x="300" y="23"/>
                      </a:lnTo>
                      <a:lnTo>
                        <a:pt x="299" y="23"/>
                      </a:lnTo>
                      <a:lnTo>
                        <a:pt x="299" y="25"/>
                      </a:lnTo>
                      <a:lnTo>
                        <a:pt x="297" y="23"/>
                      </a:lnTo>
                      <a:lnTo>
                        <a:pt x="297" y="25"/>
                      </a:lnTo>
                      <a:lnTo>
                        <a:pt x="299" y="25"/>
                      </a:lnTo>
                      <a:lnTo>
                        <a:pt x="299" y="23"/>
                      </a:lnTo>
                      <a:lnTo>
                        <a:pt x="299" y="25"/>
                      </a:lnTo>
                      <a:lnTo>
                        <a:pt x="299" y="26"/>
                      </a:lnTo>
                      <a:lnTo>
                        <a:pt x="300" y="26"/>
                      </a:lnTo>
                      <a:lnTo>
                        <a:pt x="299" y="25"/>
                      </a:lnTo>
                      <a:lnTo>
                        <a:pt x="300" y="25"/>
                      </a:lnTo>
                      <a:lnTo>
                        <a:pt x="300" y="23"/>
                      </a:lnTo>
                      <a:lnTo>
                        <a:pt x="302" y="21"/>
                      </a:lnTo>
                      <a:lnTo>
                        <a:pt x="302" y="23"/>
                      </a:lnTo>
                      <a:lnTo>
                        <a:pt x="302" y="25"/>
                      </a:lnTo>
                      <a:lnTo>
                        <a:pt x="302" y="26"/>
                      </a:lnTo>
                      <a:lnTo>
                        <a:pt x="302" y="25"/>
                      </a:lnTo>
                      <a:lnTo>
                        <a:pt x="304" y="25"/>
                      </a:lnTo>
                      <a:lnTo>
                        <a:pt x="305" y="25"/>
                      </a:lnTo>
                      <a:lnTo>
                        <a:pt x="304" y="25"/>
                      </a:lnTo>
                      <a:lnTo>
                        <a:pt x="305" y="25"/>
                      </a:lnTo>
                      <a:lnTo>
                        <a:pt x="304" y="26"/>
                      </a:lnTo>
                      <a:lnTo>
                        <a:pt x="305" y="26"/>
                      </a:lnTo>
                      <a:lnTo>
                        <a:pt x="305" y="25"/>
                      </a:lnTo>
                      <a:lnTo>
                        <a:pt x="305" y="23"/>
                      </a:lnTo>
                      <a:lnTo>
                        <a:pt x="307" y="23"/>
                      </a:lnTo>
                      <a:lnTo>
                        <a:pt x="307" y="25"/>
                      </a:lnTo>
                      <a:lnTo>
                        <a:pt x="307" y="26"/>
                      </a:lnTo>
                      <a:lnTo>
                        <a:pt x="305" y="26"/>
                      </a:lnTo>
                      <a:lnTo>
                        <a:pt x="305" y="28"/>
                      </a:lnTo>
                      <a:lnTo>
                        <a:pt x="307" y="28"/>
                      </a:lnTo>
                      <a:lnTo>
                        <a:pt x="305" y="28"/>
                      </a:lnTo>
                      <a:lnTo>
                        <a:pt x="305" y="30"/>
                      </a:lnTo>
                      <a:lnTo>
                        <a:pt x="304" y="30"/>
                      </a:lnTo>
                      <a:lnTo>
                        <a:pt x="305" y="30"/>
                      </a:lnTo>
                      <a:lnTo>
                        <a:pt x="307" y="30"/>
                      </a:lnTo>
                      <a:lnTo>
                        <a:pt x="307" y="31"/>
                      </a:lnTo>
                      <a:lnTo>
                        <a:pt x="305" y="31"/>
                      </a:lnTo>
                      <a:lnTo>
                        <a:pt x="305" y="33"/>
                      </a:lnTo>
                      <a:lnTo>
                        <a:pt x="304" y="33"/>
                      </a:lnTo>
                      <a:lnTo>
                        <a:pt x="302" y="31"/>
                      </a:lnTo>
                      <a:lnTo>
                        <a:pt x="302" y="33"/>
                      </a:lnTo>
                      <a:lnTo>
                        <a:pt x="300" y="33"/>
                      </a:lnTo>
                      <a:lnTo>
                        <a:pt x="302" y="33"/>
                      </a:lnTo>
                      <a:lnTo>
                        <a:pt x="304" y="33"/>
                      </a:lnTo>
                      <a:lnTo>
                        <a:pt x="305" y="33"/>
                      </a:lnTo>
                      <a:lnTo>
                        <a:pt x="305" y="35"/>
                      </a:lnTo>
                      <a:lnTo>
                        <a:pt x="307" y="36"/>
                      </a:lnTo>
                      <a:lnTo>
                        <a:pt x="307" y="35"/>
                      </a:lnTo>
                      <a:lnTo>
                        <a:pt x="307" y="33"/>
                      </a:lnTo>
                      <a:lnTo>
                        <a:pt x="307" y="31"/>
                      </a:lnTo>
                      <a:lnTo>
                        <a:pt x="309" y="30"/>
                      </a:lnTo>
                      <a:lnTo>
                        <a:pt x="311" y="28"/>
                      </a:lnTo>
                      <a:lnTo>
                        <a:pt x="311" y="26"/>
                      </a:lnTo>
                      <a:lnTo>
                        <a:pt x="311" y="25"/>
                      </a:lnTo>
                      <a:lnTo>
                        <a:pt x="312" y="25"/>
                      </a:lnTo>
                      <a:lnTo>
                        <a:pt x="314" y="25"/>
                      </a:lnTo>
                      <a:lnTo>
                        <a:pt x="312" y="25"/>
                      </a:lnTo>
                      <a:lnTo>
                        <a:pt x="312" y="23"/>
                      </a:lnTo>
                      <a:lnTo>
                        <a:pt x="314" y="23"/>
                      </a:lnTo>
                      <a:lnTo>
                        <a:pt x="316" y="23"/>
                      </a:lnTo>
                      <a:lnTo>
                        <a:pt x="317" y="25"/>
                      </a:lnTo>
                      <a:lnTo>
                        <a:pt x="316" y="25"/>
                      </a:lnTo>
                      <a:lnTo>
                        <a:pt x="317" y="25"/>
                      </a:lnTo>
                      <a:lnTo>
                        <a:pt x="316" y="26"/>
                      </a:lnTo>
                      <a:lnTo>
                        <a:pt x="317" y="26"/>
                      </a:lnTo>
                      <a:lnTo>
                        <a:pt x="316" y="26"/>
                      </a:lnTo>
                      <a:lnTo>
                        <a:pt x="316" y="28"/>
                      </a:lnTo>
                      <a:lnTo>
                        <a:pt x="314" y="28"/>
                      </a:lnTo>
                      <a:lnTo>
                        <a:pt x="314" y="26"/>
                      </a:lnTo>
                      <a:lnTo>
                        <a:pt x="314" y="28"/>
                      </a:lnTo>
                      <a:lnTo>
                        <a:pt x="314" y="30"/>
                      </a:lnTo>
                      <a:lnTo>
                        <a:pt x="312" y="30"/>
                      </a:lnTo>
                      <a:lnTo>
                        <a:pt x="312" y="28"/>
                      </a:lnTo>
                      <a:lnTo>
                        <a:pt x="312" y="30"/>
                      </a:lnTo>
                      <a:lnTo>
                        <a:pt x="311" y="30"/>
                      </a:lnTo>
                      <a:lnTo>
                        <a:pt x="311" y="31"/>
                      </a:lnTo>
                      <a:lnTo>
                        <a:pt x="311" y="33"/>
                      </a:lnTo>
                      <a:lnTo>
                        <a:pt x="311" y="35"/>
                      </a:lnTo>
                      <a:lnTo>
                        <a:pt x="309" y="35"/>
                      </a:lnTo>
                      <a:lnTo>
                        <a:pt x="311" y="35"/>
                      </a:lnTo>
                      <a:lnTo>
                        <a:pt x="309" y="36"/>
                      </a:lnTo>
                      <a:lnTo>
                        <a:pt x="311" y="38"/>
                      </a:lnTo>
                      <a:lnTo>
                        <a:pt x="309" y="39"/>
                      </a:lnTo>
                      <a:lnTo>
                        <a:pt x="309" y="38"/>
                      </a:lnTo>
                      <a:lnTo>
                        <a:pt x="307" y="38"/>
                      </a:lnTo>
                      <a:lnTo>
                        <a:pt x="307" y="39"/>
                      </a:lnTo>
                      <a:lnTo>
                        <a:pt x="305" y="39"/>
                      </a:lnTo>
                      <a:lnTo>
                        <a:pt x="304" y="39"/>
                      </a:lnTo>
                      <a:lnTo>
                        <a:pt x="305" y="39"/>
                      </a:lnTo>
                      <a:lnTo>
                        <a:pt x="305" y="41"/>
                      </a:lnTo>
                      <a:lnTo>
                        <a:pt x="305" y="39"/>
                      </a:lnTo>
                      <a:lnTo>
                        <a:pt x="307" y="39"/>
                      </a:lnTo>
                      <a:lnTo>
                        <a:pt x="307" y="38"/>
                      </a:lnTo>
                      <a:lnTo>
                        <a:pt x="309" y="39"/>
                      </a:lnTo>
                      <a:lnTo>
                        <a:pt x="309" y="41"/>
                      </a:lnTo>
                      <a:lnTo>
                        <a:pt x="307" y="41"/>
                      </a:lnTo>
                      <a:lnTo>
                        <a:pt x="305" y="43"/>
                      </a:lnTo>
                      <a:lnTo>
                        <a:pt x="304" y="43"/>
                      </a:lnTo>
                      <a:lnTo>
                        <a:pt x="304" y="44"/>
                      </a:lnTo>
                      <a:lnTo>
                        <a:pt x="304" y="43"/>
                      </a:lnTo>
                      <a:lnTo>
                        <a:pt x="305" y="43"/>
                      </a:lnTo>
                      <a:lnTo>
                        <a:pt x="307" y="43"/>
                      </a:lnTo>
                      <a:lnTo>
                        <a:pt x="309" y="43"/>
                      </a:lnTo>
                      <a:lnTo>
                        <a:pt x="309" y="41"/>
                      </a:lnTo>
                      <a:lnTo>
                        <a:pt x="311" y="41"/>
                      </a:lnTo>
                      <a:lnTo>
                        <a:pt x="311" y="39"/>
                      </a:lnTo>
                      <a:lnTo>
                        <a:pt x="311" y="41"/>
                      </a:lnTo>
                      <a:lnTo>
                        <a:pt x="312" y="41"/>
                      </a:lnTo>
                      <a:lnTo>
                        <a:pt x="312" y="43"/>
                      </a:lnTo>
                      <a:lnTo>
                        <a:pt x="312" y="41"/>
                      </a:lnTo>
                      <a:lnTo>
                        <a:pt x="312" y="39"/>
                      </a:lnTo>
                      <a:lnTo>
                        <a:pt x="312" y="38"/>
                      </a:lnTo>
                      <a:lnTo>
                        <a:pt x="312" y="36"/>
                      </a:lnTo>
                      <a:lnTo>
                        <a:pt x="314" y="36"/>
                      </a:lnTo>
                      <a:lnTo>
                        <a:pt x="314" y="35"/>
                      </a:lnTo>
                      <a:lnTo>
                        <a:pt x="316" y="35"/>
                      </a:lnTo>
                      <a:lnTo>
                        <a:pt x="316" y="36"/>
                      </a:lnTo>
                      <a:lnTo>
                        <a:pt x="316" y="38"/>
                      </a:lnTo>
                      <a:lnTo>
                        <a:pt x="314" y="38"/>
                      </a:lnTo>
                      <a:lnTo>
                        <a:pt x="314" y="39"/>
                      </a:lnTo>
                      <a:lnTo>
                        <a:pt x="316" y="39"/>
                      </a:lnTo>
                      <a:lnTo>
                        <a:pt x="316" y="41"/>
                      </a:lnTo>
                      <a:lnTo>
                        <a:pt x="316" y="39"/>
                      </a:lnTo>
                      <a:lnTo>
                        <a:pt x="314" y="39"/>
                      </a:lnTo>
                      <a:lnTo>
                        <a:pt x="316" y="39"/>
                      </a:lnTo>
                      <a:lnTo>
                        <a:pt x="316" y="38"/>
                      </a:lnTo>
                      <a:lnTo>
                        <a:pt x="316" y="36"/>
                      </a:lnTo>
                      <a:lnTo>
                        <a:pt x="317" y="36"/>
                      </a:lnTo>
                      <a:lnTo>
                        <a:pt x="317" y="35"/>
                      </a:lnTo>
                      <a:lnTo>
                        <a:pt x="319" y="35"/>
                      </a:lnTo>
                      <a:lnTo>
                        <a:pt x="319" y="36"/>
                      </a:lnTo>
                      <a:lnTo>
                        <a:pt x="321" y="36"/>
                      </a:lnTo>
                      <a:lnTo>
                        <a:pt x="321" y="35"/>
                      </a:lnTo>
                      <a:lnTo>
                        <a:pt x="319" y="35"/>
                      </a:lnTo>
                      <a:lnTo>
                        <a:pt x="317" y="35"/>
                      </a:lnTo>
                      <a:lnTo>
                        <a:pt x="319" y="33"/>
                      </a:lnTo>
                      <a:lnTo>
                        <a:pt x="319" y="31"/>
                      </a:lnTo>
                      <a:lnTo>
                        <a:pt x="319" y="30"/>
                      </a:lnTo>
                      <a:lnTo>
                        <a:pt x="321" y="30"/>
                      </a:lnTo>
                      <a:lnTo>
                        <a:pt x="321" y="28"/>
                      </a:lnTo>
                      <a:lnTo>
                        <a:pt x="322" y="28"/>
                      </a:lnTo>
                      <a:lnTo>
                        <a:pt x="322" y="26"/>
                      </a:lnTo>
                      <a:lnTo>
                        <a:pt x="321" y="26"/>
                      </a:lnTo>
                      <a:lnTo>
                        <a:pt x="321" y="25"/>
                      </a:lnTo>
                      <a:lnTo>
                        <a:pt x="322" y="25"/>
                      </a:lnTo>
                      <a:lnTo>
                        <a:pt x="324" y="25"/>
                      </a:lnTo>
                      <a:lnTo>
                        <a:pt x="324" y="26"/>
                      </a:lnTo>
                      <a:lnTo>
                        <a:pt x="326" y="26"/>
                      </a:lnTo>
                      <a:lnTo>
                        <a:pt x="326" y="28"/>
                      </a:lnTo>
                      <a:lnTo>
                        <a:pt x="326" y="30"/>
                      </a:lnTo>
                      <a:lnTo>
                        <a:pt x="326" y="31"/>
                      </a:lnTo>
                      <a:lnTo>
                        <a:pt x="326" y="30"/>
                      </a:lnTo>
                      <a:lnTo>
                        <a:pt x="327" y="30"/>
                      </a:lnTo>
                      <a:lnTo>
                        <a:pt x="327" y="33"/>
                      </a:lnTo>
                      <a:lnTo>
                        <a:pt x="327" y="35"/>
                      </a:lnTo>
                      <a:lnTo>
                        <a:pt x="327" y="36"/>
                      </a:lnTo>
                      <a:lnTo>
                        <a:pt x="327" y="35"/>
                      </a:lnTo>
                      <a:lnTo>
                        <a:pt x="326" y="35"/>
                      </a:lnTo>
                      <a:lnTo>
                        <a:pt x="326" y="36"/>
                      </a:lnTo>
                      <a:lnTo>
                        <a:pt x="324" y="36"/>
                      </a:lnTo>
                      <a:lnTo>
                        <a:pt x="324" y="38"/>
                      </a:lnTo>
                      <a:lnTo>
                        <a:pt x="322" y="38"/>
                      </a:lnTo>
                      <a:lnTo>
                        <a:pt x="321" y="38"/>
                      </a:lnTo>
                      <a:lnTo>
                        <a:pt x="319" y="39"/>
                      </a:lnTo>
                      <a:lnTo>
                        <a:pt x="319" y="41"/>
                      </a:lnTo>
                      <a:lnTo>
                        <a:pt x="319" y="43"/>
                      </a:lnTo>
                      <a:lnTo>
                        <a:pt x="319" y="41"/>
                      </a:lnTo>
                      <a:lnTo>
                        <a:pt x="321" y="39"/>
                      </a:lnTo>
                      <a:lnTo>
                        <a:pt x="322" y="39"/>
                      </a:lnTo>
                      <a:lnTo>
                        <a:pt x="322" y="41"/>
                      </a:lnTo>
                      <a:lnTo>
                        <a:pt x="321" y="43"/>
                      </a:lnTo>
                      <a:lnTo>
                        <a:pt x="321" y="44"/>
                      </a:lnTo>
                      <a:lnTo>
                        <a:pt x="319" y="46"/>
                      </a:lnTo>
                      <a:lnTo>
                        <a:pt x="317" y="46"/>
                      </a:lnTo>
                      <a:lnTo>
                        <a:pt x="317" y="48"/>
                      </a:lnTo>
                      <a:lnTo>
                        <a:pt x="317" y="49"/>
                      </a:lnTo>
                      <a:lnTo>
                        <a:pt x="317" y="48"/>
                      </a:lnTo>
                      <a:lnTo>
                        <a:pt x="319" y="48"/>
                      </a:lnTo>
                      <a:lnTo>
                        <a:pt x="317" y="46"/>
                      </a:lnTo>
                      <a:lnTo>
                        <a:pt x="319" y="46"/>
                      </a:lnTo>
                      <a:lnTo>
                        <a:pt x="321" y="46"/>
                      </a:lnTo>
                      <a:lnTo>
                        <a:pt x="321" y="44"/>
                      </a:lnTo>
                      <a:lnTo>
                        <a:pt x="321" y="43"/>
                      </a:lnTo>
                      <a:lnTo>
                        <a:pt x="322" y="41"/>
                      </a:lnTo>
                      <a:lnTo>
                        <a:pt x="322" y="39"/>
                      </a:lnTo>
                      <a:lnTo>
                        <a:pt x="324" y="39"/>
                      </a:lnTo>
                      <a:lnTo>
                        <a:pt x="324" y="41"/>
                      </a:lnTo>
                      <a:lnTo>
                        <a:pt x="324" y="39"/>
                      </a:lnTo>
                      <a:lnTo>
                        <a:pt x="326" y="41"/>
                      </a:lnTo>
                      <a:lnTo>
                        <a:pt x="327" y="41"/>
                      </a:lnTo>
                      <a:lnTo>
                        <a:pt x="326" y="43"/>
                      </a:lnTo>
                      <a:lnTo>
                        <a:pt x="326" y="44"/>
                      </a:lnTo>
                      <a:lnTo>
                        <a:pt x="326" y="46"/>
                      </a:lnTo>
                      <a:lnTo>
                        <a:pt x="326" y="44"/>
                      </a:lnTo>
                      <a:lnTo>
                        <a:pt x="324" y="46"/>
                      </a:lnTo>
                      <a:lnTo>
                        <a:pt x="326" y="46"/>
                      </a:lnTo>
                      <a:lnTo>
                        <a:pt x="324" y="48"/>
                      </a:lnTo>
                      <a:lnTo>
                        <a:pt x="324" y="49"/>
                      </a:lnTo>
                      <a:lnTo>
                        <a:pt x="322" y="49"/>
                      </a:lnTo>
                      <a:lnTo>
                        <a:pt x="322" y="51"/>
                      </a:lnTo>
                      <a:lnTo>
                        <a:pt x="322" y="53"/>
                      </a:lnTo>
                      <a:lnTo>
                        <a:pt x="322" y="54"/>
                      </a:lnTo>
                      <a:lnTo>
                        <a:pt x="322" y="56"/>
                      </a:lnTo>
                      <a:lnTo>
                        <a:pt x="322" y="57"/>
                      </a:lnTo>
                      <a:lnTo>
                        <a:pt x="321" y="57"/>
                      </a:lnTo>
                      <a:lnTo>
                        <a:pt x="321" y="59"/>
                      </a:lnTo>
                      <a:lnTo>
                        <a:pt x="321" y="61"/>
                      </a:lnTo>
                      <a:lnTo>
                        <a:pt x="321" y="62"/>
                      </a:lnTo>
                      <a:lnTo>
                        <a:pt x="322" y="64"/>
                      </a:lnTo>
                      <a:lnTo>
                        <a:pt x="324" y="64"/>
                      </a:lnTo>
                      <a:lnTo>
                        <a:pt x="324" y="66"/>
                      </a:lnTo>
                      <a:lnTo>
                        <a:pt x="326" y="66"/>
                      </a:lnTo>
                      <a:lnTo>
                        <a:pt x="326" y="64"/>
                      </a:lnTo>
                      <a:lnTo>
                        <a:pt x="327" y="64"/>
                      </a:lnTo>
                      <a:lnTo>
                        <a:pt x="329" y="64"/>
                      </a:lnTo>
                      <a:lnTo>
                        <a:pt x="329" y="62"/>
                      </a:lnTo>
                      <a:lnTo>
                        <a:pt x="329" y="61"/>
                      </a:lnTo>
                      <a:lnTo>
                        <a:pt x="331" y="59"/>
                      </a:lnTo>
                      <a:lnTo>
                        <a:pt x="332" y="59"/>
                      </a:lnTo>
                      <a:lnTo>
                        <a:pt x="334" y="59"/>
                      </a:lnTo>
                      <a:lnTo>
                        <a:pt x="334" y="57"/>
                      </a:lnTo>
                      <a:lnTo>
                        <a:pt x="334" y="56"/>
                      </a:lnTo>
                      <a:lnTo>
                        <a:pt x="332" y="56"/>
                      </a:lnTo>
                      <a:lnTo>
                        <a:pt x="332" y="54"/>
                      </a:lnTo>
                      <a:lnTo>
                        <a:pt x="331" y="53"/>
                      </a:lnTo>
                      <a:lnTo>
                        <a:pt x="331" y="51"/>
                      </a:lnTo>
                      <a:lnTo>
                        <a:pt x="331" y="49"/>
                      </a:lnTo>
                      <a:lnTo>
                        <a:pt x="332" y="49"/>
                      </a:lnTo>
                      <a:lnTo>
                        <a:pt x="331" y="49"/>
                      </a:lnTo>
                      <a:lnTo>
                        <a:pt x="332" y="48"/>
                      </a:lnTo>
                      <a:lnTo>
                        <a:pt x="332" y="46"/>
                      </a:lnTo>
                      <a:lnTo>
                        <a:pt x="334" y="46"/>
                      </a:lnTo>
                      <a:lnTo>
                        <a:pt x="334" y="44"/>
                      </a:lnTo>
                      <a:lnTo>
                        <a:pt x="336" y="44"/>
                      </a:lnTo>
                      <a:lnTo>
                        <a:pt x="336" y="43"/>
                      </a:lnTo>
                      <a:lnTo>
                        <a:pt x="338" y="43"/>
                      </a:lnTo>
                      <a:lnTo>
                        <a:pt x="338" y="44"/>
                      </a:lnTo>
                      <a:lnTo>
                        <a:pt x="336" y="46"/>
                      </a:lnTo>
                      <a:lnTo>
                        <a:pt x="338" y="46"/>
                      </a:lnTo>
                      <a:lnTo>
                        <a:pt x="338" y="48"/>
                      </a:lnTo>
                      <a:lnTo>
                        <a:pt x="339" y="48"/>
                      </a:lnTo>
                      <a:lnTo>
                        <a:pt x="339" y="46"/>
                      </a:lnTo>
                      <a:lnTo>
                        <a:pt x="338" y="46"/>
                      </a:lnTo>
                      <a:lnTo>
                        <a:pt x="339" y="46"/>
                      </a:lnTo>
                      <a:lnTo>
                        <a:pt x="339" y="44"/>
                      </a:lnTo>
                      <a:lnTo>
                        <a:pt x="339" y="46"/>
                      </a:lnTo>
                      <a:lnTo>
                        <a:pt x="338" y="46"/>
                      </a:lnTo>
                      <a:lnTo>
                        <a:pt x="338" y="44"/>
                      </a:lnTo>
                      <a:lnTo>
                        <a:pt x="339" y="43"/>
                      </a:lnTo>
                      <a:lnTo>
                        <a:pt x="339" y="41"/>
                      </a:lnTo>
                      <a:lnTo>
                        <a:pt x="339" y="39"/>
                      </a:lnTo>
                      <a:lnTo>
                        <a:pt x="341" y="39"/>
                      </a:lnTo>
                      <a:lnTo>
                        <a:pt x="343" y="41"/>
                      </a:lnTo>
                      <a:lnTo>
                        <a:pt x="341" y="41"/>
                      </a:lnTo>
                      <a:lnTo>
                        <a:pt x="343" y="41"/>
                      </a:lnTo>
                      <a:lnTo>
                        <a:pt x="343" y="43"/>
                      </a:lnTo>
                      <a:lnTo>
                        <a:pt x="341" y="44"/>
                      </a:lnTo>
                      <a:lnTo>
                        <a:pt x="343" y="44"/>
                      </a:lnTo>
                      <a:lnTo>
                        <a:pt x="343" y="43"/>
                      </a:lnTo>
                      <a:lnTo>
                        <a:pt x="343" y="44"/>
                      </a:lnTo>
                      <a:lnTo>
                        <a:pt x="343" y="46"/>
                      </a:lnTo>
                      <a:lnTo>
                        <a:pt x="344" y="46"/>
                      </a:lnTo>
                      <a:lnTo>
                        <a:pt x="346" y="48"/>
                      </a:lnTo>
                      <a:lnTo>
                        <a:pt x="346" y="46"/>
                      </a:lnTo>
                      <a:lnTo>
                        <a:pt x="344" y="46"/>
                      </a:lnTo>
                      <a:lnTo>
                        <a:pt x="343" y="46"/>
                      </a:lnTo>
                      <a:lnTo>
                        <a:pt x="343" y="44"/>
                      </a:lnTo>
                      <a:lnTo>
                        <a:pt x="344" y="43"/>
                      </a:lnTo>
                      <a:lnTo>
                        <a:pt x="343" y="41"/>
                      </a:lnTo>
                      <a:lnTo>
                        <a:pt x="343" y="39"/>
                      </a:lnTo>
                      <a:lnTo>
                        <a:pt x="343" y="38"/>
                      </a:lnTo>
                      <a:lnTo>
                        <a:pt x="344" y="38"/>
                      </a:lnTo>
                      <a:lnTo>
                        <a:pt x="343" y="38"/>
                      </a:lnTo>
                      <a:lnTo>
                        <a:pt x="344" y="36"/>
                      </a:lnTo>
                      <a:lnTo>
                        <a:pt x="346" y="35"/>
                      </a:lnTo>
                      <a:lnTo>
                        <a:pt x="344" y="33"/>
                      </a:lnTo>
                      <a:lnTo>
                        <a:pt x="344" y="31"/>
                      </a:lnTo>
                      <a:lnTo>
                        <a:pt x="344" y="30"/>
                      </a:lnTo>
                      <a:lnTo>
                        <a:pt x="346" y="30"/>
                      </a:lnTo>
                      <a:lnTo>
                        <a:pt x="346" y="31"/>
                      </a:lnTo>
                      <a:lnTo>
                        <a:pt x="346" y="33"/>
                      </a:lnTo>
                      <a:lnTo>
                        <a:pt x="346" y="35"/>
                      </a:lnTo>
                      <a:lnTo>
                        <a:pt x="346" y="36"/>
                      </a:lnTo>
                      <a:lnTo>
                        <a:pt x="346" y="38"/>
                      </a:lnTo>
                      <a:lnTo>
                        <a:pt x="346" y="39"/>
                      </a:lnTo>
                      <a:lnTo>
                        <a:pt x="348" y="41"/>
                      </a:lnTo>
                      <a:lnTo>
                        <a:pt x="348" y="39"/>
                      </a:lnTo>
                      <a:lnTo>
                        <a:pt x="349" y="39"/>
                      </a:lnTo>
                      <a:lnTo>
                        <a:pt x="348" y="38"/>
                      </a:lnTo>
                      <a:lnTo>
                        <a:pt x="348" y="36"/>
                      </a:lnTo>
                      <a:lnTo>
                        <a:pt x="349" y="36"/>
                      </a:lnTo>
                      <a:lnTo>
                        <a:pt x="349" y="38"/>
                      </a:lnTo>
                      <a:lnTo>
                        <a:pt x="349" y="39"/>
                      </a:lnTo>
                      <a:lnTo>
                        <a:pt x="349" y="41"/>
                      </a:lnTo>
                      <a:lnTo>
                        <a:pt x="351" y="41"/>
                      </a:lnTo>
                      <a:lnTo>
                        <a:pt x="353" y="41"/>
                      </a:lnTo>
                      <a:lnTo>
                        <a:pt x="354" y="41"/>
                      </a:lnTo>
                      <a:lnTo>
                        <a:pt x="356" y="41"/>
                      </a:lnTo>
                      <a:lnTo>
                        <a:pt x="356" y="43"/>
                      </a:lnTo>
                      <a:lnTo>
                        <a:pt x="354" y="43"/>
                      </a:lnTo>
                      <a:lnTo>
                        <a:pt x="356" y="43"/>
                      </a:lnTo>
                      <a:lnTo>
                        <a:pt x="356" y="44"/>
                      </a:lnTo>
                      <a:lnTo>
                        <a:pt x="354" y="44"/>
                      </a:lnTo>
                      <a:lnTo>
                        <a:pt x="354" y="46"/>
                      </a:lnTo>
                      <a:lnTo>
                        <a:pt x="356" y="46"/>
                      </a:lnTo>
                      <a:lnTo>
                        <a:pt x="358" y="44"/>
                      </a:lnTo>
                      <a:lnTo>
                        <a:pt x="360" y="44"/>
                      </a:lnTo>
                      <a:lnTo>
                        <a:pt x="360" y="43"/>
                      </a:lnTo>
                      <a:lnTo>
                        <a:pt x="358" y="43"/>
                      </a:lnTo>
                      <a:lnTo>
                        <a:pt x="358" y="41"/>
                      </a:lnTo>
                      <a:lnTo>
                        <a:pt x="360" y="41"/>
                      </a:lnTo>
                      <a:lnTo>
                        <a:pt x="360" y="39"/>
                      </a:lnTo>
                      <a:lnTo>
                        <a:pt x="361" y="41"/>
                      </a:lnTo>
                      <a:lnTo>
                        <a:pt x="360" y="41"/>
                      </a:lnTo>
                      <a:lnTo>
                        <a:pt x="360" y="43"/>
                      </a:lnTo>
                      <a:lnTo>
                        <a:pt x="360" y="41"/>
                      </a:lnTo>
                      <a:lnTo>
                        <a:pt x="360" y="43"/>
                      </a:lnTo>
                      <a:lnTo>
                        <a:pt x="361" y="43"/>
                      </a:lnTo>
                      <a:lnTo>
                        <a:pt x="361" y="44"/>
                      </a:lnTo>
                      <a:lnTo>
                        <a:pt x="361" y="43"/>
                      </a:lnTo>
                      <a:lnTo>
                        <a:pt x="363" y="43"/>
                      </a:lnTo>
                      <a:lnTo>
                        <a:pt x="361" y="43"/>
                      </a:lnTo>
                      <a:lnTo>
                        <a:pt x="360" y="43"/>
                      </a:lnTo>
                      <a:lnTo>
                        <a:pt x="361" y="41"/>
                      </a:lnTo>
                      <a:lnTo>
                        <a:pt x="363" y="41"/>
                      </a:lnTo>
                      <a:lnTo>
                        <a:pt x="363" y="43"/>
                      </a:lnTo>
                      <a:lnTo>
                        <a:pt x="365" y="43"/>
                      </a:lnTo>
                      <a:lnTo>
                        <a:pt x="365" y="41"/>
                      </a:lnTo>
                      <a:lnTo>
                        <a:pt x="363" y="41"/>
                      </a:lnTo>
                      <a:lnTo>
                        <a:pt x="361" y="41"/>
                      </a:lnTo>
                      <a:lnTo>
                        <a:pt x="363" y="41"/>
                      </a:lnTo>
                      <a:lnTo>
                        <a:pt x="363" y="39"/>
                      </a:lnTo>
                      <a:lnTo>
                        <a:pt x="365" y="39"/>
                      </a:lnTo>
                      <a:lnTo>
                        <a:pt x="363" y="39"/>
                      </a:lnTo>
                      <a:lnTo>
                        <a:pt x="365" y="39"/>
                      </a:lnTo>
                      <a:lnTo>
                        <a:pt x="365" y="38"/>
                      </a:lnTo>
                      <a:lnTo>
                        <a:pt x="365" y="39"/>
                      </a:lnTo>
                      <a:lnTo>
                        <a:pt x="365" y="38"/>
                      </a:lnTo>
                      <a:lnTo>
                        <a:pt x="366" y="38"/>
                      </a:lnTo>
                      <a:lnTo>
                        <a:pt x="366" y="39"/>
                      </a:lnTo>
                      <a:lnTo>
                        <a:pt x="368" y="39"/>
                      </a:lnTo>
                      <a:lnTo>
                        <a:pt x="368" y="38"/>
                      </a:lnTo>
                      <a:lnTo>
                        <a:pt x="366" y="38"/>
                      </a:lnTo>
                      <a:lnTo>
                        <a:pt x="366" y="36"/>
                      </a:lnTo>
                      <a:lnTo>
                        <a:pt x="368" y="38"/>
                      </a:lnTo>
                      <a:lnTo>
                        <a:pt x="366" y="36"/>
                      </a:lnTo>
                      <a:lnTo>
                        <a:pt x="368" y="36"/>
                      </a:lnTo>
                      <a:lnTo>
                        <a:pt x="370" y="36"/>
                      </a:lnTo>
                      <a:lnTo>
                        <a:pt x="368" y="36"/>
                      </a:lnTo>
                      <a:lnTo>
                        <a:pt x="368" y="35"/>
                      </a:lnTo>
                      <a:lnTo>
                        <a:pt x="370" y="35"/>
                      </a:lnTo>
                      <a:lnTo>
                        <a:pt x="370" y="36"/>
                      </a:lnTo>
                      <a:lnTo>
                        <a:pt x="370" y="35"/>
                      </a:lnTo>
                      <a:lnTo>
                        <a:pt x="371" y="35"/>
                      </a:lnTo>
                      <a:lnTo>
                        <a:pt x="373" y="36"/>
                      </a:lnTo>
                      <a:lnTo>
                        <a:pt x="371" y="36"/>
                      </a:lnTo>
                      <a:lnTo>
                        <a:pt x="370" y="38"/>
                      </a:lnTo>
                      <a:lnTo>
                        <a:pt x="371" y="39"/>
                      </a:lnTo>
                      <a:lnTo>
                        <a:pt x="371" y="41"/>
                      </a:lnTo>
                      <a:lnTo>
                        <a:pt x="370" y="41"/>
                      </a:lnTo>
                      <a:lnTo>
                        <a:pt x="370" y="39"/>
                      </a:lnTo>
                      <a:lnTo>
                        <a:pt x="370" y="38"/>
                      </a:lnTo>
                      <a:lnTo>
                        <a:pt x="370" y="41"/>
                      </a:lnTo>
                      <a:lnTo>
                        <a:pt x="368" y="41"/>
                      </a:lnTo>
                      <a:lnTo>
                        <a:pt x="366" y="41"/>
                      </a:lnTo>
                      <a:lnTo>
                        <a:pt x="368" y="41"/>
                      </a:lnTo>
                      <a:lnTo>
                        <a:pt x="366" y="41"/>
                      </a:lnTo>
                      <a:lnTo>
                        <a:pt x="366" y="43"/>
                      </a:lnTo>
                      <a:lnTo>
                        <a:pt x="365" y="41"/>
                      </a:lnTo>
                      <a:lnTo>
                        <a:pt x="365" y="43"/>
                      </a:lnTo>
                      <a:lnTo>
                        <a:pt x="366" y="43"/>
                      </a:lnTo>
                      <a:lnTo>
                        <a:pt x="366" y="41"/>
                      </a:lnTo>
                      <a:lnTo>
                        <a:pt x="368" y="43"/>
                      </a:lnTo>
                      <a:lnTo>
                        <a:pt x="366" y="43"/>
                      </a:lnTo>
                      <a:lnTo>
                        <a:pt x="365" y="43"/>
                      </a:lnTo>
                      <a:lnTo>
                        <a:pt x="363" y="44"/>
                      </a:lnTo>
                      <a:lnTo>
                        <a:pt x="365" y="44"/>
                      </a:lnTo>
                      <a:lnTo>
                        <a:pt x="366" y="44"/>
                      </a:lnTo>
                      <a:lnTo>
                        <a:pt x="365" y="44"/>
                      </a:lnTo>
                      <a:lnTo>
                        <a:pt x="366" y="44"/>
                      </a:lnTo>
                      <a:lnTo>
                        <a:pt x="366" y="46"/>
                      </a:lnTo>
                      <a:lnTo>
                        <a:pt x="365" y="46"/>
                      </a:lnTo>
                      <a:lnTo>
                        <a:pt x="363" y="46"/>
                      </a:lnTo>
                      <a:lnTo>
                        <a:pt x="365" y="48"/>
                      </a:lnTo>
                      <a:lnTo>
                        <a:pt x="363" y="49"/>
                      </a:lnTo>
                      <a:lnTo>
                        <a:pt x="365" y="49"/>
                      </a:lnTo>
                      <a:lnTo>
                        <a:pt x="365" y="51"/>
                      </a:lnTo>
                      <a:lnTo>
                        <a:pt x="365" y="53"/>
                      </a:lnTo>
                      <a:lnTo>
                        <a:pt x="363" y="51"/>
                      </a:lnTo>
                      <a:lnTo>
                        <a:pt x="363" y="53"/>
                      </a:lnTo>
                      <a:lnTo>
                        <a:pt x="363" y="51"/>
                      </a:lnTo>
                      <a:lnTo>
                        <a:pt x="361" y="51"/>
                      </a:lnTo>
                      <a:lnTo>
                        <a:pt x="361" y="53"/>
                      </a:lnTo>
                      <a:lnTo>
                        <a:pt x="361" y="51"/>
                      </a:lnTo>
                      <a:lnTo>
                        <a:pt x="363" y="51"/>
                      </a:lnTo>
                      <a:lnTo>
                        <a:pt x="363" y="53"/>
                      </a:lnTo>
                      <a:lnTo>
                        <a:pt x="363" y="54"/>
                      </a:lnTo>
                      <a:lnTo>
                        <a:pt x="365" y="54"/>
                      </a:lnTo>
                      <a:lnTo>
                        <a:pt x="365" y="56"/>
                      </a:lnTo>
                      <a:lnTo>
                        <a:pt x="363" y="56"/>
                      </a:lnTo>
                      <a:lnTo>
                        <a:pt x="361" y="56"/>
                      </a:lnTo>
                      <a:lnTo>
                        <a:pt x="363" y="56"/>
                      </a:lnTo>
                      <a:lnTo>
                        <a:pt x="365" y="56"/>
                      </a:lnTo>
                      <a:lnTo>
                        <a:pt x="365" y="54"/>
                      </a:lnTo>
                      <a:lnTo>
                        <a:pt x="363" y="54"/>
                      </a:lnTo>
                      <a:lnTo>
                        <a:pt x="363" y="53"/>
                      </a:lnTo>
                      <a:lnTo>
                        <a:pt x="365" y="53"/>
                      </a:lnTo>
                      <a:lnTo>
                        <a:pt x="366" y="53"/>
                      </a:lnTo>
                      <a:lnTo>
                        <a:pt x="366" y="51"/>
                      </a:lnTo>
                      <a:lnTo>
                        <a:pt x="368" y="51"/>
                      </a:lnTo>
                      <a:lnTo>
                        <a:pt x="368" y="53"/>
                      </a:lnTo>
                      <a:lnTo>
                        <a:pt x="370" y="53"/>
                      </a:lnTo>
                      <a:lnTo>
                        <a:pt x="370" y="54"/>
                      </a:lnTo>
                      <a:lnTo>
                        <a:pt x="368" y="54"/>
                      </a:lnTo>
                      <a:lnTo>
                        <a:pt x="370" y="54"/>
                      </a:lnTo>
                      <a:lnTo>
                        <a:pt x="371" y="54"/>
                      </a:lnTo>
                      <a:lnTo>
                        <a:pt x="371" y="56"/>
                      </a:lnTo>
                      <a:lnTo>
                        <a:pt x="370" y="56"/>
                      </a:lnTo>
                      <a:lnTo>
                        <a:pt x="371" y="56"/>
                      </a:lnTo>
                      <a:lnTo>
                        <a:pt x="371" y="54"/>
                      </a:lnTo>
                      <a:lnTo>
                        <a:pt x="373" y="54"/>
                      </a:lnTo>
                      <a:lnTo>
                        <a:pt x="373" y="56"/>
                      </a:lnTo>
                      <a:lnTo>
                        <a:pt x="371" y="56"/>
                      </a:lnTo>
                      <a:lnTo>
                        <a:pt x="371" y="57"/>
                      </a:lnTo>
                      <a:lnTo>
                        <a:pt x="373" y="57"/>
                      </a:lnTo>
                      <a:lnTo>
                        <a:pt x="373" y="56"/>
                      </a:lnTo>
                      <a:lnTo>
                        <a:pt x="373" y="57"/>
                      </a:lnTo>
                      <a:lnTo>
                        <a:pt x="371" y="57"/>
                      </a:lnTo>
                      <a:lnTo>
                        <a:pt x="371" y="56"/>
                      </a:lnTo>
                      <a:lnTo>
                        <a:pt x="373" y="56"/>
                      </a:lnTo>
                      <a:lnTo>
                        <a:pt x="373" y="54"/>
                      </a:lnTo>
                      <a:lnTo>
                        <a:pt x="371" y="54"/>
                      </a:lnTo>
                      <a:lnTo>
                        <a:pt x="370" y="54"/>
                      </a:lnTo>
                      <a:lnTo>
                        <a:pt x="370" y="53"/>
                      </a:lnTo>
                      <a:lnTo>
                        <a:pt x="371" y="51"/>
                      </a:lnTo>
                      <a:lnTo>
                        <a:pt x="371" y="49"/>
                      </a:lnTo>
                      <a:lnTo>
                        <a:pt x="371" y="48"/>
                      </a:lnTo>
                      <a:lnTo>
                        <a:pt x="373" y="49"/>
                      </a:lnTo>
                      <a:lnTo>
                        <a:pt x="373" y="51"/>
                      </a:lnTo>
                      <a:lnTo>
                        <a:pt x="375" y="53"/>
                      </a:lnTo>
                      <a:lnTo>
                        <a:pt x="376" y="53"/>
                      </a:lnTo>
                      <a:lnTo>
                        <a:pt x="376" y="54"/>
                      </a:lnTo>
                      <a:lnTo>
                        <a:pt x="375" y="56"/>
                      </a:lnTo>
                      <a:lnTo>
                        <a:pt x="375" y="57"/>
                      </a:lnTo>
                      <a:lnTo>
                        <a:pt x="376" y="57"/>
                      </a:lnTo>
                      <a:lnTo>
                        <a:pt x="375" y="59"/>
                      </a:lnTo>
                      <a:lnTo>
                        <a:pt x="375" y="57"/>
                      </a:lnTo>
                      <a:lnTo>
                        <a:pt x="376" y="57"/>
                      </a:lnTo>
                      <a:lnTo>
                        <a:pt x="376" y="59"/>
                      </a:lnTo>
                      <a:lnTo>
                        <a:pt x="375" y="61"/>
                      </a:lnTo>
                      <a:lnTo>
                        <a:pt x="373" y="61"/>
                      </a:lnTo>
                      <a:lnTo>
                        <a:pt x="375" y="61"/>
                      </a:lnTo>
                      <a:lnTo>
                        <a:pt x="376" y="61"/>
                      </a:lnTo>
                      <a:lnTo>
                        <a:pt x="376" y="62"/>
                      </a:lnTo>
                      <a:lnTo>
                        <a:pt x="375" y="62"/>
                      </a:lnTo>
                      <a:lnTo>
                        <a:pt x="373" y="62"/>
                      </a:lnTo>
                      <a:lnTo>
                        <a:pt x="375" y="62"/>
                      </a:lnTo>
                      <a:lnTo>
                        <a:pt x="376" y="62"/>
                      </a:lnTo>
                      <a:lnTo>
                        <a:pt x="378" y="62"/>
                      </a:lnTo>
                      <a:lnTo>
                        <a:pt x="378" y="64"/>
                      </a:lnTo>
                      <a:lnTo>
                        <a:pt x="376" y="64"/>
                      </a:lnTo>
                      <a:lnTo>
                        <a:pt x="376" y="66"/>
                      </a:lnTo>
                      <a:lnTo>
                        <a:pt x="375" y="66"/>
                      </a:lnTo>
                      <a:lnTo>
                        <a:pt x="376" y="66"/>
                      </a:lnTo>
                      <a:lnTo>
                        <a:pt x="376" y="64"/>
                      </a:lnTo>
                      <a:lnTo>
                        <a:pt x="378" y="64"/>
                      </a:lnTo>
                      <a:lnTo>
                        <a:pt x="378" y="62"/>
                      </a:lnTo>
                      <a:lnTo>
                        <a:pt x="376" y="62"/>
                      </a:lnTo>
                      <a:lnTo>
                        <a:pt x="376" y="61"/>
                      </a:lnTo>
                      <a:lnTo>
                        <a:pt x="378" y="61"/>
                      </a:lnTo>
                      <a:lnTo>
                        <a:pt x="378" y="62"/>
                      </a:lnTo>
                      <a:lnTo>
                        <a:pt x="380" y="62"/>
                      </a:lnTo>
                      <a:lnTo>
                        <a:pt x="381" y="62"/>
                      </a:lnTo>
                      <a:lnTo>
                        <a:pt x="383" y="62"/>
                      </a:lnTo>
                      <a:lnTo>
                        <a:pt x="385" y="62"/>
                      </a:lnTo>
                      <a:lnTo>
                        <a:pt x="385" y="64"/>
                      </a:lnTo>
                      <a:lnTo>
                        <a:pt x="383" y="64"/>
                      </a:lnTo>
                      <a:lnTo>
                        <a:pt x="383" y="66"/>
                      </a:lnTo>
                      <a:lnTo>
                        <a:pt x="381" y="66"/>
                      </a:lnTo>
                      <a:lnTo>
                        <a:pt x="381" y="64"/>
                      </a:lnTo>
                      <a:lnTo>
                        <a:pt x="381" y="66"/>
                      </a:lnTo>
                      <a:lnTo>
                        <a:pt x="380" y="66"/>
                      </a:lnTo>
                      <a:lnTo>
                        <a:pt x="380" y="67"/>
                      </a:lnTo>
                      <a:lnTo>
                        <a:pt x="378" y="69"/>
                      </a:lnTo>
                      <a:lnTo>
                        <a:pt x="376" y="69"/>
                      </a:lnTo>
                      <a:lnTo>
                        <a:pt x="375" y="69"/>
                      </a:lnTo>
                      <a:lnTo>
                        <a:pt x="373" y="71"/>
                      </a:lnTo>
                      <a:lnTo>
                        <a:pt x="373" y="69"/>
                      </a:lnTo>
                      <a:lnTo>
                        <a:pt x="373" y="71"/>
                      </a:lnTo>
                      <a:lnTo>
                        <a:pt x="375" y="71"/>
                      </a:lnTo>
                      <a:lnTo>
                        <a:pt x="373" y="71"/>
                      </a:lnTo>
                      <a:lnTo>
                        <a:pt x="375" y="71"/>
                      </a:lnTo>
                      <a:lnTo>
                        <a:pt x="376" y="69"/>
                      </a:lnTo>
                      <a:lnTo>
                        <a:pt x="378" y="69"/>
                      </a:lnTo>
                      <a:lnTo>
                        <a:pt x="380" y="69"/>
                      </a:lnTo>
                      <a:lnTo>
                        <a:pt x="381" y="67"/>
                      </a:lnTo>
                      <a:lnTo>
                        <a:pt x="383" y="67"/>
                      </a:lnTo>
                      <a:lnTo>
                        <a:pt x="381" y="69"/>
                      </a:lnTo>
                      <a:lnTo>
                        <a:pt x="380" y="71"/>
                      </a:lnTo>
                      <a:lnTo>
                        <a:pt x="381" y="69"/>
                      </a:lnTo>
                      <a:lnTo>
                        <a:pt x="383" y="69"/>
                      </a:lnTo>
                      <a:lnTo>
                        <a:pt x="383" y="71"/>
                      </a:lnTo>
                      <a:lnTo>
                        <a:pt x="385" y="71"/>
                      </a:lnTo>
                      <a:lnTo>
                        <a:pt x="385" y="72"/>
                      </a:lnTo>
                      <a:lnTo>
                        <a:pt x="383" y="72"/>
                      </a:lnTo>
                      <a:lnTo>
                        <a:pt x="385" y="72"/>
                      </a:lnTo>
                      <a:lnTo>
                        <a:pt x="385" y="71"/>
                      </a:lnTo>
                      <a:lnTo>
                        <a:pt x="385" y="69"/>
                      </a:lnTo>
                      <a:lnTo>
                        <a:pt x="387" y="69"/>
                      </a:lnTo>
                      <a:lnTo>
                        <a:pt x="387" y="71"/>
                      </a:lnTo>
                      <a:lnTo>
                        <a:pt x="387" y="69"/>
                      </a:lnTo>
                      <a:lnTo>
                        <a:pt x="388" y="69"/>
                      </a:lnTo>
                      <a:lnTo>
                        <a:pt x="388" y="67"/>
                      </a:lnTo>
                      <a:lnTo>
                        <a:pt x="388" y="66"/>
                      </a:lnTo>
                      <a:lnTo>
                        <a:pt x="390" y="66"/>
                      </a:lnTo>
                      <a:lnTo>
                        <a:pt x="388" y="67"/>
                      </a:lnTo>
                      <a:lnTo>
                        <a:pt x="388" y="69"/>
                      </a:lnTo>
                      <a:lnTo>
                        <a:pt x="390" y="69"/>
                      </a:lnTo>
                      <a:lnTo>
                        <a:pt x="388" y="69"/>
                      </a:lnTo>
                      <a:lnTo>
                        <a:pt x="388" y="67"/>
                      </a:lnTo>
                      <a:lnTo>
                        <a:pt x="390" y="67"/>
                      </a:lnTo>
                      <a:lnTo>
                        <a:pt x="390" y="66"/>
                      </a:lnTo>
                      <a:lnTo>
                        <a:pt x="388" y="66"/>
                      </a:lnTo>
                      <a:lnTo>
                        <a:pt x="388" y="64"/>
                      </a:lnTo>
                      <a:lnTo>
                        <a:pt x="390" y="64"/>
                      </a:lnTo>
                      <a:lnTo>
                        <a:pt x="388" y="64"/>
                      </a:lnTo>
                      <a:lnTo>
                        <a:pt x="388" y="62"/>
                      </a:lnTo>
                      <a:lnTo>
                        <a:pt x="390" y="62"/>
                      </a:lnTo>
                      <a:lnTo>
                        <a:pt x="392" y="62"/>
                      </a:lnTo>
                      <a:lnTo>
                        <a:pt x="393" y="64"/>
                      </a:lnTo>
                      <a:lnTo>
                        <a:pt x="393" y="66"/>
                      </a:lnTo>
                      <a:lnTo>
                        <a:pt x="392" y="66"/>
                      </a:lnTo>
                      <a:lnTo>
                        <a:pt x="390" y="67"/>
                      </a:lnTo>
                      <a:lnTo>
                        <a:pt x="390" y="69"/>
                      </a:lnTo>
                      <a:lnTo>
                        <a:pt x="390" y="71"/>
                      </a:lnTo>
                      <a:lnTo>
                        <a:pt x="392" y="71"/>
                      </a:lnTo>
                      <a:lnTo>
                        <a:pt x="390" y="71"/>
                      </a:lnTo>
                      <a:lnTo>
                        <a:pt x="390" y="72"/>
                      </a:lnTo>
                      <a:lnTo>
                        <a:pt x="392" y="72"/>
                      </a:lnTo>
                      <a:lnTo>
                        <a:pt x="390" y="72"/>
                      </a:lnTo>
                      <a:lnTo>
                        <a:pt x="392" y="72"/>
                      </a:lnTo>
                      <a:lnTo>
                        <a:pt x="393" y="72"/>
                      </a:lnTo>
                      <a:lnTo>
                        <a:pt x="392" y="74"/>
                      </a:lnTo>
                      <a:lnTo>
                        <a:pt x="393" y="72"/>
                      </a:lnTo>
                      <a:lnTo>
                        <a:pt x="393" y="74"/>
                      </a:lnTo>
                      <a:lnTo>
                        <a:pt x="395" y="74"/>
                      </a:lnTo>
                      <a:lnTo>
                        <a:pt x="393" y="74"/>
                      </a:lnTo>
                      <a:lnTo>
                        <a:pt x="393" y="76"/>
                      </a:lnTo>
                      <a:lnTo>
                        <a:pt x="392" y="76"/>
                      </a:lnTo>
                      <a:lnTo>
                        <a:pt x="393" y="76"/>
                      </a:lnTo>
                      <a:lnTo>
                        <a:pt x="393" y="74"/>
                      </a:lnTo>
                      <a:lnTo>
                        <a:pt x="395" y="74"/>
                      </a:lnTo>
                      <a:lnTo>
                        <a:pt x="395" y="76"/>
                      </a:lnTo>
                      <a:lnTo>
                        <a:pt x="397" y="76"/>
                      </a:lnTo>
                      <a:lnTo>
                        <a:pt x="397" y="74"/>
                      </a:lnTo>
                      <a:lnTo>
                        <a:pt x="398" y="74"/>
                      </a:lnTo>
                      <a:lnTo>
                        <a:pt x="398" y="72"/>
                      </a:lnTo>
                      <a:lnTo>
                        <a:pt x="400" y="72"/>
                      </a:lnTo>
                      <a:lnTo>
                        <a:pt x="398" y="72"/>
                      </a:lnTo>
                      <a:lnTo>
                        <a:pt x="400" y="72"/>
                      </a:lnTo>
                      <a:lnTo>
                        <a:pt x="400" y="74"/>
                      </a:lnTo>
                      <a:lnTo>
                        <a:pt x="398" y="76"/>
                      </a:lnTo>
                      <a:lnTo>
                        <a:pt x="398" y="77"/>
                      </a:lnTo>
                      <a:lnTo>
                        <a:pt x="397" y="77"/>
                      </a:lnTo>
                      <a:lnTo>
                        <a:pt x="395" y="77"/>
                      </a:lnTo>
                      <a:lnTo>
                        <a:pt x="395" y="79"/>
                      </a:lnTo>
                      <a:lnTo>
                        <a:pt x="393" y="79"/>
                      </a:lnTo>
                      <a:lnTo>
                        <a:pt x="393" y="80"/>
                      </a:lnTo>
                      <a:lnTo>
                        <a:pt x="392" y="80"/>
                      </a:lnTo>
                      <a:lnTo>
                        <a:pt x="393" y="80"/>
                      </a:lnTo>
                      <a:lnTo>
                        <a:pt x="393" y="79"/>
                      </a:lnTo>
                      <a:lnTo>
                        <a:pt x="395" y="79"/>
                      </a:lnTo>
                      <a:lnTo>
                        <a:pt x="397" y="79"/>
                      </a:lnTo>
                      <a:lnTo>
                        <a:pt x="397" y="80"/>
                      </a:lnTo>
                      <a:lnTo>
                        <a:pt x="397" y="79"/>
                      </a:lnTo>
                      <a:lnTo>
                        <a:pt x="398" y="79"/>
                      </a:lnTo>
                      <a:lnTo>
                        <a:pt x="400" y="79"/>
                      </a:lnTo>
                      <a:lnTo>
                        <a:pt x="398" y="80"/>
                      </a:lnTo>
                      <a:lnTo>
                        <a:pt x="400" y="79"/>
                      </a:lnTo>
                      <a:lnTo>
                        <a:pt x="400" y="77"/>
                      </a:lnTo>
                      <a:lnTo>
                        <a:pt x="400" y="79"/>
                      </a:lnTo>
                      <a:lnTo>
                        <a:pt x="400" y="80"/>
                      </a:lnTo>
                      <a:lnTo>
                        <a:pt x="402" y="80"/>
                      </a:lnTo>
                      <a:lnTo>
                        <a:pt x="400" y="80"/>
                      </a:lnTo>
                      <a:lnTo>
                        <a:pt x="400" y="79"/>
                      </a:lnTo>
                      <a:lnTo>
                        <a:pt x="400" y="77"/>
                      </a:lnTo>
                      <a:lnTo>
                        <a:pt x="402" y="77"/>
                      </a:lnTo>
                      <a:lnTo>
                        <a:pt x="402" y="79"/>
                      </a:lnTo>
                      <a:lnTo>
                        <a:pt x="403" y="80"/>
                      </a:lnTo>
                      <a:lnTo>
                        <a:pt x="403" y="82"/>
                      </a:lnTo>
                      <a:lnTo>
                        <a:pt x="403" y="84"/>
                      </a:lnTo>
                      <a:lnTo>
                        <a:pt x="403" y="85"/>
                      </a:lnTo>
                      <a:lnTo>
                        <a:pt x="403" y="84"/>
                      </a:lnTo>
                      <a:lnTo>
                        <a:pt x="402" y="84"/>
                      </a:lnTo>
                      <a:lnTo>
                        <a:pt x="402" y="85"/>
                      </a:lnTo>
                      <a:lnTo>
                        <a:pt x="402" y="84"/>
                      </a:lnTo>
                      <a:lnTo>
                        <a:pt x="403" y="85"/>
                      </a:lnTo>
                      <a:lnTo>
                        <a:pt x="403" y="87"/>
                      </a:lnTo>
                      <a:lnTo>
                        <a:pt x="405" y="87"/>
                      </a:lnTo>
                      <a:lnTo>
                        <a:pt x="403" y="87"/>
                      </a:lnTo>
                      <a:lnTo>
                        <a:pt x="405" y="87"/>
                      </a:lnTo>
                      <a:lnTo>
                        <a:pt x="403" y="89"/>
                      </a:lnTo>
                      <a:lnTo>
                        <a:pt x="403" y="90"/>
                      </a:lnTo>
                      <a:lnTo>
                        <a:pt x="405" y="90"/>
                      </a:lnTo>
                      <a:lnTo>
                        <a:pt x="407" y="90"/>
                      </a:lnTo>
                      <a:lnTo>
                        <a:pt x="405" y="90"/>
                      </a:lnTo>
                      <a:lnTo>
                        <a:pt x="405" y="92"/>
                      </a:lnTo>
                      <a:lnTo>
                        <a:pt x="403" y="92"/>
                      </a:lnTo>
                      <a:lnTo>
                        <a:pt x="403" y="94"/>
                      </a:lnTo>
                      <a:lnTo>
                        <a:pt x="403" y="97"/>
                      </a:lnTo>
                      <a:lnTo>
                        <a:pt x="403" y="102"/>
                      </a:lnTo>
                      <a:lnTo>
                        <a:pt x="405" y="102"/>
                      </a:lnTo>
                      <a:lnTo>
                        <a:pt x="407" y="102"/>
                      </a:lnTo>
                      <a:lnTo>
                        <a:pt x="408" y="103"/>
                      </a:lnTo>
                      <a:lnTo>
                        <a:pt x="410" y="105"/>
                      </a:lnTo>
                      <a:lnTo>
                        <a:pt x="408" y="105"/>
                      </a:lnTo>
                      <a:lnTo>
                        <a:pt x="408" y="107"/>
                      </a:lnTo>
                      <a:lnTo>
                        <a:pt x="408" y="105"/>
                      </a:lnTo>
                      <a:lnTo>
                        <a:pt x="410" y="105"/>
                      </a:lnTo>
                      <a:lnTo>
                        <a:pt x="412" y="107"/>
                      </a:lnTo>
                      <a:lnTo>
                        <a:pt x="412" y="108"/>
                      </a:lnTo>
                      <a:lnTo>
                        <a:pt x="412" y="110"/>
                      </a:lnTo>
                      <a:lnTo>
                        <a:pt x="410" y="110"/>
                      </a:lnTo>
                      <a:lnTo>
                        <a:pt x="410" y="108"/>
                      </a:lnTo>
                      <a:lnTo>
                        <a:pt x="410" y="110"/>
                      </a:lnTo>
                      <a:lnTo>
                        <a:pt x="412" y="110"/>
                      </a:lnTo>
                      <a:lnTo>
                        <a:pt x="412" y="108"/>
                      </a:lnTo>
                      <a:lnTo>
                        <a:pt x="414" y="108"/>
                      </a:lnTo>
                      <a:lnTo>
                        <a:pt x="414" y="110"/>
                      </a:lnTo>
                      <a:lnTo>
                        <a:pt x="414" y="112"/>
                      </a:lnTo>
                      <a:lnTo>
                        <a:pt x="414" y="113"/>
                      </a:lnTo>
                      <a:lnTo>
                        <a:pt x="414" y="115"/>
                      </a:lnTo>
                      <a:lnTo>
                        <a:pt x="414" y="113"/>
                      </a:lnTo>
                      <a:lnTo>
                        <a:pt x="415" y="115"/>
                      </a:lnTo>
                      <a:lnTo>
                        <a:pt x="415" y="117"/>
                      </a:lnTo>
                      <a:lnTo>
                        <a:pt x="417" y="118"/>
                      </a:lnTo>
                      <a:lnTo>
                        <a:pt x="417" y="120"/>
                      </a:lnTo>
                      <a:lnTo>
                        <a:pt x="415" y="120"/>
                      </a:lnTo>
                      <a:lnTo>
                        <a:pt x="415" y="122"/>
                      </a:lnTo>
                      <a:lnTo>
                        <a:pt x="414" y="122"/>
                      </a:lnTo>
                      <a:lnTo>
                        <a:pt x="412" y="122"/>
                      </a:lnTo>
                      <a:lnTo>
                        <a:pt x="414" y="122"/>
                      </a:lnTo>
                      <a:lnTo>
                        <a:pt x="415" y="122"/>
                      </a:lnTo>
                      <a:lnTo>
                        <a:pt x="415" y="123"/>
                      </a:lnTo>
                      <a:lnTo>
                        <a:pt x="415" y="125"/>
                      </a:lnTo>
                      <a:lnTo>
                        <a:pt x="414" y="125"/>
                      </a:lnTo>
                      <a:lnTo>
                        <a:pt x="414" y="126"/>
                      </a:lnTo>
                      <a:lnTo>
                        <a:pt x="412" y="126"/>
                      </a:lnTo>
                      <a:lnTo>
                        <a:pt x="410" y="126"/>
                      </a:lnTo>
                      <a:lnTo>
                        <a:pt x="415" y="131"/>
                      </a:lnTo>
                      <a:lnTo>
                        <a:pt x="419" y="135"/>
                      </a:lnTo>
                      <a:lnTo>
                        <a:pt x="420" y="135"/>
                      </a:lnTo>
                      <a:lnTo>
                        <a:pt x="422" y="133"/>
                      </a:lnTo>
                      <a:lnTo>
                        <a:pt x="424" y="133"/>
                      </a:lnTo>
                      <a:lnTo>
                        <a:pt x="425" y="133"/>
                      </a:lnTo>
                      <a:lnTo>
                        <a:pt x="427" y="133"/>
                      </a:lnTo>
                      <a:lnTo>
                        <a:pt x="429" y="133"/>
                      </a:lnTo>
                      <a:lnTo>
                        <a:pt x="430" y="131"/>
                      </a:lnTo>
                      <a:lnTo>
                        <a:pt x="432" y="131"/>
                      </a:lnTo>
                      <a:lnTo>
                        <a:pt x="434" y="131"/>
                      </a:lnTo>
                      <a:lnTo>
                        <a:pt x="434" y="130"/>
                      </a:lnTo>
                      <a:lnTo>
                        <a:pt x="436" y="130"/>
                      </a:lnTo>
                      <a:lnTo>
                        <a:pt x="437" y="130"/>
                      </a:lnTo>
                      <a:lnTo>
                        <a:pt x="437" y="128"/>
                      </a:lnTo>
                      <a:lnTo>
                        <a:pt x="439" y="126"/>
                      </a:lnTo>
                      <a:lnTo>
                        <a:pt x="439" y="128"/>
                      </a:lnTo>
                      <a:lnTo>
                        <a:pt x="441" y="128"/>
                      </a:lnTo>
                      <a:lnTo>
                        <a:pt x="439" y="128"/>
                      </a:lnTo>
                      <a:lnTo>
                        <a:pt x="441" y="128"/>
                      </a:lnTo>
                      <a:lnTo>
                        <a:pt x="441" y="126"/>
                      </a:lnTo>
                      <a:lnTo>
                        <a:pt x="439" y="126"/>
                      </a:lnTo>
                      <a:lnTo>
                        <a:pt x="441" y="126"/>
                      </a:lnTo>
                      <a:lnTo>
                        <a:pt x="442" y="126"/>
                      </a:lnTo>
                      <a:lnTo>
                        <a:pt x="441" y="126"/>
                      </a:lnTo>
                      <a:lnTo>
                        <a:pt x="442" y="128"/>
                      </a:lnTo>
                      <a:lnTo>
                        <a:pt x="442" y="126"/>
                      </a:lnTo>
                      <a:lnTo>
                        <a:pt x="442" y="128"/>
                      </a:lnTo>
                      <a:lnTo>
                        <a:pt x="442" y="126"/>
                      </a:lnTo>
                      <a:lnTo>
                        <a:pt x="441" y="126"/>
                      </a:lnTo>
                      <a:lnTo>
                        <a:pt x="442" y="126"/>
                      </a:lnTo>
                      <a:lnTo>
                        <a:pt x="444" y="126"/>
                      </a:lnTo>
                      <a:lnTo>
                        <a:pt x="446" y="126"/>
                      </a:lnTo>
                      <a:lnTo>
                        <a:pt x="447" y="126"/>
                      </a:lnTo>
                      <a:lnTo>
                        <a:pt x="447" y="125"/>
                      </a:lnTo>
                      <a:lnTo>
                        <a:pt x="449" y="125"/>
                      </a:lnTo>
                      <a:lnTo>
                        <a:pt x="449" y="126"/>
                      </a:lnTo>
                      <a:lnTo>
                        <a:pt x="447" y="126"/>
                      </a:lnTo>
                      <a:lnTo>
                        <a:pt x="447" y="128"/>
                      </a:lnTo>
                      <a:lnTo>
                        <a:pt x="449" y="130"/>
                      </a:lnTo>
                      <a:lnTo>
                        <a:pt x="447" y="130"/>
                      </a:lnTo>
                      <a:lnTo>
                        <a:pt x="446" y="130"/>
                      </a:lnTo>
                      <a:lnTo>
                        <a:pt x="446" y="128"/>
                      </a:lnTo>
                      <a:lnTo>
                        <a:pt x="446" y="130"/>
                      </a:lnTo>
                      <a:lnTo>
                        <a:pt x="444" y="130"/>
                      </a:lnTo>
                      <a:lnTo>
                        <a:pt x="444" y="128"/>
                      </a:lnTo>
                      <a:lnTo>
                        <a:pt x="444" y="130"/>
                      </a:lnTo>
                      <a:lnTo>
                        <a:pt x="444" y="128"/>
                      </a:lnTo>
                      <a:lnTo>
                        <a:pt x="444" y="130"/>
                      </a:lnTo>
                      <a:lnTo>
                        <a:pt x="442" y="130"/>
                      </a:lnTo>
                      <a:lnTo>
                        <a:pt x="441" y="130"/>
                      </a:lnTo>
                      <a:lnTo>
                        <a:pt x="441" y="131"/>
                      </a:lnTo>
                      <a:lnTo>
                        <a:pt x="439" y="131"/>
                      </a:lnTo>
                      <a:lnTo>
                        <a:pt x="441" y="131"/>
                      </a:lnTo>
                      <a:lnTo>
                        <a:pt x="442" y="131"/>
                      </a:lnTo>
                      <a:lnTo>
                        <a:pt x="444" y="131"/>
                      </a:lnTo>
                      <a:lnTo>
                        <a:pt x="442" y="131"/>
                      </a:lnTo>
                      <a:lnTo>
                        <a:pt x="444" y="131"/>
                      </a:lnTo>
                      <a:lnTo>
                        <a:pt x="444" y="133"/>
                      </a:lnTo>
                      <a:lnTo>
                        <a:pt x="444" y="131"/>
                      </a:lnTo>
                      <a:lnTo>
                        <a:pt x="459" y="131"/>
                      </a:lnTo>
                      <a:lnTo>
                        <a:pt x="459" y="130"/>
                      </a:lnTo>
                      <a:lnTo>
                        <a:pt x="461" y="128"/>
                      </a:lnTo>
                      <a:lnTo>
                        <a:pt x="463" y="126"/>
                      </a:lnTo>
                      <a:lnTo>
                        <a:pt x="464" y="125"/>
                      </a:lnTo>
                      <a:lnTo>
                        <a:pt x="464" y="123"/>
                      </a:lnTo>
                      <a:lnTo>
                        <a:pt x="466" y="123"/>
                      </a:lnTo>
                      <a:lnTo>
                        <a:pt x="466" y="122"/>
                      </a:lnTo>
                      <a:lnTo>
                        <a:pt x="468" y="122"/>
                      </a:lnTo>
                      <a:lnTo>
                        <a:pt x="469" y="120"/>
                      </a:lnTo>
                      <a:lnTo>
                        <a:pt x="471" y="120"/>
                      </a:lnTo>
                      <a:lnTo>
                        <a:pt x="471" y="118"/>
                      </a:lnTo>
                      <a:lnTo>
                        <a:pt x="473" y="117"/>
                      </a:lnTo>
                      <a:lnTo>
                        <a:pt x="473" y="115"/>
                      </a:lnTo>
                      <a:lnTo>
                        <a:pt x="473" y="113"/>
                      </a:lnTo>
                      <a:lnTo>
                        <a:pt x="474" y="112"/>
                      </a:lnTo>
                      <a:lnTo>
                        <a:pt x="476" y="110"/>
                      </a:lnTo>
                      <a:lnTo>
                        <a:pt x="478" y="108"/>
                      </a:lnTo>
                      <a:lnTo>
                        <a:pt x="479" y="108"/>
                      </a:lnTo>
                      <a:lnTo>
                        <a:pt x="481" y="108"/>
                      </a:lnTo>
                      <a:lnTo>
                        <a:pt x="483" y="108"/>
                      </a:lnTo>
                      <a:lnTo>
                        <a:pt x="484" y="108"/>
                      </a:lnTo>
                      <a:lnTo>
                        <a:pt x="486" y="108"/>
                      </a:lnTo>
                      <a:lnTo>
                        <a:pt x="488" y="108"/>
                      </a:lnTo>
                      <a:lnTo>
                        <a:pt x="490" y="108"/>
                      </a:lnTo>
                      <a:lnTo>
                        <a:pt x="491" y="108"/>
                      </a:lnTo>
                      <a:lnTo>
                        <a:pt x="491" y="110"/>
                      </a:lnTo>
                      <a:lnTo>
                        <a:pt x="493" y="112"/>
                      </a:lnTo>
                      <a:lnTo>
                        <a:pt x="495" y="113"/>
                      </a:lnTo>
                      <a:lnTo>
                        <a:pt x="495" y="115"/>
                      </a:lnTo>
                      <a:lnTo>
                        <a:pt x="496" y="117"/>
                      </a:lnTo>
                      <a:lnTo>
                        <a:pt x="498" y="118"/>
                      </a:lnTo>
                      <a:lnTo>
                        <a:pt x="498" y="120"/>
                      </a:lnTo>
                      <a:lnTo>
                        <a:pt x="498" y="122"/>
                      </a:lnTo>
                      <a:lnTo>
                        <a:pt x="500" y="122"/>
                      </a:lnTo>
                      <a:lnTo>
                        <a:pt x="501" y="122"/>
                      </a:lnTo>
                      <a:lnTo>
                        <a:pt x="501" y="120"/>
                      </a:lnTo>
                      <a:lnTo>
                        <a:pt x="503" y="120"/>
                      </a:lnTo>
                      <a:lnTo>
                        <a:pt x="505" y="120"/>
                      </a:lnTo>
                      <a:lnTo>
                        <a:pt x="505" y="122"/>
                      </a:lnTo>
                      <a:lnTo>
                        <a:pt x="503" y="122"/>
                      </a:lnTo>
                      <a:lnTo>
                        <a:pt x="505" y="122"/>
                      </a:lnTo>
                      <a:lnTo>
                        <a:pt x="505" y="120"/>
                      </a:lnTo>
                      <a:lnTo>
                        <a:pt x="503" y="120"/>
                      </a:lnTo>
                      <a:lnTo>
                        <a:pt x="505" y="120"/>
                      </a:lnTo>
                      <a:lnTo>
                        <a:pt x="506" y="120"/>
                      </a:lnTo>
                      <a:lnTo>
                        <a:pt x="506" y="118"/>
                      </a:lnTo>
                      <a:lnTo>
                        <a:pt x="506" y="120"/>
                      </a:lnTo>
                      <a:lnTo>
                        <a:pt x="508" y="120"/>
                      </a:lnTo>
                      <a:lnTo>
                        <a:pt x="508" y="118"/>
                      </a:lnTo>
                      <a:lnTo>
                        <a:pt x="510" y="118"/>
                      </a:lnTo>
                      <a:lnTo>
                        <a:pt x="508" y="120"/>
                      </a:lnTo>
                      <a:lnTo>
                        <a:pt x="506" y="122"/>
                      </a:lnTo>
                      <a:lnTo>
                        <a:pt x="508" y="122"/>
                      </a:lnTo>
                      <a:lnTo>
                        <a:pt x="508" y="120"/>
                      </a:lnTo>
                      <a:lnTo>
                        <a:pt x="510" y="122"/>
                      </a:lnTo>
                      <a:lnTo>
                        <a:pt x="512" y="122"/>
                      </a:lnTo>
                      <a:lnTo>
                        <a:pt x="512" y="120"/>
                      </a:lnTo>
                      <a:lnTo>
                        <a:pt x="513" y="120"/>
                      </a:lnTo>
                      <a:lnTo>
                        <a:pt x="513" y="122"/>
                      </a:lnTo>
                      <a:lnTo>
                        <a:pt x="513" y="120"/>
                      </a:lnTo>
                      <a:lnTo>
                        <a:pt x="515" y="120"/>
                      </a:lnTo>
                      <a:lnTo>
                        <a:pt x="515" y="122"/>
                      </a:lnTo>
                      <a:lnTo>
                        <a:pt x="515" y="120"/>
                      </a:lnTo>
                      <a:lnTo>
                        <a:pt x="513" y="120"/>
                      </a:lnTo>
                      <a:lnTo>
                        <a:pt x="512" y="120"/>
                      </a:lnTo>
                      <a:lnTo>
                        <a:pt x="510" y="120"/>
                      </a:lnTo>
                      <a:lnTo>
                        <a:pt x="510" y="118"/>
                      </a:lnTo>
                      <a:lnTo>
                        <a:pt x="510" y="120"/>
                      </a:lnTo>
                      <a:lnTo>
                        <a:pt x="512" y="120"/>
                      </a:lnTo>
                      <a:lnTo>
                        <a:pt x="513" y="120"/>
                      </a:lnTo>
                      <a:lnTo>
                        <a:pt x="515" y="120"/>
                      </a:lnTo>
                      <a:lnTo>
                        <a:pt x="518" y="120"/>
                      </a:lnTo>
                      <a:lnTo>
                        <a:pt x="520" y="122"/>
                      </a:lnTo>
                      <a:lnTo>
                        <a:pt x="523" y="122"/>
                      </a:lnTo>
                      <a:lnTo>
                        <a:pt x="525" y="123"/>
                      </a:lnTo>
                      <a:lnTo>
                        <a:pt x="527" y="123"/>
                      </a:lnTo>
                      <a:lnTo>
                        <a:pt x="532" y="125"/>
                      </a:lnTo>
                      <a:lnTo>
                        <a:pt x="533" y="126"/>
                      </a:lnTo>
                      <a:lnTo>
                        <a:pt x="535" y="126"/>
                      </a:lnTo>
                      <a:lnTo>
                        <a:pt x="537" y="128"/>
                      </a:lnTo>
                      <a:lnTo>
                        <a:pt x="539" y="128"/>
                      </a:lnTo>
                      <a:lnTo>
                        <a:pt x="540" y="130"/>
                      </a:lnTo>
                      <a:lnTo>
                        <a:pt x="544" y="130"/>
                      </a:lnTo>
                      <a:lnTo>
                        <a:pt x="545" y="131"/>
                      </a:lnTo>
                      <a:lnTo>
                        <a:pt x="547" y="131"/>
                      </a:lnTo>
                      <a:lnTo>
                        <a:pt x="549" y="133"/>
                      </a:lnTo>
                      <a:lnTo>
                        <a:pt x="550" y="133"/>
                      </a:lnTo>
                      <a:lnTo>
                        <a:pt x="552" y="135"/>
                      </a:lnTo>
                      <a:lnTo>
                        <a:pt x="555" y="135"/>
                      </a:lnTo>
                      <a:lnTo>
                        <a:pt x="555" y="136"/>
                      </a:lnTo>
                      <a:lnTo>
                        <a:pt x="557" y="136"/>
                      </a:lnTo>
                      <a:lnTo>
                        <a:pt x="560" y="138"/>
                      </a:lnTo>
                      <a:lnTo>
                        <a:pt x="564" y="140"/>
                      </a:lnTo>
                      <a:lnTo>
                        <a:pt x="566" y="140"/>
                      </a:lnTo>
                      <a:lnTo>
                        <a:pt x="567" y="140"/>
                      </a:lnTo>
                      <a:lnTo>
                        <a:pt x="567" y="141"/>
                      </a:lnTo>
                      <a:lnTo>
                        <a:pt x="569" y="141"/>
                      </a:lnTo>
                      <a:lnTo>
                        <a:pt x="569" y="140"/>
                      </a:lnTo>
                      <a:lnTo>
                        <a:pt x="567" y="140"/>
                      </a:lnTo>
                      <a:lnTo>
                        <a:pt x="569" y="140"/>
                      </a:lnTo>
                      <a:lnTo>
                        <a:pt x="569" y="138"/>
                      </a:lnTo>
                      <a:lnTo>
                        <a:pt x="569" y="140"/>
                      </a:lnTo>
                      <a:lnTo>
                        <a:pt x="569" y="141"/>
                      </a:lnTo>
                      <a:lnTo>
                        <a:pt x="571" y="141"/>
                      </a:lnTo>
                      <a:lnTo>
                        <a:pt x="571" y="143"/>
                      </a:lnTo>
                      <a:lnTo>
                        <a:pt x="572" y="143"/>
                      </a:lnTo>
                      <a:lnTo>
                        <a:pt x="574" y="143"/>
                      </a:lnTo>
                      <a:lnTo>
                        <a:pt x="574" y="145"/>
                      </a:lnTo>
                      <a:lnTo>
                        <a:pt x="574" y="146"/>
                      </a:lnTo>
                      <a:lnTo>
                        <a:pt x="572" y="148"/>
                      </a:lnTo>
                      <a:lnTo>
                        <a:pt x="574" y="148"/>
                      </a:lnTo>
                      <a:lnTo>
                        <a:pt x="574" y="146"/>
                      </a:lnTo>
                      <a:lnTo>
                        <a:pt x="574" y="145"/>
                      </a:lnTo>
                      <a:lnTo>
                        <a:pt x="574" y="143"/>
                      </a:lnTo>
                      <a:lnTo>
                        <a:pt x="574" y="141"/>
                      </a:lnTo>
                      <a:lnTo>
                        <a:pt x="572" y="141"/>
                      </a:lnTo>
                      <a:lnTo>
                        <a:pt x="571" y="141"/>
                      </a:lnTo>
                      <a:lnTo>
                        <a:pt x="572" y="141"/>
                      </a:lnTo>
                      <a:lnTo>
                        <a:pt x="572" y="140"/>
                      </a:lnTo>
                      <a:lnTo>
                        <a:pt x="571" y="140"/>
                      </a:lnTo>
                      <a:lnTo>
                        <a:pt x="569" y="140"/>
                      </a:lnTo>
                      <a:lnTo>
                        <a:pt x="571" y="140"/>
                      </a:lnTo>
                      <a:lnTo>
                        <a:pt x="572" y="140"/>
                      </a:lnTo>
                      <a:lnTo>
                        <a:pt x="576" y="143"/>
                      </a:lnTo>
                      <a:lnTo>
                        <a:pt x="576" y="145"/>
                      </a:lnTo>
                      <a:lnTo>
                        <a:pt x="577" y="146"/>
                      </a:lnTo>
                      <a:lnTo>
                        <a:pt x="579" y="146"/>
                      </a:lnTo>
                      <a:lnTo>
                        <a:pt x="581" y="148"/>
                      </a:lnTo>
                      <a:lnTo>
                        <a:pt x="582" y="148"/>
                      </a:lnTo>
                      <a:lnTo>
                        <a:pt x="582" y="149"/>
                      </a:lnTo>
                      <a:lnTo>
                        <a:pt x="584" y="149"/>
                      </a:lnTo>
                      <a:lnTo>
                        <a:pt x="586" y="151"/>
                      </a:lnTo>
                      <a:lnTo>
                        <a:pt x="588" y="151"/>
                      </a:lnTo>
                      <a:lnTo>
                        <a:pt x="589" y="151"/>
                      </a:lnTo>
                      <a:lnTo>
                        <a:pt x="591" y="151"/>
                      </a:lnTo>
                      <a:lnTo>
                        <a:pt x="593" y="151"/>
                      </a:lnTo>
                      <a:lnTo>
                        <a:pt x="593" y="153"/>
                      </a:lnTo>
                      <a:lnTo>
                        <a:pt x="594" y="154"/>
                      </a:lnTo>
                      <a:lnTo>
                        <a:pt x="594" y="153"/>
                      </a:lnTo>
                      <a:lnTo>
                        <a:pt x="596" y="153"/>
                      </a:lnTo>
                      <a:lnTo>
                        <a:pt x="598" y="153"/>
                      </a:lnTo>
                      <a:lnTo>
                        <a:pt x="598" y="154"/>
                      </a:lnTo>
                      <a:lnTo>
                        <a:pt x="599" y="154"/>
                      </a:lnTo>
                      <a:lnTo>
                        <a:pt x="603" y="154"/>
                      </a:lnTo>
                      <a:lnTo>
                        <a:pt x="604" y="154"/>
                      </a:lnTo>
                      <a:lnTo>
                        <a:pt x="606" y="154"/>
                      </a:lnTo>
                      <a:lnTo>
                        <a:pt x="606" y="156"/>
                      </a:lnTo>
                      <a:lnTo>
                        <a:pt x="604" y="156"/>
                      </a:lnTo>
                      <a:lnTo>
                        <a:pt x="604" y="154"/>
                      </a:lnTo>
                      <a:lnTo>
                        <a:pt x="604" y="156"/>
                      </a:lnTo>
                      <a:lnTo>
                        <a:pt x="606" y="156"/>
                      </a:lnTo>
                      <a:lnTo>
                        <a:pt x="608" y="158"/>
                      </a:lnTo>
                      <a:lnTo>
                        <a:pt x="609" y="158"/>
                      </a:lnTo>
                      <a:lnTo>
                        <a:pt x="613" y="158"/>
                      </a:lnTo>
                      <a:lnTo>
                        <a:pt x="615" y="158"/>
                      </a:lnTo>
                      <a:lnTo>
                        <a:pt x="615" y="159"/>
                      </a:lnTo>
                      <a:lnTo>
                        <a:pt x="613" y="159"/>
                      </a:lnTo>
                      <a:lnTo>
                        <a:pt x="615" y="159"/>
                      </a:lnTo>
                      <a:lnTo>
                        <a:pt x="615" y="161"/>
                      </a:lnTo>
                      <a:lnTo>
                        <a:pt x="615" y="159"/>
                      </a:lnTo>
                      <a:lnTo>
                        <a:pt x="616" y="159"/>
                      </a:lnTo>
                      <a:lnTo>
                        <a:pt x="616" y="161"/>
                      </a:lnTo>
                      <a:lnTo>
                        <a:pt x="616" y="163"/>
                      </a:lnTo>
                      <a:lnTo>
                        <a:pt x="615" y="163"/>
                      </a:lnTo>
                      <a:lnTo>
                        <a:pt x="616" y="163"/>
                      </a:lnTo>
                      <a:lnTo>
                        <a:pt x="618" y="163"/>
                      </a:lnTo>
                      <a:lnTo>
                        <a:pt x="618" y="164"/>
                      </a:lnTo>
                      <a:lnTo>
                        <a:pt x="618" y="163"/>
                      </a:lnTo>
                      <a:lnTo>
                        <a:pt x="620" y="163"/>
                      </a:lnTo>
                      <a:lnTo>
                        <a:pt x="620" y="164"/>
                      </a:lnTo>
                      <a:lnTo>
                        <a:pt x="620" y="163"/>
                      </a:lnTo>
                      <a:lnTo>
                        <a:pt x="620" y="159"/>
                      </a:lnTo>
                      <a:lnTo>
                        <a:pt x="621" y="158"/>
                      </a:lnTo>
                      <a:lnTo>
                        <a:pt x="620" y="158"/>
                      </a:lnTo>
                      <a:lnTo>
                        <a:pt x="618" y="158"/>
                      </a:lnTo>
                      <a:lnTo>
                        <a:pt x="618" y="156"/>
                      </a:lnTo>
                      <a:lnTo>
                        <a:pt x="616" y="156"/>
                      </a:lnTo>
                      <a:lnTo>
                        <a:pt x="615" y="156"/>
                      </a:lnTo>
                      <a:lnTo>
                        <a:pt x="615" y="154"/>
                      </a:lnTo>
                      <a:lnTo>
                        <a:pt x="616" y="153"/>
                      </a:lnTo>
                      <a:lnTo>
                        <a:pt x="618" y="151"/>
                      </a:lnTo>
                      <a:lnTo>
                        <a:pt x="616" y="151"/>
                      </a:lnTo>
                      <a:lnTo>
                        <a:pt x="616" y="153"/>
                      </a:lnTo>
                      <a:lnTo>
                        <a:pt x="616" y="151"/>
                      </a:lnTo>
                      <a:lnTo>
                        <a:pt x="618" y="151"/>
                      </a:lnTo>
                      <a:lnTo>
                        <a:pt x="618" y="153"/>
                      </a:lnTo>
                      <a:lnTo>
                        <a:pt x="620" y="154"/>
                      </a:lnTo>
                      <a:lnTo>
                        <a:pt x="620" y="153"/>
                      </a:lnTo>
                      <a:lnTo>
                        <a:pt x="620" y="151"/>
                      </a:lnTo>
                      <a:lnTo>
                        <a:pt x="623" y="153"/>
                      </a:lnTo>
                      <a:lnTo>
                        <a:pt x="625" y="153"/>
                      </a:lnTo>
                      <a:lnTo>
                        <a:pt x="626" y="153"/>
                      </a:lnTo>
                      <a:lnTo>
                        <a:pt x="630" y="153"/>
                      </a:lnTo>
                      <a:lnTo>
                        <a:pt x="631" y="151"/>
                      </a:lnTo>
                      <a:lnTo>
                        <a:pt x="633" y="151"/>
                      </a:lnTo>
                      <a:lnTo>
                        <a:pt x="635" y="151"/>
                      </a:lnTo>
                      <a:lnTo>
                        <a:pt x="635" y="153"/>
                      </a:lnTo>
                      <a:lnTo>
                        <a:pt x="635" y="154"/>
                      </a:lnTo>
                      <a:lnTo>
                        <a:pt x="636" y="156"/>
                      </a:lnTo>
                      <a:lnTo>
                        <a:pt x="636" y="158"/>
                      </a:lnTo>
                      <a:lnTo>
                        <a:pt x="638" y="158"/>
                      </a:lnTo>
                      <a:lnTo>
                        <a:pt x="638" y="156"/>
                      </a:lnTo>
                      <a:lnTo>
                        <a:pt x="638" y="154"/>
                      </a:lnTo>
                      <a:lnTo>
                        <a:pt x="640" y="154"/>
                      </a:lnTo>
                      <a:lnTo>
                        <a:pt x="642" y="154"/>
                      </a:lnTo>
                      <a:lnTo>
                        <a:pt x="643" y="154"/>
                      </a:lnTo>
                      <a:lnTo>
                        <a:pt x="645" y="154"/>
                      </a:lnTo>
                      <a:lnTo>
                        <a:pt x="647" y="154"/>
                      </a:lnTo>
                      <a:lnTo>
                        <a:pt x="648" y="154"/>
                      </a:lnTo>
                      <a:lnTo>
                        <a:pt x="650" y="154"/>
                      </a:lnTo>
                      <a:lnTo>
                        <a:pt x="653" y="154"/>
                      </a:lnTo>
                      <a:lnTo>
                        <a:pt x="655" y="154"/>
                      </a:lnTo>
                      <a:lnTo>
                        <a:pt x="657" y="154"/>
                      </a:lnTo>
                      <a:lnTo>
                        <a:pt x="657" y="156"/>
                      </a:lnTo>
                      <a:lnTo>
                        <a:pt x="657" y="158"/>
                      </a:lnTo>
                      <a:lnTo>
                        <a:pt x="653" y="159"/>
                      </a:lnTo>
                      <a:lnTo>
                        <a:pt x="653" y="161"/>
                      </a:lnTo>
                      <a:lnTo>
                        <a:pt x="655" y="161"/>
                      </a:lnTo>
                      <a:lnTo>
                        <a:pt x="655" y="163"/>
                      </a:lnTo>
                      <a:lnTo>
                        <a:pt x="655" y="164"/>
                      </a:lnTo>
                      <a:lnTo>
                        <a:pt x="653" y="164"/>
                      </a:lnTo>
                      <a:lnTo>
                        <a:pt x="653" y="166"/>
                      </a:lnTo>
                      <a:lnTo>
                        <a:pt x="653" y="168"/>
                      </a:lnTo>
                      <a:lnTo>
                        <a:pt x="653" y="169"/>
                      </a:lnTo>
                      <a:lnTo>
                        <a:pt x="653" y="171"/>
                      </a:lnTo>
                      <a:lnTo>
                        <a:pt x="655" y="172"/>
                      </a:lnTo>
                      <a:lnTo>
                        <a:pt x="657" y="174"/>
                      </a:lnTo>
                      <a:lnTo>
                        <a:pt x="658" y="176"/>
                      </a:lnTo>
                      <a:lnTo>
                        <a:pt x="658" y="177"/>
                      </a:lnTo>
                      <a:lnTo>
                        <a:pt x="658" y="179"/>
                      </a:lnTo>
                      <a:lnTo>
                        <a:pt x="657" y="179"/>
                      </a:lnTo>
                      <a:lnTo>
                        <a:pt x="657" y="181"/>
                      </a:lnTo>
                      <a:lnTo>
                        <a:pt x="657" y="182"/>
                      </a:lnTo>
                      <a:lnTo>
                        <a:pt x="655" y="184"/>
                      </a:lnTo>
                      <a:lnTo>
                        <a:pt x="653" y="184"/>
                      </a:lnTo>
                      <a:lnTo>
                        <a:pt x="653" y="186"/>
                      </a:lnTo>
                      <a:lnTo>
                        <a:pt x="652" y="186"/>
                      </a:lnTo>
                      <a:lnTo>
                        <a:pt x="652" y="187"/>
                      </a:lnTo>
                      <a:lnTo>
                        <a:pt x="650" y="189"/>
                      </a:lnTo>
                      <a:lnTo>
                        <a:pt x="648" y="191"/>
                      </a:lnTo>
                      <a:lnTo>
                        <a:pt x="647" y="191"/>
                      </a:lnTo>
                      <a:lnTo>
                        <a:pt x="647" y="192"/>
                      </a:lnTo>
                      <a:lnTo>
                        <a:pt x="647" y="194"/>
                      </a:lnTo>
                      <a:lnTo>
                        <a:pt x="645" y="195"/>
                      </a:lnTo>
                      <a:lnTo>
                        <a:pt x="645" y="197"/>
                      </a:lnTo>
                      <a:lnTo>
                        <a:pt x="645" y="199"/>
                      </a:lnTo>
                      <a:lnTo>
                        <a:pt x="645" y="197"/>
                      </a:lnTo>
                      <a:lnTo>
                        <a:pt x="643" y="197"/>
                      </a:lnTo>
                      <a:lnTo>
                        <a:pt x="643" y="199"/>
                      </a:lnTo>
                      <a:lnTo>
                        <a:pt x="642" y="200"/>
                      </a:lnTo>
                      <a:lnTo>
                        <a:pt x="642" y="202"/>
                      </a:lnTo>
                      <a:lnTo>
                        <a:pt x="640" y="202"/>
                      </a:lnTo>
                      <a:lnTo>
                        <a:pt x="640" y="204"/>
                      </a:lnTo>
                      <a:lnTo>
                        <a:pt x="638" y="204"/>
                      </a:lnTo>
                      <a:lnTo>
                        <a:pt x="636" y="204"/>
                      </a:lnTo>
                      <a:lnTo>
                        <a:pt x="635" y="204"/>
                      </a:lnTo>
                      <a:lnTo>
                        <a:pt x="633" y="204"/>
                      </a:lnTo>
                      <a:lnTo>
                        <a:pt x="631" y="205"/>
                      </a:lnTo>
                      <a:lnTo>
                        <a:pt x="630" y="205"/>
                      </a:lnTo>
                      <a:lnTo>
                        <a:pt x="628" y="205"/>
                      </a:lnTo>
                      <a:lnTo>
                        <a:pt x="628" y="207"/>
                      </a:lnTo>
                      <a:lnTo>
                        <a:pt x="630" y="207"/>
                      </a:lnTo>
                      <a:lnTo>
                        <a:pt x="631" y="207"/>
                      </a:lnTo>
                      <a:lnTo>
                        <a:pt x="631" y="209"/>
                      </a:lnTo>
                      <a:lnTo>
                        <a:pt x="630" y="209"/>
                      </a:lnTo>
                      <a:lnTo>
                        <a:pt x="630" y="210"/>
                      </a:lnTo>
                      <a:lnTo>
                        <a:pt x="628" y="210"/>
                      </a:lnTo>
                      <a:lnTo>
                        <a:pt x="628" y="212"/>
                      </a:lnTo>
                      <a:lnTo>
                        <a:pt x="628" y="214"/>
                      </a:lnTo>
                      <a:lnTo>
                        <a:pt x="626" y="214"/>
                      </a:lnTo>
                      <a:lnTo>
                        <a:pt x="626" y="215"/>
                      </a:lnTo>
                      <a:lnTo>
                        <a:pt x="625" y="217"/>
                      </a:lnTo>
                      <a:lnTo>
                        <a:pt x="623" y="217"/>
                      </a:lnTo>
                      <a:lnTo>
                        <a:pt x="621" y="217"/>
                      </a:lnTo>
                      <a:lnTo>
                        <a:pt x="621" y="218"/>
                      </a:lnTo>
                      <a:lnTo>
                        <a:pt x="621" y="220"/>
                      </a:lnTo>
                      <a:lnTo>
                        <a:pt x="620" y="222"/>
                      </a:lnTo>
                      <a:lnTo>
                        <a:pt x="618" y="222"/>
                      </a:lnTo>
                      <a:lnTo>
                        <a:pt x="618" y="220"/>
                      </a:lnTo>
                      <a:lnTo>
                        <a:pt x="616" y="220"/>
                      </a:lnTo>
                      <a:lnTo>
                        <a:pt x="615" y="222"/>
                      </a:lnTo>
                      <a:lnTo>
                        <a:pt x="613" y="222"/>
                      </a:lnTo>
                      <a:lnTo>
                        <a:pt x="611" y="222"/>
                      </a:lnTo>
                      <a:lnTo>
                        <a:pt x="609" y="220"/>
                      </a:lnTo>
                      <a:lnTo>
                        <a:pt x="608" y="220"/>
                      </a:lnTo>
                      <a:lnTo>
                        <a:pt x="606" y="222"/>
                      </a:lnTo>
                      <a:lnTo>
                        <a:pt x="604" y="222"/>
                      </a:lnTo>
                      <a:lnTo>
                        <a:pt x="603" y="222"/>
                      </a:lnTo>
                      <a:lnTo>
                        <a:pt x="603" y="223"/>
                      </a:lnTo>
                      <a:lnTo>
                        <a:pt x="601" y="225"/>
                      </a:lnTo>
                      <a:lnTo>
                        <a:pt x="601" y="223"/>
                      </a:lnTo>
                      <a:lnTo>
                        <a:pt x="599" y="223"/>
                      </a:lnTo>
                      <a:lnTo>
                        <a:pt x="599" y="222"/>
                      </a:lnTo>
                      <a:lnTo>
                        <a:pt x="598" y="223"/>
                      </a:lnTo>
                      <a:lnTo>
                        <a:pt x="598" y="225"/>
                      </a:lnTo>
                      <a:lnTo>
                        <a:pt x="596" y="225"/>
                      </a:lnTo>
                      <a:lnTo>
                        <a:pt x="594" y="225"/>
                      </a:lnTo>
                      <a:lnTo>
                        <a:pt x="594" y="223"/>
                      </a:lnTo>
                      <a:lnTo>
                        <a:pt x="594" y="222"/>
                      </a:lnTo>
                      <a:lnTo>
                        <a:pt x="593" y="222"/>
                      </a:lnTo>
                      <a:lnTo>
                        <a:pt x="593" y="223"/>
                      </a:lnTo>
                      <a:lnTo>
                        <a:pt x="593" y="225"/>
                      </a:lnTo>
                      <a:lnTo>
                        <a:pt x="591" y="225"/>
                      </a:lnTo>
                      <a:lnTo>
                        <a:pt x="589" y="227"/>
                      </a:lnTo>
                      <a:lnTo>
                        <a:pt x="589" y="228"/>
                      </a:lnTo>
                      <a:lnTo>
                        <a:pt x="588" y="230"/>
                      </a:lnTo>
                      <a:lnTo>
                        <a:pt x="588" y="232"/>
                      </a:lnTo>
                      <a:lnTo>
                        <a:pt x="586" y="232"/>
                      </a:lnTo>
                      <a:lnTo>
                        <a:pt x="586" y="233"/>
                      </a:lnTo>
                      <a:lnTo>
                        <a:pt x="584" y="233"/>
                      </a:lnTo>
                      <a:lnTo>
                        <a:pt x="582" y="235"/>
                      </a:lnTo>
                      <a:lnTo>
                        <a:pt x="581" y="237"/>
                      </a:lnTo>
                      <a:lnTo>
                        <a:pt x="581" y="238"/>
                      </a:lnTo>
                      <a:lnTo>
                        <a:pt x="579" y="238"/>
                      </a:lnTo>
                      <a:lnTo>
                        <a:pt x="579" y="240"/>
                      </a:lnTo>
                      <a:lnTo>
                        <a:pt x="577" y="240"/>
                      </a:lnTo>
                      <a:lnTo>
                        <a:pt x="577" y="241"/>
                      </a:lnTo>
                      <a:lnTo>
                        <a:pt x="576" y="241"/>
                      </a:lnTo>
                      <a:lnTo>
                        <a:pt x="576" y="243"/>
                      </a:lnTo>
                      <a:lnTo>
                        <a:pt x="576" y="245"/>
                      </a:lnTo>
                      <a:lnTo>
                        <a:pt x="576" y="248"/>
                      </a:lnTo>
                      <a:lnTo>
                        <a:pt x="576" y="250"/>
                      </a:lnTo>
                      <a:lnTo>
                        <a:pt x="576" y="251"/>
                      </a:lnTo>
                      <a:lnTo>
                        <a:pt x="576" y="253"/>
                      </a:lnTo>
                      <a:lnTo>
                        <a:pt x="576" y="255"/>
                      </a:lnTo>
                      <a:lnTo>
                        <a:pt x="574" y="255"/>
                      </a:lnTo>
                      <a:lnTo>
                        <a:pt x="574" y="258"/>
                      </a:lnTo>
                      <a:lnTo>
                        <a:pt x="572" y="259"/>
                      </a:lnTo>
                      <a:lnTo>
                        <a:pt x="572" y="261"/>
                      </a:lnTo>
                      <a:lnTo>
                        <a:pt x="571" y="261"/>
                      </a:lnTo>
                      <a:lnTo>
                        <a:pt x="571" y="263"/>
                      </a:lnTo>
                      <a:lnTo>
                        <a:pt x="571" y="264"/>
                      </a:lnTo>
                      <a:lnTo>
                        <a:pt x="571" y="266"/>
                      </a:lnTo>
                      <a:lnTo>
                        <a:pt x="569" y="266"/>
                      </a:lnTo>
                      <a:lnTo>
                        <a:pt x="569" y="268"/>
                      </a:lnTo>
                      <a:lnTo>
                        <a:pt x="567" y="268"/>
                      </a:lnTo>
                      <a:lnTo>
                        <a:pt x="566" y="268"/>
                      </a:lnTo>
                      <a:lnTo>
                        <a:pt x="566" y="269"/>
                      </a:lnTo>
                      <a:lnTo>
                        <a:pt x="566" y="271"/>
                      </a:lnTo>
                      <a:lnTo>
                        <a:pt x="564" y="271"/>
                      </a:lnTo>
                      <a:lnTo>
                        <a:pt x="564" y="273"/>
                      </a:lnTo>
                      <a:lnTo>
                        <a:pt x="562" y="273"/>
                      </a:lnTo>
                      <a:lnTo>
                        <a:pt x="562" y="271"/>
                      </a:lnTo>
                      <a:lnTo>
                        <a:pt x="562" y="273"/>
                      </a:lnTo>
                      <a:lnTo>
                        <a:pt x="560" y="273"/>
                      </a:lnTo>
                      <a:lnTo>
                        <a:pt x="560" y="274"/>
                      </a:lnTo>
                      <a:lnTo>
                        <a:pt x="560" y="276"/>
                      </a:lnTo>
                      <a:lnTo>
                        <a:pt x="559" y="278"/>
                      </a:lnTo>
                      <a:lnTo>
                        <a:pt x="559" y="279"/>
                      </a:lnTo>
                      <a:lnTo>
                        <a:pt x="559" y="281"/>
                      </a:lnTo>
                      <a:lnTo>
                        <a:pt x="557" y="282"/>
                      </a:lnTo>
                      <a:lnTo>
                        <a:pt x="555" y="282"/>
                      </a:lnTo>
                      <a:lnTo>
                        <a:pt x="555" y="284"/>
                      </a:lnTo>
                      <a:lnTo>
                        <a:pt x="554" y="284"/>
                      </a:lnTo>
                      <a:lnTo>
                        <a:pt x="554" y="286"/>
                      </a:lnTo>
                      <a:lnTo>
                        <a:pt x="555" y="286"/>
                      </a:lnTo>
                      <a:lnTo>
                        <a:pt x="555" y="287"/>
                      </a:lnTo>
                      <a:lnTo>
                        <a:pt x="552" y="287"/>
                      </a:lnTo>
                      <a:lnTo>
                        <a:pt x="550" y="289"/>
                      </a:lnTo>
                      <a:lnTo>
                        <a:pt x="547" y="292"/>
                      </a:lnTo>
                      <a:lnTo>
                        <a:pt x="547" y="294"/>
                      </a:lnTo>
                      <a:lnTo>
                        <a:pt x="545" y="294"/>
                      </a:lnTo>
                      <a:lnTo>
                        <a:pt x="547" y="299"/>
                      </a:lnTo>
                      <a:lnTo>
                        <a:pt x="547" y="301"/>
                      </a:lnTo>
                      <a:lnTo>
                        <a:pt x="549" y="304"/>
                      </a:lnTo>
                      <a:lnTo>
                        <a:pt x="549" y="305"/>
                      </a:lnTo>
                      <a:lnTo>
                        <a:pt x="549" y="307"/>
                      </a:lnTo>
                      <a:lnTo>
                        <a:pt x="549" y="309"/>
                      </a:lnTo>
                      <a:lnTo>
                        <a:pt x="550" y="309"/>
                      </a:lnTo>
                      <a:lnTo>
                        <a:pt x="552" y="309"/>
                      </a:lnTo>
                      <a:lnTo>
                        <a:pt x="554" y="309"/>
                      </a:lnTo>
                      <a:lnTo>
                        <a:pt x="557" y="312"/>
                      </a:lnTo>
                      <a:lnTo>
                        <a:pt x="557" y="314"/>
                      </a:lnTo>
                      <a:lnTo>
                        <a:pt x="557" y="315"/>
                      </a:lnTo>
                      <a:lnTo>
                        <a:pt x="559" y="317"/>
                      </a:lnTo>
                      <a:lnTo>
                        <a:pt x="559" y="319"/>
                      </a:lnTo>
                      <a:lnTo>
                        <a:pt x="559" y="320"/>
                      </a:lnTo>
                      <a:lnTo>
                        <a:pt x="557" y="322"/>
                      </a:lnTo>
                      <a:lnTo>
                        <a:pt x="557" y="325"/>
                      </a:lnTo>
                      <a:lnTo>
                        <a:pt x="557" y="327"/>
                      </a:lnTo>
                      <a:lnTo>
                        <a:pt x="555" y="328"/>
                      </a:lnTo>
                      <a:lnTo>
                        <a:pt x="554" y="332"/>
                      </a:lnTo>
                      <a:lnTo>
                        <a:pt x="552" y="333"/>
                      </a:lnTo>
                      <a:lnTo>
                        <a:pt x="550" y="335"/>
                      </a:lnTo>
                      <a:lnTo>
                        <a:pt x="549" y="337"/>
                      </a:lnTo>
                      <a:lnTo>
                        <a:pt x="550" y="338"/>
                      </a:lnTo>
                      <a:lnTo>
                        <a:pt x="552" y="338"/>
                      </a:lnTo>
                      <a:lnTo>
                        <a:pt x="552" y="340"/>
                      </a:lnTo>
                      <a:lnTo>
                        <a:pt x="552" y="342"/>
                      </a:lnTo>
                      <a:lnTo>
                        <a:pt x="550" y="343"/>
                      </a:lnTo>
                      <a:lnTo>
                        <a:pt x="550" y="345"/>
                      </a:lnTo>
                      <a:lnTo>
                        <a:pt x="550" y="347"/>
                      </a:lnTo>
                      <a:lnTo>
                        <a:pt x="550" y="348"/>
                      </a:lnTo>
                      <a:lnTo>
                        <a:pt x="552" y="348"/>
                      </a:lnTo>
                      <a:lnTo>
                        <a:pt x="554" y="350"/>
                      </a:lnTo>
                      <a:lnTo>
                        <a:pt x="555" y="350"/>
                      </a:lnTo>
                      <a:lnTo>
                        <a:pt x="555" y="351"/>
                      </a:lnTo>
                      <a:lnTo>
                        <a:pt x="555" y="355"/>
                      </a:lnTo>
                      <a:lnTo>
                        <a:pt x="555" y="356"/>
                      </a:lnTo>
                      <a:lnTo>
                        <a:pt x="557" y="358"/>
                      </a:lnTo>
                      <a:lnTo>
                        <a:pt x="559" y="360"/>
                      </a:lnTo>
                      <a:lnTo>
                        <a:pt x="559" y="361"/>
                      </a:lnTo>
                      <a:lnTo>
                        <a:pt x="559" y="363"/>
                      </a:lnTo>
                      <a:lnTo>
                        <a:pt x="559" y="366"/>
                      </a:lnTo>
                      <a:lnTo>
                        <a:pt x="560" y="366"/>
                      </a:lnTo>
                      <a:lnTo>
                        <a:pt x="560" y="368"/>
                      </a:lnTo>
                      <a:lnTo>
                        <a:pt x="560" y="370"/>
                      </a:lnTo>
                      <a:lnTo>
                        <a:pt x="560" y="371"/>
                      </a:lnTo>
                      <a:lnTo>
                        <a:pt x="562" y="373"/>
                      </a:lnTo>
                      <a:lnTo>
                        <a:pt x="562" y="374"/>
                      </a:lnTo>
                      <a:lnTo>
                        <a:pt x="562" y="376"/>
                      </a:lnTo>
                      <a:lnTo>
                        <a:pt x="562" y="378"/>
                      </a:lnTo>
                      <a:lnTo>
                        <a:pt x="564" y="379"/>
                      </a:lnTo>
                      <a:lnTo>
                        <a:pt x="564" y="381"/>
                      </a:lnTo>
                      <a:lnTo>
                        <a:pt x="564" y="383"/>
                      </a:lnTo>
                      <a:lnTo>
                        <a:pt x="564" y="384"/>
                      </a:lnTo>
                      <a:lnTo>
                        <a:pt x="562" y="386"/>
                      </a:lnTo>
                      <a:lnTo>
                        <a:pt x="560" y="388"/>
                      </a:lnTo>
                      <a:lnTo>
                        <a:pt x="562" y="389"/>
                      </a:lnTo>
                      <a:lnTo>
                        <a:pt x="562" y="391"/>
                      </a:lnTo>
                      <a:lnTo>
                        <a:pt x="562" y="394"/>
                      </a:lnTo>
                      <a:lnTo>
                        <a:pt x="562" y="396"/>
                      </a:lnTo>
                      <a:lnTo>
                        <a:pt x="562" y="397"/>
                      </a:lnTo>
                      <a:lnTo>
                        <a:pt x="560" y="397"/>
                      </a:lnTo>
                      <a:lnTo>
                        <a:pt x="559" y="399"/>
                      </a:lnTo>
                      <a:lnTo>
                        <a:pt x="557" y="399"/>
                      </a:lnTo>
                      <a:lnTo>
                        <a:pt x="557" y="401"/>
                      </a:lnTo>
                      <a:lnTo>
                        <a:pt x="555" y="401"/>
                      </a:lnTo>
                      <a:lnTo>
                        <a:pt x="554" y="401"/>
                      </a:lnTo>
                      <a:lnTo>
                        <a:pt x="554" y="402"/>
                      </a:lnTo>
                      <a:lnTo>
                        <a:pt x="552" y="402"/>
                      </a:lnTo>
                      <a:lnTo>
                        <a:pt x="552" y="404"/>
                      </a:lnTo>
                      <a:lnTo>
                        <a:pt x="552" y="406"/>
                      </a:lnTo>
                      <a:lnTo>
                        <a:pt x="550" y="406"/>
                      </a:lnTo>
                      <a:lnTo>
                        <a:pt x="549" y="406"/>
                      </a:lnTo>
                      <a:lnTo>
                        <a:pt x="549" y="407"/>
                      </a:lnTo>
                      <a:lnTo>
                        <a:pt x="547" y="411"/>
                      </a:lnTo>
                      <a:lnTo>
                        <a:pt x="545" y="411"/>
                      </a:lnTo>
                      <a:lnTo>
                        <a:pt x="545" y="412"/>
                      </a:lnTo>
                      <a:lnTo>
                        <a:pt x="545" y="414"/>
                      </a:lnTo>
                      <a:lnTo>
                        <a:pt x="545" y="416"/>
                      </a:lnTo>
                      <a:lnTo>
                        <a:pt x="544" y="416"/>
                      </a:lnTo>
                      <a:lnTo>
                        <a:pt x="544" y="417"/>
                      </a:lnTo>
                      <a:lnTo>
                        <a:pt x="542" y="417"/>
                      </a:lnTo>
                      <a:lnTo>
                        <a:pt x="542" y="419"/>
                      </a:lnTo>
                      <a:lnTo>
                        <a:pt x="542" y="420"/>
                      </a:lnTo>
                      <a:lnTo>
                        <a:pt x="540" y="419"/>
                      </a:lnTo>
                      <a:lnTo>
                        <a:pt x="540" y="420"/>
                      </a:lnTo>
                      <a:lnTo>
                        <a:pt x="539" y="420"/>
                      </a:lnTo>
                      <a:lnTo>
                        <a:pt x="537" y="420"/>
                      </a:lnTo>
                      <a:lnTo>
                        <a:pt x="535" y="424"/>
                      </a:lnTo>
                      <a:lnTo>
                        <a:pt x="537" y="424"/>
                      </a:lnTo>
                      <a:lnTo>
                        <a:pt x="537" y="425"/>
                      </a:lnTo>
                      <a:lnTo>
                        <a:pt x="537" y="427"/>
                      </a:lnTo>
                      <a:lnTo>
                        <a:pt x="537" y="429"/>
                      </a:lnTo>
                      <a:lnTo>
                        <a:pt x="537" y="430"/>
                      </a:lnTo>
                      <a:lnTo>
                        <a:pt x="537" y="432"/>
                      </a:lnTo>
                      <a:lnTo>
                        <a:pt x="539" y="432"/>
                      </a:lnTo>
                      <a:lnTo>
                        <a:pt x="537" y="434"/>
                      </a:lnTo>
                      <a:lnTo>
                        <a:pt x="535" y="434"/>
                      </a:lnTo>
                      <a:lnTo>
                        <a:pt x="535" y="435"/>
                      </a:lnTo>
                      <a:lnTo>
                        <a:pt x="535" y="437"/>
                      </a:lnTo>
                      <a:lnTo>
                        <a:pt x="535" y="439"/>
                      </a:lnTo>
                      <a:lnTo>
                        <a:pt x="537" y="439"/>
                      </a:lnTo>
                      <a:lnTo>
                        <a:pt x="537" y="440"/>
                      </a:lnTo>
                      <a:lnTo>
                        <a:pt x="535" y="442"/>
                      </a:lnTo>
                      <a:lnTo>
                        <a:pt x="537" y="442"/>
                      </a:lnTo>
                      <a:lnTo>
                        <a:pt x="537" y="443"/>
                      </a:lnTo>
                      <a:lnTo>
                        <a:pt x="537" y="445"/>
                      </a:lnTo>
                      <a:lnTo>
                        <a:pt x="539" y="445"/>
                      </a:lnTo>
                      <a:lnTo>
                        <a:pt x="537" y="445"/>
                      </a:lnTo>
                      <a:lnTo>
                        <a:pt x="537" y="447"/>
                      </a:lnTo>
                      <a:lnTo>
                        <a:pt x="535" y="448"/>
                      </a:lnTo>
                      <a:lnTo>
                        <a:pt x="537" y="450"/>
                      </a:lnTo>
                      <a:lnTo>
                        <a:pt x="537" y="452"/>
                      </a:lnTo>
                      <a:lnTo>
                        <a:pt x="537" y="453"/>
                      </a:lnTo>
                      <a:lnTo>
                        <a:pt x="537" y="455"/>
                      </a:lnTo>
                      <a:lnTo>
                        <a:pt x="539" y="455"/>
                      </a:lnTo>
                      <a:lnTo>
                        <a:pt x="540" y="457"/>
                      </a:lnTo>
                      <a:lnTo>
                        <a:pt x="540" y="458"/>
                      </a:lnTo>
                      <a:lnTo>
                        <a:pt x="540" y="460"/>
                      </a:lnTo>
                      <a:lnTo>
                        <a:pt x="539" y="460"/>
                      </a:lnTo>
                      <a:lnTo>
                        <a:pt x="539" y="461"/>
                      </a:lnTo>
                      <a:lnTo>
                        <a:pt x="539" y="463"/>
                      </a:lnTo>
                      <a:lnTo>
                        <a:pt x="540" y="466"/>
                      </a:lnTo>
                      <a:lnTo>
                        <a:pt x="542" y="468"/>
                      </a:lnTo>
                      <a:lnTo>
                        <a:pt x="544" y="468"/>
                      </a:lnTo>
                      <a:lnTo>
                        <a:pt x="545" y="468"/>
                      </a:lnTo>
                      <a:lnTo>
                        <a:pt x="547" y="468"/>
                      </a:lnTo>
                      <a:lnTo>
                        <a:pt x="547" y="470"/>
                      </a:lnTo>
                      <a:lnTo>
                        <a:pt x="547" y="471"/>
                      </a:lnTo>
                      <a:lnTo>
                        <a:pt x="547" y="473"/>
                      </a:lnTo>
                      <a:lnTo>
                        <a:pt x="549" y="473"/>
                      </a:lnTo>
                      <a:lnTo>
                        <a:pt x="550" y="475"/>
                      </a:lnTo>
                      <a:lnTo>
                        <a:pt x="552" y="475"/>
                      </a:lnTo>
                      <a:lnTo>
                        <a:pt x="552" y="476"/>
                      </a:lnTo>
                      <a:lnTo>
                        <a:pt x="555" y="478"/>
                      </a:lnTo>
                      <a:lnTo>
                        <a:pt x="557" y="478"/>
                      </a:lnTo>
                      <a:lnTo>
                        <a:pt x="557" y="480"/>
                      </a:lnTo>
                      <a:lnTo>
                        <a:pt x="559" y="480"/>
                      </a:lnTo>
                      <a:lnTo>
                        <a:pt x="559" y="481"/>
                      </a:lnTo>
                      <a:lnTo>
                        <a:pt x="559" y="483"/>
                      </a:lnTo>
                      <a:lnTo>
                        <a:pt x="559" y="484"/>
                      </a:lnTo>
                      <a:lnTo>
                        <a:pt x="559" y="486"/>
                      </a:lnTo>
                      <a:lnTo>
                        <a:pt x="559" y="488"/>
                      </a:lnTo>
                      <a:lnTo>
                        <a:pt x="560" y="488"/>
                      </a:lnTo>
                      <a:lnTo>
                        <a:pt x="560" y="489"/>
                      </a:lnTo>
                      <a:lnTo>
                        <a:pt x="559" y="489"/>
                      </a:lnTo>
                      <a:lnTo>
                        <a:pt x="559" y="491"/>
                      </a:lnTo>
                      <a:lnTo>
                        <a:pt x="559" y="493"/>
                      </a:lnTo>
                      <a:lnTo>
                        <a:pt x="557" y="494"/>
                      </a:lnTo>
                      <a:lnTo>
                        <a:pt x="557" y="496"/>
                      </a:lnTo>
                      <a:lnTo>
                        <a:pt x="557" y="499"/>
                      </a:lnTo>
                      <a:lnTo>
                        <a:pt x="557" y="501"/>
                      </a:lnTo>
                      <a:lnTo>
                        <a:pt x="557" y="503"/>
                      </a:lnTo>
                      <a:lnTo>
                        <a:pt x="555" y="503"/>
                      </a:lnTo>
                      <a:lnTo>
                        <a:pt x="555" y="504"/>
                      </a:lnTo>
                      <a:lnTo>
                        <a:pt x="557" y="504"/>
                      </a:lnTo>
                      <a:lnTo>
                        <a:pt x="557" y="506"/>
                      </a:lnTo>
                      <a:lnTo>
                        <a:pt x="555" y="506"/>
                      </a:lnTo>
                      <a:lnTo>
                        <a:pt x="555" y="507"/>
                      </a:lnTo>
                      <a:lnTo>
                        <a:pt x="555" y="509"/>
                      </a:lnTo>
                      <a:lnTo>
                        <a:pt x="555" y="511"/>
                      </a:lnTo>
                      <a:lnTo>
                        <a:pt x="554" y="512"/>
                      </a:lnTo>
                      <a:lnTo>
                        <a:pt x="554" y="514"/>
                      </a:lnTo>
                      <a:lnTo>
                        <a:pt x="554" y="516"/>
                      </a:lnTo>
                      <a:lnTo>
                        <a:pt x="552" y="516"/>
                      </a:lnTo>
                      <a:lnTo>
                        <a:pt x="554" y="517"/>
                      </a:lnTo>
                      <a:lnTo>
                        <a:pt x="552" y="519"/>
                      </a:lnTo>
                      <a:lnTo>
                        <a:pt x="552" y="521"/>
                      </a:lnTo>
                      <a:lnTo>
                        <a:pt x="550" y="521"/>
                      </a:lnTo>
                      <a:lnTo>
                        <a:pt x="550" y="522"/>
                      </a:lnTo>
                      <a:lnTo>
                        <a:pt x="549" y="522"/>
                      </a:lnTo>
                      <a:lnTo>
                        <a:pt x="547" y="524"/>
                      </a:lnTo>
                      <a:lnTo>
                        <a:pt x="547" y="526"/>
                      </a:lnTo>
                      <a:lnTo>
                        <a:pt x="545" y="526"/>
                      </a:lnTo>
                      <a:lnTo>
                        <a:pt x="545" y="527"/>
                      </a:lnTo>
                      <a:lnTo>
                        <a:pt x="544" y="527"/>
                      </a:lnTo>
                      <a:lnTo>
                        <a:pt x="542" y="527"/>
                      </a:lnTo>
                      <a:lnTo>
                        <a:pt x="540" y="527"/>
                      </a:lnTo>
                      <a:lnTo>
                        <a:pt x="539" y="526"/>
                      </a:lnTo>
                      <a:lnTo>
                        <a:pt x="537" y="526"/>
                      </a:lnTo>
                      <a:lnTo>
                        <a:pt x="537" y="527"/>
                      </a:lnTo>
                      <a:lnTo>
                        <a:pt x="535" y="527"/>
                      </a:lnTo>
                      <a:lnTo>
                        <a:pt x="535" y="529"/>
                      </a:lnTo>
                      <a:lnTo>
                        <a:pt x="533" y="529"/>
                      </a:lnTo>
                      <a:lnTo>
                        <a:pt x="532" y="529"/>
                      </a:lnTo>
                      <a:lnTo>
                        <a:pt x="530" y="529"/>
                      </a:lnTo>
                      <a:lnTo>
                        <a:pt x="528" y="529"/>
                      </a:lnTo>
                      <a:lnTo>
                        <a:pt x="528" y="527"/>
                      </a:lnTo>
                      <a:lnTo>
                        <a:pt x="525" y="527"/>
                      </a:lnTo>
                      <a:lnTo>
                        <a:pt x="522" y="527"/>
                      </a:lnTo>
                      <a:lnTo>
                        <a:pt x="522" y="529"/>
                      </a:lnTo>
                      <a:lnTo>
                        <a:pt x="520" y="529"/>
                      </a:lnTo>
                      <a:lnTo>
                        <a:pt x="520" y="530"/>
                      </a:lnTo>
                      <a:lnTo>
                        <a:pt x="518" y="530"/>
                      </a:lnTo>
                      <a:lnTo>
                        <a:pt x="517" y="530"/>
                      </a:lnTo>
                      <a:lnTo>
                        <a:pt x="515" y="530"/>
                      </a:lnTo>
                      <a:lnTo>
                        <a:pt x="513" y="530"/>
                      </a:lnTo>
                      <a:lnTo>
                        <a:pt x="512" y="530"/>
                      </a:lnTo>
                      <a:lnTo>
                        <a:pt x="512" y="532"/>
                      </a:lnTo>
                      <a:lnTo>
                        <a:pt x="510" y="532"/>
                      </a:lnTo>
                      <a:lnTo>
                        <a:pt x="508" y="532"/>
                      </a:lnTo>
                      <a:lnTo>
                        <a:pt x="508" y="534"/>
                      </a:lnTo>
                      <a:lnTo>
                        <a:pt x="506" y="534"/>
                      </a:lnTo>
                      <a:lnTo>
                        <a:pt x="506" y="535"/>
                      </a:lnTo>
                      <a:lnTo>
                        <a:pt x="505" y="535"/>
                      </a:lnTo>
                      <a:lnTo>
                        <a:pt x="503" y="535"/>
                      </a:lnTo>
                      <a:lnTo>
                        <a:pt x="503" y="534"/>
                      </a:lnTo>
                      <a:lnTo>
                        <a:pt x="503" y="535"/>
                      </a:lnTo>
                      <a:lnTo>
                        <a:pt x="501" y="535"/>
                      </a:lnTo>
                      <a:lnTo>
                        <a:pt x="500" y="535"/>
                      </a:lnTo>
                      <a:lnTo>
                        <a:pt x="500" y="534"/>
                      </a:lnTo>
                      <a:lnTo>
                        <a:pt x="498" y="532"/>
                      </a:lnTo>
                      <a:lnTo>
                        <a:pt x="498" y="530"/>
                      </a:lnTo>
                      <a:lnTo>
                        <a:pt x="496" y="530"/>
                      </a:lnTo>
                      <a:lnTo>
                        <a:pt x="495" y="530"/>
                      </a:lnTo>
                      <a:lnTo>
                        <a:pt x="493" y="530"/>
                      </a:lnTo>
                      <a:lnTo>
                        <a:pt x="493" y="529"/>
                      </a:lnTo>
                      <a:lnTo>
                        <a:pt x="493" y="527"/>
                      </a:lnTo>
                      <a:lnTo>
                        <a:pt x="491" y="526"/>
                      </a:lnTo>
                      <a:lnTo>
                        <a:pt x="490" y="527"/>
                      </a:lnTo>
                      <a:lnTo>
                        <a:pt x="490" y="526"/>
                      </a:lnTo>
                      <a:lnTo>
                        <a:pt x="486" y="526"/>
                      </a:lnTo>
                      <a:lnTo>
                        <a:pt x="484" y="524"/>
                      </a:lnTo>
                      <a:lnTo>
                        <a:pt x="481" y="522"/>
                      </a:lnTo>
                      <a:lnTo>
                        <a:pt x="479" y="522"/>
                      </a:lnTo>
                      <a:lnTo>
                        <a:pt x="478" y="522"/>
                      </a:lnTo>
                      <a:lnTo>
                        <a:pt x="474" y="522"/>
                      </a:lnTo>
                      <a:lnTo>
                        <a:pt x="473" y="522"/>
                      </a:lnTo>
                      <a:lnTo>
                        <a:pt x="471" y="522"/>
                      </a:lnTo>
                      <a:lnTo>
                        <a:pt x="471" y="524"/>
                      </a:lnTo>
                      <a:lnTo>
                        <a:pt x="471" y="522"/>
                      </a:lnTo>
                      <a:lnTo>
                        <a:pt x="469" y="522"/>
                      </a:lnTo>
                      <a:lnTo>
                        <a:pt x="469" y="524"/>
                      </a:lnTo>
                      <a:lnTo>
                        <a:pt x="468" y="524"/>
                      </a:lnTo>
                      <a:lnTo>
                        <a:pt x="466" y="524"/>
                      </a:lnTo>
                      <a:lnTo>
                        <a:pt x="464" y="526"/>
                      </a:lnTo>
                      <a:lnTo>
                        <a:pt x="463" y="527"/>
                      </a:lnTo>
                      <a:lnTo>
                        <a:pt x="461" y="527"/>
                      </a:lnTo>
                      <a:lnTo>
                        <a:pt x="459" y="527"/>
                      </a:lnTo>
                      <a:lnTo>
                        <a:pt x="457" y="527"/>
                      </a:lnTo>
                      <a:lnTo>
                        <a:pt x="457" y="529"/>
                      </a:lnTo>
                      <a:lnTo>
                        <a:pt x="456" y="529"/>
                      </a:lnTo>
                      <a:lnTo>
                        <a:pt x="456" y="527"/>
                      </a:lnTo>
                      <a:lnTo>
                        <a:pt x="454" y="526"/>
                      </a:lnTo>
                      <a:lnTo>
                        <a:pt x="452" y="526"/>
                      </a:lnTo>
                      <a:lnTo>
                        <a:pt x="452" y="527"/>
                      </a:lnTo>
                      <a:lnTo>
                        <a:pt x="451" y="527"/>
                      </a:lnTo>
                      <a:lnTo>
                        <a:pt x="449" y="527"/>
                      </a:lnTo>
                      <a:lnTo>
                        <a:pt x="447" y="527"/>
                      </a:lnTo>
                      <a:lnTo>
                        <a:pt x="446" y="527"/>
                      </a:lnTo>
                      <a:lnTo>
                        <a:pt x="446" y="529"/>
                      </a:lnTo>
                      <a:lnTo>
                        <a:pt x="444" y="529"/>
                      </a:lnTo>
                      <a:lnTo>
                        <a:pt x="444" y="530"/>
                      </a:lnTo>
                      <a:lnTo>
                        <a:pt x="444" y="532"/>
                      </a:lnTo>
                      <a:lnTo>
                        <a:pt x="444" y="534"/>
                      </a:lnTo>
                      <a:lnTo>
                        <a:pt x="442" y="532"/>
                      </a:lnTo>
                      <a:lnTo>
                        <a:pt x="442" y="530"/>
                      </a:lnTo>
                      <a:lnTo>
                        <a:pt x="441" y="530"/>
                      </a:lnTo>
                      <a:lnTo>
                        <a:pt x="439" y="530"/>
                      </a:lnTo>
                      <a:lnTo>
                        <a:pt x="439" y="532"/>
                      </a:lnTo>
                      <a:lnTo>
                        <a:pt x="439" y="534"/>
                      </a:lnTo>
                      <a:lnTo>
                        <a:pt x="441" y="534"/>
                      </a:lnTo>
                      <a:lnTo>
                        <a:pt x="441" y="535"/>
                      </a:lnTo>
                      <a:lnTo>
                        <a:pt x="441" y="537"/>
                      </a:lnTo>
                      <a:lnTo>
                        <a:pt x="439" y="535"/>
                      </a:lnTo>
                      <a:lnTo>
                        <a:pt x="439" y="534"/>
                      </a:lnTo>
                      <a:lnTo>
                        <a:pt x="437" y="535"/>
                      </a:lnTo>
                      <a:lnTo>
                        <a:pt x="437" y="537"/>
                      </a:lnTo>
                      <a:lnTo>
                        <a:pt x="436" y="537"/>
                      </a:lnTo>
                      <a:lnTo>
                        <a:pt x="434" y="537"/>
                      </a:lnTo>
                      <a:lnTo>
                        <a:pt x="434" y="539"/>
                      </a:lnTo>
                      <a:lnTo>
                        <a:pt x="434" y="540"/>
                      </a:lnTo>
                      <a:lnTo>
                        <a:pt x="434" y="542"/>
                      </a:lnTo>
                      <a:lnTo>
                        <a:pt x="432" y="542"/>
                      </a:lnTo>
                      <a:lnTo>
                        <a:pt x="430" y="544"/>
                      </a:lnTo>
                      <a:lnTo>
                        <a:pt x="430" y="545"/>
                      </a:lnTo>
                      <a:lnTo>
                        <a:pt x="430" y="547"/>
                      </a:lnTo>
                      <a:lnTo>
                        <a:pt x="429" y="549"/>
                      </a:lnTo>
                      <a:lnTo>
                        <a:pt x="427" y="549"/>
                      </a:lnTo>
                      <a:lnTo>
                        <a:pt x="427" y="550"/>
                      </a:lnTo>
                      <a:lnTo>
                        <a:pt x="427" y="549"/>
                      </a:lnTo>
                      <a:lnTo>
                        <a:pt x="425" y="549"/>
                      </a:lnTo>
                      <a:lnTo>
                        <a:pt x="425" y="550"/>
                      </a:lnTo>
                      <a:lnTo>
                        <a:pt x="425" y="552"/>
                      </a:lnTo>
                      <a:lnTo>
                        <a:pt x="424" y="552"/>
                      </a:lnTo>
                      <a:lnTo>
                        <a:pt x="424" y="553"/>
                      </a:lnTo>
                      <a:lnTo>
                        <a:pt x="424" y="555"/>
                      </a:lnTo>
                      <a:lnTo>
                        <a:pt x="424" y="557"/>
                      </a:lnTo>
                      <a:lnTo>
                        <a:pt x="422" y="558"/>
                      </a:lnTo>
                      <a:lnTo>
                        <a:pt x="422" y="560"/>
                      </a:lnTo>
                      <a:lnTo>
                        <a:pt x="420" y="560"/>
                      </a:lnTo>
                      <a:lnTo>
                        <a:pt x="419" y="560"/>
                      </a:lnTo>
                      <a:lnTo>
                        <a:pt x="417" y="560"/>
                      </a:lnTo>
                      <a:lnTo>
                        <a:pt x="415" y="560"/>
                      </a:lnTo>
                      <a:lnTo>
                        <a:pt x="414" y="560"/>
                      </a:lnTo>
                      <a:lnTo>
                        <a:pt x="412" y="562"/>
                      </a:lnTo>
                      <a:lnTo>
                        <a:pt x="410" y="562"/>
                      </a:lnTo>
                      <a:lnTo>
                        <a:pt x="410" y="563"/>
                      </a:lnTo>
                      <a:lnTo>
                        <a:pt x="408" y="563"/>
                      </a:lnTo>
                      <a:lnTo>
                        <a:pt x="407" y="565"/>
                      </a:lnTo>
                      <a:lnTo>
                        <a:pt x="405" y="565"/>
                      </a:lnTo>
                      <a:lnTo>
                        <a:pt x="403" y="567"/>
                      </a:lnTo>
                      <a:lnTo>
                        <a:pt x="402" y="567"/>
                      </a:lnTo>
                      <a:lnTo>
                        <a:pt x="402" y="568"/>
                      </a:lnTo>
                      <a:lnTo>
                        <a:pt x="400" y="570"/>
                      </a:lnTo>
                      <a:lnTo>
                        <a:pt x="397" y="570"/>
                      </a:lnTo>
                      <a:lnTo>
                        <a:pt x="397" y="572"/>
                      </a:lnTo>
                      <a:lnTo>
                        <a:pt x="395" y="573"/>
                      </a:lnTo>
                      <a:lnTo>
                        <a:pt x="393" y="573"/>
                      </a:lnTo>
                      <a:lnTo>
                        <a:pt x="393" y="575"/>
                      </a:lnTo>
                      <a:lnTo>
                        <a:pt x="393" y="576"/>
                      </a:lnTo>
                      <a:lnTo>
                        <a:pt x="392" y="576"/>
                      </a:lnTo>
                      <a:lnTo>
                        <a:pt x="392" y="578"/>
                      </a:lnTo>
                      <a:lnTo>
                        <a:pt x="390" y="578"/>
                      </a:lnTo>
                      <a:lnTo>
                        <a:pt x="390" y="580"/>
                      </a:lnTo>
                      <a:lnTo>
                        <a:pt x="388" y="580"/>
                      </a:lnTo>
                      <a:lnTo>
                        <a:pt x="387" y="581"/>
                      </a:lnTo>
                      <a:lnTo>
                        <a:pt x="387" y="583"/>
                      </a:lnTo>
                      <a:lnTo>
                        <a:pt x="385" y="583"/>
                      </a:lnTo>
                      <a:lnTo>
                        <a:pt x="385" y="585"/>
                      </a:lnTo>
                      <a:lnTo>
                        <a:pt x="385" y="586"/>
                      </a:lnTo>
                      <a:lnTo>
                        <a:pt x="383" y="586"/>
                      </a:lnTo>
                      <a:lnTo>
                        <a:pt x="381" y="586"/>
                      </a:lnTo>
                      <a:lnTo>
                        <a:pt x="380" y="585"/>
                      </a:lnTo>
                      <a:lnTo>
                        <a:pt x="380" y="583"/>
                      </a:lnTo>
                      <a:lnTo>
                        <a:pt x="378" y="583"/>
                      </a:lnTo>
                      <a:lnTo>
                        <a:pt x="376" y="585"/>
                      </a:lnTo>
                      <a:lnTo>
                        <a:pt x="376" y="583"/>
                      </a:lnTo>
                      <a:lnTo>
                        <a:pt x="375" y="583"/>
                      </a:lnTo>
                      <a:lnTo>
                        <a:pt x="373" y="583"/>
                      </a:lnTo>
                      <a:lnTo>
                        <a:pt x="371" y="585"/>
                      </a:lnTo>
                      <a:lnTo>
                        <a:pt x="370" y="585"/>
                      </a:lnTo>
                      <a:lnTo>
                        <a:pt x="370" y="586"/>
                      </a:lnTo>
                      <a:lnTo>
                        <a:pt x="370" y="588"/>
                      </a:lnTo>
                      <a:lnTo>
                        <a:pt x="368" y="588"/>
                      </a:lnTo>
                      <a:lnTo>
                        <a:pt x="366" y="590"/>
                      </a:lnTo>
                      <a:lnTo>
                        <a:pt x="366" y="588"/>
                      </a:lnTo>
                      <a:lnTo>
                        <a:pt x="365" y="588"/>
                      </a:lnTo>
                      <a:lnTo>
                        <a:pt x="365" y="590"/>
                      </a:lnTo>
                      <a:lnTo>
                        <a:pt x="363" y="591"/>
                      </a:lnTo>
                      <a:lnTo>
                        <a:pt x="363" y="593"/>
                      </a:lnTo>
                      <a:lnTo>
                        <a:pt x="361" y="593"/>
                      </a:lnTo>
                      <a:lnTo>
                        <a:pt x="360" y="593"/>
                      </a:lnTo>
                      <a:lnTo>
                        <a:pt x="358" y="595"/>
                      </a:lnTo>
                      <a:lnTo>
                        <a:pt x="356" y="595"/>
                      </a:lnTo>
                      <a:lnTo>
                        <a:pt x="354" y="595"/>
                      </a:lnTo>
                      <a:lnTo>
                        <a:pt x="353" y="596"/>
                      </a:lnTo>
                      <a:lnTo>
                        <a:pt x="351" y="596"/>
                      </a:lnTo>
                      <a:lnTo>
                        <a:pt x="349" y="596"/>
                      </a:lnTo>
                      <a:lnTo>
                        <a:pt x="348" y="596"/>
                      </a:lnTo>
                      <a:lnTo>
                        <a:pt x="346" y="596"/>
                      </a:lnTo>
                      <a:lnTo>
                        <a:pt x="344" y="596"/>
                      </a:lnTo>
                      <a:lnTo>
                        <a:pt x="343" y="596"/>
                      </a:lnTo>
                      <a:lnTo>
                        <a:pt x="343" y="598"/>
                      </a:lnTo>
                      <a:lnTo>
                        <a:pt x="341" y="598"/>
                      </a:lnTo>
                      <a:lnTo>
                        <a:pt x="341" y="596"/>
                      </a:lnTo>
                      <a:lnTo>
                        <a:pt x="341" y="598"/>
                      </a:lnTo>
                      <a:lnTo>
                        <a:pt x="339" y="598"/>
                      </a:lnTo>
                      <a:lnTo>
                        <a:pt x="338" y="599"/>
                      </a:lnTo>
                      <a:lnTo>
                        <a:pt x="336" y="599"/>
                      </a:lnTo>
                      <a:lnTo>
                        <a:pt x="336" y="601"/>
                      </a:lnTo>
                      <a:lnTo>
                        <a:pt x="334" y="601"/>
                      </a:lnTo>
                      <a:lnTo>
                        <a:pt x="334" y="599"/>
                      </a:lnTo>
                      <a:lnTo>
                        <a:pt x="332" y="601"/>
                      </a:lnTo>
                      <a:lnTo>
                        <a:pt x="331" y="601"/>
                      </a:lnTo>
                      <a:lnTo>
                        <a:pt x="331" y="603"/>
                      </a:lnTo>
                      <a:lnTo>
                        <a:pt x="329" y="601"/>
                      </a:lnTo>
                      <a:lnTo>
                        <a:pt x="327" y="601"/>
                      </a:lnTo>
                      <a:lnTo>
                        <a:pt x="327" y="603"/>
                      </a:lnTo>
                      <a:lnTo>
                        <a:pt x="326" y="603"/>
                      </a:lnTo>
                      <a:lnTo>
                        <a:pt x="324" y="603"/>
                      </a:lnTo>
                      <a:lnTo>
                        <a:pt x="322" y="603"/>
                      </a:lnTo>
                      <a:lnTo>
                        <a:pt x="322" y="604"/>
                      </a:lnTo>
                      <a:lnTo>
                        <a:pt x="321" y="606"/>
                      </a:lnTo>
                      <a:lnTo>
                        <a:pt x="319" y="606"/>
                      </a:lnTo>
                      <a:lnTo>
                        <a:pt x="317" y="606"/>
                      </a:lnTo>
                      <a:lnTo>
                        <a:pt x="317" y="608"/>
                      </a:lnTo>
                      <a:lnTo>
                        <a:pt x="317" y="609"/>
                      </a:lnTo>
                      <a:lnTo>
                        <a:pt x="316" y="609"/>
                      </a:lnTo>
                      <a:lnTo>
                        <a:pt x="316" y="611"/>
                      </a:lnTo>
                      <a:lnTo>
                        <a:pt x="314" y="611"/>
                      </a:lnTo>
                      <a:lnTo>
                        <a:pt x="314" y="613"/>
                      </a:lnTo>
                      <a:lnTo>
                        <a:pt x="314" y="611"/>
                      </a:lnTo>
                      <a:lnTo>
                        <a:pt x="312" y="611"/>
                      </a:lnTo>
                      <a:lnTo>
                        <a:pt x="312" y="613"/>
                      </a:lnTo>
                      <a:lnTo>
                        <a:pt x="311" y="613"/>
                      </a:lnTo>
                      <a:lnTo>
                        <a:pt x="311" y="614"/>
                      </a:lnTo>
                      <a:lnTo>
                        <a:pt x="311" y="616"/>
                      </a:lnTo>
                      <a:lnTo>
                        <a:pt x="309" y="616"/>
                      </a:lnTo>
                      <a:lnTo>
                        <a:pt x="309" y="618"/>
                      </a:lnTo>
                      <a:lnTo>
                        <a:pt x="311" y="618"/>
                      </a:lnTo>
                      <a:lnTo>
                        <a:pt x="309" y="619"/>
                      </a:lnTo>
                      <a:lnTo>
                        <a:pt x="309" y="618"/>
                      </a:lnTo>
                      <a:lnTo>
                        <a:pt x="309" y="619"/>
                      </a:lnTo>
                      <a:lnTo>
                        <a:pt x="309" y="621"/>
                      </a:lnTo>
                      <a:lnTo>
                        <a:pt x="309" y="622"/>
                      </a:lnTo>
                      <a:lnTo>
                        <a:pt x="307" y="622"/>
                      </a:lnTo>
                      <a:lnTo>
                        <a:pt x="309" y="622"/>
                      </a:lnTo>
                      <a:lnTo>
                        <a:pt x="307" y="622"/>
                      </a:lnTo>
                      <a:lnTo>
                        <a:pt x="307" y="624"/>
                      </a:lnTo>
                      <a:lnTo>
                        <a:pt x="307" y="626"/>
                      </a:lnTo>
                      <a:lnTo>
                        <a:pt x="305" y="627"/>
                      </a:lnTo>
                      <a:lnTo>
                        <a:pt x="305" y="629"/>
                      </a:lnTo>
                      <a:lnTo>
                        <a:pt x="304" y="629"/>
                      </a:lnTo>
                      <a:lnTo>
                        <a:pt x="305" y="631"/>
                      </a:lnTo>
                      <a:lnTo>
                        <a:pt x="304" y="632"/>
                      </a:lnTo>
                      <a:lnTo>
                        <a:pt x="305" y="632"/>
                      </a:lnTo>
                      <a:lnTo>
                        <a:pt x="305" y="634"/>
                      </a:lnTo>
                      <a:lnTo>
                        <a:pt x="304" y="634"/>
                      </a:lnTo>
                      <a:lnTo>
                        <a:pt x="304" y="636"/>
                      </a:lnTo>
                      <a:lnTo>
                        <a:pt x="304" y="637"/>
                      </a:lnTo>
                      <a:lnTo>
                        <a:pt x="302" y="637"/>
                      </a:lnTo>
                      <a:lnTo>
                        <a:pt x="304" y="637"/>
                      </a:lnTo>
                      <a:lnTo>
                        <a:pt x="304" y="639"/>
                      </a:lnTo>
                      <a:lnTo>
                        <a:pt x="302" y="639"/>
                      </a:lnTo>
                      <a:lnTo>
                        <a:pt x="302" y="641"/>
                      </a:lnTo>
                      <a:lnTo>
                        <a:pt x="302" y="642"/>
                      </a:lnTo>
                      <a:lnTo>
                        <a:pt x="304" y="642"/>
                      </a:lnTo>
                      <a:lnTo>
                        <a:pt x="304" y="644"/>
                      </a:lnTo>
                      <a:lnTo>
                        <a:pt x="302" y="644"/>
                      </a:lnTo>
                      <a:lnTo>
                        <a:pt x="302" y="642"/>
                      </a:lnTo>
                      <a:lnTo>
                        <a:pt x="302" y="644"/>
                      </a:lnTo>
                      <a:lnTo>
                        <a:pt x="300" y="644"/>
                      </a:lnTo>
                      <a:lnTo>
                        <a:pt x="302" y="645"/>
                      </a:lnTo>
                      <a:lnTo>
                        <a:pt x="302" y="647"/>
                      </a:lnTo>
                      <a:lnTo>
                        <a:pt x="302" y="649"/>
                      </a:lnTo>
                      <a:lnTo>
                        <a:pt x="300" y="649"/>
                      </a:lnTo>
                      <a:lnTo>
                        <a:pt x="300" y="650"/>
                      </a:lnTo>
                      <a:lnTo>
                        <a:pt x="300" y="652"/>
                      </a:lnTo>
                      <a:lnTo>
                        <a:pt x="300" y="654"/>
                      </a:lnTo>
                      <a:lnTo>
                        <a:pt x="300" y="655"/>
                      </a:lnTo>
                      <a:lnTo>
                        <a:pt x="300" y="657"/>
                      </a:lnTo>
                      <a:lnTo>
                        <a:pt x="299" y="657"/>
                      </a:lnTo>
                      <a:lnTo>
                        <a:pt x="299" y="659"/>
                      </a:lnTo>
                      <a:lnTo>
                        <a:pt x="297" y="659"/>
                      </a:lnTo>
                      <a:lnTo>
                        <a:pt x="297" y="660"/>
                      </a:lnTo>
                      <a:lnTo>
                        <a:pt x="297" y="662"/>
                      </a:lnTo>
                      <a:lnTo>
                        <a:pt x="295" y="662"/>
                      </a:lnTo>
                      <a:lnTo>
                        <a:pt x="294" y="663"/>
                      </a:lnTo>
                      <a:lnTo>
                        <a:pt x="294" y="665"/>
                      </a:lnTo>
                      <a:lnTo>
                        <a:pt x="292" y="665"/>
                      </a:lnTo>
                      <a:lnTo>
                        <a:pt x="292" y="667"/>
                      </a:lnTo>
                      <a:lnTo>
                        <a:pt x="292" y="668"/>
                      </a:lnTo>
                      <a:lnTo>
                        <a:pt x="292" y="670"/>
                      </a:lnTo>
                      <a:lnTo>
                        <a:pt x="290" y="670"/>
                      </a:lnTo>
                      <a:lnTo>
                        <a:pt x="290" y="672"/>
                      </a:lnTo>
                      <a:lnTo>
                        <a:pt x="290" y="673"/>
                      </a:lnTo>
                      <a:lnTo>
                        <a:pt x="290" y="675"/>
                      </a:lnTo>
                      <a:lnTo>
                        <a:pt x="289" y="675"/>
                      </a:lnTo>
                      <a:lnTo>
                        <a:pt x="289" y="677"/>
                      </a:lnTo>
                      <a:lnTo>
                        <a:pt x="287" y="677"/>
                      </a:lnTo>
                      <a:lnTo>
                        <a:pt x="287" y="678"/>
                      </a:lnTo>
                      <a:lnTo>
                        <a:pt x="287" y="680"/>
                      </a:lnTo>
                      <a:lnTo>
                        <a:pt x="285" y="680"/>
                      </a:lnTo>
                      <a:lnTo>
                        <a:pt x="287" y="682"/>
                      </a:lnTo>
                      <a:lnTo>
                        <a:pt x="285" y="682"/>
                      </a:lnTo>
                      <a:lnTo>
                        <a:pt x="285" y="683"/>
                      </a:lnTo>
                      <a:lnTo>
                        <a:pt x="285" y="685"/>
                      </a:lnTo>
                      <a:lnTo>
                        <a:pt x="285" y="686"/>
                      </a:lnTo>
                      <a:lnTo>
                        <a:pt x="285" y="688"/>
                      </a:lnTo>
                      <a:lnTo>
                        <a:pt x="284" y="690"/>
                      </a:lnTo>
                      <a:lnTo>
                        <a:pt x="284" y="691"/>
                      </a:lnTo>
                      <a:lnTo>
                        <a:pt x="284" y="693"/>
                      </a:lnTo>
                      <a:lnTo>
                        <a:pt x="282" y="695"/>
                      </a:lnTo>
                      <a:lnTo>
                        <a:pt x="280" y="695"/>
                      </a:lnTo>
                      <a:lnTo>
                        <a:pt x="280" y="696"/>
                      </a:lnTo>
                      <a:lnTo>
                        <a:pt x="282" y="696"/>
                      </a:lnTo>
                      <a:lnTo>
                        <a:pt x="282" y="698"/>
                      </a:lnTo>
                      <a:lnTo>
                        <a:pt x="284" y="698"/>
                      </a:lnTo>
                      <a:lnTo>
                        <a:pt x="282" y="698"/>
                      </a:lnTo>
                      <a:lnTo>
                        <a:pt x="280" y="698"/>
                      </a:lnTo>
                      <a:lnTo>
                        <a:pt x="280" y="700"/>
                      </a:lnTo>
                      <a:lnTo>
                        <a:pt x="278" y="700"/>
                      </a:lnTo>
                      <a:lnTo>
                        <a:pt x="277" y="701"/>
                      </a:lnTo>
                      <a:lnTo>
                        <a:pt x="278" y="701"/>
                      </a:lnTo>
                      <a:lnTo>
                        <a:pt x="277" y="701"/>
                      </a:lnTo>
                      <a:lnTo>
                        <a:pt x="278" y="701"/>
                      </a:lnTo>
                      <a:lnTo>
                        <a:pt x="278" y="703"/>
                      </a:lnTo>
                      <a:lnTo>
                        <a:pt x="277" y="703"/>
                      </a:lnTo>
                      <a:lnTo>
                        <a:pt x="277" y="705"/>
                      </a:lnTo>
                      <a:lnTo>
                        <a:pt x="277" y="706"/>
                      </a:lnTo>
                      <a:lnTo>
                        <a:pt x="275" y="708"/>
                      </a:lnTo>
                      <a:lnTo>
                        <a:pt x="273" y="708"/>
                      </a:lnTo>
                      <a:lnTo>
                        <a:pt x="273" y="709"/>
                      </a:lnTo>
                      <a:lnTo>
                        <a:pt x="272" y="709"/>
                      </a:lnTo>
                      <a:lnTo>
                        <a:pt x="272" y="711"/>
                      </a:lnTo>
                      <a:lnTo>
                        <a:pt x="270" y="711"/>
                      </a:lnTo>
                      <a:lnTo>
                        <a:pt x="272" y="711"/>
                      </a:lnTo>
                      <a:lnTo>
                        <a:pt x="270" y="713"/>
                      </a:lnTo>
                      <a:lnTo>
                        <a:pt x="270" y="711"/>
                      </a:lnTo>
                      <a:lnTo>
                        <a:pt x="268" y="713"/>
                      </a:lnTo>
                      <a:lnTo>
                        <a:pt x="267" y="713"/>
                      </a:lnTo>
                      <a:lnTo>
                        <a:pt x="267" y="714"/>
                      </a:lnTo>
                      <a:lnTo>
                        <a:pt x="265" y="716"/>
                      </a:lnTo>
                      <a:lnTo>
                        <a:pt x="265" y="718"/>
                      </a:lnTo>
                      <a:lnTo>
                        <a:pt x="265" y="719"/>
                      </a:lnTo>
                      <a:lnTo>
                        <a:pt x="263" y="721"/>
                      </a:lnTo>
                      <a:lnTo>
                        <a:pt x="263" y="723"/>
                      </a:lnTo>
                      <a:lnTo>
                        <a:pt x="262" y="723"/>
                      </a:lnTo>
                      <a:lnTo>
                        <a:pt x="262" y="724"/>
                      </a:lnTo>
                      <a:lnTo>
                        <a:pt x="262" y="726"/>
                      </a:lnTo>
                      <a:lnTo>
                        <a:pt x="262" y="728"/>
                      </a:lnTo>
                      <a:lnTo>
                        <a:pt x="262" y="729"/>
                      </a:lnTo>
                      <a:lnTo>
                        <a:pt x="262" y="731"/>
                      </a:lnTo>
                      <a:lnTo>
                        <a:pt x="263" y="732"/>
                      </a:lnTo>
                      <a:lnTo>
                        <a:pt x="265" y="734"/>
                      </a:lnTo>
                      <a:lnTo>
                        <a:pt x="267" y="736"/>
                      </a:lnTo>
                      <a:lnTo>
                        <a:pt x="265" y="736"/>
                      </a:lnTo>
                      <a:lnTo>
                        <a:pt x="267" y="737"/>
                      </a:lnTo>
                      <a:lnTo>
                        <a:pt x="267" y="739"/>
                      </a:lnTo>
                      <a:lnTo>
                        <a:pt x="267" y="741"/>
                      </a:lnTo>
                      <a:lnTo>
                        <a:pt x="267" y="742"/>
                      </a:lnTo>
                      <a:lnTo>
                        <a:pt x="268" y="742"/>
                      </a:lnTo>
                      <a:lnTo>
                        <a:pt x="268" y="744"/>
                      </a:lnTo>
                      <a:lnTo>
                        <a:pt x="267" y="744"/>
                      </a:lnTo>
                      <a:lnTo>
                        <a:pt x="268" y="744"/>
                      </a:lnTo>
                      <a:lnTo>
                        <a:pt x="267" y="746"/>
                      </a:lnTo>
                      <a:lnTo>
                        <a:pt x="267" y="747"/>
                      </a:lnTo>
                      <a:lnTo>
                        <a:pt x="268" y="747"/>
                      </a:lnTo>
                      <a:lnTo>
                        <a:pt x="268" y="749"/>
                      </a:lnTo>
                      <a:lnTo>
                        <a:pt x="270" y="751"/>
                      </a:lnTo>
                      <a:lnTo>
                        <a:pt x="270" y="752"/>
                      </a:lnTo>
                      <a:lnTo>
                        <a:pt x="270" y="754"/>
                      </a:lnTo>
                      <a:lnTo>
                        <a:pt x="270" y="755"/>
                      </a:lnTo>
                      <a:lnTo>
                        <a:pt x="270" y="757"/>
                      </a:lnTo>
                      <a:lnTo>
                        <a:pt x="270" y="759"/>
                      </a:lnTo>
                      <a:lnTo>
                        <a:pt x="270" y="760"/>
                      </a:lnTo>
                      <a:lnTo>
                        <a:pt x="270" y="762"/>
                      </a:lnTo>
                      <a:lnTo>
                        <a:pt x="270" y="764"/>
                      </a:lnTo>
                      <a:lnTo>
                        <a:pt x="270" y="765"/>
                      </a:lnTo>
                      <a:lnTo>
                        <a:pt x="272" y="765"/>
                      </a:lnTo>
                      <a:lnTo>
                        <a:pt x="273" y="767"/>
                      </a:lnTo>
                      <a:lnTo>
                        <a:pt x="275" y="767"/>
                      </a:lnTo>
                      <a:lnTo>
                        <a:pt x="277" y="767"/>
                      </a:lnTo>
                      <a:lnTo>
                        <a:pt x="277" y="769"/>
                      </a:lnTo>
                      <a:lnTo>
                        <a:pt x="278" y="770"/>
                      </a:lnTo>
                      <a:lnTo>
                        <a:pt x="278" y="772"/>
                      </a:lnTo>
                      <a:lnTo>
                        <a:pt x="280" y="772"/>
                      </a:lnTo>
                      <a:lnTo>
                        <a:pt x="278" y="774"/>
                      </a:lnTo>
                      <a:lnTo>
                        <a:pt x="280" y="774"/>
                      </a:lnTo>
                      <a:lnTo>
                        <a:pt x="280" y="775"/>
                      </a:lnTo>
                      <a:lnTo>
                        <a:pt x="280" y="777"/>
                      </a:lnTo>
                      <a:lnTo>
                        <a:pt x="282" y="778"/>
                      </a:lnTo>
                      <a:lnTo>
                        <a:pt x="280" y="778"/>
                      </a:lnTo>
                      <a:lnTo>
                        <a:pt x="280" y="780"/>
                      </a:lnTo>
                      <a:lnTo>
                        <a:pt x="278" y="780"/>
                      </a:lnTo>
                      <a:lnTo>
                        <a:pt x="278" y="782"/>
                      </a:lnTo>
                      <a:lnTo>
                        <a:pt x="277" y="782"/>
                      </a:lnTo>
                      <a:lnTo>
                        <a:pt x="277" y="783"/>
                      </a:lnTo>
                      <a:lnTo>
                        <a:pt x="277" y="785"/>
                      </a:lnTo>
                      <a:lnTo>
                        <a:pt x="275" y="785"/>
                      </a:lnTo>
                      <a:lnTo>
                        <a:pt x="275" y="787"/>
                      </a:lnTo>
                      <a:lnTo>
                        <a:pt x="275" y="788"/>
                      </a:lnTo>
                      <a:lnTo>
                        <a:pt x="277" y="788"/>
                      </a:lnTo>
                      <a:lnTo>
                        <a:pt x="275" y="788"/>
                      </a:lnTo>
                      <a:lnTo>
                        <a:pt x="277" y="790"/>
                      </a:lnTo>
                      <a:lnTo>
                        <a:pt x="277" y="792"/>
                      </a:lnTo>
                      <a:lnTo>
                        <a:pt x="277" y="793"/>
                      </a:lnTo>
                      <a:lnTo>
                        <a:pt x="277" y="795"/>
                      </a:lnTo>
                      <a:lnTo>
                        <a:pt x="277" y="797"/>
                      </a:lnTo>
                      <a:lnTo>
                        <a:pt x="277" y="798"/>
                      </a:lnTo>
                      <a:lnTo>
                        <a:pt x="275" y="798"/>
                      </a:lnTo>
                      <a:lnTo>
                        <a:pt x="277" y="798"/>
                      </a:lnTo>
                      <a:lnTo>
                        <a:pt x="277" y="800"/>
                      </a:lnTo>
                      <a:lnTo>
                        <a:pt x="277" y="801"/>
                      </a:lnTo>
                      <a:lnTo>
                        <a:pt x="277" y="803"/>
                      </a:lnTo>
                      <a:lnTo>
                        <a:pt x="277" y="805"/>
                      </a:lnTo>
                      <a:lnTo>
                        <a:pt x="277" y="806"/>
                      </a:lnTo>
                      <a:lnTo>
                        <a:pt x="275" y="808"/>
                      </a:lnTo>
                      <a:lnTo>
                        <a:pt x="275" y="810"/>
                      </a:lnTo>
                      <a:lnTo>
                        <a:pt x="275" y="811"/>
                      </a:lnTo>
                      <a:lnTo>
                        <a:pt x="273" y="811"/>
                      </a:lnTo>
                      <a:lnTo>
                        <a:pt x="273" y="813"/>
                      </a:lnTo>
                      <a:lnTo>
                        <a:pt x="273" y="815"/>
                      </a:lnTo>
                      <a:lnTo>
                        <a:pt x="273" y="818"/>
                      </a:lnTo>
                      <a:lnTo>
                        <a:pt x="275" y="818"/>
                      </a:lnTo>
                      <a:lnTo>
                        <a:pt x="275" y="820"/>
                      </a:lnTo>
                      <a:lnTo>
                        <a:pt x="275" y="821"/>
                      </a:lnTo>
                      <a:lnTo>
                        <a:pt x="275" y="823"/>
                      </a:lnTo>
                      <a:lnTo>
                        <a:pt x="275" y="824"/>
                      </a:lnTo>
                      <a:lnTo>
                        <a:pt x="273" y="824"/>
                      </a:lnTo>
                      <a:lnTo>
                        <a:pt x="275" y="824"/>
                      </a:lnTo>
                      <a:lnTo>
                        <a:pt x="273" y="826"/>
                      </a:lnTo>
                      <a:lnTo>
                        <a:pt x="275" y="826"/>
                      </a:lnTo>
                      <a:lnTo>
                        <a:pt x="273" y="826"/>
                      </a:lnTo>
                      <a:lnTo>
                        <a:pt x="273" y="828"/>
                      </a:lnTo>
                      <a:lnTo>
                        <a:pt x="273" y="829"/>
                      </a:lnTo>
                      <a:lnTo>
                        <a:pt x="272" y="829"/>
                      </a:lnTo>
                      <a:lnTo>
                        <a:pt x="272" y="831"/>
                      </a:lnTo>
                      <a:lnTo>
                        <a:pt x="272" y="833"/>
                      </a:lnTo>
                      <a:lnTo>
                        <a:pt x="273" y="833"/>
                      </a:lnTo>
                      <a:lnTo>
                        <a:pt x="273" y="834"/>
                      </a:lnTo>
                      <a:lnTo>
                        <a:pt x="272" y="834"/>
                      </a:lnTo>
                      <a:lnTo>
                        <a:pt x="273" y="834"/>
                      </a:lnTo>
                      <a:lnTo>
                        <a:pt x="272" y="834"/>
                      </a:lnTo>
                      <a:lnTo>
                        <a:pt x="272" y="836"/>
                      </a:lnTo>
                      <a:lnTo>
                        <a:pt x="272" y="838"/>
                      </a:lnTo>
                      <a:lnTo>
                        <a:pt x="272" y="836"/>
                      </a:lnTo>
                      <a:lnTo>
                        <a:pt x="272" y="838"/>
                      </a:lnTo>
                      <a:lnTo>
                        <a:pt x="270" y="838"/>
                      </a:lnTo>
                      <a:lnTo>
                        <a:pt x="270" y="839"/>
                      </a:lnTo>
                      <a:lnTo>
                        <a:pt x="270" y="841"/>
                      </a:lnTo>
                      <a:lnTo>
                        <a:pt x="268" y="841"/>
                      </a:lnTo>
                      <a:lnTo>
                        <a:pt x="268" y="843"/>
                      </a:lnTo>
                      <a:lnTo>
                        <a:pt x="267" y="843"/>
                      </a:lnTo>
                      <a:lnTo>
                        <a:pt x="268" y="843"/>
                      </a:lnTo>
                      <a:lnTo>
                        <a:pt x="267" y="843"/>
                      </a:lnTo>
                      <a:lnTo>
                        <a:pt x="267" y="844"/>
                      </a:lnTo>
                      <a:lnTo>
                        <a:pt x="265" y="844"/>
                      </a:lnTo>
                      <a:lnTo>
                        <a:pt x="267" y="844"/>
                      </a:lnTo>
                      <a:lnTo>
                        <a:pt x="265" y="844"/>
                      </a:lnTo>
                      <a:lnTo>
                        <a:pt x="265" y="846"/>
                      </a:lnTo>
                      <a:lnTo>
                        <a:pt x="265" y="847"/>
                      </a:lnTo>
                      <a:lnTo>
                        <a:pt x="265" y="849"/>
                      </a:lnTo>
                      <a:lnTo>
                        <a:pt x="263" y="849"/>
                      </a:lnTo>
                      <a:lnTo>
                        <a:pt x="262" y="849"/>
                      </a:lnTo>
                      <a:lnTo>
                        <a:pt x="260" y="849"/>
                      </a:lnTo>
                      <a:lnTo>
                        <a:pt x="260" y="851"/>
                      </a:lnTo>
                      <a:lnTo>
                        <a:pt x="260" y="849"/>
                      </a:lnTo>
                      <a:lnTo>
                        <a:pt x="258" y="847"/>
                      </a:lnTo>
                      <a:lnTo>
                        <a:pt x="258" y="846"/>
                      </a:lnTo>
                      <a:lnTo>
                        <a:pt x="258" y="844"/>
                      </a:lnTo>
                      <a:lnTo>
                        <a:pt x="258" y="843"/>
                      </a:lnTo>
                      <a:lnTo>
                        <a:pt x="256" y="843"/>
                      </a:lnTo>
                      <a:lnTo>
                        <a:pt x="255" y="843"/>
                      </a:lnTo>
                      <a:lnTo>
                        <a:pt x="253" y="844"/>
                      </a:lnTo>
                      <a:lnTo>
                        <a:pt x="251" y="846"/>
                      </a:lnTo>
                      <a:lnTo>
                        <a:pt x="250" y="846"/>
                      </a:lnTo>
                      <a:lnTo>
                        <a:pt x="248" y="846"/>
                      </a:lnTo>
                      <a:lnTo>
                        <a:pt x="246" y="846"/>
                      </a:lnTo>
                      <a:lnTo>
                        <a:pt x="245" y="846"/>
                      </a:lnTo>
                      <a:lnTo>
                        <a:pt x="243" y="844"/>
                      </a:lnTo>
                      <a:lnTo>
                        <a:pt x="241" y="843"/>
                      </a:lnTo>
                      <a:lnTo>
                        <a:pt x="241" y="841"/>
                      </a:lnTo>
                      <a:lnTo>
                        <a:pt x="238" y="843"/>
                      </a:lnTo>
                      <a:lnTo>
                        <a:pt x="235" y="843"/>
                      </a:lnTo>
                      <a:lnTo>
                        <a:pt x="233" y="843"/>
                      </a:lnTo>
                      <a:lnTo>
                        <a:pt x="231" y="843"/>
                      </a:lnTo>
                      <a:lnTo>
                        <a:pt x="229" y="843"/>
                      </a:lnTo>
                      <a:lnTo>
                        <a:pt x="228" y="843"/>
                      </a:lnTo>
                      <a:lnTo>
                        <a:pt x="226" y="843"/>
                      </a:lnTo>
                      <a:lnTo>
                        <a:pt x="226" y="841"/>
                      </a:lnTo>
                      <a:lnTo>
                        <a:pt x="224" y="839"/>
                      </a:lnTo>
                      <a:lnTo>
                        <a:pt x="224" y="838"/>
                      </a:lnTo>
                      <a:lnTo>
                        <a:pt x="223" y="836"/>
                      </a:lnTo>
                      <a:lnTo>
                        <a:pt x="221" y="834"/>
                      </a:lnTo>
                      <a:lnTo>
                        <a:pt x="219" y="833"/>
                      </a:lnTo>
                      <a:lnTo>
                        <a:pt x="218" y="833"/>
                      </a:lnTo>
                      <a:lnTo>
                        <a:pt x="218" y="831"/>
                      </a:lnTo>
                      <a:lnTo>
                        <a:pt x="218" y="829"/>
                      </a:lnTo>
                      <a:lnTo>
                        <a:pt x="218" y="828"/>
                      </a:lnTo>
                      <a:lnTo>
                        <a:pt x="216" y="828"/>
                      </a:lnTo>
                      <a:lnTo>
                        <a:pt x="216" y="826"/>
                      </a:lnTo>
                      <a:lnTo>
                        <a:pt x="216" y="824"/>
                      </a:lnTo>
                      <a:lnTo>
                        <a:pt x="216" y="823"/>
                      </a:lnTo>
                      <a:lnTo>
                        <a:pt x="216" y="821"/>
                      </a:lnTo>
                      <a:lnTo>
                        <a:pt x="216" y="820"/>
                      </a:lnTo>
                      <a:lnTo>
                        <a:pt x="216" y="818"/>
                      </a:lnTo>
                      <a:lnTo>
                        <a:pt x="216" y="816"/>
                      </a:lnTo>
                      <a:lnTo>
                        <a:pt x="216" y="815"/>
                      </a:lnTo>
                      <a:lnTo>
                        <a:pt x="214" y="815"/>
                      </a:lnTo>
                      <a:lnTo>
                        <a:pt x="214" y="813"/>
                      </a:lnTo>
                      <a:lnTo>
                        <a:pt x="214" y="811"/>
                      </a:lnTo>
                      <a:lnTo>
                        <a:pt x="213" y="811"/>
                      </a:lnTo>
                      <a:lnTo>
                        <a:pt x="214" y="811"/>
                      </a:lnTo>
                      <a:lnTo>
                        <a:pt x="214" y="810"/>
                      </a:lnTo>
                      <a:lnTo>
                        <a:pt x="213" y="810"/>
                      </a:lnTo>
                      <a:lnTo>
                        <a:pt x="213" y="808"/>
                      </a:lnTo>
                      <a:lnTo>
                        <a:pt x="211" y="808"/>
                      </a:lnTo>
                      <a:lnTo>
                        <a:pt x="209" y="808"/>
                      </a:lnTo>
                      <a:lnTo>
                        <a:pt x="207" y="808"/>
                      </a:lnTo>
                      <a:lnTo>
                        <a:pt x="206" y="808"/>
                      </a:lnTo>
                      <a:lnTo>
                        <a:pt x="206" y="806"/>
                      </a:lnTo>
                      <a:lnTo>
                        <a:pt x="206" y="805"/>
                      </a:lnTo>
                      <a:lnTo>
                        <a:pt x="206" y="803"/>
                      </a:lnTo>
                      <a:lnTo>
                        <a:pt x="204" y="803"/>
                      </a:lnTo>
                      <a:lnTo>
                        <a:pt x="202" y="803"/>
                      </a:lnTo>
                      <a:lnTo>
                        <a:pt x="201" y="803"/>
                      </a:lnTo>
                      <a:lnTo>
                        <a:pt x="199" y="803"/>
                      </a:lnTo>
                      <a:lnTo>
                        <a:pt x="199" y="801"/>
                      </a:lnTo>
                      <a:lnTo>
                        <a:pt x="199" y="800"/>
                      </a:lnTo>
                      <a:lnTo>
                        <a:pt x="199" y="798"/>
                      </a:lnTo>
                      <a:lnTo>
                        <a:pt x="201" y="797"/>
                      </a:lnTo>
                      <a:lnTo>
                        <a:pt x="202" y="795"/>
                      </a:lnTo>
                      <a:lnTo>
                        <a:pt x="202" y="793"/>
                      </a:lnTo>
                      <a:lnTo>
                        <a:pt x="202" y="792"/>
                      </a:lnTo>
                      <a:lnTo>
                        <a:pt x="204" y="790"/>
                      </a:lnTo>
                      <a:lnTo>
                        <a:pt x="204" y="788"/>
                      </a:lnTo>
                      <a:lnTo>
                        <a:pt x="206" y="788"/>
                      </a:lnTo>
                      <a:lnTo>
                        <a:pt x="206" y="787"/>
                      </a:lnTo>
                      <a:lnTo>
                        <a:pt x="207" y="787"/>
                      </a:lnTo>
                      <a:lnTo>
                        <a:pt x="209" y="785"/>
                      </a:lnTo>
                      <a:lnTo>
                        <a:pt x="207" y="783"/>
                      </a:lnTo>
                      <a:lnTo>
                        <a:pt x="206" y="782"/>
                      </a:lnTo>
                      <a:lnTo>
                        <a:pt x="206" y="780"/>
                      </a:lnTo>
                      <a:lnTo>
                        <a:pt x="207" y="780"/>
                      </a:lnTo>
                      <a:lnTo>
                        <a:pt x="207" y="778"/>
                      </a:lnTo>
                      <a:lnTo>
                        <a:pt x="206" y="778"/>
                      </a:lnTo>
                      <a:lnTo>
                        <a:pt x="204" y="778"/>
                      </a:lnTo>
                      <a:lnTo>
                        <a:pt x="204" y="777"/>
                      </a:lnTo>
                      <a:lnTo>
                        <a:pt x="202" y="777"/>
                      </a:lnTo>
                      <a:lnTo>
                        <a:pt x="201" y="777"/>
                      </a:lnTo>
                      <a:lnTo>
                        <a:pt x="199" y="777"/>
                      </a:lnTo>
                      <a:lnTo>
                        <a:pt x="199" y="775"/>
                      </a:lnTo>
                      <a:lnTo>
                        <a:pt x="199" y="774"/>
                      </a:lnTo>
                      <a:lnTo>
                        <a:pt x="199" y="772"/>
                      </a:lnTo>
                      <a:lnTo>
                        <a:pt x="201" y="772"/>
                      </a:lnTo>
                      <a:lnTo>
                        <a:pt x="199" y="772"/>
                      </a:lnTo>
                      <a:lnTo>
                        <a:pt x="197" y="770"/>
                      </a:lnTo>
                      <a:lnTo>
                        <a:pt x="196" y="770"/>
                      </a:lnTo>
                      <a:lnTo>
                        <a:pt x="194" y="770"/>
                      </a:lnTo>
                      <a:lnTo>
                        <a:pt x="192" y="770"/>
                      </a:lnTo>
                      <a:lnTo>
                        <a:pt x="191" y="770"/>
                      </a:lnTo>
                      <a:lnTo>
                        <a:pt x="191" y="772"/>
                      </a:lnTo>
                      <a:lnTo>
                        <a:pt x="189" y="772"/>
                      </a:lnTo>
                      <a:lnTo>
                        <a:pt x="187" y="772"/>
                      </a:lnTo>
                      <a:lnTo>
                        <a:pt x="187" y="770"/>
                      </a:lnTo>
                      <a:lnTo>
                        <a:pt x="189" y="770"/>
                      </a:lnTo>
                      <a:lnTo>
                        <a:pt x="189" y="769"/>
                      </a:lnTo>
                      <a:lnTo>
                        <a:pt x="187" y="767"/>
                      </a:lnTo>
                      <a:lnTo>
                        <a:pt x="186" y="767"/>
                      </a:lnTo>
                      <a:lnTo>
                        <a:pt x="186" y="765"/>
                      </a:lnTo>
                      <a:lnTo>
                        <a:pt x="184" y="764"/>
                      </a:lnTo>
                      <a:lnTo>
                        <a:pt x="184" y="762"/>
                      </a:lnTo>
                      <a:lnTo>
                        <a:pt x="182" y="762"/>
                      </a:lnTo>
                      <a:lnTo>
                        <a:pt x="180" y="762"/>
                      </a:lnTo>
                      <a:lnTo>
                        <a:pt x="180" y="760"/>
                      </a:lnTo>
                      <a:lnTo>
                        <a:pt x="182" y="760"/>
                      </a:lnTo>
                      <a:lnTo>
                        <a:pt x="182" y="759"/>
                      </a:lnTo>
                      <a:lnTo>
                        <a:pt x="182" y="757"/>
                      </a:lnTo>
                      <a:lnTo>
                        <a:pt x="182" y="755"/>
                      </a:lnTo>
                      <a:lnTo>
                        <a:pt x="182" y="754"/>
                      </a:lnTo>
                      <a:lnTo>
                        <a:pt x="182" y="752"/>
                      </a:lnTo>
                      <a:lnTo>
                        <a:pt x="180" y="752"/>
                      </a:lnTo>
                      <a:lnTo>
                        <a:pt x="180" y="751"/>
                      </a:lnTo>
                      <a:lnTo>
                        <a:pt x="180" y="749"/>
                      </a:lnTo>
                      <a:lnTo>
                        <a:pt x="180" y="747"/>
                      </a:lnTo>
                      <a:lnTo>
                        <a:pt x="179" y="747"/>
                      </a:lnTo>
                      <a:lnTo>
                        <a:pt x="177" y="747"/>
                      </a:lnTo>
                      <a:lnTo>
                        <a:pt x="175" y="747"/>
                      </a:lnTo>
                      <a:lnTo>
                        <a:pt x="175" y="746"/>
                      </a:lnTo>
                      <a:lnTo>
                        <a:pt x="174" y="746"/>
                      </a:lnTo>
                      <a:lnTo>
                        <a:pt x="172" y="746"/>
                      </a:lnTo>
                      <a:lnTo>
                        <a:pt x="172" y="744"/>
                      </a:lnTo>
                      <a:lnTo>
                        <a:pt x="172" y="742"/>
                      </a:lnTo>
                      <a:lnTo>
                        <a:pt x="174" y="742"/>
                      </a:lnTo>
                      <a:lnTo>
                        <a:pt x="172" y="742"/>
                      </a:lnTo>
                      <a:lnTo>
                        <a:pt x="174" y="742"/>
                      </a:lnTo>
                      <a:lnTo>
                        <a:pt x="174" y="741"/>
                      </a:lnTo>
                      <a:lnTo>
                        <a:pt x="172" y="739"/>
                      </a:lnTo>
                      <a:lnTo>
                        <a:pt x="172" y="741"/>
                      </a:lnTo>
                      <a:lnTo>
                        <a:pt x="172" y="739"/>
                      </a:lnTo>
                      <a:lnTo>
                        <a:pt x="170" y="739"/>
                      </a:lnTo>
                      <a:lnTo>
                        <a:pt x="170" y="741"/>
                      </a:lnTo>
                      <a:lnTo>
                        <a:pt x="169" y="741"/>
                      </a:lnTo>
                      <a:lnTo>
                        <a:pt x="167" y="741"/>
                      </a:lnTo>
                      <a:lnTo>
                        <a:pt x="165" y="741"/>
                      </a:lnTo>
                      <a:lnTo>
                        <a:pt x="164" y="741"/>
                      </a:lnTo>
                      <a:lnTo>
                        <a:pt x="165" y="741"/>
                      </a:lnTo>
                      <a:lnTo>
                        <a:pt x="164" y="741"/>
                      </a:lnTo>
                      <a:lnTo>
                        <a:pt x="162" y="741"/>
                      </a:lnTo>
                      <a:lnTo>
                        <a:pt x="160" y="741"/>
                      </a:lnTo>
                      <a:lnTo>
                        <a:pt x="160" y="739"/>
                      </a:lnTo>
                      <a:lnTo>
                        <a:pt x="159" y="739"/>
                      </a:lnTo>
                      <a:lnTo>
                        <a:pt x="160" y="739"/>
                      </a:lnTo>
                      <a:lnTo>
                        <a:pt x="160" y="737"/>
                      </a:lnTo>
                      <a:lnTo>
                        <a:pt x="160" y="739"/>
                      </a:lnTo>
                      <a:lnTo>
                        <a:pt x="160" y="737"/>
                      </a:lnTo>
                      <a:lnTo>
                        <a:pt x="162" y="737"/>
                      </a:lnTo>
                      <a:lnTo>
                        <a:pt x="162" y="736"/>
                      </a:lnTo>
                      <a:lnTo>
                        <a:pt x="160" y="736"/>
                      </a:lnTo>
                      <a:lnTo>
                        <a:pt x="159" y="736"/>
                      </a:lnTo>
                      <a:lnTo>
                        <a:pt x="159" y="734"/>
                      </a:lnTo>
                      <a:lnTo>
                        <a:pt x="160" y="734"/>
                      </a:lnTo>
                      <a:lnTo>
                        <a:pt x="162" y="734"/>
                      </a:lnTo>
                      <a:lnTo>
                        <a:pt x="162" y="732"/>
                      </a:lnTo>
                      <a:lnTo>
                        <a:pt x="164" y="732"/>
                      </a:lnTo>
                      <a:lnTo>
                        <a:pt x="162" y="732"/>
                      </a:lnTo>
                      <a:lnTo>
                        <a:pt x="164" y="732"/>
                      </a:lnTo>
                      <a:lnTo>
                        <a:pt x="164" y="731"/>
                      </a:lnTo>
                      <a:lnTo>
                        <a:pt x="165" y="731"/>
                      </a:lnTo>
                      <a:lnTo>
                        <a:pt x="164" y="731"/>
                      </a:lnTo>
                      <a:lnTo>
                        <a:pt x="164" y="729"/>
                      </a:lnTo>
                      <a:lnTo>
                        <a:pt x="165" y="729"/>
                      </a:lnTo>
                      <a:lnTo>
                        <a:pt x="164" y="729"/>
                      </a:lnTo>
                      <a:lnTo>
                        <a:pt x="165" y="729"/>
                      </a:lnTo>
                      <a:lnTo>
                        <a:pt x="167" y="729"/>
                      </a:lnTo>
                      <a:lnTo>
                        <a:pt x="165" y="728"/>
                      </a:lnTo>
                      <a:lnTo>
                        <a:pt x="167" y="728"/>
                      </a:lnTo>
                      <a:lnTo>
                        <a:pt x="167" y="726"/>
                      </a:lnTo>
                      <a:lnTo>
                        <a:pt x="169" y="726"/>
                      </a:lnTo>
                      <a:lnTo>
                        <a:pt x="169" y="724"/>
                      </a:lnTo>
                      <a:lnTo>
                        <a:pt x="167" y="724"/>
                      </a:lnTo>
                      <a:lnTo>
                        <a:pt x="167" y="723"/>
                      </a:lnTo>
                      <a:lnTo>
                        <a:pt x="167" y="721"/>
                      </a:lnTo>
                      <a:lnTo>
                        <a:pt x="169" y="721"/>
                      </a:lnTo>
                      <a:lnTo>
                        <a:pt x="170" y="723"/>
                      </a:lnTo>
                      <a:lnTo>
                        <a:pt x="170" y="721"/>
                      </a:lnTo>
                      <a:lnTo>
                        <a:pt x="172" y="721"/>
                      </a:lnTo>
                      <a:lnTo>
                        <a:pt x="174" y="721"/>
                      </a:lnTo>
                      <a:lnTo>
                        <a:pt x="174" y="719"/>
                      </a:lnTo>
                      <a:lnTo>
                        <a:pt x="174" y="718"/>
                      </a:lnTo>
                      <a:lnTo>
                        <a:pt x="175" y="718"/>
                      </a:lnTo>
                      <a:lnTo>
                        <a:pt x="175" y="716"/>
                      </a:lnTo>
                      <a:lnTo>
                        <a:pt x="175" y="714"/>
                      </a:lnTo>
                      <a:lnTo>
                        <a:pt x="174" y="714"/>
                      </a:lnTo>
                      <a:lnTo>
                        <a:pt x="175" y="714"/>
                      </a:lnTo>
                      <a:lnTo>
                        <a:pt x="175" y="713"/>
                      </a:lnTo>
                      <a:lnTo>
                        <a:pt x="174" y="713"/>
                      </a:lnTo>
                      <a:lnTo>
                        <a:pt x="174" y="711"/>
                      </a:lnTo>
                      <a:lnTo>
                        <a:pt x="172" y="709"/>
                      </a:lnTo>
                      <a:lnTo>
                        <a:pt x="172" y="708"/>
                      </a:lnTo>
                      <a:lnTo>
                        <a:pt x="174" y="709"/>
                      </a:lnTo>
                      <a:lnTo>
                        <a:pt x="174" y="708"/>
                      </a:lnTo>
                      <a:lnTo>
                        <a:pt x="174" y="706"/>
                      </a:lnTo>
                      <a:lnTo>
                        <a:pt x="175" y="706"/>
                      </a:lnTo>
                      <a:lnTo>
                        <a:pt x="175" y="705"/>
                      </a:lnTo>
                      <a:lnTo>
                        <a:pt x="177" y="705"/>
                      </a:lnTo>
                      <a:lnTo>
                        <a:pt x="175" y="705"/>
                      </a:lnTo>
                      <a:lnTo>
                        <a:pt x="175" y="703"/>
                      </a:lnTo>
                      <a:lnTo>
                        <a:pt x="175" y="701"/>
                      </a:lnTo>
                      <a:lnTo>
                        <a:pt x="174" y="701"/>
                      </a:lnTo>
                      <a:lnTo>
                        <a:pt x="174" y="700"/>
                      </a:lnTo>
                      <a:lnTo>
                        <a:pt x="174" y="698"/>
                      </a:lnTo>
                      <a:lnTo>
                        <a:pt x="174" y="700"/>
                      </a:lnTo>
                      <a:lnTo>
                        <a:pt x="174" y="698"/>
                      </a:lnTo>
                      <a:lnTo>
                        <a:pt x="175" y="698"/>
                      </a:lnTo>
                      <a:lnTo>
                        <a:pt x="175" y="696"/>
                      </a:lnTo>
                      <a:lnTo>
                        <a:pt x="174" y="696"/>
                      </a:lnTo>
                      <a:lnTo>
                        <a:pt x="175" y="696"/>
                      </a:lnTo>
                      <a:lnTo>
                        <a:pt x="175" y="695"/>
                      </a:lnTo>
                      <a:lnTo>
                        <a:pt x="177" y="695"/>
                      </a:lnTo>
                      <a:lnTo>
                        <a:pt x="177" y="693"/>
                      </a:lnTo>
                      <a:lnTo>
                        <a:pt x="177" y="695"/>
                      </a:lnTo>
                      <a:lnTo>
                        <a:pt x="177" y="693"/>
                      </a:lnTo>
                      <a:lnTo>
                        <a:pt x="179" y="693"/>
                      </a:lnTo>
                      <a:lnTo>
                        <a:pt x="179" y="691"/>
                      </a:lnTo>
                      <a:lnTo>
                        <a:pt x="180" y="691"/>
                      </a:lnTo>
                      <a:lnTo>
                        <a:pt x="180" y="690"/>
                      </a:lnTo>
                      <a:lnTo>
                        <a:pt x="180" y="688"/>
                      </a:lnTo>
                      <a:lnTo>
                        <a:pt x="180" y="686"/>
                      </a:lnTo>
                      <a:lnTo>
                        <a:pt x="180" y="685"/>
                      </a:lnTo>
                      <a:lnTo>
                        <a:pt x="182" y="685"/>
                      </a:lnTo>
                      <a:lnTo>
                        <a:pt x="184" y="685"/>
                      </a:lnTo>
                      <a:lnTo>
                        <a:pt x="184" y="683"/>
                      </a:lnTo>
                      <a:lnTo>
                        <a:pt x="186" y="683"/>
                      </a:lnTo>
                      <a:lnTo>
                        <a:pt x="184" y="683"/>
                      </a:lnTo>
                      <a:lnTo>
                        <a:pt x="184" y="682"/>
                      </a:lnTo>
                      <a:lnTo>
                        <a:pt x="186" y="682"/>
                      </a:lnTo>
                      <a:lnTo>
                        <a:pt x="184" y="680"/>
                      </a:lnTo>
                      <a:lnTo>
                        <a:pt x="186" y="680"/>
                      </a:lnTo>
                      <a:lnTo>
                        <a:pt x="184" y="680"/>
                      </a:lnTo>
                      <a:lnTo>
                        <a:pt x="184" y="678"/>
                      </a:lnTo>
                      <a:lnTo>
                        <a:pt x="186" y="678"/>
                      </a:lnTo>
                      <a:lnTo>
                        <a:pt x="186" y="677"/>
                      </a:lnTo>
                      <a:lnTo>
                        <a:pt x="186" y="675"/>
                      </a:lnTo>
                      <a:lnTo>
                        <a:pt x="187" y="675"/>
                      </a:lnTo>
                      <a:lnTo>
                        <a:pt x="187" y="677"/>
                      </a:lnTo>
                      <a:lnTo>
                        <a:pt x="189" y="677"/>
                      </a:lnTo>
                      <a:lnTo>
                        <a:pt x="191" y="677"/>
                      </a:lnTo>
                      <a:lnTo>
                        <a:pt x="192" y="677"/>
                      </a:lnTo>
                      <a:lnTo>
                        <a:pt x="192" y="675"/>
                      </a:lnTo>
                      <a:lnTo>
                        <a:pt x="194" y="673"/>
                      </a:lnTo>
                      <a:lnTo>
                        <a:pt x="196" y="673"/>
                      </a:lnTo>
                      <a:lnTo>
                        <a:pt x="197" y="672"/>
                      </a:lnTo>
                      <a:lnTo>
                        <a:pt x="199" y="672"/>
                      </a:lnTo>
                      <a:lnTo>
                        <a:pt x="201" y="672"/>
                      </a:lnTo>
                      <a:lnTo>
                        <a:pt x="202" y="672"/>
                      </a:lnTo>
                      <a:lnTo>
                        <a:pt x="204" y="672"/>
                      </a:lnTo>
                      <a:lnTo>
                        <a:pt x="206" y="672"/>
                      </a:lnTo>
                      <a:lnTo>
                        <a:pt x="207" y="672"/>
                      </a:lnTo>
                      <a:lnTo>
                        <a:pt x="209" y="672"/>
                      </a:lnTo>
                      <a:lnTo>
                        <a:pt x="209" y="670"/>
                      </a:lnTo>
                      <a:lnTo>
                        <a:pt x="211" y="668"/>
                      </a:lnTo>
                      <a:lnTo>
                        <a:pt x="213" y="668"/>
                      </a:lnTo>
                      <a:lnTo>
                        <a:pt x="213" y="667"/>
                      </a:lnTo>
                      <a:lnTo>
                        <a:pt x="213" y="665"/>
                      </a:lnTo>
                      <a:lnTo>
                        <a:pt x="213" y="663"/>
                      </a:lnTo>
                      <a:lnTo>
                        <a:pt x="213" y="662"/>
                      </a:lnTo>
                      <a:lnTo>
                        <a:pt x="214" y="660"/>
                      </a:lnTo>
                      <a:lnTo>
                        <a:pt x="213" y="659"/>
                      </a:lnTo>
                      <a:lnTo>
                        <a:pt x="211" y="659"/>
                      </a:lnTo>
                      <a:lnTo>
                        <a:pt x="211" y="657"/>
                      </a:lnTo>
                      <a:lnTo>
                        <a:pt x="213" y="657"/>
                      </a:lnTo>
                      <a:lnTo>
                        <a:pt x="213" y="655"/>
                      </a:lnTo>
                      <a:lnTo>
                        <a:pt x="213" y="654"/>
                      </a:lnTo>
                      <a:lnTo>
                        <a:pt x="214" y="654"/>
                      </a:lnTo>
                      <a:lnTo>
                        <a:pt x="214" y="652"/>
                      </a:lnTo>
                      <a:lnTo>
                        <a:pt x="214" y="650"/>
                      </a:lnTo>
                      <a:lnTo>
                        <a:pt x="216" y="650"/>
                      </a:lnTo>
                      <a:lnTo>
                        <a:pt x="216" y="649"/>
                      </a:lnTo>
                      <a:lnTo>
                        <a:pt x="216" y="647"/>
                      </a:lnTo>
                      <a:lnTo>
                        <a:pt x="216" y="645"/>
                      </a:lnTo>
                      <a:lnTo>
                        <a:pt x="214" y="645"/>
                      </a:lnTo>
                      <a:lnTo>
                        <a:pt x="216" y="645"/>
                      </a:lnTo>
                      <a:lnTo>
                        <a:pt x="216" y="644"/>
                      </a:lnTo>
                      <a:lnTo>
                        <a:pt x="216" y="642"/>
                      </a:lnTo>
                      <a:lnTo>
                        <a:pt x="214" y="642"/>
                      </a:lnTo>
                      <a:lnTo>
                        <a:pt x="214" y="641"/>
                      </a:lnTo>
                      <a:lnTo>
                        <a:pt x="213" y="639"/>
                      </a:lnTo>
                      <a:lnTo>
                        <a:pt x="211" y="639"/>
                      </a:lnTo>
                      <a:lnTo>
                        <a:pt x="211" y="637"/>
                      </a:lnTo>
                      <a:lnTo>
                        <a:pt x="209" y="637"/>
                      </a:lnTo>
                      <a:lnTo>
                        <a:pt x="207" y="636"/>
                      </a:lnTo>
                      <a:lnTo>
                        <a:pt x="207" y="634"/>
                      </a:lnTo>
                      <a:lnTo>
                        <a:pt x="206" y="634"/>
                      </a:lnTo>
                      <a:lnTo>
                        <a:pt x="206" y="632"/>
                      </a:lnTo>
                      <a:lnTo>
                        <a:pt x="204" y="632"/>
                      </a:lnTo>
                      <a:lnTo>
                        <a:pt x="202" y="632"/>
                      </a:lnTo>
                      <a:lnTo>
                        <a:pt x="201" y="632"/>
                      </a:lnTo>
                      <a:lnTo>
                        <a:pt x="199" y="632"/>
                      </a:lnTo>
                      <a:lnTo>
                        <a:pt x="199" y="634"/>
                      </a:lnTo>
                      <a:lnTo>
                        <a:pt x="199" y="632"/>
                      </a:lnTo>
                      <a:lnTo>
                        <a:pt x="197" y="632"/>
                      </a:lnTo>
                      <a:lnTo>
                        <a:pt x="197" y="634"/>
                      </a:lnTo>
                      <a:lnTo>
                        <a:pt x="196" y="634"/>
                      </a:lnTo>
                      <a:lnTo>
                        <a:pt x="194" y="634"/>
                      </a:lnTo>
                      <a:lnTo>
                        <a:pt x="192" y="634"/>
                      </a:lnTo>
                      <a:lnTo>
                        <a:pt x="191" y="634"/>
                      </a:lnTo>
                      <a:lnTo>
                        <a:pt x="191" y="636"/>
                      </a:lnTo>
                      <a:lnTo>
                        <a:pt x="189" y="636"/>
                      </a:lnTo>
                      <a:lnTo>
                        <a:pt x="189" y="634"/>
                      </a:lnTo>
                      <a:lnTo>
                        <a:pt x="189" y="636"/>
                      </a:lnTo>
                      <a:lnTo>
                        <a:pt x="187" y="636"/>
                      </a:lnTo>
                      <a:lnTo>
                        <a:pt x="187" y="637"/>
                      </a:lnTo>
                      <a:lnTo>
                        <a:pt x="186" y="637"/>
                      </a:lnTo>
                      <a:lnTo>
                        <a:pt x="184" y="637"/>
                      </a:lnTo>
                      <a:lnTo>
                        <a:pt x="182" y="637"/>
                      </a:lnTo>
                      <a:lnTo>
                        <a:pt x="182" y="639"/>
                      </a:lnTo>
                      <a:lnTo>
                        <a:pt x="180" y="637"/>
                      </a:lnTo>
                      <a:lnTo>
                        <a:pt x="180" y="639"/>
                      </a:lnTo>
                      <a:lnTo>
                        <a:pt x="180" y="637"/>
                      </a:lnTo>
                      <a:lnTo>
                        <a:pt x="179" y="637"/>
                      </a:lnTo>
                      <a:lnTo>
                        <a:pt x="179" y="639"/>
                      </a:lnTo>
                      <a:lnTo>
                        <a:pt x="177" y="639"/>
                      </a:lnTo>
                      <a:lnTo>
                        <a:pt x="179" y="637"/>
                      </a:lnTo>
                      <a:lnTo>
                        <a:pt x="177" y="637"/>
                      </a:lnTo>
                      <a:lnTo>
                        <a:pt x="177" y="639"/>
                      </a:lnTo>
                      <a:lnTo>
                        <a:pt x="175" y="639"/>
                      </a:lnTo>
                      <a:lnTo>
                        <a:pt x="175" y="641"/>
                      </a:lnTo>
                      <a:lnTo>
                        <a:pt x="174" y="641"/>
                      </a:lnTo>
                      <a:lnTo>
                        <a:pt x="172" y="641"/>
                      </a:lnTo>
                      <a:lnTo>
                        <a:pt x="172" y="642"/>
                      </a:lnTo>
                      <a:lnTo>
                        <a:pt x="170" y="642"/>
                      </a:lnTo>
                      <a:lnTo>
                        <a:pt x="170" y="644"/>
                      </a:lnTo>
                      <a:lnTo>
                        <a:pt x="169" y="644"/>
                      </a:lnTo>
                      <a:lnTo>
                        <a:pt x="169" y="645"/>
                      </a:lnTo>
                      <a:lnTo>
                        <a:pt x="167" y="645"/>
                      </a:lnTo>
                      <a:lnTo>
                        <a:pt x="167" y="647"/>
                      </a:lnTo>
                      <a:lnTo>
                        <a:pt x="167" y="645"/>
                      </a:lnTo>
                      <a:lnTo>
                        <a:pt x="167" y="647"/>
                      </a:lnTo>
                      <a:lnTo>
                        <a:pt x="165" y="647"/>
                      </a:lnTo>
                      <a:lnTo>
                        <a:pt x="167" y="647"/>
                      </a:lnTo>
                      <a:lnTo>
                        <a:pt x="165" y="647"/>
                      </a:lnTo>
                      <a:lnTo>
                        <a:pt x="164" y="647"/>
                      </a:lnTo>
                      <a:lnTo>
                        <a:pt x="162" y="647"/>
                      </a:lnTo>
                      <a:lnTo>
                        <a:pt x="162" y="645"/>
                      </a:lnTo>
                      <a:lnTo>
                        <a:pt x="160" y="645"/>
                      </a:lnTo>
                      <a:lnTo>
                        <a:pt x="160" y="644"/>
                      </a:lnTo>
                      <a:lnTo>
                        <a:pt x="160" y="642"/>
                      </a:lnTo>
                      <a:lnTo>
                        <a:pt x="159" y="642"/>
                      </a:lnTo>
                      <a:lnTo>
                        <a:pt x="159" y="641"/>
                      </a:lnTo>
                      <a:lnTo>
                        <a:pt x="157" y="641"/>
                      </a:lnTo>
                      <a:lnTo>
                        <a:pt x="155" y="641"/>
                      </a:lnTo>
                      <a:lnTo>
                        <a:pt x="157" y="641"/>
                      </a:lnTo>
                      <a:lnTo>
                        <a:pt x="157" y="639"/>
                      </a:lnTo>
                      <a:lnTo>
                        <a:pt x="155" y="639"/>
                      </a:lnTo>
                      <a:lnTo>
                        <a:pt x="157" y="639"/>
                      </a:lnTo>
                      <a:lnTo>
                        <a:pt x="155" y="639"/>
                      </a:lnTo>
                      <a:lnTo>
                        <a:pt x="155" y="637"/>
                      </a:lnTo>
                      <a:lnTo>
                        <a:pt x="157" y="637"/>
                      </a:lnTo>
                      <a:lnTo>
                        <a:pt x="155" y="637"/>
                      </a:lnTo>
                      <a:lnTo>
                        <a:pt x="155" y="636"/>
                      </a:lnTo>
                      <a:lnTo>
                        <a:pt x="153" y="636"/>
                      </a:lnTo>
                      <a:lnTo>
                        <a:pt x="153" y="634"/>
                      </a:lnTo>
                      <a:lnTo>
                        <a:pt x="152" y="634"/>
                      </a:lnTo>
                      <a:lnTo>
                        <a:pt x="152" y="632"/>
                      </a:lnTo>
                      <a:lnTo>
                        <a:pt x="150" y="632"/>
                      </a:lnTo>
                      <a:lnTo>
                        <a:pt x="150" y="631"/>
                      </a:lnTo>
                      <a:lnTo>
                        <a:pt x="148" y="629"/>
                      </a:lnTo>
                      <a:lnTo>
                        <a:pt x="148" y="627"/>
                      </a:lnTo>
                      <a:lnTo>
                        <a:pt x="147" y="627"/>
                      </a:lnTo>
                      <a:lnTo>
                        <a:pt x="147" y="626"/>
                      </a:lnTo>
                      <a:lnTo>
                        <a:pt x="145" y="626"/>
                      </a:lnTo>
                      <a:lnTo>
                        <a:pt x="143" y="626"/>
                      </a:lnTo>
                      <a:lnTo>
                        <a:pt x="143" y="624"/>
                      </a:lnTo>
                      <a:lnTo>
                        <a:pt x="143" y="626"/>
                      </a:lnTo>
                      <a:lnTo>
                        <a:pt x="143" y="624"/>
                      </a:lnTo>
                      <a:lnTo>
                        <a:pt x="142" y="624"/>
                      </a:lnTo>
                      <a:lnTo>
                        <a:pt x="143" y="624"/>
                      </a:lnTo>
                      <a:lnTo>
                        <a:pt x="142" y="624"/>
                      </a:lnTo>
                      <a:lnTo>
                        <a:pt x="142" y="622"/>
                      </a:lnTo>
                      <a:lnTo>
                        <a:pt x="143" y="622"/>
                      </a:lnTo>
                      <a:lnTo>
                        <a:pt x="142" y="622"/>
                      </a:lnTo>
                      <a:lnTo>
                        <a:pt x="142" y="621"/>
                      </a:lnTo>
                      <a:lnTo>
                        <a:pt x="142" y="619"/>
                      </a:lnTo>
                      <a:lnTo>
                        <a:pt x="140" y="619"/>
                      </a:lnTo>
                      <a:lnTo>
                        <a:pt x="142" y="619"/>
                      </a:lnTo>
                      <a:lnTo>
                        <a:pt x="142" y="618"/>
                      </a:lnTo>
                      <a:lnTo>
                        <a:pt x="140" y="618"/>
                      </a:lnTo>
                      <a:lnTo>
                        <a:pt x="138" y="618"/>
                      </a:lnTo>
                      <a:lnTo>
                        <a:pt x="138" y="616"/>
                      </a:lnTo>
                      <a:lnTo>
                        <a:pt x="138" y="618"/>
                      </a:lnTo>
                      <a:lnTo>
                        <a:pt x="137" y="618"/>
                      </a:lnTo>
                      <a:lnTo>
                        <a:pt x="137" y="616"/>
                      </a:lnTo>
                      <a:lnTo>
                        <a:pt x="137" y="614"/>
                      </a:lnTo>
                      <a:lnTo>
                        <a:pt x="137" y="613"/>
                      </a:lnTo>
                      <a:lnTo>
                        <a:pt x="135" y="613"/>
                      </a:lnTo>
                      <a:lnTo>
                        <a:pt x="135" y="611"/>
                      </a:lnTo>
                      <a:lnTo>
                        <a:pt x="133" y="611"/>
                      </a:lnTo>
                      <a:lnTo>
                        <a:pt x="135" y="611"/>
                      </a:lnTo>
                      <a:lnTo>
                        <a:pt x="137" y="611"/>
                      </a:lnTo>
                      <a:lnTo>
                        <a:pt x="135" y="611"/>
                      </a:lnTo>
                      <a:lnTo>
                        <a:pt x="135" y="609"/>
                      </a:lnTo>
                      <a:lnTo>
                        <a:pt x="133" y="608"/>
                      </a:lnTo>
                      <a:lnTo>
                        <a:pt x="133" y="606"/>
                      </a:lnTo>
                      <a:lnTo>
                        <a:pt x="131" y="606"/>
                      </a:lnTo>
                      <a:lnTo>
                        <a:pt x="130" y="606"/>
                      </a:lnTo>
                      <a:lnTo>
                        <a:pt x="130" y="608"/>
                      </a:lnTo>
                      <a:lnTo>
                        <a:pt x="131" y="608"/>
                      </a:lnTo>
                      <a:lnTo>
                        <a:pt x="131" y="609"/>
                      </a:lnTo>
                      <a:lnTo>
                        <a:pt x="133" y="609"/>
                      </a:lnTo>
                      <a:lnTo>
                        <a:pt x="131" y="609"/>
                      </a:lnTo>
                      <a:lnTo>
                        <a:pt x="130" y="609"/>
                      </a:lnTo>
                      <a:lnTo>
                        <a:pt x="130" y="608"/>
                      </a:lnTo>
                      <a:lnTo>
                        <a:pt x="130" y="606"/>
                      </a:lnTo>
                      <a:lnTo>
                        <a:pt x="130" y="604"/>
                      </a:lnTo>
                      <a:lnTo>
                        <a:pt x="128" y="604"/>
                      </a:lnTo>
                      <a:lnTo>
                        <a:pt x="128" y="603"/>
                      </a:lnTo>
                      <a:lnTo>
                        <a:pt x="128" y="601"/>
                      </a:lnTo>
                      <a:lnTo>
                        <a:pt x="126" y="601"/>
                      </a:lnTo>
                      <a:lnTo>
                        <a:pt x="125" y="601"/>
                      </a:lnTo>
                      <a:lnTo>
                        <a:pt x="125" y="599"/>
                      </a:lnTo>
                      <a:lnTo>
                        <a:pt x="125" y="598"/>
                      </a:lnTo>
                      <a:lnTo>
                        <a:pt x="123" y="598"/>
                      </a:lnTo>
                      <a:lnTo>
                        <a:pt x="121" y="598"/>
                      </a:lnTo>
                      <a:lnTo>
                        <a:pt x="121" y="599"/>
                      </a:lnTo>
                      <a:lnTo>
                        <a:pt x="121" y="598"/>
                      </a:lnTo>
                      <a:lnTo>
                        <a:pt x="120" y="598"/>
                      </a:lnTo>
                      <a:lnTo>
                        <a:pt x="120" y="596"/>
                      </a:lnTo>
                      <a:lnTo>
                        <a:pt x="120" y="595"/>
                      </a:lnTo>
                      <a:lnTo>
                        <a:pt x="118" y="595"/>
                      </a:lnTo>
                      <a:lnTo>
                        <a:pt x="118" y="593"/>
                      </a:lnTo>
                      <a:lnTo>
                        <a:pt x="118" y="591"/>
                      </a:lnTo>
                      <a:lnTo>
                        <a:pt x="118" y="590"/>
                      </a:lnTo>
                      <a:lnTo>
                        <a:pt x="116" y="590"/>
                      </a:lnTo>
                      <a:lnTo>
                        <a:pt x="115" y="590"/>
                      </a:lnTo>
                      <a:lnTo>
                        <a:pt x="113" y="590"/>
                      </a:lnTo>
                      <a:lnTo>
                        <a:pt x="113" y="591"/>
                      </a:lnTo>
                      <a:lnTo>
                        <a:pt x="111" y="591"/>
                      </a:lnTo>
                      <a:lnTo>
                        <a:pt x="111" y="590"/>
                      </a:lnTo>
                      <a:lnTo>
                        <a:pt x="110" y="590"/>
                      </a:lnTo>
                      <a:lnTo>
                        <a:pt x="110" y="588"/>
                      </a:lnTo>
                      <a:lnTo>
                        <a:pt x="111" y="588"/>
                      </a:lnTo>
                      <a:lnTo>
                        <a:pt x="113" y="586"/>
                      </a:lnTo>
                      <a:lnTo>
                        <a:pt x="115" y="586"/>
                      </a:lnTo>
                      <a:lnTo>
                        <a:pt x="116" y="586"/>
                      </a:lnTo>
                      <a:lnTo>
                        <a:pt x="118" y="585"/>
                      </a:lnTo>
                      <a:lnTo>
                        <a:pt x="120" y="583"/>
                      </a:lnTo>
                      <a:lnTo>
                        <a:pt x="120" y="581"/>
                      </a:lnTo>
                      <a:lnTo>
                        <a:pt x="120" y="580"/>
                      </a:lnTo>
                      <a:lnTo>
                        <a:pt x="120" y="578"/>
                      </a:lnTo>
                      <a:lnTo>
                        <a:pt x="118" y="576"/>
                      </a:lnTo>
                      <a:lnTo>
                        <a:pt x="116" y="575"/>
                      </a:lnTo>
                      <a:lnTo>
                        <a:pt x="115" y="575"/>
                      </a:lnTo>
                      <a:lnTo>
                        <a:pt x="115" y="573"/>
                      </a:lnTo>
                      <a:lnTo>
                        <a:pt x="113" y="573"/>
                      </a:lnTo>
                      <a:lnTo>
                        <a:pt x="111" y="573"/>
                      </a:lnTo>
                      <a:lnTo>
                        <a:pt x="110" y="573"/>
                      </a:lnTo>
                      <a:lnTo>
                        <a:pt x="110" y="575"/>
                      </a:lnTo>
                      <a:lnTo>
                        <a:pt x="108" y="575"/>
                      </a:lnTo>
                      <a:lnTo>
                        <a:pt x="108" y="576"/>
                      </a:lnTo>
                      <a:lnTo>
                        <a:pt x="106" y="576"/>
                      </a:lnTo>
                      <a:lnTo>
                        <a:pt x="106" y="578"/>
                      </a:lnTo>
                      <a:lnTo>
                        <a:pt x="104" y="578"/>
                      </a:lnTo>
                      <a:lnTo>
                        <a:pt x="104" y="576"/>
                      </a:lnTo>
                      <a:lnTo>
                        <a:pt x="103" y="576"/>
                      </a:lnTo>
                      <a:lnTo>
                        <a:pt x="103" y="575"/>
                      </a:lnTo>
                      <a:lnTo>
                        <a:pt x="101" y="573"/>
                      </a:lnTo>
                      <a:lnTo>
                        <a:pt x="99" y="572"/>
                      </a:lnTo>
                      <a:lnTo>
                        <a:pt x="98" y="570"/>
                      </a:lnTo>
                      <a:lnTo>
                        <a:pt x="96" y="570"/>
                      </a:lnTo>
                      <a:lnTo>
                        <a:pt x="94" y="568"/>
                      </a:lnTo>
                      <a:lnTo>
                        <a:pt x="94" y="567"/>
                      </a:lnTo>
                      <a:lnTo>
                        <a:pt x="94" y="565"/>
                      </a:lnTo>
                      <a:lnTo>
                        <a:pt x="96" y="563"/>
                      </a:lnTo>
                      <a:lnTo>
                        <a:pt x="98" y="562"/>
                      </a:lnTo>
                      <a:lnTo>
                        <a:pt x="99" y="562"/>
                      </a:lnTo>
                      <a:lnTo>
                        <a:pt x="101" y="563"/>
                      </a:lnTo>
                      <a:lnTo>
                        <a:pt x="103" y="563"/>
                      </a:lnTo>
                      <a:lnTo>
                        <a:pt x="104" y="563"/>
                      </a:lnTo>
                      <a:lnTo>
                        <a:pt x="104" y="562"/>
                      </a:lnTo>
                      <a:lnTo>
                        <a:pt x="106" y="562"/>
                      </a:lnTo>
                      <a:lnTo>
                        <a:pt x="106" y="560"/>
                      </a:lnTo>
                      <a:lnTo>
                        <a:pt x="108" y="558"/>
                      </a:lnTo>
                      <a:lnTo>
                        <a:pt x="108" y="557"/>
                      </a:lnTo>
                      <a:lnTo>
                        <a:pt x="110" y="555"/>
                      </a:lnTo>
                      <a:lnTo>
                        <a:pt x="110" y="553"/>
                      </a:lnTo>
                      <a:lnTo>
                        <a:pt x="110" y="552"/>
                      </a:lnTo>
                      <a:lnTo>
                        <a:pt x="111" y="552"/>
                      </a:lnTo>
                      <a:lnTo>
                        <a:pt x="111" y="550"/>
                      </a:lnTo>
                      <a:lnTo>
                        <a:pt x="113" y="550"/>
                      </a:lnTo>
                      <a:lnTo>
                        <a:pt x="115" y="549"/>
                      </a:lnTo>
                      <a:lnTo>
                        <a:pt x="115" y="547"/>
                      </a:lnTo>
                      <a:lnTo>
                        <a:pt x="116" y="547"/>
                      </a:lnTo>
                      <a:lnTo>
                        <a:pt x="115" y="545"/>
                      </a:lnTo>
                      <a:lnTo>
                        <a:pt x="116" y="545"/>
                      </a:lnTo>
                      <a:lnTo>
                        <a:pt x="116" y="544"/>
                      </a:lnTo>
                      <a:lnTo>
                        <a:pt x="116" y="542"/>
                      </a:lnTo>
                      <a:lnTo>
                        <a:pt x="118" y="540"/>
                      </a:lnTo>
                      <a:lnTo>
                        <a:pt x="118" y="539"/>
                      </a:lnTo>
                      <a:lnTo>
                        <a:pt x="118" y="537"/>
                      </a:lnTo>
                      <a:lnTo>
                        <a:pt x="116" y="535"/>
                      </a:lnTo>
                      <a:lnTo>
                        <a:pt x="116" y="534"/>
                      </a:lnTo>
                      <a:lnTo>
                        <a:pt x="116" y="532"/>
                      </a:lnTo>
                      <a:lnTo>
                        <a:pt x="116" y="530"/>
                      </a:lnTo>
                      <a:lnTo>
                        <a:pt x="118" y="527"/>
                      </a:lnTo>
                      <a:lnTo>
                        <a:pt x="120" y="527"/>
                      </a:lnTo>
                      <a:lnTo>
                        <a:pt x="120" y="526"/>
                      </a:lnTo>
                      <a:lnTo>
                        <a:pt x="118" y="526"/>
                      </a:lnTo>
                      <a:lnTo>
                        <a:pt x="118" y="524"/>
                      </a:lnTo>
                      <a:lnTo>
                        <a:pt x="118" y="522"/>
                      </a:lnTo>
                      <a:lnTo>
                        <a:pt x="120" y="521"/>
                      </a:lnTo>
                      <a:lnTo>
                        <a:pt x="118" y="519"/>
                      </a:lnTo>
                      <a:lnTo>
                        <a:pt x="120" y="517"/>
                      </a:lnTo>
                      <a:lnTo>
                        <a:pt x="121" y="516"/>
                      </a:lnTo>
                      <a:lnTo>
                        <a:pt x="121" y="514"/>
                      </a:lnTo>
                      <a:lnTo>
                        <a:pt x="121" y="512"/>
                      </a:lnTo>
                      <a:lnTo>
                        <a:pt x="121" y="511"/>
                      </a:lnTo>
                      <a:lnTo>
                        <a:pt x="121" y="509"/>
                      </a:lnTo>
                      <a:lnTo>
                        <a:pt x="123" y="509"/>
                      </a:lnTo>
                      <a:lnTo>
                        <a:pt x="123" y="507"/>
                      </a:lnTo>
                      <a:lnTo>
                        <a:pt x="123" y="504"/>
                      </a:lnTo>
                      <a:lnTo>
                        <a:pt x="125" y="504"/>
                      </a:lnTo>
                      <a:lnTo>
                        <a:pt x="125" y="503"/>
                      </a:lnTo>
                      <a:lnTo>
                        <a:pt x="126" y="503"/>
                      </a:lnTo>
                      <a:lnTo>
                        <a:pt x="126" y="501"/>
                      </a:lnTo>
                      <a:lnTo>
                        <a:pt x="125" y="498"/>
                      </a:lnTo>
                      <a:lnTo>
                        <a:pt x="126" y="494"/>
                      </a:lnTo>
                      <a:lnTo>
                        <a:pt x="126" y="493"/>
                      </a:lnTo>
                      <a:lnTo>
                        <a:pt x="126" y="491"/>
                      </a:lnTo>
                      <a:lnTo>
                        <a:pt x="126" y="489"/>
                      </a:lnTo>
                      <a:lnTo>
                        <a:pt x="126" y="488"/>
                      </a:lnTo>
                      <a:lnTo>
                        <a:pt x="128" y="486"/>
                      </a:lnTo>
                      <a:lnTo>
                        <a:pt x="130" y="483"/>
                      </a:lnTo>
                      <a:lnTo>
                        <a:pt x="130" y="481"/>
                      </a:lnTo>
                      <a:lnTo>
                        <a:pt x="130" y="480"/>
                      </a:lnTo>
                      <a:lnTo>
                        <a:pt x="130" y="478"/>
                      </a:lnTo>
                      <a:lnTo>
                        <a:pt x="128" y="478"/>
                      </a:lnTo>
                      <a:lnTo>
                        <a:pt x="128" y="476"/>
                      </a:lnTo>
                      <a:lnTo>
                        <a:pt x="126" y="473"/>
                      </a:lnTo>
                      <a:lnTo>
                        <a:pt x="125" y="471"/>
                      </a:lnTo>
                      <a:lnTo>
                        <a:pt x="125" y="470"/>
                      </a:lnTo>
                      <a:lnTo>
                        <a:pt x="125" y="466"/>
                      </a:lnTo>
                      <a:lnTo>
                        <a:pt x="125" y="465"/>
                      </a:lnTo>
                      <a:lnTo>
                        <a:pt x="125" y="463"/>
                      </a:lnTo>
                      <a:lnTo>
                        <a:pt x="125" y="461"/>
                      </a:lnTo>
                      <a:lnTo>
                        <a:pt x="125" y="460"/>
                      </a:lnTo>
                      <a:lnTo>
                        <a:pt x="125" y="458"/>
                      </a:lnTo>
                      <a:lnTo>
                        <a:pt x="123" y="457"/>
                      </a:lnTo>
                      <a:lnTo>
                        <a:pt x="123" y="455"/>
                      </a:lnTo>
                      <a:lnTo>
                        <a:pt x="125" y="455"/>
                      </a:lnTo>
                      <a:lnTo>
                        <a:pt x="125" y="453"/>
                      </a:lnTo>
                      <a:lnTo>
                        <a:pt x="125" y="452"/>
                      </a:lnTo>
                      <a:lnTo>
                        <a:pt x="125" y="450"/>
                      </a:lnTo>
                      <a:lnTo>
                        <a:pt x="125" y="447"/>
                      </a:lnTo>
                      <a:lnTo>
                        <a:pt x="125" y="445"/>
                      </a:lnTo>
                      <a:lnTo>
                        <a:pt x="125" y="443"/>
                      </a:lnTo>
                      <a:lnTo>
                        <a:pt x="123" y="442"/>
                      </a:lnTo>
                      <a:lnTo>
                        <a:pt x="123" y="440"/>
                      </a:lnTo>
                      <a:lnTo>
                        <a:pt x="123" y="439"/>
                      </a:lnTo>
                      <a:lnTo>
                        <a:pt x="121" y="437"/>
                      </a:lnTo>
                      <a:lnTo>
                        <a:pt x="121" y="435"/>
                      </a:lnTo>
                      <a:lnTo>
                        <a:pt x="120" y="435"/>
                      </a:lnTo>
                      <a:lnTo>
                        <a:pt x="120" y="434"/>
                      </a:lnTo>
                      <a:lnTo>
                        <a:pt x="118" y="434"/>
                      </a:lnTo>
                      <a:lnTo>
                        <a:pt x="118" y="432"/>
                      </a:lnTo>
                      <a:lnTo>
                        <a:pt x="120" y="430"/>
                      </a:lnTo>
                      <a:lnTo>
                        <a:pt x="120" y="429"/>
                      </a:lnTo>
                      <a:lnTo>
                        <a:pt x="121" y="425"/>
                      </a:lnTo>
                      <a:lnTo>
                        <a:pt x="120" y="424"/>
                      </a:lnTo>
                      <a:lnTo>
                        <a:pt x="120" y="422"/>
                      </a:lnTo>
                      <a:lnTo>
                        <a:pt x="120" y="420"/>
                      </a:lnTo>
                      <a:lnTo>
                        <a:pt x="120" y="419"/>
                      </a:lnTo>
                      <a:lnTo>
                        <a:pt x="120" y="417"/>
                      </a:lnTo>
                      <a:lnTo>
                        <a:pt x="120" y="416"/>
                      </a:lnTo>
                      <a:lnTo>
                        <a:pt x="118" y="414"/>
                      </a:lnTo>
                      <a:lnTo>
                        <a:pt x="116" y="412"/>
                      </a:lnTo>
                      <a:lnTo>
                        <a:pt x="116" y="411"/>
                      </a:lnTo>
                      <a:lnTo>
                        <a:pt x="115" y="409"/>
                      </a:lnTo>
                      <a:lnTo>
                        <a:pt x="113" y="409"/>
                      </a:lnTo>
                      <a:lnTo>
                        <a:pt x="113" y="407"/>
                      </a:lnTo>
                      <a:lnTo>
                        <a:pt x="111" y="407"/>
                      </a:lnTo>
                      <a:lnTo>
                        <a:pt x="111" y="409"/>
                      </a:lnTo>
                      <a:lnTo>
                        <a:pt x="110" y="407"/>
                      </a:lnTo>
                      <a:lnTo>
                        <a:pt x="108" y="407"/>
                      </a:lnTo>
                      <a:lnTo>
                        <a:pt x="106" y="407"/>
                      </a:lnTo>
                      <a:lnTo>
                        <a:pt x="104" y="406"/>
                      </a:lnTo>
                      <a:lnTo>
                        <a:pt x="103" y="404"/>
                      </a:lnTo>
                      <a:lnTo>
                        <a:pt x="101" y="404"/>
                      </a:lnTo>
                      <a:lnTo>
                        <a:pt x="101" y="402"/>
                      </a:lnTo>
                      <a:lnTo>
                        <a:pt x="98" y="401"/>
                      </a:lnTo>
                      <a:lnTo>
                        <a:pt x="96" y="401"/>
                      </a:lnTo>
                      <a:lnTo>
                        <a:pt x="94" y="401"/>
                      </a:lnTo>
                      <a:lnTo>
                        <a:pt x="94" y="399"/>
                      </a:lnTo>
                      <a:lnTo>
                        <a:pt x="93" y="399"/>
                      </a:lnTo>
                      <a:lnTo>
                        <a:pt x="93" y="401"/>
                      </a:lnTo>
                      <a:lnTo>
                        <a:pt x="91" y="401"/>
                      </a:lnTo>
                      <a:lnTo>
                        <a:pt x="89" y="401"/>
                      </a:lnTo>
                      <a:lnTo>
                        <a:pt x="88" y="401"/>
                      </a:lnTo>
                      <a:lnTo>
                        <a:pt x="86" y="401"/>
                      </a:lnTo>
                      <a:lnTo>
                        <a:pt x="86" y="399"/>
                      </a:lnTo>
                      <a:lnTo>
                        <a:pt x="84" y="397"/>
                      </a:lnTo>
                      <a:lnTo>
                        <a:pt x="84" y="396"/>
                      </a:lnTo>
                      <a:lnTo>
                        <a:pt x="83" y="396"/>
                      </a:lnTo>
                      <a:lnTo>
                        <a:pt x="84" y="394"/>
                      </a:lnTo>
                      <a:lnTo>
                        <a:pt x="84" y="393"/>
                      </a:lnTo>
                      <a:lnTo>
                        <a:pt x="83" y="391"/>
                      </a:lnTo>
                      <a:lnTo>
                        <a:pt x="83" y="389"/>
                      </a:lnTo>
                      <a:lnTo>
                        <a:pt x="79" y="388"/>
                      </a:lnTo>
                      <a:lnTo>
                        <a:pt x="77" y="388"/>
                      </a:lnTo>
                      <a:lnTo>
                        <a:pt x="76" y="388"/>
                      </a:lnTo>
                      <a:lnTo>
                        <a:pt x="74" y="388"/>
                      </a:lnTo>
                      <a:lnTo>
                        <a:pt x="72" y="386"/>
                      </a:lnTo>
                      <a:lnTo>
                        <a:pt x="71" y="386"/>
                      </a:lnTo>
                      <a:lnTo>
                        <a:pt x="69" y="388"/>
                      </a:lnTo>
                      <a:lnTo>
                        <a:pt x="67" y="388"/>
                      </a:lnTo>
                      <a:lnTo>
                        <a:pt x="67" y="389"/>
                      </a:lnTo>
                      <a:lnTo>
                        <a:pt x="66" y="389"/>
                      </a:lnTo>
                      <a:lnTo>
                        <a:pt x="64" y="391"/>
                      </a:lnTo>
                      <a:lnTo>
                        <a:pt x="62" y="391"/>
                      </a:lnTo>
                      <a:lnTo>
                        <a:pt x="61" y="389"/>
                      </a:lnTo>
                      <a:lnTo>
                        <a:pt x="57" y="389"/>
                      </a:lnTo>
                      <a:lnTo>
                        <a:pt x="54" y="389"/>
                      </a:lnTo>
                      <a:lnTo>
                        <a:pt x="52" y="388"/>
                      </a:lnTo>
                      <a:lnTo>
                        <a:pt x="50" y="388"/>
                      </a:lnTo>
                      <a:lnTo>
                        <a:pt x="49" y="386"/>
                      </a:lnTo>
                      <a:lnTo>
                        <a:pt x="47" y="386"/>
                      </a:lnTo>
                      <a:lnTo>
                        <a:pt x="45" y="384"/>
                      </a:lnTo>
                      <a:lnTo>
                        <a:pt x="44" y="384"/>
                      </a:lnTo>
                      <a:lnTo>
                        <a:pt x="42" y="384"/>
                      </a:lnTo>
                      <a:lnTo>
                        <a:pt x="40" y="384"/>
                      </a:lnTo>
                      <a:lnTo>
                        <a:pt x="40" y="383"/>
                      </a:lnTo>
                      <a:lnTo>
                        <a:pt x="39" y="383"/>
                      </a:lnTo>
                      <a:lnTo>
                        <a:pt x="37" y="381"/>
                      </a:lnTo>
                      <a:lnTo>
                        <a:pt x="35" y="381"/>
                      </a:lnTo>
                      <a:lnTo>
                        <a:pt x="34" y="381"/>
                      </a:lnTo>
                      <a:lnTo>
                        <a:pt x="32" y="381"/>
                      </a:lnTo>
                      <a:lnTo>
                        <a:pt x="28" y="383"/>
                      </a:lnTo>
                      <a:lnTo>
                        <a:pt x="27" y="383"/>
                      </a:lnTo>
                      <a:lnTo>
                        <a:pt x="25" y="383"/>
                      </a:lnTo>
                      <a:lnTo>
                        <a:pt x="23" y="383"/>
                      </a:lnTo>
                      <a:lnTo>
                        <a:pt x="22" y="383"/>
                      </a:lnTo>
                      <a:lnTo>
                        <a:pt x="20" y="383"/>
                      </a:lnTo>
                      <a:lnTo>
                        <a:pt x="20" y="384"/>
                      </a:lnTo>
                      <a:lnTo>
                        <a:pt x="18" y="384"/>
                      </a:lnTo>
                      <a:lnTo>
                        <a:pt x="18" y="386"/>
                      </a:lnTo>
                      <a:lnTo>
                        <a:pt x="18" y="388"/>
                      </a:lnTo>
                      <a:lnTo>
                        <a:pt x="17" y="389"/>
                      </a:lnTo>
                      <a:lnTo>
                        <a:pt x="17" y="391"/>
                      </a:lnTo>
                      <a:lnTo>
                        <a:pt x="15" y="394"/>
                      </a:lnTo>
                      <a:lnTo>
                        <a:pt x="13" y="396"/>
                      </a:lnTo>
                      <a:lnTo>
                        <a:pt x="12" y="396"/>
                      </a:lnTo>
                      <a:lnTo>
                        <a:pt x="10" y="394"/>
                      </a:lnTo>
                      <a:lnTo>
                        <a:pt x="8" y="393"/>
                      </a:lnTo>
                      <a:lnTo>
                        <a:pt x="7" y="393"/>
                      </a:lnTo>
                      <a:lnTo>
                        <a:pt x="5" y="394"/>
                      </a:lnTo>
                      <a:lnTo>
                        <a:pt x="5" y="396"/>
                      </a:lnTo>
                      <a:lnTo>
                        <a:pt x="5" y="397"/>
                      </a:lnTo>
                      <a:lnTo>
                        <a:pt x="3" y="397"/>
                      </a:lnTo>
                      <a:lnTo>
                        <a:pt x="1" y="397"/>
                      </a:lnTo>
                      <a:lnTo>
                        <a:pt x="0" y="397"/>
                      </a:lnTo>
                      <a:lnTo>
                        <a:pt x="23" y="378"/>
                      </a:lnTo>
                      <a:lnTo>
                        <a:pt x="27" y="376"/>
                      </a:lnTo>
                      <a:lnTo>
                        <a:pt x="28" y="376"/>
                      </a:lnTo>
                      <a:lnTo>
                        <a:pt x="28" y="374"/>
                      </a:lnTo>
                      <a:lnTo>
                        <a:pt x="30" y="374"/>
                      </a:lnTo>
                      <a:lnTo>
                        <a:pt x="30" y="373"/>
                      </a:lnTo>
                      <a:lnTo>
                        <a:pt x="30" y="371"/>
                      </a:lnTo>
                      <a:lnTo>
                        <a:pt x="32" y="373"/>
                      </a:lnTo>
                      <a:lnTo>
                        <a:pt x="34" y="371"/>
                      </a:lnTo>
                      <a:lnTo>
                        <a:pt x="35" y="370"/>
                      </a:lnTo>
                      <a:lnTo>
                        <a:pt x="40" y="366"/>
                      </a:lnTo>
                      <a:lnTo>
                        <a:pt x="52" y="356"/>
                      </a:lnTo>
                      <a:lnTo>
                        <a:pt x="69" y="345"/>
                      </a:lnTo>
                      <a:lnTo>
                        <a:pt x="71" y="343"/>
                      </a:lnTo>
                      <a:lnTo>
                        <a:pt x="88" y="330"/>
                      </a:lnTo>
                      <a:lnTo>
                        <a:pt x="89" y="328"/>
                      </a:lnTo>
                      <a:lnTo>
                        <a:pt x="91" y="327"/>
                      </a:lnTo>
                      <a:lnTo>
                        <a:pt x="93" y="327"/>
                      </a:lnTo>
                      <a:lnTo>
                        <a:pt x="94" y="327"/>
                      </a:lnTo>
                      <a:lnTo>
                        <a:pt x="94" y="328"/>
                      </a:lnTo>
                      <a:lnTo>
                        <a:pt x="96" y="328"/>
                      </a:lnTo>
                      <a:lnTo>
                        <a:pt x="98" y="328"/>
                      </a:lnTo>
                      <a:lnTo>
                        <a:pt x="99" y="328"/>
                      </a:lnTo>
                      <a:lnTo>
                        <a:pt x="101" y="328"/>
                      </a:lnTo>
                      <a:lnTo>
                        <a:pt x="103" y="328"/>
                      </a:lnTo>
                      <a:lnTo>
                        <a:pt x="103" y="327"/>
                      </a:lnTo>
                      <a:lnTo>
                        <a:pt x="104" y="327"/>
                      </a:lnTo>
                      <a:lnTo>
                        <a:pt x="106" y="325"/>
                      </a:lnTo>
                      <a:lnTo>
                        <a:pt x="108" y="325"/>
                      </a:lnTo>
                      <a:lnTo>
                        <a:pt x="108" y="324"/>
                      </a:lnTo>
                      <a:lnTo>
                        <a:pt x="110" y="322"/>
                      </a:lnTo>
                      <a:lnTo>
                        <a:pt x="111" y="320"/>
                      </a:lnTo>
                      <a:lnTo>
                        <a:pt x="111" y="319"/>
                      </a:lnTo>
                      <a:lnTo>
                        <a:pt x="111" y="317"/>
                      </a:lnTo>
                      <a:lnTo>
                        <a:pt x="113" y="317"/>
                      </a:lnTo>
                      <a:lnTo>
                        <a:pt x="113" y="315"/>
                      </a:lnTo>
                      <a:lnTo>
                        <a:pt x="115" y="314"/>
                      </a:lnTo>
                      <a:lnTo>
                        <a:pt x="116" y="312"/>
                      </a:lnTo>
                      <a:lnTo>
                        <a:pt x="118" y="310"/>
                      </a:lnTo>
                      <a:lnTo>
                        <a:pt x="118" y="309"/>
                      </a:lnTo>
                      <a:lnTo>
                        <a:pt x="120" y="307"/>
                      </a:lnTo>
                      <a:lnTo>
                        <a:pt x="120" y="305"/>
                      </a:lnTo>
                      <a:lnTo>
                        <a:pt x="121" y="305"/>
                      </a:lnTo>
                      <a:lnTo>
                        <a:pt x="120" y="305"/>
                      </a:lnTo>
                      <a:lnTo>
                        <a:pt x="121" y="304"/>
                      </a:lnTo>
                      <a:lnTo>
                        <a:pt x="120" y="304"/>
                      </a:lnTo>
                      <a:lnTo>
                        <a:pt x="120" y="302"/>
                      </a:lnTo>
                      <a:lnTo>
                        <a:pt x="121" y="302"/>
                      </a:lnTo>
                      <a:lnTo>
                        <a:pt x="121" y="301"/>
                      </a:lnTo>
                      <a:lnTo>
                        <a:pt x="123" y="301"/>
                      </a:lnTo>
                      <a:lnTo>
                        <a:pt x="123" y="299"/>
                      </a:lnTo>
                      <a:lnTo>
                        <a:pt x="125" y="299"/>
                      </a:lnTo>
                      <a:lnTo>
                        <a:pt x="126" y="299"/>
                      </a:lnTo>
                      <a:lnTo>
                        <a:pt x="126" y="297"/>
                      </a:lnTo>
                      <a:lnTo>
                        <a:pt x="128" y="297"/>
                      </a:lnTo>
                      <a:lnTo>
                        <a:pt x="128" y="296"/>
                      </a:lnTo>
                      <a:lnTo>
                        <a:pt x="130" y="296"/>
                      </a:lnTo>
                      <a:lnTo>
                        <a:pt x="130" y="294"/>
                      </a:lnTo>
                      <a:lnTo>
                        <a:pt x="130" y="292"/>
                      </a:lnTo>
                      <a:lnTo>
                        <a:pt x="131" y="292"/>
                      </a:lnTo>
                      <a:lnTo>
                        <a:pt x="131" y="291"/>
                      </a:lnTo>
                      <a:lnTo>
                        <a:pt x="131" y="289"/>
                      </a:lnTo>
                      <a:lnTo>
                        <a:pt x="133" y="289"/>
                      </a:lnTo>
                      <a:lnTo>
                        <a:pt x="133" y="287"/>
                      </a:lnTo>
                      <a:lnTo>
                        <a:pt x="133" y="286"/>
                      </a:lnTo>
                      <a:lnTo>
                        <a:pt x="133" y="284"/>
                      </a:lnTo>
                      <a:lnTo>
                        <a:pt x="133" y="282"/>
                      </a:lnTo>
                      <a:lnTo>
                        <a:pt x="135" y="281"/>
                      </a:lnTo>
                      <a:lnTo>
                        <a:pt x="133" y="281"/>
                      </a:lnTo>
                      <a:lnTo>
                        <a:pt x="135" y="279"/>
                      </a:lnTo>
                      <a:lnTo>
                        <a:pt x="135" y="278"/>
                      </a:lnTo>
                      <a:lnTo>
                        <a:pt x="137" y="278"/>
                      </a:lnTo>
                      <a:lnTo>
                        <a:pt x="138" y="278"/>
                      </a:lnTo>
                      <a:lnTo>
                        <a:pt x="138" y="276"/>
                      </a:lnTo>
                      <a:lnTo>
                        <a:pt x="138" y="278"/>
                      </a:lnTo>
                      <a:lnTo>
                        <a:pt x="138" y="276"/>
                      </a:lnTo>
                      <a:lnTo>
                        <a:pt x="140" y="276"/>
                      </a:lnTo>
                      <a:lnTo>
                        <a:pt x="142" y="274"/>
                      </a:lnTo>
                      <a:lnTo>
                        <a:pt x="143" y="274"/>
                      </a:lnTo>
                      <a:lnTo>
                        <a:pt x="143" y="273"/>
                      </a:lnTo>
                      <a:lnTo>
                        <a:pt x="145" y="273"/>
                      </a:lnTo>
                      <a:lnTo>
                        <a:pt x="145" y="271"/>
                      </a:lnTo>
                      <a:lnTo>
                        <a:pt x="147" y="271"/>
                      </a:lnTo>
                      <a:lnTo>
                        <a:pt x="147" y="269"/>
                      </a:lnTo>
                      <a:lnTo>
                        <a:pt x="147" y="271"/>
                      </a:lnTo>
                      <a:lnTo>
                        <a:pt x="148" y="269"/>
                      </a:lnTo>
                      <a:lnTo>
                        <a:pt x="148" y="268"/>
                      </a:lnTo>
                      <a:lnTo>
                        <a:pt x="150" y="268"/>
                      </a:lnTo>
                      <a:lnTo>
                        <a:pt x="150" y="266"/>
                      </a:lnTo>
                      <a:lnTo>
                        <a:pt x="150" y="264"/>
                      </a:lnTo>
                      <a:lnTo>
                        <a:pt x="152" y="263"/>
                      </a:lnTo>
                      <a:lnTo>
                        <a:pt x="152" y="264"/>
                      </a:lnTo>
                      <a:lnTo>
                        <a:pt x="153" y="263"/>
                      </a:lnTo>
                      <a:lnTo>
                        <a:pt x="153" y="261"/>
                      </a:lnTo>
                      <a:lnTo>
                        <a:pt x="155" y="261"/>
                      </a:lnTo>
                      <a:lnTo>
                        <a:pt x="157" y="259"/>
                      </a:lnTo>
                      <a:lnTo>
                        <a:pt x="159" y="258"/>
                      </a:lnTo>
                      <a:lnTo>
                        <a:pt x="157" y="256"/>
                      </a:lnTo>
                      <a:lnTo>
                        <a:pt x="159" y="256"/>
                      </a:lnTo>
                      <a:lnTo>
                        <a:pt x="159" y="255"/>
                      </a:lnTo>
                      <a:lnTo>
                        <a:pt x="160" y="255"/>
                      </a:lnTo>
                      <a:lnTo>
                        <a:pt x="160" y="253"/>
                      </a:lnTo>
                      <a:lnTo>
                        <a:pt x="160" y="251"/>
                      </a:lnTo>
                      <a:lnTo>
                        <a:pt x="160" y="250"/>
                      </a:lnTo>
                      <a:lnTo>
                        <a:pt x="160" y="248"/>
                      </a:lnTo>
                      <a:lnTo>
                        <a:pt x="160" y="246"/>
                      </a:lnTo>
                      <a:lnTo>
                        <a:pt x="162" y="246"/>
                      </a:lnTo>
                      <a:lnTo>
                        <a:pt x="162" y="245"/>
                      </a:lnTo>
                      <a:lnTo>
                        <a:pt x="160" y="245"/>
                      </a:lnTo>
                      <a:lnTo>
                        <a:pt x="160" y="243"/>
                      </a:lnTo>
                      <a:lnTo>
                        <a:pt x="162" y="243"/>
                      </a:lnTo>
                      <a:lnTo>
                        <a:pt x="162" y="241"/>
                      </a:lnTo>
                      <a:lnTo>
                        <a:pt x="162" y="243"/>
                      </a:lnTo>
                      <a:lnTo>
                        <a:pt x="160" y="241"/>
                      </a:lnTo>
                      <a:lnTo>
                        <a:pt x="162" y="241"/>
                      </a:lnTo>
                      <a:lnTo>
                        <a:pt x="160" y="241"/>
                      </a:lnTo>
                      <a:lnTo>
                        <a:pt x="160" y="240"/>
                      </a:lnTo>
                      <a:lnTo>
                        <a:pt x="162" y="240"/>
                      </a:lnTo>
                      <a:lnTo>
                        <a:pt x="162" y="238"/>
                      </a:lnTo>
                      <a:lnTo>
                        <a:pt x="162" y="240"/>
                      </a:lnTo>
                      <a:lnTo>
                        <a:pt x="160" y="238"/>
                      </a:lnTo>
                      <a:lnTo>
                        <a:pt x="162" y="238"/>
                      </a:lnTo>
                      <a:lnTo>
                        <a:pt x="162" y="237"/>
                      </a:lnTo>
                      <a:lnTo>
                        <a:pt x="164" y="237"/>
                      </a:lnTo>
                      <a:lnTo>
                        <a:pt x="164" y="235"/>
                      </a:lnTo>
                      <a:lnTo>
                        <a:pt x="162" y="235"/>
                      </a:lnTo>
                      <a:lnTo>
                        <a:pt x="164" y="235"/>
                      </a:lnTo>
                      <a:lnTo>
                        <a:pt x="164" y="233"/>
                      </a:lnTo>
                      <a:lnTo>
                        <a:pt x="162" y="233"/>
                      </a:lnTo>
                      <a:lnTo>
                        <a:pt x="164" y="232"/>
                      </a:lnTo>
                      <a:lnTo>
                        <a:pt x="164" y="233"/>
                      </a:lnTo>
                      <a:lnTo>
                        <a:pt x="164" y="232"/>
                      </a:lnTo>
                      <a:lnTo>
                        <a:pt x="165" y="232"/>
                      </a:lnTo>
                      <a:lnTo>
                        <a:pt x="165" y="230"/>
                      </a:lnTo>
                      <a:lnTo>
                        <a:pt x="167" y="230"/>
                      </a:lnTo>
                      <a:lnTo>
                        <a:pt x="169" y="228"/>
                      </a:lnTo>
                      <a:lnTo>
                        <a:pt x="167" y="228"/>
                      </a:lnTo>
                      <a:lnTo>
                        <a:pt x="169" y="228"/>
                      </a:lnTo>
                      <a:lnTo>
                        <a:pt x="169" y="227"/>
                      </a:lnTo>
                      <a:lnTo>
                        <a:pt x="167" y="227"/>
                      </a:lnTo>
                      <a:lnTo>
                        <a:pt x="169" y="227"/>
                      </a:lnTo>
                      <a:lnTo>
                        <a:pt x="169" y="225"/>
                      </a:lnTo>
                      <a:lnTo>
                        <a:pt x="170" y="225"/>
                      </a:lnTo>
                      <a:lnTo>
                        <a:pt x="170" y="223"/>
                      </a:lnTo>
                      <a:lnTo>
                        <a:pt x="170" y="222"/>
                      </a:lnTo>
                      <a:lnTo>
                        <a:pt x="172" y="222"/>
                      </a:lnTo>
                      <a:lnTo>
                        <a:pt x="170" y="222"/>
                      </a:lnTo>
                      <a:lnTo>
                        <a:pt x="170" y="220"/>
                      </a:lnTo>
                      <a:lnTo>
                        <a:pt x="170" y="218"/>
                      </a:lnTo>
                      <a:lnTo>
                        <a:pt x="170" y="220"/>
                      </a:lnTo>
                      <a:lnTo>
                        <a:pt x="172" y="218"/>
                      </a:lnTo>
                      <a:lnTo>
                        <a:pt x="170" y="218"/>
                      </a:lnTo>
                      <a:lnTo>
                        <a:pt x="170" y="217"/>
                      </a:lnTo>
                      <a:lnTo>
                        <a:pt x="172" y="217"/>
                      </a:lnTo>
                      <a:lnTo>
                        <a:pt x="172" y="215"/>
                      </a:lnTo>
                      <a:lnTo>
                        <a:pt x="170" y="215"/>
                      </a:lnTo>
                      <a:lnTo>
                        <a:pt x="172" y="215"/>
                      </a:lnTo>
                      <a:lnTo>
                        <a:pt x="174" y="215"/>
                      </a:lnTo>
                      <a:lnTo>
                        <a:pt x="174" y="214"/>
                      </a:lnTo>
                      <a:lnTo>
                        <a:pt x="174" y="215"/>
                      </a:lnTo>
                      <a:lnTo>
                        <a:pt x="175" y="214"/>
                      </a:lnTo>
                      <a:lnTo>
                        <a:pt x="175" y="212"/>
                      </a:lnTo>
                      <a:lnTo>
                        <a:pt x="177" y="212"/>
                      </a:lnTo>
                      <a:lnTo>
                        <a:pt x="179" y="212"/>
                      </a:lnTo>
                      <a:lnTo>
                        <a:pt x="177" y="212"/>
                      </a:lnTo>
                      <a:lnTo>
                        <a:pt x="177" y="210"/>
                      </a:lnTo>
                      <a:lnTo>
                        <a:pt x="179" y="210"/>
                      </a:lnTo>
                      <a:lnTo>
                        <a:pt x="179" y="212"/>
                      </a:lnTo>
                      <a:lnTo>
                        <a:pt x="180" y="212"/>
                      </a:lnTo>
                      <a:lnTo>
                        <a:pt x="179" y="212"/>
                      </a:lnTo>
                      <a:lnTo>
                        <a:pt x="179" y="210"/>
                      </a:lnTo>
                      <a:lnTo>
                        <a:pt x="180" y="210"/>
                      </a:lnTo>
                      <a:lnTo>
                        <a:pt x="180" y="209"/>
                      </a:lnTo>
                      <a:lnTo>
                        <a:pt x="182" y="209"/>
                      </a:lnTo>
                      <a:lnTo>
                        <a:pt x="184" y="209"/>
                      </a:lnTo>
                      <a:lnTo>
                        <a:pt x="182" y="209"/>
                      </a:lnTo>
                      <a:lnTo>
                        <a:pt x="182" y="207"/>
                      </a:lnTo>
                      <a:lnTo>
                        <a:pt x="184" y="207"/>
                      </a:lnTo>
                      <a:lnTo>
                        <a:pt x="184" y="205"/>
                      </a:lnTo>
                      <a:lnTo>
                        <a:pt x="182" y="205"/>
                      </a:lnTo>
                      <a:lnTo>
                        <a:pt x="184" y="205"/>
                      </a:lnTo>
                      <a:lnTo>
                        <a:pt x="184" y="204"/>
                      </a:lnTo>
                      <a:lnTo>
                        <a:pt x="184" y="202"/>
                      </a:lnTo>
                      <a:lnTo>
                        <a:pt x="186" y="202"/>
                      </a:lnTo>
                      <a:lnTo>
                        <a:pt x="186" y="204"/>
                      </a:lnTo>
                      <a:lnTo>
                        <a:pt x="186" y="202"/>
                      </a:lnTo>
                      <a:lnTo>
                        <a:pt x="187" y="202"/>
                      </a:lnTo>
                      <a:lnTo>
                        <a:pt x="187" y="200"/>
                      </a:lnTo>
                      <a:lnTo>
                        <a:pt x="189" y="200"/>
                      </a:lnTo>
                      <a:lnTo>
                        <a:pt x="187" y="199"/>
                      </a:lnTo>
                      <a:lnTo>
                        <a:pt x="189" y="199"/>
                      </a:lnTo>
                      <a:lnTo>
                        <a:pt x="189" y="197"/>
                      </a:lnTo>
                      <a:lnTo>
                        <a:pt x="187" y="197"/>
                      </a:lnTo>
                      <a:lnTo>
                        <a:pt x="189" y="197"/>
                      </a:lnTo>
                      <a:lnTo>
                        <a:pt x="189" y="195"/>
                      </a:lnTo>
                      <a:lnTo>
                        <a:pt x="191" y="195"/>
                      </a:lnTo>
                      <a:lnTo>
                        <a:pt x="192" y="195"/>
                      </a:lnTo>
                      <a:lnTo>
                        <a:pt x="192" y="194"/>
                      </a:lnTo>
                      <a:lnTo>
                        <a:pt x="191" y="194"/>
                      </a:lnTo>
                      <a:lnTo>
                        <a:pt x="191" y="192"/>
                      </a:lnTo>
                      <a:lnTo>
                        <a:pt x="189" y="192"/>
                      </a:lnTo>
                      <a:lnTo>
                        <a:pt x="191" y="192"/>
                      </a:lnTo>
                      <a:lnTo>
                        <a:pt x="192" y="191"/>
                      </a:lnTo>
                      <a:lnTo>
                        <a:pt x="192" y="192"/>
                      </a:lnTo>
                      <a:lnTo>
                        <a:pt x="194" y="192"/>
                      </a:lnTo>
                      <a:lnTo>
                        <a:pt x="194" y="191"/>
                      </a:lnTo>
                      <a:lnTo>
                        <a:pt x="194" y="189"/>
                      </a:lnTo>
                      <a:lnTo>
                        <a:pt x="196" y="189"/>
                      </a:lnTo>
                      <a:lnTo>
                        <a:pt x="196" y="187"/>
                      </a:lnTo>
                      <a:lnTo>
                        <a:pt x="196" y="186"/>
                      </a:lnTo>
                      <a:lnTo>
                        <a:pt x="196" y="184"/>
                      </a:lnTo>
                      <a:lnTo>
                        <a:pt x="197" y="184"/>
                      </a:lnTo>
                      <a:lnTo>
                        <a:pt x="197" y="182"/>
                      </a:lnTo>
                      <a:lnTo>
                        <a:pt x="197" y="181"/>
                      </a:lnTo>
                      <a:lnTo>
                        <a:pt x="199" y="181"/>
                      </a:lnTo>
                      <a:lnTo>
                        <a:pt x="199" y="179"/>
                      </a:lnTo>
                      <a:lnTo>
                        <a:pt x="197" y="179"/>
                      </a:lnTo>
                      <a:lnTo>
                        <a:pt x="197" y="177"/>
                      </a:lnTo>
                      <a:lnTo>
                        <a:pt x="199" y="177"/>
                      </a:lnTo>
                      <a:lnTo>
                        <a:pt x="199" y="176"/>
                      </a:lnTo>
                      <a:lnTo>
                        <a:pt x="197" y="176"/>
                      </a:lnTo>
                      <a:lnTo>
                        <a:pt x="197" y="174"/>
                      </a:lnTo>
                      <a:lnTo>
                        <a:pt x="199" y="174"/>
                      </a:lnTo>
                      <a:lnTo>
                        <a:pt x="197" y="172"/>
                      </a:lnTo>
                      <a:lnTo>
                        <a:pt x="197" y="171"/>
                      </a:lnTo>
                      <a:lnTo>
                        <a:pt x="196" y="171"/>
                      </a:lnTo>
                      <a:lnTo>
                        <a:pt x="196" y="169"/>
                      </a:lnTo>
                      <a:lnTo>
                        <a:pt x="197" y="169"/>
                      </a:lnTo>
                      <a:lnTo>
                        <a:pt x="199" y="169"/>
                      </a:lnTo>
                      <a:lnTo>
                        <a:pt x="201" y="169"/>
                      </a:lnTo>
                      <a:lnTo>
                        <a:pt x="201" y="168"/>
                      </a:lnTo>
                      <a:lnTo>
                        <a:pt x="199" y="169"/>
                      </a:lnTo>
                      <a:lnTo>
                        <a:pt x="199" y="168"/>
                      </a:lnTo>
                      <a:lnTo>
                        <a:pt x="201" y="168"/>
                      </a:lnTo>
                      <a:lnTo>
                        <a:pt x="199" y="168"/>
                      </a:lnTo>
                      <a:lnTo>
                        <a:pt x="201" y="168"/>
                      </a:lnTo>
                      <a:lnTo>
                        <a:pt x="202" y="168"/>
                      </a:lnTo>
                      <a:lnTo>
                        <a:pt x="202" y="166"/>
                      </a:lnTo>
                      <a:lnTo>
                        <a:pt x="202" y="164"/>
                      </a:lnTo>
                      <a:lnTo>
                        <a:pt x="202" y="166"/>
                      </a:lnTo>
                      <a:lnTo>
                        <a:pt x="204" y="166"/>
                      </a:lnTo>
                      <a:lnTo>
                        <a:pt x="206" y="166"/>
                      </a:lnTo>
                      <a:lnTo>
                        <a:pt x="206" y="164"/>
                      </a:lnTo>
                      <a:lnTo>
                        <a:pt x="204" y="164"/>
                      </a:lnTo>
                      <a:lnTo>
                        <a:pt x="204" y="166"/>
                      </a:lnTo>
                      <a:lnTo>
                        <a:pt x="204" y="164"/>
                      </a:lnTo>
                      <a:lnTo>
                        <a:pt x="204" y="163"/>
                      </a:lnTo>
                      <a:lnTo>
                        <a:pt x="204" y="161"/>
                      </a:lnTo>
                      <a:lnTo>
                        <a:pt x="202" y="161"/>
                      </a:lnTo>
                      <a:lnTo>
                        <a:pt x="202" y="163"/>
                      </a:lnTo>
                      <a:lnTo>
                        <a:pt x="201" y="163"/>
                      </a:lnTo>
                      <a:lnTo>
                        <a:pt x="201" y="161"/>
                      </a:lnTo>
                      <a:lnTo>
                        <a:pt x="201" y="159"/>
                      </a:lnTo>
                      <a:lnTo>
                        <a:pt x="201" y="158"/>
                      </a:lnTo>
                      <a:lnTo>
                        <a:pt x="199" y="158"/>
                      </a:lnTo>
                      <a:lnTo>
                        <a:pt x="197" y="156"/>
                      </a:lnTo>
                      <a:lnTo>
                        <a:pt x="199" y="156"/>
                      </a:lnTo>
                      <a:lnTo>
                        <a:pt x="197" y="156"/>
                      </a:lnTo>
                      <a:lnTo>
                        <a:pt x="197" y="154"/>
                      </a:lnTo>
                      <a:lnTo>
                        <a:pt x="197" y="153"/>
                      </a:lnTo>
                      <a:lnTo>
                        <a:pt x="199" y="153"/>
                      </a:lnTo>
                      <a:lnTo>
                        <a:pt x="199" y="151"/>
                      </a:lnTo>
                      <a:lnTo>
                        <a:pt x="201" y="151"/>
                      </a:lnTo>
                      <a:lnTo>
                        <a:pt x="201" y="149"/>
                      </a:lnTo>
                      <a:lnTo>
                        <a:pt x="202" y="149"/>
                      </a:lnTo>
                      <a:lnTo>
                        <a:pt x="202" y="148"/>
                      </a:lnTo>
                      <a:lnTo>
                        <a:pt x="201" y="148"/>
                      </a:lnTo>
                      <a:lnTo>
                        <a:pt x="202" y="148"/>
                      </a:lnTo>
                      <a:lnTo>
                        <a:pt x="204" y="148"/>
                      </a:lnTo>
                      <a:lnTo>
                        <a:pt x="204" y="149"/>
                      </a:lnTo>
                      <a:lnTo>
                        <a:pt x="204" y="148"/>
                      </a:lnTo>
                      <a:lnTo>
                        <a:pt x="206" y="148"/>
                      </a:lnTo>
                      <a:lnTo>
                        <a:pt x="206" y="146"/>
                      </a:lnTo>
                      <a:lnTo>
                        <a:pt x="207" y="146"/>
                      </a:lnTo>
                      <a:lnTo>
                        <a:pt x="209" y="146"/>
                      </a:lnTo>
                      <a:lnTo>
                        <a:pt x="211" y="146"/>
                      </a:lnTo>
                      <a:lnTo>
                        <a:pt x="213" y="145"/>
                      </a:lnTo>
                      <a:lnTo>
                        <a:pt x="213" y="143"/>
                      </a:lnTo>
                      <a:lnTo>
                        <a:pt x="213" y="141"/>
                      </a:lnTo>
                      <a:lnTo>
                        <a:pt x="214" y="141"/>
                      </a:lnTo>
                      <a:lnTo>
                        <a:pt x="214" y="140"/>
                      </a:lnTo>
                      <a:lnTo>
                        <a:pt x="213" y="140"/>
                      </a:lnTo>
                      <a:lnTo>
                        <a:pt x="213" y="138"/>
                      </a:lnTo>
                      <a:lnTo>
                        <a:pt x="214" y="138"/>
                      </a:lnTo>
                      <a:lnTo>
                        <a:pt x="216" y="138"/>
                      </a:lnTo>
                      <a:lnTo>
                        <a:pt x="218" y="138"/>
                      </a:lnTo>
                      <a:lnTo>
                        <a:pt x="219" y="138"/>
                      </a:lnTo>
                      <a:lnTo>
                        <a:pt x="221" y="138"/>
                      </a:lnTo>
                      <a:lnTo>
                        <a:pt x="221" y="136"/>
                      </a:lnTo>
                      <a:lnTo>
                        <a:pt x="219" y="136"/>
                      </a:lnTo>
                      <a:lnTo>
                        <a:pt x="219" y="135"/>
                      </a:lnTo>
                      <a:lnTo>
                        <a:pt x="219" y="133"/>
                      </a:lnTo>
                      <a:lnTo>
                        <a:pt x="219" y="131"/>
                      </a:lnTo>
                      <a:lnTo>
                        <a:pt x="219" y="130"/>
                      </a:lnTo>
                      <a:lnTo>
                        <a:pt x="219" y="128"/>
                      </a:lnTo>
                      <a:lnTo>
                        <a:pt x="219" y="126"/>
                      </a:lnTo>
                      <a:lnTo>
                        <a:pt x="219" y="125"/>
                      </a:lnTo>
                      <a:lnTo>
                        <a:pt x="221" y="123"/>
                      </a:lnTo>
                      <a:lnTo>
                        <a:pt x="221" y="122"/>
                      </a:lnTo>
                      <a:lnTo>
                        <a:pt x="219" y="122"/>
                      </a:lnTo>
                      <a:lnTo>
                        <a:pt x="219" y="123"/>
                      </a:lnTo>
                      <a:lnTo>
                        <a:pt x="218" y="123"/>
                      </a:lnTo>
                      <a:lnTo>
                        <a:pt x="216" y="123"/>
                      </a:lnTo>
                      <a:lnTo>
                        <a:pt x="216" y="122"/>
                      </a:lnTo>
                      <a:lnTo>
                        <a:pt x="218" y="120"/>
                      </a:lnTo>
                      <a:lnTo>
                        <a:pt x="219" y="120"/>
                      </a:lnTo>
                      <a:lnTo>
                        <a:pt x="219" y="118"/>
                      </a:lnTo>
                      <a:lnTo>
                        <a:pt x="219" y="117"/>
                      </a:lnTo>
                      <a:lnTo>
                        <a:pt x="219" y="115"/>
                      </a:lnTo>
                      <a:lnTo>
                        <a:pt x="221" y="115"/>
                      </a:lnTo>
                      <a:lnTo>
                        <a:pt x="221" y="113"/>
                      </a:lnTo>
                      <a:lnTo>
                        <a:pt x="221" y="112"/>
                      </a:lnTo>
                      <a:lnTo>
                        <a:pt x="219" y="112"/>
                      </a:lnTo>
                      <a:lnTo>
                        <a:pt x="219" y="110"/>
                      </a:lnTo>
                      <a:lnTo>
                        <a:pt x="221" y="110"/>
                      </a:lnTo>
                      <a:lnTo>
                        <a:pt x="223" y="110"/>
                      </a:lnTo>
                      <a:lnTo>
                        <a:pt x="223" y="112"/>
                      </a:lnTo>
                      <a:lnTo>
                        <a:pt x="224" y="112"/>
                      </a:lnTo>
                      <a:lnTo>
                        <a:pt x="226" y="110"/>
                      </a:lnTo>
                      <a:lnTo>
                        <a:pt x="228" y="110"/>
                      </a:lnTo>
                      <a:lnTo>
                        <a:pt x="228" y="108"/>
                      </a:lnTo>
                      <a:lnTo>
                        <a:pt x="229" y="105"/>
                      </a:lnTo>
                      <a:lnTo>
                        <a:pt x="231" y="105"/>
                      </a:lnTo>
                      <a:lnTo>
                        <a:pt x="231" y="103"/>
                      </a:lnTo>
                      <a:lnTo>
                        <a:pt x="233" y="103"/>
                      </a:lnTo>
                      <a:lnTo>
                        <a:pt x="235" y="102"/>
                      </a:lnTo>
                      <a:lnTo>
                        <a:pt x="233" y="102"/>
                      </a:lnTo>
                      <a:lnTo>
                        <a:pt x="233" y="100"/>
                      </a:lnTo>
                      <a:lnTo>
                        <a:pt x="235" y="100"/>
                      </a:lnTo>
                      <a:lnTo>
                        <a:pt x="235" y="99"/>
                      </a:lnTo>
                      <a:lnTo>
                        <a:pt x="235" y="97"/>
                      </a:lnTo>
                      <a:lnTo>
                        <a:pt x="235" y="95"/>
                      </a:lnTo>
                      <a:lnTo>
                        <a:pt x="235" y="94"/>
                      </a:lnTo>
                      <a:lnTo>
                        <a:pt x="236" y="94"/>
                      </a:lnTo>
                      <a:lnTo>
                        <a:pt x="236" y="92"/>
                      </a:lnTo>
                      <a:lnTo>
                        <a:pt x="236" y="90"/>
                      </a:lnTo>
                      <a:lnTo>
                        <a:pt x="236" y="89"/>
                      </a:lnTo>
                      <a:lnTo>
                        <a:pt x="238" y="85"/>
                      </a:lnTo>
                      <a:lnTo>
                        <a:pt x="238" y="84"/>
                      </a:lnTo>
                      <a:lnTo>
                        <a:pt x="240" y="84"/>
                      </a:lnTo>
                      <a:lnTo>
                        <a:pt x="240" y="80"/>
                      </a:lnTo>
                      <a:lnTo>
                        <a:pt x="240" y="79"/>
                      </a:lnTo>
                      <a:lnTo>
                        <a:pt x="240" y="77"/>
                      </a:lnTo>
                      <a:lnTo>
                        <a:pt x="238" y="77"/>
                      </a:lnTo>
                      <a:lnTo>
                        <a:pt x="240" y="74"/>
                      </a:lnTo>
                      <a:lnTo>
                        <a:pt x="241" y="74"/>
                      </a:lnTo>
                      <a:lnTo>
                        <a:pt x="241" y="72"/>
                      </a:lnTo>
                      <a:lnTo>
                        <a:pt x="240" y="71"/>
                      </a:lnTo>
                      <a:lnTo>
                        <a:pt x="238" y="69"/>
                      </a:lnTo>
                      <a:lnTo>
                        <a:pt x="236" y="69"/>
                      </a:lnTo>
                      <a:lnTo>
                        <a:pt x="235" y="69"/>
                      </a:lnTo>
                      <a:lnTo>
                        <a:pt x="233" y="69"/>
                      </a:lnTo>
                      <a:lnTo>
                        <a:pt x="231" y="71"/>
                      </a:lnTo>
                      <a:lnTo>
                        <a:pt x="231" y="69"/>
                      </a:lnTo>
                      <a:lnTo>
                        <a:pt x="229" y="67"/>
                      </a:lnTo>
                      <a:lnTo>
                        <a:pt x="229" y="66"/>
                      </a:lnTo>
                      <a:lnTo>
                        <a:pt x="231" y="64"/>
                      </a:lnTo>
                      <a:lnTo>
                        <a:pt x="231" y="62"/>
                      </a:lnTo>
                      <a:lnTo>
                        <a:pt x="233" y="62"/>
                      </a:lnTo>
                      <a:lnTo>
                        <a:pt x="236" y="62"/>
                      </a:lnTo>
                      <a:lnTo>
                        <a:pt x="238" y="62"/>
                      </a:lnTo>
                      <a:lnTo>
                        <a:pt x="240" y="62"/>
                      </a:lnTo>
                      <a:lnTo>
                        <a:pt x="241" y="62"/>
                      </a:lnTo>
                      <a:lnTo>
                        <a:pt x="241" y="61"/>
                      </a:lnTo>
                      <a:lnTo>
                        <a:pt x="243" y="61"/>
                      </a:lnTo>
                      <a:lnTo>
                        <a:pt x="245" y="61"/>
                      </a:lnTo>
                      <a:lnTo>
                        <a:pt x="245" y="59"/>
                      </a:lnTo>
                      <a:lnTo>
                        <a:pt x="246" y="57"/>
                      </a:lnTo>
                      <a:lnTo>
                        <a:pt x="246" y="56"/>
                      </a:lnTo>
                      <a:lnTo>
                        <a:pt x="245" y="54"/>
                      </a:lnTo>
                      <a:lnTo>
                        <a:pt x="245" y="53"/>
                      </a:lnTo>
                      <a:lnTo>
                        <a:pt x="246" y="53"/>
                      </a:lnTo>
                      <a:lnTo>
                        <a:pt x="246" y="51"/>
                      </a:lnTo>
                      <a:lnTo>
                        <a:pt x="246" y="49"/>
                      </a:lnTo>
                      <a:lnTo>
                        <a:pt x="248" y="49"/>
                      </a:lnTo>
                      <a:lnTo>
                        <a:pt x="248" y="48"/>
                      </a:lnTo>
                      <a:lnTo>
                        <a:pt x="248" y="46"/>
                      </a:lnTo>
                      <a:lnTo>
                        <a:pt x="248" y="44"/>
                      </a:lnTo>
                      <a:lnTo>
                        <a:pt x="246" y="43"/>
                      </a:lnTo>
                      <a:lnTo>
                        <a:pt x="246" y="41"/>
                      </a:lnTo>
                      <a:lnTo>
                        <a:pt x="245" y="41"/>
                      </a:lnTo>
                      <a:lnTo>
                        <a:pt x="245" y="39"/>
                      </a:lnTo>
                      <a:lnTo>
                        <a:pt x="246" y="38"/>
                      </a:lnTo>
                      <a:lnTo>
                        <a:pt x="246" y="36"/>
                      </a:lnTo>
                      <a:lnTo>
                        <a:pt x="248" y="36"/>
                      </a:lnTo>
                      <a:lnTo>
                        <a:pt x="246" y="35"/>
                      </a:lnTo>
                      <a:lnTo>
                        <a:pt x="248" y="33"/>
                      </a:lnTo>
                      <a:lnTo>
                        <a:pt x="248" y="31"/>
                      </a:lnTo>
                      <a:lnTo>
                        <a:pt x="248" y="30"/>
                      </a:lnTo>
                      <a:lnTo>
                        <a:pt x="250" y="30"/>
                      </a:lnTo>
                      <a:lnTo>
                        <a:pt x="250" y="28"/>
                      </a:lnTo>
                      <a:lnTo>
                        <a:pt x="251" y="26"/>
                      </a:lnTo>
                      <a:lnTo>
                        <a:pt x="250" y="26"/>
                      </a:lnTo>
                      <a:lnTo>
                        <a:pt x="248" y="26"/>
                      </a:lnTo>
                      <a:lnTo>
                        <a:pt x="248" y="25"/>
                      </a:lnTo>
                      <a:lnTo>
                        <a:pt x="248" y="23"/>
                      </a:lnTo>
                      <a:lnTo>
                        <a:pt x="246" y="23"/>
                      </a:lnTo>
                      <a:lnTo>
                        <a:pt x="246" y="21"/>
                      </a:lnTo>
                      <a:lnTo>
                        <a:pt x="246" y="20"/>
                      </a:lnTo>
                      <a:lnTo>
                        <a:pt x="248" y="18"/>
                      </a:lnTo>
                      <a:lnTo>
                        <a:pt x="246" y="18"/>
                      </a:lnTo>
                      <a:lnTo>
                        <a:pt x="246" y="16"/>
                      </a:lnTo>
                      <a:lnTo>
                        <a:pt x="248" y="15"/>
                      </a:lnTo>
                      <a:lnTo>
                        <a:pt x="250" y="15"/>
                      </a:lnTo>
                      <a:lnTo>
                        <a:pt x="251" y="15"/>
                      </a:lnTo>
                      <a:lnTo>
                        <a:pt x="253" y="13"/>
                      </a:lnTo>
                      <a:lnTo>
                        <a:pt x="253" y="12"/>
                      </a:lnTo>
                      <a:lnTo>
                        <a:pt x="253" y="10"/>
                      </a:lnTo>
                      <a:lnTo>
                        <a:pt x="253" y="12"/>
                      </a:lnTo>
                      <a:lnTo>
                        <a:pt x="253" y="10"/>
                      </a:lnTo>
                      <a:lnTo>
                        <a:pt x="255" y="8"/>
                      </a:lnTo>
                      <a:lnTo>
                        <a:pt x="255" y="10"/>
                      </a:lnTo>
                      <a:lnTo>
                        <a:pt x="256" y="12"/>
                      </a:lnTo>
                      <a:lnTo>
                        <a:pt x="256" y="10"/>
                      </a:lnTo>
                      <a:lnTo>
                        <a:pt x="256" y="8"/>
                      </a:lnTo>
                      <a:lnTo>
                        <a:pt x="255" y="8"/>
                      </a:lnTo>
                      <a:lnTo>
                        <a:pt x="256" y="7"/>
                      </a:lnTo>
                      <a:lnTo>
                        <a:pt x="256" y="5"/>
                      </a:lnTo>
                      <a:lnTo>
                        <a:pt x="258" y="3"/>
                      </a:lnTo>
                      <a:lnTo>
                        <a:pt x="258" y="2"/>
                      </a:lnTo>
                      <a:lnTo>
                        <a:pt x="258" y="3"/>
                      </a:lnTo>
                      <a:lnTo>
                        <a:pt x="260" y="3"/>
                      </a:lnTo>
                      <a:lnTo>
                        <a:pt x="260" y="5"/>
                      </a:lnTo>
                      <a:lnTo>
                        <a:pt x="260" y="3"/>
                      </a:lnTo>
                      <a:lnTo>
                        <a:pt x="260" y="2"/>
                      </a:lnTo>
                      <a:lnTo>
                        <a:pt x="262" y="2"/>
                      </a:lnTo>
                      <a:lnTo>
                        <a:pt x="262" y="0"/>
                      </a:lnTo>
                      <a:lnTo>
                        <a:pt x="263" y="0"/>
                      </a:lnTo>
                      <a:lnTo>
                        <a:pt x="263" y="2"/>
                      </a:lnTo>
                      <a:lnTo>
                        <a:pt x="262" y="2"/>
                      </a:lnTo>
                      <a:lnTo>
                        <a:pt x="263" y="2"/>
                      </a:lnTo>
                      <a:lnTo>
                        <a:pt x="263" y="3"/>
                      </a:lnTo>
                      <a:lnTo>
                        <a:pt x="265" y="3"/>
                      </a:lnTo>
                      <a:lnTo>
                        <a:pt x="263" y="5"/>
                      </a:lnTo>
                      <a:lnTo>
                        <a:pt x="263" y="3"/>
                      </a:lnTo>
                      <a:lnTo>
                        <a:pt x="262" y="3"/>
                      </a:lnTo>
                      <a:lnTo>
                        <a:pt x="262" y="5"/>
                      </a:lnTo>
                      <a:lnTo>
                        <a:pt x="263" y="3"/>
                      </a:lnTo>
                      <a:lnTo>
                        <a:pt x="263" y="5"/>
                      </a:lnTo>
                      <a:lnTo>
                        <a:pt x="263" y="7"/>
                      </a:lnTo>
                      <a:lnTo>
                        <a:pt x="262" y="7"/>
                      </a:lnTo>
                      <a:lnTo>
                        <a:pt x="263" y="7"/>
                      </a:lnTo>
                      <a:lnTo>
                        <a:pt x="265" y="7"/>
                      </a:lnTo>
                      <a:lnTo>
                        <a:pt x="265" y="8"/>
                      </a:lnTo>
                      <a:lnTo>
                        <a:pt x="263" y="8"/>
                      </a:lnTo>
                      <a:lnTo>
                        <a:pt x="262" y="8"/>
                      </a:lnTo>
                      <a:lnTo>
                        <a:pt x="262" y="10"/>
                      </a:lnTo>
                      <a:lnTo>
                        <a:pt x="260" y="12"/>
                      </a:lnTo>
                      <a:lnTo>
                        <a:pt x="262" y="12"/>
                      </a:lnTo>
                      <a:lnTo>
                        <a:pt x="262" y="10"/>
                      </a:lnTo>
                      <a:lnTo>
                        <a:pt x="262" y="12"/>
                      </a:lnTo>
                      <a:lnTo>
                        <a:pt x="262" y="10"/>
                      </a:lnTo>
                      <a:lnTo>
                        <a:pt x="263" y="10"/>
                      </a:lnTo>
                      <a:lnTo>
                        <a:pt x="263" y="8"/>
                      </a:lnTo>
                      <a:lnTo>
                        <a:pt x="263" y="10"/>
                      </a:lnTo>
                      <a:lnTo>
                        <a:pt x="265" y="8"/>
                      </a:lnTo>
                      <a:lnTo>
                        <a:pt x="265" y="10"/>
                      </a:lnTo>
                      <a:lnTo>
                        <a:pt x="265" y="12"/>
                      </a:lnTo>
                      <a:lnTo>
                        <a:pt x="265" y="13"/>
                      </a:lnTo>
                      <a:lnTo>
                        <a:pt x="265" y="15"/>
                      </a:lnTo>
                      <a:lnTo>
                        <a:pt x="265" y="16"/>
                      </a:lnTo>
                      <a:lnTo>
                        <a:pt x="265" y="18"/>
                      </a:lnTo>
                      <a:lnTo>
                        <a:pt x="265" y="16"/>
                      </a:lnTo>
                      <a:lnTo>
                        <a:pt x="267" y="15"/>
                      </a:lnTo>
                      <a:lnTo>
                        <a:pt x="267" y="13"/>
                      </a:lnTo>
                      <a:lnTo>
                        <a:pt x="267" y="12"/>
                      </a:lnTo>
                      <a:lnTo>
                        <a:pt x="268" y="10"/>
                      </a:lnTo>
                      <a:lnTo>
                        <a:pt x="268" y="8"/>
                      </a:lnTo>
                      <a:lnTo>
                        <a:pt x="270" y="8"/>
                      </a:lnTo>
                      <a:lnTo>
                        <a:pt x="270" y="7"/>
                      </a:lnTo>
                      <a:lnTo>
                        <a:pt x="272" y="7"/>
                      </a:lnTo>
                      <a:lnTo>
                        <a:pt x="270" y="7"/>
                      </a:lnTo>
                      <a:lnTo>
                        <a:pt x="270" y="5"/>
                      </a:lnTo>
                      <a:lnTo>
                        <a:pt x="272" y="5"/>
                      </a:lnTo>
                      <a:lnTo>
                        <a:pt x="272" y="3"/>
                      </a:lnTo>
                      <a:lnTo>
                        <a:pt x="273" y="3"/>
                      </a:lnTo>
                      <a:lnTo>
                        <a:pt x="273" y="2"/>
                      </a:lnTo>
                      <a:lnTo>
                        <a:pt x="272" y="2"/>
                      </a:lnTo>
                      <a:lnTo>
                        <a:pt x="273" y="2"/>
                      </a:lnTo>
                      <a:lnTo>
                        <a:pt x="275" y="0"/>
                      </a:lnTo>
                      <a:lnTo>
                        <a:pt x="275" y="2"/>
                      </a:lnTo>
                      <a:lnTo>
                        <a:pt x="275" y="3"/>
                      </a:lnTo>
                      <a:lnTo>
                        <a:pt x="277" y="3"/>
                      </a:lnTo>
                      <a:lnTo>
                        <a:pt x="275" y="5"/>
                      </a:lnTo>
                      <a:lnTo>
                        <a:pt x="275" y="7"/>
                      </a:lnTo>
                      <a:lnTo>
                        <a:pt x="273" y="7"/>
                      </a:lnTo>
                      <a:lnTo>
                        <a:pt x="275" y="7"/>
                      </a:lnTo>
                      <a:lnTo>
                        <a:pt x="273" y="8"/>
                      </a:lnTo>
                      <a:lnTo>
                        <a:pt x="272" y="8"/>
                      </a:lnTo>
                      <a:lnTo>
                        <a:pt x="272" y="10"/>
                      </a:lnTo>
                      <a:lnTo>
                        <a:pt x="270" y="10"/>
                      </a:lnTo>
                      <a:lnTo>
                        <a:pt x="270" y="12"/>
                      </a:lnTo>
                      <a:lnTo>
                        <a:pt x="268" y="12"/>
                      </a:lnTo>
                      <a:lnTo>
                        <a:pt x="268" y="13"/>
                      </a:lnTo>
                      <a:lnTo>
                        <a:pt x="270" y="13"/>
                      </a:lnTo>
                      <a:lnTo>
                        <a:pt x="268" y="13"/>
                      </a:lnTo>
                      <a:lnTo>
                        <a:pt x="268" y="15"/>
                      </a:lnTo>
                      <a:lnTo>
                        <a:pt x="270" y="15"/>
                      </a:lnTo>
                      <a:lnTo>
                        <a:pt x="270" y="13"/>
                      </a:lnTo>
                      <a:lnTo>
                        <a:pt x="270" y="12"/>
                      </a:lnTo>
                      <a:lnTo>
                        <a:pt x="272" y="10"/>
                      </a:lnTo>
                      <a:lnTo>
                        <a:pt x="273" y="10"/>
                      </a:lnTo>
                      <a:lnTo>
                        <a:pt x="273" y="12"/>
                      </a:lnTo>
                      <a:lnTo>
                        <a:pt x="272" y="12"/>
                      </a:lnTo>
                      <a:lnTo>
                        <a:pt x="272" y="13"/>
                      </a:lnTo>
                      <a:lnTo>
                        <a:pt x="270" y="13"/>
                      </a:lnTo>
                      <a:lnTo>
                        <a:pt x="272" y="13"/>
                      </a:lnTo>
                      <a:lnTo>
                        <a:pt x="272" y="12"/>
                      </a:lnTo>
                      <a:lnTo>
                        <a:pt x="273" y="12"/>
                      </a:lnTo>
                      <a:lnTo>
                        <a:pt x="273" y="13"/>
                      </a:lnTo>
                      <a:lnTo>
                        <a:pt x="272" y="13"/>
                      </a:lnTo>
                      <a:lnTo>
                        <a:pt x="273" y="13"/>
                      </a:lnTo>
                      <a:lnTo>
                        <a:pt x="273" y="15"/>
                      </a:lnTo>
                      <a:lnTo>
                        <a:pt x="272" y="15"/>
                      </a:lnTo>
                      <a:lnTo>
                        <a:pt x="272" y="16"/>
                      </a:lnTo>
                      <a:lnTo>
                        <a:pt x="270" y="16"/>
                      </a:lnTo>
                      <a:lnTo>
                        <a:pt x="270" y="18"/>
                      </a:lnTo>
                      <a:lnTo>
                        <a:pt x="268" y="18"/>
                      </a:lnTo>
                      <a:lnTo>
                        <a:pt x="270" y="18"/>
                      </a:lnTo>
                      <a:lnTo>
                        <a:pt x="268" y="20"/>
                      </a:lnTo>
                      <a:lnTo>
                        <a:pt x="270" y="20"/>
                      </a:lnTo>
                      <a:lnTo>
                        <a:pt x="268" y="20"/>
                      </a:lnTo>
                      <a:lnTo>
                        <a:pt x="270" y="20"/>
                      </a:lnTo>
                      <a:lnTo>
                        <a:pt x="270" y="18"/>
                      </a:lnTo>
                      <a:lnTo>
                        <a:pt x="270" y="16"/>
                      </a:lnTo>
                      <a:lnTo>
                        <a:pt x="272" y="16"/>
                      </a:lnTo>
                      <a:lnTo>
                        <a:pt x="273" y="16"/>
                      </a:lnTo>
                      <a:lnTo>
                        <a:pt x="273" y="15"/>
                      </a:lnTo>
                      <a:lnTo>
                        <a:pt x="275" y="15"/>
                      </a:lnTo>
                      <a:lnTo>
                        <a:pt x="275" y="16"/>
                      </a:lnTo>
                      <a:lnTo>
                        <a:pt x="273" y="18"/>
                      </a:lnTo>
                      <a:lnTo>
                        <a:pt x="272" y="20"/>
                      </a:lnTo>
                      <a:close/>
                      <a:moveTo>
                        <a:pt x="278" y="10"/>
                      </a:moveTo>
                      <a:lnTo>
                        <a:pt x="277" y="10"/>
                      </a:lnTo>
                      <a:lnTo>
                        <a:pt x="277" y="8"/>
                      </a:lnTo>
                      <a:lnTo>
                        <a:pt x="278" y="7"/>
                      </a:lnTo>
                      <a:lnTo>
                        <a:pt x="280" y="7"/>
                      </a:lnTo>
                      <a:lnTo>
                        <a:pt x="280" y="8"/>
                      </a:lnTo>
                      <a:lnTo>
                        <a:pt x="278" y="8"/>
                      </a:lnTo>
                      <a:lnTo>
                        <a:pt x="280" y="8"/>
                      </a:lnTo>
                      <a:lnTo>
                        <a:pt x="278" y="10"/>
                      </a:lnTo>
                      <a:close/>
                      <a:moveTo>
                        <a:pt x="280" y="16"/>
                      </a:moveTo>
                      <a:lnTo>
                        <a:pt x="280" y="15"/>
                      </a:lnTo>
                      <a:lnTo>
                        <a:pt x="280" y="13"/>
                      </a:lnTo>
                      <a:lnTo>
                        <a:pt x="282" y="13"/>
                      </a:lnTo>
                      <a:lnTo>
                        <a:pt x="280" y="15"/>
                      </a:lnTo>
                      <a:lnTo>
                        <a:pt x="282" y="15"/>
                      </a:lnTo>
                      <a:lnTo>
                        <a:pt x="280" y="16"/>
                      </a:lnTo>
                      <a:close/>
                      <a:moveTo>
                        <a:pt x="280" y="18"/>
                      </a:moveTo>
                      <a:lnTo>
                        <a:pt x="278" y="18"/>
                      </a:lnTo>
                      <a:lnTo>
                        <a:pt x="280" y="18"/>
                      </a:lnTo>
                      <a:lnTo>
                        <a:pt x="278" y="18"/>
                      </a:lnTo>
                      <a:lnTo>
                        <a:pt x="280" y="18"/>
                      </a:lnTo>
                      <a:close/>
                      <a:moveTo>
                        <a:pt x="316" y="35"/>
                      </a:moveTo>
                      <a:lnTo>
                        <a:pt x="316" y="33"/>
                      </a:lnTo>
                      <a:lnTo>
                        <a:pt x="317" y="33"/>
                      </a:lnTo>
                      <a:lnTo>
                        <a:pt x="317" y="35"/>
                      </a:lnTo>
                      <a:lnTo>
                        <a:pt x="316" y="35"/>
                      </a:lnTo>
                      <a:close/>
                      <a:moveTo>
                        <a:pt x="360" y="23"/>
                      </a:moveTo>
                      <a:lnTo>
                        <a:pt x="358" y="23"/>
                      </a:lnTo>
                      <a:lnTo>
                        <a:pt x="358" y="25"/>
                      </a:lnTo>
                      <a:lnTo>
                        <a:pt x="356" y="25"/>
                      </a:lnTo>
                      <a:lnTo>
                        <a:pt x="356" y="23"/>
                      </a:lnTo>
                      <a:lnTo>
                        <a:pt x="356" y="21"/>
                      </a:lnTo>
                      <a:lnTo>
                        <a:pt x="358" y="21"/>
                      </a:lnTo>
                      <a:lnTo>
                        <a:pt x="360" y="21"/>
                      </a:lnTo>
                      <a:lnTo>
                        <a:pt x="360" y="23"/>
                      </a:lnTo>
                      <a:close/>
                      <a:moveTo>
                        <a:pt x="366" y="25"/>
                      </a:moveTo>
                      <a:lnTo>
                        <a:pt x="365" y="25"/>
                      </a:lnTo>
                      <a:lnTo>
                        <a:pt x="366" y="25"/>
                      </a:lnTo>
                      <a:lnTo>
                        <a:pt x="365" y="26"/>
                      </a:lnTo>
                      <a:lnTo>
                        <a:pt x="366" y="26"/>
                      </a:lnTo>
                      <a:lnTo>
                        <a:pt x="366" y="25"/>
                      </a:lnTo>
                      <a:lnTo>
                        <a:pt x="366" y="26"/>
                      </a:lnTo>
                      <a:lnTo>
                        <a:pt x="365" y="26"/>
                      </a:lnTo>
                      <a:lnTo>
                        <a:pt x="363" y="26"/>
                      </a:lnTo>
                      <a:lnTo>
                        <a:pt x="363" y="25"/>
                      </a:lnTo>
                      <a:lnTo>
                        <a:pt x="365" y="25"/>
                      </a:lnTo>
                      <a:lnTo>
                        <a:pt x="363" y="25"/>
                      </a:lnTo>
                      <a:lnTo>
                        <a:pt x="363" y="23"/>
                      </a:lnTo>
                      <a:lnTo>
                        <a:pt x="363" y="25"/>
                      </a:lnTo>
                      <a:lnTo>
                        <a:pt x="361" y="23"/>
                      </a:lnTo>
                      <a:lnTo>
                        <a:pt x="361" y="21"/>
                      </a:lnTo>
                      <a:lnTo>
                        <a:pt x="363" y="21"/>
                      </a:lnTo>
                      <a:lnTo>
                        <a:pt x="365" y="21"/>
                      </a:lnTo>
                      <a:lnTo>
                        <a:pt x="366" y="21"/>
                      </a:lnTo>
                      <a:lnTo>
                        <a:pt x="365" y="23"/>
                      </a:lnTo>
                      <a:lnTo>
                        <a:pt x="366" y="23"/>
                      </a:lnTo>
                      <a:lnTo>
                        <a:pt x="366" y="25"/>
                      </a:lnTo>
                      <a:close/>
                      <a:moveTo>
                        <a:pt x="366" y="25"/>
                      </a:moveTo>
                      <a:lnTo>
                        <a:pt x="368" y="25"/>
                      </a:lnTo>
                      <a:lnTo>
                        <a:pt x="366" y="26"/>
                      </a:lnTo>
                      <a:lnTo>
                        <a:pt x="366" y="25"/>
                      </a:lnTo>
                      <a:close/>
                      <a:moveTo>
                        <a:pt x="360" y="21"/>
                      </a:moveTo>
                      <a:lnTo>
                        <a:pt x="361" y="21"/>
                      </a:lnTo>
                      <a:lnTo>
                        <a:pt x="361" y="23"/>
                      </a:lnTo>
                      <a:lnTo>
                        <a:pt x="361" y="25"/>
                      </a:lnTo>
                      <a:lnTo>
                        <a:pt x="360" y="25"/>
                      </a:lnTo>
                      <a:lnTo>
                        <a:pt x="360" y="23"/>
                      </a:lnTo>
                      <a:lnTo>
                        <a:pt x="360" y="25"/>
                      </a:lnTo>
                      <a:lnTo>
                        <a:pt x="358" y="25"/>
                      </a:lnTo>
                      <a:lnTo>
                        <a:pt x="358" y="23"/>
                      </a:lnTo>
                      <a:lnTo>
                        <a:pt x="360" y="23"/>
                      </a:lnTo>
                      <a:lnTo>
                        <a:pt x="360" y="21"/>
                      </a:lnTo>
                      <a:close/>
                      <a:moveTo>
                        <a:pt x="368" y="25"/>
                      </a:moveTo>
                      <a:lnTo>
                        <a:pt x="366" y="23"/>
                      </a:lnTo>
                      <a:lnTo>
                        <a:pt x="368" y="23"/>
                      </a:lnTo>
                      <a:lnTo>
                        <a:pt x="368" y="25"/>
                      </a:lnTo>
                      <a:close/>
                      <a:moveTo>
                        <a:pt x="361" y="25"/>
                      </a:moveTo>
                      <a:lnTo>
                        <a:pt x="363" y="25"/>
                      </a:lnTo>
                      <a:lnTo>
                        <a:pt x="365" y="25"/>
                      </a:lnTo>
                      <a:lnTo>
                        <a:pt x="363" y="25"/>
                      </a:lnTo>
                      <a:lnTo>
                        <a:pt x="363" y="26"/>
                      </a:lnTo>
                      <a:lnTo>
                        <a:pt x="365" y="26"/>
                      </a:lnTo>
                      <a:lnTo>
                        <a:pt x="365" y="28"/>
                      </a:lnTo>
                      <a:lnTo>
                        <a:pt x="363" y="26"/>
                      </a:lnTo>
                      <a:lnTo>
                        <a:pt x="363" y="28"/>
                      </a:lnTo>
                      <a:lnTo>
                        <a:pt x="361" y="28"/>
                      </a:lnTo>
                      <a:lnTo>
                        <a:pt x="363" y="28"/>
                      </a:lnTo>
                      <a:lnTo>
                        <a:pt x="365" y="28"/>
                      </a:lnTo>
                      <a:lnTo>
                        <a:pt x="363" y="30"/>
                      </a:lnTo>
                      <a:lnTo>
                        <a:pt x="361" y="30"/>
                      </a:lnTo>
                      <a:lnTo>
                        <a:pt x="363" y="30"/>
                      </a:lnTo>
                      <a:lnTo>
                        <a:pt x="361" y="30"/>
                      </a:lnTo>
                      <a:lnTo>
                        <a:pt x="361" y="31"/>
                      </a:lnTo>
                      <a:lnTo>
                        <a:pt x="361" y="30"/>
                      </a:lnTo>
                      <a:lnTo>
                        <a:pt x="361" y="31"/>
                      </a:lnTo>
                      <a:lnTo>
                        <a:pt x="360" y="31"/>
                      </a:lnTo>
                      <a:lnTo>
                        <a:pt x="360" y="30"/>
                      </a:lnTo>
                      <a:lnTo>
                        <a:pt x="360" y="28"/>
                      </a:lnTo>
                      <a:lnTo>
                        <a:pt x="360" y="26"/>
                      </a:lnTo>
                      <a:lnTo>
                        <a:pt x="358" y="26"/>
                      </a:lnTo>
                      <a:lnTo>
                        <a:pt x="360" y="25"/>
                      </a:lnTo>
                      <a:lnTo>
                        <a:pt x="358" y="25"/>
                      </a:lnTo>
                      <a:lnTo>
                        <a:pt x="360" y="25"/>
                      </a:lnTo>
                      <a:lnTo>
                        <a:pt x="361" y="25"/>
                      </a:lnTo>
                      <a:close/>
                      <a:moveTo>
                        <a:pt x="370" y="26"/>
                      </a:moveTo>
                      <a:lnTo>
                        <a:pt x="368" y="26"/>
                      </a:lnTo>
                      <a:lnTo>
                        <a:pt x="368" y="25"/>
                      </a:lnTo>
                      <a:lnTo>
                        <a:pt x="368" y="26"/>
                      </a:lnTo>
                      <a:lnTo>
                        <a:pt x="370" y="26"/>
                      </a:lnTo>
                      <a:close/>
                      <a:moveTo>
                        <a:pt x="356" y="26"/>
                      </a:moveTo>
                      <a:lnTo>
                        <a:pt x="356" y="28"/>
                      </a:lnTo>
                      <a:lnTo>
                        <a:pt x="356" y="26"/>
                      </a:lnTo>
                      <a:lnTo>
                        <a:pt x="358" y="26"/>
                      </a:lnTo>
                      <a:lnTo>
                        <a:pt x="358" y="28"/>
                      </a:lnTo>
                      <a:lnTo>
                        <a:pt x="356" y="28"/>
                      </a:lnTo>
                      <a:lnTo>
                        <a:pt x="354" y="28"/>
                      </a:lnTo>
                      <a:lnTo>
                        <a:pt x="353" y="28"/>
                      </a:lnTo>
                      <a:lnTo>
                        <a:pt x="353" y="26"/>
                      </a:lnTo>
                      <a:lnTo>
                        <a:pt x="354" y="26"/>
                      </a:lnTo>
                      <a:lnTo>
                        <a:pt x="356" y="26"/>
                      </a:lnTo>
                      <a:close/>
                      <a:moveTo>
                        <a:pt x="360" y="26"/>
                      </a:moveTo>
                      <a:lnTo>
                        <a:pt x="360" y="28"/>
                      </a:lnTo>
                      <a:lnTo>
                        <a:pt x="360" y="30"/>
                      </a:lnTo>
                      <a:lnTo>
                        <a:pt x="360" y="31"/>
                      </a:lnTo>
                      <a:lnTo>
                        <a:pt x="360" y="33"/>
                      </a:lnTo>
                      <a:lnTo>
                        <a:pt x="358" y="33"/>
                      </a:lnTo>
                      <a:lnTo>
                        <a:pt x="358" y="31"/>
                      </a:lnTo>
                      <a:lnTo>
                        <a:pt x="360" y="31"/>
                      </a:lnTo>
                      <a:lnTo>
                        <a:pt x="358" y="31"/>
                      </a:lnTo>
                      <a:lnTo>
                        <a:pt x="356" y="30"/>
                      </a:lnTo>
                      <a:lnTo>
                        <a:pt x="356" y="28"/>
                      </a:lnTo>
                      <a:lnTo>
                        <a:pt x="358" y="28"/>
                      </a:lnTo>
                      <a:lnTo>
                        <a:pt x="358" y="30"/>
                      </a:lnTo>
                      <a:lnTo>
                        <a:pt x="358" y="28"/>
                      </a:lnTo>
                      <a:lnTo>
                        <a:pt x="358" y="26"/>
                      </a:lnTo>
                      <a:lnTo>
                        <a:pt x="360" y="26"/>
                      </a:lnTo>
                      <a:close/>
                      <a:moveTo>
                        <a:pt x="351" y="33"/>
                      </a:moveTo>
                      <a:lnTo>
                        <a:pt x="351" y="31"/>
                      </a:lnTo>
                      <a:lnTo>
                        <a:pt x="351" y="30"/>
                      </a:lnTo>
                      <a:lnTo>
                        <a:pt x="351" y="28"/>
                      </a:lnTo>
                      <a:lnTo>
                        <a:pt x="349" y="28"/>
                      </a:lnTo>
                      <a:lnTo>
                        <a:pt x="351" y="28"/>
                      </a:lnTo>
                      <a:lnTo>
                        <a:pt x="349" y="26"/>
                      </a:lnTo>
                      <a:lnTo>
                        <a:pt x="351" y="26"/>
                      </a:lnTo>
                      <a:lnTo>
                        <a:pt x="351" y="28"/>
                      </a:lnTo>
                      <a:lnTo>
                        <a:pt x="351" y="30"/>
                      </a:lnTo>
                      <a:lnTo>
                        <a:pt x="351" y="31"/>
                      </a:lnTo>
                      <a:lnTo>
                        <a:pt x="353" y="31"/>
                      </a:lnTo>
                      <a:lnTo>
                        <a:pt x="351" y="33"/>
                      </a:lnTo>
                      <a:close/>
                      <a:moveTo>
                        <a:pt x="366" y="28"/>
                      </a:moveTo>
                      <a:lnTo>
                        <a:pt x="366" y="26"/>
                      </a:lnTo>
                      <a:lnTo>
                        <a:pt x="368" y="26"/>
                      </a:lnTo>
                      <a:lnTo>
                        <a:pt x="368" y="28"/>
                      </a:lnTo>
                      <a:lnTo>
                        <a:pt x="366" y="28"/>
                      </a:lnTo>
                      <a:close/>
                      <a:moveTo>
                        <a:pt x="356" y="33"/>
                      </a:moveTo>
                      <a:lnTo>
                        <a:pt x="354" y="33"/>
                      </a:lnTo>
                      <a:lnTo>
                        <a:pt x="354" y="31"/>
                      </a:lnTo>
                      <a:lnTo>
                        <a:pt x="353" y="30"/>
                      </a:lnTo>
                      <a:lnTo>
                        <a:pt x="354" y="30"/>
                      </a:lnTo>
                      <a:lnTo>
                        <a:pt x="353" y="30"/>
                      </a:lnTo>
                      <a:lnTo>
                        <a:pt x="354" y="30"/>
                      </a:lnTo>
                      <a:lnTo>
                        <a:pt x="354" y="28"/>
                      </a:lnTo>
                      <a:lnTo>
                        <a:pt x="356" y="28"/>
                      </a:lnTo>
                      <a:lnTo>
                        <a:pt x="356" y="30"/>
                      </a:lnTo>
                      <a:lnTo>
                        <a:pt x="356" y="31"/>
                      </a:lnTo>
                      <a:lnTo>
                        <a:pt x="358" y="31"/>
                      </a:lnTo>
                      <a:lnTo>
                        <a:pt x="358" y="33"/>
                      </a:lnTo>
                      <a:lnTo>
                        <a:pt x="356" y="33"/>
                      </a:lnTo>
                      <a:close/>
                      <a:moveTo>
                        <a:pt x="346" y="36"/>
                      </a:moveTo>
                      <a:lnTo>
                        <a:pt x="346" y="35"/>
                      </a:lnTo>
                      <a:lnTo>
                        <a:pt x="346" y="33"/>
                      </a:lnTo>
                      <a:lnTo>
                        <a:pt x="348" y="31"/>
                      </a:lnTo>
                      <a:lnTo>
                        <a:pt x="348" y="30"/>
                      </a:lnTo>
                      <a:lnTo>
                        <a:pt x="349" y="30"/>
                      </a:lnTo>
                      <a:lnTo>
                        <a:pt x="349" y="31"/>
                      </a:lnTo>
                      <a:lnTo>
                        <a:pt x="348" y="31"/>
                      </a:lnTo>
                      <a:lnTo>
                        <a:pt x="349" y="31"/>
                      </a:lnTo>
                      <a:lnTo>
                        <a:pt x="348" y="33"/>
                      </a:lnTo>
                      <a:lnTo>
                        <a:pt x="348" y="35"/>
                      </a:lnTo>
                      <a:lnTo>
                        <a:pt x="346" y="35"/>
                      </a:lnTo>
                      <a:lnTo>
                        <a:pt x="346" y="36"/>
                      </a:lnTo>
                      <a:close/>
                      <a:moveTo>
                        <a:pt x="354" y="35"/>
                      </a:moveTo>
                      <a:lnTo>
                        <a:pt x="354" y="33"/>
                      </a:lnTo>
                      <a:lnTo>
                        <a:pt x="353" y="33"/>
                      </a:lnTo>
                      <a:lnTo>
                        <a:pt x="354" y="33"/>
                      </a:lnTo>
                      <a:lnTo>
                        <a:pt x="354" y="35"/>
                      </a:lnTo>
                      <a:close/>
                      <a:moveTo>
                        <a:pt x="348" y="36"/>
                      </a:moveTo>
                      <a:lnTo>
                        <a:pt x="346" y="36"/>
                      </a:lnTo>
                      <a:lnTo>
                        <a:pt x="346" y="35"/>
                      </a:lnTo>
                      <a:lnTo>
                        <a:pt x="348" y="35"/>
                      </a:lnTo>
                      <a:lnTo>
                        <a:pt x="348" y="36"/>
                      </a:lnTo>
                      <a:close/>
                      <a:moveTo>
                        <a:pt x="324" y="64"/>
                      </a:moveTo>
                      <a:lnTo>
                        <a:pt x="322" y="64"/>
                      </a:lnTo>
                      <a:lnTo>
                        <a:pt x="322" y="62"/>
                      </a:lnTo>
                      <a:lnTo>
                        <a:pt x="322" y="61"/>
                      </a:lnTo>
                      <a:lnTo>
                        <a:pt x="324" y="59"/>
                      </a:lnTo>
                      <a:lnTo>
                        <a:pt x="324" y="57"/>
                      </a:lnTo>
                      <a:lnTo>
                        <a:pt x="324" y="56"/>
                      </a:lnTo>
                      <a:lnTo>
                        <a:pt x="324" y="54"/>
                      </a:lnTo>
                      <a:lnTo>
                        <a:pt x="326" y="53"/>
                      </a:lnTo>
                      <a:lnTo>
                        <a:pt x="326" y="51"/>
                      </a:lnTo>
                      <a:lnTo>
                        <a:pt x="327" y="51"/>
                      </a:lnTo>
                      <a:lnTo>
                        <a:pt x="329" y="51"/>
                      </a:lnTo>
                      <a:lnTo>
                        <a:pt x="329" y="53"/>
                      </a:lnTo>
                      <a:lnTo>
                        <a:pt x="331" y="53"/>
                      </a:lnTo>
                      <a:lnTo>
                        <a:pt x="331" y="54"/>
                      </a:lnTo>
                      <a:lnTo>
                        <a:pt x="329" y="54"/>
                      </a:lnTo>
                      <a:lnTo>
                        <a:pt x="329" y="56"/>
                      </a:lnTo>
                      <a:lnTo>
                        <a:pt x="327" y="54"/>
                      </a:lnTo>
                      <a:lnTo>
                        <a:pt x="327" y="56"/>
                      </a:lnTo>
                      <a:lnTo>
                        <a:pt x="326" y="56"/>
                      </a:lnTo>
                      <a:lnTo>
                        <a:pt x="326" y="57"/>
                      </a:lnTo>
                      <a:lnTo>
                        <a:pt x="327" y="59"/>
                      </a:lnTo>
                      <a:lnTo>
                        <a:pt x="327" y="61"/>
                      </a:lnTo>
                      <a:lnTo>
                        <a:pt x="326" y="61"/>
                      </a:lnTo>
                      <a:lnTo>
                        <a:pt x="327" y="62"/>
                      </a:lnTo>
                      <a:lnTo>
                        <a:pt x="326" y="64"/>
                      </a:lnTo>
                      <a:lnTo>
                        <a:pt x="324" y="64"/>
                      </a:lnTo>
                      <a:close/>
                      <a:moveTo>
                        <a:pt x="329" y="62"/>
                      </a:moveTo>
                      <a:lnTo>
                        <a:pt x="327" y="62"/>
                      </a:lnTo>
                      <a:lnTo>
                        <a:pt x="327" y="61"/>
                      </a:lnTo>
                      <a:lnTo>
                        <a:pt x="327" y="59"/>
                      </a:lnTo>
                      <a:lnTo>
                        <a:pt x="327" y="57"/>
                      </a:lnTo>
                      <a:lnTo>
                        <a:pt x="326" y="56"/>
                      </a:lnTo>
                      <a:lnTo>
                        <a:pt x="327" y="56"/>
                      </a:lnTo>
                      <a:lnTo>
                        <a:pt x="329" y="56"/>
                      </a:lnTo>
                      <a:lnTo>
                        <a:pt x="331" y="56"/>
                      </a:lnTo>
                      <a:lnTo>
                        <a:pt x="331" y="54"/>
                      </a:lnTo>
                      <a:lnTo>
                        <a:pt x="332" y="54"/>
                      </a:lnTo>
                      <a:lnTo>
                        <a:pt x="332" y="56"/>
                      </a:lnTo>
                      <a:lnTo>
                        <a:pt x="332" y="57"/>
                      </a:lnTo>
                      <a:lnTo>
                        <a:pt x="331" y="59"/>
                      </a:lnTo>
                      <a:lnTo>
                        <a:pt x="329" y="59"/>
                      </a:lnTo>
                      <a:lnTo>
                        <a:pt x="329" y="61"/>
                      </a:lnTo>
                      <a:lnTo>
                        <a:pt x="329" y="62"/>
                      </a:lnTo>
                      <a:close/>
                      <a:moveTo>
                        <a:pt x="370" y="35"/>
                      </a:moveTo>
                      <a:lnTo>
                        <a:pt x="371" y="35"/>
                      </a:lnTo>
                      <a:lnTo>
                        <a:pt x="370" y="35"/>
                      </a:lnTo>
                      <a:close/>
                      <a:moveTo>
                        <a:pt x="368" y="36"/>
                      </a:moveTo>
                      <a:lnTo>
                        <a:pt x="366" y="35"/>
                      </a:lnTo>
                      <a:lnTo>
                        <a:pt x="368" y="35"/>
                      </a:lnTo>
                      <a:lnTo>
                        <a:pt x="370" y="35"/>
                      </a:lnTo>
                      <a:lnTo>
                        <a:pt x="368" y="35"/>
                      </a:lnTo>
                      <a:lnTo>
                        <a:pt x="368" y="36"/>
                      </a:lnTo>
                      <a:close/>
                      <a:moveTo>
                        <a:pt x="376" y="44"/>
                      </a:moveTo>
                      <a:lnTo>
                        <a:pt x="375" y="44"/>
                      </a:lnTo>
                      <a:lnTo>
                        <a:pt x="376" y="43"/>
                      </a:lnTo>
                      <a:lnTo>
                        <a:pt x="376" y="41"/>
                      </a:lnTo>
                      <a:lnTo>
                        <a:pt x="378" y="41"/>
                      </a:lnTo>
                      <a:lnTo>
                        <a:pt x="376" y="41"/>
                      </a:lnTo>
                      <a:lnTo>
                        <a:pt x="376" y="39"/>
                      </a:lnTo>
                      <a:lnTo>
                        <a:pt x="376" y="38"/>
                      </a:lnTo>
                      <a:lnTo>
                        <a:pt x="378" y="38"/>
                      </a:lnTo>
                      <a:lnTo>
                        <a:pt x="378" y="39"/>
                      </a:lnTo>
                      <a:lnTo>
                        <a:pt x="380" y="41"/>
                      </a:lnTo>
                      <a:lnTo>
                        <a:pt x="378" y="41"/>
                      </a:lnTo>
                      <a:lnTo>
                        <a:pt x="380" y="41"/>
                      </a:lnTo>
                      <a:lnTo>
                        <a:pt x="380" y="43"/>
                      </a:lnTo>
                      <a:lnTo>
                        <a:pt x="380" y="44"/>
                      </a:lnTo>
                      <a:lnTo>
                        <a:pt x="380" y="43"/>
                      </a:lnTo>
                      <a:lnTo>
                        <a:pt x="378" y="44"/>
                      </a:lnTo>
                      <a:lnTo>
                        <a:pt x="376" y="44"/>
                      </a:lnTo>
                      <a:close/>
                      <a:moveTo>
                        <a:pt x="373" y="48"/>
                      </a:moveTo>
                      <a:lnTo>
                        <a:pt x="371" y="48"/>
                      </a:lnTo>
                      <a:lnTo>
                        <a:pt x="371" y="46"/>
                      </a:lnTo>
                      <a:lnTo>
                        <a:pt x="371" y="44"/>
                      </a:lnTo>
                      <a:lnTo>
                        <a:pt x="373" y="44"/>
                      </a:lnTo>
                      <a:lnTo>
                        <a:pt x="375" y="43"/>
                      </a:lnTo>
                      <a:lnTo>
                        <a:pt x="373" y="43"/>
                      </a:lnTo>
                      <a:lnTo>
                        <a:pt x="375" y="43"/>
                      </a:lnTo>
                      <a:lnTo>
                        <a:pt x="375" y="41"/>
                      </a:lnTo>
                      <a:lnTo>
                        <a:pt x="376" y="41"/>
                      </a:lnTo>
                      <a:lnTo>
                        <a:pt x="375" y="44"/>
                      </a:lnTo>
                      <a:lnTo>
                        <a:pt x="373" y="44"/>
                      </a:lnTo>
                      <a:lnTo>
                        <a:pt x="375" y="44"/>
                      </a:lnTo>
                      <a:lnTo>
                        <a:pt x="375" y="46"/>
                      </a:lnTo>
                      <a:lnTo>
                        <a:pt x="375" y="48"/>
                      </a:lnTo>
                      <a:lnTo>
                        <a:pt x="373" y="48"/>
                      </a:lnTo>
                      <a:close/>
                      <a:moveTo>
                        <a:pt x="378" y="49"/>
                      </a:moveTo>
                      <a:lnTo>
                        <a:pt x="378" y="48"/>
                      </a:lnTo>
                      <a:lnTo>
                        <a:pt x="378" y="46"/>
                      </a:lnTo>
                      <a:lnTo>
                        <a:pt x="380" y="46"/>
                      </a:lnTo>
                      <a:lnTo>
                        <a:pt x="381" y="46"/>
                      </a:lnTo>
                      <a:lnTo>
                        <a:pt x="381" y="48"/>
                      </a:lnTo>
                      <a:lnTo>
                        <a:pt x="380" y="48"/>
                      </a:lnTo>
                      <a:lnTo>
                        <a:pt x="380" y="49"/>
                      </a:lnTo>
                      <a:lnTo>
                        <a:pt x="378" y="49"/>
                      </a:lnTo>
                      <a:close/>
                      <a:moveTo>
                        <a:pt x="383" y="48"/>
                      </a:moveTo>
                      <a:lnTo>
                        <a:pt x="383" y="46"/>
                      </a:lnTo>
                      <a:lnTo>
                        <a:pt x="383" y="48"/>
                      </a:lnTo>
                      <a:close/>
                      <a:moveTo>
                        <a:pt x="381" y="49"/>
                      </a:moveTo>
                      <a:lnTo>
                        <a:pt x="381" y="48"/>
                      </a:lnTo>
                      <a:lnTo>
                        <a:pt x="383" y="48"/>
                      </a:lnTo>
                      <a:lnTo>
                        <a:pt x="383" y="49"/>
                      </a:lnTo>
                      <a:lnTo>
                        <a:pt x="381" y="48"/>
                      </a:lnTo>
                      <a:lnTo>
                        <a:pt x="381" y="49"/>
                      </a:lnTo>
                      <a:close/>
                      <a:moveTo>
                        <a:pt x="371" y="48"/>
                      </a:moveTo>
                      <a:lnTo>
                        <a:pt x="373" y="48"/>
                      </a:lnTo>
                      <a:lnTo>
                        <a:pt x="371" y="48"/>
                      </a:lnTo>
                      <a:close/>
                      <a:moveTo>
                        <a:pt x="376" y="49"/>
                      </a:moveTo>
                      <a:lnTo>
                        <a:pt x="378" y="48"/>
                      </a:lnTo>
                      <a:lnTo>
                        <a:pt x="376" y="49"/>
                      </a:lnTo>
                      <a:close/>
                      <a:moveTo>
                        <a:pt x="375" y="48"/>
                      </a:moveTo>
                      <a:lnTo>
                        <a:pt x="376" y="48"/>
                      </a:lnTo>
                      <a:lnTo>
                        <a:pt x="375" y="48"/>
                      </a:lnTo>
                      <a:close/>
                      <a:moveTo>
                        <a:pt x="387" y="54"/>
                      </a:moveTo>
                      <a:lnTo>
                        <a:pt x="385" y="54"/>
                      </a:lnTo>
                      <a:lnTo>
                        <a:pt x="385" y="56"/>
                      </a:lnTo>
                      <a:lnTo>
                        <a:pt x="387" y="56"/>
                      </a:lnTo>
                      <a:lnTo>
                        <a:pt x="385" y="56"/>
                      </a:lnTo>
                      <a:lnTo>
                        <a:pt x="383" y="56"/>
                      </a:lnTo>
                      <a:lnTo>
                        <a:pt x="383" y="54"/>
                      </a:lnTo>
                      <a:lnTo>
                        <a:pt x="383" y="56"/>
                      </a:lnTo>
                      <a:lnTo>
                        <a:pt x="381" y="56"/>
                      </a:lnTo>
                      <a:lnTo>
                        <a:pt x="380" y="56"/>
                      </a:lnTo>
                      <a:lnTo>
                        <a:pt x="378" y="56"/>
                      </a:lnTo>
                      <a:lnTo>
                        <a:pt x="378" y="54"/>
                      </a:lnTo>
                      <a:lnTo>
                        <a:pt x="380" y="53"/>
                      </a:lnTo>
                      <a:lnTo>
                        <a:pt x="380" y="54"/>
                      </a:lnTo>
                      <a:lnTo>
                        <a:pt x="381" y="53"/>
                      </a:lnTo>
                      <a:lnTo>
                        <a:pt x="381" y="51"/>
                      </a:lnTo>
                      <a:lnTo>
                        <a:pt x="383" y="51"/>
                      </a:lnTo>
                      <a:lnTo>
                        <a:pt x="383" y="53"/>
                      </a:lnTo>
                      <a:lnTo>
                        <a:pt x="383" y="54"/>
                      </a:lnTo>
                      <a:lnTo>
                        <a:pt x="383" y="53"/>
                      </a:lnTo>
                      <a:lnTo>
                        <a:pt x="385" y="51"/>
                      </a:lnTo>
                      <a:lnTo>
                        <a:pt x="385" y="49"/>
                      </a:lnTo>
                      <a:lnTo>
                        <a:pt x="385" y="51"/>
                      </a:lnTo>
                      <a:lnTo>
                        <a:pt x="385" y="49"/>
                      </a:lnTo>
                      <a:lnTo>
                        <a:pt x="385" y="48"/>
                      </a:lnTo>
                      <a:lnTo>
                        <a:pt x="387" y="48"/>
                      </a:lnTo>
                      <a:lnTo>
                        <a:pt x="387" y="49"/>
                      </a:lnTo>
                      <a:lnTo>
                        <a:pt x="388" y="51"/>
                      </a:lnTo>
                      <a:lnTo>
                        <a:pt x="387" y="51"/>
                      </a:lnTo>
                      <a:lnTo>
                        <a:pt x="388" y="51"/>
                      </a:lnTo>
                      <a:lnTo>
                        <a:pt x="388" y="53"/>
                      </a:lnTo>
                      <a:lnTo>
                        <a:pt x="388" y="54"/>
                      </a:lnTo>
                      <a:lnTo>
                        <a:pt x="388" y="56"/>
                      </a:lnTo>
                      <a:lnTo>
                        <a:pt x="388" y="57"/>
                      </a:lnTo>
                      <a:lnTo>
                        <a:pt x="387" y="57"/>
                      </a:lnTo>
                      <a:lnTo>
                        <a:pt x="387" y="56"/>
                      </a:lnTo>
                      <a:lnTo>
                        <a:pt x="387" y="54"/>
                      </a:lnTo>
                      <a:lnTo>
                        <a:pt x="385" y="54"/>
                      </a:lnTo>
                      <a:lnTo>
                        <a:pt x="387" y="54"/>
                      </a:lnTo>
                      <a:close/>
                      <a:moveTo>
                        <a:pt x="381" y="49"/>
                      </a:moveTo>
                      <a:lnTo>
                        <a:pt x="383" y="49"/>
                      </a:lnTo>
                      <a:lnTo>
                        <a:pt x="381" y="49"/>
                      </a:lnTo>
                      <a:lnTo>
                        <a:pt x="383" y="51"/>
                      </a:lnTo>
                      <a:lnTo>
                        <a:pt x="381" y="51"/>
                      </a:lnTo>
                      <a:lnTo>
                        <a:pt x="381" y="53"/>
                      </a:lnTo>
                      <a:lnTo>
                        <a:pt x="380" y="53"/>
                      </a:lnTo>
                      <a:lnTo>
                        <a:pt x="381" y="53"/>
                      </a:lnTo>
                      <a:lnTo>
                        <a:pt x="381" y="51"/>
                      </a:lnTo>
                      <a:lnTo>
                        <a:pt x="380" y="51"/>
                      </a:lnTo>
                      <a:lnTo>
                        <a:pt x="380" y="53"/>
                      </a:lnTo>
                      <a:lnTo>
                        <a:pt x="380" y="51"/>
                      </a:lnTo>
                      <a:lnTo>
                        <a:pt x="378" y="51"/>
                      </a:lnTo>
                      <a:lnTo>
                        <a:pt x="380" y="51"/>
                      </a:lnTo>
                      <a:lnTo>
                        <a:pt x="380" y="49"/>
                      </a:lnTo>
                      <a:lnTo>
                        <a:pt x="381" y="49"/>
                      </a:lnTo>
                      <a:close/>
                      <a:moveTo>
                        <a:pt x="376" y="53"/>
                      </a:moveTo>
                      <a:lnTo>
                        <a:pt x="375" y="51"/>
                      </a:lnTo>
                      <a:lnTo>
                        <a:pt x="375" y="49"/>
                      </a:lnTo>
                      <a:lnTo>
                        <a:pt x="376" y="49"/>
                      </a:lnTo>
                      <a:lnTo>
                        <a:pt x="378" y="49"/>
                      </a:lnTo>
                      <a:lnTo>
                        <a:pt x="378" y="51"/>
                      </a:lnTo>
                      <a:lnTo>
                        <a:pt x="376" y="51"/>
                      </a:lnTo>
                      <a:lnTo>
                        <a:pt x="376" y="53"/>
                      </a:lnTo>
                      <a:lnTo>
                        <a:pt x="378" y="53"/>
                      </a:lnTo>
                      <a:lnTo>
                        <a:pt x="378" y="54"/>
                      </a:lnTo>
                      <a:lnTo>
                        <a:pt x="378" y="56"/>
                      </a:lnTo>
                      <a:lnTo>
                        <a:pt x="380" y="56"/>
                      </a:lnTo>
                      <a:lnTo>
                        <a:pt x="380" y="57"/>
                      </a:lnTo>
                      <a:lnTo>
                        <a:pt x="378" y="57"/>
                      </a:lnTo>
                      <a:lnTo>
                        <a:pt x="376" y="57"/>
                      </a:lnTo>
                      <a:lnTo>
                        <a:pt x="376" y="56"/>
                      </a:lnTo>
                      <a:lnTo>
                        <a:pt x="376" y="54"/>
                      </a:lnTo>
                      <a:lnTo>
                        <a:pt x="376" y="53"/>
                      </a:lnTo>
                      <a:close/>
                      <a:moveTo>
                        <a:pt x="378" y="53"/>
                      </a:moveTo>
                      <a:lnTo>
                        <a:pt x="378" y="51"/>
                      </a:lnTo>
                      <a:lnTo>
                        <a:pt x="380" y="51"/>
                      </a:lnTo>
                      <a:lnTo>
                        <a:pt x="380" y="53"/>
                      </a:lnTo>
                      <a:lnTo>
                        <a:pt x="381" y="51"/>
                      </a:lnTo>
                      <a:lnTo>
                        <a:pt x="381" y="53"/>
                      </a:lnTo>
                      <a:lnTo>
                        <a:pt x="380" y="53"/>
                      </a:lnTo>
                      <a:lnTo>
                        <a:pt x="378" y="53"/>
                      </a:lnTo>
                      <a:close/>
                      <a:moveTo>
                        <a:pt x="375" y="53"/>
                      </a:moveTo>
                      <a:lnTo>
                        <a:pt x="375" y="51"/>
                      </a:lnTo>
                      <a:lnTo>
                        <a:pt x="375" y="53"/>
                      </a:lnTo>
                      <a:close/>
                      <a:moveTo>
                        <a:pt x="375" y="57"/>
                      </a:moveTo>
                      <a:lnTo>
                        <a:pt x="375" y="56"/>
                      </a:lnTo>
                      <a:lnTo>
                        <a:pt x="376" y="56"/>
                      </a:lnTo>
                      <a:lnTo>
                        <a:pt x="376" y="57"/>
                      </a:lnTo>
                      <a:lnTo>
                        <a:pt x="378" y="57"/>
                      </a:lnTo>
                      <a:lnTo>
                        <a:pt x="378" y="59"/>
                      </a:lnTo>
                      <a:lnTo>
                        <a:pt x="376" y="59"/>
                      </a:lnTo>
                      <a:lnTo>
                        <a:pt x="376" y="57"/>
                      </a:lnTo>
                      <a:lnTo>
                        <a:pt x="375" y="57"/>
                      </a:lnTo>
                      <a:close/>
                      <a:moveTo>
                        <a:pt x="381" y="57"/>
                      </a:moveTo>
                      <a:lnTo>
                        <a:pt x="380" y="57"/>
                      </a:lnTo>
                      <a:lnTo>
                        <a:pt x="381" y="57"/>
                      </a:lnTo>
                      <a:close/>
                      <a:moveTo>
                        <a:pt x="380" y="61"/>
                      </a:moveTo>
                      <a:lnTo>
                        <a:pt x="378" y="59"/>
                      </a:lnTo>
                      <a:lnTo>
                        <a:pt x="380" y="59"/>
                      </a:lnTo>
                      <a:lnTo>
                        <a:pt x="381" y="59"/>
                      </a:lnTo>
                      <a:lnTo>
                        <a:pt x="380" y="59"/>
                      </a:lnTo>
                      <a:lnTo>
                        <a:pt x="380" y="61"/>
                      </a:lnTo>
                      <a:close/>
                      <a:moveTo>
                        <a:pt x="385" y="71"/>
                      </a:moveTo>
                      <a:lnTo>
                        <a:pt x="383" y="69"/>
                      </a:lnTo>
                      <a:lnTo>
                        <a:pt x="383" y="67"/>
                      </a:lnTo>
                      <a:lnTo>
                        <a:pt x="385" y="67"/>
                      </a:lnTo>
                      <a:lnTo>
                        <a:pt x="387" y="67"/>
                      </a:lnTo>
                      <a:lnTo>
                        <a:pt x="387" y="66"/>
                      </a:lnTo>
                      <a:lnTo>
                        <a:pt x="388" y="67"/>
                      </a:lnTo>
                      <a:lnTo>
                        <a:pt x="387" y="69"/>
                      </a:lnTo>
                      <a:lnTo>
                        <a:pt x="385" y="69"/>
                      </a:lnTo>
                      <a:lnTo>
                        <a:pt x="385" y="71"/>
                      </a:lnTo>
                      <a:close/>
                      <a:moveTo>
                        <a:pt x="390" y="71"/>
                      </a:moveTo>
                      <a:lnTo>
                        <a:pt x="390" y="69"/>
                      </a:lnTo>
                      <a:lnTo>
                        <a:pt x="392" y="69"/>
                      </a:lnTo>
                      <a:lnTo>
                        <a:pt x="392" y="71"/>
                      </a:lnTo>
                      <a:lnTo>
                        <a:pt x="390" y="71"/>
                      </a:lnTo>
                      <a:close/>
                      <a:moveTo>
                        <a:pt x="290" y="23"/>
                      </a:moveTo>
                      <a:lnTo>
                        <a:pt x="290" y="21"/>
                      </a:lnTo>
                      <a:lnTo>
                        <a:pt x="290" y="20"/>
                      </a:lnTo>
                      <a:lnTo>
                        <a:pt x="292" y="20"/>
                      </a:lnTo>
                      <a:lnTo>
                        <a:pt x="294" y="20"/>
                      </a:lnTo>
                      <a:lnTo>
                        <a:pt x="294" y="21"/>
                      </a:lnTo>
                      <a:lnTo>
                        <a:pt x="294" y="23"/>
                      </a:lnTo>
                      <a:lnTo>
                        <a:pt x="292" y="23"/>
                      </a:lnTo>
                      <a:lnTo>
                        <a:pt x="292" y="25"/>
                      </a:lnTo>
                      <a:lnTo>
                        <a:pt x="294" y="25"/>
                      </a:lnTo>
                      <a:lnTo>
                        <a:pt x="294" y="23"/>
                      </a:lnTo>
                      <a:lnTo>
                        <a:pt x="294" y="21"/>
                      </a:lnTo>
                      <a:lnTo>
                        <a:pt x="295" y="21"/>
                      </a:lnTo>
                      <a:lnTo>
                        <a:pt x="294" y="21"/>
                      </a:lnTo>
                      <a:lnTo>
                        <a:pt x="294" y="20"/>
                      </a:lnTo>
                      <a:lnTo>
                        <a:pt x="295" y="20"/>
                      </a:lnTo>
                      <a:lnTo>
                        <a:pt x="295" y="18"/>
                      </a:lnTo>
                      <a:lnTo>
                        <a:pt x="295" y="16"/>
                      </a:lnTo>
                      <a:lnTo>
                        <a:pt x="295" y="15"/>
                      </a:lnTo>
                      <a:lnTo>
                        <a:pt x="295" y="13"/>
                      </a:lnTo>
                      <a:lnTo>
                        <a:pt x="295" y="12"/>
                      </a:lnTo>
                      <a:lnTo>
                        <a:pt x="295" y="10"/>
                      </a:lnTo>
                      <a:lnTo>
                        <a:pt x="295" y="8"/>
                      </a:lnTo>
                      <a:lnTo>
                        <a:pt x="297" y="8"/>
                      </a:lnTo>
                      <a:lnTo>
                        <a:pt x="295" y="8"/>
                      </a:lnTo>
                      <a:lnTo>
                        <a:pt x="295" y="7"/>
                      </a:lnTo>
                      <a:lnTo>
                        <a:pt x="297" y="7"/>
                      </a:lnTo>
                      <a:lnTo>
                        <a:pt x="297" y="8"/>
                      </a:lnTo>
                      <a:lnTo>
                        <a:pt x="297" y="10"/>
                      </a:lnTo>
                      <a:lnTo>
                        <a:pt x="299" y="12"/>
                      </a:lnTo>
                      <a:lnTo>
                        <a:pt x="297" y="12"/>
                      </a:lnTo>
                      <a:lnTo>
                        <a:pt x="297" y="13"/>
                      </a:lnTo>
                      <a:lnTo>
                        <a:pt x="297" y="12"/>
                      </a:lnTo>
                      <a:lnTo>
                        <a:pt x="297" y="13"/>
                      </a:lnTo>
                      <a:lnTo>
                        <a:pt x="295" y="15"/>
                      </a:lnTo>
                      <a:lnTo>
                        <a:pt x="295" y="16"/>
                      </a:lnTo>
                      <a:lnTo>
                        <a:pt x="295" y="18"/>
                      </a:lnTo>
                      <a:lnTo>
                        <a:pt x="297" y="18"/>
                      </a:lnTo>
                      <a:lnTo>
                        <a:pt x="295" y="18"/>
                      </a:lnTo>
                      <a:lnTo>
                        <a:pt x="295" y="20"/>
                      </a:lnTo>
                      <a:lnTo>
                        <a:pt x="295" y="21"/>
                      </a:lnTo>
                      <a:lnTo>
                        <a:pt x="295" y="23"/>
                      </a:lnTo>
                      <a:lnTo>
                        <a:pt x="295" y="25"/>
                      </a:lnTo>
                      <a:lnTo>
                        <a:pt x="295" y="26"/>
                      </a:lnTo>
                      <a:lnTo>
                        <a:pt x="295" y="28"/>
                      </a:lnTo>
                      <a:lnTo>
                        <a:pt x="294" y="30"/>
                      </a:lnTo>
                      <a:lnTo>
                        <a:pt x="292" y="30"/>
                      </a:lnTo>
                      <a:lnTo>
                        <a:pt x="290" y="30"/>
                      </a:lnTo>
                      <a:lnTo>
                        <a:pt x="289" y="30"/>
                      </a:lnTo>
                      <a:lnTo>
                        <a:pt x="289" y="28"/>
                      </a:lnTo>
                      <a:lnTo>
                        <a:pt x="290" y="28"/>
                      </a:lnTo>
                      <a:lnTo>
                        <a:pt x="292" y="28"/>
                      </a:lnTo>
                      <a:lnTo>
                        <a:pt x="290" y="28"/>
                      </a:lnTo>
                      <a:lnTo>
                        <a:pt x="290" y="26"/>
                      </a:lnTo>
                      <a:lnTo>
                        <a:pt x="290" y="25"/>
                      </a:lnTo>
                      <a:lnTo>
                        <a:pt x="292" y="26"/>
                      </a:lnTo>
                      <a:lnTo>
                        <a:pt x="292" y="25"/>
                      </a:lnTo>
                      <a:lnTo>
                        <a:pt x="290" y="23"/>
                      </a:lnTo>
                      <a:close/>
                      <a:moveTo>
                        <a:pt x="290" y="23"/>
                      </a:moveTo>
                      <a:lnTo>
                        <a:pt x="290" y="25"/>
                      </a:lnTo>
                      <a:lnTo>
                        <a:pt x="289" y="25"/>
                      </a:lnTo>
                      <a:lnTo>
                        <a:pt x="289" y="23"/>
                      </a:lnTo>
                      <a:lnTo>
                        <a:pt x="290" y="23"/>
                      </a:lnTo>
                      <a:close/>
                      <a:moveTo>
                        <a:pt x="290" y="20"/>
                      </a:moveTo>
                      <a:lnTo>
                        <a:pt x="289" y="18"/>
                      </a:lnTo>
                      <a:lnTo>
                        <a:pt x="289" y="16"/>
                      </a:lnTo>
                      <a:lnTo>
                        <a:pt x="289" y="15"/>
                      </a:lnTo>
                      <a:lnTo>
                        <a:pt x="290" y="15"/>
                      </a:lnTo>
                      <a:lnTo>
                        <a:pt x="290" y="13"/>
                      </a:lnTo>
                      <a:lnTo>
                        <a:pt x="292" y="15"/>
                      </a:lnTo>
                      <a:lnTo>
                        <a:pt x="292" y="16"/>
                      </a:lnTo>
                      <a:lnTo>
                        <a:pt x="292" y="18"/>
                      </a:lnTo>
                      <a:lnTo>
                        <a:pt x="292" y="20"/>
                      </a:lnTo>
                      <a:lnTo>
                        <a:pt x="290" y="20"/>
                      </a:lnTo>
                      <a:close/>
                      <a:moveTo>
                        <a:pt x="299" y="18"/>
                      </a:moveTo>
                      <a:lnTo>
                        <a:pt x="300" y="16"/>
                      </a:lnTo>
                      <a:lnTo>
                        <a:pt x="300" y="15"/>
                      </a:lnTo>
                      <a:lnTo>
                        <a:pt x="302" y="15"/>
                      </a:lnTo>
                      <a:lnTo>
                        <a:pt x="300" y="15"/>
                      </a:lnTo>
                      <a:lnTo>
                        <a:pt x="300" y="13"/>
                      </a:lnTo>
                      <a:lnTo>
                        <a:pt x="302" y="13"/>
                      </a:lnTo>
                      <a:lnTo>
                        <a:pt x="304" y="15"/>
                      </a:lnTo>
                      <a:lnTo>
                        <a:pt x="305" y="15"/>
                      </a:lnTo>
                      <a:lnTo>
                        <a:pt x="305" y="16"/>
                      </a:lnTo>
                      <a:lnTo>
                        <a:pt x="304" y="18"/>
                      </a:lnTo>
                      <a:lnTo>
                        <a:pt x="304" y="16"/>
                      </a:lnTo>
                      <a:lnTo>
                        <a:pt x="302" y="18"/>
                      </a:lnTo>
                      <a:lnTo>
                        <a:pt x="302" y="16"/>
                      </a:lnTo>
                      <a:lnTo>
                        <a:pt x="300" y="18"/>
                      </a:lnTo>
                      <a:lnTo>
                        <a:pt x="299" y="18"/>
                      </a:lnTo>
                      <a:close/>
                      <a:moveTo>
                        <a:pt x="294" y="20"/>
                      </a:moveTo>
                      <a:lnTo>
                        <a:pt x="294" y="18"/>
                      </a:lnTo>
                      <a:lnTo>
                        <a:pt x="294" y="20"/>
                      </a:lnTo>
                      <a:close/>
                      <a:moveTo>
                        <a:pt x="300" y="21"/>
                      </a:moveTo>
                      <a:lnTo>
                        <a:pt x="302" y="20"/>
                      </a:lnTo>
                      <a:lnTo>
                        <a:pt x="302" y="21"/>
                      </a:lnTo>
                      <a:lnTo>
                        <a:pt x="300" y="21"/>
                      </a:lnTo>
                      <a:close/>
                      <a:moveTo>
                        <a:pt x="302" y="23"/>
                      </a:moveTo>
                      <a:lnTo>
                        <a:pt x="304" y="21"/>
                      </a:lnTo>
                      <a:lnTo>
                        <a:pt x="304" y="20"/>
                      </a:lnTo>
                      <a:lnTo>
                        <a:pt x="304" y="21"/>
                      </a:lnTo>
                      <a:lnTo>
                        <a:pt x="305" y="21"/>
                      </a:lnTo>
                      <a:lnTo>
                        <a:pt x="304" y="21"/>
                      </a:lnTo>
                      <a:lnTo>
                        <a:pt x="304" y="23"/>
                      </a:lnTo>
                      <a:lnTo>
                        <a:pt x="302" y="23"/>
                      </a:lnTo>
                      <a:close/>
                      <a:moveTo>
                        <a:pt x="302" y="25"/>
                      </a:moveTo>
                      <a:lnTo>
                        <a:pt x="302" y="23"/>
                      </a:lnTo>
                      <a:lnTo>
                        <a:pt x="304" y="23"/>
                      </a:lnTo>
                      <a:lnTo>
                        <a:pt x="304" y="25"/>
                      </a:lnTo>
                      <a:lnTo>
                        <a:pt x="302" y="25"/>
                      </a:lnTo>
                      <a:close/>
                      <a:moveTo>
                        <a:pt x="405" y="100"/>
                      </a:moveTo>
                      <a:lnTo>
                        <a:pt x="405" y="99"/>
                      </a:lnTo>
                      <a:lnTo>
                        <a:pt x="403" y="99"/>
                      </a:lnTo>
                      <a:lnTo>
                        <a:pt x="405" y="99"/>
                      </a:lnTo>
                      <a:lnTo>
                        <a:pt x="405" y="97"/>
                      </a:lnTo>
                      <a:lnTo>
                        <a:pt x="407" y="97"/>
                      </a:lnTo>
                      <a:lnTo>
                        <a:pt x="407" y="99"/>
                      </a:lnTo>
                      <a:lnTo>
                        <a:pt x="405" y="99"/>
                      </a:lnTo>
                      <a:lnTo>
                        <a:pt x="405" y="100"/>
                      </a:lnTo>
                      <a:close/>
                      <a:moveTo>
                        <a:pt x="407" y="92"/>
                      </a:moveTo>
                      <a:lnTo>
                        <a:pt x="407" y="90"/>
                      </a:lnTo>
                      <a:lnTo>
                        <a:pt x="408" y="89"/>
                      </a:lnTo>
                      <a:lnTo>
                        <a:pt x="408" y="90"/>
                      </a:lnTo>
                      <a:lnTo>
                        <a:pt x="407" y="92"/>
                      </a:lnTo>
                      <a:close/>
                      <a:moveTo>
                        <a:pt x="405" y="95"/>
                      </a:moveTo>
                      <a:lnTo>
                        <a:pt x="407" y="94"/>
                      </a:lnTo>
                      <a:lnTo>
                        <a:pt x="408" y="94"/>
                      </a:lnTo>
                      <a:lnTo>
                        <a:pt x="407" y="95"/>
                      </a:lnTo>
                      <a:lnTo>
                        <a:pt x="405" y="95"/>
                      </a:lnTo>
                      <a:close/>
                      <a:moveTo>
                        <a:pt x="392" y="71"/>
                      </a:moveTo>
                      <a:lnTo>
                        <a:pt x="392" y="69"/>
                      </a:lnTo>
                      <a:lnTo>
                        <a:pt x="393" y="69"/>
                      </a:lnTo>
                      <a:lnTo>
                        <a:pt x="393" y="67"/>
                      </a:lnTo>
                      <a:lnTo>
                        <a:pt x="395" y="67"/>
                      </a:lnTo>
                      <a:lnTo>
                        <a:pt x="395" y="69"/>
                      </a:lnTo>
                      <a:lnTo>
                        <a:pt x="393" y="69"/>
                      </a:lnTo>
                      <a:lnTo>
                        <a:pt x="393" y="71"/>
                      </a:lnTo>
                      <a:lnTo>
                        <a:pt x="392" y="71"/>
                      </a:lnTo>
                      <a:close/>
                      <a:moveTo>
                        <a:pt x="397" y="76"/>
                      </a:moveTo>
                      <a:lnTo>
                        <a:pt x="395" y="76"/>
                      </a:lnTo>
                      <a:lnTo>
                        <a:pt x="395" y="74"/>
                      </a:lnTo>
                      <a:lnTo>
                        <a:pt x="393" y="72"/>
                      </a:lnTo>
                      <a:lnTo>
                        <a:pt x="395" y="71"/>
                      </a:lnTo>
                      <a:lnTo>
                        <a:pt x="397" y="71"/>
                      </a:lnTo>
                      <a:lnTo>
                        <a:pt x="397" y="69"/>
                      </a:lnTo>
                      <a:lnTo>
                        <a:pt x="397" y="71"/>
                      </a:lnTo>
                      <a:lnTo>
                        <a:pt x="397" y="72"/>
                      </a:lnTo>
                      <a:lnTo>
                        <a:pt x="397" y="74"/>
                      </a:lnTo>
                      <a:lnTo>
                        <a:pt x="397" y="76"/>
                      </a:lnTo>
                      <a:close/>
                      <a:moveTo>
                        <a:pt x="392" y="72"/>
                      </a:moveTo>
                      <a:lnTo>
                        <a:pt x="393" y="72"/>
                      </a:lnTo>
                      <a:lnTo>
                        <a:pt x="393" y="74"/>
                      </a:lnTo>
                      <a:lnTo>
                        <a:pt x="393" y="72"/>
                      </a:lnTo>
                      <a:lnTo>
                        <a:pt x="392" y="72"/>
                      </a:lnTo>
                      <a:close/>
                      <a:moveTo>
                        <a:pt x="397" y="76"/>
                      </a:moveTo>
                      <a:lnTo>
                        <a:pt x="397" y="74"/>
                      </a:lnTo>
                      <a:lnTo>
                        <a:pt x="397" y="76"/>
                      </a:lnTo>
                      <a:close/>
                      <a:moveTo>
                        <a:pt x="397" y="79"/>
                      </a:moveTo>
                      <a:lnTo>
                        <a:pt x="397" y="77"/>
                      </a:lnTo>
                      <a:lnTo>
                        <a:pt x="398" y="77"/>
                      </a:lnTo>
                      <a:lnTo>
                        <a:pt x="398" y="79"/>
                      </a:lnTo>
                      <a:lnTo>
                        <a:pt x="397" y="79"/>
                      </a:lnTo>
                      <a:close/>
                      <a:moveTo>
                        <a:pt x="451" y="125"/>
                      </a:moveTo>
                      <a:lnTo>
                        <a:pt x="449" y="125"/>
                      </a:lnTo>
                      <a:lnTo>
                        <a:pt x="449" y="126"/>
                      </a:lnTo>
                      <a:lnTo>
                        <a:pt x="449" y="125"/>
                      </a:lnTo>
                      <a:lnTo>
                        <a:pt x="451" y="125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79" name="Freeform 21"/>
                <p:cNvSpPr>
                  <a:spLocks noChangeAspect="1"/>
                </p:cNvSpPr>
                <p:nvPr/>
              </p:nvSpPr>
              <p:spPr bwMode="auto">
                <a:xfrm>
                  <a:off x="5416296" y="1696300"/>
                  <a:ext cx="833068" cy="1264484"/>
                </a:xfrm>
                <a:custGeom>
                  <a:avLst/>
                  <a:gdLst>
                    <a:gd name="T0" fmla="*/ 2147483647 w 532"/>
                    <a:gd name="T1" fmla="*/ 2147483647 h 755"/>
                    <a:gd name="T2" fmla="*/ 2147483647 w 532"/>
                    <a:gd name="T3" fmla="*/ 2147483647 h 755"/>
                    <a:gd name="T4" fmla="*/ 2147483647 w 532"/>
                    <a:gd name="T5" fmla="*/ 2147483647 h 755"/>
                    <a:gd name="T6" fmla="*/ 2147483647 w 532"/>
                    <a:gd name="T7" fmla="*/ 2147483647 h 755"/>
                    <a:gd name="T8" fmla="*/ 2147483647 w 532"/>
                    <a:gd name="T9" fmla="*/ 2147483647 h 755"/>
                    <a:gd name="T10" fmla="*/ 2147483647 w 532"/>
                    <a:gd name="T11" fmla="*/ 2147483647 h 755"/>
                    <a:gd name="T12" fmla="*/ 2147483647 w 532"/>
                    <a:gd name="T13" fmla="*/ 2147483647 h 755"/>
                    <a:gd name="T14" fmla="*/ 2147483647 w 532"/>
                    <a:gd name="T15" fmla="*/ 2147483647 h 755"/>
                    <a:gd name="T16" fmla="*/ 2147483647 w 532"/>
                    <a:gd name="T17" fmla="*/ 2147483647 h 755"/>
                    <a:gd name="T18" fmla="*/ 2147483647 w 532"/>
                    <a:gd name="T19" fmla="*/ 2147483647 h 755"/>
                    <a:gd name="T20" fmla="*/ 2147483647 w 532"/>
                    <a:gd name="T21" fmla="*/ 2147483647 h 755"/>
                    <a:gd name="T22" fmla="*/ 2147483647 w 532"/>
                    <a:gd name="T23" fmla="*/ 2147483647 h 755"/>
                    <a:gd name="T24" fmla="*/ 2147483647 w 532"/>
                    <a:gd name="T25" fmla="*/ 2147483647 h 755"/>
                    <a:gd name="T26" fmla="*/ 2147483647 w 532"/>
                    <a:gd name="T27" fmla="*/ 2147483647 h 755"/>
                    <a:gd name="T28" fmla="*/ 2147483647 w 532"/>
                    <a:gd name="T29" fmla="*/ 2147483647 h 755"/>
                    <a:gd name="T30" fmla="*/ 2147483647 w 532"/>
                    <a:gd name="T31" fmla="*/ 2147483647 h 755"/>
                    <a:gd name="T32" fmla="*/ 2147483647 w 532"/>
                    <a:gd name="T33" fmla="*/ 2147483647 h 755"/>
                    <a:gd name="T34" fmla="*/ 2147483647 w 532"/>
                    <a:gd name="T35" fmla="*/ 2147483647 h 755"/>
                    <a:gd name="T36" fmla="*/ 2147483647 w 532"/>
                    <a:gd name="T37" fmla="*/ 2147483647 h 755"/>
                    <a:gd name="T38" fmla="*/ 2147483647 w 532"/>
                    <a:gd name="T39" fmla="*/ 2147483647 h 755"/>
                    <a:gd name="T40" fmla="*/ 2147483647 w 532"/>
                    <a:gd name="T41" fmla="*/ 2147483647 h 755"/>
                    <a:gd name="T42" fmla="*/ 2147483647 w 532"/>
                    <a:gd name="T43" fmla="*/ 2147483647 h 755"/>
                    <a:gd name="T44" fmla="*/ 2147483647 w 532"/>
                    <a:gd name="T45" fmla="*/ 2147483647 h 755"/>
                    <a:gd name="T46" fmla="*/ 2147483647 w 532"/>
                    <a:gd name="T47" fmla="*/ 2147483647 h 755"/>
                    <a:gd name="T48" fmla="*/ 2147483647 w 532"/>
                    <a:gd name="T49" fmla="*/ 2147483647 h 755"/>
                    <a:gd name="T50" fmla="*/ 2147483647 w 532"/>
                    <a:gd name="T51" fmla="*/ 2147483647 h 755"/>
                    <a:gd name="T52" fmla="*/ 2147483647 w 532"/>
                    <a:gd name="T53" fmla="*/ 2147483647 h 755"/>
                    <a:gd name="T54" fmla="*/ 2147483647 w 532"/>
                    <a:gd name="T55" fmla="*/ 2147483647 h 755"/>
                    <a:gd name="T56" fmla="*/ 2147483647 w 532"/>
                    <a:gd name="T57" fmla="*/ 2147483647 h 755"/>
                    <a:gd name="T58" fmla="*/ 2147483647 w 532"/>
                    <a:gd name="T59" fmla="*/ 2147483647 h 755"/>
                    <a:gd name="T60" fmla="*/ 2147483647 w 532"/>
                    <a:gd name="T61" fmla="*/ 2147483647 h 755"/>
                    <a:gd name="T62" fmla="*/ 2147483647 w 532"/>
                    <a:gd name="T63" fmla="*/ 2147483647 h 755"/>
                    <a:gd name="T64" fmla="*/ 2147483647 w 532"/>
                    <a:gd name="T65" fmla="*/ 2147483647 h 755"/>
                    <a:gd name="T66" fmla="*/ 2147483647 w 532"/>
                    <a:gd name="T67" fmla="*/ 2147483647 h 755"/>
                    <a:gd name="T68" fmla="*/ 2147483647 w 532"/>
                    <a:gd name="T69" fmla="*/ 2147483647 h 755"/>
                    <a:gd name="T70" fmla="*/ 2147483647 w 532"/>
                    <a:gd name="T71" fmla="*/ 2147483647 h 755"/>
                    <a:gd name="T72" fmla="*/ 2147483647 w 532"/>
                    <a:gd name="T73" fmla="*/ 2147483647 h 755"/>
                    <a:gd name="T74" fmla="*/ 2147483647 w 532"/>
                    <a:gd name="T75" fmla="*/ 2147483647 h 755"/>
                    <a:gd name="T76" fmla="*/ 2147483647 w 532"/>
                    <a:gd name="T77" fmla="*/ 2147483647 h 755"/>
                    <a:gd name="T78" fmla="*/ 2147483647 w 532"/>
                    <a:gd name="T79" fmla="*/ 2147483647 h 755"/>
                    <a:gd name="T80" fmla="*/ 2147483647 w 532"/>
                    <a:gd name="T81" fmla="*/ 2147483647 h 755"/>
                    <a:gd name="T82" fmla="*/ 2147483647 w 532"/>
                    <a:gd name="T83" fmla="*/ 2147483647 h 755"/>
                    <a:gd name="T84" fmla="*/ 2147483647 w 532"/>
                    <a:gd name="T85" fmla="*/ 2147483647 h 755"/>
                    <a:gd name="T86" fmla="*/ 2147483647 w 532"/>
                    <a:gd name="T87" fmla="*/ 2147483647 h 755"/>
                    <a:gd name="T88" fmla="*/ 2147483647 w 532"/>
                    <a:gd name="T89" fmla="*/ 2147483647 h 755"/>
                    <a:gd name="T90" fmla="*/ 2147483647 w 532"/>
                    <a:gd name="T91" fmla="*/ 2147483647 h 755"/>
                    <a:gd name="T92" fmla="*/ 2147483647 w 532"/>
                    <a:gd name="T93" fmla="*/ 2147483647 h 755"/>
                    <a:gd name="T94" fmla="*/ 2147483647 w 532"/>
                    <a:gd name="T95" fmla="*/ 2147483647 h 755"/>
                    <a:gd name="T96" fmla="*/ 2147483647 w 532"/>
                    <a:gd name="T97" fmla="*/ 2147483647 h 755"/>
                    <a:gd name="T98" fmla="*/ 2147483647 w 532"/>
                    <a:gd name="T99" fmla="*/ 2147483647 h 755"/>
                    <a:gd name="T100" fmla="*/ 2147483647 w 532"/>
                    <a:gd name="T101" fmla="*/ 2147483647 h 755"/>
                    <a:gd name="T102" fmla="*/ 2147483647 w 532"/>
                    <a:gd name="T103" fmla="*/ 2147483647 h 755"/>
                    <a:gd name="T104" fmla="*/ 2147483647 w 532"/>
                    <a:gd name="T105" fmla="*/ 2147483647 h 755"/>
                    <a:gd name="T106" fmla="*/ 2147483647 w 532"/>
                    <a:gd name="T107" fmla="*/ 2147483647 h 755"/>
                    <a:gd name="T108" fmla="*/ 2147483647 w 532"/>
                    <a:gd name="T109" fmla="*/ 2147483647 h 755"/>
                    <a:gd name="T110" fmla="*/ 2147483647 w 532"/>
                    <a:gd name="T111" fmla="*/ 2147483647 h 755"/>
                    <a:gd name="T112" fmla="*/ 2147483647 w 532"/>
                    <a:gd name="T113" fmla="*/ 2147483647 h 755"/>
                    <a:gd name="T114" fmla="*/ 2147483647 w 532"/>
                    <a:gd name="T115" fmla="*/ 2147483647 h 755"/>
                    <a:gd name="T116" fmla="*/ 2147483647 w 532"/>
                    <a:gd name="T117" fmla="*/ 2147483647 h 755"/>
                    <a:gd name="T118" fmla="*/ 2147483647 w 532"/>
                    <a:gd name="T119" fmla="*/ 2147483647 h 755"/>
                    <a:gd name="T120" fmla="*/ 2147483647 w 532"/>
                    <a:gd name="T121" fmla="*/ 2147483647 h 755"/>
                    <a:gd name="T122" fmla="*/ 2147483647 w 532"/>
                    <a:gd name="T123" fmla="*/ 2147483647 h 755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532"/>
                    <a:gd name="T187" fmla="*/ 0 h 755"/>
                    <a:gd name="T188" fmla="*/ 532 w 532"/>
                    <a:gd name="T189" fmla="*/ 755 h 755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532" h="755">
                      <a:moveTo>
                        <a:pt x="47" y="698"/>
                      </a:moveTo>
                      <a:lnTo>
                        <a:pt x="45" y="696"/>
                      </a:lnTo>
                      <a:lnTo>
                        <a:pt x="43" y="696"/>
                      </a:lnTo>
                      <a:lnTo>
                        <a:pt x="43" y="693"/>
                      </a:lnTo>
                      <a:lnTo>
                        <a:pt x="43" y="691"/>
                      </a:lnTo>
                      <a:lnTo>
                        <a:pt x="42" y="690"/>
                      </a:lnTo>
                      <a:lnTo>
                        <a:pt x="40" y="690"/>
                      </a:lnTo>
                      <a:lnTo>
                        <a:pt x="40" y="688"/>
                      </a:lnTo>
                      <a:lnTo>
                        <a:pt x="38" y="687"/>
                      </a:lnTo>
                      <a:lnTo>
                        <a:pt x="40" y="687"/>
                      </a:lnTo>
                      <a:lnTo>
                        <a:pt x="40" y="685"/>
                      </a:lnTo>
                      <a:lnTo>
                        <a:pt x="40" y="683"/>
                      </a:lnTo>
                      <a:lnTo>
                        <a:pt x="40" y="682"/>
                      </a:lnTo>
                      <a:lnTo>
                        <a:pt x="38" y="682"/>
                      </a:lnTo>
                      <a:lnTo>
                        <a:pt x="38" y="680"/>
                      </a:lnTo>
                      <a:lnTo>
                        <a:pt x="37" y="680"/>
                      </a:lnTo>
                      <a:lnTo>
                        <a:pt x="35" y="680"/>
                      </a:lnTo>
                      <a:lnTo>
                        <a:pt x="33" y="682"/>
                      </a:lnTo>
                      <a:lnTo>
                        <a:pt x="32" y="682"/>
                      </a:lnTo>
                      <a:lnTo>
                        <a:pt x="30" y="683"/>
                      </a:lnTo>
                      <a:lnTo>
                        <a:pt x="28" y="683"/>
                      </a:lnTo>
                      <a:lnTo>
                        <a:pt x="28" y="685"/>
                      </a:lnTo>
                      <a:lnTo>
                        <a:pt x="27" y="685"/>
                      </a:lnTo>
                      <a:lnTo>
                        <a:pt x="25" y="685"/>
                      </a:lnTo>
                      <a:lnTo>
                        <a:pt x="23" y="687"/>
                      </a:lnTo>
                      <a:lnTo>
                        <a:pt x="23" y="688"/>
                      </a:lnTo>
                      <a:lnTo>
                        <a:pt x="25" y="688"/>
                      </a:lnTo>
                      <a:lnTo>
                        <a:pt x="25" y="690"/>
                      </a:lnTo>
                      <a:lnTo>
                        <a:pt x="23" y="691"/>
                      </a:lnTo>
                      <a:lnTo>
                        <a:pt x="23" y="693"/>
                      </a:lnTo>
                      <a:lnTo>
                        <a:pt x="22" y="693"/>
                      </a:lnTo>
                      <a:lnTo>
                        <a:pt x="18" y="695"/>
                      </a:lnTo>
                      <a:lnTo>
                        <a:pt x="13" y="695"/>
                      </a:lnTo>
                      <a:lnTo>
                        <a:pt x="13" y="693"/>
                      </a:lnTo>
                      <a:lnTo>
                        <a:pt x="11" y="693"/>
                      </a:lnTo>
                      <a:lnTo>
                        <a:pt x="10" y="691"/>
                      </a:lnTo>
                      <a:lnTo>
                        <a:pt x="8" y="693"/>
                      </a:lnTo>
                      <a:lnTo>
                        <a:pt x="6" y="693"/>
                      </a:lnTo>
                      <a:lnTo>
                        <a:pt x="5" y="693"/>
                      </a:lnTo>
                      <a:lnTo>
                        <a:pt x="3" y="693"/>
                      </a:lnTo>
                      <a:lnTo>
                        <a:pt x="3" y="691"/>
                      </a:lnTo>
                      <a:lnTo>
                        <a:pt x="3" y="690"/>
                      </a:lnTo>
                      <a:lnTo>
                        <a:pt x="3" y="688"/>
                      </a:lnTo>
                      <a:lnTo>
                        <a:pt x="5" y="688"/>
                      </a:lnTo>
                      <a:lnTo>
                        <a:pt x="3" y="688"/>
                      </a:lnTo>
                      <a:lnTo>
                        <a:pt x="5" y="688"/>
                      </a:lnTo>
                      <a:lnTo>
                        <a:pt x="5" y="687"/>
                      </a:lnTo>
                      <a:lnTo>
                        <a:pt x="6" y="687"/>
                      </a:lnTo>
                      <a:lnTo>
                        <a:pt x="5" y="687"/>
                      </a:lnTo>
                      <a:lnTo>
                        <a:pt x="6" y="687"/>
                      </a:lnTo>
                      <a:lnTo>
                        <a:pt x="6" y="685"/>
                      </a:lnTo>
                      <a:lnTo>
                        <a:pt x="8" y="685"/>
                      </a:lnTo>
                      <a:lnTo>
                        <a:pt x="8" y="683"/>
                      </a:lnTo>
                      <a:lnTo>
                        <a:pt x="8" y="682"/>
                      </a:lnTo>
                      <a:lnTo>
                        <a:pt x="10" y="682"/>
                      </a:lnTo>
                      <a:lnTo>
                        <a:pt x="10" y="680"/>
                      </a:lnTo>
                      <a:lnTo>
                        <a:pt x="10" y="682"/>
                      </a:lnTo>
                      <a:lnTo>
                        <a:pt x="10" y="680"/>
                      </a:lnTo>
                      <a:lnTo>
                        <a:pt x="10" y="678"/>
                      </a:lnTo>
                      <a:lnTo>
                        <a:pt x="11" y="678"/>
                      </a:lnTo>
                      <a:lnTo>
                        <a:pt x="10" y="678"/>
                      </a:lnTo>
                      <a:lnTo>
                        <a:pt x="11" y="678"/>
                      </a:lnTo>
                      <a:lnTo>
                        <a:pt x="11" y="677"/>
                      </a:lnTo>
                      <a:lnTo>
                        <a:pt x="10" y="677"/>
                      </a:lnTo>
                      <a:lnTo>
                        <a:pt x="10" y="675"/>
                      </a:lnTo>
                      <a:lnTo>
                        <a:pt x="10" y="673"/>
                      </a:lnTo>
                      <a:lnTo>
                        <a:pt x="11" y="673"/>
                      </a:lnTo>
                      <a:lnTo>
                        <a:pt x="11" y="672"/>
                      </a:lnTo>
                      <a:lnTo>
                        <a:pt x="11" y="670"/>
                      </a:lnTo>
                      <a:lnTo>
                        <a:pt x="13" y="670"/>
                      </a:lnTo>
                      <a:lnTo>
                        <a:pt x="11" y="670"/>
                      </a:lnTo>
                      <a:lnTo>
                        <a:pt x="13" y="668"/>
                      </a:lnTo>
                      <a:lnTo>
                        <a:pt x="11" y="668"/>
                      </a:lnTo>
                      <a:lnTo>
                        <a:pt x="13" y="668"/>
                      </a:lnTo>
                      <a:lnTo>
                        <a:pt x="13" y="667"/>
                      </a:lnTo>
                      <a:lnTo>
                        <a:pt x="13" y="665"/>
                      </a:lnTo>
                      <a:lnTo>
                        <a:pt x="13" y="664"/>
                      </a:lnTo>
                      <a:lnTo>
                        <a:pt x="13" y="662"/>
                      </a:lnTo>
                      <a:lnTo>
                        <a:pt x="11" y="662"/>
                      </a:lnTo>
                      <a:lnTo>
                        <a:pt x="11" y="659"/>
                      </a:lnTo>
                      <a:lnTo>
                        <a:pt x="11" y="657"/>
                      </a:lnTo>
                      <a:lnTo>
                        <a:pt x="11" y="655"/>
                      </a:lnTo>
                      <a:lnTo>
                        <a:pt x="13" y="655"/>
                      </a:lnTo>
                      <a:lnTo>
                        <a:pt x="13" y="654"/>
                      </a:lnTo>
                      <a:lnTo>
                        <a:pt x="13" y="652"/>
                      </a:lnTo>
                      <a:lnTo>
                        <a:pt x="15" y="650"/>
                      </a:lnTo>
                      <a:lnTo>
                        <a:pt x="15" y="649"/>
                      </a:lnTo>
                      <a:lnTo>
                        <a:pt x="15" y="647"/>
                      </a:lnTo>
                      <a:lnTo>
                        <a:pt x="15" y="645"/>
                      </a:lnTo>
                      <a:lnTo>
                        <a:pt x="15" y="644"/>
                      </a:lnTo>
                      <a:lnTo>
                        <a:pt x="15" y="642"/>
                      </a:lnTo>
                      <a:lnTo>
                        <a:pt x="13" y="642"/>
                      </a:lnTo>
                      <a:lnTo>
                        <a:pt x="15" y="642"/>
                      </a:lnTo>
                      <a:lnTo>
                        <a:pt x="15" y="641"/>
                      </a:lnTo>
                      <a:lnTo>
                        <a:pt x="15" y="639"/>
                      </a:lnTo>
                      <a:lnTo>
                        <a:pt x="15" y="637"/>
                      </a:lnTo>
                      <a:lnTo>
                        <a:pt x="15" y="636"/>
                      </a:lnTo>
                      <a:lnTo>
                        <a:pt x="15" y="634"/>
                      </a:lnTo>
                      <a:lnTo>
                        <a:pt x="13" y="632"/>
                      </a:lnTo>
                      <a:lnTo>
                        <a:pt x="15" y="632"/>
                      </a:lnTo>
                      <a:lnTo>
                        <a:pt x="13" y="632"/>
                      </a:lnTo>
                      <a:lnTo>
                        <a:pt x="13" y="631"/>
                      </a:lnTo>
                      <a:lnTo>
                        <a:pt x="13" y="629"/>
                      </a:lnTo>
                      <a:lnTo>
                        <a:pt x="15" y="629"/>
                      </a:lnTo>
                      <a:lnTo>
                        <a:pt x="15" y="627"/>
                      </a:lnTo>
                      <a:lnTo>
                        <a:pt x="15" y="626"/>
                      </a:lnTo>
                      <a:lnTo>
                        <a:pt x="16" y="626"/>
                      </a:lnTo>
                      <a:lnTo>
                        <a:pt x="16" y="624"/>
                      </a:lnTo>
                      <a:lnTo>
                        <a:pt x="18" y="624"/>
                      </a:lnTo>
                      <a:lnTo>
                        <a:pt x="18" y="622"/>
                      </a:lnTo>
                      <a:lnTo>
                        <a:pt x="20" y="622"/>
                      </a:lnTo>
                      <a:lnTo>
                        <a:pt x="18" y="621"/>
                      </a:lnTo>
                      <a:lnTo>
                        <a:pt x="18" y="619"/>
                      </a:lnTo>
                      <a:lnTo>
                        <a:pt x="18" y="618"/>
                      </a:lnTo>
                      <a:lnTo>
                        <a:pt x="16" y="618"/>
                      </a:lnTo>
                      <a:lnTo>
                        <a:pt x="18" y="616"/>
                      </a:lnTo>
                      <a:lnTo>
                        <a:pt x="16" y="616"/>
                      </a:lnTo>
                      <a:lnTo>
                        <a:pt x="16" y="614"/>
                      </a:lnTo>
                      <a:lnTo>
                        <a:pt x="15" y="613"/>
                      </a:lnTo>
                      <a:lnTo>
                        <a:pt x="15" y="611"/>
                      </a:lnTo>
                      <a:lnTo>
                        <a:pt x="13" y="611"/>
                      </a:lnTo>
                      <a:lnTo>
                        <a:pt x="11" y="611"/>
                      </a:lnTo>
                      <a:lnTo>
                        <a:pt x="10" y="609"/>
                      </a:lnTo>
                      <a:lnTo>
                        <a:pt x="8" y="609"/>
                      </a:lnTo>
                      <a:lnTo>
                        <a:pt x="8" y="608"/>
                      </a:lnTo>
                      <a:lnTo>
                        <a:pt x="8" y="606"/>
                      </a:lnTo>
                      <a:lnTo>
                        <a:pt x="8" y="604"/>
                      </a:lnTo>
                      <a:lnTo>
                        <a:pt x="8" y="603"/>
                      </a:lnTo>
                      <a:lnTo>
                        <a:pt x="8" y="601"/>
                      </a:lnTo>
                      <a:lnTo>
                        <a:pt x="8" y="599"/>
                      </a:lnTo>
                      <a:lnTo>
                        <a:pt x="8" y="598"/>
                      </a:lnTo>
                      <a:lnTo>
                        <a:pt x="8" y="596"/>
                      </a:lnTo>
                      <a:lnTo>
                        <a:pt x="8" y="595"/>
                      </a:lnTo>
                      <a:lnTo>
                        <a:pt x="6" y="593"/>
                      </a:lnTo>
                      <a:lnTo>
                        <a:pt x="6" y="591"/>
                      </a:lnTo>
                      <a:lnTo>
                        <a:pt x="5" y="591"/>
                      </a:lnTo>
                      <a:lnTo>
                        <a:pt x="5" y="590"/>
                      </a:lnTo>
                      <a:lnTo>
                        <a:pt x="6" y="588"/>
                      </a:lnTo>
                      <a:lnTo>
                        <a:pt x="5" y="588"/>
                      </a:lnTo>
                      <a:lnTo>
                        <a:pt x="6" y="588"/>
                      </a:lnTo>
                      <a:lnTo>
                        <a:pt x="6" y="586"/>
                      </a:lnTo>
                      <a:lnTo>
                        <a:pt x="5" y="586"/>
                      </a:lnTo>
                      <a:lnTo>
                        <a:pt x="5" y="585"/>
                      </a:lnTo>
                      <a:lnTo>
                        <a:pt x="5" y="583"/>
                      </a:lnTo>
                      <a:lnTo>
                        <a:pt x="5" y="581"/>
                      </a:lnTo>
                      <a:lnTo>
                        <a:pt x="3" y="580"/>
                      </a:lnTo>
                      <a:lnTo>
                        <a:pt x="5" y="580"/>
                      </a:lnTo>
                      <a:lnTo>
                        <a:pt x="3" y="578"/>
                      </a:lnTo>
                      <a:lnTo>
                        <a:pt x="1" y="576"/>
                      </a:lnTo>
                      <a:lnTo>
                        <a:pt x="0" y="575"/>
                      </a:lnTo>
                      <a:lnTo>
                        <a:pt x="0" y="573"/>
                      </a:lnTo>
                      <a:lnTo>
                        <a:pt x="0" y="572"/>
                      </a:lnTo>
                      <a:lnTo>
                        <a:pt x="0" y="570"/>
                      </a:lnTo>
                      <a:lnTo>
                        <a:pt x="0" y="568"/>
                      </a:lnTo>
                      <a:lnTo>
                        <a:pt x="0" y="567"/>
                      </a:lnTo>
                      <a:lnTo>
                        <a:pt x="1" y="567"/>
                      </a:lnTo>
                      <a:lnTo>
                        <a:pt x="1" y="565"/>
                      </a:lnTo>
                      <a:lnTo>
                        <a:pt x="3" y="563"/>
                      </a:lnTo>
                      <a:lnTo>
                        <a:pt x="3" y="562"/>
                      </a:lnTo>
                      <a:lnTo>
                        <a:pt x="3" y="560"/>
                      </a:lnTo>
                      <a:lnTo>
                        <a:pt x="5" y="558"/>
                      </a:lnTo>
                      <a:lnTo>
                        <a:pt x="5" y="557"/>
                      </a:lnTo>
                      <a:lnTo>
                        <a:pt x="6" y="557"/>
                      </a:lnTo>
                      <a:lnTo>
                        <a:pt x="8" y="555"/>
                      </a:lnTo>
                      <a:lnTo>
                        <a:pt x="8" y="557"/>
                      </a:lnTo>
                      <a:lnTo>
                        <a:pt x="10" y="555"/>
                      </a:lnTo>
                      <a:lnTo>
                        <a:pt x="8" y="555"/>
                      </a:lnTo>
                      <a:lnTo>
                        <a:pt x="10" y="555"/>
                      </a:lnTo>
                      <a:lnTo>
                        <a:pt x="10" y="553"/>
                      </a:lnTo>
                      <a:lnTo>
                        <a:pt x="11" y="553"/>
                      </a:lnTo>
                      <a:lnTo>
                        <a:pt x="11" y="552"/>
                      </a:lnTo>
                      <a:lnTo>
                        <a:pt x="13" y="552"/>
                      </a:lnTo>
                      <a:lnTo>
                        <a:pt x="15" y="550"/>
                      </a:lnTo>
                      <a:lnTo>
                        <a:pt x="15" y="549"/>
                      </a:lnTo>
                      <a:lnTo>
                        <a:pt x="15" y="547"/>
                      </a:lnTo>
                      <a:lnTo>
                        <a:pt x="16" y="547"/>
                      </a:lnTo>
                      <a:lnTo>
                        <a:pt x="16" y="545"/>
                      </a:lnTo>
                      <a:lnTo>
                        <a:pt x="15" y="545"/>
                      </a:lnTo>
                      <a:lnTo>
                        <a:pt x="16" y="545"/>
                      </a:lnTo>
                      <a:lnTo>
                        <a:pt x="15" y="545"/>
                      </a:lnTo>
                      <a:lnTo>
                        <a:pt x="16" y="544"/>
                      </a:lnTo>
                      <a:lnTo>
                        <a:pt x="18" y="544"/>
                      </a:lnTo>
                      <a:lnTo>
                        <a:pt x="18" y="542"/>
                      </a:lnTo>
                      <a:lnTo>
                        <a:pt x="20" y="542"/>
                      </a:lnTo>
                      <a:lnTo>
                        <a:pt x="22" y="542"/>
                      </a:lnTo>
                      <a:lnTo>
                        <a:pt x="20" y="542"/>
                      </a:lnTo>
                      <a:lnTo>
                        <a:pt x="20" y="540"/>
                      </a:lnTo>
                      <a:lnTo>
                        <a:pt x="18" y="540"/>
                      </a:lnTo>
                      <a:lnTo>
                        <a:pt x="18" y="539"/>
                      </a:lnTo>
                      <a:lnTo>
                        <a:pt x="20" y="539"/>
                      </a:lnTo>
                      <a:lnTo>
                        <a:pt x="22" y="537"/>
                      </a:lnTo>
                      <a:lnTo>
                        <a:pt x="22" y="535"/>
                      </a:lnTo>
                      <a:lnTo>
                        <a:pt x="22" y="534"/>
                      </a:lnTo>
                      <a:lnTo>
                        <a:pt x="23" y="532"/>
                      </a:lnTo>
                      <a:lnTo>
                        <a:pt x="23" y="530"/>
                      </a:lnTo>
                      <a:lnTo>
                        <a:pt x="23" y="529"/>
                      </a:lnTo>
                      <a:lnTo>
                        <a:pt x="23" y="527"/>
                      </a:lnTo>
                      <a:lnTo>
                        <a:pt x="23" y="526"/>
                      </a:lnTo>
                      <a:lnTo>
                        <a:pt x="25" y="526"/>
                      </a:lnTo>
                      <a:lnTo>
                        <a:pt x="23" y="524"/>
                      </a:lnTo>
                      <a:lnTo>
                        <a:pt x="25" y="524"/>
                      </a:lnTo>
                      <a:lnTo>
                        <a:pt x="25" y="522"/>
                      </a:lnTo>
                      <a:lnTo>
                        <a:pt x="25" y="521"/>
                      </a:lnTo>
                      <a:lnTo>
                        <a:pt x="27" y="521"/>
                      </a:lnTo>
                      <a:lnTo>
                        <a:pt x="27" y="519"/>
                      </a:lnTo>
                      <a:lnTo>
                        <a:pt x="28" y="519"/>
                      </a:lnTo>
                      <a:lnTo>
                        <a:pt x="28" y="517"/>
                      </a:lnTo>
                      <a:lnTo>
                        <a:pt x="28" y="516"/>
                      </a:lnTo>
                      <a:lnTo>
                        <a:pt x="28" y="514"/>
                      </a:lnTo>
                      <a:lnTo>
                        <a:pt x="30" y="514"/>
                      </a:lnTo>
                      <a:lnTo>
                        <a:pt x="30" y="512"/>
                      </a:lnTo>
                      <a:lnTo>
                        <a:pt x="30" y="511"/>
                      </a:lnTo>
                      <a:lnTo>
                        <a:pt x="30" y="509"/>
                      </a:lnTo>
                      <a:lnTo>
                        <a:pt x="32" y="509"/>
                      </a:lnTo>
                      <a:lnTo>
                        <a:pt x="32" y="507"/>
                      </a:lnTo>
                      <a:lnTo>
                        <a:pt x="33" y="506"/>
                      </a:lnTo>
                      <a:lnTo>
                        <a:pt x="35" y="506"/>
                      </a:lnTo>
                      <a:lnTo>
                        <a:pt x="35" y="504"/>
                      </a:lnTo>
                      <a:lnTo>
                        <a:pt x="35" y="503"/>
                      </a:lnTo>
                      <a:lnTo>
                        <a:pt x="37" y="503"/>
                      </a:lnTo>
                      <a:lnTo>
                        <a:pt x="37" y="501"/>
                      </a:lnTo>
                      <a:lnTo>
                        <a:pt x="38" y="501"/>
                      </a:lnTo>
                      <a:lnTo>
                        <a:pt x="38" y="499"/>
                      </a:lnTo>
                      <a:lnTo>
                        <a:pt x="38" y="498"/>
                      </a:lnTo>
                      <a:lnTo>
                        <a:pt x="38" y="496"/>
                      </a:lnTo>
                      <a:lnTo>
                        <a:pt x="38" y="494"/>
                      </a:lnTo>
                      <a:lnTo>
                        <a:pt x="38" y="493"/>
                      </a:lnTo>
                      <a:lnTo>
                        <a:pt x="40" y="493"/>
                      </a:lnTo>
                      <a:lnTo>
                        <a:pt x="40" y="491"/>
                      </a:lnTo>
                      <a:lnTo>
                        <a:pt x="40" y="489"/>
                      </a:lnTo>
                      <a:lnTo>
                        <a:pt x="38" y="488"/>
                      </a:lnTo>
                      <a:lnTo>
                        <a:pt x="40" y="488"/>
                      </a:lnTo>
                      <a:lnTo>
                        <a:pt x="40" y="486"/>
                      </a:lnTo>
                      <a:lnTo>
                        <a:pt x="40" y="488"/>
                      </a:lnTo>
                      <a:lnTo>
                        <a:pt x="42" y="488"/>
                      </a:lnTo>
                      <a:lnTo>
                        <a:pt x="42" y="486"/>
                      </a:lnTo>
                      <a:lnTo>
                        <a:pt x="40" y="486"/>
                      </a:lnTo>
                      <a:lnTo>
                        <a:pt x="40" y="485"/>
                      </a:lnTo>
                      <a:lnTo>
                        <a:pt x="40" y="483"/>
                      </a:lnTo>
                      <a:lnTo>
                        <a:pt x="42" y="483"/>
                      </a:lnTo>
                      <a:lnTo>
                        <a:pt x="42" y="481"/>
                      </a:lnTo>
                      <a:lnTo>
                        <a:pt x="40" y="481"/>
                      </a:lnTo>
                      <a:lnTo>
                        <a:pt x="42" y="481"/>
                      </a:lnTo>
                      <a:lnTo>
                        <a:pt x="42" y="480"/>
                      </a:lnTo>
                      <a:lnTo>
                        <a:pt x="42" y="478"/>
                      </a:lnTo>
                      <a:lnTo>
                        <a:pt x="43" y="478"/>
                      </a:lnTo>
                      <a:lnTo>
                        <a:pt x="43" y="476"/>
                      </a:lnTo>
                      <a:lnTo>
                        <a:pt x="42" y="476"/>
                      </a:lnTo>
                      <a:lnTo>
                        <a:pt x="43" y="475"/>
                      </a:lnTo>
                      <a:lnTo>
                        <a:pt x="42" y="473"/>
                      </a:lnTo>
                      <a:lnTo>
                        <a:pt x="43" y="473"/>
                      </a:lnTo>
                      <a:lnTo>
                        <a:pt x="43" y="471"/>
                      </a:lnTo>
                      <a:lnTo>
                        <a:pt x="45" y="470"/>
                      </a:lnTo>
                      <a:lnTo>
                        <a:pt x="45" y="468"/>
                      </a:lnTo>
                      <a:lnTo>
                        <a:pt x="45" y="466"/>
                      </a:lnTo>
                      <a:lnTo>
                        <a:pt x="47" y="466"/>
                      </a:lnTo>
                      <a:lnTo>
                        <a:pt x="45" y="466"/>
                      </a:lnTo>
                      <a:lnTo>
                        <a:pt x="47" y="466"/>
                      </a:lnTo>
                      <a:lnTo>
                        <a:pt x="47" y="465"/>
                      </a:lnTo>
                      <a:lnTo>
                        <a:pt x="47" y="463"/>
                      </a:lnTo>
                      <a:lnTo>
                        <a:pt x="47" y="462"/>
                      </a:lnTo>
                      <a:lnTo>
                        <a:pt x="47" y="463"/>
                      </a:lnTo>
                      <a:lnTo>
                        <a:pt x="49" y="462"/>
                      </a:lnTo>
                      <a:lnTo>
                        <a:pt x="47" y="462"/>
                      </a:lnTo>
                      <a:lnTo>
                        <a:pt x="47" y="460"/>
                      </a:lnTo>
                      <a:lnTo>
                        <a:pt x="49" y="460"/>
                      </a:lnTo>
                      <a:lnTo>
                        <a:pt x="49" y="458"/>
                      </a:lnTo>
                      <a:lnTo>
                        <a:pt x="49" y="457"/>
                      </a:lnTo>
                      <a:lnTo>
                        <a:pt x="50" y="457"/>
                      </a:lnTo>
                      <a:lnTo>
                        <a:pt x="50" y="455"/>
                      </a:lnTo>
                      <a:lnTo>
                        <a:pt x="52" y="455"/>
                      </a:lnTo>
                      <a:lnTo>
                        <a:pt x="52" y="457"/>
                      </a:lnTo>
                      <a:lnTo>
                        <a:pt x="52" y="455"/>
                      </a:lnTo>
                      <a:lnTo>
                        <a:pt x="54" y="455"/>
                      </a:lnTo>
                      <a:lnTo>
                        <a:pt x="54" y="453"/>
                      </a:lnTo>
                      <a:lnTo>
                        <a:pt x="55" y="453"/>
                      </a:lnTo>
                      <a:lnTo>
                        <a:pt x="55" y="452"/>
                      </a:lnTo>
                      <a:lnTo>
                        <a:pt x="55" y="450"/>
                      </a:lnTo>
                      <a:lnTo>
                        <a:pt x="57" y="450"/>
                      </a:lnTo>
                      <a:lnTo>
                        <a:pt x="59" y="450"/>
                      </a:lnTo>
                      <a:lnTo>
                        <a:pt x="60" y="448"/>
                      </a:lnTo>
                      <a:lnTo>
                        <a:pt x="60" y="447"/>
                      </a:lnTo>
                      <a:lnTo>
                        <a:pt x="62" y="447"/>
                      </a:lnTo>
                      <a:lnTo>
                        <a:pt x="64" y="447"/>
                      </a:lnTo>
                      <a:lnTo>
                        <a:pt x="65" y="447"/>
                      </a:lnTo>
                      <a:lnTo>
                        <a:pt x="65" y="445"/>
                      </a:lnTo>
                      <a:lnTo>
                        <a:pt x="67" y="445"/>
                      </a:lnTo>
                      <a:lnTo>
                        <a:pt x="69" y="447"/>
                      </a:lnTo>
                      <a:lnTo>
                        <a:pt x="69" y="445"/>
                      </a:lnTo>
                      <a:lnTo>
                        <a:pt x="70" y="445"/>
                      </a:lnTo>
                      <a:lnTo>
                        <a:pt x="72" y="443"/>
                      </a:lnTo>
                      <a:lnTo>
                        <a:pt x="72" y="445"/>
                      </a:lnTo>
                      <a:lnTo>
                        <a:pt x="74" y="445"/>
                      </a:lnTo>
                      <a:lnTo>
                        <a:pt x="74" y="443"/>
                      </a:lnTo>
                      <a:lnTo>
                        <a:pt x="76" y="443"/>
                      </a:lnTo>
                      <a:lnTo>
                        <a:pt x="77" y="442"/>
                      </a:lnTo>
                      <a:lnTo>
                        <a:pt x="79" y="442"/>
                      </a:lnTo>
                      <a:lnTo>
                        <a:pt x="79" y="440"/>
                      </a:lnTo>
                      <a:lnTo>
                        <a:pt x="79" y="442"/>
                      </a:lnTo>
                      <a:lnTo>
                        <a:pt x="81" y="442"/>
                      </a:lnTo>
                      <a:lnTo>
                        <a:pt x="81" y="440"/>
                      </a:lnTo>
                      <a:lnTo>
                        <a:pt x="82" y="440"/>
                      </a:lnTo>
                      <a:lnTo>
                        <a:pt x="84" y="440"/>
                      </a:lnTo>
                      <a:lnTo>
                        <a:pt x="86" y="440"/>
                      </a:lnTo>
                      <a:lnTo>
                        <a:pt x="87" y="440"/>
                      </a:lnTo>
                      <a:lnTo>
                        <a:pt x="89" y="440"/>
                      </a:lnTo>
                      <a:lnTo>
                        <a:pt x="91" y="440"/>
                      </a:lnTo>
                      <a:lnTo>
                        <a:pt x="92" y="439"/>
                      </a:lnTo>
                      <a:lnTo>
                        <a:pt x="94" y="439"/>
                      </a:lnTo>
                      <a:lnTo>
                        <a:pt x="96" y="439"/>
                      </a:lnTo>
                      <a:lnTo>
                        <a:pt x="98" y="437"/>
                      </a:lnTo>
                      <a:lnTo>
                        <a:pt x="99" y="437"/>
                      </a:lnTo>
                      <a:lnTo>
                        <a:pt x="101" y="437"/>
                      </a:lnTo>
                      <a:lnTo>
                        <a:pt x="101" y="435"/>
                      </a:lnTo>
                      <a:lnTo>
                        <a:pt x="103" y="434"/>
                      </a:lnTo>
                      <a:lnTo>
                        <a:pt x="103" y="432"/>
                      </a:lnTo>
                      <a:lnTo>
                        <a:pt x="104" y="432"/>
                      </a:lnTo>
                      <a:lnTo>
                        <a:pt x="104" y="434"/>
                      </a:lnTo>
                      <a:lnTo>
                        <a:pt x="106" y="432"/>
                      </a:lnTo>
                      <a:lnTo>
                        <a:pt x="108" y="432"/>
                      </a:lnTo>
                      <a:lnTo>
                        <a:pt x="108" y="430"/>
                      </a:lnTo>
                      <a:lnTo>
                        <a:pt x="108" y="429"/>
                      </a:lnTo>
                      <a:lnTo>
                        <a:pt x="109" y="429"/>
                      </a:lnTo>
                      <a:lnTo>
                        <a:pt x="111" y="427"/>
                      </a:lnTo>
                      <a:lnTo>
                        <a:pt x="113" y="427"/>
                      </a:lnTo>
                      <a:lnTo>
                        <a:pt x="114" y="427"/>
                      </a:lnTo>
                      <a:lnTo>
                        <a:pt x="114" y="429"/>
                      </a:lnTo>
                      <a:lnTo>
                        <a:pt x="116" y="427"/>
                      </a:lnTo>
                      <a:lnTo>
                        <a:pt x="118" y="427"/>
                      </a:lnTo>
                      <a:lnTo>
                        <a:pt x="118" y="429"/>
                      </a:lnTo>
                      <a:lnTo>
                        <a:pt x="119" y="430"/>
                      </a:lnTo>
                      <a:lnTo>
                        <a:pt x="121" y="430"/>
                      </a:lnTo>
                      <a:lnTo>
                        <a:pt x="123" y="430"/>
                      </a:lnTo>
                      <a:lnTo>
                        <a:pt x="123" y="429"/>
                      </a:lnTo>
                      <a:lnTo>
                        <a:pt x="123" y="427"/>
                      </a:lnTo>
                      <a:lnTo>
                        <a:pt x="125" y="427"/>
                      </a:lnTo>
                      <a:lnTo>
                        <a:pt x="125" y="425"/>
                      </a:lnTo>
                      <a:lnTo>
                        <a:pt x="126" y="424"/>
                      </a:lnTo>
                      <a:lnTo>
                        <a:pt x="128" y="424"/>
                      </a:lnTo>
                      <a:lnTo>
                        <a:pt x="128" y="422"/>
                      </a:lnTo>
                      <a:lnTo>
                        <a:pt x="130" y="422"/>
                      </a:lnTo>
                      <a:lnTo>
                        <a:pt x="130" y="420"/>
                      </a:lnTo>
                      <a:lnTo>
                        <a:pt x="131" y="420"/>
                      </a:lnTo>
                      <a:lnTo>
                        <a:pt x="131" y="419"/>
                      </a:lnTo>
                      <a:lnTo>
                        <a:pt x="131" y="417"/>
                      </a:lnTo>
                      <a:lnTo>
                        <a:pt x="133" y="417"/>
                      </a:lnTo>
                      <a:lnTo>
                        <a:pt x="135" y="416"/>
                      </a:lnTo>
                      <a:lnTo>
                        <a:pt x="135" y="414"/>
                      </a:lnTo>
                      <a:lnTo>
                        <a:pt x="138" y="414"/>
                      </a:lnTo>
                      <a:lnTo>
                        <a:pt x="140" y="412"/>
                      </a:lnTo>
                      <a:lnTo>
                        <a:pt x="140" y="411"/>
                      </a:lnTo>
                      <a:lnTo>
                        <a:pt x="141" y="411"/>
                      </a:lnTo>
                      <a:lnTo>
                        <a:pt x="143" y="409"/>
                      </a:lnTo>
                      <a:lnTo>
                        <a:pt x="145" y="409"/>
                      </a:lnTo>
                      <a:lnTo>
                        <a:pt x="146" y="407"/>
                      </a:lnTo>
                      <a:lnTo>
                        <a:pt x="148" y="407"/>
                      </a:lnTo>
                      <a:lnTo>
                        <a:pt x="148" y="406"/>
                      </a:lnTo>
                      <a:lnTo>
                        <a:pt x="150" y="406"/>
                      </a:lnTo>
                      <a:lnTo>
                        <a:pt x="152" y="404"/>
                      </a:lnTo>
                      <a:lnTo>
                        <a:pt x="153" y="404"/>
                      </a:lnTo>
                      <a:lnTo>
                        <a:pt x="155" y="404"/>
                      </a:lnTo>
                      <a:lnTo>
                        <a:pt x="157" y="404"/>
                      </a:lnTo>
                      <a:lnTo>
                        <a:pt x="158" y="404"/>
                      </a:lnTo>
                      <a:lnTo>
                        <a:pt x="160" y="404"/>
                      </a:lnTo>
                      <a:lnTo>
                        <a:pt x="160" y="402"/>
                      </a:lnTo>
                      <a:lnTo>
                        <a:pt x="162" y="401"/>
                      </a:lnTo>
                      <a:lnTo>
                        <a:pt x="162" y="399"/>
                      </a:lnTo>
                      <a:lnTo>
                        <a:pt x="162" y="397"/>
                      </a:lnTo>
                      <a:lnTo>
                        <a:pt x="162" y="396"/>
                      </a:lnTo>
                      <a:lnTo>
                        <a:pt x="163" y="396"/>
                      </a:lnTo>
                      <a:lnTo>
                        <a:pt x="163" y="394"/>
                      </a:lnTo>
                      <a:lnTo>
                        <a:pt x="163" y="393"/>
                      </a:lnTo>
                      <a:lnTo>
                        <a:pt x="165" y="393"/>
                      </a:lnTo>
                      <a:lnTo>
                        <a:pt x="165" y="394"/>
                      </a:lnTo>
                      <a:lnTo>
                        <a:pt x="165" y="393"/>
                      </a:lnTo>
                      <a:lnTo>
                        <a:pt x="167" y="393"/>
                      </a:lnTo>
                      <a:lnTo>
                        <a:pt x="168" y="391"/>
                      </a:lnTo>
                      <a:lnTo>
                        <a:pt x="168" y="389"/>
                      </a:lnTo>
                      <a:lnTo>
                        <a:pt x="168" y="388"/>
                      </a:lnTo>
                      <a:lnTo>
                        <a:pt x="170" y="386"/>
                      </a:lnTo>
                      <a:lnTo>
                        <a:pt x="172" y="386"/>
                      </a:lnTo>
                      <a:lnTo>
                        <a:pt x="172" y="384"/>
                      </a:lnTo>
                      <a:lnTo>
                        <a:pt x="172" y="383"/>
                      </a:lnTo>
                      <a:lnTo>
                        <a:pt x="172" y="381"/>
                      </a:lnTo>
                      <a:lnTo>
                        <a:pt x="174" y="381"/>
                      </a:lnTo>
                      <a:lnTo>
                        <a:pt x="175" y="381"/>
                      </a:lnTo>
                      <a:lnTo>
                        <a:pt x="175" y="379"/>
                      </a:lnTo>
                      <a:lnTo>
                        <a:pt x="177" y="378"/>
                      </a:lnTo>
                      <a:lnTo>
                        <a:pt x="177" y="379"/>
                      </a:lnTo>
                      <a:lnTo>
                        <a:pt x="179" y="381"/>
                      </a:lnTo>
                      <a:lnTo>
                        <a:pt x="179" y="379"/>
                      </a:lnTo>
                      <a:lnTo>
                        <a:pt x="179" y="378"/>
                      </a:lnTo>
                      <a:lnTo>
                        <a:pt x="177" y="378"/>
                      </a:lnTo>
                      <a:lnTo>
                        <a:pt x="177" y="376"/>
                      </a:lnTo>
                      <a:lnTo>
                        <a:pt x="177" y="374"/>
                      </a:lnTo>
                      <a:lnTo>
                        <a:pt x="179" y="374"/>
                      </a:lnTo>
                      <a:lnTo>
                        <a:pt x="180" y="374"/>
                      </a:lnTo>
                      <a:lnTo>
                        <a:pt x="180" y="376"/>
                      </a:lnTo>
                      <a:lnTo>
                        <a:pt x="182" y="378"/>
                      </a:lnTo>
                      <a:lnTo>
                        <a:pt x="182" y="376"/>
                      </a:lnTo>
                      <a:lnTo>
                        <a:pt x="182" y="374"/>
                      </a:lnTo>
                      <a:lnTo>
                        <a:pt x="182" y="373"/>
                      </a:lnTo>
                      <a:lnTo>
                        <a:pt x="184" y="373"/>
                      </a:lnTo>
                      <a:lnTo>
                        <a:pt x="184" y="371"/>
                      </a:lnTo>
                      <a:lnTo>
                        <a:pt x="185" y="371"/>
                      </a:lnTo>
                      <a:lnTo>
                        <a:pt x="187" y="371"/>
                      </a:lnTo>
                      <a:lnTo>
                        <a:pt x="189" y="371"/>
                      </a:lnTo>
                      <a:lnTo>
                        <a:pt x="190" y="371"/>
                      </a:lnTo>
                      <a:lnTo>
                        <a:pt x="190" y="370"/>
                      </a:lnTo>
                      <a:lnTo>
                        <a:pt x="192" y="370"/>
                      </a:lnTo>
                      <a:lnTo>
                        <a:pt x="194" y="371"/>
                      </a:lnTo>
                      <a:lnTo>
                        <a:pt x="194" y="373"/>
                      </a:lnTo>
                      <a:lnTo>
                        <a:pt x="195" y="373"/>
                      </a:lnTo>
                      <a:lnTo>
                        <a:pt x="195" y="371"/>
                      </a:lnTo>
                      <a:lnTo>
                        <a:pt x="197" y="371"/>
                      </a:lnTo>
                      <a:lnTo>
                        <a:pt x="199" y="371"/>
                      </a:lnTo>
                      <a:lnTo>
                        <a:pt x="201" y="371"/>
                      </a:lnTo>
                      <a:lnTo>
                        <a:pt x="202" y="370"/>
                      </a:lnTo>
                      <a:lnTo>
                        <a:pt x="204" y="368"/>
                      </a:lnTo>
                      <a:lnTo>
                        <a:pt x="206" y="368"/>
                      </a:lnTo>
                      <a:lnTo>
                        <a:pt x="207" y="368"/>
                      </a:lnTo>
                      <a:lnTo>
                        <a:pt x="207" y="366"/>
                      </a:lnTo>
                      <a:lnTo>
                        <a:pt x="209" y="366"/>
                      </a:lnTo>
                      <a:lnTo>
                        <a:pt x="209" y="368"/>
                      </a:lnTo>
                      <a:lnTo>
                        <a:pt x="209" y="366"/>
                      </a:lnTo>
                      <a:lnTo>
                        <a:pt x="211" y="366"/>
                      </a:lnTo>
                      <a:lnTo>
                        <a:pt x="212" y="366"/>
                      </a:lnTo>
                      <a:lnTo>
                        <a:pt x="216" y="366"/>
                      </a:lnTo>
                      <a:lnTo>
                        <a:pt x="217" y="366"/>
                      </a:lnTo>
                      <a:lnTo>
                        <a:pt x="219" y="366"/>
                      </a:lnTo>
                      <a:lnTo>
                        <a:pt x="222" y="368"/>
                      </a:lnTo>
                      <a:lnTo>
                        <a:pt x="224" y="370"/>
                      </a:lnTo>
                      <a:lnTo>
                        <a:pt x="228" y="370"/>
                      </a:lnTo>
                      <a:lnTo>
                        <a:pt x="228" y="371"/>
                      </a:lnTo>
                      <a:lnTo>
                        <a:pt x="229" y="370"/>
                      </a:lnTo>
                      <a:lnTo>
                        <a:pt x="231" y="371"/>
                      </a:lnTo>
                      <a:lnTo>
                        <a:pt x="231" y="373"/>
                      </a:lnTo>
                      <a:lnTo>
                        <a:pt x="231" y="374"/>
                      </a:lnTo>
                      <a:lnTo>
                        <a:pt x="233" y="374"/>
                      </a:lnTo>
                      <a:lnTo>
                        <a:pt x="234" y="374"/>
                      </a:lnTo>
                      <a:lnTo>
                        <a:pt x="236" y="374"/>
                      </a:lnTo>
                      <a:lnTo>
                        <a:pt x="236" y="376"/>
                      </a:lnTo>
                      <a:lnTo>
                        <a:pt x="238" y="378"/>
                      </a:lnTo>
                      <a:lnTo>
                        <a:pt x="238" y="379"/>
                      </a:lnTo>
                      <a:lnTo>
                        <a:pt x="239" y="379"/>
                      </a:lnTo>
                      <a:lnTo>
                        <a:pt x="241" y="379"/>
                      </a:lnTo>
                      <a:lnTo>
                        <a:pt x="241" y="378"/>
                      </a:lnTo>
                      <a:lnTo>
                        <a:pt x="241" y="379"/>
                      </a:lnTo>
                      <a:lnTo>
                        <a:pt x="243" y="379"/>
                      </a:lnTo>
                      <a:lnTo>
                        <a:pt x="244" y="379"/>
                      </a:lnTo>
                      <a:lnTo>
                        <a:pt x="244" y="378"/>
                      </a:lnTo>
                      <a:lnTo>
                        <a:pt x="246" y="378"/>
                      </a:lnTo>
                      <a:lnTo>
                        <a:pt x="246" y="376"/>
                      </a:lnTo>
                      <a:lnTo>
                        <a:pt x="248" y="376"/>
                      </a:lnTo>
                      <a:lnTo>
                        <a:pt x="250" y="376"/>
                      </a:lnTo>
                      <a:lnTo>
                        <a:pt x="250" y="374"/>
                      </a:lnTo>
                      <a:lnTo>
                        <a:pt x="251" y="374"/>
                      </a:lnTo>
                      <a:lnTo>
                        <a:pt x="253" y="374"/>
                      </a:lnTo>
                      <a:lnTo>
                        <a:pt x="255" y="374"/>
                      </a:lnTo>
                      <a:lnTo>
                        <a:pt x="256" y="374"/>
                      </a:lnTo>
                      <a:lnTo>
                        <a:pt x="258" y="374"/>
                      </a:lnTo>
                      <a:lnTo>
                        <a:pt x="258" y="373"/>
                      </a:lnTo>
                      <a:lnTo>
                        <a:pt x="260" y="373"/>
                      </a:lnTo>
                      <a:lnTo>
                        <a:pt x="260" y="371"/>
                      </a:lnTo>
                      <a:lnTo>
                        <a:pt x="263" y="371"/>
                      </a:lnTo>
                      <a:lnTo>
                        <a:pt x="266" y="371"/>
                      </a:lnTo>
                      <a:lnTo>
                        <a:pt x="266" y="373"/>
                      </a:lnTo>
                      <a:lnTo>
                        <a:pt x="268" y="373"/>
                      </a:lnTo>
                      <a:lnTo>
                        <a:pt x="270" y="373"/>
                      </a:lnTo>
                      <a:lnTo>
                        <a:pt x="271" y="373"/>
                      </a:lnTo>
                      <a:lnTo>
                        <a:pt x="273" y="373"/>
                      </a:lnTo>
                      <a:lnTo>
                        <a:pt x="273" y="371"/>
                      </a:lnTo>
                      <a:lnTo>
                        <a:pt x="275" y="371"/>
                      </a:lnTo>
                      <a:lnTo>
                        <a:pt x="275" y="370"/>
                      </a:lnTo>
                      <a:lnTo>
                        <a:pt x="277" y="370"/>
                      </a:lnTo>
                      <a:lnTo>
                        <a:pt x="278" y="371"/>
                      </a:lnTo>
                      <a:lnTo>
                        <a:pt x="280" y="371"/>
                      </a:lnTo>
                      <a:lnTo>
                        <a:pt x="282" y="371"/>
                      </a:lnTo>
                      <a:lnTo>
                        <a:pt x="283" y="371"/>
                      </a:lnTo>
                      <a:lnTo>
                        <a:pt x="283" y="370"/>
                      </a:lnTo>
                      <a:lnTo>
                        <a:pt x="285" y="370"/>
                      </a:lnTo>
                      <a:lnTo>
                        <a:pt x="285" y="368"/>
                      </a:lnTo>
                      <a:lnTo>
                        <a:pt x="287" y="366"/>
                      </a:lnTo>
                      <a:lnTo>
                        <a:pt x="288" y="366"/>
                      </a:lnTo>
                      <a:lnTo>
                        <a:pt x="288" y="365"/>
                      </a:lnTo>
                      <a:lnTo>
                        <a:pt x="290" y="365"/>
                      </a:lnTo>
                      <a:lnTo>
                        <a:pt x="290" y="363"/>
                      </a:lnTo>
                      <a:lnTo>
                        <a:pt x="292" y="361"/>
                      </a:lnTo>
                      <a:lnTo>
                        <a:pt x="290" y="360"/>
                      </a:lnTo>
                      <a:lnTo>
                        <a:pt x="292" y="360"/>
                      </a:lnTo>
                      <a:lnTo>
                        <a:pt x="292" y="358"/>
                      </a:lnTo>
                      <a:lnTo>
                        <a:pt x="292" y="356"/>
                      </a:lnTo>
                      <a:lnTo>
                        <a:pt x="293" y="355"/>
                      </a:lnTo>
                      <a:lnTo>
                        <a:pt x="293" y="353"/>
                      </a:lnTo>
                      <a:lnTo>
                        <a:pt x="293" y="351"/>
                      </a:lnTo>
                      <a:lnTo>
                        <a:pt x="293" y="350"/>
                      </a:lnTo>
                      <a:lnTo>
                        <a:pt x="295" y="350"/>
                      </a:lnTo>
                      <a:lnTo>
                        <a:pt x="295" y="348"/>
                      </a:lnTo>
                      <a:lnTo>
                        <a:pt x="293" y="348"/>
                      </a:lnTo>
                      <a:lnTo>
                        <a:pt x="293" y="347"/>
                      </a:lnTo>
                      <a:lnTo>
                        <a:pt x="295" y="347"/>
                      </a:lnTo>
                      <a:lnTo>
                        <a:pt x="295" y="345"/>
                      </a:lnTo>
                      <a:lnTo>
                        <a:pt x="295" y="343"/>
                      </a:lnTo>
                      <a:lnTo>
                        <a:pt x="295" y="340"/>
                      </a:lnTo>
                      <a:lnTo>
                        <a:pt x="295" y="338"/>
                      </a:lnTo>
                      <a:lnTo>
                        <a:pt x="297" y="337"/>
                      </a:lnTo>
                      <a:lnTo>
                        <a:pt x="297" y="335"/>
                      </a:lnTo>
                      <a:lnTo>
                        <a:pt x="297" y="333"/>
                      </a:lnTo>
                      <a:lnTo>
                        <a:pt x="298" y="333"/>
                      </a:lnTo>
                      <a:lnTo>
                        <a:pt x="298" y="332"/>
                      </a:lnTo>
                      <a:lnTo>
                        <a:pt x="297" y="332"/>
                      </a:lnTo>
                      <a:lnTo>
                        <a:pt x="297" y="330"/>
                      </a:lnTo>
                      <a:lnTo>
                        <a:pt x="297" y="328"/>
                      </a:lnTo>
                      <a:lnTo>
                        <a:pt x="297" y="327"/>
                      </a:lnTo>
                      <a:lnTo>
                        <a:pt x="297" y="325"/>
                      </a:lnTo>
                      <a:lnTo>
                        <a:pt x="297" y="324"/>
                      </a:lnTo>
                      <a:lnTo>
                        <a:pt x="295" y="324"/>
                      </a:lnTo>
                      <a:lnTo>
                        <a:pt x="295" y="322"/>
                      </a:lnTo>
                      <a:lnTo>
                        <a:pt x="293" y="322"/>
                      </a:lnTo>
                      <a:lnTo>
                        <a:pt x="290" y="320"/>
                      </a:lnTo>
                      <a:lnTo>
                        <a:pt x="290" y="319"/>
                      </a:lnTo>
                      <a:lnTo>
                        <a:pt x="288" y="319"/>
                      </a:lnTo>
                      <a:lnTo>
                        <a:pt x="287" y="317"/>
                      </a:lnTo>
                      <a:lnTo>
                        <a:pt x="285" y="317"/>
                      </a:lnTo>
                      <a:lnTo>
                        <a:pt x="285" y="315"/>
                      </a:lnTo>
                      <a:lnTo>
                        <a:pt x="285" y="314"/>
                      </a:lnTo>
                      <a:lnTo>
                        <a:pt x="285" y="312"/>
                      </a:lnTo>
                      <a:lnTo>
                        <a:pt x="283" y="312"/>
                      </a:lnTo>
                      <a:lnTo>
                        <a:pt x="282" y="312"/>
                      </a:lnTo>
                      <a:lnTo>
                        <a:pt x="280" y="312"/>
                      </a:lnTo>
                      <a:lnTo>
                        <a:pt x="278" y="310"/>
                      </a:lnTo>
                      <a:lnTo>
                        <a:pt x="277" y="307"/>
                      </a:lnTo>
                      <a:lnTo>
                        <a:pt x="277" y="305"/>
                      </a:lnTo>
                      <a:lnTo>
                        <a:pt x="277" y="304"/>
                      </a:lnTo>
                      <a:lnTo>
                        <a:pt x="278" y="304"/>
                      </a:lnTo>
                      <a:lnTo>
                        <a:pt x="278" y="302"/>
                      </a:lnTo>
                      <a:lnTo>
                        <a:pt x="278" y="301"/>
                      </a:lnTo>
                      <a:lnTo>
                        <a:pt x="277" y="299"/>
                      </a:lnTo>
                      <a:lnTo>
                        <a:pt x="275" y="299"/>
                      </a:lnTo>
                      <a:lnTo>
                        <a:pt x="275" y="297"/>
                      </a:lnTo>
                      <a:lnTo>
                        <a:pt x="275" y="296"/>
                      </a:lnTo>
                      <a:lnTo>
                        <a:pt x="275" y="294"/>
                      </a:lnTo>
                      <a:lnTo>
                        <a:pt x="273" y="292"/>
                      </a:lnTo>
                      <a:lnTo>
                        <a:pt x="275" y="291"/>
                      </a:lnTo>
                      <a:lnTo>
                        <a:pt x="275" y="289"/>
                      </a:lnTo>
                      <a:lnTo>
                        <a:pt x="277" y="289"/>
                      </a:lnTo>
                      <a:lnTo>
                        <a:pt x="275" y="289"/>
                      </a:lnTo>
                      <a:lnTo>
                        <a:pt x="275" y="287"/>
                      </a:lnTo>
                      <a:lnTo>
                        <a:pt x="275" y="286"/>
                      </a:lnTo>
                      <a:lnTo>
                        <a:pt x="273" y="286"/>
                      </a:lnTo>
                      <a:lnTo>
                        <a:pt x="275" y="284"/>
                      </a:lnTo>
                      <a:lnTo>
                        <a:pt x="275" y="283"/>
                      </a:lnTo>
                      <a:lnTo>
                        <a:pt x="273" y="283"/>
                      </a:lnTo>
                      <a:lnTo>
                        <a:pt x="273" y="281"/>
                      </a:lnTo>
                      <a:lnTo>
                        <a:pt x="273" y="279"/>
                      </a:lnTo>
                      <a:lnTo>
                        <a:pt x="273" y="278"/>
                      </a:lnTo>
                      <a:lnTo>
                        <a:pt x="275" y="278"/>
                      </a:lnTo>
                      <a:lnTo>
                        <a:pt x="277" y="276"/>
                      </a:lnTo>
                      <a:lnTo>
                        <a:pt x="275" y="276"/>
                      </a:lnTo>
                      <a:lnTo>
                        <a:pt x="275" y="274"/>
                      </a:lnTo>
                      <a:lnTo>
                        <a:pt x="275" y="273"/>
                      </a:lnTo>
                      <a:lnTo>
                        <a:pt x="275" y="271"/>
                      </a:lnTo>
                      <a:lnTo>
                        <a:pt x="275" y="269"/>
                      </a:lnTo>
                      <a:lnTo>
                        <a:pt x="275" y="268"/>
                      </a:lnTo>
                      <a:lnTo>
                        <a:pt x="273" y="268"/>
                      </a:lnTo>
                      <a:lnTo>
                        <a:pt x="275" y="264"/>
                      </a:lnTo>
                      <a:lnTo>
                        <a:pt x="277" y="264"/>
                      </a:lnTo>
                      <a:lnTo>
                        <a:pt x="278" y="264"/>
                      </a:lnTo>
                      <a:lnTo>
                        <a:pt x="278" y="263"/>
                      </a:lnTo>
                      <a:lnTo>
                        <a:pt x="280" y="264"/>
                      </a:lnTo>
                      <a:lnTo>
                        <a:pt x="280" y="263"/>
                      </a:lnTo>
                      <a:lnTo>
                        <a:pt x="280" y="261"/>
                      </a:lnTo>
                      <a:lnTo>
                        <a:pt x="282" y="261"/>
                      </a:lnTo>
                      <a:lnTo>
                        <a:pt x="282" y="260"/>
                      </a:lnTo>
                      <a:lnTo>
                        <a:pt x="283" y="260"/>
                      </a:lnTo>
                      <a:lnTo>
                        <a:pt x="283" y="258"/>
                      </a:lnTo>
                      <a:lnTo>
                        <a:pt x="283" y="256"/>
                      </a:lnTo>
                      <a:lnTo>
                        <a:pt x="283" y="255"/>
                      </a:lnTo>
                      <a:lnTo>
                        <a:pt x="285" y="255"/>
                      </a:lnTo>
                      <a:lnTo>
                        <a:pt x="287" y="251"/>
                      </a:lnTo>
                      <a:lnTo>
                        <a:pt x="287" y="250"/>
                      </a:lnTo>
                      <a:lnTo>
                        <a:pt x="288" y="250"/>
                      </a:lnTo>
                      <a:lnTo>
                        <a:pt x="290" y="250"/>
                      </a:lnTo>
                      <a:lnTo>
                        <a:pt x="290" y="248"/>
                      </a:lnTo>
                      <a:lnTo>
                        <a:pt x="290" y="246"/>
                      </a:lnTo>
                      <a:lnTo>
                        <a:pt x="292" y="246"/>
                      </a:lnTo>
                      <a:lnTo>
                        <a:pt x="292" y="245"/>
                      </a:lnTo>
                      <a:lnTo>
                        <a:pt x="293" y="245"/>
                      </a:lnTo>
                      <a:lnTo>
                        <a:pt x="295" y="245"/>
                      </a:lnTo>
                      <a:lnTo>
                        <a:pt x="295" y="243"/>
                      </a:lnTo>
                      <a:lnTo>
                        <a:pt x="297" y="243"/>
                      </a:lnTo>
                      <a:lnTo>
                        <a:pt x="298" y="241"/>
                      </a:lnTo>
                      <a:lnTo>
                        <a:pt x="300" y="241"/>
                      </a:lnTo>
                      <a:lnTo>
                        <a:pt x="300" y="240"/>
                      </a:lnTo>
                      <a:lnTo>
                        <a:pt x="300" y="238"/>
                      </a:lnTo>
                      <a:lnTo>
                        <a:pt x="300" y="235"/>
                      </a:lnTo>
                      <a:lnTo>
                        <a:pt x="300" y="233"/>
                      </a:lnTo>
                      <a:lnTo>
                        <a:pt x="298" y="232"/>
                      </a:lnTo>
                      <a:lnTo>
                        <a:pt x="300" y="230"/>
                      </a:lnTo>
                      <a:lnTo>
                        <a:pt x="302" y="228"/>
                      </a:lnTo>
                      <a:lnTo>
                        <a:pt x="302" y="227"/>
                      </a:lnTo>
                      <a:lnTo>
                        <a:pt x="302" y="225"/>
                      </a:lnTo>
                      <a:lnTo>
                        <a:pt x="302" y="223"/>
                      </a:lnTo>
                      <a:lnTo>
                        <a:pt x="300" y="222"/>
                      </a:lnTo>
                      <a:lnTo>
                        <a:pt x="300" y="220"/>
                      </a:lnTo>
                      <a:lnTo>
                        <a:pt x="300" y="218"/>
                      </a:lnTo>
                      <a:lnTo>
                        <a:pt x="300" y="217"/>
                      </a:lnTo>
                      <a:lnTo>
                        <a:pt x="298" y="215"/>
                      </a:lnTo>
                      <a:lnTo>
                        <a:pt x="298" y="214"/>
                      </a:lnTo>
                      <a:lnTo>
                        <a:pt x="298" y="212"/>
                      </a:lnTo>
                      <a:lnTo>
                        <a:pt x="298" y="210"/>
                      </a:lnTo>
                      <a:lnTo>
                        <a:pt x="297" y="210"/>
                      </a:lnTo>
                      <a:lnTo>
                        <a:pt x="297" y="207"/>
                      </a:lnTo>
                      <a:lnTo>
                        <a:pt x="297" y="205"/>
                      </a:lnTo>
                      <a:lnTo>
                        <a:pt x="297" y="204"/>
                      </a:lnTo>
                      <a:lnTo>
                        <a:pt x="295" y="202"/>
                      </a:lnTo>
                      <a:lnTo>
                        <a:pt x="293" y="200"/>
                      </a:lnTo>
                      <a:lnTo>
                        <a:pt x="293" y="199"/>
                      </a:lnTo>
                      <a:lnTo>
                        <a:pt x="293" y="195"/>
                      </a:lnTo>
                      <a:lnTo>
                        <a:pt x="293" y="194"/>
                      </a:lnTo>
                      <a:lnTo>
                        <a:pt x="292" y="194"/>
                      </a:lnTo>
                      <a:lnTo>
                        <a:pt x="290" y="192"/>
                      </a:lnTo>
                      <a:lnTo>
                        <a:pt x="288" y="192"/>
                      </a:lnTo>
                      <a:lnTo>
                        <a:pt x="288" y="191"/>
                      </a:lnTo>
                      <a:lnTo>
                        <a:pt x="288" y="189"/>
                      </a:lnTo>
                      <a:lnTo>
                        <a:pt x="288" y="187"/>
                      </a:lnTo>
                      <a:lnTo>
                        <a:pt x="290" y="186"/>
                      </a:lnTo>
                      <a:lnTo>
                        <a:pt x="290" y="184"/>
                      </a:lnTo>
                      <a:lnTo>
                        <a:pt x="290" y="182"/>
                      </a:lnTo>
                      <a:lnTo>
                        <a:pt x="288" y="182"/>
                      </a:lnTo>
                      <a:lnTo>
                        <a:pt x="287" y="181"/>
                      </a:lnTo>
                      <a:lnTo>
                        <a:pt x="288" y="179"/>
                      </a:lnTo>
                      <a:lnTo>
                        <a:pt x="290" y="177"/>
                      </a:lnTo>
                      <a:lnTo>
                        <a:pt x="292" y="176"/>
                      </a:lnTo>
                      <a:lnTo>
                        <a:pt x="293" y="172"/>
                      </a:lnTo>
                      <a:lnTo>
                        <a:pt x="295" y="171"/>
                      </a:lnTo>
                      <a:lnTo>
                        <a:pt x="295" y="169"/>
                      </a:lnTo>
                      <a:lnTo>
                        <a:pt x="295" y="166"/>
                      </a:lnTo>
                      <a:lnTo>
                        <a:pt x="297" y="164"/>
                      </a:lnTo>
                      <a:lnTo>
                        <a:pt x="297" y="163"/>
                      </a:lnTo>
                      <a:lnTo>
                        <a:pt x="297" y="161"/>
                      </a:lnTo>
                      <a:lnTo>
                        <a:pt x="295" y="159"/>
                      </a:lnTo>
                      <a:lnTo>
                        <a:pt x="295" y="158"/>
                      </a:lnTo>
                      <a:lnTo>
                        <a:pt x="295" y="156"/>
                      </a:lnTo>
                      <a:lnTo>
                        <a:pt x="292" y="153"/>
                      </a:lnTo>
                      <a:lnTo>
                        <a:pt x="290" y="153"/>
                      </a:lnTo>
                      <a:lnTo>
                        <a:pt x="288" y="153"/>
                      </a:lnTo>
                      <a:lnTo>
                        <a:pt x="287" y="153"/>
                      </a:lnTo>
                      <a:lnTo>
                        <a:pt x="287" y="151"/>
                      </a:lnTo>
                      <a:lnTo>
                        <a:pt x="287" y="149"/>
                      </a:lnTo>
                      <a:lnTo>
                        <a:pt x="287" y="148"/>
                      </a:lnTo>
                      <a:lnTo>
                        <a:pt x="285" y="145"/>
                      </a:lnTo>
                      <a:lnTo>
                        <a:pt x="285" y="143"/>
                      </a:lnTo>
                      <a:lnTo>
                        <a:pt x="283" y="138"/>
                      </a:lnTo>
                      <a:lnTo>
                        <a:pt x="285" y="138"/>
                      </a:lnTo>
                      <a:lnTo>
                        <a:pt x="285" y="136"/>
                      </a:lnTo>
                      <a:lnTo>
                        <a:pt x="288" y="133"/>
                      </a:lnTo>
                      <a:lnTo>
                        <a:pt x="290" y="131"/>
                      </a:lnTo>
                      <a:lnTo>
                        <a:pt x="293" y="131"/>
                      </a:lnTo>
                      <a:lnTo>
                        <a:pt x="293" y="130"/>
                      </a:lnTo>
                      <a:lnTo>
                        <a:pt x="292" y="130"/>
                      </a:lnTo>
                      <a:lnTo>
                        <a:pt x="292" y="128"/>
                      </a:lnTo>
                      <a:lnTo>
                        <a:pt x="293" y="128"/>
                      </a:lnTo>
                      <a:lnTo>
                        <a:pt x="293" y="126"/>
                      </a:lnTo>
                      <a:lnTo>
                        <a:pt x="295" y="126"/>
                      </a:lnTo>
                      <a:lnTo>
                        <a:pt x="297" y="125"/>
                      </a:lnTo>
                      <a:lnTo>
                        <a:pt x="297" y="123"/>
                      </a:lnTo>
                      <a:lnTo>
                        <a:pt x="297" y="122"/>
                      </a:lnTo>
                      <a:lnTo>
                        <a:pt x="298" y="120"/>
                      </a:lnTo>
                      <a:lnTo>
                        <a:pt x="298" y="118"/>
                      </a:lnTo>
                      <a:lnTo>
                        <a:pt x="298" y="117"/>
                      </a:lnTo>
                      <a:lnTo>
                        <a:pt x="300" y="117"/>
                      </a:lnTo>
                      <a:lnTo>
                        <a:pt x="300" y="115"/>
                      </a:lnTo>
                      <a:lnTo>
                        <a:pt x="300" y="117"/>
                      </a:lnTo>
                      <a:lnTo>
                        <a:pt x="302" y="117"/>
                      </a:lnTo>
                      <a:lnTo>
                        <a:pt x="302" y="115"/>
                      </a:lnTo>
                      <a:lnTo>
                        <a:pt x="304" y="115"/>
                      </a:lnTo>
                      <a:lnTo>
                        <a:pt x="304" y="113"/>
                      </a:lnTo>
                      <a:lnTo>
                        <a:pt x="304" y="112"/>
                      </a:lnTo>
                      <a:lnTo>
                        <a:pt x="305" y="112"/>
                      </a:lnTo>
                      <a:lnTo>
                        <a:pt x="307" y="112"/>
                      </a:lnTo>
                      <a:lnTo>
                        <a:pt x="307" y="110"/>
                      </a:lnTo>
                      <a:lnTo>
                        <a:pt x="309" y="110"/>
                      </a:lnTo>
                      <a:lnTo>
                        <a:pt x="309" y="108"/>
                      </a:lnTo>
                      <a:lnTo>
                        <a:pt x="309" y="107"/>
                      </a:lnTo>
                      <a:lnTo>
                        <a:pt x="309" y="105"/>
                      </a:lnTo>
                      <a:lnTo>
                        <a:pt x="310" y="105"/>
                      </a:lnTo>
                      <a:lnTo>
                        <a:pt x="310" y="103"/>
                      </a:lnTo>
                      <a:lnTo>
                        <a:pt x="312" y="102"/>
                      </a:lnTo>
                      <a:lnTo>
                        <a:pt x="312" y="99"/>
                      </a:lnTo>
                      <a:lnTo>
                        <a:pt x="314" y="99"/>
                      </a:lnTo>
                      <a:lnTo>
                        <a:pt x="314" y="97"/>
                      </a:lnTo>
                      <a:lnTo>
                        <a:pt x="314" y="95"/>
                      </a:lnTo>
                      <a:lnTo>
                        <a:pt x="314" y="94"/>
                      </a:lnTo>
                      <a:lnTo>
                        <a:pt x="314" y="92"/>
                      </a:lnTo>
                      <a:lnTo>
                        <a:pt x="314" y="89"/>
                      </a:lnTo>
                      <a:lnTo>
                        <a:pt x="314" y="87"/>
                      </a:lnTo>
                      <a:lnTo>
                        <a:pt x="314" y="85"/>
                      </a:lnTo>
                      <a:lnTo>
                        <a:pt x="315" y="85"/>
                      </a:lnTo>
                      <a:lnTo>
                        <a:pt x="315" y="84"/>
                      </a:lnTo>
                      <a:lnTo>
                        <a:pt x="317" y="84"/>
                      </a:lnTo>
                      <a:lnTo>
                        <a:pt x="317" y="82"/>
                      </a:lnTo>
                      <a:lnTo>
                        <a:pt x="319" y="82"/>
                      </a:lnTo>
                      <a:lnTo>
                        <a:pt x="319" y="81"/>
                      </a:lnTo>
                      <a:lnTo>
                        <a:pt x="320" y="79"/>
                      </a:lnTo>
                      <a:lnTo>
                        <a:pt x="322" y="77"/>
                      </a:lnTo>
                      <a:lnTo>
                        <a:pt x="324" y="77"/>
                      </a:lnTo>
                      <a:lnTo>
                        <a:pt x="324" y="76"/>
                      </a:lnTo>
                      <a:lnTo>
                        <a:pt x="326" y="76"/>
                      </a:lnTo>
                      <a:lnTo>
                        <a:pt x="326" y="74"/>
                      </a:lnTo>
                      <a:lnTo>
                        <a:pt x="327" y="72"/>
                      </a:lnTo>
                      <a:lnTo>
                        <a:pt x="327" y="71"/>
                      </a:lnTo>
                      <a:lnTo>
                        <a:pt x="329" y="69"/>
                      </a:lnTo>
                      <a:lnTo>
                        <a:pt x="331" y="69"/>
                      </a:lnTo>
                      <a:lnTo>
                        <a:pt x="331" y="67"/>
                      </a:lnTo>
                      <a:lnTo>
                        <a:pt x="331" y="66"/>
                      </a:lnTo>
                      <a:lnTo>
                        <a:pt x="332" y="66"/>
                      </a:lnTo>
                      <a:lnTo>
                        <a:pt x="332" y="67"/>
                      </a:lnTo>
                      <a:lnTo>
                        <a:pt x="332" y="69"/>
                      </a:lnTo>
                      <a:lnTo>
                        <a:pt x="334" y="69"/>
                      </a:lnTo>
                      <a:lnTo>
                        <a:pt x="336" y="69"/>
                      </a:lnTo>
                      <a:lnTo>
                        <a:pt x="336" y="67"/>
                      </a:lnTo>
                      <a:lnTo>
                        <a:pt x="337" y="66"/>
                      </a:lnTo>
                      <a:lnTo>
                        <a:pt x="337" y="67"/>
                      </a:lnTo>
                      <a:lnTo>
                        <a:pt x="339" y="67"/>
                      </a:lnTo>
                      <a:lnTo>
                        <a:pt x="339" y="69"/>
                      </a:lnTo>
                      <a:lnTo>
                        <a:pt x="341" y="67"/>
                      </a:lnTo>
                      <a:lnTo>
                        <a:pt x="341" y="66"/>
                      </a:lnTo>
                      <a:lnTo>
                        <a:pt x="342" y="66"/>
                      </a:lnTo>
                      <a:lnTo>
                        <a:pt x="344" y="66"/>
                      </a:lnTo>
                      <a:lnTo>
                        <a:pt x="346" y="64"/>
                      </a:lnTo>
                      <a:lnTo>
                        <a:pt x="347" y="64"/>
                      </a:lnTo>
                      <a:lnTo>
                        <a:pt x="349" y="66"/>
                      </a:lnTo>
                      <a:lnTo>
                        <a:pt x="351" y="66"/>
                      </a:lnTo>
                      <a:lnTo>
                        <a:pt x="353" y="66"/>
                      </a:lnTo>
                      <a:lnTo>
                        <a:pt x="354" y="64"/>
                      </a:lnTo>
                      <a:lnTo>
                        <a:pt x="356" y="64"/>
                      </a:lnTo>
                      <a:lnTo>
                        <a:pt x="356" y="66"/>
                      </a:lnTo>
                      <a:lnTo>
                        <a:pt x="358" y="66"/>
                      </a:lnTo>
                      <a:lnTo>
                        <a:pt x="359" y="64"/>
                      </a:lnTo>
                      <a:lnTo>
                        <a:pt x="359" y="62"/>
                      </a:lnTo>
                      <a:lnTo>
                        <a:pt x="359" y="61"/>
                      </a:lnTo>
                      <a:lnTo>
                        <a:pt x="361" y="61"/>
                      </a:lnTo>
                      <a:lnTo>
                        <a:pt x="363" y="61"/>
                      </a:lnTo>
                      <a:lnTo>
                        <a:pt x="364" y="59"/>
                      </a:lnTo>
                      <a:lnTo>
                        <a:pt x="364" y="58"/>
                      </a:lnTo>
                      <a:lnTo>
                        <a:pt x="366" y="58"/>
                      </a:lnTo>
                      <a:lnTo>
                        <a:pt x="366" y="56"/>
                      </a:lnTo>
                      <a:lnTo>
                        <a:pt x="366" y="54"/>
                      </a:lnTo>
                      <a:lnTo>
                        <a:pt x="368" y="54"/>
                      </a:lnTo>
                      <a:lnTo>
                        <a:pt x="368" y="53"/>
                      </a:lnTo>
                      <a:lnTo>
                        <a:pt x="369" y="53"/>
                      </a:lnTo>
                      <a:lnTo>
                        <a:pt x="369" y="51"/>
                      </a:lnTo>
                      <a:lnTo>
                        <a:pt x="368" y="51"/>
                      </a:lnTo>
                      <a:lnTo>
                        <a:pt x="366" y="51"/>
                      </a:lnTo>
                      <a:lnTo>
                        <a:pt x="366" y="49"/>
                      </a:lnTo>
                      <a:lnTo>
                        <a:pt x="368" y="49"/>
                      </a:lnTo>
                      <a:lnTo>
                        <a:pt x="369" y="49"/>
                      </a:lnTo>
                      <a:lnTo>
                        <a:pt x="371" y="48"/>
                      </a:lnTo>
                      <a:lnTo>
                        <a:pt x="373" y="48"/>
                      </a:lnTo>
                      <a:lnTo>
                        <a:pt x="374" y="48"/>
                      </a:lnTo>
                      <a:lnTo>
                        <a:pt x="376" y="48"/>
                      </a:lnTo>
                      <a:lnTo>
                        <a:pt x="378" y="48"/>
                      </a:lnTo>
                      <a:lnTo>
                        <a:pt x="378" y="46"/>
                      </a:lnTo>
                      <a:lnTo>
                        <a:pt x="380" y="46"/>
                      </a:lnTo>
                      <a:lnTo>
                        <a:pt x="380" y="44"/>
                      </a:lnTo>
                      <a:lnTo>
                        <a:pt x="381" y="43"/>
                      </a:lnTo>
                      <a:lnTo>
                        <a:pt x="381" y="41"/>
                      </a:lnTo>
                      <a:lnTo>
                        <a:pt x="383" y="41"/>
                      </a:lnTo>
                      <a:lnTo>
                        <a:pt x="383" y="43"/>
                      </a:lnTo>
                      <a:lnTo>
                        <a:pt x="383" y="41"/>
                      </a:lnTo>
                      <a:lnTo>
                        <a:pt x="383" y="39"/>
                      </a:lnTo>
                      <a:lnTo>
                        <a:pt x="385" y="38"/>
                      </a:lnTo>
                      <a:lnTo>
                        <a:pt x="385" y="36"/>
                      </a:lnTo>
                      <a:lnTo>
                        <a:pt x="385" y="35"/>
                      </a:lnTo>
                      <a:lnTo>
                        <a:pt x="386" y="35"/>
                      </a:lnTo>
                      <a:lnTo>
                        <a:pt x="388" y="33"/>
                      </a:lnTo>
                      <a:lnTo>
                        <a:pt x="390" y="31"/>
                      </a:lnTo>
                      <a:lnTo>
                        <a:pt x="390" y="30"/>
                      </a:lnTo>
                      <a:lnTo>
                        <a:pt x="391" y="30"/>
                      </a:lnTo>
                      <a:lnTo>
                        <a:pt x="391" y="28"/>
                      </a:lnTo>
                      <a:lnTo>
                        <a:pt x="393" y="28"/>
                      </a:lnTo>
                      <a:lnTo>
                        <a:pt x="395" y="26"/>
                      </a:lnTo>
                      <a:lnTo>
                        <a:pt x="395" y="25"/>
                      </a:lnTo>
                      <a:lnTo>
                        <a:pt x="395" y="23"/>
                      </a:lnTo>
                      <a:lnTo>
                        <a:pt x="396" y="23"/>
                      </a:lnTo>
                      <a:lnTo>
                        <a:pt x="396" y="21"/>
                      </a:lnTo>
                      <a:lnTo>
                        <a:pt x="396" y="20"/>
                      </a:lnTo>
                      <a:lnTo>
                        <a:pt x="395" y="18"/>
                      </a:lnTo>
                      <a:lnTo>
                        <a:pt x="393" y="16"/>
                      </a:lnTo>
                      <a:lnTo>
                        <a:pt x="391" y="15"/>
                      </a:lnTo>
                      <a:lnTo>
                        <a:pt x="391" y="13"/>
                      </a:lnTo>
                      <a:lnTo>
                        <a:pt x="391" y="12"/>
                      </a:lnTo>
                      <a:lnTo>
                        <a:pt x="391" y="10"/>
                      </a:lnTo>
                      <a:lnTo>
                        <a:pt x="391" y="8"/>
                      </a:lnTo>
                      <a:lnTo>
                        <a:pt x="393" y="8"/>
                      </a:lnTo>
                      <a:lnTo>
                        <a:pt x="393" y="7"/>
                      </a:lnTo>
                      <a:lnTo>
                        <a:pt x="393" y="5"/>
                      </a:lnTo>
                      <a:lnTo>
                        <a:pt x="391" y="5"/>
                      </a:lnTo>
                      <a:lnTo>
                        <a:pt x="391" y="3"/>
                      </a:lnTo>
                      <a:lnTo>
                        <a:pt x="395" y="2"/>
                      </a:lnTo>
                      <a:lnTo>
                        <a:pt x="395" y="0"/>
                      </a:lnTo>
                      <a:lnTo>
                        <a:pt x="396" y="2"/>
                      </a:lnTo>
                      <a:lnTo>
                        <a:pt x="398" y="3"/>
                      </a:lnTo>
                      <a:lnTo>
                        <a:pt x="400" y="5"/>
                      </a:lnTo>
                      <a:lnTo>
                        <a:pt x="402" y="7"/>
                      </a:lnTo>
                      <a:lnTo>
                        <a:pt x="403" y="7"/>
                      </a:lnTo>
                      <a:lnTo>
                        <a:pt x="405" y="7"/>
                      </a:lnTo>
                      <a:lnTo>
                        <a:pt x="405" y="8"/>
                      </a:lnTo>
                      <a:lnTo>
                        <a:pt x="407" y="8"/>
                      </a:lnTo>
                      <a:lnTo>
                        <a:pt x="408" y="10"/>
                      </a:lnTo>
                      <a:lnTo>
                        <a:pt x="410" y="12"/>
                      </a:lnTo>
                      <a:lnTo>
                        <a:pt x="410" y="13"/>
                      </a:lnTo>
                      <a:lnTo>
                        <a:pt x="410" y="12"/>
                      </a:lnTo>
                      <a:lnTo>
                        <a:pt x="410" y="13"/>
                      </a:lnTo>
                      <a:lnTo>
                        <a:pt x="408" y="12"/>
                      </a:lnTo>
                      <a:lnTo>
                        <a:pt x="407" y="13"/>
                      </a:lnTo>
                      <a:lnTo>
                        <a:pt x="408" y="13"/>
                      </a:lnTo>
                      <a:lnTo>
                        <a:pt x="410" y="13"/>
                      </a:lnTo>
                      <a:lnTo>
                        <a:pt x="412" y="13"/>
                      </a:lnTo>
                      <a:lnTo>
                        <a:pt x="413" y="15"/>
                      </a:lnTo>
                      <a:lnTo>
                        <a:pt x="415" y="15"/>
                      </a:lnTo>
                      <a:lnTo>
                        <a:pt x="417" y="16"/>
                      </a:lnTo>
                      <a:lnTo>
                        <a:pt x="418" y="16"/>
                      </a:lnTo>
                      <a:lnTo>
                        <a:pt x="418" y="15"/>
                      </a:lnTo>
                      <a:lnTo>
                        <a:pt x="418" y="16"/>
                      </a:lnTo>
                      <a:lnTo>
                        <a:pt x="420" y="15"/>
                      </a:lnTo>
                      <a:lnTo>
                        <a:pt x="422" y="16"/>
                      </a:lnTo>
                      <a:lnTo>
                        <a:pt x="423" y="16"/>
                      </a:lnTo>
                      <a:lnTo>
                        <a:pt x="425" y="16"/>
                      </a:lnTo>
                      <a:lnTo>
                        <a:pt x="425" y="15"/>
                      </a:lnTo>
                      <a:lnTo>
                        <a:pt x="427" y="15"/>
                      </a:lnTo>
                      <a:lnTo>
                        <a:pt x="429" y="16"/>
                      </a:lnTo>
                      <a:lnTo>
                        <a:pt x="429" y="15"/>
                      </a:lnTo>
                      <a:lnTo>
                        <a:pt x="430" y="16"/>
                      </a:lnTo>
                      <a:lnTo>
                        <a:pt x="432" y="16"/>
                      </a:lnTo>
                      <a:lnTo>
                        <a:pt x="434" y="16"/>
                      </a:lnTo>
                      <a:lnTo>
                        <a:pt x="435" y="16"/>
                      </a:lnTo>
                      <a:lnTo>
                        <a:pt x="437" y="16"/>
                      </a:lnTo>
                      <a:lnTo>
                        <a:pt x="439" y="16"/>
                      </a:lnTo>
                      <a:lnTo>
                        <a:pt x="439" y="18"/>
                      </a:lnTo>
                      <a:lnTo>
                        <a:pt x="440" y="18"/>
                      </a:lnTo>
                      <a:lnTo>
                        <a:pt x="442" y="18"/>
                      </a:lnTo>
                      <a:lnTo>
                        <a:pt x="442" y="20"/>
                      </a:lnTo>
                      <a:lnTo>
                        <a:pt x="442" y="21"/>
                      </a:lnTo>
                      <a:lnTo>
                        <a:pt x="444" y="21"/>
                      </a:lnTo>
                      <a:lnTo>
                        <a:pt x="445" y="21"/>
                      </a:lnTo>
                      <a:lnTo>
                        <a:pt x="447" y="21"/>
                      </a:lnTo>
                      <a:lnTo>
                        <a:pt x="447" y="23"/>
                      </a:lnTo>
                      <a:lnTo>
                        <a:pt x="449" y="25"/>
                      </a:lnTo>
                      <a:lnTo>
                        <a:pt x="449" y="26"/>
                      </a:lnTo>
                      <a:lnTo>
                        <a:pt x="449" y="28"/>
                      </a:lnTo>
                      <a:lnTo>
                        <a:pt x="447" y="30"/>
                      </a:lnTo>
                      <a:lnTo>
                        <a:pt x="449" y="30"/>
                      </a:lnTo>
                      <a:lnTo>
                        <a:pt x="447" y="31"/>
                      </a:lnTo>
                      <a:lnTo>
                        <a:pt x="449" y="31"/>
                      </a:lnTo>
                      <a:lnTo>
                        <a:pt x="449" y="33"/>
                      </a:lnTo>
                      <a:lnTo>
                        <a:pt x="447" y="33"/>
                      </a:lnTo>
                      <a:lnTo>
                        <a:pt x="447" y="35"/>
                      </a:lnTo>
                      <a:lnTo>
                        <a:pt x="445" y="35"/>
                      </a:lnTo>
                      <a:lnTo>
                        <a:pt x="445" y="36"/>
                      </a:lnTo>
                      <a:lnTo>
                        <a:pt x="444" y="36"/>
                      </a:lnTo>
                      <a:lnTo>
                        <a:pt x="444" y="38"/>
                      </a:lnTo>
                      <a:lnTo>
                        <a:pt x="442" y="38"/>
                      </a:lnTo>
                      <a:lnTo>
                        <a:pt x="442" y="39"/>
                      </a:lnTo>
                      <a:lnTo>
                        <a:pt x="442" y="41"/>
                      </a:lnTo>
                      <a:lnTo>
                        <a:pt x="435" y="53"/>
                      </a:lnTo>
                      <a:lnTo>
                        <a:pt x="432" y="58"/>
                      </a:lnTo>
                      <a:lnTo>
                        <a:pt x="432" y="59"/>
                      </a:lnTo>
                      <a:lnTo>
                        <a:pt x="432" y="61"/>
                      </a:lnTo>
                      <a:lnTo>
                        <a:pt x="434" y="72"/>
                      </a:lnTo>
                      <a:lnTo>
                        <a:pt x="434" y="74"/>
                      </a:lnTo>
                      <a:lnTo>
                        <a:pt x="435" y="76"/>
                      </a:lnTo>
                      <a:lnTo>
                        <a:pt x="437" y="79"/>
                      </a:lnTo>
                      <a:lnTo>
                        <a:pt x="440" y="89"/>
                      </a:lnTo>
                      <a:lnTo>
                        <a:pt x="442" y="94"/>
                      </a:lnTo>
                      <a:lnTo>
                        <a:pt x="444" y="94"/>
                      </a:lnTo>
                      <a:lnTo>
                        <a:pt x="445" y="95"/>
                      </a:lnTo>
                      <a:lnTo>
                        <a:pt x="447" y="97"/>
                      </a:lnTo>
                      <a:lnTo>
                        <a:pt x="447" y="99"/>
                      </a:lnTo>
                      <a:lnTo>
                        <a:pt x="449" y="100"/>
                      </a:lnTo>
                      <a:lnTo>
                        <a:pt x="449" y="102"/>
                      </a:lnTo>
                      <a:lnTo>
                        <a:pt x="449" y="103"/>
                      </a:lnTo>
                      <a:lnTo>
                        <a:pt x="450" y="105"/>
                      </a:lnTo>
                      <a:lnTo>
                        <a:pt x="450" y="107"/>
                      </a:lnTo>
                      <a:lnTo>
                        <a:pt x="450" y="108"/>
                      </a:lnTo>
                      <a:lnTo>
                        <a:pt x="452" y="112"/>
                      </a:lnTo>
                      <a:lnTo>
                        <a:pt x="452" y="113"/>
                      </a:lnTo>
                      <a:lnTo>
                        <a:pt x="452" y="117"/>
                      </a:lnTo>
                      <a:lnTo>
                        <a:pt x="452" y="118"/>
                      </a:lnTo>
                      <a:lnTo>
                        <a:pt x="454" y="120"/>
                      </a:lnTo>
                      <a:lnTo>
                        <a:pt x="454" y="122"/>
                      </a:lnTo>
                      <a:lnTo>
                        <a:pt x="457" y="123"/>
                      </a:lnTo>
                      <a:lnTo>
                        <a:pt x="459" y="125"/>
                      </a:lnTo>
                      <a:lnTo>
                        <a:pt x="459" y="128"/>
                      </a:lnTo>
                      <a:lnTo>
                        <a:pt x="461" y="130"/>
                      </a:lnTo>
                      <a:lnTo>
                        <a:pt x="461" y="131"/>
                      </a:lnTo>
                      <a:lnTo>
                        <a:pt x="462" y="133"/>
                      </a:lnTo>
                      <a:lnTo>
                        <a:pt x="464" y="133"/>
                      </a:lnTo>
                      <a:lnTo>
                        <a:pt x="466" y="133"/>
                      </a:lnTo>
                      <a:lnTo>
                        <a:pt x="467" y="135"/>
                      </a:lnTo>
                      <a:lnTo>
                        <a:pt x="469" y="135"/>
                      </a:lnTo>
                      <a:lnTo>
                        <a:pt x="469" y="136"/>
                      </a:lnTo>
                      <a:lnTo>
                        <a:pt x="469" y="138"/>
                      </a:lnTo>
                      <a:lnTo>
                        <a:pt x="467" y="138"/>
                      </a:lnTo>
                      <a:lnTo>
                        <a:pt x="467" y="140"/>
                      </a:lnTo>
                      <a:lnTo>
                        <a:pt x="467" y="141"/>
                      </a:lnTo>
                      <a:lnTo>
                        <a:pt x="466" y="146"/>
                      </a:lnTo>
                      <a:lnTo>
                        <a:pt x="466" y="148"/>
                      </a:lnTo>
                      <a:lnTo>
                        <a:pt x="466" y="149"/>
                      </a:lnTo>
                      <a:lnTo>
                        <a:pt x="464" y="151"/>
                      </a:lnTo>
                      <a:lnTo>
                        <a:pt x="462" y="153"/>
                      </a:lnTo>
                      <a:lnTo>
                        <a:pt x="461" y="154"/>
                      </a:lnTo>
                      <a:lnTo>
                        <a:pt x="459" y="156"/>
                      </a:lnTo>
                      <a:lnTo>
                        <a:pt x="459" y="158"/>
                      </a:lnTo>
                      <a:lnTo>
                        <a:pt x="457" y="158"/>
                      </a:lnTo>
                      <a:lnTo>
                        <a:pt x="456" y="159"/>
                      </a:lnTo>
                      <a:lnTo>
                        <a:pt x="456" y="161"/>
                      </a:lnTo>
                      <a:lnTo>
                        <a:pt x="456" y="163"/>
                      </a:lnTo>
                      <a:lnTo>
                        <a:pt x="456" y="164"/>
                      </a:lnTo>
                      <a:lnTo>
                        <a:pt x="454" y="168"/>
                      </a:lnTo>
                      <a:lnTo>
                        <a:pt x="452" y="169"/>
                      </a:lnTo>
                      <a:lnTo>
                        <a:pt x="450" y="171"/>
                      </a:lnTo>
                      <a:lnTo>
                        <a:pt x="450" y="174"/>
                      </a:lnTo>
                      <a:lnTo>
                        <a:pt x="452" y="174"/>
                      </a:lnTo>
                      <a:lnTo>
                        <a:pt x="454" y="176"/>
                      </a:lnTo>
                      <a:lnTo>
                        <a:pt x="456" y="177"/>
                      </a:lnTo>
                      <a:lnTo>
                        <a:pt x="456" y="179"/>
                      </a:lnTo>
                      <a:lnTo>
                        <a:pt x="454" y="181"/>
                      </a:lnTo>
                      <a:lnTo>
                        <a:pt x="452" y="182"/>
                      </a:lnTo>
                      <a:lnTo>
                        <a:pt x="452" y="184"/>
                      </a:lnTo>
                      <a:lnTo>
                        <a:pt x="454" y="184"/>
                      </a:lnTo>
                      <a:lnTo>
                        <a:pt x="454" y="186"/>
                      </a:lnTo>
                      <a:lnTo>
                        <a:pt x="456" y="187"/>
                      </a:lnTo>
                      <a:lnTo>
                        <a:pt x="457" y="189"/>
                      </a:lnTo>
                      <a:lnTo>
                        <a:pt x="457" y="191"/>
                      </a:lnTo>
                      <a:lnTo>
                        <a:pt x="457" y="192"/>
                      </a:lnTo>
                      <a:lnTo>
                        <a:pt x="457" y="195"/>
                      </a:lnTo>
                      <a:lnTo>
                        <a:pt x="457" y="197"/>
                      </a:lnTo>
                      <a:lnTo>
                        <a:pt x="457" y="199"/>
                      </a:lnTo>
                      <a:lnTo>
                        <a:pt x="457" y="200"/>
                      </a:lnTo>
                      <a:lnTo>
                        <a:pt x="457" y="202"/>
                      </a:lnTo>
                      <a:lnTo>
                        <a:pt x="459" y="204"/>
                      </a:lnTo>
                      <a:lnTo>
                        <a:pt x="461" y="207"/>
                      </a:lnTo>
                      <a:lnTo>
                        <a:pt x="462" y="209"/>
                      </a:lnTo>
                      <a:lnTo>
                        <a:pt x="464" y="210"/>
                      </a:lnTo>
                      <a:lnTo>
                        <a:pt x="462" y="212"/>
                      </a:lnTo>
                      <a:lnTo>
                        <a:pt x="464" y="212"/>
                      </a:lnTo>
                      <a:lnTo>
                        <a:pt x="464" y="214"/>
                      </a:lnTo>
                      <a:lnTo>
                        <a:pt x="464" y="215"/>
                      </a:lnTo>
                      <a:lnTo>
                        <a:pt x="466" y="217"/>
                      </a:lnTo>
                      <a:lnTo>
                        <a:pt x="466" y="218"/>
                      </a:lnTo>
                      <a:lnTo>
                        <a:pt x="467" y="220"/>
                      </a:lnTo>
                      <a:lnTo>
                        <a:pt x="467" y="222"/>
                      </a:lnTo>
                      <a:lnTo>
                        <a:pt x="469" y="222"/>
                      </a:lnTo>
                      <a:lnTo>
                        <a:pt x="471" y="223"/>
                      </a:lnTo>
                      <a:lnTo>
                        <a:pt x="471" y="225"/>
                      </a:lnTo>
                      <a:lnTo>
                        <a:pt x="469" y="227"/>
                      </a:lnTo>
                      <a:lnTo>
                        <a:pt x="469" y="228"/>
                      </a:lnTo>
                      <a:lnTo>
                        <a:pt x="469" y="230"/>
                      </a:lnTo>
                      <a:lnTo>
                        <a:pt x="467" y="235"/>
                      </a:lnTo>
                      <a:lnTo>
                        <a:pt x="467" y="237"/>
                      </a:lnTo>
                      <a:lnTo>
                        <a:pt x="469" y="238"/>
                      </a:lnTo>
                      <a:lnTo>
                        <a:pt x="471" y="240"/>
                      </a:lnTo>
                      <a:lnTo>
                        <a:pt x="472" y="241"/>
                      </a:lnTo>
                      <a:lnTo>
                        <a:pt x="472" y="243"/>
                      </a:lnTo>
                      <a:lnTo>
                        <a:pt x="474" y="243"/>
                      </a:lnTo>
                      <a:lnTo>
                        <a:pt x="474" y="245"/>
                      </a:lnTo>
                      <a:lnTo>
                        <a:pt x="476" y="245"/>
                      </a:lnTo>
                      <a:lnTo>
                        <a:pt x="476" y="246"/>
                      </a:lnTo>
                      <a:lnTo>
                        <a:pt x="474" y="246"/>
                      </a:lnTo>
                      <a:lnTo>
                        <a:pt x="476" y="248"/>
                      </a:lnTo>
                      <a:lnTo>
                        <a:pt x="476" y="246"/>
                      </a:lnTo>
                      <a:lnTo>
                        <a:pt x="478" y="246"/>
                      </a:lnTo>
                      <a:lnTo>
                        <a:pt x="478" y="248"/>
                      </a:lnTo>
                      <a:lnTo>
                        <a:pt x="478" y="250"/>
                      </a:lnTo>
                      <a:lnTo>
                        <a:pt x="479" y="250"/>
                      </a:lnTo>
                      <a:lnTo>
                        <a:pt x="479" y="251"/>
                      </a:lnTo>
                      <a:lnTo>
                        <a:pt x="481" y="251"/>
                      </a:lnTo>
                      <a:lnTo>
                        <a:pt x="481" y="253"/>
                      </a:lnTo>
                      <a:lnTo>
                        <a:pt x="479" y="253"/>
                      </a:lnTo>
                      <a:lnTo>
                        <a:pt x="479" y="255"/>
                      </a:lnTo>
                      <a:lnTo>
                        <a:pt x="479" y="256"/>
                      </a:lnTo>
                      <a:lnTo>
                        <a:pt x="479" y="258"/>
                      </a:lnTo>
                      <a:lnTo>
                        <a:pt x="479" y="260"/>
                      </a:lnTo>
                      <a:lnTo>
                        <a:pt x="481" y="261"/>
                      </a:lnTo>
                      <a:lnTo>
                        <a:pt x="481" y="263"/>
                      </a:lnTo>
                      <a:lnTo>
                        <a:pt x="481" y="264"/>
                      </a:lnTo>
                      <a:lnTo>
                        <a:pt x="483" y="266"/>
                      </a:lnTo>
                      <a:lnTo>
                        <a:pt x="483" y="268"/>
                      </a:lnTo>
                      <a:lnTo>
                        <a:pt x="481" y="269"/>
                      </a:lnTo>
                      <a:lnTo>
                        <a:pt x="479" y="269"/>
                      </a:lnTo>
                      <a:lnTo>
                        <a:pt x="479" y="271"/>
                      </a:lnTo>
                      <a:lnTo>
                        <a:pt x="479" y="273"/>
                      </a:lnTo>
                      <a:lnTo>
                        <a:pt x="481" y="276"/>
                      </a:lnTo>
                      <a:lnTo>
                        <a:pt x="481" y="278"/>
                      </a:lnTo>
                      <a:lnTo>
                        <a:pt x="481" y="279"/>
                      </a:lnTo>
                      <a:lnTo>
                        <a:pt x="481" y="281"/>
                      </a:lnTo>
                      <a:lnTo>
                        <a:pt x="481" y="283"/>
                      </a:lnTo>
                      <a:lnTo>
                        <a:pt x="481" y="284"/>
                      </a:lnTo>
                      <a:lnTo>
                        <a:pt x="481" y="286"/>
                      </a:lnTo>
                      <a:lnTo>
                        <a:pt x="481" y="287"/>
                      </a:lnTo>
                      <a:lnTo>
                        <a:pt x="483" y="289"/>
                      </a:lnTo>
                      <a:lnTo>
                        <a:pt x="483" y="291"/>
                      </a:lnTo>
                      <a:lnTo>
                        <a:pt x="483" y="292"/>
                      </a:lnTo>
                      <a:lnTo>
                        <a:pt x="484" y="294"/>
                      </a:lnTo>
                      <a:lnTo>
                        <a:pt x="484" y="296"/>
                      </a:lnTo>
                      <a:lnTo>
                        <a:pt x="484" y="297"/>
                      </a:lnTo>
                      <a:lnTo>
                        <a:pt x="484" y="299"/>
                      </a:lnTo>
                      <a:lnTo>
                        <a:pt x="484" y="301"/>
                      </a:lnTo>
                      <a:lnTo>
                        <a:pt x="483" y="301"/>
                      </a:lnTo>
                      <a:lnTo>
                        <a:pt x="481" y="304"/>
                      </a:lnTo>
                      <a:lnTo>
                        <a:pt x="481" y="305"/>
                      </a:lnTo>
                      <a:lnTo>
                        <a:pt x="483" y="305"/>
                      </a:lnTo>
                      <a:lnTo>
                        <a:pt x="484" y="305"/>
                      </a:lnTo>
                      <a:lnTo>
                        <a:pt x="484" y="307"/>
                      </a:lnTo>
                      <a:lnTo>
                        <a:pt x="486" y="309"/>
                      </a:lnTo>
                      <a:lnTo>
                        <a:pt x="486" y="310"/>
                      </a:lnTo>
                      <a:lnTo>
                        <a:pt x="486" y="312"/>
                      </a:lnTo>
                      <a:lnTo>
                        <a:pt x="488" y="314"/>
                      </a:lnTo>
                      <a:lnTo>
                        <a:pt x="488" y="315"/>
                      </a:lnTo>
                      <a:lnTo>
                        <a:pt x="486" y="315"/>
                      </a:lnTo>
                      <a:lnTo>
                        <a:pt x="488" y="317"/>
                      </a:lnTo>
                      <a:lnTo>
                        <a:pt x="486" y="319"/>
                      </a:lnTo>
                      <a:lnTo>
                        <a:pt x="488" y="319"/>
                      </a:lnTo>
                      <a:lnTo>
                        <a:pt x="488" y="320"/>
                      </a:lnTo>
                      <a:lnTo>
                        <a:pt x="486" y="322"/>
                      </a:lnTo>
                      <a:lnTo>
                        <a:pt x="488" y="324"/>
                      </a:lnTo>
                      <a:lnTo>
                        <a:pt x="489" y="324"/>
                      </a:lnTo>
                      <a:lnTo>
                        <a:pt x="489" y="325"/>
                      </a:lnTo>
                      <a:lnTo>
                        <a:pt x="489" y="327"/>
                      </a:lnTo>
                      <a:lnTo>
                        <a:pt x="491" y="328"/>
                      </a:lnTo>
                      <a:lnTo>
                        <a:pt x="493" y="328"/>
                      </a:lnTo>
                      <a:lnTo>
                        <a:pt x="493" y="330"/>
                      </a:lnTo>
                      <a:lnTo>
                        <a:pt x="494" y="332"/>
                      </a:lnTo>
                      <a:lnTo>
                        <a:pt x="494" y="333"/>
                      </a:lnTo>
                      <a:lnTo>
                        <a:pt x="493" y="333"/>
                      </a:lnTo>
                      <a:lnTo>
                        <a:pt x="493" y="335"/>
                      </a:lnTo>
                      <a:lnTo>
                        <a:pt x="491" y="337"/>
                      </a:lnTo>
                      <a:lnTo>
                        <a:pt x="491" y="338"/>
                      </a:lnTo>
                      <a:lnTo>
                        <a:pt x="493" y="340"/>
                      </a:lnTo>
                      <a:lnTo>
                        <a:pt x="493" y="342"/>
                      </a:lnTo>
                      <a:lnTo>
                        <a:pt x="493" y="343"/>
                      </a:lnTo>
                      <a:lnTo>
                        <a:pt x="493" y="345"/>
                      </a:lnTo>
                      <a:lnTo>
                        <a:pt x="493" y="347"/>
                      </a:lnTo>
                      <a:lnTo>
                        <a:pt x="493" y="348"/>
                      </a:lnTo>
                      <a:lnTo>
                        <a:pt x="493" y="350"/>
                      </a:lnTo>
                      <a:lnTo>
                        <a:pt x="494" y="350"/>
                      </a:lnTo>
                      <a:lnTo>
                        <a:pt x="496" y="351"/>
                      </a:lnTo>
                      <a:lnTo>
                        <a:pt x="496" y="353"/>
                      </a:lnTo>
                      <a:lnTo>
                        <a:pt x="496" y="355"/>
                      </a:lnTo>
                      <a:lnTo>
                        <a:pt x="498" y="356"/>
                      </a:lnTo>
                      <a:lnTo>
                        <a:pt x="498" y="358"/>
                      </a:lnTo>
                      <a:lnTo>
                        <a:pt x="496" y="360"/>
                      </a:lnTo>
                      <a:lnTo>
                        <a:pt x="496" y="361"/>
                      </a:lnTo>
                      <a:lnTo>
                        <a:pt x="498" y="361"/>
                      </a:lnTo>
                      <a:lnTo>
                        <a:pt x="498" y="363"/>
                      </a:lnTo>
                      <a:lnTo>
                        <a:pt x="499" y="363"/>
                      </a:lnTo>
                      <a:lnTo>
                        <a:pt x="501" y="363"/>
                      </a:lnTo>
                      <a:lnTo>
                        <a:pt x="503" y="365"/>
                      </a:lnTo>
                      <a:lnTo>
                        <a:pt x="505" y="365"/>
                      </a:lnTo>
                      <a:lnTo>
                        <a:pt x="506" y="363"/>
                      </a:lnTo>
                      <a:lnTo>
                        <a:pt x="506" y="365"/>
                      </a:lnTo>
                      <a:lnTo>
                        <a:pt x="508" y="366"/>
                      </a:lnTo>
                      <a:lnTo>
                        <a:pt x="510" y="366"/>
                      </a:lnTo>
                      <a:lnTo>
                        <a:pt x="511" y="366"/>
                      </a:lnTo>
                      <a:lnTo>
                        <a:pt x="515" y="368"/>
                      </a:lnTo>
                      <a:lnTo>
                        <a:pt x="518" y="370"/>
                      </a:lnTo>
                      <a:lnTo>
                        <a:pt x="520" y="370"/>
                      </a:lnTo>
                      <a:lnTo>
                        <a:pt x="521" y="368"/>
                      </a:lnTo>
                      <a:lnTo>
                        <a:pt x="523" y="370"/>
                      </a:lnTo>
                      <a:lnTo>
                        <a:pt x="523" y="371"/>
                      </a:lnTo>
                      <a:lnTo>
                        <a:pt x="525" y="371"/>
                      </a:lnTo>
                      <a:lnTo>
                        <a:pt x="525" y="373"/>
                      </a:lnTo>
                      <a:lnTo>
                        <a:pt x="525" y="374"/>
                      </a:lnTo>
                      <a:lnTo>
                        <a:pt x="526" y="376"/>
                      </a:lnTo>
                      <a:lnTo>
                        <a:pt x="528" y="376"/>
                      </a:lnTo>
                      <a:lnTo>
                        <a:pt x="528" y="374"/>
                      </a:lnTo>
                      <a:lnTo>
                        <a:pt x="530" y="374"/>
                      </a:lnTo>
                      <a:lnTo>
                        <a:pt x="532" y="374"/>
                      </a:lnTo>
                      <a:lnTo>
                        <a:pt x="532" y="376"/>
                      </a:lnTo>
                      <a:lnTo>
                        <a:pt x="532" y="378"/>
                      </a:lnTo>
                      <a:lnTo>
                        <a:pt x="530" y="378"/>
                      </a:lnTo>
                      <a:lnTo>
                        <a:pt x="530" y="379"/>
                      </a:lnTo>
                      <a:lnTo>
                        <a:pt x="528" y="379"/>
                      </a:lnTo>
                      <a:lnTo>
                        <a:pt x="528" y="381"/>
                      </a:lnTo>
                      <a:lnTo>
                        <a:pt x="526" y="381"/>
                      </a:lnTo>
                      <a:lnTo>
                        <a:pt x="526" y="383"/>
                      </a:lnTo>
                      <a:lnTo>
                        <a:pt x="526" y="384"/>
                      </a:lnTo>
                      <a:lnTo>
                        <a:pt x="526" y="386"/>
                      </a:lnTo>
                      <a:lnTo>
                        <a:pt x="528" y="388"/>
                      </a:lnTo>
                      <a:lnTo>
                        <a:pt x="526" y="389"/>
                      </a:lnTo>
                      <a:lnTo>
                        <a:pt x="526" y="391"/>
                      </a:lnTo>
                      <a:lnTo>
                        <a:pt x="526" y="393"/>
                      </a:lnTo>
                      <a:lnTo>
                        <a:pt x="528" y="393"/>
                      </a:lnTo>
                      <a:lnTo>
                        <a:pt x="528" y="394"/>
                      </a:lnTo>
                      <a:lnTo>
                        <a:pt x="526" y="394"/>
                      </a:lnTo>
                      <a:lnTo>
                        <a:pt x="526" y="396"/>
                      </a:lnTo>
                      <a:lnTo>
                        <a:pt x="526" y="397"/>
                      </a:lnTo>
                      <a:lnTo>
                        <a:pt x="525" y="399"/>
                      </a:lnTo>
                      <a:lnTo>
                        <a:pt x="523" y="401"/>
                      </a:lnTo>
                      <a:lnTo>
                        <a:pt x="523" y="402"/>
                      </a:lnTo>
                      <a:lnTo>
                        <a:pt x="521" y="404"/>
                      </a:lnTo>
                      <a:lnTo>
                        <a:pt x="521" y="406"/>
                      </a:lnTo>
                      <a:lnTo>
                        <a:pt x="521" y="409"/>
                      </a:lnTo>
                      <a:lnTo>
                        <a:pt x="520" y="409"/>
                      </a:lnTo>
                      <a:lnTo>
                        <a:pt x="520" y="411"/>
                      </a:lnTo>
                      <a:lnTo>
                        <a:pt x="520" y="412"/>
                      </a:lnTo>
                      <a:lnTo>
                        <a:pt x="520" y="414"/>
                      </a:lnTo>
                      <a:lnTo>
                        <a:pt x="518" y="417"/>
                      </a:lnTo>
                      <a:lnTo>
                        <a:pt x="518" y="419"/>
                      </a:lnTo>
                      <a:lnTo>
                        <a:pt x="518" y="420"/>
                      </a:lnTo>
                      <a:lnTo>
                        <a:pt x="518" y="422"/>
                      </a:lnTo>
                      <a:lnTo>
                        <a:pt x="518" y="424"/>
                      </a:lnTo>
                      <a:lnTo>
                        <a:pt x="516" y="424"/>
                      </a:lnTo>
                      <a:lnTo>
                        <a:pt x="516" y="425"/>
                      </a:lnTo>
                      <a:lnTo>
                        <a:pt x="515" y="429"/>
                      </a:lnTo>
                      <a:lnTo>
                        <a:pt x="513" y="430"/>
                      </a:lnTo>
                      <a:lnTo>
                        <a:pt x="511" y="430"/>
                      </a:lnTo>
                      <a:lnTo>
                        <a:pt x="510" y="432"/>
                      </a:lnTo>
                      <a:lnTo>
                        <a:pt x="508" y="432"/>
                      </a:lnTo>
                      <a:lnTo>
                        <a:pt x="506" y="432"/>
                      </a:lnTo>
                      <a:lnTo>
                        <a:pt x="506" y="434"/>
                      </a:lnTo>
                      <a:lnTo>
                        <a:pt x="505" y="435"/>
                      </a:lnTo>
                      <a:lnTo>
                        <a:pt x="501" y="435"/>
                      </a:lnTo>
                      <a:lnTo>
                        <a:pt x="499" y="437"/>
                      </a:lnTo>
                      <a:lnTo>
                        <a:pt x="499" y="439"/>
                      </a:lnTo>
                      <a:lnTo>
                        <a:pt x="499" y="440"/>
                      </a:lnTo>
                      <a:lnTo>
                        <a:pt x="501" y="442"/>
                      </a:lnTo>
                      <a:lnTo>
                        <a:pt x="501" y="443"/>
                      </a:lnTo>
                      <a:lnTo>
                        <a:pt x="503" y="445"/>
                      </a:lnTo>
                      <a:lnTo>
                        <a:pt x="506" y="448"/>
                      </a:lnTo>
                      <a:lnTo>
                        <a:pt x="506" y="450"/>
                      </a:lnTo>
                      <a:lnTo>
                        <a:pt x="506" y="452"/>
                      </a:lnTo>
                      <a:lnTo>
                        <a:pt x="506" y="453"/>
                      </a:lnTo>
                      <a:lnTo>
                        <a:pt x="506" y="455"/>
                      </a:lnTo>
                      <a:lnTo>
                        <a:pt x="505" y="458"/>
                      </a:lnTo>
                      <a:lnTo>
                        <a:pt x="503" y="460"/>
                      </a:lnTo>
                      <a:lnTo>
                        <a:pt x="503" y="462"/>
                      </a:lnTo>
                      <a:lnTo>
                        <a:pt x="503" y="463"/>
                      </a:lnTo>
                      <a:lnTo>
                        <a:pt x="505" y="463"/>
                      </a:lnTo>
                      <a:lnTo>
                        <a:pt x="505" y="465"/>
                      </a:lnTo>
                      <a:lnTo>
                        <a:pt x="506" y="465"/>
                      </a:lnTo>
                      <a:lnTo>
                        <a:pt x="508" y="465"/>
                      </a:lnTo>
                      <a:lnTo>
                        <a:pt x="510" y="465"/>
                      </a:lnTo>
                      <a:lnTo>
                        <a:pt x="511" y="465"/>
                      </a:lnTo>
                      <a:lnTo>
                        <a:pt x="513" y="465"/>
                      </a:lnTo>
                      <a:lnTo>
                        <a:pt x="515" y="465"/>
                      </a:lnTo>
                      <a:lnTo>
                        <a:pt x="516" y="466"/>
                      </a:lnTo>
                      <a:lnTo>
                        <a:pt x="518" y="466"/>
                      </a:lnTo>
                      <a:lnTo>
                        <a:pt x="518" y="470"/>
                      </a:lnTo>
                      <a:lnTo>
                        <a:pt x="518" y="471"/>
                      </a:lnTo>
                      <a:lnTo>
                        <a:pt x="516" y="471"/>
                      </a:lnTo>
                      <a:lnTo>
                        <a:pt x="516" y="473"/>
                      </a:lnTo>
                      <a:lnTo>
                        <a:pt x="515" y="473"/>
                      </a:lnTo>
                      <a:lnTo>
                        <a:pt x="515" y="475"/>
                      </a:lnTo>
                      <a:lnTo>
                        <a:pt x="513" y="475"/>
                      </a:lnTo>
                      <a:lnTo>
                        <a:pt x="515" y="475"/>
                      </a:lnTo>
                      <a:lnTo>
                        <a:pt x="515" y="476"/>
                      </a:lnTo>
                      <a:lnTo>
                        <a:pt x="516" y="476"/>
                      </a:lnTo>
                      <a:lnTo>
                        <a:pt x="516" y="478"/>
                      </a:lnTo>
                      <a:lnTo>
                        <a:pt x="516" y="480"/>
                      </a:lnTo>
                      <a:lnTo>
                        <a:pt x="516" y="481"/>
                      </a:lnTo>
                      <a:lnTo>
                        <a:pt x="516" y="483"/>
                      </a:lnTo>
                      <a:lnTo>
                        <a:pt x="515" y="486"/>
                      </a:lnTo>
                      <a:lnTo>
                        <a:pt x="513" y="489"/>
                      </a:lnTo>
                      <a:lnTo>
                        <a:pt x="511" y="493"/>
                      </a:lnTo>
                      <a:lnTo>
                        <a:pt x="511" y="494"/>
                      </a:lnTo>
                      <a:lnTo>
                        <a:pt x="510" y="494"/>
                      </a:lnTo>
                      <a:lnTo>
                        <a:pt x="510" y="496"/>
                      </a:lnTo>
                      <a:lnTo>
                        <a:pt x="511" y="496"/>
                      </a:lnTo>
                      <a:lnTo>
                        <a:pt x="511" y="498"/>
                      </a:lnTo>
                      <a:lnTo>
                        <a:pt x="511" y="499"/>
                      </a:lnTo>
                      <a:lnTo>
                        <a:pt x="510" y="499"/>
                      </a:lnTo>
                      <a:lnTo>
                        <a:pt x="508" y="499"/>
                      </a:lnTo>
                      <a:lnTo>
                        <a:pt x="506" y="499"/>
                      </a:lnTo>
                      <a:lnTo>
                        <a:pt x="506" y="501"/>
                      </a:lnTo>
                      <a:lnTo>
                        <a:pt x="506" y="499"/>
                      </a:lnTo>
                      <a:lnTo>
                        <a:pt x="506" y="501"/>
                      </a:lnTo>
                      <a:lnTo>
                        <a:pt x="505" y="499"/>
                      </a:lnTo>
                      <a:lnTo>
                        <a:pt x="505" y="501"/>
                      </a:lnTo>
                      <a:lnTo>
                        <a:pt x="505" y="503"/>
                      </a:lnTo>
                      <a:lnTo>
                        <a:pt x="503" y="503"/>
                      </a:lnTo>
                      <a:lnTo>
                        <a:pt x="501" y="504"/>
                      </a:lnTo>
                      <a:lnTo>
                        <a:pt x="501" y="506"/>
                      </a:lnTo>
                      <a:lnTo>
                        <a:pt x="499" y="506"/>
                      </a:lnTo>
                      <a:lnTo>
                        <a:pt x="498" y="506"/>
                      </a:lnTo>
                      <a:lnTo>
                        <a:pt x="498" y="507"/>
                      </a:lnTo>
                      <a:lnTo>
                        <a:pt x="496" y="507"/>
                      </a:lnTo>
                      <a:lnTo>
                        <a:pt x="494" y="507"/>
                      </a:lnTo>
                      <a:lnTo>
                        <a:pt x="494" y="509"/>
                      </a:lnTo>
                      <a:lnTo>
                        <a:pt x="493" y="509"/>
                      </a:lnTo>
                      <a:lnTo>
                        <a:pt x="493" y="511"/>
                      </a:lnTo>
                      <a:lnTo>
                        <a:pt x="494" y="512"/>
                      </a:lnTo>
                      <a:lnTo>
                        <a:pt x="493" y="512"/>
                      </a:lnTo>
                      <a:lnTo>
                        <a:pt x="493" y="514"/>
                      </a:lnTo>
                      <a:lnTo>
                        <a:pt x="493" y="516"/>
                      </a:lnTo>
                      <a:lnTo>
                        <a:pt x="491" y="516"/>
                      </a:lnTo>
                      <a:lnTo>
                        <a:pt x="489" y="516"/>
                      </a:lnTo>
                      <a:lnTo>
                        <a:pt x="489" y="517"/>
                      </a:lnTo>
                      <a:lnTo>
                        <a:pt x="489" y="519"/>
                      </a:lnTo>
                      <a:lnTo>
                        <a:pt x="489" y="521"/>
                      </a:lnTo>
                      <a:lnTo>
                        <a:pt x="488" y="521"/>
                      </a:lnTo>
                      <a:lnTo>
                        <a:pt x="486" y="521"/>
                      </a:lnTo>
                      <a:lnTo>
                        <a:pt x="486" y="519"/>
                      </a:lnTo>
                      <a:lnTo>
                        <a:pt x="484" y="519"/>
                      </a:lnTo>
                      <a:lnTo>
                        <a:pt x="483" y="519"/>
                      </a:lnTo>
                      <a:lnTo>
                        <a:pt x="483" y="521"/>
                      </a:lnTo>
                      <a:lnTo>
                        <a:pt x="483" y="522"/>
                      </a:lnTo>
                      <a:lnTo>
                        <a:pt x="481" y="522"/>
                      </a:lnTo>
                      <a:lnTo>
                        <a:pt x="483" y="524"/>
                      </a:lnTo>
                      <a:lnTo>
                        <a:pt x="481" y="526"/>
                      </a:lnTo>
                      <a:lnTo>
                        <a:pt x="479" y="527"/>
                      </a:lnTo>
                      <a:lnTo>
                        <a:pt x="479" y="526"/>
                      </a:lnTo>
                      <a:lnTo>
                        <a:pt x="478" y="526"/>
                      </a:lnTo>
                      <a:lnTo>
                        <a:pt x="476" y="524"/>
                      </a:lnTo>
                      <a:lnTo>
                        <a:pt x="474" y="522"/>
                      </a:lnTo>
                      <a:lnTo>
                        <a:pt x="472" y="522"/>
                      </a:lnTo>
                      <a:lnTo>
                        <a:pt x="472" y="524"/>
                      </a:lnTo>
                      <a:lnTo>
                        <a:pt x="471" y="524"/>
                      </a:lnTo>
                      <a:lnTo>
                        <a:pt x="471" y="526"/>
                      </a:lnTo>
                      <a:lnTo>
                        <a:pt x="469" y="526"/>
                      </a:lnTo>
                      <a:lnTo>
                        <a:pt x="469" y="527"/>
                      </a:lnTo>
                      <a:lnTo>
                        <a:pt x="467" y="527"/>
                      </a:lnTo>
                      <a:lnTo>
                        <a:pt x="467" y="529"/>
                      </a:lnTo>
                      <a:lnTo>
                        <a:pt x="467" y="530"/>
                      </a:lnTo>
                      <a:lnTo>
                        <a:pt x="467" y="529"/>
                      </a:lnTo>
                      <a:lnTo>
                        <a:pt x="466" y="529"/>
                      </a:lnTo>
                      <a:lnTo>
                        <a:pt x="466" y="530"/>
                      </a:lnTo>
                      <a:lnTo>
                        <a:pt x="464" y="532"/>
                      </a:lnTo>
                      <a:lnTo>
                        <a:pt x="464" y="534"/>
                      </a:lnTo>
                      <a:lnTo>
                        <a:pt x="462" y="534"/>
                      </a:lnTo>
                      <a:lnTo>
                        <a:pt x="462" y="535"/>
                      </a:lnTo>
                      <a:lnTo>
                        <a:pt x="461" y="535"/>
                      </a:lnTo>
                      <a:lnTo>
                        <a:pt x="459" y="535"/>
                      </a:lnTo>
                      <a:lnTo>
                        <a:pt x="459" y="537"/>
                      </a:lnTo>
                      <a:lnTo>
                        <a:pt x="457" y="537"/>
                      </a:lnTo>
                      <a:lnTo>
                        <a:pt x="457" y="539"/>
                      </a:lnTo>
                      <a:lnTo>
                        <a:pt x="457" y="540"/>
                      </a:lnTo>
                      <a:lnTo>
                        <a:pt x="456" y="540"/>
                      </a:lnTo>
                      <a:lnTo>
                        <a:pt x="454" y="540"/>
                      </a:lnTo>
                      <a:lnTo>
                        <a:pt x="452" y="540"/>
                      </a:lnTo>
                      <a:lnTo>
                        <a:pt x="452" y="542"/>
                      </a:lnTo>
                      <a:lnTo>
                        <a:pt x="454" y="544"/>
                      </a:lnTo>
                      <a:lnTo>
                        <a:pt x="452" y="544"/>
                      </a:lnTo>
                      <a:lnTo>
                        <a:pt x="452" y="545"/>
                      </a:lnTo>
                      <a:lnTo>
                        <a:pt x="450" y="545"/>
                      </a:lnTo>
                      <a:lnTo>
                        <a:pt x="450" y="547"/>
                      </a:lnTo>
                      <a:lnTo>
                        <a:pt x="449" y="547"/>
                      </a:lnTo>
                      <a:lnTo>
                        <a:pt x="447" y="547"/>
                      </a:lnTo>
                      <a:lnTo>
                        <a:pt x="445" y="547"/>
                      </a:lnTo>
                      <a:lnTo>
                        <a:pt x="444" y="549"/>
                      </a:lnTo>
                      <a:lnTo>
                        <a:pt x="442" y="550"/>
                      </a:lnTo>
                      <a:lnTo>
                        <a:pt x="440" y="550"/>
                      </a:lnTo>
                      <a:lnTo>
                        <a:pt x="439" y="550"/>
                      </a:lnTo>
                      <a:lnTo>
                        <a:pt x="437" y="550"/>
                      </a:lnTo>
                      <a:lnTo>
                        <a:pt x="435" y="552"/>
                      </a:lnTo>
                      <a:lnTo>
                        <a:pt x="435" y="553"/>
                      </a:lnTo>
                      <a:lnTo>
                        <a:pt x="435" y="555"/>
                      </a:lnTo>
                      <a:lnTo>
                        <a:pt x="434" y="557"/>
                      </a:lnTo>
                      <a:lnTo>
                        <a:pt x="432" y="560"/>
                      </a:lnTo>
                      <a:lnTo>
                        <a:pt x="432" y="558"/>
                      </a:lnTo>
                      <a:lnTo>
                        <a:pt x="432" y="560"/>
                      </a:lnTo>
                      <a:lnTo>
                        <a:pt x="430" y="560"/>
                      </a:lnTo>
                      <a:lnTo>
                        <a:pt x="429" y="562"/>
                      </a:lnTo>
                      <a:lnTo>
                        <a:pt x="429" y="563"/>
                      </a:lnTo>
                      <a:lnTo>
                        <a:pt x="427" y="563"/>
                      </a:lnTo>
                      <a:lnTo>
                        <a:pt x="425" y="565"/>
                      </a:lnTo>
                      <a:lnTo>
                        <a:pt x="423" y="567"/>
                      </a:lnTo>
                      <a:lnTo>
                        <a:pt x="425" y="567"/>
                      </a:lnTo>
                      <a:lnTo>
                        <a:pt x="425" y="568"/>
                      </a:lnTo>
                      <a:lnTo>
                        <a:pt x="423" y="568"/>
                      </a:lnTo>
                      <a:lnTo>
                        <a:pt x="423" y="570"/>
                      </a:lnTo>
                      <a:lnTo>
                        <a:pt x="422" y="572"/>
                      </a:lnTo>
                      <a:lnTo>
                        <a:pt x="420" y="573"/>
                      </a:lnTo>
                      <a:lnTo>
                        <a:pt x="422" y="573"/>
                      </a:lnTo>
                      <a:lnTo>
                        <a:pt x="420" y="573"/>
                      </a:lnTo>
                      <a:lnTo>
                        <a:pt x="422" y="575"/>
                      </a:lnTo>
                      <a:lnTo>
                        <a:pt x="420" y="575"/>
                      </a:lnTo>
                      <a:lnTo>
                        <a:pt x="418" y="575"/>
                      </a:lnTo>
                      <a:lnTo>
                        <a:pt x="418" y="573"/>
                      </a:lnTo>
                      <a:lnTo>
                        <a:pt x="417" y="573"/>
                      </a:lnTo>
                      <a:lnTo>
                        <a:pt x="417" y="575"/>
                      </a:lnTo>
                      <a:lnTo>
                        <a:pt x="415" y="573"/>
                      </a:lnTo>
                      <a:lnTo>
                        <a:pt x="415" y="575"/>
                      </a:lnTo>
                      <a:lnTo>
                        <a:pt x="413" y="575"/>
                      </a:lnTo>
                      <a:lnTo>
                        <a:pt x="413" y="576"/>
                      </a:lnTo>
                      <a:lnTo>
                        <a:pt x="412" y="576"/>
                      </a:lnTo>
                      <a:lnTo>
                        <a:pt x="410" y="576"/>
                      </a:lnTo>
                      <a:lnTo>
                        <a:pt x="408" y="578"/>
                      </a:lnTo>
                      <a:lnTo>
                        <a:pt x="410" y="578"/>
                      </a:lnTo>
                      <a:lnTo>
                        <a:pt x="408" y="578"/>
                      </a:lnTo>
                      <a:lnTo>
                        <a:pt x="408" y="580"/>
                      </a:lnTo>
                      <a:lnTo>
                        <a:pt x="407" y="580"/>
                      </a:lnTo>
                      <a:lnTo>
                        <a:pt x="405" y="578"/>
                      </a:lnTo>
                      <a:lnTo>
                        <a:pt x="403" y="580"/>
                      </a:lnTo>
                      <a:lnTo>
                        <a:pt x="403" y="581"/>
                      </a:lnTo>
                      <a:lnTo>
                        <a:pt x="403" y="583"/>
                      </a:lnTo>
                      <a:lnTo>
                        <a:pt x="403" y="585"/>
                      </a:lnTo>
                      <a:lnTo>
                        <a:pt x="403" y="586"/>
                      </a:lnTo>
                      <a:lnTo>
                        <a:pt x="402" y="588"/>
                      </a:lnTo>
                      <a:lnTo>
                        <a:pt x="400" y="588"/>
                      </a:lnTo>
                      <a:lnTo>
                        <a:pt x="398" y="590"/>
                      </a:lnTo>
                      <a:lnTo>
                        <a:pt x="398" y="591"/>
                      </a:lnTo>
                      <a:lnTo>
                        <a:pt x="396" y="591"/>
                      </a:lnTo>
                      <a:lnTo>
                        <a:pt x="396" y="593"/>
                      </a:lnTo>
                      <a:lnTo>
                        <a:pt x="395" y="595"/>
                      </a:lnTo>
                      <a:lnTo>
                        <a:pt x="395" y="598"/>
                      </a:lnTo>
                      <a:lnTo>
                        <a:pt x="393" y="599"/>
                      </a:lnTo>
                      <a:lnTo>
                        <a:pt x="393" y="601"/>
                      </a:lnTo>
                      <a:lnTo>
                        <a:pt x="391" y="599"/>
                      </a:lnTo>
                      <a:lnTo>
                        <a:pt x="390" y="599"/>
                      </a:lnTo>
                      <a:lnTo>
                        <a:pt x="390" y="601"/>
                      </a:lnTo>
                      <a:lnTo>
                        <a:pt x="388" y="601"/>
                      </a:lnTo>
                      <a:lnTo>
                        <a:pt x="386" y="601"/>
                      </a:lnTo>
                      <a:lnTo>
                        <a:pt x="386" y="603"/>
                      </a:lnTo>
                      <a:lnTo>
                        <a:pt x="385" y="603"/>
                      </a:lnTo>
                      <a:lnTo>
                        <a:pt x="383" y="603"/>
                      </a:lnTo>
                      <a:lnTo>
                        <a:pt x="381" y="603"/>
                      </a:lnTo>
                      <a:lnTo>
                        <a:pt x="381" y="601"/>
                      </a:lnTo>
                      <a:lnTo>
                        <a:pt x="380" y="601"/>
                      </a:lnTo>
                      <a:lnTo>
                        <a:pt x="378" y="603"/>
                      </a:lnTo>
                      <a:lnTo>
                        <a:pt x="376" y="601"/>
                      </a:lnTo>
                      <a:lnTo>
                        <a:pt x="374" y="601"/>
                      </a:lnTo>
                      <a:lnTo>
                        <a:pt x="373" y="601"/>
                      </a:lnTo>
                      <a:lnTo>
                        <a:pt x="371" y="601"/>
                      </a:lnTo>
                      <a:lnTo>
                        <a:pt x="369" y="603"/>
                      </a:lnTo>
                      <a:lnTo>
                        <a:pt x="368" y="604"/>
                      </a:lnTo>
                      <a:lnTo>
                        <a:pt x="366" y="604"/>
                      </a:lnTo>
                      <a:lnTo>
                        <a:pt x="364" y="604"/>
                      </a:lnTo>
                      <a:lnTo>
                        <a:pt x="363" y="604"/>
                      </a:lnTo>
                      <a:lnTo>
                        <a:pt x="361" y="604"/>
                      </a:lnTo>
                      <a:lnTo>
                        <a:pt x="359" y="604"/>
                      </a:lnTo>
                      <a:lnTo>
                        <a:pt x="358" y="604"/>
                      </a:lnTo>
                      <a:lnTo>
                        <a:pt x="356" y="604"/>
                      </a:lnTo>
                      <a:lnTo>
                        <a:pt x="354" y="604"/>
                      </a:lnTo>
                      <a:lnTo>
                        <a:pt x="353" y="606"/>
                      </a:lnTo>
                      <a:lnTo>
                        <a:pt x="351" y="606"/>
                      </a:lnTo>
                      <a:lnTo>
                        <a:pt x="349" y="606"/>
                      </a:lnTo>
                      <a:lnTo>
                        <a:pt x="349" y="608"/>
                      </a:lnTo>
                      <a:lnTo>
                        <a:pt x="347" y="608"/>
                      </a:lnTo>
                      <a:lnTo>
                        <a:pt x="347" y="609"/>
                      </a:lnTo>
                      <a:lnTo>
                        <a:pt x="344" y="609"/>
                      </a:lnTo>
                      <a:lnTo>
                        <a:pt x="344" y="611"/>
                      </a:lnTo>
                      <a:lnTo>
                        <a:pt x="344" y="613"/>
                      </a:lnTo>
                      <a:lnTo>
                        <a:pt x="342" y="614"/>
                      </a:lnTo>
                      <a:lnTo>
                        <a:pt x="341" y="614"/>
                      </a:lnTo>
                      <a:lnTo>
                        <a:pt x="337" y="616"/>
                      </a:lnTo>
                      <a:lnTo>
                        <a:pt x="337" y="619"/>
                      </a:lnTo>
                      <a:lnTo>
                        <a:pt x="336" y="619"/>
                      </a:lnTo>
                      <a:lnTo>
                        <a:pt x="336" y="621"/>
                      </a:lnTo>
                      <a:lnTo>
                        <a:pt x="334" y="621"/>
                      </a:lnTo>
                      <a:lnTo>
                        <a:pt x="332" y="621"/>
                      </a:lnTo>
                      <a:lnTo>
                        <a:pt x="331" y="621"/>
                      </a:lnTo>
                      <a:lnTo>
                        <a:pt x="332" y="622"/>
                      </a:lnTo>
                      <a:lnTo>
                        <a:pt x="331" y="622"/>
                      </a:lnTo>
                      <a:lnTo>
                        <a:pt x="331" y="624"/>
                      </a:lnTo>
                      <a:lnTo>
                        <a:pt x="329" y="624"/>
                      </a:lnTo>
                      <a:lnTo>
                        <a:pt x="327" y="624"/>
                      </a:lnTo>
                      <a:lnTo>
                        <a:pt x="326" y="624"/>
                      </a:lnTo>
                      <a:lnTo>
                        <a:pt x="324" y="624"/>
                      </a:lnTo>
                      <a:lnTo>
                        <a:pt x="322" y="624"/>
                      </a:lnTo>
                      <a:lnTo>
                        <a:pt x="320" y="624"/>
                      </a:lnTo>
                      <a:lnTo>
                        <a:pt x="320" y="626"/>
                      </a:lnTo>
                      <a:lnTo>
                        <a:pt x="319" y="627"/>
                      </a:lnTo>
                      <a:lnTo>
                        <a:pt x="317" y="627"/>
                      </a:lnTo>
                      <a:lnTo>
                        <a:pt x="315" y="627"/>
                      </a:lnTo>
                      <a:lnTo>
                        <a:pt x="315" y="629"/>
                      </a:lnTo>
                      <a:lnTo>
                        <a:pt x="314" y="629"/>
                      </a:lnTo>
                      <a:lnTo>
                        <a:pt x="312" y="627"/>
                      </a:lnTo>
                      <a:lnTo>
                        <a:pt x="310" y="627"/>
                      </a:lnTo>
                      <a:lnTo>
                        <a:pt x="309" y="627"/>
                      </a:lnTo>
                      <a:lnTo>
                        <a:pt x="310" y="629"/>
                      </a:lnTo>
                      <a:lnTo>
                        <a:pt x="309" y="631"/>
                      </a:lnTo>
                      <a:lnTo>
                        <a:pt x="307" y="632"/>
                      </a:lnTo>
                      <a:lnTo>
                        <a:pt x="305" y="632"/>
                      </a:lnTo>
                      <a:lnTo>
                        <a:pt x="305" y="634"/>
                      </a:lnTo>
                      <a:lnTo>
                        <a:pt x="305" y="636"/>
                      </a:lnTo>
                      <a:lnTo>
                        <a:pt x="302" y="636"/>
                      </a:lnTo>
                      <a:lnTo>
                        <a:pt x="300" y="636"/>
                      </a:lnTo>
                      <a:lnTo>
                        <a:pt x="300" y="634"/>
                      </a:lnTo>
                      <a:lnTo>
                        <a:pt x="300" y="632"/>
                      </a:lnTo>
                      <a:lnTo>
                        <a:pt x="298" y="631"/>
                      </a:lnTo>
                      <a:lnTo>
                        <a:pt x="298" y="629"/>
                      </a:lnTo>
                      <a:lnTo>
                        <a:pt x="297" y="629"/>
                      </a:lnTo>
                      <a:lnTo>
                        <a:pt x="295" y="629"/>
                      </a:lnTo>
                      <a:lnTo>
                        <a:pt x="293" y="629"/>
                      </a:lnTo>
                      <a:lnTo>
                        <a:pt x="293" y="627"/>
                      </a:lnTo>
                      <a:lnTo>
                        <a:pt x="292" y="627"/>
                      </a:lnTo>
                      <a:lnTo>
                        <a:pt x="292" y="626"/>
                      </a:lnTo>
                      <a:lnTo>
                        <a:pt x="290" y="626"/>
                      </a:lnTo>
                      <a:lnTo>
                        <a:pt x="288" y="626"/>
                      </a:lnTo>
                      <a:lnTo>
                        <a:pt x="288" y="624"/>
                      </a:lnTo>
                      <a:lnTo>
                        <a:pt x="287" y="622"/>
                      </a:lnTo>
                      <a:lnTo>
                        <a:pt x="287" y="621"/>
                      </a:lnTo>
                      <a:lnTo>
                        <a:pt x="287" y="619"/>
                      </a:lnTo>
                      <a:lnTo>
                        <a:pt x="287" y="618"/>
                      </a:lnTo>
                      <a:lnTo>
                        <a:pt x="287" y="616"/>
                      </a:lnTo>
                      <a:lnTo>
                        <a:pt x="285" y="616"/>
                      </a:lnTo>
                      <a:lnTo>
                        <a:pt x="285" y="614"/>
                      </a:lnTo>
                      <a:lnTo>
                        <a:pt x="283" y="614"/>
                      </a:lnTo>
                      <a:lnTo>
                        <a:pt x="283" y="616"/>
                      </a:lnTo>
                      <a:lnTo>
                        <a:pt x="282" y="616"/>
                      </a:lnTo>
                      <a:lnTo>
                        <a:pt x="280" y="616"/>
                      </a:lnTo>
                      <a:lnTo>
                        <a:pt x="278" y="616"/>
                      </a:lnTo>
                      <a:lnTo>
                        <a:pt x="278" y="614"/>
                      </a:lnTo>
                      <a:lnTo>
                        <a:pt x="277" y="614"/>
                      </a:lnTo>
                      <a:lnTo>
                        <a:pt x="275" y="614"/>
                      </a:lnTo>
                      <a:lnTo>
                        <a:pt x="273" y="613"/>
                      </a:lnTo>
                      <a:lnTo>
                        <a:pt x="273" y="614"/>
                      </a:lnTo>
                      <a:lnTo>
                        <a:pt x="273" y="613"/>
                      </a:lnTo>
                      <a:lnTo>
                        <a:pt x="271" y="613"/>
                      </a:lnTo>
                      <a:lnTo>
                        <a:pt x="270" y="613"/>
                      </a:lnTo>
                      <a:lnTo>
                        <a:pt x="270" y="614"/>
                      </a:lnTo>
                      <a:lnTo>
                        <a:pt x="270" y="613"/>
                      </a:lnTo>
                      <a:lnTo>
                        <a:pt x="268" y="613"/>
                      </a:lnTo>
                      <a:lnTo>
                        <a:pt x="268" y="614"/>
                      </a:lnTo>
                      <a:lnTo>
                        <a:pt x="266" y="616"/>
                      </a:lnTo>
                      <a:lnTo>
                        <a:pt x="265" y="616"/>
                      </a:lnTo>
                      <a:lnTo>
                        <a:pt x="263" y="616"/>
                      </a:lnTo>
                      <a:lnTo>
                        <a:pt x="263" y="614"/>
                      </a:lnTo>
                      <a:lnTo>
                        <a:pt x="261" y="614"/>
                      </a:lnTo>
                      <a:lnTo>
                        <a:pt x="261" y="616"/>
                      </a:lnTo>
                      <a:lnTo>
                        <a:pt x="260" y="616"/>
                      </a:lnTo>
                      <a:lnTo>
                        <a:pt x="258" y="616"/>
                      </a:lnTo>
                      <a:lnTo>
                        <a:pt x="256" y="618"/>
                      </a:lnTo>
                      <a:lnTo>
                        <a:pt x="256" y="616"/>
                      </a:lnTo>
                      <a:lnTo>
                        <a:pt x="255" y="616"/>
                      </a:lnTo>
                      <a:lnTo>
                        <a:pt x="255" y="614"/>
                      </a:lnTo>
                      <a:lnTo>
                        <a:pt x="253" y="614"/>
                      </a:lnTo>
                      <a:lnTo>
                        <a:pt x="253" y="613"/>
                      </a:lnTo>
                      <a:lnTo>
                        <a:pt x="251" y="613"/>
                      </a:lnTo>
                      <a:lnTo>
                        <a:pt x="251" y="611"/>
                      </a:lnTo>
                      <a:lnTo>
                        <a:pt x="250" y="613"/>
                      </a:lnTo>
                      <a:lnTo>
                        <a:pt x="250" y="611"/>
                      </a:lnTo>
                      <a:lnTo>
                        <a:pt x="248" y="611"/>
                      </a:lnTo>
                      <a:lnTo>
                        <a:pt x="248" y="609"/>
                      </a:lnTo>
                      <a:lnTo>
                        <a:pt x="246" y="609"/>
                      </a:lnTo>
                      <a:lnTo>
                        <a:pt x="246" y="608"/>
                      </a:lnTo>
                      <a:lnTo>
                        <a:pt x="246" y="606"/>
                      </a:lnTo>
                      <a:lnTo>
                        <a:pt x="243" y="603"/>
                      </a:lnTo>
                      <a:lnTo>
                        <a:pt x="241" y="603"/>
                      </a:lnTo>
                      <a:lnTo>
                        <a:pt x="239" y="603"/>
                      </a:lnTo>
                      <a:lnTo>
                        <a:pt x="239" y="601"/>
                      </a:lnTo>
                      <a:lnTo>
                        <a:pt x="238" y="603"/>
                      </a:lnTo>
                      <a:lnTo>
                        <a:pt x="236" y="603"/>
                      </a:lnTo>
                      <a:lnTo>
                        <a:pt x="234" y="604"/>
                      </a:lnTo>
                      <a:lnTo>
                        <a:pt x="233" y="604"/>
                      </a:lnTo>
                      <a:lnTo>
                        <a:pt x="231" y="606"/>
                      </a:lnTo>
                      <a:lnTo>
                        <a:pt x="229" y="606"/>
                      </a:lnTo>
                      <a:lnTo>
                        <a:pt x="228" y="606"/>
                      </a:lnTo>
                      <a:lnTo>
                        <a:pt x="226" y="606"/>
                      </a:lnTo>
                      <a:lnTo>
                        <a:pt x="226" y="608"/>
                      </a:lnTo>
                      <a:lnTo>
                        <a:pt x="226" y="609"/>
                      </a:lnTo>
                      <a:lnTo>
                        <a:pt x="224" y="611"/>
                      </a:lnTo>
                      <a:lnTo>
                        <a:pt x="224" y="613"/>
                      </a:lnTo>
                      <a:lnTo>
                        <a:pt x="222" y="613"/>
                      </a:lnTo>
                      <a:lnTo>
                        <a:pt x="222" y="614"/>
                      </a:lnTo>
                      <a:lnTo>
                        <a:pt x="221" y="614"/>
                      </a:lnTo>
                      <a:lnTo>
                        <a:pt x="219" y="616"/>
                      </a:lnTo>
                      <a:lnTo>
                        <a:pt x="217" y="616"/>
                      </a:lnTo>
                      <a:lnTo>
                        <a:pt x="216" y="616"/>
                      </a:lnTo>
                      <a:lnTo>
                        <a:pt x="214" y="618"/>
                      </a:lnTo>
                      <a:lnTo>
                        <a:pt x="212" y="618"/>
                      </a:lnTo>
                      <a:lnTo>
                        <a:pt x="211" y="619"/>
                      </a:lnTo>
                      <a:lnTo>
                        <a:pt x="209" y="619"/>
                      </a:lnTo>
                      <a:lnTo>
                        <a:pt x="207" y="621"/>
                      </a:lnTo>
                      <a:lnTo>
                        <a:pt x="207" y="622"/>
                      </a:lnTo>
                      <a:lnTo>
                        <a:pt x="206" y="622"/>
                      </a:lnTo>
                      <a:lnTo>
                        <a:pt x="206" y="624"/>
                      </a:lnTo>
                      <a:lnTo>
                        <a:pt x="204" y="626"/>
                      </a:lnTo>
                      <a:lnTo>
                        <a:pt x="204" y="627"/>
                      </a:lnTo>
                      <a:lnTo>
                        <a:pt x="202" y="629"/>
                      </a:lnTo>
                      <a:lnTo>
                        <a:pt x="202" y="631"/>
                      </a:lnTo>
                      <a:lnTo>
                        <a:pt x="204" y="632"/>
                      </a:lnTo>
                      <a:lnTo>
                        <a:pt x="204" y="634"/>
                      </a:lnTo>
                      <a:lnTo>
                        <a:pt x="204" y="636"/>
                      </a:lnTo>
                      <a:lnTo>
                        <a:pt x="204" y="637"/>
                      </a:lnTo>
                      <a:lnTo>
                        <a:pt x="206" y="641"/>
                      </a:lnTo>
                      <a:lnTo>
                        <a:pt x="207" y="642"/>
                      </a:lnTo>
                      <a:lnTo>
                        <a:pt x="207" y="644"/>
                      </a:lnTo>
                      <a:lnTo>
                        <a:pt x="207" y="645"/>
                      </a:lnTo>
                      <a:lnTo>
                        <a:pt x="207" y="647"/>
                      </a:lnTo>
                      <a:lnTo>
                        <a:pt x="209" y="649"/>
                      </a:lnTo>
                      <a:lnTo>
                        <a:pt x="211" y="649"/>
                      </a:lnTo>
                      <a:lnTo>
                        <a:pt x="212" y="650"/>
                      </a:lnTo>
                      <a:lnTo>
                        <a:pt x="214" y="650"/>
                      </a:lnTo>
                      <a:lnTo>
                        <a:pt x="214" y="652"/>
                      </a:lnTo>
                      <a:lnTo>
                        <a:pt x="216" y="652"/>
                      </a:lnTo>
                      <a:lnTo>
                        <a:pt x="217" y="652"/>
                      </a:lnTo>
                      <a:lnTo>
                        <a:pt x="217" y="654"/>
                      </a:lnTo>
                      <a:lnTo>
                        <a:pt x="219" y="654"/>
                      </a:lnTo>
                      <a:lnTo>
                        <a:pt x="221" y="655"/>
                      </a:lnTo>
                      <a:lnTo>
                        <a:pt x="219" y="657"/>
                      </a:lnTo>
                      <a:lnTo>
                        <a:pt x="219" y="659"/>
                      </a:lnTo>
                      <a:lnTo>
                        <a:pt x="219" y="660"/>
                      </a:lnTo>
                      <a:lnTo>
                        <a:pt x="217" y="660"/>
                      </a:lnTo>
                      <a:lnTo>
                        <a:pt x="217" y="662"/>
                      </a:lnTo>
                      <a:lnTo>
                        <a:pt x="216" y="662"/>
                      </a:lnTo>
                      <a:lnTo>
                        <a:pt x="216" y="664"/>
                      </a:lnTo>
                      <a:lnTo>
                        <a:pt x="217" y="664"/>
                      </a:lnTo>
                      <a:lnTo>
                        <a:pt x="217" y="665"/>
                      </a:lnTo>
                      <a:lnTo>
                        <a:pt x="216" y="667"/>
                      </a:lnTo>
                      <a:lnTo>
                        <a:pt x="217" y="668"/>
                      </a:lnTo>
                      <a:lnTo>
                        <a:pt x="219" y="668"/>
                      </a:lnTo>
                      <a:lnTo>
                        <a:pt x="221" y="670"/>
                      </a:lnTo>
                      <a:lnTo>
                        <a:pt x="221" y="672"/>
                      </a:lnTo>
                      <a:lnTo>
                        <a:pt x="219" y="672"/>
                      </a:lnTo>
                      <a:lnTo>
                        <a:pt x="219" y="673"/>
                      </a:lnTo>
                      <a:lnTo>
                        <a:pt x="217" y="673"/>
                      </a:lnTo>
                      <a:lnTo>
                        <a:pt x="217" y="675"/>
                      </a:lnTo>
                      <a:lnTo>
                        <a:pt x="217" y="677"/>
                      </a:lnTo>
                      <a:lnTo>
                        <a:pt x="214" y="677"/>
                      </a:lnTo>
                      <a:lnTo>
                        <a:pt x="212" y="677"/>
                      </a:lnTo>
                      <a:lnTo>
                        <a:pt x="211" y="677"/>
                      </a:lnTo>
                      <a:lnTo>
                        <a:pt x="211" y="678"/>
                      </a:lnTo>
                      <a:lnTo>
                        <a:pt x="209" y="680"/>
                      </a:lnTo>
                      <a:lnTo>
                        <a:pt x="211" y="680"/>
                      </a:lnTo>
                      <a:lnTo>
                        <a:pt x="211" y="682"/>
                      </a:lnTo>
                      <a:lnTo>
                        <a:pt x="211" y="683"/>
                      </a:lnTo>
                      <a:lnTo>
                        <a:pt x="209" y="687"/>
                      </a:lnTo>
                      <a:lnTo>
                        <a:pt x="209" y="688"/>
                      </a:lnTo>
                      <a:lnTo>
                        <a:pt x="207" y="690"/>
                      </a:lnTo>
                      <a:lnTo>
                        <a:pt x="206" y="690"/>
                      </a:lnTo>
                      <a:lnTo>
                        <a:pt x="204" y="691"/>
                      </a:lnTo>
                      <a:lnTo>
                        <a:pt x="204" y="693"/>
                      </a:lnTo>
                      <a:lnTo>
                        <a:pt x="204" y="695"/>
                      </a:lnTo>
                      <a:lnTo>
                        <a:pt x="204" y="696"/>
                      </a:lnTo>
                      <a:lnTo>
                        <a:pt x="204" y="698"/>
                      </a:lnTo>
                      <a:lnTo>
                        <a:pt x="202" y="700"/>
                      </a:lnTo>
                      <a:lnTo>
                        <a:pt x="201" y="700"/>
                      </a:lnTo>
                      <a:lnTo>
                        <a:pt x="201" y="701"/>
                      </a:lnTo>
                      <a:lnTo>
                        <a:pt x="199" y="701"/>
                      </a:lnTo>
                      <a:lnTo>
                        <a:pt x="199" y="703"/>
                      </a:lnTo>
                      <a:lnTo>
                        <a:pt x="197" y="703"/>
                      </a:lnTo>
                      <a:lnTo>
                        <a:pt x="197" y="705"/>
                      </a:lnTo>
                      <a:lnTo>
                        <a:pt x="195" y="706"/>
                      </a:lnTo>
                      <a:lnTo>
                        <a:pt x="195" y="708"/>
                      </a:lnTo>
                      <a:lnTo>
                        <a:pt x="195" y="710"/>
                      </a:lnTo>
                      <a:lnTo>
                        <a:pt x="194" y="710"/>
                      </a:lnTo>
                      <a:lnTo>
                        <a:pt x="192" y="710"/>
                      </a:lnTo>
                      <a:lnTo>
                        <a:pt x="190" y="710"/>
                      </a:lnTo>
                      <a:lnTo>
                        <a:pt x="189" y="708"/>
                      </a:lnTo>
                      <a:lnTo>
                        <a:pt x="187" y="708"/>
                      </a:lnTo>
                      <a:lnTo>
                        <a:pt x="185" y="708"/>
                      </a:lnTo>
                      <a:lnTo>
                        <a:pt x="185" y="710"/>
                      </a:lnTo>
                      <a:lnTo>
                        <a:pt x="185" y="711"/>
                      </a:lnTo>
                      <a:lnTo>
                        <a:pt x="185" y="714"/>
                      </a:lnTo>
                      <a:lnTo>
                        <a:pt x="184" y="716"/>
                      </a:lnTo>
                      <a:lnTo>
                        <a:pt x="182" y="719"/>
                      </a:lnTo>
                      <a:lnTo>
                        <a:pt x="182" y="721"/>
                      </a:lnTo>
                      <a:lnTo>
                        <a:pt x="182" y="723"/>
                      </a:lnTo>
                      <a:lnTo>
                        <a:pt x="182" y="724"/>
                      </a:lnTo>
                      <a:lnTo>
                        <a:pt x="180" y="724"/>
                      </a:lnTo>
                      <a:lnTo>
                        <a:pt x="179" y="724"/>
                      </a:lnTo>
                      <a:lnTo>
                        <a:pt x="177" y="724"/>
                      </a:lnTo>
                      <a:lnTo>
                        <a:pt x="177" y="726"/>
                      </a:lnTo>
                      <a:lnTo>
                        <a:pt x="177" y="728"/>
                      </a:lnTo>
                      <a:lnTo>
                        <a:pt x="175" y="728"/>
                      </a:lnTo>
                      <a:lnTo>
                        <a:pt x="175" y="729"/>
                      </a:lnTo>
                      <a:lnTo>
                        <a:pt x="174" y="729"/>
                      </a:lnTo>
                      <a:lnTo>
                        <a:pt x="172" y="729"/>
                      </a:lnTo>
                      <a:lnTo>
                        <a:pt x="172" y="728"/>
                      </a:lnTo>
                      <a:lnTo>
                        <a:pt x="170" y="728"/>
                      </a:lnTo>
                      <a:lnTo>
                        <a:pt x="168" y="728"/>
                      </a:lnTo>
                      <a:lnTo>
                        <a:pt x="168" y="726"/>
                      </a:lnTo>
                      <a:lnTo>
                        <a:pt x="167" y="728"/>
                      </a:lnTo>
                      <a:lnTo>
                        <a:pt x="165" y="728"/>
                      </a:lnTo>
                      <a:lnTo>
                        <a:pt x="163" y="728"/>
                      </a:lnTo>
                      <a:lnTo>
                        <a:pt x="162" y="728"/>
                      </a:lnTo>
                      <a:lnTo>
                        <a:pt x="162" y="726"/>
                      </a:lnTo>
                      <a:lnTo>
                        <a:pt x="160" y="724"/>
                      </a:lnTo>
                      <a:lnTo>
                        <a:pt x="160" y="723"/>
                      </a:lnTo>
                      <a:lnTo>
                        <a:pt x="158" y="723"/>
                      </a:lnTo>
                      <a:lnTo>
                        <a:pt x="158" y="721"/>
                      </a:lnTo>
                      <a:lnTo>
                        <a:pt x="157" y="721"/>
                      </a:lnTo>
                      <a:lnTo>
                        <a:pt x="155" y="721"/>
                      </a:lnTo>
                      <a:lnTo>
                        <a:pt x="153" y="723"/>
                      </a:lnTo>
                      <a:lnTo>
                        <a:pt x="152" y="724"/>
                      </a:lnTo>
                      <a:lnTo>
                        <a:pt x="152" y="726"/>
                      </a:lnTo>
                      <a:lnTo>
                        <a:pt x="150" y="726"/>
                      </a:lnTo>
                      <a:lnTo>
                        <a:pt x="148" y="726"/>
                      </a:lnTo>
                      <a:lnTo>
                        <a:pt x="146" y="726"/>
                      </a:lnTo>
                      <a:lnTo>
                        <a:pt x="145" y="726"/>
                      </a:lnTo>
                      <a:lnTo>
                        <a:pt x="145" y="728"/>
                      </a:lnTo>
                      <a:lnTo>
                        <a:pt x="143" y="729"/>
                      </a:lnTo>
                      <a:lnTo>
                        <a:pt x="141" y="729"/>
                      </a:lnTo>
                      <a:lnTo>
                        <a:pt x="140" y="731"/>
                      </a:lnTo>
                      <a:lnTo>
                        <a:pt x="138" y="729"/>
                      </a:lnTo>
                      <a:lnTo>
                        <a:pt x="136" y="728"/>
                      </a:lnTo>
                      <a:lnTo>
                        <a:pt x="135" y="728"/>
                      </a:lnTo>
                      <a:lnTo>
                        <a:pt x="133" y="728"/>
                      </a:lnTo>
                      <a:lnTo>
                        <a:pt x="133" y="729"/>
                      </a:lnTo>
                      <a:lnTo>
                        <a:pt x="131" y="729"/>
                      </a:lnTo>
                      <a:lnTo>
                        <a:pt x="131" y="731"/>
                      </a:lnTo>
                      <a:lnTo>
                        <a:pt x="130" y="731"/>
                      </a:lnTo>
                      <a:lnTo>
                        <a:pt x="130" y="732"/>
                      </a:lnTo>
                      <a:lnTo>
                        <a:pt x="128" y="732"/>
                      </a:lnTo>
                      <a:lnTo>
                        <a:pt x="126" y="732"/>
                      </a:lnTo>
                      <a:lnTo>
                        <a:pt x="125" y="732"/>
                      </a:lnTo>
                      <a:lnTo>
                        <a:pt x="125" y="734"/>
                      </a:lnTo>
                      <a:lnTo>
                        <a:pt x="125" y="736"/>
                      </a:lnTo>
                      <a:lnTo>
                        <a:pt x="126" y="737"/>
                      </a:lnTo>
                      <a:lnTo>
                        <a:pt x="125" y="739"/>
                      </a:lnTo>
                      <a:lnTo>
                        <a:pt x="125" y="741"/>
                      </a:lnTo>
                      <a:lnTo>
                        <a:pt x="123" y="741"/>
                      </a:lnTo>
                      <a:lnTo>
                        <a:pt x="121" y="741"/>
                      </a:lnTo>
                      <a:lnTo>
                        <a:pt x="119" y="741"/>
                      </a:lnTo>
                      <a:lnTo>
                        <a:pt x="118" y="741"/>
                      </a:lnTo>
                      <a:lnTo>
                        <a:pt x="118" y="742"/>
                      </a:lnTo>
                      <a:lnTo>
                        <a:pt x="116" y="742"/>
                      </a:lnTo>
                      <a:lnTo>
                        <a:pt x="116" y="744"/>
                      </a:lnTo>
                      <a:lnTo>
                        <a:pt x="114" y="744"/>
                      </a:lnTo>
                      <a:lnTo>
                        <a:pt x="113" y="744"/>
                      </a:lnTo>
                      <a:lnTo>
                        <a:pt x="113" y="746"/>
                      </a:lnTo>
                      <a:lnTo>
                        <a:pt x="111" y="747"/>
                      </a:lnTo>
                      <a:lnTo>
                        <a:pt x="111" y="749"/>
                      </a:lnTo>
                      <a:lnTo>
                        <a:pt x="111" y="751"/>
                      </a:lnTo>
                      <a:lnTo>
                        <a:pt x="109" y="751"/>
                      </a:lnTo>
                      <a:lnTo>
                        <a:pt x="109" y="752"/>
                      </a:lnTo>
                      <a:lnTo>
                        <a:pt x="108" y="752"/>
                      </a:lnTo>
                      <a:lnTo>
                        <a:pt x="108" y="754"/>
                      </a:lnTo>
                      <a:lnTo>
                        <a:pt x="108" y="752"/>
                      </a:lnTo>
                      <a:lnTo>
                        <a:pt x="106" y="752"/>
                      </a:lnTo>
                      <a:lnTo>
                        <a:pt x="104" y="752"/>
                      </a:lnTo>
                      <a:lnTo>
                        <a:pt x="104" y="754"/>
                      </a:lnTo>
                      <a:lnTo>
                        <a:pt x="103" y="754"/>
                      </a:lnTo>
                      <a:lnTo>
                        <a:pt x="101" y="755"/>
                      </a:lnTo>
                      <a:lnTo>
                        <a:pt x="99" y="755"/>
                      </a:lnTo>
                      <a:lnTo>
                        <a:pt x="98" y="754"/>
                      </a:lnTo>
                      <a:lnTo>
                        <a:pt x="96" y="752"/>
                      </a:lnTo>
                      <a:lnTo>
                        <a:pt x="94" y="752"/>
                      </a:lnTo>
                      <a:lnTo>
                        <a:pt x="92" y="752"/>
                      </a:lnTo>
                      <a:lnTo>
                        <a:pt x="91" y="751"/>
                      </a:lnTo>
                      <a:lnTo>
                        <a:pt x="89" y="749"/>
                      </a:lnTo>
                      <a:lnTo>
                        <a:pt x="87" y="749"/>
                      </a:lnTo>
                      <a:lnTo>
                        <a:pt x="87" y="747"/>
                      </a:lnTo>
                      <a:lnTo>
                        <a:pt x="86" y="747"/>
                      </a:lnTo>
                      <a:lnTo>
                        <a:pt x="84" y="749"/>
                      </a:lnTo>
                      <a:lnTo>
                        <a:pt x="82" y="747"/>
                      </a:lnTo>
                      <a:lnTo>
                        <a:pt x="81" y="747"/>
                      </a:lnTo>
                      <a:lnTo>
                        <a:pt x="77" y="747"/>
                      </a:lnTo>
                      <a:lnTo>
                        <a:pt x="76" y="747"/>
                      </a:lnTo>
                      <a:lnTo>
                        <a:pt x="74" y="747"/>
                      </a:lnTo>
                      <a:lnTo>
                        <a:pt x="72" y="747"/>
                      </a:lnTo>
                      <a:lnTo>
                        <a:pt x="72" y="746"/>
                      </a:lnTo>
                      <a:lnTo>
                        <a:pt x="70" y="746"/>
                      </a:lnTo>
                      <a:lnTo>
                        <a:pt x="69" y="746"/>
                      </a:lnTo>
                      <a:lnTo>
                        <a:pt x="69" y="744"/>
                      </a:lnTo>
                      <a:lnTo>
                        <a:pt x="69" y="742"/>
                      </a:lnTo>
                      <a:lnTo>
                        <a:pt x="67" y="742"/>
                      </a:lnTo>
                      <a:lnTo>
                        <a:pt x="65" y="741"/>
                      </a:lnTo>
                      <a:lnTo>
                        <a:pt x="64" y="741"/>
                      </a:lnTo>
                      <a:lnTo>
                        <a:pt x="62" y="741"/>
                      </a:lnTo>
                      <a:lnTo>
                        <a:pt x="62" y="739"/>
                      </a:lnTo>
                      <a:lnTo>
                        <a:pt x="60" y="739"/>
                      </a:lnTo>
                      <a:lnTo>
                        <a:pt x="59" y="737"/>
                      </a:lnTo>
                      <a:lnTo>
                        <a:pt x="59" y="736"/>
                      </a:lnTo>
                      <a:lnTo>
                        <a:pt x="59" y="734"/>
                      </a:lnTo>
                      <a:lnTo>
                        <a:pt x="59" y="732"/>
                      </a:lnTo>
                      <a:lnTo>
                        <a:pt x="57" y="731"/>
                      </a:lnTo>
                      <a:lnTo>
                        <a:pt x="57" y="729"/>
                      </a:lnTo>
                      <a:lnTo>
                        <a:pt x="55" y="729"/>
                      </a:lnTo>
                      <a:lnTo>
                        <a:pt x="54" y="729"/>
                      </a:lnTo>
                      <a:lnTo>
                        <a:pt x="52" y="729"/>
                      </a:lnTo>
                      <a:lnTo>
                        <a:pt x="52" y="728"/>
                      </a:lnTo>
                      <a:lnTo>
                        <a:pt x="52" y="726"/>
                      </a:lnTo>
                      <a:lnTo>
                        <a:pt x="52" y="723"/>
                      </a:lnTo>
                      <a:lnTo>
                        <a:pt x="50" y="723"/>
                      </a:lnTo>
                      <a:lnTo>
                        <a:pt x="50" y="721"/>
                      </a:lnTo>
                      <a:lnTo>
                        <a:pt x="52" y="719"/>
                      </a:lnTo>
                      <a:lnTo>
                        <a:pt x="52" y="718"/>
                      </a:lnTo>
                      <a:lnTo>
                        <a:pt x="50" y="718"/>
                      </a:lnTo>
                      <a:lnTo>
                        <a:pt x="50" y="716"/>
                      </a:lnTo>
                      <a:lnTo>
                        <a:pt x="52" y="714"/>
                      </a:lnTo>
                      <a:lnTo>
                        <a:pt x="54" y="714"/>
                      </a:lnTo>
                      <a:lnTo>
                        <a:pt x="55" y="714"/>
                      </a:lnTo>
                      <a:lnTo>
                        <a:pt x="55" y="713"/>
                      </a:lnTo>
                      <a:lnTo>
                        <a:pt x="55" y="711"/>
                      </a:lnTo>
                      <a:lnTo>
                        <a:pt x="54" y="710"/>
                      </a:lnTo>
                      <a:lnTo>
                        <a:pt x="54" y="708"/>
                      </a:lnTo>
                      <a:lnTo>
                        <a:pt x="52" y="708"/>
                      </a:lnTo>
                      <a:lnTo>
                        <a:pt x="52" y="706"/>
                      </a:lnTo>
                      <a:lnTo>
                        <a:pt x="54" y="705"/>
                      </a:lnTo>
                      <a:lnTo>
                        <a:pt x="52" y="703"/>
                      </a:lnTo>
                      <a:lnTo>
                        <a:pt x="50" y="701"/>
                      </a:lnTo>
                      <a:lnTo>
                        <a:pt x="49" y="700"/>
                      </a:lnTo>
                      <a:lnTo>
                        <a:pt x="47" y="698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80" name="Freeform 22"/>
                <p:cNvSpPr>
                  <a:spLocks noChangeAspect="1" noEditPoints="1"/>
                </p:cNvSpPr>
                <p:nvPr/>
              </p:nvSpPr>
              <p:spPr bwMode="auto">
                <a:xfrm>
                  <a:off x="5322618" y="2589468"/>
                  <a:ext cx="1375064" cy="1515372"/>
                </a:xfrm>
                <a:custGeom>
                  <a:avLst/>
                  <a:gdLst>
                    <a:gd name="T0" fmla="*/ 2147483647 w 881"/>
                    <a:gd name="T1" fmla="*/ 2147483647 h 905"/>
                    <a:gd name="T2" fmla="*/ 2147483647 w 881"/>
                    <a:gd name="T3" fmla="*/ 2147483647 h 905"/>
                    <a:gd name="T4" fmla="*/ 2147483647 w 881"/>
                    <a:gd name="T5" fmla="*/ 2147483647 h 905"/>
                    <a:gd name="T6" fmla="*/ 2147483647 w 881"/>
                    <a:gd name="T7" fmla="*/ 2147483647 h 905"/>
                    <a:gd name="T8" fmla="*/ 2147483647 w 881"/>
                    <a:gd name="T9" fmla="*/ 2147483647 h 905"/>
                    <a:gd name="T10" fmla="*/ 2147483647 w 881"/>
                    <a:gd name="T11" fmla="*/ 2147483647 h 905"/>
                    <a:gd name="T12" fmla="*/ 2147483647 w 881"/>
                    <a:gd name="T13" fmla="*/ 2147483647 h 905"/>
                    <a:gd name="T14" fmla="*/ 2147483647 w 881"/>
                    <a:gd name="T15" fmla="*/ 2147483647 h 905"/>
                    <a:gd name="T16" fmla="*/ 2147483647 w 881"/>
                    <a:gd name="T17" fmla="*/ 2147483647 h 905"/>
                    <a:gd name="T18" fmla="*/ 2147483647 w 881"/>
                    <a:gd name="T19" fmla="*/ 2147483647 h 905"/>
                    <a:gd name="T20" fmla="*/ 2147483647 w 881"/>
                    <a:gd name="T21" fmla="*/ 2147483647 h 905"/>
                    <a:gd name="T22" fmla="*/ 2147483647 w 881"/>
                    <a:gd name="T23" fmla="*/ 2147483647 h 905"/>
                    <a:gd name="T24" fmla="*/ 2147483647 w 881"/>
                    <a:gd name="T25" fmla="*/ 2147483647 h 905"/>
                    <a:gd name="T26" fmla="*/ 2147483647 w 881"/>
                    <a:gd name="T27" fmla="*/ 2147483647 h 905"/>
                    <a:gd name="T28" fmla="*/ 2147483647 w 881"/>
                    <a:gd name="T29" fmla="*/ 2147483647 h 905"/>
                    <a:gd name="T30" fmla="*/ 2147483647 w 881"/>
                    <a:gd name="T31" fmla="*/ 2147483647 h 905"/>
                    <a:gd name="T32" fmla="*/ 2147483647 w 881"/>
                    <a:gd name="T33" fmla="*/ 2147483647 h 905"/>
                    <a:gd name="T34" fmla="*/ 2147483647 w 881"/>
                    <a:gd name="T35" fmla="*/ 2147483647 h 905"/>
                    <a:gd name="T36" fmla="*/ 2147483647 w 881"/>
                    <a:gd name="T37" fmla="*/ 2147483647 h 905"/>
                    <a:gd name="T38" fmla="*/ 2147483647 w 881"/>
                    <a:gd name="T39" fmla="*/ 2147483647 h 905"/>
                    <a:gd name="T40" fmla="*/ 2147483647 w 881"/>
                    <a:gd name="T41" fmla="*/ 2147483647 h 905"/>
                    <a:gd name="T42" fmla="*/ 2147483647 w 881"/>
                    <a:gd name="T43" fmla="*/ 2147483647 h 905"/>
                    <a:gd name="T44" fmla="*/ 2147483647 w 881"/>
                    <a:gd name="T45" fmla="*/ 2147483647 h 905"/>
                    <a:gd name="T46" fmla="*/ 2147483647 w 881"/>
                    <a:gd name="T47" fmla="*/ 2147483647 h 905"/>
                    <a:gd name="T48" fmla="*/ 2147483647 w 881"/>
                    <a:gd name="T49" fmla="*/ 2147483647 h 905"/>
                    <a:gd name="T50" fmla="*/ 2147483647 w 881"/>
                    <a:gd name="T51" fmla="*/ 2147483647 h 905"/>
                    <a:gd name="T52" fmla="*/ 2147483647 w 881"/>
                    <a:gd name="T53" fmla="*/ 2147483647 h 905"/>
                    <a:gd name="T54" fmla="*/ 2147483647 w 881"/>
                    <a:gd name="T55" fmla="*/ 2147483647 h 905"/>
                    <a:gd name="T56" fmla="*/ 2147483647 w 881"/>
                    <a:gd name="T57" fmla="*/ 2147483647 h 905"/>
                    <a:gd name="T58" fmla="*/ 2147483647 w 881"/>
                    <a:gd name="T59" fmla="*/ 2147483647 h 905"/>
                    <a:gd name="T60" fmla="*/ 2147483647 w 881"/>
                    <a:gd name="T61" fmla="*/ 2147483647 h 905"/>
                    <a:gd name="T62" fmla="*/ 2147483647 w 881"/>
                    <a:gd name="T63" fmla="*/ 2147483647 h 905"/>
                    <a:gd name="T64" fmla="*/ 2147483647 w 881"/>
                    <a:gd name="T65" fmla="*/ 2147483647 h 905"/>
                    <a:gd name="T66" fmla="*/ 2147483647 w 881"/>
                    <a:gd name="T67" fmla="*/ 2147483647 h 905"/>
                    <a:gd name="T68" fmla="*/ 2147483647 w 881"/>
                    <a:gd name="T69" fmla="*/ 2147483647 h 905"/>
                    <a:gd name="T70" fmla="*/ 2147483647 w 881"/>
                    <a:gd name="T71" fmla="*/ 2147483647 h 905"/>
                    <a:gd name="T72" fmla="*/ 2147483647 w 881"/>
                    <a:gd name="T73" fmla="*/ 2147483647 h 905"/>
                    <a:gd name="T74" fmla="*/ 2147483647 w 881"/>
                    <a:gd name="T75" fmla="*/ 2147483647 h 905"/>
                    <a:gd name="T76" fmla="*/ 2147483647 w 881"/>
                    <a:gd name="T77" fmla="*/ 2147483647 h 905"/>
                    <a:gd name="T78" fmla="*/ 2147483647 w 881"/>
                    <a:gd name="T79" fmla="*/ 2147483647 h 905"/>
                    <a:gd name="T80" fmla="*/ 2147483647 w 881"/>
                    <a:gd name="T81" fmla="*/ 2147483647 h 905"/>
                    <a:gd name="T82" fmla="*/ 2147483647 w 881"/>
                    <a:gd name="T83" fmla="*/ 2147483647 h 905"/>
                    <a:gd name="T84" fmla="*/ 2147483647 w 881"/>
                    <a:gd name="T85" fmla="*/ 2147483647 h 905"/>
                    <a:gd name="T86" fmla="*/ 2147483647 w 881"/>
                    <a:gd name="T87" fmla="*/ 2147483647 h 905"/>
                    <a:gd name="T88" fmla="*/ 2147483647 w 881"/>
                    <a:gd name="T89" fmla="*/ 2147483647 h 905"/>
                    <a:gd name="T90" fmla="*/ 2147483647 w 881"/>
                    <a:gd name="T91" fmla="*/ 2147483647 h 905"/>
                    <a:gd name="T92" fmla="*/ 2147483647 w 881"/>
                    <a:gd name="T93" fmla="*/ 2147483647 h 905"/>
                    <a:gd name="T94" fmla="*/ 2147483647 w 881"/>
                    <a:gd name="T95" fmla="*/ 2147483647 h 905"/>
                    <a:gd name="T96" fmla="*/ 2147483647 w 881"/>
                    <a:gd name="T97" fmla="*/ 2147483647 h 905"/>
                    <a:gd name="T98" fmla="*/ 2147483647 w 881"/>
                    <a:gd name="T99" fmla="*/ 2147483647 h 905"/>
                    <a:gd name="T100" fmla="*/ 2147483647 w 881"/>
                    <a:gd name="T101" fmla="*/ 2147483647 h 905"/>
                    <a:gd name="T102" fmla="*/ 2147483647 w 881"/>
                    <a:gd name="T103" fmla="*/ 2147483647 h 905"/>
                    <a:gd name="T104" fmla="*/ 2147483647 w 881"/>
                    <a:gd name="T105" fmla="*/ 2147483647 h 905"/>
                    <a:gd name="T106" fmla="*/ 2147483647 w 881"/>
                    <a:gd name="T107" fmla="*/ 2147483647 h 905"/>
                    <a:gd name="T108" fmla="*/ 2147483647 w 881"/>
                    <a:gd name="T109" fmla="*/ 2147483647 h 905"/>
                    <a:gd name="T110" fmla="*/ 2147483647 w 881"/>
                    <a:gd name="T111" fmla="*/ 2147483647 h 905"/>
                    <a:gd name="T112" fmla="*/ 2147483647 w 881"/>
                    <a:gd name="T113" fmla="*/ 2147483647 h 905"/>
                    <a:gd name="T114" fmla="*/ 2147483647 w 881"/>
                    <a:gd name="T115" fmla="*/ 2147483647 h 905"/>
                    <a:gd name="T116" fmla="*/ 2147483647 w 881"/>
                    <a:gd name="T117" fmla="*/ 2147483647 h 905"/>
                    <a:gd name="T118" fmla="*/ 2147483647 w 881"/>
                    <a:gd name="T119" fmla="*/ 2147483647 h 905"/>
                    <a:gd name="T120" fmla="*/ 2147483647 w 881"/>
                    <a:gd name="T121" fmla="*/ 2147483647 h 905"/>
                    <a:gd name="T122" fmla="*/ 2147483647 w 881"/>
                    <a:gd name="T123" fmla="*/ 2147483647 h 905"/>
                    <a:gd name="T124" fmla="*/ 2147483647 w 881"/>
                    <a:gd name="T125" fmla="*/ 2147483647 h 90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81"/>
                    <a:gd name="T190" fmla="*/ 0 h 905"/>
                    <a:gd name="T191" fmla="*/ 881 w 881"/>
                    <a:gd name="T192" fmla="*/ 905 h 90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81" h="905">
                      <a:moveTo>
                        <a:pt x="706" y="822"/>
                      </a:moveTo>
                      <a:lnTo>
                        <a:pt x="706" y="823"/>
                      </a:lnTo>
                      <a:lnTo>
                        <a:pt x="706" y="826"/>
                      </a:lnTo>
                      <a:lnTo>
                        <a:pt x="706" y="828"/>
                      </a:lnTo>
                      <a:lnTo>
                        <a:pt x="706" y="830"/>
                      </a:lnTo>
                      <a:lnTo>
                        <a:pt x="706" y="831"/>
                      </a:lnTo>
                      <a:lnTo>
                        <a:pt x="706" y="833"/>
                      </a:lnTo>
                      <a:lnTo>
                        <a:pt x="704" y="835"/>
                      </a:lnTo>
                      <a:lnTo>
                        <a:pt x="706" y="836"/>
                      </a:lnTo>
                      <a:lnTo>
                        <a:pt x="706" y="838"/>
                      </a:lnTo>
                      <a:lnTo>
                        <a:pt x="707" y="840"/>
                      </a:lnTo>
                      <a:lnTo>
                        <a:pt x="707" y="841"/>
                      </a:lnTo>
                      <a:lnTo>
                        <a:pt x="709" y="843"/>
                      </a:lnTo>
                      <a:lnTo>
                        <a:pt x="711" y="843"/>
                      </a:lnTo>
                      <a:lnTo>
                        <a:pt x="711" y="845"/>
                      </a:lnTo>
                      <a:lnTo>
                        <a:pt x="709" y="845"/>
                      </a:lnTo>
                      <a:lnTo>
                        <a:pt x="709" y="846"/>
                      </a:lnTo>
                      <a:lnTo>
                        <a:pt x="707" y="846"/>
                      </a:lnTo>
                      <a:lnTo>
                        <a:pt x="707" y="848"/>
                      </a:lnTo>
                      <a:lnTo>
                        <a:pt x="706" y="848"/>
                      </a:lnTo>
                      <a:lnTo>
                        <a:pt x="706" y="849"/>
                      </a:lnTo>
                      <a:lnTo>
                        <a:pt x="704" y="851"/>
                      </a:lnTo>
                      <a:lnTo>
                        <a:pt x="704" y="853"/>
                      </a:lnTo>
                      <a:lnTo>
                        <a:pt x="701" y="854"/>
                      </a:lnTo>
                      <a:lnTo>
                        <a:pt x="699" y="858"/>
                      </a:lnTo>
                      <a:lnTo>
                        <a:pt x="697" y="858"/>
                      </a:lnTo>
                      <a:lnTo>
                        <a:pt x="697" y="859"/>
                      </a:lnTo>
                      <a:lnTo>
                        <a:pt x="699" y="859"/>
                      </a:lnTo>
                      <a:lnTo>
                        <a:pt x="697" y="861"/>
                      </a:lnTo>
                      <a:lnTo>
                        <a:pt x="696" y="861"/>
                      </a:lnTo>
                      <a:lnTo>
                        <a:pt x="694" y="863"/>
                      </a:lnTo>
                      <a:lnTo>
                        <a:pt x="692" y="863"/>
                      </a:lnTo>
                      <a:lnTo>
                        <a:pt x="691" y="863"/>
                      </a:lnTo>
                      <a:lnTo>
                        <a:pt x="689" y="863"/>
                      </a:lnTo>
                      <a:lnTo>
                        <a:pt x="689" y="864"/>
                      </a:lnTo>
                      <a:lnTo>
                        <a:pt x="687" y="864"/>
                      </a:lnTo>
                      <a:lnTo>
                        <a:pt x="685" y="864"/>
                      </a:lnTo>
                      <a:lnTo>
                        <a:pt x="684" y="866"/>
                      </a:lnTo>
                      <a:lnTo>
                        <a:pt x="682" y="868"/>
                      </a:lnTo>
                      <a:lnTo>
                        <a:pt x="680" y="869"/>
                      </a:lnTo>
                      <a:lnTo>
                        <a:pt x="679" y="871"/>
                      </a:lnTo>
                      <a:lnTo>
                        <a:pt x="677" y="872"/>
                      </a:lnTo>
                      <a:lnTo>
                        <a:pt x="675" y="874"/>
                      </a:lnTo>
                      <a:lnTo>
                        <a:pt x="674" y="876"/>
                      </a:lnTo>
                      <a:lnTo>
                        <a:pt x="672" y="879"/>
                      </a:lnTo>
                      <a:lnTo>
                        <a:pt x="672" y="881"/>
                      </a:lnTo>
                      <a:lnTo>
                        <a:pt x="670" y="881"/>
                      </a:lnTo>
                      <a:lnTo>
                        <a:pt x="669" y="881"/>
                      </a:lnTo>
                      <a:lnTo>
                        <a:pt x="670" y="881"/>
                      </a:lnTo>
                      <a:lnTo>
                        <a:pt x="670" y="882"/>
                      </a:lnTo>
                      <a:lnTo>
                        <a:pt x="670" y="884"/>
                      </a:lnTo>
                      <a:lnTo>
                        <a:pt x="669" y="886"/>
                      </a:lnTo>
                      <a:lnTo>
                        <a:pt x="665" y="891"/>
                      </a:lnTo>
                      <a:lnTo>
                        <a:pt x="663" y="892"/>
                      </a:lnTo>
                      <a:lnTo>
                        <a:pt x="663" y="894"/>
                      </a:lnTo>
                      <a:lnTo>
                        <a:pt x="663" y="895"/>
                      </a:lnTo>
                      <a:lnTo>
                        <a:pt x="662" y="895"/>
                      </a:lnTo>
                      <a:lnTo>
                        <a:pt x="662" y="897"/>
                      </a:lnTo>
                      <a:lnTo>
                        <a:pt x="662" y="899"/>
                      </a:lnTo>
                      <a:lnTo>
                        <a:pt x="662" y="900"/>
                      </a:lnTo>
                      <a:lnTo>
                        <a:pt x="662" y="902"/>
                      </a:lnTo>
                      <a:lnTo>
                        <a:pt x="660" y="902"/>
                      </a:lnTo>
                      <a:lnTo>
                        <a:pt x="660" y="904"/>
                      </a:lnTo>
                      <a:lnTo>
                        <a:pt x="660" y="905"/>
                      </a:lnTo>
                      <a:lnTo>
                        <a:pt x="660" y="904"/>
                      </a:lnTo>
                      <a:lnTo>
                        <a:pt x="660" y="902"/>
                      </a:lnTo>
                      <a:lnTo>
                        <a:pt x="658" y="902"/>
                      </a:lnTo>
                      <a:lnTo>
                        <a:pt x="645" y="894"/>
                      </a:lnTo>
                      <a:lnTo>
                        <a:pt x="608" y="871"/>
                      </a:lnTo>
                      <a:lnTo>
                        <a:pt x="608" y="869"/>
                      </a:lnTo>
                      <a:lnTo>
                        <a:pt x="606" y="869"/>
                      </a:lnTo>
                      <a:lnTo>
                        <a:pt x="604" y="868"/>
                      </a:lnTo>
                      <a:lnTo>
                        <a:pt x="603" y="866"/>
                      </a:lnTo>
                      <a:lnTo>
                        <a:pt x="608" y="863"/>
                      </a:lnTo>
                      <a:lnTo>
                        <a:pt x="611" y="859"/>
                      </a:lnTo>
                      <a:lnTo>
                        <a:pt x="611" y="858"/>
                      </a:lnTo>
                      <a:lnTo>
                        <a:pt x="609" y="858"/>
                      </a:lnTo>
                      <a:lnTo>
                        <a:pt x="609" y="856"/>
                      </a:lnTo>
                      <a:lnTo>
                        <a:pt x="609" y="858"/>
                      </a:lnTo>
                      <a:lnTo>
                        <a:pt x="609" y="856"/>
                      </a:lnTo>
                      <a:lnTo>
                        <a:pt x="609" y="854"/>
                      </a:lnTo>
                      <a:lnTo>
                        <a:pt x="608" y="854"/>
                      </a:lnTo>
                      <a:lnTo>
                        <a:pt x="608" y="853"/>
                      </a:lnTo>
                      <a:lnTo>
                        <a:pt x="608" y="851"/>
                      </a:lnTo>
                      <a:lnTo>
                        <a:pt x="608" y="849"/>
                      </a:lnTo>
                      <a:lnTo>
                        <a:pt x="608" y="848"/>
                      </a:lnTo>
                      <a:lnTo>
                        <a:pt x="606" y="848"/>
                      </a:lnTo>
                      <a:lnTo>
                        <a:pt x="604" y="848"/>
                      </a:lnTo>
                      <a:lnTo>
                        <a:pt x="604" y="846"/>
                      </a:lnTo>
                      <a:lnTo>
                        <a:pt x="603" y="848"/>
                      </a:lnTo>
                      <a:lnTo>
                        <a:pt x="601" y="846"/>
                      </a:lnTo>
                      <a:lnTo>
                        <a:pt x="601" y="845"/>
                      </a:lnTo>
                      <a:lnTo>
                        <a:pt x="599" y="845"/>
                      </a:lnTo>
                      <a:lnTo>
                        <a:pt x="599" y="843"/>
                      </a:lnTo>
                      <a:lnTo>
                        <a:pt x="599" y="841"/>
                      </a:lnTo>
                      <a:lnTo>
                        <a:pt x="598" y="841"/>
                      </a:lnTo>
                      <a:lnTo>
                        <a:pt x="598" y="840"/>
                      </a:lnTo>
                      <a:lnTo>
                        <a:pt x="596" y="838"/>
                      </a:lnTo>
                      <a:lnTo>
                        <a:pt x="596" y="836"/>
                      </a:lnTo>
                      <a:lnTo>
                        <a:pt x="596" y="838"/>
                      </a:lnTo>
                      <a:lnTo>
                        <a:pt x="594" y="840"/>
                      </a:lnTo>
                      <a:lnTo>
                        <a:pt x="594" y="838"/>
                      </a:lnTo>
                      <a:lnTo>
                        <a:pt x="593" y="836"/>
                      </a:lnTo>
                      <a:lnTo>
                        <a:pt x="591" y="838"/>
                      </a:lnTo>
                      <a:lnTo>
                        <a:pt x="591" y="836"/>
                      </a:lnTo>
                      <a:lnTo>
                        <a:pt x="589" y="836"/>
                      </a:lnTo>
                      <a:lnTo>
                        <a:pt x="589" y="835"/>
                      </a:lnTo>
                      <a:lnTo>
                        <a:pt x="589" y="833"/>
                      </a:lnTo>
                      <a:lnTo>
                        <a:pt x="587" y="833"/>
                      </a:lnTo>
                      <a:lnTo>
                        <a:pt x="586" y="833"/>
                      </a:lnTo>
                      <a:lnTo>
                        <a:pt x="584" y="833"/>
                      </a:lnTo>
                      <a:lnTo>
                        <a:pt x="584" y="831"/>
                      </a:lnTo>
                      <a:lnTo>
                        <a:pt x="584" y="830"/>
                      </a:lnTo>
                      <a:lnTo>
                        <a:pt x="582" y="830"/>
                      </a:lnTo>
                      <a:lnTo>
                        <a:pt x="582" y="828"/>
                      </a:lnTo>
                      <a:lnTo>
                        <a:pt x="582" y="826"/>
                      </a:lnTo>
                      <a:lnTo>
                        <a:pt x="582" y="825"/>
                      </a:lnTo>
                      <a:lnTo>
                        <a:pt x="581" y="825"/>
                      </a:lnTo>
                      <a:lnTo>
                        <a:pt x="581" y="823"/>
                      </a:lnTo>
                      <a:lnTo>
                        <a:pt x="579" y="823"/>
                      </a:lnTo>
                      <a:lnTo>
                        <a:pt x="579" y="822"/>
                      </a:lnTo>
                      <a:lnTo>
                        <a:pt x="577" y="822"/>
                      </a:lnTo>
                      <a:lnTo>
                        <a:pt x="576" y="822"/>
                      </a:lnTo>
                      <a:lnTo>
                        <a:pt x="576" y="820"/>
                      </a:lnTo>
                      <a:lnTo>
                        <a:pt x="574" y="818"/>
                      </a:lnTo>
                      <a:lnTo>
                        <a:pt x="572" y="818"/>
                      </a:lnTo>
                      <a:lnTo>
                        <a:pt x="572" y="820"/>
                      </a:lnTo>
                      <a:lnTo>
                        <a:pt x="571" y="818"/>
                      </a:lnTo>
                      <a:lnTo>
                        <a:pt x="569" y="818"/>
                      </a:lnTo>
                      <a:lnTo>
                        <a:pt x="571" y="817"/>
                      </a:lnTo>
                      <a:lnTo>
                        <a:pt x="572" y="817"/>
                      </a:lnTo>
                      <a:lnTo>
                        <a:pt x="571" y="815"/>
                      </a:lnTo>
                      <a:lnTo>
                        <a:pt x="572" y="815"/>
                      </a:lnTo>
                      <a:lnTo>
                        <a:pt x="572" y="813"/>
                      </a:lnTo>
                      <a:lnTo>
                        <a:pt x="571" y="813"/>
                      </a:lnTo>
                      <a:lnTo>
                        <a:pt x="572" y="812"/>
                      </a:lnTo>
                      <a:lnTo>
                        <a:pt x="571" y="812"/>
                      </a:lnTo>
                      <a:lnTo>
                        <a:pt x="571" y="810"/>
                      </a:lnTo>
                      <a:lnTo>
                        <a:pt x="572" y="810"/>
                      </a:lnTo>
                      <a:lnTo>
                        <a:pt x="574" y="808"/>
                      </a:lnTo>
                      <a:lnTo>
                        <a:pt x="576" y="807"/>
                      </a:lnTo>
                      <a:lnTo>
                        <a:pt x="576" y="805"/>
                      </a:lnTo>
                      <a:lnTo>
                        <a:pt x="576" y="803"/>
                      </a:lnTo>
                      <a:lnTo>
                        <a:pt x="574" y="803"/>
                      </a:lnTo>
                      <a:lnTo>
                        <a:pt x="576" y="802"/>
                      </a:lnTo>
                      <a:lnTo>
                        <a:pt x="576" y="800"/>
                      </a:lnTo>
                      <a:lnTo>
                        <a:pt x="576" y="799"/>
                      </a:lnTo>
                      <a:lnTo>
                        <a:pt x="576" y="797"/>
                      </a:lnTo>
                      <a:lnTo>
                        <a:pt x="574" y="797"/>
                      </a:lnTo>
                      <a:lnTo>
                        <a:pt x="574" y="795"/>
                      </a:lnTo>
                      <a:lnTo>
                        <a:pt x="574" y="794"/>
                      </a:lnTo>
                      <a:lnTo>
                        <a:pt x="574" y="792"/>
                      </a:lnTo>
                      <a:lnTo>
                        <a:pt x="576" y="792"/>
                      </a:lnTo>
                      <a:lnTo>
                        <a:pt x="576" y="790"/>
                      </a:lnTo>
                      <a:lnTo>
                        <a:pt x="576" y="789"/>
                      </a:lnTo>
                      <a:lnTo>
                        <a:pt x="574" y="789"/>
                      </a:lnTo>
                      <a:lnTo>
                        <a:pt x="574" y="787"/>
                      </a:lnTo>
                      <a:lnTo>
                        <a:pt x="574" y="785"/>
                      </a:lnTo>
                      <a:lnTo>
                        <a:pt x="576" y="785"/>
                      </a:lnTo>
                      <a:lnTo>
                        <a:pt x="576" y="784"/>
                      </a:lnTo>
                      <a:lnTo>
                        <a:pt x="576" y="782"/>
                      </a:lnTo>
                      <a:lnTo>
                        <a:pt x="576" y="781"/>
                      </a:lnTo>
                      <a:lnTo>
                        <a:pt x="576" y="779"/>
                      </a:lnTo>
                      <a:lnTo>
                        <a:pt x="577" y="779"/>
                      </a:lnTo>
                      <a:lnTo>
                        <a:pt x="579" y="779"/>
                      </a:lnTo>
                      <a:lnTo>
                        <a:pt x="579" y="777"/>
                      </a:lnTo>
                      <a:lnTo>
                        <a:pt x="579" y="776"/>
                      </a:lnTo>
                      <a:lnTo>
                        <a:pt x="581" y="776"/>
                      </a:lnTo>
                      <a:lnTo>
                        <a:pt x="581" y="774"/>
                      </a:lnTo>
                      <a:lnTo>
                        <a:pt x="581" y="772"/>
                      </a:lnTo>
                      <a:lnTo>
                        <a:pt x="582" y="772"/>
                      </a:lnTo>
                      <a:lnTo>
                        <a:pt x="582" y="771"/>
                      </a:lnTo>
                      <a:lnTo>
                        <a:pt x="582" y="769"/>
                      </a:lnTo>
                      <a:lnTo>
                        <a:pt x="584" y="769"/>
                      </a:lnTo>
                      <a:lnTo>
                        <a:pt x="586" y="769"/>
                      </a:lnTo>
                      <a:lnTo>
                        <a:pt x="586" y="771"/>
                      </a:lnTo>
                      <a:lnTo>
                        <a:pt x="587" y="771"/>
                      </a:lnTo>
                      <a:lnTo>
                        <a:pt x="589" y="771"/>
                      </a:lnTo>
                      <a:lnTo>
                        <a:pt x="591" y="771"/>
                      </a:lnTo>
                      <a:lnTo>
                        <a:pt x="593" y="771"/>
                      </a:lnTo>
                      <a:lnTo>
                        <a:pt x="593" y="769"/>
                      </a:lnTo>
                      <a:lnTo>
                        <a:pt x="594" y="769"/>
                      </a:lnTo>
                      <a:lnTo>
                        <a:pt x="594" y="771"/>
                      </a:lnTo>
                      <a:lnTo>
                        <a:pt x="596" y="771"/>
                      </a:lnTo>
                      <a:lnTo>
                        <a:pt x="598" y="772"/>
                      </a:lnTo>
                      <a:lnTo>
                        <a:pt x="599" y="772"/>
                      </a:lnTo>
                      <a:lnTo>
                        <a:pt x="599" y="771"/>
                      </a:lnTo>
                      <a:lnTo>
                        <a:pt x="601" y="772"/>
                      </a:lnTo>
                      <a:lnTo>
                        <a:pt x="601" y="771"/>
                      </a:lnTo>
                      <a:lnTo>
                        <a:pt x="603" y="771"/>
                      </a:lnTo>
                      <a:lnTo>
                        <a:pt x="603" y="769"/>
                      </a:lnTo>
                      <a:lnTo>
                        <a:pt x="603" y="767"/>
                      </a:lnTo>
                      <a:lnTo>
                        <a:pt x="604" y="767"/>
                      </a:lnTo>
                      <a:lnTo>
                        <a:pt x="604" y="766"/>
                      </a:lnTo>
                      <a:lnTo>
                        <a:pt x="604" y="764"/>
                      </a:lnTo>
                      <a:lnTo>
                        <a:pt x="604" y="762"/>
                      </a:lnTo>
                      <a:lnTo>
                        <a:pt x="603" y="762"/>
                      </a:lnTo>
                      <a:lnTo>
                        <a:pt x="603" y="761"/>
                      </a:lnTo>
                      <a:lnTo>
                        <a:pt x="603" y="762"/>
                      </a:lnTo>
                      <a:lnTo>
                        <a:pt x="601" y="762"/>
                      </a:lnTo>
                      <a:lnTo>
                        <a:pt x="598" y="762"/>
                      </a:lnTo>
                      <a:lnTo>
                        <a:pt x="598" y="761"/>
                      </a:lnTo>
                      <a:lnTo>
                        <a:pt x="596" y="761"/>
                      </a:lnTo>
                      <a:lnTo>
                        <a:pt x="596" y="759"/>
                      </a:lnTo>
                      <a:lnTo>
                        <a:pt x="598" y="759"/>
                      </a:lnTo>
                      <a:lnTo>
                        <a:pt x="598" y="758"/>
                      </a:lnTo>
                      <a:lnTo>
                        <a:pt x="599" y="756"/>
                      </a:lnTo>
                      <a:lnTo>
                        <a:pt x="599" y="754"/>
                      </a:lnTo>
                      <a:lnTo>
                        <a:pt x="599" y="753"/>
                      </a:lnTo>
                      <a:lnTo>
                        <a:pt x="599" y="751"/>
                      </a:lnTo>
                      <a:lnTo>
                        <a:pt x="599" y="749"/>
                      </a:lnTo>
                      <a:lnTo>
                        <a:pt x="601" y="748"/>
                      </a:lnTo>
                      <a:lnTo>
                        <a:pt x="601" y="746"/>
                      </a:lnTo>
                      <a:lnTo>
                        <a:pt x="601" y="744"/>
                      </a:lnTo>
                      <a:lnTo>
                        <a:pt x="601" y="743"/>
                      </a:lnTo>
                      <a:lnTo>
                        <a:pt x="603" y="741"/>
                      </a:lnTo>
                      <a:lnTo>
                        <a:pt x="604" y="741"/>
                      </a:lnTo>
                      <a:lnTo>
                        <a:pt x="606" y="741"/>
                      </a:lnTo>
                      <a:lnTo>
                        <a:pt x="606" y="739"/>
                      </a:lnTo>
                      <a:lnTo>
                        <a:pt x="608" y="741"/>
                      </a:lnTo>
                      <a:lnTo>
                        <a:pt x="609" y="741"/>
                      </a:lnTo>
                      <a:lnTo>
                        <a:pt x="611" y="741"/>
                      </a:lnTo>
                      <a:lnTo>
                        <a:pt x="611" y="743"/>
                      </a:lnTo>
                      <a:lnTo>
                        <a:pt x="613" y="743"/>
                      </a:lnTo>
                      <a:lnTo>
                        <a:pt x="613" y="741"/>
                      </a:lnTo>
                      <a:lnTo>
                        <a:pt x="615" y="741"/>
                      </a:lnTo>
                      <a:lnTo>
                        <a:pt x="615" y="739"/>
                      </a:lnTo>
                      <a:lnTo>
                        <a:pt x="613" y="739"/>
                      </a:lnTo>
                      <a:lnTo>
                        <a:pt x="613" y="738"/>
                      </a:lnTo>
                      <a:lnTo>
                        <a:pt x="611" y="738"/>
                      </a:lnTo>
                      <a:lnTo>
                        <a:pt x="613" y="738"/>
                      </a:lnTo>
                      <a:lnTo>
                        <a:pt x="613" y="736"/>
                      </a:lnTo>
                      <a:lnTo>
                        <a:pt x="615" y="735"/>
                      </a:lnTo>
                      <a:lnTo>
                        <a:pt x="616" y="733"/>
                      </a:lnTo>
                      <a:lnTo>
                        <a:pt x="616" y="731"/>
                      </a:lnTo>
                      <a:lnTo>
                        <a:pt x="618" y="731"/>
                      </a:lnTo>
                      <a:lnTo>
                        <a:pt x="618" y="730"/>
                      </a:lnTo>
                      <a:lnTo>
                        <a:pt x="618" y="728"/>
                      </a:lnTo>
                      <a:lnTo>
                        <a:pt x="620" y="728"/>
                      </a:lnTo>
                      <a:lnTo>
                        <a:pt x="620" y="726"/>
                      </a:lnTo>
                      <a:lnTo>
                        <a:pt x="620" y="728"/>
                      </a:lnTo>
                      <a:lnTo>
                        <a:pt x="620" y="730"/>
                      </a:lnTo>
                      <a:lnTo>
                        <a:pt x="621" y="731"/>
                      </a:lnTo>
                      <a:lnTo>
                        <a:pt x="623" y="731"/>
                      </a:lnTo>
                      <a:lnTo>
                        <a:pt x="623" y="730"/>
                      </a:lnTo>
                      <a:lnTo>
                        <a:pt x="623" y="728"/>
                      </a:lnTo>
                      <a:lnTo>
                        <a:pt x="625" y="726"/>
                      </a:lnTo>
                      <a:lnTo>
                        <a:pt x="625" y="725"/>
                      </a:lnTo>
                      <a:lnTo>
                        <a:pt x="626" y="721"/>
                      </a:lnTo>
                      <a:lnTo>
                        <a:pt x="626" y="720"/>
                      </a:lnTo>
                      <a:lnTo>
                        <a:pt x="628" y="720"/>
                      </a:lnTo>
                      <a:lnTo>
                        <a:pt x="630" y="718"/>
                      </a:lnTo>
                      <a:lnTo>
                        <a:pt x="628" y="718"/>
                      </a:lnTo>
                      <a:lnTo>
                        <a:pt x="630" y="718"/>
                      </a:lnTo>
                      <a:lnTo>
                        <a:pt x="630" y="716"/>
                      </a:lnTo>
                      <a:lnTo>
                        <a:pt x="630" y="718"/>
                      </a:lnTo>
                      <a:lnTo>
                        <a:pt x="631" y="718"/>
                      </a:lnTo>
                      <a:lnTo>
                        <a:pt x="633" y="718"/>
                      </a:lnTo>
                      <a:lnTo>
                        <a:pt x="633" y="716"/>
                      </a:lnTo>
                      <a:lnTo>
                        <a:pt x="633" y="715"/>
                      </a:lnTo>
                      <a:lnTo>
                        <a:pt x="635" y="715"/>
                      </a:lnTo>
                      <a:lnTo>
                        <a:pt x="636" y="715"/>
                      </a:lnTo>
                      <a:lnTo>
                        <a:pt x="636" y="713"/>
                      </a:lnTo>
                      <a:lnTo>
                        <a:pt x="635" y="712"/>
                      </a:lnTo>
                      <a:lnTo>
                        <a:pt x="635" y="710"/>
                      </a:lnTo>
                      <a:lnTo>
                        <a:pt x="636" y="708"/>
                      </a:lnTo>
                      <a:lnTo>
                        <a:pt x="638" y="708"/>
                      </a:lnTo>
                      <a:lnTo>
                        <a:pt x="638" y="707"/>
                      </a:lnTo>
                      <a:lnTo>
                        <a:pt x="640" y="707"/>
                      </a:lnTo>
                      <a:lnTo>
                        <a:pt x="640" y="705"/>
                      </a:lnTo>
                      <a:lnTo>
                        <a:pt x="640" y="703"/>
                      </a:lnTo>
                      <a:lnTo>
                        <a:pt x="640" y="702"/>
                      </a:lnTo>
                      <a:lnTo>
                        <a:pt x="638" y="702"/>
                      </a:lnTo>
                      <a:lnTo>
                        <a:pt x="640" y="702"/>
                      </a:lnTo>
                      <a:lnTo>
                        <a:pt x="642" y="700"/>
                      </a:lnTo>
                      <a:lnTo>
                        <a:pt x="642" y="698"/>
                      </a:lnTo>
                      <a:lnTo>
                        <a:pt x="642" y="697"/>
                      </a:lnTo>
                      <a:lnTo>
                        <a:pt x="640" y="697"/>
                      </a:lnTo>
                      <a:lnTo>
                        <a:pt x="640" y="695"/>
                      </a:lnTo>
                      <a:lnTo>
                        <a:pt x="638" y="693"/>
                      </a:lnTo>
                      <a:lnTo>
                        <a:pt x="636" y="692"/>
                      </a:lnTo>
                      <a:lnTo>
                        <a:pt x="636" y="690"/>
                      </a:lnTo>
                      <a:lnTo>
                        <a:pt x="635" y="690"/>
                      </a:lnTo>
                      <a:lnTo>
                        <a:pt x="636" y="689"/>
                      </a:lnTo>
                      <a:lnTo>
                        <a:pt x="635" y="689"/>
                      </a:lnTo>
                      <a:lnTo>
                        <a:pt x="633" y="687"/>
                      </a:lnTo>
                      <a:lnTo>
                        <a:pt x="631" y="689"/>
                      </a:lnTo>
                      <a:lnTo>
                        <a:pt x="630" y="689"/>
                      </a:lnTo>
                      <a:lnTo>
                        <a:pt x="628" y="689"/>
                      </a:lnTo>
                      <a:lnTo>
                        <a:pt x="628" y="687"/>
                      </a:lnTo>
                      <a:lnTo>
                        <a:pt x="626" y="687"/>
                      </a:lnTo>
                      <a:lnTo>
                        <a:pt x="625" y="687"/>
                      </a:lnTo>
                      <a:lnTo>
                        <a:pt x="626" y="685"/>
                      </a:lnTo>
                      <a:lnTo>
                        <a:pt x="625" y="685"/>
                      </a:lnTo>
                      <a:lnTo>
                        <a:pt x="623" y="685"/>
                      </a:lnTo>
                      <a:lnTo>
                        <a:pt x="623" y="684"/>
                      </a:lnTo>
                      <a:lnTo>
                        <a:pt x="621" y="684"/>
                      </a:lnTo>
                      <a:lnTo>
                        <a:pt x="623" y="682"/>
                      </a:lnTo>
                      <a:lnTo>
                        <a:pt x="621" y="682"/>
                      </a:lnTo>
                      <a:lnTo>
                        <a:pt x="621" y="684"/>
                      </a:lnTo>
                      <a:lnTo>
                        <a:pt x="621" y="682"/>
                      </a:lnTo>
                      <a:lnTo>
                        <a:pt x="623" y="682"/>
                      </a:lnTo>
                      <a:lnTo>
                        <a:pt x="621" y="682"/>
                      </a:lnTo>
                      <a:lnTo>
                        <a:pt x="621" y="680"/>
                      </a:lnTo>
                      <a:lnTo>
                        <a:pt x="623" y="680"/>
                      </a:lnTo>
                      <a:lnTo>
                        <a:pt x="621" y="680"/>
                      </a:lnTo>
                      <a:lnTo>
                        <a:pt x="621" y="682"/>
                      </a:lnTo>
                      <a:lnTo>
                        <a:pt x="621" y="680"/>
                      </a:lnTo>
                      <a:lnTo>
                        <a:pt x="620" y="680"/>
                      </a:lnTo>
                      <a:lnTo>
                        <a:pt x="621" y="680"/>
                      </a:lnTo>
                      <a:lnTo>
                        <a:pt x="621" y="679"/>
                      </a:lnTo>
                      <a:lnTo>
                        <a:pt x="620" y="679"/>
                      </a:lnTo>
                      <a:lnTo>
                        <a:pt x="620" y="680"/>
                      </a:lnTo>
                      <a:lnTo>
                        <a:pt x="618" y="680"/>
                      </a:lnTo>
                      <a:lnTo>
                        <a:pt x="618" y="679"/>
                      </a:lnTo>
                      <a:lnTo>
                        <a:pt x="616" y="679"/>
                      </a:lnTo>
                      <a:lnTo>
                        <a:pt x="616" y="680"/>
                      </a:lnTo>
                      <a:lnTo>
                        <a:pt x="615" y="679"/>
                      </a:lnTo>
                      <a:lnTo>
                        <a:pt x="615" y="680"/>
                      </a:lnTo>
                      <a:lnTo>
                        <a:pt x="615" y="679"/>
                      </a:lnTo>
                      <a:lnTo>
                        <a:pt x="613" y="679"/>
                      </a:lnTo>
                      <a:lnTo>
                        <a:pt x="613" y="680"/>
                      </a:lnTo>
                      <a:lnTo>
                        <a:pt x="613" y="679"/>
                      </a:lnTo>
                      <a:lnTo>
                        <a:pt x="613" y="680"/>
                      </a:lnTo>
                      <a:lnTo>
                        <a:pt x="611" y="679"/>
                      </a:lnTo>
                      <a:lnTo>
                        <a:pt x="613" y="679"/>
                      </a:lnTo>
                      <a:lnTo>
                        <a:pt x="613" y="677"/>
                      </a:lnTo>
                      <a:lnTo>
                        <a:pt x="613" y="675"/>
                      </a:lnTo>
                      <a:lnTo>
                        <a:pt x="613" y="677"/>
                      </a:lnTo>
                      <a:lnTo>
                        <a:pt x="611" y="677"/>
                      </a:lnTo>
                      <a:lnTo>
                        <a:pt x="611" y="675"/>
                      </a:lnTo>
                      <a:lnTo>
                        <a:pt x="609" y="675"/>
                      </a:lnTo>
                      <a:lnTo>
                        <a:pt x="609" y="674"/>
                      </a:lnTo>
                      <a:lnTo>
                        <a:pt x="608" y="674"/>
                      </a:lnTo>
                      <a:lnTo>
                        <a:pt x="608" y="672"/>
                      </a:lnTo>
                      <a:lnTo>
                        <a:pt x="606" y="672"/>
                      </a:lnTo>
                      <a:lnTo>
                        <a:pt x="606" y="670"/>
                      </a:lnTo>
                      <a:lnTo>
                        <a:pt x="604" y="670"/>
                      </a:lnTo>
                      <a:lnTo>
                        <a:pt x="603" y="670"/>
                      </a:lnTo>
                      <a:lnTo>
                        <a:pt x="603" y="672"/>
                      </a:lnTo>
                      <a:lnTo>
                        <a:pt x="603" y="670"/>
                      </a:lnTo>
                      <a:lnTo>
                        <a:pt x="601" y="670"/>
                      </a:lnTo>
                      <a:lnTo>
                        <a:pt x="601" y="672"/>
                      </a:lnTo>
                      <a:lnTo>
                        <a:pt x="599" y="672"/>
                      </a:lnTo>
                      <a:lnTo>
                        <a:pt x="599" y="670"/>
                      </a:lnTo>
                      <a:lnTo>
                        <a:pt x="599" y="672"/>
                      </a:lnTo>
                      <a:lnTo>
                        <a:pt x="598" y="672"/>
                      </a:lnTo>
                      <a:lnTo>
                        <a:pt x="596" y="672"/>
                      </a:lnTo>
                      <a:lnTo>
                        <a:pt x="594" y="672"/>
                      </a:lnTo>
                      <a:lnTo>
                        <a:pt x="594" y="670"/>
                      </a:lnTo>
                      <a:lnTo>
                        <a:pt x="594" y="672"/>
                      </a:lnTo>
                      <a:lnTo>
                        <a:pt x="594" y="670"/>
                      </a:lnTo>
                      <a:lnTo>
                        <a:pt x="593" y="670"/>
                      </a:lnTo>
                      <a:lnTo>
                        <a:pt x="593" y="672"/>
                      </a:lnTo>
                      <a:lnTo>
                        <a:pt x="593" y="670"/>
                      </a:lnTo>
                      <a:lnTo>
                        <a:pt x="593" y="672"/>
                      </a:lnTo>
                      <a:lnTo>
                        <a:pt x="591" y="672"/>
                      </a:lnTo>
                      <a:lnTo>
                        <a:pt x="591" y="670"/>
                      </a:lnTo>
                      <a:lnTo>
                        <a:pt x="591" y="672"/>
                      </a:lnTo>
                      <a:lnTo>
                        <a:pt x="589" y="670"/>
                      </a:lnTo>
                      <a:lnTo>
                        <a:pt x="587" y="670"/>
                      </a:lnTo>
                      <a:lnTo>
                        <a:pt x="587" y="669"/>
                      </a:lnTo>
                      <a:lnTo>
                        <a:pt x="587" y="667"/>
                      </a:lnTo>
                      <a:lnTo>
                        <a:pt x="586" y="667"/>
                      </a:lnTo>
                      <a:lnTo>
                        <a:pt x="586" y="666"/>
                      </a:lnTo>
                      <a:lnTo>
                        <a:pt x="584" y="666"/>
                      </a:lnTo>
                      <a:lnTo>
                        <a:pt x="584" y="667"/>
                      </a:lnTo>
                      <a:lnTo>
                        <a:pt x="582" y="667"/>
                      </a:lnTo>
                      <a:lnTo>
                        <a:pt x="581" y="667"/>
                      </a:lnTo>
                      <a:lnTo>
                        <a:pt x="579" y="667"/>
                      </a:lnTo>
                      <a:lnTo>
                        <a:pt x="579" y="669"/>
                      </a:lnTo>
                      <a:lnTo>
                        <a:pt x="577" y="669"/>
                      </a:lnTo>
                      <a:lnTo>
                        <a:pt x="576" y="670"/>
                      </a:lnTo>
                      <a:lnTo>
                        <a:pt x="574" y="669"/>
                      </a:lnTo>
                      <a:lnTo>
                        <a:pt x="574" y="667"/>
                      </a:lnTo>
                      <a:lnTo>
                        <a:pt x="572" y="667"/>
                      </a:lnTo>
                      <a:lnTo>
                        <a:pt x="572" y="666"/>
                      </a:lnTo>
                      <a:lnTo>
                        <a:pt x="571" y="666"/>
                      </a:lnTo>
                      <a:lnTo>
                        <a:pt x="572" y="666"/>
                      </a:lnTo>
                      <a:lnTo>
                        <a:pt x="572" y="664"/>
                      </a:lnTo>
                      <a:lnTo>
                        <a:pt x="571" y="664"/>
                      </a:lnTo>
                      <a:lnTo>
                        <a:pt x="569" y="662"/>
                      </a:lnTo>
                      <a:lnTo>
                        <a:pt x="567" y="664"/>
                      </a:lnTo>
                      <a:lnTo>
                        <a:pt x="567" y="662"/>
                      </a:lnTo>
                      <a:lnTo>
                        <a:pt x="566" y="662"/>
                      </a:lnTo>
                      <a:lnTo>
                        <a:pt x="566" y="661"/>
                      </a:lnTo>
                      <a:lnTo>
                        <a:pt x="564" y="661"/>
                      </a:lnTo>
                      <a:lnTo>
                        <a:pt x="564" y="659"/>
                      </a:lnTo>
                      <a:lnTo>
                        <a:pt x="562" y="659"/>
                      </a:lnTo>
                      <a:lnTo>
                        <a:pt x="562" y="657"/>
                      </a:lnTo>
                      <a:lnTo>
                        <a:pt x="560" y="657"/>
                      </a:lnTo>
                      <a:lnTo>
                        <a:pt x="560" y="659"/>
                      </a:lnTo>
                      <a:lnTo>
                        <a:pt x="559" y="659"/>
                      </a:lnTo>
                      <a:lnTo>
                        <a:pt x="557" y="659"/>
                      </a:lnTo>
                      <a:lnTo>
                        <a:pt x="559" y="659"/>
                      </a:lnTo>
                      <a:lnTo>
                        <a:pt x="559" y="661"/>
                      </a:lnTo>
                      <a:lnTo>
                        <a:pt x="557" y="661"/>
                      </a:lnTo>
                      <a:lnTo>
                        <a:pt x="557" y="662"/>
                      </a:lnTo>
                      <a:lnTo>
                        <a:pt x="555" y="662"/>
                      </a:lnTo>
                      <a:lnTo>
                        <a:pt x="555" y="661"/>
                      </a:lnTo>
                      <a:lnTo>
                        <a:pt x="554" y="661"/>
                      </a:lnTo>
                      <a:lnTo>
                        <a:pt x="554" y="659"/>
                      </a:lnTo>
                      <a:lnTo>
                        <a:pt x="554" y="657"/>
                      </a:lnTo>
                      <a:lnTo>
                        <a:pt x="552" y="657"/>
                      </a:lnTo>
                      <a:lnTo>
                        <a:pt x="552" y="656"/>
                      </a:lnTo>
                      <a:lnTo>
                        <a:pt x="550" y="656"/>
                      </a:lnTo>
                      <a:lnTo>
                        <a:pt x="550" y="657"/>
                      </a:lnTo>
                      <a:lnTo>
                        <a:pt x="549" y="657"/>
                      </a:lnTo>
                      <a:lnTo>
                        <a:pt x="549" y="659"/>
                      </a:lnTo>
                      <a:lnTo>
                        <a:pt x="547" y="659"/>
                      </a:lnTo>
                      <a:lnTo>
                        <a:pt x="545" y="661"/>
                      </a:lnTo>
                      <a:lnTo>
                        <a:pt x="544" y="659"/>
                      </a:lnTo>
                      <a:lnTo>
                        <a:pt x="544" y="661"/>
                      </a:lnTo>
                      <a:lnTo>
                        <a:pt x="544" y="659"/>
                      </a:lnTo>
                      <a:lnTo>
                        <a:pt x="542" y="659"/>
                      </a:lnTo>
                      <a:lnTo>
                        <a:pt x="542" y="657"/>
                      </a:lnTo>
                      <a:lnTo>
                        <a:pt x="540" y="657"/>
                      </a:lnTo>
                      <a:lnTo>
                        <a:pt x="539" y="657"/>
                      </a:lnTo>
                      <a:lnTo>
                        <a:pt x="537" y="656"/>
                      </a:lnTo>
                      <a:lnTo>
                        <a:pt x="537" y="657"/>
                      </a:lnTo>
                      <a:lnTo>
                        <a:pt x="535" y="657"/>
                      </a:lnTo>
                      <a:lnTo>
                        <a:pt x="535" y="659"/>
                      </a:lnTo>
                      <a:lnTo>
                        <a:pt x="535" y="661"/>
                      </a:lnTo>
                      <a:lnTo>
                        <a:pt x="533" y="661"/>
                      </a:lnTo>
                      <a:lnTo>
                        <a:pt x="533" y="662"/>
                      </a:lnTo>
                      <a:lnTo>
                        <a:pt x="532" y="662"/>
                      </a:lnTo>
                      <a:lnTo>
                        <a:pt x="530" y="662"/>
                      </a:lnTo>
                      <a:lnTo>
                        <a:pt x="528" y="662"/>
                      </a:lnTo>
                      <a:lnTo>
                        <a:pt x="527" y="662"/>
                      </a:lnTo>
                      <a:lnTo>
                        <a:pt x="525" y="664"/>
                      </a:lnTo>
                      <a:lnTo>
                        <a:pt x="523" y="664"/>
                      </a:lnTo>
                      <a:lnTo>
                        <a:pt x="522" y="664"/>
                      </a:lnTo>
                      <a:lnTo>
                        <a:pt x="522" y="666"/>
                      </a:lnTo>
                      <a:lnTo>
                        <a:pt x="520" y="667"/>
                      </a:lnTo>
                      <a:lnTo>
                        <a:pt x="518" y="666"/>
                      </a:lnTo>
                      <a:lnTo>
                        <a:pt x="515" y="666"/>
                      </a:lnTo>
                      <a:lnTo>
                        <a:pt x="513" y="664"/>
                      </a:lnTo>
                      <a:lnTo>
                        <a:pt x="511" y="664"/>
                      </a:lnTo>
                      <a:lnTo>
                        <a:pt x="510" y="664"/>
                      </a:lnTo>
                      <a:lnTo>
                        <a:pt x="510" y="666"/>
                      </a:lnTo>
                      <a:lnTo>
                        <a:pt x="508" y="666"/>
                      </a:lnTo>
                      <a:lnTo>
                        <a:pt x="508" y="664"/>
                      </a:lnTo>
                      <a:lnTo>
                        <a:pt x="506" y="664"/>
                      </a:lnTo>
                      <a:lnTo>
                        <a:pt x="505" y="664"/>
                      </a:lnTo>
                      <a:lnTo>
                        <a:pt x="503" y="664"/>
                      </a:lnTo>
                      <a:lnTo>
                        <a:pt x="500" y="643"/>
                      </a:lnTo>
                      <a:lnTo>
                        <a:pt x="500" y="641"/>
                      </a:lnTo>
                      <a:lnTo>
                        <a:pt x="498" y="641"/>
                      </a:lnTo>
                      <a:lnTo>
                        <a:pt x="491" y="636"/>
                      </a:lnTo>
                      <a:lnTo>
                        <a:pt x="490" y="633"/>
                      </a:lnTo>
                      <a:lnTo>
                        <a:pt x="486" y="631"/>
                      </a:lnTo>
                      <a:lnTo>
                        <a:pt x="457" y="605"/>
                      </a:lnTo>
                      <a:lnTo>
                        <a:pt x="456" y="606"/>
                      </a:lnTo>
                      <a:lnTo>
                        <a:pt x="454" y="606"/>
                      </a:lnTo>
                      <a:lnTo>
                        <a:pt x="452" y="606"/>
                      </a:lnTo>
                      <a:lnTo>
                        <a:pt x="451" y="606"/>
                      </a:lnTo>
                      <a:lnTo>
                        <a:pt x="451" y="608"/>
                      </a:lnTo>
                      <a:lnTo>
                        <a:pt x="451" y="610"/>
                      </a:lnTo>
                      <a:lnTo>
                        <a:pt x="449" y="610"/>
                      </a:lnTo>
                      <a:lnTo>
                        <a:pt x="447" y="610"/>
                      </a:lnTo>
                      <a:lnTo>
                        <a:pt x="447" y="611"/>
                      </a:lnTo>
                      <a:lnTo>
                        <a:pt x="446" y="611"/>
                      </a:lnTo>
                      <a:lnTo>
                        <a:pt x="444" y="611"/>
                      </a:lnTo>
                      <a:lnTo>
                        <a:pt x="444" y="613"/>
                      </a:lnTo>
                      <a:lnTo>
                        <a:pt x="442" y="611"/>
                      </a:lnTo>
                      <a:lnTo>
                        <a:pt x="441" y="611"/>
                      </a:lnTo>
                      <a:lnTo>
                        <a:pt x="439" y="611"/>
                      </a:lnTo>
                      <a:lnTo>
                        <a:pt x="437" y="611"/>
                      </a:lnTo>
                      <a:lnTo>
                        <a:pt x="435" y="611"/>
                      </a:lnTo>
                      <a:lnTo>
                        <a:pt x="432" y="611"/>
                      </a:lnTo>
                      <a:lnTo>
                        <a:pt x="432" y="613"/>
                      </a:lnTo>
                      <a:lnTo>
                        <a:pt x="430" y="613"/>
                      </a:lnTo>
                      <a:lnTo>
                        <a:pt x="429" y="611"/>
                      </a:lnTo>
                      <a:lnTo>
                        <a:pt x="429" y="610"/>
                      </a:lnTo>
                      <a:lnTo>
                        <a:pt x="427" y="610"/>
                      </a:lnTo>
                      <a:lnTo>
                        <a:pt x="427" y="608"/>
                      </a:lnTo>
                      <a:lnTo>
                        <a:pt x="425" y="608"/>
                      </a:lnTo>
                      <a:lnTo>
                        <a:pt x="425" y="606"/>
                      </a:lnTo>
                      <a:lnTo>
                        <a:pt x="424" y="606"/>
                      </a:lnTo>
                      <a:lnTo>
                        <a:pt x="424" y="605"/>
                      </a:lnTo>
                      <a:lnTo>
                        <a:pt x="422" y="605"/>
                      </a:lnTo>
                      <a:lnTo>
                        <a:pt x="420" y="605"/>
                      </a:lnTo>
                      <a:lnTo>
                        <a:pt x="419" y="606"/>
                      </a:lnTo>
                      <a:lnTo>
                        <a:pt x="417" y="605"/>
                      </a:lnTo>
                      <a:lnTo>
                        <a:pt x="417" y="606"/>
                      </a:lnTo>
                      <a:lnTo>
                        <a:pt x="415" y="606"/>
                      </a:lnTo>
                      <a:lnTo>
                        <a:pt x="414" y="608"/>
                      </a:lnTo>
                      <a:lnTo>
                        <a:pt x="414" y="606"/>
                      </a:lnTo>
                      <a:lnTo>
                        <a:pt x="412" y="606"/>
                      </a:lnTo>
                      <a:lnTo>
                        <a:pt x="410" y="605"/>
                      </a:lnTo>
                      <a:lnTo>
                        <a:pt x="408" y="605"/>
                      </a:lnTo>
                      <a:lnTo>
                        <a:pt x="407" y="603"/>
                      </a:lnTo>
                      <a:lnTo>
                        <a:pt x="405" y="605"/>
                      </a:lnTo>
                      <a:lnTo>
                        <a:pt x="403" y="603"/>
                      </a:lnTo>
                      <a:lnTo>
                        <a:pt x="402" y="603"/>
                      </a:lnTo>
                      <a:lnTo>
                        <a:pt x="400" y="603"/>
                      </a:lnTo>
                      <a:lnTo>
                        <a:pt x="398" y="601"/>
                      </a:lnTo>
                      <a:lnTo>
                        <a:pt x="397" y="601"/>
                      </a:lnTo>
                      <a:lnTo>
                        <a:pt x="397" y="600"/>
                      </a:lnTo>
                      <a:lnTo>
                        <a:pt x="397" y="598"/>
                      </a:lnTo>
                      <a:lnTo>
                        <a:pt x="395" y="598"/>
                      </a:lnTo>
                      <a:lnTo>
                        <a:pt x="393" y="598"/>
                      </a:lnTo>
                      <a:lnTo>
                        <a:pt x="393" y="597"/>
                      </a:lnTo>
                      <a:lnTo>
                        <a:pt x="392" y="597"/>
                      </a:lnTo>
                      <a:lnTo>
                        <a:pt x="392" y="595"/>
                      </a:lnTo>
                      <a:lnTo>
                        <a:pt x="390" y="595"/>
                      </a:lnTo>
                      <a:lnTo>
                        <a:pt x="388" y="593"/>
                      </a:lnTo>
                      <a:lnTo>
                        <a:pt x="387" y="593"/>
                      </a:lnTo>
                      <a:lnTo>
                        <a:pt x="387" y="592"/>
                      </a:lnTo>
                      <a:lnTo>
                        <a:pt x="385" y="593"/>
                      </a:lnTo>
                      <a:lnTo>
                        <a:pt x="385" y="592"/>
                      </a:lnTo>
                      <a:lnTo>
                        <a:pt x="385" y="590"/>
                      </a:lnTo>
                      <a:lnTo>
                        <a:pt x="383" y="590"/>
                      </a:lnTo>
                      <a:lnTo>
                        <a:pt x="381" y="588"/>
                      </a:lnTo>
                      <a:lnTo>
                        <a:pt x="381" y="590"/>
                      </a:lnTo>
                      <a:lnTo>
                        <a:pt x="380" y="590"/>
                      </a:lnTo>
                      <a:lnTo>
                        <a:pt x="380" y="592"/>
                      </a:lnTo>
                      <a:lnTo>
                        <a:pt x="380" y="590"/>
                      </a:lnTo>
                      <a:lnTo>
                        <a:pt x="378" y="590"/>
                      </a:lnTo>
                      <a:lnTo>
                        <a:pt x="376" y="588"/>
                      </a:lnTo>
                      <a:lnTo>
                        <a:pt x="375" y="588"/>
                      </a:lnTo>
                      <a:lnTo>
                        <a:pt x="375" y="587"/>
                      </a:lnTo>
                      <a:lnTo>
                        <a:pt x="373" y="587"/>
                      </a:lnTo>
                      <a:lnTo>
                        <a:pt x="373" y="585"/>
                      </a:lnTo>
                      <a:lnTo>
                        <a:pt x="371" y="585"/>
                      </a:lnTo>
                      <a:lnTo>
                        <a:pt x="370" y="585"/>
                      </a:lnTo>
                      <a:lnTo>
                        <a:pt x="368" y="583"/>
                      </a:lnTo>
                      <a:lnTo>
                        <a:pt x="368" y="582"/>
                      </a:lnTo>
                      <a:lnTo>
                        <a:pt x="366" y="582"/>
                      </a:lnTo>
                      <a:lnTo>
                        <a:pt x="365" y="582"/>
                      </a:lnTo>
                      <a:lnTo>
                        <a:pt x="363" y="580"/>
                      </a:lnTo>
                      <a:lnTo>
                        <a:pt x="361" y="580"/>
                      </a:lnTo>
                      <a:lnTo>
                        <a:pt x="361" y="579"/>
                      </a:lnTo>
                      <a:lnTo>
                        <a:pt x="359" y="579"/>
                      </a:lnTo>
                      <a:lnTo>
                        <a:pt x="359" y="577"/>
                      </a:lnTo>
                      <a:lnTo>
                        <a:pt x="358" y="577"/>
                      </a:lnTo>
                      <a:lnTo>
                        <a:pt x="358" y="575"/>
                      </a:lnTo>
                      <a:lnTo>
                        <a:pt x="356" y="575"/>
                      </a:lnTo>
                      <a:lnTo>
                        <a:pt x="356" y="574"/>
                      </a:lnTo>
                      <a:lnTo>
                        <a:pt x="356" y="575"/>
                      </a:lnTo>
                      <a:lnTo>
                        <a:pt x="354" y="575"/>
                      </a:lnTo>
                      <a:lnTo>
                        <a:pt x="354" y="574"/>
                      </a:lnTo>
                      <a:lnTo>
                        <a:pt x="353" y="574"/>
                      </a:lnTo>
                      <a:lnTo>
                        <a:pt x="353" y="572"/>
                      </a:lnTo>
                      <a:lnTo>
                        <a:pt x="353" y="574"/>
                      </a:lnTo>
                      <a:lnTo>
                        <a:pt x="351" y="574"/>
                      </a:lnTo>
                      <a:lnTo>
                        <a:pt x="351" y="572"/>
                      </a:lnTo>
                      <a:lnTo>
                        <a:pt x="351" y="570"/>
                      </a:lnTo>
                      <a:lnTo>
                        <a:pt x="349" y="570"/>
                      </a:lnTo>
                      <a:lnTo>
                        <a:pt x="349" y="569"/>
                      </a:lnTo>
                      <a:lnTo>
                        <a:pt x="348" y="569"/>
                      </a:lnTo>
                      <a:lnTo>
                        <a:pt x="346" y="569"/>
                      </a:lnTo>
                      <a:lnTo>
                        <a:pt x="344" y="569"/>
                      </a:lnTo>
                      <a:lnTo>
                        <a:pt x="343" y="569"/>
                      </a:lnTo>
                      <a:lnTo>
                        <a:pt x="341" y="569"/>
                      </a:lnTo>
                      <a:lnTo>
                        <a:pt x="341" y="567"/>
                      </a:lnTo>
                      <a:lnTo>
                        <a:pt x="339" y="567"/>
                      </a:lnTo>
                      <a:lnTo>
                        <a:pt x="338" y="567"/>
                      </a:lnTo>
                      <a:lnTo>
                        <a:pt x="336" y="567"/>
                      </a:lnTo>
                      <a:lnTo>
                        <a:pt x="336" y="569"/>
                      </a:lnTo>
                      <a:lnTo>
                        <a:pt x="336" y="567"/>
                      </a:lnTo>
                      <a:lnTo>
                        <a:pt x="334" y="567"/>
                      </a:lnTo>
                      <a:lnTo>
                        <a:pt x="334" y="565"/>
                      </a:lnTo>
                      <a:lnTo>
                        <a:pt x="334" y="567"/>
                      </a:lnTo>
                      <a:lnTo>
                        <a:pt x="332" y="567"/>
                      </a:lnTo>
                      <a:lnTo>
                        <a:pt x="332" y="565"/>
                      </a:lnTo>
                      <a:lnTo>
                        <a:pt x="331" y="565"/>
                      </a:lnTo>
                      <a:lnTo>
                        <a:pt x="329" y="565"/>
                      </a:lnTo>
                      <a:lnTo>
                        <a:pt x="329" y="564"/>
                      </a:lnTo>
                      <a:lnTo>
                        <a:pt x="327" y="564"/>
                      </a:lnTo>
                      <a:lnTo>
                        <a:pt x="327" y="565"/>
                      </a:lnTo>
                      <a:lnTo>
                        <a:pt x="326" y="565"/>
                      </a:lnTo>
                      <a:lnTo>
                        <a:pt x="326" y="564"/>
                      </a:lnTo>
                      <a:lnTo>
                        <a:pt x="324" y="564"/>
                      </a:lnTo>
                      <a:lnTo>
                        <a:pt x="324" y="565"/>
                      </a:lnTo>
                      <a:lnTo>
                        <a:pt x="324" y="564"/>
                      </a:lnTo>
                      <a:lnTo>
                        <a:pt x="322" y="565"/>
                      </a:lnTo>
                      <a:lnTo>
                        <a:pt x="322" y="564"/>
                      </a:lnTo>
                      <a:lnTo>
                        <a:pt x="321" y="564"/>
                      </a:lnTo>
                      <a:lnTo>
                        <a:pt x="321" y="565"/>
                      </a:lnTo>
                      <a:lnTo>
                        <a:pt x="321" y="564"/>
                      </a:lnTo>
                      <a:lnTo>
                        <a:pt x="321" y="565"/>
                      </a:lnTo>
                      <a:lnTo>
                        <a:pt x="319" y="565"/>
                      </a:lnTo>
                      <a:lnTo>
                        <a:pt x="317" y="565"/>
                      </a:lnTo>
                      <a:lnTo>
                        <a:pt x="317" y="567"/>
                      </a:lnTo>
                      <a:lnTo>
                        <a:pt x="316" y="567"/>
                      </a:lnTo>
                      <a:lnTo>
                        <a:pt x="316" y="565"/>
                      </a:lnTo>
                      <a:lnTo>
                        <a:pt x="314" y="565"/>
                      </a:lnTo>
                      <a:lnTo>
                        <a:pt x="314" y="567"/>
                      </a:lnTo>
                      <a:lnTo>
                        <a:pt x="312" y="567"/>
                      </a:lnTo>
                      <a:lnTo>
                        <a:pt x="311" y="567"/>
                      </a:lnTo>
                      <a:lnTo>
                        <a:pt x="311" y="569"/>
                      </a:lnTo>
                      <a:lnTo>
                        <a:pt x="309" y="569"/>
                      </a:lnTo>
                      <a:lnTo>
                        <a:pt x="307" y="569"/>
                      </a:lnTo>
                      <a:lnTo>
                        <a:pt x="305" y="569"/>
                      </a:lnTo>
                      <a:lnTo>
                        <a:pt x="305" y="570"/>
                      </a:lnTo>
                      <a:lnTo>
                        <a:pt x="304" y="570"/>
                      </a:lnTo>
                      <a:lnTo>
                        <a:pt x="302" y="570"/>
                      </a:lnTo>
                      <a:lnTo>
                        <a:pt x="302" y="572"/>
                      </a:lnTo>
                      <a:lnTo>
                        <a:pt x="300" y="572"/>
                      </a:lnTo>
                      <a:lnTo>
                        <a:pt x="300" y="574"/>
                      </a:lnTo>
                      <a:lnTo>
                        <a:pt x="300" y="575"/>
                      </a:lnTo>
                      <a:lnTo>
                        <a:pt x="299" y="574"/>
                      </a:lnTo>
                      <a:lnTo>
                        <a:pt x="299" y="575"/>
                      </a:lnTo>
                      <a:lnTo>
                        <a:pt x="300" y="575"/>
                      </a:lnTo>
                      <a:lnTo>
                        <a:pt x="300" y="577"/>
                      </a:lnTo>
                      <a:lnTo>
                        <a:pt x="299" y="577"/>
                      </a:lnTo>
                      <a:lnTo>
                        <a:pt x="297" y="577"/>
                      </a:lnTo>
                      <a:lnTo>
                        <a:pt x="295" y="577"/>
                      </a:lnTo>
                      <a:lnTo>
                        <a:pt x="295" y="579"/>
                      </a:lnTo>
                      <a:lnTo>
                        <a:pt x="294" y="579"/>
                      </a:lnTo>
                      <a:lnTo>
                        <a:pt x="294" y="577"/>
                      </a:lnTo>
                      <a:lnTo>
                        <a:pt x="292" y="575"/>
                      </a:lnTo>
                      <a:lnTo>
                        <a:pt x="290" y="575"/>
                      </a:lnTo>
                      <a:lnTo>
                        <a:pt x="289" y="574"/>
                      </a:lnTo>
                      <a:lnTo>
                        <a:pt x="287" y="574"/>
                      </a:lnTo>
                      <a:lnTo>
                        <a:pt x="285" y="574"/>
                      </a:lnTo>
                      <a:lnTo>
                        <a:pt x="283" y="574"/>
                      </a:lnTo>
                      <a:lnTo>
                        <a:pt x="283" y="572"/>
                      </a:lnTo>
                      <a:lnTo>
                        <a:pt x="282" y="572"/>
                      </a:lnTo>
                      <a:lnTo>
                        <a:pt x="280" y="572"/>
                      </a:lnTo>
                      <a:lnTo>
                        <a:pt x="280" y="570"/>
                      </a:lnTo>
                      <a:lnTo>
                        <a:pt x="280" y="572"/>
                      </a:lnTo>
                      <a:lnTo>
                        <a:pt x="278" y="572"/>
                      </a:lnTo>
                      <a:lnTo>
                        <a:pt x="278" y="570"/>
                      </a:lnTo>
                      <a:lnTo>
                        <a:pt x="277" y="570"/>
                      </a:lnTo>
                      <a:lnTo>
                        <a:pt x="277" y="572"/>
                      </a:lnTo>
                      <a:lnTo>
                        <a:pt x="275" y="572"/>
                      </a:lnTo>
                      <a:lnTo>
                        <a:pt x="275" y="570"/>
                      </a:lnTo>
                      <a:lnTo>
                        <a:pt x="277" y="570"/>
                      </a:lnTo>
                      <a:lnTo>
                        <a:pt x="275" y="569"/>
                      </a:lnTo>
                      <a:lnTo>
                        <a:pt x="273" y="569"/>
                      </a:lnTo>
                      <a:lnTo>
                        <a:pt x="272" y="569"/>
                      </a:lnTo>
                      <a:lnTo>
                        <a:pt x="272" y="567"/>
                      </a:lnTo>
                      <a:lnTo>
                        <a:pt x="270" y="567"/>
                      </a:lnTo>
                      <a:lnTo>
                        <a:pt x="268" y="567"/>
                      </a:lnTo>
                      <a:lnTo>
                        <a:pt x="267" y="567"/>
                      </a:lnTo>
                      <a:lnTo>
                        <a:pt x="265" y="567"/>
                      </a:lnTo>
                      <a:lnTo>
                        <a:pt x="265" y="565"/>
                      </a:lnTo>
                      <a:lnTo>
                        <a:pt x="263" y="565"/>
                      </a:lnTo>
                      <a:lnTo>
                        <a:pt x="262" y="565"/>
                      </a:lnTo>
                      <a:lnTo>
                        <a:pt x="262" y="564"/>
                      </a:lnTo>
                      <a:lnTo>
                        <a:pt x="260" y="564"/>
                      </a:lnTo>
                      <a:lnTo>
                        <a:pt x="262" y="564"/>
                      </a:lnTo>
                      <a:lnTo>
                        <a:pt x="262" y="562"/>
                      </a:lnTo>
                      <a:lnTo>
                        <a:pt x="260" y="562"/>
                      </a:lnTo>
                      <a:lnTo>
                        <a:pt x="262" y="562"/>
                      </a:lnTo>
                      <a:lnTo>
                        <a:pt x="260" y="562"/>
                      </a:lnTo>
                      <a:lnTo>
                        <a:pt x="262" y="560"/>
                      </a:lnTo>
                      <a:lnTo>
                        <a:pt x="262" y="562"/>
                      </a:lnTo>
                      <a:lnTo>
                        <a:pt x="262" y="560"/>
                      </a:lnTo>
                      <a:lnTo>
                        <a:pt x="262" y="559"/>
                      </a:lnTo>
                      <a:lnTo>
                        <a:pt x="260" y="559"/>
                      </a:lnTo>
                      <a:lnTo>
                        <a:pt x="260" y="557"/>
                      </a:lnTo>
                      <a:lnTo>
                        <a:pt x="262" y="556"/>
                      </a:lnTo>
                      <a:lnTo>
                        <a:pt x="260" y="556"/>
                      </a:lnTo>
                      <a:lnTo>
                        <a:pt x="262" y="554"/>
                      </a:lnTo>
                      <a:lnTo>
                        <a:pt x="262" y="552"/>
                      </a:lnTo>
                      <a:lnTo>
                        <a:pt x="262" y="551"/>
                      </a:lnTo>
                      <a:lnTo>
                        <a:pt x="263" y="549"/>
                      </a:lnTo>
                      <a:lnTo>
                        <a:pt x="265" y="544"/>
                      </a:lnTo>
                      <a:lnTo>
                        <a:pt x="267" y="539"/>
                      </a:lnTo>
                      <a:lnTo>
                        <a:pt x="268" y="537"/>
                      </a:lnTo>
                      <a:lnTo>
                        <a:pt x="268" y="536"/>
                      </a:lnTo>
                      <a:lnTo>
                        <a:pt x="270" y="536"/>
                      </a:lnTo>
                      <a:lnTo>
                        <a:pt x="270" y="534"/>
                      </a:lnTo>
                      <a:lnTo>
                        <a:pt x="268" y="534"/>
                      </a:lnTo>
                      <a:lnTo>
                        <a:pt x="268" y="536"/>
                      </a:lnTo>
                      <a:lnTo>
                        <a:pt x="268" y="534"/>
                      </a:lnTo>
                      <a:lnTo>
                        <a:pt x="267" y="534"/>
                      </a:lnTo>
                      <a:lnTo>
                        <a:pt x="267" y="533"/>
                      </a:lnTo>
                      <a:lnTo>
                        <a:pt x="265" y="533"/>
                      </a:lnTo>
                      <a:lnTo>
                        <a:pt x="263" y="533"/>
                      </a:lnTo>
                      <a:lnTo>
                        <a:pt x="263" y="534"/>
                      </a:lnTo>
                      <a:lnTo>
                        <a:pt x="263" y="533"/>
                      </a:lnTo>
                      <a:lnTo>
                        <a:pt x="262" y="533"/>
                      </a:lnTo>
                      <a:lnTo>
                        <a:pt x="260" y="533"/>
                      </a:lnTo>
                      <a:lnTo>
                        <a:pt x="260" y="531"/>
                      </a:lnTo>
                      <a:lnTo>
                        <a:pt x="258" y="531"/>
                      </a:lnTo>
                      <a:lnTo>
                        <a:pt x="258" y="533"/>
                      </a:lnTo>
                      <a:lnTo>
                        <a:pt x="256" y="533"/>
                      </a:lnTo>
                      <a:lnTo>
                        <a:pt x="256" y="531"/>
                      </a:lnTo>
                      <a:lnTo>
                        <a:pt x="256" y="533"/>
                      </a:lnTo>
                      <a:lnTo>
                        <a:pt x="255" y="531"/>
                      </a:lnTo>
                      <a:lnTo>
                        <a:pt x="255" y="533"/>
                      </a:lnTo>
                      <a:lnTo>
                        <a:pt x="255" y="531"/>
                      </a:lnTo>
                      <a:lnTo>
                        <a:pt x="253" y="531"/>
                      </a:lnTo>
                      <a:lnTo>
                        <a:pt x="253" y="529"/>
                      </a:lnTo>
                      <a:lnTo>
                        <a:pt x="251" y="529"/>
                      </a:lnTo>
                      <a:lnTo>
                        <a:pt x="250" y="529"/>
                      </a:lnTo>
                      <a:lnTo>
                        <a:pt x="250" y="528"/>
                      </a:lnTo>
                      <a:lnTo>
                        <a:pt x="248" y="529"/>
                      </a:lnTo>
                      <a:lnTo>
                        <a:pt x="246" y="529"/>
                      </a:lnTo>
                      <a:lnTo>
                        <a:pt x="246" y="531"/>
                      </a:lnTo>
                      <a:lnTo>
                        <a:pt x="246" y="529"/>
                      </a:lnTo>
                      <a:lnTo>
                        <a:pt x="245" y="529"/>
                      </a:lnTo>
                      <a:lnTo>
                        <a:pt x="245" y="531"/>
                      </a:lnTo>
                      <a:lnTo>
                        <a:pt x="245" y="529"/>
                      </a:lnTo>
                      <a:lnTo>
                        <a:pt x="245" y="531"/>
                      </a:lnTo>
                      <a:lnTo>
                        <a:pt x="243" y="531"/>
                      </a:lnTo>
                      <a:lnTo>
                        <a:pt x="243" y="529"/>
                      </a:lnTo>
                      <a:lnTo>
                        <a:pt x="245" y="529"/>
                      </a:lnTo>
                      <a:lnTo>
                        <a:pt x="243" y="529"/>
                      </a:lnTo>
                      <a:lnTo>
                        <a:pt x="243" y="531"/>
                      </a:lnTo>
                      <a:lnTo>
                        <a:pt x="241" y="529"/>
                      </a:lnTo>
                      <a:lnTo>
                        <a:pt x="243" y="529"/>
                      </a:lnTo>
                      <a:lnTo>
                        <a:pt x="241" y="529"/>
                      </a:lnTo>
                      <a:lnTo>
                        <a:pt x="243" y="529"/>
                      </a:lnTo>
                      <a:lnTo>
                        <a:pt x="241" y="529"/>
                      </a:lnTo>
                      <a:lnTo>
                        <a:pt x="240" y="529"/>
                      </a:lnTo>
                      <a:lnTo>
                        <a:pt x="240" y="528"/>
                      </a:lnTo>
                      <a:lnTo>
                        <a:pt x="238" y="528"/>
                      </a:lnTo>
                      <a:lnTo>
                        <a:pt x="238" y="529"/>
                      </a:lnTo>
                      <a:lnTo>
                        <a:pt x="236" y="529"/>
                      </a:lnTo>
                      <a:lnTo>
                        <a:pt x="236" y="528"/>
                      </a:lnTo>
                      <a:lnTo>
                        <a:pt x="235" y="528"/>
                      </a:lnTo>
                      <a:lnTo>
                        <a:pt x="235" y="529"/>
                      </a:lnTo>
                      <a:lnTo>
                        <a:pt x="233" y="529"/>
                      </a:lnTo>
                      <a:lnTo>
                        <a:pt x="233" y="528"/>
                      </a:lnTo>
                      <a:lnTo>
                        <a:pt x="231" y="528"/>
                      </a:lnTo>
                      <a:lnTo>
                        <a:pt x="229" y="528"/>
                      </a:lnTo>
                      <a:lnTo>
                        <a:pt x="229" y="526"/>
                      </a:lnTo>
                      <a:lnTo>
                        <a:pt x="228" y="526"/>
                      </a:lnTo>
                      <a:lnTo>
                        <a:pt x="229" y="526"/>
                      </a:lnTo>
                      <a:lnTo>
                        <a:pt x="228" y="526"/>
                      </a:lnTo>
                      <a:lnTo>
                        <a:pt x="226" y="526"/>
                      </a:lnTo>
                      <a:lnTo>
                        <a:pt x="226" y="528"/>
                      </a:lnTo>
                      <a:lnTo>
                        <a:pt x="224" y="528"/>
                      </a:lnTo>
                      <a:lnTo>
                        <a:pt x="224" y="526"/>
                      </a:lnTo>
                      <a:lnTo>
                        <a:pt x="223" y="526"/>
                      </a:lnTo>
                      <a:lnTo>
                        <a:pt x="223" y="528"/>
                      </a:lnTo>
                      <a:lnTo>
                        <a:pt x="223" y="526"/>
                      </a:lnTo>
                      <a:lnTo>
                        <a:pt x="223" y="528"/>
                      </a:lnTo>
                      <a:lnTo>
                        <a:pt x="221" y="528"/>
                      </a:lnTo>
                      <a:lnTo>
                        <a:pt x="219" y="526"/>
                      </a:lnTo>
                      <a:lnTo>
                        <a:pt x="218" y="528"/>
                      </a:lnTo>
                      <a:lnTo>
                        <a:pt x="216" y="528"/>
                      </a:lnTo>
                      <a:lnTo>
                        <a:pt x="216" y="529"/>
                      </a:lnTo>
                      <a:lnTo>
                        <a:pt x="214" y="529"/>
                      </a:lnTo>
                      <a:lnTo>
                        <a:pt x="213" y="529"/>
                      </a:lnTo>
                      <a:lnTo>
                        <a:pt x="214" y="529"/>
                      </a:lnTo>
                      <a:lnTo>
                        <a:pt x="213" y="529"/>
                      </a:lnTo>
                      <a:lnTo>
                        <a:pt x="211" y="529"/>
                      </a:lnTo>
                      <a:lnTo>
                        <a:pt x="209" y="531"/>
                      </a:lnTo>
                      <a:lnTo>
                        <a:pt x="207" y="533"/>
                      </a:lnTo>
                      <a:lnTo>
                        <a:pt x="206" y="533"/>
                      </a:lnTo>
                      <a:lnTo>
                        <a:pt x="204" y="533"/>
                      </a:lnTo>
                      <a:lnTo>
                        <a:pt x="204" y="534"/>
                      </a:lnTo>
                      <a:lnTo>
                        <a:pt x="202" y="534"/>
                      </a:lnTo>
                      <a:lnTo>
                        <a:pt x="201" y="534"/>
                      </a:lnTo>
                      <a:lnTo>
                        <a:pt x="199" y="534"/>
                      </a:lnTo>
                      <a:lnTo>
                        <a:pt x="197" y="534"/>
                      </a:lnTo>
                      <a:lnTo>
                        <a:pt x="197" y="536"/>
                      </a:lnTo>
                      <a:lnTo>
                        <a:pt x="196" y="534"/>
                      </a:lnTo>
                      <a:lnTo>
                        <a:pt x="196" y="536"/>
                      </a:lnTo>
                      <a:lnTo>
                        <a:pt x="194" y="536"/>
                      </a:lnTo>
                      <a:lnTo>
                        <a:pt x="194" y="537"/>
                      </a:lnTo>
                      <a:lnTo>
                        <a:pt x="192" y="537"/>
                      </a:lnTo>
                      <a:lnTo>
                        <a:pt x="191" y="537"/>
                      </a:lnTo>
                      <a:lnTo>
                        <a:pt x="191" y="539"/>
                      </a:lnTo>
                      <a:lnTo>
                        <a:pt x="189" y="539"/>
                      </a:lnTo>
                      <a:lnTo>
                        <a:pt x="191" y="539"/>
                      </a:lnTo>
                      <a:lnTo>
                        <a:pt x="189" y="539"/>
                      </a:lnTo>
                      <a:lnTo>
                        <a:pt x="189" y="541"/>
                      </a:lnTo>
                      <a:lnTo>
                        <a:pt x="189" y="539"/>
                      </a:lnTo>
                      <a:lnTo>
                        <a:pt x="189" y="541"/>
                      </a:lnTo>
                      <a:lnTo>
                        <a:pt x="187" y="541"/>
                      </a:lnTo>
                      <a:lnTo>
                        <a:pt x="186" y="541"/>
                      </a:lnTo>
                      <a:lnTo>
                        <a:pt x="187" y="542"/>
                      </a:lnTo>
                      <a:lnTo>
                        <a:pt x="186" y="542"/>
                      </a:lnTo>
                      <a:lnTo>
                        <a:pt x="184" y="542"/>
                      </a:lnTo>
                      <a:lnTo>
                        <a:pt x="184" y="544"/>
                      </a:lnTo>
                      <a:lnTo>
                        <a:pt x="182" y="544"/>
                      </a:lnTo>
                      <a:lnTo>
                        <a:pt x="182" y="546"/>
                      </a:lnTo>
                      <a:lnTo>
                        <a:pt x="182" y="544"/>
                      </a:lnTo>
                      <a:lnTo>
                        <a:pt x="180" y="546"/>
                      </a:lnTo>
                      <a:lnTo>
                        <a:pt x="179" y="546"/>
                      </a:lnTo>
                      <a:lnTo>
                        <a:pt x="179" y="547"/>
                      </a:lnTo>
                      <a:lnTo>
                        <a:pt x="177" y="547"/>
                      </a:lnTo>
                      <a:lnTo>
                        <a:pt x="175" y="547"/>
                      </a:lnTo>
                      <a:lnTo>
                        <a:pt x="175" y="549"/>
                      </a:lnTo>
                      <a:lnTo>
                        <a:pt x="174" y="549"/>
                      </a:lnTo>
                      <a:lnTo>
                        <a:pt x="172" y="549"/>
                      </a:lnTo>
                      <a:lnTo>
                        <a:pt x="172" y="551"/>
                      </a:lnTo>
                      <a:lnTo>
                        <a:pt x="170" y="551"/>
                      </a:lnTo>
                      <a:lnTo>
                        <a:pt x="170" y="552"/>
                      </a:lnTo>
                      <a:lnTo>
                        <a:pt x="170" y="554"/>
                      </a:lnTo>
                      <a:lnTo>
                        <a:pt x="170" y="552"/>
                      </a:lnTo>
                      <a:lnTo>
                        <a:pt x="170" y="554"/>
                      </a:lnTo>
                      <a:lnTo>
                        <a:pt x="169" y="554"/>
                      </a:lnTo>
                      <a:lnTo>
                        <a:pt x="169" y="556"/>
                      </a:lnTo>
                      <a:lnTo>
                        <a:pt x="167" y="557"/>
                      </a:lnTo>
                      <a:lnTo>
                        <a:pt x="169" y="557"/>
                      </a:lnTo>
                      <a:lnTo>
                        <a:pt x="169" y="556"/>
                      </a:lnTo>
                      <a:lnTo>
                        <a:pt x="169" y="557"/>
                      </a:lnTo>
                      <a:lnTo>
                        <a:pt x="167" y="557"/>
                      </a:lnTo>
                      <a:lnTo>
                        <a:pt x="167" y="559"/>
                      </a:lnTo>
                      <a:lnTo>
                        <a:pt x="165" y="559"/>
                      </a:lnTo>
                      <a:lnTo>
                        <a:pt x="167" y="559"/>
                      </a:lnTo>
                      <a:lnTo>
                        <a:pt x="165" y="559"/>
                      </a:lnTo>
                      <a:lnTo>
                        <a:pt x="164" y="560"/>
                      </a:lnTo>
                      <a:lnTo>
                        <a:pt x="164" y="559"/>
                      </a:lnTo>
                      <a:lnTo>
                        <a:pt x="164" y="560"/>
                      </a:lnTo>
                      <a:lnTo>
                        <a:pt x="162" y="560"/>
                      </a:lnTo>
                      <a:lnTo>
                        <a:pt x="160" y="562"/>
                      </a:lnTo>
                      <a:lnTo>
                        <a:pt x="159" y="562"/>
                      </a:lnTo>
                      <a:lnTo>
                        <a:pt x="157" y="562"/>
                      </a:lnTo>
                      <a:lnTo>
                        <a:pt x="157" y="564"/>
                      </a:lnTo>
                      <a:lnTo>
                        <a:pt x="155" y="564"/>
                      </a:lnTo>
                      <a:lnTo>
                        <a:pt x="157" y="564"/>
                      </a:lnTo>
                      <a:lnTo>
                        <a:pt x="155" y="565"/>
                      </a:lnTo>
                      <a:lnTo>
                        <a:pt x="153" y="565"/>
                      </a:lnTo>
                      <a:lnTo>
                        <a:pt x="152" y="567"/>
                      </a:lnTo>
                      <a:lnTo>
                        <a:pt x="150" y="567"/>
                      </a:lnTo>
                      <a:lnTo>
                        <a:pt x="150" y="569"/>
                      </a:lnTo>
                      <a:lnTo>
                        <a:pt x="150" y="567"/>
                      </a:lnTo>
                      <a:lnTo>
                        <a:pt x="150" y="569"/>
                      </a:lnTo>
                      <a:lnTo>
                        <a:pt x="148" y="569"/>
                      </a:lnTo>
                      <a:lnTo>
                        <a:pt x="148" y="570"/>
                      </a:lnTo>
                      <a:lnTo>
                        <a:pt x="148" y="572"/>
                      </a:lnTo>
                      <a:lnTo>
                        <a:pt x="147" y="572"/>
                      </a:lnTo>
                      <a:lnTo>
                        <a:pt x="147" y="574"/>
                      </a:lnTo>
                      <a:lnTo>
                        <a:pt x="145" y="574"/>
                      </a:lnTo>
                      <a:lnTo>
                        <a:pt x="143" y="574"/>
                      </a:lnTo>
                      <a:lnTo>
                        <a:pt x="142" y="574"/>
                      </a:lnTo>
                      <a:lnTo>
                        <a:pt x="142" y="572"/>
                      </a:lnTo>
                      <a:lnTo>
                        <a:pt x="142" y="574"/>
                      </a:lnTo>
                      <a:lnTo>
                        <a:pt x="142" y="572"/>
                      </a:lnTo>
                      <a:lnTo>
                        <a:pt x="140" y="572"/>
                      </a:lnTo>
                      <a:lnTo>
                        <a:pt x="138" y="572"/>
                      </a:lnTo>
                      <a:lnTo>
                        <a:pt x="137" y="572"/>
                      </a:lnTo>
                      <a:lnTo>
                        <a:pt x="137" y="574"/>
                      </a:lnTo>
                      <a:lnTo>
                        <a:pt x="135" y="572"/>
                      </a:lnTo>
                      <a:lnTo>
                        <a:pt x="135" y="574"/>
                      </a:lnTo>
                      <a:lnTo>
                        <a:pt x="135" y="572"/>
                      </a:lnTo>
                      <a:lnTo>
                        <a:pt x="135" y="574"/>
                      </a:lnTo>
                      <a:lnTo>
                        <a:pt x="133" y="574"/>
                      </a:lnTo>
                      <a:lnTo>
                        <a:pt x="133" y="575"/>
                      </a:lnTo>
                      <a:lnTo>
                        <a:pt x="131" y="575"/>
                      </a:lnTo>
                      <a:lnTo>
                        <a:pt x="131" y="577"/>
                      </a:lnTo>
                      <a:lnTo>
                        <a:pt x="130" y="577"/>
                      </a:lnTo>
                      <a:lnTo>
                        <a:pt x="130" y="579"/>
                      </a:lnTo>
                      <a:lnTo>
                        <a:pt x="128" y="577"/>
                      </a:lnTo>
                      <a:lnTo>
                        <a:pt x="128" y="579"/>
                      </a:lnTo>
                      <a:lnTo>
                        <a:pt x="126" y="579"/>
                      </a:lnTo>
                      <a:lnTo>
                        <a:pt x="126" y="580"/>
                      </a:lnTo>
                      <a:lnTo>
                        <a:pt x="128" y="580"/>
                      </a:lnTo>
                      <a:lnTo>
                        <a:pt x="126" y="580"/>
                      </a:lnTo>
                      <a:lnTo>
                        <a:pt x="125" y="580"/>
                      </a:lnTo>
                      <a:lnTo>
                        <a:pt x="125" y="582"/>
                      </a:lnTo>
                      <a:lnTo>
                        <a:pt x="125" y="580"/>
                      </a:lnTo>
                      <a:lnTo>
                        <a:pt x="125" y="582"/>
                      </a:lnTo>
                      <a:lnTo>
                        <a:pt x="123" y="582"/>
                      </a:lnTo>
                      <a:lnTo>
                        <a:pt x="123" y="583"/>
                      </a:lnTo>
                      <a:lnTo>
                        <a:pt x="121" y="583"/>
                      </a:lnTo>
                      <a:lnTo>
                        <a:pt x="121" y="585"/>
                      </a:lnTo>
                      <a:lnTo>
                        <a:pt x="120" y="585"/>
                      </a:lnTo>
                      <a:lnTo>
                        <a:pt x="120" y="583"/>
                      </a:lnTo>
                      <a:lnTo>
                        <a:pt x="120" y="585"/>
                      </a:lnTo>
                      <a:lnTo>
                        <a:pt x="120" y="587"/>
                      </a:lnTo>
                      <a:lnTo>
                        <a:pt x="118" y="587"/>
                      </a:lnTo>
                      <a:lnTo>
                        <a:pt x="116" y="588"/>
                      </a:lnTo>
                      <a:lnTo>
                        <a:pt x="115" y="588"/>
                      </a:lnTo>
                      <a:lnTo>
                        <a:pt x="115" y="590"/>
                      </a:lnTo>
                      <a:lnTo>
                        <a:pt x="115" y="588"/>
                      </a:lnTo>
                      <a:lnTo>
                        <a:pt x="113" y="588"/>
                      </a:lnTo>
                      <a:lnTo>
                        <a:pt x="113" y="590"/>
                      </a:lnTo>
                      <a:lnTo>
                        <a:pt x="111" y="590"/>
                      </a:lnTo>
                      <a:lnTo>
                        <a:pt x="111" y="592"/>
                      </a:lnTo>
                      <a:lnTo>
                        <a:pt x="110" y="592"/>
                      </a:lnTo>
                      <a:lnTo>
                        <a:pt x="108" y="592"/>
                      </a:lnTo>
                      <a:lnTo>
                        <a:pt x="106" y="592"/>
                      </a:lnTo>
                      <a:lnTo>
                        <a:pt x="104" y="592"/>
                      </a:lnTo>
                      <a:lnTo>
                        <a:pt x="104" y="590"/>
                      </a:lnTo>
                      <a:lnTo>
                        <a:pt x="103" y="590"/>
                      </a:lnTo>
                      <a:lnTo>
                        <a:pt x="103" y="592"/>
                      </a:lnTo>
                      <a:lnTo>
                        <a:pt x="101" y="590"/>
                      </a:lnTo>
                      <a:lnTo>
                        <a:pt x="101" y="592"/>
                      </a:lnTo>
                      <a:lnTo>
                        <a:pt x="99" y="593"/>
                      </a:lnTo>
                      <a:lnTo>
                        <a:pt x="98" y="593"/>
                      </a:lnTo>
                      <a:lnTo>
                        <a:pt x="98" y="595"/>
                      </a:lnTo>
                      <a:lnTo>
                        <a:pt x="98" y="597"/>
                      </a:lnTo>
                      <a:lnTo>
                        <a:pt x="98" y="595"/>
                      </a:lnTo>
                      <a:lnTo>
                        <a:pt x="96" y="595"/>
                      </a:lnTo>
                      <a:lnTo>
                        <a:pt x="96" y="597"/>
                      </a:lnTo>
                      <a:lnTo>
                        <a:pt x="96" y="595"/>
                      </a:lnTo>
                      <a:lnTo>
                        <a:pt x="96" y="597"/>
                      </a:lnTo>
                      <a:lnTo>
                        <a:pt x="96" y="598"/>
                      </a:lnTo>
                      <a:lnTo>
                        <a:pt x="94" y="598"/>
                      </a:lnTo>
                      <a:lnTo>
                        <a:pt x="93" y="598"/>
                      </a:lnTo>
                      <a:lnTo>
                        <a:pt x="93" y="600"/>
                      </a:lnTo>
                      <a:lnTo>
                        <a:pt x="93" y="598"/>
                      </a:lnTo>
                      <a:lnTo>
                        <a:pt x="93" y="600"/>
                      </a:lnTo>
                      <a:lnTo>
                        <a:pt x="91" y="600"/>
                      </a:lnTo>
                      <a:lnTo>
                        <a:pt x="93" y="600"/>
                      </a:lnTo>
                      <a:lnTo>
                        <a:pt x="93" y="601"/>
                      </a:lnTo>
                      <a:lnTo>
                        <a:pt x="91" y="601"/>
                      </a:lnTo>
                      <a:lnTo>
                        <a:pt x="91" y="603"/>
                      </a:lnTo>
                      <a:lnTo>
                        <a:pt x="89" y="603"/>
                      </a:lnTo>
                      <a:lnTo>
                        <a:pt x="89" y="605"/>
                      </a:lnTo>
                      <a:lnTo>
                        <a:pt x="89" y="603"/>
                      </a:lnTo>
                      <a:lnTo>
                        <a:pt x="88" y="605"/>
                      </a:lnTo>
                      <a:lnTo>
                        <a:pt x="89" y="605"/>
                      </a:lnTo>
                      <a:lnTo>
                        <a:pt x="88" y="605"/>
                      </a:lnTo>
                      <a:lnTo>
                        <a:pt x="86" y="605"/>
                      </a:lnTo>
                      <a:lnTo>
                        <a:pt x="86" y="606"/>
                      </a:lnTo>
                      <a:lnTo>
                        <a:pt x="84" y="606"/>
                      </a:lnTo>
                      <a:lnTo>
                        <a:pt x="83" y="606"/>
                      </a:lnTo>
                      <a:lnTo>
                        <a:pt x="83" y="608"/>
                      </a:lnTo>
                      <a:lnTo>
                        <a:pt x="83" y="606"/>
                      </a:lnTo>
                      <a:lnTo>
                        <a:pt x="81" y="606"/>
                      </a:lnTo>
                      <a:lnTo>
                        <a:pt x="79" y="606"/>
                      </a:lnTo>
                      <a:lnTo>
                        <a:pt x="77" y="606"/>
                      </a:lnTo>
                      <a:lnTo>
                        <a:pt x="76" y="606"/>
                      </a:lnTo>
                      <a:lnTo>
                        <a:pt x="76" y="608"/>
                      </a:lnTo>
                      <a:lnTo>
                        <a:pt x="74" y="608"/>
                      </a:lnTo>
                      <a:lnTo>
                        <a:pt x="74" y="610"/>
                      </a:lnTo>
                      <a:lnTo>
                        <a:pt x="72" y="610"/>
                      </a:lnTo>
                      <a:lnTo>
                        <a:pt x="72" y="611"/>
                      </a:lnTo>
                      <a:lnTo>
                        <a:pt x="71" y="610"/>
                      </a:lnTo>
                      <a:lnTo>
                        <a:pt x="69" y="610"/>
                      </a:lnTo>
                      <a:lnTo>
                        <a:pt x="67" y="608"/>
                      </a:lnTo>
                      <a:lnTo>
                        <a:pt x="66" y="608"/>
                      </a:lnTo>
                      <a:lnTo>
                        <a:pt x="64" y="608"/>
                      </a:lnTo>
                      <a:lnTo>
                        <a:pt x="64" y="610"/>
                      </a:lnTo>
                      <a:lnTo>
                        <a:pt x="62" y="610"/>
                      </a:lnTo>
                      <a:lnTo>
                        <a:pt x="62" y="611"/>
                      </a:lnTo>
                      <a:lnTo>
                        <a:pt x="62" y="613"/>
                      </a:lnTo>
                      <a:lnTo>
                        <a:pt x="61" y="613"/>
                      </a:lnTo>
                      <a:lnTo>
                        <a:pt x="61" y="615"/>
                      </a:lnTo>
                      <a:lnTo>
                        <a:pt x="59" y="615"/>
                      </a:lnTo>
                      <a:lnTo>
                        <a:pt x="57" y="615"/>
                      </a:lnTo>
                      <a:lnTo>
                        <a:pt x="57" y="616"/>
                      </a:lnTo>
                      <a:lnTo>
                        <a:pt x="55" y="616"/>
                      </a:lnTo>
                      <a:lnTo>
                        <a:pt x="55" y="618"/>
                      </a:lnTo>
                      <a:lnTo>
                        <a:pt x="54" y="618"/>
                      </a:lnTo>
                      <a:lnTo>
                        <a:pt x="55" y="620"/>
                      </a:lnTo>
                      <a:lnTo>
                        <a:pt x="54" y="620"/>
                      </a:lnTo>
                      <a:lnTo>
                        <a:pt x="52" y="621"/>
                      </a:lnTo>
                      <a:lnTo>
                        <a:pt x="52" y="620"/>
                      </a:lnTo>
                      <a:lnTo>
                        <a:pt x="52" y="618"/>
                      </a:lnTo>
                      <a:lnTo>
                        <a:pt x="50" y="620"/>
                      </a:lnTo>
                      <a:lnTo>
                        <a:pt x="50" y="618"/>
                      </a:lnTo>
                      <a:lnTo>
                        <a:pt x="50" y="616"/>
                      </a:lnTo>
                      <a:lnTo>
                        <a:pt x="49" y="615"/>
                      </a:lnTo>
                      <a:lnTo>
                        <a:pt x="49" y="613"/>
                      </a:lnTo>
                      <a:lnTo>
                        <a:pt x="50" y="615"/>
                      </a:lnTo>
                      <a:lnTo>
                        <a:pt x="50" y="613"/>
                      </a:lnTo>
                      <a:lnTo>
                        <a:pt x="52" y="613"/>
                      </a:lnTo>
                      <a:lnTo>
                        <a:pt x="54" y="613"/>
                      </a:lnTo>
                      <a:lnTo>
                        <a:pt x="54" y="611"/>
                      </a:lnTo>
                      <a:lnTo>
                        <a:pt x="55" y="611"/>
                      </a:lnTo>
                      <a:lnTo>
                        <a:pt x="55" y="610"/>
                      </a:lnTo>
                      <a:lnTo>
                        <a:pt x="55" y="608"/>
                      </a:lnTo>
                      <a:lnTo>
                        <a:pt x="55" y="606"/>
                      </a:lnTo>
                      <a:lnTo>
                        <a:pt x="57" y="606"/>
                      </a:lnTo>
                      <a:lnTo>
                        <a:pt x="57" y="605"/>
                      </a:lnTo>
                      <a:lnTo>
                        <a:pt x="57" y="603"/>
                      </a:lnTo>
                      <a:lnTo>
                        <a:pt x="59" y="603"/>
                      </a:lnTo>
                      <a:lnTo>
                        <a:pt x="61" y="601"/>
                      </a:lnTo>
                      <a:lnTo>
                        <a:pt x="61" y="600"/>
                      </a:lnTo>
                      <a:lnTo>
                        <a:pt x="62" y="600"/>
                      </a:lnTo>
                      <a:lnTo>
                        <a:pt x="62" y="598"/>
                      </a:lnTo>
                      <a:lnTo>
                        <a:pt x="62" y="597"/>
                      </a:lnTo>
                      <a:lnTo>
                        <a:pt x="62" y="595"/>
                      </a:lnTo>
                      <a:lnTo>
                        <a:pt x="62" y="593"/>
                      </a:lnTo>
                      <a:lnTo>
                        <a:pt x="62" y="592"/>
                      </a:lnTo>
                      <a:lnTo>
                        <a:pt x="61" y="590"/>
                      </a:lnTo>
                      <a:lnTo>
                        <a:pt x="59" y="590"/>
                      </a:lnTo>
                      <a:lnTo>
                        <a:pt x="59" y="588"/>
                      </a:lnTo>
                      <a:lnTo>
                        <a:pt x="59" y="587"/>
                      </a:lnTo>
                      <a:lnTo>
                        <a:pt x="57" y="585"/>
                      </a:lnTo>
                      <a:lnTo>
                        <a:pt x="55" y="585"/>
                      </a:lnTo>
                      <a:lnTo>
                        <a:pt x="55" y="583"/>
                      </a:lnTo>
                      <a:lnTo>
                        <a:pt x="57" y="583"/>
                      </a:lnTo>
                      <a:lnTo>
                        <a:pt x="55" y="582"/>
                      </a:lnTo>
                      <a:lnTo>
                        <a:pt x="55" y="580"/>
                      </a:lnTo>
                      <a:lnTo>
                        <a:pt x="54" y="580"/>
                      </a:lnTo>
                      <a:lnTo>
                        <a:pt x="55" y="580"/>
                      </a:lnTo>
                      <a:lnTo>
                        <a:pt x="57" y="580"/>
                      </a:lnTo>
                      <a:lnTo>
                        <a:pt x="57" y="579"/>
                      </a:lnTo>
                      <a:lnTo>
                        <a:pt x="59" y="577"/>
                      </a:lnTo>
                      <a:lnTo>
                        <a:pt x="59" y="575"/>
                      </a:lnTo>
                      <a:lnTo>
                        <a:pt x="59" y="574"/>
                      </a:lnTo>
                      <a:lnTo>
                        <a:pt x="59" y="572"/>
                      </a:lnTo>
                      <a:lnTo>
                        <a:pt x="59" y="570"/>
                      </a:lnTo>
                      <a:lnTo>
                        <a:pt x="59" y="569"/>
                      </a:lnTo>
                      <a:lnTo>
                        <a:pt x="57" y="567"/>
                      </a:lnTo>
                      <a:lnTo>
                        <a:pt x="57" y="565"/>
                      </a:lnTo>
                      <a:lnTo>
                        <a:pt x="59" y="565"/>
                      </a:lnTo>
                      <a:lnTo>
                        <a:pt x="59" y="564"/>
                      </a:lnTo>
                      <a:lnTo>
                        <a:pt x="59" y="565"/>
                      </a:lnTo>
                      <a:lnTo>
                        <a:pt x="61" y="565"/>
                      </a:lnTo>
                      <a:lnTo>
                        <a:pt x="61" y="564"/>
                      </a:lnTo>
                      <a:lnTo>
                        <a:pt x="61" y="562"/>
                      </a:lnTo>
                      <a:lnTo>
                        <a:pt x="61" y="560"/>
                      </a:lnTo>
                      <a:lnTo>
                        <a:pt x="59" y="560"/>
                      </a:lnTo>
                      <a:lnTo>
                        <a:pt x="59" y="559"/>
                      </a:lnTo>
                      <a:lnTo>
                        <a:pt x="61" y="559"/>
                      </a:lnTo>
                      <a:lnTo>
                        <a:pt x="61" y="557"/>
                      </a:lnTo>
                      <a:lnTo>
                        <a:pt x="61" y="556"/>
                      </a:lnTo>
                      <a:lnTo>
                        <a:pt x="61" y="554"/>
                      </a:lnTo>
                      <a:lnTo>
                        <a:pt x="62" y="554"/>
                      </a:lnTo>
                      <a:lnTo>
                        <a:pt x="61" y="552"/>
                      </a:lnTo>
                      <a:lnTo>
                        <a:pt x="59" y="552"/>
                      </a:lnTo>
                      <a:lnTo>
                        <a:pt x="59" y="551"/>
                      </a:lnTo>
                      <a:lnTo>
                        <a:pt x="61" y="551"/>
                      </a:lnTo>
                      <a:lnTo>
                        <a:pt x="61" y="549"/>
                      </a:lnTo>
                      <a:lnTo>
                        <a:pt x="59" y="549"/>
                      </a:lnTo>
                      <a:lnTo>
                        <a:pt x="59" y="547"/>
                      </a:lnTo>
                      <a:lnTo>
                        <a:pt x="57" y="547"/>
                      </a:lnTo>
                      <a:lnTo>
                        <a:pt x="59" y="546"/>
                      </a:lnTo>
                      <a:lnTo>
                        <a:pt x="59" y="544"/>
                      </a:lnTo>
                      <a:lnTo>
                        <a:pt x="59" y="542"/>
                      </a:lnTo>
                      <a:lnTo>
                        <a:pt x="57" y="542"/>
                      </a:lnTo>
                      <a:lnTo>
                        <a:pt x="59" y="542"/>
                      </a:lnTo>
                      <a:lnTo>
                        <a:pt x="59" y="541"/>
                      </a:lnTo>
                      <a:lnTo>
                        <a:pt x="59" y="542"/>
                      </a:lnTo>
                      <a:lnTo>
                        <a:pt x="59" y="544"/>
                      </a:lnTo>
                      <a:lnTo>
                        <a:pt x="61" y="544"/>
                      </a:lnTo>
                      <a:lnTo>
                        <a:pt x="62" y="544"/>
                      </a:lnTo>
                      <a:lnTo>
                        <a:pt x="64" y="544"/>
                      </a:lnTo>
                      <a:lnTo>
                        <a:pt x="64" y="542"/>
                      </a:lnTo>
                      <a:lnTo>
                        <a:pt x="66" y="542"/>
                      </a:lnTo>
                      <a:lnTo>
                        <a:pt x="67" y="541"/>
                      </a:lnTo>
                      <a:lnTo>
                        <a:pt x="67" y="539"/>
                      </a:lnTo>
                      <a:lnTo>
                        <a:pt x="67" y="537"/>
                      </a:lnTo>
                      <a:lnTo>
                        <a:pt x="69" y="537"/>
                      </a:lnTo>
                      <a:lnTo>
                        <a:pt x="69" y="536"/>
                      </a:lnTo>
                      <a:lnTo>
                        <a:pt x="67" y="536"/>
                      </a:lnTo>
                      <a:lnTo>
                        <a:pt x="66" y="536"/>
                      </a:lnTo>
                      <a:lnTo>
                        <a:pt x="64" y="536"/>
                      </a:lnTo>
                      <a:lnTo>
                        <a:pt x="64" y="534"/>
                      </a:lnTo>
                      <a:lnTo>
                        <a:pt x="64" y="533"/>
                      </a:lnTo>
                      <a:lnTo>
                        <a:pt x="64" y="531"/>
                      </a:lnTo>
                      <a:lnTo>
                        <a:pt x="62" y="531"/>
                      </a:lnTo>
                      <a:lnTo>
                        <a:pt x="62" y="529"/>
                      </a:lnTo>
                      <a:lnTo>
                        <a:pt x="61" y="529"/>
                      </a:lnTo>
                      <a:lnTo>
                        <a:pt x="61" y="528"/>
                      </a:lnTo>
                      <a:lnTo>
                        <a:pt x="59" y="528"/>
                      </a:lnTo>
                      <a:lnTo>
                        <a:pt x="57" y="528"/>
                      </a:lnTo>
                      <a:lnTo>
                        <a:pt x="57" y="526"/>
                      </a:lnTo>
                      <a:lnTo>
                        <a:pt x="55" y="526"/>
                      </a:lnTo>
                      <a:lnTo>
                        <a:pt x="54" y="526"/>
                      </a:lnTo>
                      <a:lnTo>
                        <a:pt x="54" y="524"/>
                      </a:lnTo>
                      <a:lnTo>
                        <a:pt x="54" y="523"/>
                      </a:lnTo>
                      <a:lnTo>
                        <a:pt x="54" y="521"/>
                      </a:lnTo>
                      <a:lnTo>
                        <a:pt x="52" y="523"/>
                      </a:lnTo>
                      <a:lnTo>
                        <a:pt x="50" y="523"/>
                      </a:lnTo>
                      <a:lnTo>
                        <a:pt x="50" y="521"/>
                      </a:lnTo>
                      <a:lnTo>
                        <a:pt x="49" y="521"/>
                      </a:lnTo>
                      <a:lnTo>
                        <a:pt x="49" y="519"/>
                      </a:lnTo>
                      <a:lnTo>
                        <a:pt x="47" y="518"/>
                      </a:lnTo>
                      <a:lnTo>
                        <a:pt x="45" y="518"/>
                      </a:lnTo>
                      <a:lnTo>
                        <a:pt x="45" y="519"/>
                      </a:lnTo>
                      <a:lnTo>
                        <a:pt x="42" y="518"/>
                      </a:lnTo>
                      <a:lnTo>
                        <a:pt x="40" y="518"/>
                      </a:lnTo>
                      <a:lnTo>
                        <a:pt x="40" y="516"/>
                      </a:lnTo>
                      <a:lnTo>
                        <a:pt x="40" y="514"/>
                      </a:lnTo>
                      <a:lnTo>
                        <a:pt x="39" y="514"/>
                      </a:lnTo>
                      <a:lnTo>
                        <a:pt x="37" y="514"/>
                      </a:lnTo>
                      <a:lnTo>
                        <a:pt x="35" y="513"/>
                      </a:lnTo>
                      <a:lnTo>
                        <a:pt x="34" y="513"/>
                      </a:lnTo>
                      <a:lnTo>
                        <a:pt x="35" y="513"/>
                      </a:lnTo>
                      <a:lnTo>
                        <a:pt x="35" y="511"/>
                      </a:lnTo>
                      <a:lnTo>
                        <a:pt x="35" y="513"/>
                      </a:lnTo>
                      <a:lnTo>
                        <a:pt x="37" y="513"/>
                      </a:lnTo>
                      <a:lnTo>
                        <a:pt x="37" y="511"/>
                      </a:lnTo>
                      <a:lnTo>
                        <a:pt x="39" y="511"/>
                      </a:lnTo>
                      <a:lnTo>
                        <a:pt x="39" y="510"/>
                      </a:lnTo>
                      <a:lnTo>
                        <a:pt x="37" y="510"/>
                      </a:lnTo>
                      <a:lnTo>
                        <a:pt x="35" y="510"/>
                      </a:lnTo>
                      <a:lnTo>
                        <a:pt x="37" y="508"/>
                      </a:lnTo>
                      <a:lnTo>
                        <a:pt x="39" y="508"/>
                      </a:lnTo>
                      <a:lnTo>
                        <a:pt x="39" y="506"/>
                      </a:lnTo>
                      <a:lnTo>
                        <a:pt x="40" y="506"/>
                      </a:lnTo>
                      <a:lnTo>
                        <a:pt x="40" y="505"/>
                      </a:lnTo>
                      <a:lnTo>
                        <a:pt x="39" y="505"/>
                      </a:lnTo>
                      <a:lnTo>
                        <a:pt x="39" y="503"/>
                      </a:lnTo>
                      <a:lnTo>
                        <a:pt x="39" y="501"/>
                      </a:lnTo>
                      <a:lnTo>
                        <a:pt x="37" y="501"/>
                      </a:lnTo>
                      <a:lnTo>
                        <a:pt x="35" y="500"/>
                      </a:lnTo>
                      <a:lnTo>
                        <a:pt x="34" y="500"/>
                      </a:lnTo>
                      <a:lnTo>
                        <a:pt x="34" y="498"/>
                      </a:lnTo>
                      <a:lnTo>
                        <a:pt x="35" y="498"/>
                      </a:lnTo>
                      <a:lnTo>
                        <a:pt x="35" y="495"/>
                      </a:lnTo>
                      <a:lnTo>
                        <a:pt x="35" y="493"/>
                      </a:lnTo>
                      <a:lnTo>
                        <a:pt x="37" y="491"/>
                      </a:lnTo>
                      <a:lnTo>
                        <a:pt x="37" y="490"/>
                      </a:lnTo>
                      <a:lnTo>
                        <a:pt x="37" y="488"/>
                      </a:lnTo>
                      <a:lnTo>
                        <a:pt x="35" y="488"/>
                      </a:lnTo>
                      <a:lnTo>
                        <a:pt x="34" y="488"/>
                      </a:lnTo>
                      <a:lnTo>
                        <a:pt x="34" y="487"/>
                      </a:lnTo>
                      <a:lnTo>
                        <a:pt x="35" y="487"/>
                      </a:lnTo>
                      <a:lnTo>
                        <a:pt x="34" y="485"/>
                      </a:lnTo>
                      <a:lnTo>
                        <a:pt x="35" y="483"/>
                      </a:lnTo>
                      <a:lnTo>
                        <a:pt x="37" y="483"/>
                      </a:lnTo>
                      <a:lnTo>
                        <a:pt x="39" y="483"/>
                      </a:lnTo>
                      <a:lnTo>
                        <a:pt x="39" y="482"/>
                      </a:lnTo>
                      <a:lnTo>
                        <a:pt x="37" y="482"/>
                      </a:lnTo>
                      <a:lnTo>
                        <a:pt x="37" y="480"/>
                      </a:lnTo>
                      <a:lnTo>
                        <a:pt x="35" y="480"/>
                      </a:lnTo>
                      <a:lnTo>
                        <a:pt x="34" y="480"/>
                      </a:lnTo>
                      <a:lnTo>
                        <a:pt x="35" y="480"/>
                      </a:lnTo>
                      <a:lnTo>
                        <a:pt x="35" y="478"/>
                      </a:lnTo>
                      <a:lnTo>
                        <a:pt x="37" y="478"/>
                      </a:lnTo>
                      <a:lnTo>
                        <a:pt x="37" y="477"/>
                      </a:lnTo>
                      <a:lnTo>
                        <a:pt x="35" y="475"/>
                      </a:lnTo>
                      <a:lnTo>
                        <a:pt x="35" y="473"/>
                      </a:lnTo>
                      <a:lnTo>
                        <a:pt x="37" y="473"/>
                      </a:lnTo>
                      <a:lnTo>
                        <a:pt x="37" y="472"/>
                      </a:lnTo>
                      <a:lnTo>
                        <a:pt x="39" y="472"/>
                      </a:lnTo>
                      <a:lnTo>
                        <a:pt x="39" y="470"/>
                      </a:lnTo>
                      <a:lnTo>
                        <a:pt x="40" y="468"/>
                      </a:lnTo>
                      <a:lnTo>
                        <a:pt x="42" y="468"/>
                      </a:lnTo>
                      <a:lnTo>
                        <a:pt x="44" y="467"/>
                      </a:lnTo>
                      <a:lnTo>
                        <a:pt x="44" y="465"/>
                      </a:lnTo>
                      <a:lnTo>
                        <a:pt x="42" y="464"/>
                      </a:lnTo>
                      <a:lnTo>
                        <a:pt x="40" y="464"/>
                      </a:lnTo>
                      <a:lnTo>
                        <a:pt x="39" y="465"/>
                      </a:lnTo>
                      <a:lnTo>
                        <a:pt x="39" y="464"/>
                      </a:lnTo>
                      <a:lnTo>
                        <a:pt x="37" y="464"/>
                      </a:lnTo>
                      <a:lnTo>
                        <a:pt x="37" y="462"/>
                      </a:lnTo>
                      <a:lnTo>
                        <a:pt x="37" y="460"/>
                      </a:lnTo>
                      <a:lnTo>
                        <a:pt x="39" y="459"/>
                      </a:lnTo>
                      <a:lnTo>
                        <a:pt x="39" y="457"/>
                      </a:lnTo>
                      <a:lnTo>
                        <a:pt x="37" y="455"/>
                      </a:lnTo>
                      <a:lnTo>
                        <a:pt x="39" y="455"/>
                      </a:lnTo>
                      <a:lnTo>
                        <a:pt x="40" y="455"/>
                      </a:lnTo>
                      <a:lnTo>
                        <a:pt x="40" y="454"/>
                      </a:lnTo>
                      <a:lnTo>
                        <a:pt x="39" y="454"/>
                      </a:lnTo>
                      <a:lnTo>
                        <a:pt x="39" y="452"/>
                      </a:lnTo>
                      <a:lnTo>
                        <a:pt x="37" y="452"/>
                      </a:lnTo>
                      <a:lnTo>
                        <a:pt x="37" y="450"/>
                      </a:lnTo>
                      <a:lnTo>
                        <a:pt x="39" y="450"/>
                      </a:lnTo>
                      <a:lnTo>
                        <a:pt x="39" y="449"/>
                      </a:lnTo>
                      <a:lnTo>
                        <a:pt x="40" y="449"/>
                      </a:lnTo>
                      <a:lnTo>
                        <a:pt x="42" y="447"/>
                      </a:lnTo>
                      <a:lnTo>
                        <a:pt x="44" y="447"/>
                      </a:lnTo>
                      <a:lnTo>
                        <a:pt x="45" y="447"/>
                      </a:lnTo>
                      <a:lnTo>
                        <a:pt x="47" y="447"/>
                      </a:lnTo>
                      <a:lnTo>
                        <a:pt x="47" y="445"/>
                      </a:lnTo>
                      <a:lnTo>
                        <a:pt x="49" y="445"/>
                      </a:lnTo>
                      <a:lnTo>
                        <a:pt x="50" y="444"/>
                      </a:lnTo>
                      <a:lnTo>
                        <a:pt x="50" y="442"/>
                      </a:lnTo>
                      <a:lnTo>
                        <a:pt x="52" y="442"/>
                      </a:lnTo>
                      <a:lnTo>
                        <a:pt x="54" y="441"/>
                      </a:lnTo>
                      <a:lnTo>
                        <a:pt x="55" y="441"/>
                      </a:lnTo>
                      <a:lnTo>
                        <a:pt x="55" y="439"/>
                      </a:lnTo>
                      <a:lnTo>
                        <a:pt x="55" y="437"/>
                      </a:lnTo>
                      <a:lnTo>
                        <a:pt x="54" y="436"/>
                      </a:lnTo>
                      <a:lnTo>
                        <a:pt x="52" y="436"/>
                      </a:lnTo>
                      <a:lnTo>
                        <a:pt x="52" y="437"/>
                      </a:lnTo>
                      <a:lnTo>
                        <a:pt x="50" y="437"/>
                      </a:lnTo>
                      <a:lnTo>
                        <a:pt x="49" y="437"/>
                      </a:lnTo>
                      <a:lnTo>
                        <a:pt x="47" y="437"/>
                      </a:lnTo>
                      <a:lnTo>
                        <a:pt x="47" y="439"/>
                      </a:lnTo>
                      <a:lnTo>
                        <a:pt x="45" y="439"/>
                      </a:lnTo>
                      <a:lnTo>
                        <a:pt x="44" y="441"/>
                      </a:lnTo>
                      <a:lnTo>
                        <a:pt x="42" y="441"/>
                      </a:lnTo>
                      <a:lnTo>
                        <a:pt x="40" y="441"/>
                      </a:lnTo>
                      <a:lnTo>
                        <a:pt x="39" y="441"/>
                      </a:lnTo>
                      <a:lnTo>
                        <a:pt x="37" y="442"/>
                      </a:lnTo>
                      <a:lnTo>
                        <a:pt x="35" y="444"/>
                      </a:lnTo>
                      <a:lnTo>
                        <a:pt x="34" y="444"/>
                      </a:lnTo>
                      <a:lnTo>
                        <a:pt x="34" y="442"/>
                      </a:lnTo>
                      <a:lnTo>
                        <a:pt x="32" y="442"/>
                      </a:lnTo>
                      <a:lnTo>
                        <a:pt x="32" y="441"/>
                      </a:lnTo>
                      <a:lnTo>
                        <a:pt x="30" y="441"/>
                      </a:lnTo>
                      <a:lnTo>
                        <a:pt x="30" y="439"/>
                      </a:lnTo>
                      <a:lnTo>
                        <a:pt x="32" y="437"/>
                      </a:lnTo>
                      <a:lnTo>
                        <a:pt x="30" y="436"/>
                      </a:lnTo>
                      <a:lnTo>
                        <a:pt x="32" y="436"/>
                      </a:lnTo>
                      <a:lnTo>
                        <a:pt x="30" y="436"/>
                      </a:lnTo>
                      <a:lnTo>
                        <a:pt x="28" y="436"/>
                      </a:lnTo>
                      <a:lnTo>
                        <a:pt x="28" y="434"/>
                      </a:lnTo>
                      <a:lnTo>
                        <a:pt x="28" y="432"/>
                      </a:lnTo>
                      <a:lnTo>
                        <a:pt x="30" y="432"/>
                      </a:lnTo>
                      <a:lnTo>
                        <a:pt x="30" y="431"/>
                      </a:lnTo>
                      <a:lnTo>
                        <a:pt x="30" y="429"/>
                      </a:lnTo>
                      <a:lnTo>
                        <a:pt x="30" y="427"/>
                      </a:lnTo>
                      <a:lnTo>
                        <a:pt x="30" y="426"/>
                      </a:lnTo>
                      <a:lnTo>
                        <a:pt x="32" y="426"/>
                      </a:lnTo>
                      <a:lnTo>
                        <a:pt x="32" y="424"/>
                      </a:lnTo>
                      <a:lnTo>
                        <a:pt x="32" y="422"/>
                      </a:lnTo>
                      <a:lnTo>
                        <a:pt x="30" y="422"/>
                      </a:lnTo>
                      <a:lnTo>
                        <a:pt x="30" y="421"/>
                      </a:lnTo>
                      <a:lnTo>
                        <a:pt x="28" y="421"/>
                      </a:lnTo>
                      <a:lnTo>
                        <a:pt x="30" y="421"/>
                      </a:lnTo>
                      <a:lnTo>
                        <a:pt x="30" y="419"/>
                      </a:lnTo>
                      <a:lnTo>
                        <a:pt x="32" y="418"/>
                      </a:lnTo>
                      <a:lnTo>
                        <a:pt x="32" y="416"/>
                      </a:lnTo>
                      <a:lnTo>
                        <a:pt x="34" y="416"/>
                      </a:lnTo>
                      <a:lnTo>
                        <a:pt x="34" y="414"/>
                      </a:lnTo>
                      <a:lnTo>
                        <a:pt x="34" y="413"/>
                      </a:lnTo>
                      <a:lnTo>
                        <a:pt x="35" y="413"/>
                      </a:lnTo>
                      <a:lnTo>
                        <a:pt x="35" y="411"/>
                      </a:lnTo>
                      <a:lnTo>
                        <a:pt x="37" y="411"/>
                      </a:lnTo>
                      <a:lnTo>
                        <a:pt x="39" y="411"/>
                      </a:lnTo>
                      <a:lnTo>
                        <a:pt x="39" y="413"/>
                      </a:lnTo>
                      <a:lnTo>
                        <a:pt x="40" y="411"/>
                      </a:lnTo>
                      <a:lnTo>
                        <a:pt x="42" y="411"/>
                      </a:lnTo>
                      <a:lnTo>
                        <a:pt x="44" y="409"/>
                      </a:lnTo>
                      <a:lnTo>
                        <a:pt x="45" y="409"/>
                      </a:lnTo>
                      <a:lnTo>
                        <a:pt x="47" y="408"/>
                      </a:lnTo>
                      <a:lnTo>
                        <a:pt x="49" y="408"/>
                      </a:lnTo>
                      <a:lnTo>
                        <a:pt x="47" y="408"/>
                      </a:lnTo>
                      <a:lnTo>
                        <a:pt x="49" y="406"/>
                      </a:lnTo>
                      <a:lnTo>
                        <a:pt x="49" y="404"/>
                      </a:lnTo>
                      <a:lnTo>
                        <a:pt x="47" y="403"/>
                      </a:lnTo>
                      <a:lnTo>
                        <a:pt x="45" y="404"/>
                      </a:lnTo>
                      <a:lnTo>
                        <a:pt x="44" y="404"/>
                      </a:lnTo>
                      <a:lnTo>
                        <a:pt x="42" y="404"/>
                      </a:lnTo>
                      <a:lnTo>
                        <a:pt x="40" y="404"/>
                      </a:lnTo>
                      <a:lnTo>
                        <a:pt x="39" y="406"/>
                      </a:lnTo>
                      <a:lnTo>
                        <a:pt x="37" y="406"/>
                      </a:lnTo>
                      <a:lnTo>
                        <a:pt x="35" y="406"/>
                      </a:lnTo>
                      <a:lnTo>
                        <a:pt x="34" y="406"/>
                      </a:lnTo>
                      <a:lnTo>
                        <a:pt x="32" y="406"/>
                      </a:lnTo>
                      <a:lnTo>
                        <a:pt x="30" y="408"/>
                      </a:lnTo>
                      <a:lnTo>
                        <a:pt x="30" y="406"/>
                      </a:lnTo>
                      <a:lnTo>
                        <a:pt x="32" y="406"/>
                      </a:lnTo>
                      <a:lnTo>
                        <a:pt x="32" y="404"/>
                      </a:lnTo>
                      <a:lnTo>
                        <a:pt x="32" y="403"/>
                      </a:lnTo>
                      <a:lnTo>
                        <a:pt x="32" y="401"/>
                      </a:lnTo>
                      <a:lnTo>
                        <a:pt x="32" y="399"/>
                      </a:lnTo>
                      <a:lnTo>
                        <a:pt x="32" y="398"/>
                      </a:lnTo>
                      <a:lnTo>
                        <a:pt x="34" y="398"/>
                      </a:lnTo>
                      <a:lnTo>
                        <a:pt x="35" y="396"/>
                      </a:lnTo>
                      <a:lnTo>
                        <a:pt x="34" y="395"/>
                      </a:lnTo>
                      <a:lnTo>
                        <a:pt x="34" y="393"/>
                      </a:lnTo>
                      <a:lnTo>
                        <a:pt x="32" y="391"/>
                      </a:lnTo>
                      <a:lnTo>
                        <a:pt x="34" y="391"/>
                      </a:lnTo>
                      <a:lnTo>
                        <a:pt x="34" y="390"/>
                      </a:lnTo>
                      <a:lnTo>
                        <a:pt x="34" y="388"/>
                      </a:lnTo>
                      <a:lnTo>
                        <a:pt x="35" y="386"/>
                      </a:lnTo>
                      <a:lnTo>
                        <a:pt x="34" y="385"/>
                      </a:lnTo>
                      <a:lnTo>
                        <a:pt x="32" y="385"/>
                      </a:lnTo>
                      <a:lnTo>
                        <a:pt x="32" y="383"/>
                      </a:lnTo>
                      <a:lnTo>
                        <a:pt x="32" y="381"/>
                      </a:lnTo>
                      <a:lnTo>
                        <a:pt x="34" y="381"/>
                      </a:lnTo>
                      <a:lnTo>
                        <a:pt x="35" y="380"/>
                      </a:lnTo>
                      <a:lnTo>
                        <a:pt x="34" y="378"/>
                      </a:lnTo>
                      <a:lnTo>
                        <a:pt x="32" y="378"/>
                      </a:lnTo>
                      <a:lnTo>
                        <a:pt x="32" y="377"/>
                      </a:lnTo>
                      <a:lnTo>
                        <a:pt x="34" y="377"/>
                      </a:lnTo>
                      <a:lnTo>
                        <a:pt x="34" y="375"/>
                      </a:lnTo>
                      <a:lnTo>
                        <a:pt x="34" y="373"/>
                      </a:lnTo>
                      <a:lnTo>
                        <a:pt x="34" y="372"/>
                      </a:lnTo>
                      <a:lnTo>
                        <a:pt x="35" y="372"/>
                      </a:lnTo>
                      <a:lnTo>
                        <a:pt x="35" y="370"/>
                      </a:lnTo>
                      <a:lnTo>
                        <a:pt x="37" y="370"/>
                      </a:lnTo>
                      <a:lnTo>
                        <a:pt x="39" y="368"/>
                      </a:lnTo>
                      <a:lnTo>
                        <a:pt x="40" y="368"/>
                      </a:lnTo>
                      <a:lnTo>
                        <a:pt x="42" y="368"/>
                      </a:lnTo>
                      <a:lnTo>
                        <a:pt x="44" y="368"/>
                      </a:lnTo>
                      <a:lnTo>
                        <a:pt x="45" y="368"/>
                      </a:lnTo>
                      <a:lnTo>
                        <a:pt x="45" y="367"/>
                      </a:lnTo>
                      <a:lnTo>
                        <a:pt x="45" y="365"/>
                      </a:lnTo>
                      <a:lnTo>
                        <a:pt x="44" y="365"/>
                      </a:lnTo>
                      <a:lnTo>
                        <a:pt x="45" y="365"/>
                      </a:lnTo>
                      <a:lnTo>
                        <a:pt x="45" y="363"/>
                      </a:lnTo>
                      <a:lnTo>
                        <a:pt x="44" y="363"/>
                      </a:lnTo>
                      <a:lnTo>
                        <a:pt x="42" y="363"/>
                      </a:lnTo>
                      <a:lnTo>
                        <a:pt x="40" y="363"/>
                      </a:lnTo>
                      <a:lnTo>
                        <a:pt x="40" y="365"/>
                      </a:lnTo>
                      <a:lnTo>
                        <a:pt x="39" y="365"/>
                      </a:lnTo>
                      <a:lnTo>
                        <a:pt x="37" y="365"/>
                      </a:lnTo>
                      <a:lnTo>
                        <a:pt x="35" y="365"/>
                      </a:lnTo>
                      <a:lnTo>
                        <a:pt x="35" y="363"/>
                      </a:lnTo>
                      <a:lnTo>
                        <a:pt x="35" y="362"/>
                      </a:lnTo>
                      <a:lnTo>
                        <a:pt x="35" y="360"/>
                      </a:lnTo>
                      <a:lnTo>
                        <a:pt x="35" y="358"/>
                      </a:lnTo>
                      <a:lnTo>
                        <a:pt x="35" y="357"/>
                      </a:lnTo>
                      <a:lnTo>
                        <a:pt x="34" y="358"/>
                      </a:lnTo>
                      <a:lnTo>
                        <a:pt x="32" y="357"/>
                      </a:lnTo>
                      <a:lnTo>
                        <a:pt x="32" y="358"/>
                      </a:lnTo>
                      <a:lnTo>
                        <a:pt x="30" y="358"/>
                      </a:lnTo>
                      <a:lnTo>
                        <a:pt x="30" y="357"/>
                      </a:lnTo>
                      <a:lnTo>
                        <a:pt x="32" y="357"/>
                      </a:lnTo>
                      <a:lnTo>
                        <a:pt x="32" y="355"/>
                      </a:lnTo>
                      <a:lnTo>
                        <a:pt x="32" y="354"/>
                      </a:lnTo>
                      <a:lnTo>
                        <a:pt x="30" y="352"/>
                      </a:lnTo>
                      <a:lnTo>
                        <a:pt x="28" y="352"/>
                      </a:lnTo>
                      <a:lnTo>
                        <a:pt x="28" y="350"/>
                      </a:lnTo>
                      <a:lnTo>
                        <a:pt x="27" y="350"/>
                      </a:lnTo>
                      <a:lnTo>
                        <a:pt x="27" y="349"/>
                      </a:lnTo>
                      <a:lnTo>
                        <a:pt x="28" y="349"/>
                      </a:lnTo>
                      <a:lnTo>
                        <a:pt x="28" y="347"/>
                      </a:lnTo>
                      <a:lnTo>
                        <a:pt x="27" y="347"/>
                      </a:lnTo>
                      <a:lnTo>
                        <a:pt x="25" y="347"/>
                      </a:lnTo>
                      <a:lnTo>
                        <a:pt x="23" y="347"/>
                      </a:lnTo>
                      <a:lnTo>
                        <a:pt x="23" y="345"/>
                      </a:lnTo>
                      <a:lnTo>
                        <a:pt x="25" y="345"/>
                      </a:lnTo>
                      <a:lnTo>
                        <a:pt x="25" y="344"/>
                      </a:lnTo>
                      <a:lnTo>
                        <a:pt x="23" y="344"/>
                      </a:lnTo>
                      <a:lnTo>
                        <a:pt x="23" y="342"/>
                      </a:lnTo>
                      <a:lnTo>
                        <a:pt x="25" y="342"/>
                      </a:lnTo>
                      <a:lnTo>
                        <a:pt x="25" y="340"/>
                      </a:lnTo>
                      <a:lnTo>
                        <a:pt x="25" y="339"/>
                      </a:lnTo>
                      <a:lnTo>
                        <a:pt x="25" y="337"/>
                      </a:lnTo>
                      <a:lnTo>
                        <a:pt x="23" y="337"/>
                      </a:lnTo>
                      <a:lnTo>
                        <a:pt x="22" y="337"/>
                      </a:lnTo>
                      <a:lnTo>
                        <a:pt x="23" y="337"/>
                      </a:lnTo>
                      <a:lnTo>
                        <a:pt x="23" y="335"/>
                      </a:lnTo>
                      <a:lnTo>
                        <a:pt x="22" y="335"/>
                      </a:lnTo>
                      <a:lnTo>
                        <a:pt x="23" y="335"/>
                      </a:lnTo>
                      <a:lnTo>
                        <a:pt x="23" y="334"/>
                      </a:lnTo>
                      <a:lnTo>
                        <a:pt x="23" y="332"/>
                      </a:lnTo>
                      <a:lnTo>
                        <a:pt x="25" y="332"/>
                      </a:lnTo>
                      <a:lnTo>
                        <a:pt x="25" y="331"/>
                      </a:lnTo>
                      <a:lnTo>
                        <a:pt x="25" y="329"/>
                      </a:lnTo>
                      <a:lnTo>
                        <a:pt x="23" y="329"/>
                      </a:lnTo>
                      <a:lnTo>
                        <a:pt x="23" y="327"/>
                      </a:lnTo>
                      <a:lnTo>
                        <a:pt x="23" y="326"/>
                      </a:lnTo>
                      <a:lnTo>
                        <a:pt x="23" y="324"/>
                      </a:lnTo>
                      <a:lnTo>
                        <a:pt x="22" y="324"/>
                      </a:lnTo>
                      <a:lnTo>
                        <a:pt x="22" y="322"/>
                      </a:lnTo>
                      <a:lnTo>
                        <a:pt x="23" y="321"/>
                      </a:lnTo>
                      <a:lnTo>
                        <a:pt x="25" y="319"/>
                      </a:lnTo>
                      <a:lnTo>
                        <a:pt x="25" y="317"/>
                      </a:lnTo>
                      <a:lnTo>
                        <a:pt x="27" y="317"/>
                      </a:lnTo>
                      <a:lnTo>
                        <a:pt x="28" y="316"/>
                      </a:lnTo>
                      <a:lnTo>
                        <a:pt x="30" y="316"/>
                      </a:lnTo>
                      <a:lnTo>
                        <a:pt x="32" y="314"/>
                      </a:lnTo>
                      <a:lnTo>
                        <a:pt x="34" y="314"/>
                      </a:lnTo>
                      <a:lnTo>
                        <a:pt x="35" y="314"/>
                      </a:lnTo>
                      <a:lnTo>
                        <a:pt x="37" y="314"/>
                      </a:lnTo>
                      <a:lnTo>
                        <a:pt x="39" y="314"/>
                      </a:lnTo>
                      <a:lnTo>
                        <a:pt x="40" y="312"/>
                      </a:lnTo>
                      <a:lnTo>
                        <a:pt x="42" y="312"/>
                      </a:lnTo>
                      <a:lnTo>
                        <a:pt x="42" y="311"/>
                      </a:lnTo>
                      <a:lnTo>
                        <a:pt x="44" y="311"/>
                      </a:lnTo>
                      <a:lnTo>
                        <a:pt x="44" y="309"/>
                      </a:lnTo>
                      <a:lnTo>
                        <a:pt x="42" y="309"/>
                      </a:lnTo>
                      <a:lnTo>
                        <a:pt x="40" y="309"/>
                      </a:lnTo>
                      <a:lnTo>
                        <a:pt x="39" y="311"/>
                      </a:lnTo>
                      <a:lnTo>
                        <a:pt x="37" y="311"/>
                      </a:lnTo>
                      <a:lnTo>
                        <a:pt x="35" y="311"/>
                      </a:lnTo>
                      <a:lnTo>
                        <a:pt x="34" y="309"/>
                      </a:lnTo>
                      <a:lnTo>
                        <a:pt x="32" y="309"/>
                      </a:lnTo>
                      <a:lnTo>
                        <a:pt x="30" y="309"/>
                      </a:lnTo>
                      <a:lnTo>
                        <a:pt x="30" y="311"/>
                      </a:lnTo>
                      <a:lnTo>
                        <a:pt x="28" y="311"/>
                      </a:lnTo>
                      <a:lnTo>
                        <a:pt x="28" y="309"/>
                      </a:lnTo>
                      <a:lnTo>
                        <a:pt x="27" y="309"/>
                      </a:lnTo>
                      <a:lnTo>
                        <a:pt x="25" y="309"/>
                      </a:lnTo>
                      <a:lnTo>
                        <a:pt x="23" y="308"/>
                      </a:lnTo>
                      <a:lnTo>
                        <a:pt x="25" y="306"/>
                      </a:lnTo>
                      <a:lnTo>
                        <a:pt x="23" y="304"/>
                      </a:lnTo>
                      <a:lnTo>
                        <a:pt x="25" y="304"/>
                      </a:lnTo>
                      <a:lnTo>
                        <a:pt x="27" y="304"/>
                      </a:lnTo>
                      <a:lnTo>
                        <a:pt x="27" y="303"/>
                      </a:lnTo>
                      <a:lnTo>
                        <a:pt x="28" y="303"/>
                      </a:lnTo>
                      <a:lnTo>
                        <a:pt x="28" y="301"/>
                      </a:lnTo>
                      <a:lnTo>
                        <a:pt x="28" y="299"/>
                      </a:lnTo>
                      <a:lnTo>
                        <a:pt x="28" y="298"/>
                      </a:lnTo>
                      <a:lnTo>
                        <a:pt x="27" y="298"/>
                      </a:lnTo>
                      <a:lnTo>
                        <a:pt x="27" y="296"/>
                      </a:lnTo>
                      <a:lnTo>
                        <a:pt x="25" y="298"/>
                      </a:lnTo>
                      <a:lnTo>
                        <a:pt x="23" y="296"/>
                      </a:lnTo>
                      <a:lnTo>
                        <a:pt x="25" y="296"/>
                      </a:lnTo>
                      <a:lnTo>
                        <a:pt x="28" y="296"/>
                      </a:lnTo>
                      <a:lnTo>
                        <a:pt x="28" y="294"/>
                      </a:lnTo>
                      <a:lnTo>
                        <a:pt x="30" y="293"/>
                      </a:lnTo>
                      <a:lnTo>
                        <a:pt x="32" y="291"/>
                      </a:lnTo>
                      <a:lnTo>
                        <a:pt x="32" y="289"/>
                      </a:lnTo>
                      <a:lnTo>
                        <a:pt x="30" y="288"/>
                      </a:lnTo>
                      <a:lnTo>
                        <a:pt x="30" y="286"/>
                      </a:lnTo>
                      <a:lnTo>
                        <a:pt x="30" y="285"/>
                      </a:lnTo>
                      <a:lnTo>
                        <a:pt x="32" y="285"/>
                      </a:lnTo>
                      <a:lnTo>
                        <a:pt x="34" y="285"/>
                      </a:lnTo>
                      <a:lnTo>
                        <a:pt x="35" y="285"/>
                      </a:lnTo>
                      <a:lnTo>
                        <a:pt x="39" y="286"/>
                      </a:lnTo>
                      <a:lnTo>
                        <a:pt x="40" y="288"/>
                      </a:lnTo>
                      <a:lnTo>
                        <a:pt x="42" y="288"/>
                      </a:lnTo>
                      <a:lnTo>
                        <a:pt x="44" y="288"/>
                      </a:lnTo>
                      <a:lnTo>
                        <a:pt x="45" y="288"/>
                      </a:lnTo>
                      <a:lnTo>
                        <a:pt x="47" y="286"/>
                      </a:lnTo>
                      <a:lnTo>
                        <a:pt x="49" y="286"/>
                      </a:lnTo>
                      <a:lnTo>
                        <a:pt x="50" y="286"/>
                      </a:lnTo>
                      <a:lnTo>
                        <a:pt x="52" y="286"/>
                      </a:lnTo>
                      <a:lnTo>
                        <a:pt x="50" y="285"/>
                      </a:lnTo>
                      <a:lnTo>
                        <a:pt x="52" y="285"/>
                      </a:lnTo>
                      <a:lnTo>
                        <a:pt x="50" y="285"/>
                      </a:lnTo>
                      <a:lnTo>
                        <a:pt x="50" y="283"/>
                      </a:lnTo>
                      <a:lnTo>
                        <a:pt x="49" y="283"/>
                      </a:lnTo>
                      <a:lnTo>
                        <a:pt x="47" y="283"/>
                      </a:lnTo>
                      <a:lnTo>
                        <a:pt x="45" y="283"/>
                      </a:lnTo>
                      <a:lnTo>
                        <a:pt x="44" y="283"/>
                      </a:lnTo>
                      <a:lnTo>
                        <a:pt x="42" y="283"/>
                      </a:lnTo>
                      <a:lnTo>
                        <a:pt x="40" y="283"/>
                      </a:lnTo>
                      <a:lnTo>
                        <a:pt x="39" y="283"/>
                      </a:lnTo>
                      <a:lnTo>
                        <a:pt x="39" y="281"/>
                      </a:lnTo>
                      <a:lnTo>
                        <a:pt x="39" y="280"/>
                      </a:lnTo>
                      <a:lnTo>
                        <a:pt x="37" y="280"/>
                      </a:lnTo>
                      <a:lnTo>
                        <a:pt x="35" y="278"/>
                      </a:lnTo>
                      <a:lnTo>
                        <a:pt x="34" y="278"/>
                      </a:lnTo>
                      <a:lnTo>
                        <a:pt x="32" y="278"/>
                      </a:lnTo>
                      <a:lnTo>
                        <a:pt x="30" y="278"/>
                      </a:lnTo>
                      <a:lnTo>
                        <a:pt x="30" y="276"/>
                      </a:lnTo>
                      <a:lnTo>
                        <a:pt x="28" y="276"/>
                      </a:lnTo>
                      <a:lnTo>
                        <a:pt x="27" y="278"/>
                      </a:lnTo>
                      <a:lnTo>
                        <a:pt x="25" y="276"/>
                      </a:lnTo>
                      <a:lnTo>
                        <a:pt x="23" y="276"/>
                      </a:lnTo>
                      <a:lnTo>
                        <a:pt x="22" y="276"/>
                      </a:lnTo>
                      <a:lnTo>
                        <a:pt x="22" y="278"/>
                      </a:lnTo>
                      <a:lnTo>
                        <a:pt x="20" y="278"/>
                      </a:lnTo>
                      <a:lnTo>
                        <a:pt x="20" y="276"/>
                      </a:lnTo>
                      <a:lnTo>
                        <a:pt x="18" y="276"/>
                      </a:lnTo>
                      <a:lnTo>
                        <a:pt x="18" y="275"/>
                      </a:lnTo>
                      <a:lnTo>
                        <a:pt x="17" y="275"/>
                      </a:lnTo>
                      <a:lnTo>
                        <a:pt x="15" y="275"/>
                      </a:lnTo>
                      <a:lnTo>
                        <a:pt x="13" y="275"/>
                      </a:lnTo>
                      <a:lnTo>
                        <a:pt x="13" y="273"/>
                      </a:lnTo>
                      <a:lnTo>
                        <a:pt x="12" y="273"/>
                      </a:lnTo>
                      <a:lnTo>
                        <a:pt x="10" y="271"/>
                      </a:lnTo>
                      <a:lnTo>
                        <a:pt x="10" y="270"/>
                      </a:lnTo>
                      <a:lnTo>
                        <a:pt x="10" y="268"/>
                      </a:lnTo>
                      <a:lnTo>
                        <a:pt x="10" y="266"/>
                      </a:lnTo>
                      <a:lnTo>
                        <a:pt x="8" y="266"/>
                      </a:lnTo>
                      <a:lnTo>
                        <a:pt x="8" y="265"/>
                      </a:lnTo>
                      <a:lnTo>
                        <a:pt x="8" y="263"/>
                      </a:lnTo>
                      <a:lnTo>
                        <a:pt x="8" y="262"/>
                      </a:lnTo>
                      <a:lnTo>
                        <a:pt x="6" y="262"/>
                      </a:lnTo>
                      <a:lnTo>
                        <a:pt x="5" y="262"/>
                      </a:lnTo>
                      <a:lnTo>
                        <a:pt x="3" y="260"/>
                      </a:lnTo>
                      <a:lnTo>
                        <a:pt x="1" y="258"/>
                      </a:lnTo>
                      <a:lnTo>
                        <a:pt x="1" y="257"/>
                      </a:lnTo>
                      <a:lnTo>
                        <a:pt x="0" y="255"/>
                      </a:lnTo>
                      <a:lnTo>
                        <a:pt x="0" y="253"/>
                      </a:lnTo>
                      <a:lnTo>
                        <a:pt x="1" y="253"/>
                      </a:lnTo>
                      <a:lnTo>
                        <a:pt x="1" y="252"/>
                      </a:lnTo>
                      <a:lnTo>
                        <a:pt x="1" y="250"/>
                      </a:lnTo>
                      <a:lnTo>
                        <a:pt x="3" y="250"/>
                      </a:lnTo>
                      <a:lnTo>
                        <a:pt x="3" y="248"/>
                      </a:lnTo>
                      <a:lnTo>
                        <a:pt x="5" y="248"/>
                      </a:lnTo>
                      <a:lnTo>
                        <a:pt x="6" y="247"/>
                      </a:lnTo>
                      <a:lnTo>
                        <a:pt x="6" y="245"/>
                      </a:lnTo>
                      <a:lnTo>
                        <a:pt x="8" y="245"/>
                      </a:lnTo>
                      <a:lnTo>
                        <a:pt x="8" y="243"/>
                      </a:lnTo>
                      <a:lnTo>
                        <a:pt x="10" y="243"/>
                      </a:lnTo>
                      <a:lnTo>
                        <a:pt x="12" y="242"/>
                      </a:lnTo>
                      <a:lnTo>
                        <a:pt x="13" y="240"/>
                      </a:lnTo>
                      <a:lnTo>
                        <a:pt x="13" y="239"/>
                      </a:lnTo>
                      <a:lnTo>
                        <a:pt x="13" y="237"/>
                      </a:lnTo>
                      <a:lnTo>
                        <a:pt x="13" y="235"/>
                      </a:lnTo>
                      <a:lnTo>
                        <a:pt x="12" y="235"/>
                      </a:lnTo>
                      <a:lnTo>
                        <a:pt x="12" y="234"/>
                      </a:lnTo>
                      <a:lnTo>
                        <a:pt x="12" y="232"/>
                      </a:lnTo>
                      <a:lnTo>
                        <a:pt x="12" y="230"/>
                      </a:lnTo>
                      <a:lnTo>
                        <a:pt x="13" y="230"/>
                      </a:lnTo>
                      <a:lnTo>
                        <a:pt x="13" y="229"/>
                      </a:lnTo>
                      <a:lnTo>
                        <a:pt x="15" y="229"/>
                      </a:lnTo>
                      <a:lnTo>
                        <a:pt x="15" y="227"/>
                      </a:lnTo>
                      <a:lnTo>
                        <a:pt x="17" y="227"/>
                      </a:lnTo>
                      <a:lnTo>
                        <a:pt x="17" y="225"/>
                      </a:lnTo>
                      <a:lnTo>
                        <a:pt x="17" y="227"/>
                      </a:lnTo>
                      <a:lnTo>
                        <a:pt x="17" y="225"/>
                      </a:lnTo>
                      <a:lnTo>
                        <a:pt x="18" y="225"/>
                      </a:lnTo>
                      <a:lnTo>
                        <a:pt x="20" y="225"/>
                      </a:lnTo>
                      <a:lnTo>
                        <a:pt x="20" y="224"/>
                      </a:lnTo>
                      <a:lnTo>
                        <a:pt x="22" y="224"/>
                      </a:lnTo>
                      <a:lnTo>
                        <a:pt x="22" y="222"/>
                      </a:lnTo>
                      <a:lnTo>
                        <a:pt x="23" y="222"/>
                      </a:lnTo>
                      <a:lnTo>
                        <a:pt x="25" y="220"/>
                      </a:lnTo>
                      <a:lnTo>
                        <a:pt x="27" y="220"/>
                      </a:lnTo>
                      <a:lnTo>
                        <a:pt x="28" y="220"/>
                      </a:lnTo>
                      <a:lnTo>
                        <a:pt x="30" y="220"/>
                      </a:lnTo>
                      <a:lnTo>
                        <a:pt x="30" y="219"/>
                      </a:lnTo>
                      <a:lnTo>
                        <a:pt x="32" y="219"/>
                      </a:lnTo>
                      <a:lnTo>
                        <a:pt x="32" y="217"/>
                      </a:lnTo>
                      <a:lnTo>
                        <a:pt x="30" y="217"/>
                      </a:lnTo>
                      <a:lnTo>
                        <a:pt x="30" y="216"/>
                      </a:lnTo>
                      <a:lnTo>
                        <a:pt x="30" y="214"/>
                      </a:lnTo>
                      <a:lnTo>
                        <a:pt x="32" y="212"/>
                      </a:lnTo>
                      <a:lnTo>
                        <a:pt x="32" y="211"/>
                      </a:lnTo>
                      <a:lnTo>
                        <a:pt x="34" y="211"/>
                      </a:lnTo>
                      <a:lnTo>
                        <a:pt x="35" y="211"/>
                      </a:lnTo>
                      <a:lnTo>
                        <a:pt x="37" y="209"/>
                      </a:lnTo>
                      <a:lnTo>
                        <a:pt x="39" y="207"/>
                      </a:lnTo>
                      <a:lnTo>
                        <a:pt x="37" y="207"/>
                      </a:lnTo>
                      <a:lnTo>
                        <a:pt x="35" y="207"/>
                      </a:lnTo>
                      <a:lnTo>
                        <a:pt x="35" y="206"/>
                      </a:lnTo>
                      <a:lnTo>
                        <a:pt x="34" y="206"/>
                      </a:lnTo>
                      <a:lnTo>
                        <a:pt x="34" y="204"/>
                      </a:lnTo>
                      <a:lnTo>
                        <a:pt x="35" y="204"/>
                      </a:lnTo>
                      <a:lnTo>
                        <a:pt x="37" y="202"/>
                      </a:lnTo>
                      <a:lnTo>
                        <a:pt x="39" y="202"/>
                      </a:lnTo>
                      <a:lnTo>
                        <a:pt x="40" y="201"/>
                      </a:lnTo>
                      <a:lnTo>
                        <a:pt x="42" y="199"/>
                      </a:lnTo>
                      <a:lnTo>
                        <a:pt x="42" y="197"/>
                      </a:lnTo>
                      <a:lnTo>
                        <a:pt x="40" y="197"/>
                      </a:lnTo>
                      <a:lnTo>
                        <a:pt x="40" y="196"/>
                      </a:lnTo>
                      <a:lnTo>
                        <a:pt x="39" y="196"/>
                      </a:lnTo>
                      <a:lnTo>
                        <a:pt x="40" y="194"/>
                      </a:lnTo>
                      <a:lnTo>
                        <a:pt x="42" y="193"/>
                      </a:lnTo>
                      <a:lnTo>
                        <a:pt x="44" y="193"/>
                      </a:lnTo>
                      <a:lnTo>
                        <a:pt x="45" y="193"/>
                      </a:lnTo>
                      <a:lnTo>
                        <a:pt x="47" y="193"/>
                      </a:lnTo>
                      <a:lnTo>
                        <a:pt x="49" y="193"/>
                      </a:lnTo>
                      <a:lnTo>
                        <a:pt x="49" y="191"/>
                      </a:lnTo>
                      <a:lnTo>
                        <a:pt x="50" y="191"/>
                      </a:lnTo>
                      <a:lnTo>
                        <a:pt x="52" y="191"/>
                      </a:lnTo>
                      <a:lnTo>
                        <a:pt x="54" y="191"/>
                      </a:lnTo>
                      <a:lnTo>
                        <a:pt x="54" y="189"/>
                      </a:lnTo>
                      <a:lnTo>
                        <a:pt x="54" y="188"/>
                      </a:lnTo>
                      <a:lnTo>
                        <a:pt x="55" y="188"/>
                      </a:lnTo>
                      <a:lnTo>
                        <a:pt x="57" y="188"/>
                      </a:lnTo>
                      <a:lnTo>
                        <a:pt x="57" y="186"/>
                      </a:lnTo>
                      <a:lnTo>
                        <a:pt x="57" y="184"/>
                      </a:lnTo>
                      <a:lnTo>
                        <a:pt x="59" y="184"/>
                      </a:lnTo>
                      <a:lnTo>
                        <a:pt x="61" y="184"/>
                      </a:lnTo>
                      <a:lnTo>
                        <a:pt x="62" y="184"/>
                      </a:lnTo>
                      <a:lnTo>
                        <a:pt x="62" y="183"/>
                      </a:lnTo>
                      <a:lnTo>
                        <a:pt x="64" y="183"/>
                      </a:lnTo>
                      <a:lnTo>
                        <a:pt x="64" y="181"/>
                      </a:lnTo>
                      <a:lnTo>
                        <a:pt x="66" y="181"/>
                      </a:lnTo>
                      <a:lnTo>
                        <a:pt x="69" y="179"/>
                      </a:lnTo>
                      <a:lnTo>
                        <a:pt x="69" y="178"/>
                      </a:lnTo>
                      <a:lnTo>
                        <a:pt x="71" y="176"/>
                      </a:lnTo>
                      <a:lnTo>
                        <a:pt x="72" y="176"/>
                      </a:lnTo>
                      <a:lnTo>
                        <a:pt x="74" y="176"/>
                      </a:lnTo>
                      <a:lnTo>
                        <a:pt x="76" y="176"/>
                      </a:lnTo>
                      <a:lnTo>
                        <a:pt x="76" y="175"/>
                      </a:lnTo>
                      <a:lnTo>
                        <a:pt x="76" y="173"/>
                      </a:lnTo>
                      <a:lnTo>
                        <a:pt x="77" y="173"/>
                      </a:lnTo>
                      <a:lnTo>
                        <a:pt x="76" y="173"/>
                      </a:lnTo>
                      <a:lnTo>
                        <a:pt x="76" y="171"/>
                      </a:lnTo>
                      <a:lnTo>
                        <a:pt x="76" y="170"/>
                      </a:lnTo>
                      <a:lnTo>
                        <a:pt x="76" y="168"/>
                      </a:lnTo>
                      <a:lnTo>
                        <a:pt x="77" y="168"/>
                      </a:lnTo>
                      <a:lnTo>
                        <a:pt x="79" y="168"/>
                      </a:lnTo>
                      <a:lnTo>
                        <a:pt x="81" y="168"/>
                      </a:lnTo>
                      <a:lnTo>
                        <a:pt x="83" y="168"/>
                      </a:lnTo>
                      <a:lnTo>
                        <a:pt x="84" y="166"/>
                      </a:lnTo>
                      <a:lnTo>
                        <a:pt x="86" y="165"/>
                      </a:lnTo>
                      <a:lnTo>
                        <a:pt x="86" y="163"/>
                      </a:lnTo>
                      <a:lnTo>
                        <a:pt x="86" y="161"/>
                      </a:lnTo>
                      <a:lnTo>
                        <a:pt x="88" y="160"/>
                      </a:lnTo>
                      <a:lnTo>
                        <a:pt x="88" y="158"/>
                      </a:lnTo>
                      <a:lnTo>
                        <a:pt x="88" y="156"/>
                      </a:lnTo>
                      <a:lnTo>
                        <a:pt x="88" y="155"/>
                      </a:lnTo>
                      <a:lnTo>
                        <a:pt x="88" y="153"/>
                      </a:lnTo>
                      <a:lnTo>
                        <a:pt x="88" y="152"/>
                      </a:lnTo>
                      <a:lnTo>
                        <a:pt x="88" y="150"/>
                      </a:lnTo>
                      <a:lnTo>
                        <a:pt x="86" y="150"/>
                      </a:lnTo>
                      <a:lnTo>
                        <a:pt x="88" y="150"/>
                      </a:lnTo>
                      <a:lnTo>
                        <a:pt x="89" y="150"/>
                      </a:lnTo>
                      <a:lnTo>
                        <a:pt x="89" y="148"/>
                      </a:lnTo>
                      <a:lnTo>
                        <a:pt x="91" y="148"/>
                      </a:lnTo>
                      <a:lnTo>
                        <a:pt x="93" y="147"/>
                      </a:lnTo>
                      <a:lnTo>
                        <a:pt x="94" y="147"/>
                      </a:lnTo>
                      <a:lnTo>
                        <a:pt x="96" y="145"/>
                      </a:lnTo>
                      <a:lnTo>
                        <a:pt x="98" y="145"/>
                      </a:lnTo>
                      <a:lnTo>
                        <a:pt x="99" y="145"/>
                      </a:lnTo>
                      <a:lnTo>
                        <a:pt x="99" y="147"/>
                      </a:lnTo>
                      <a:lnTo>
                        <a:pt x="101" y="147"/>
                      </a:lnTo>
                      <a:lnTo>
                        <a:pt x="101" y="148"/>
                      </a:lnTo>
                      <a:lnTo>
                        <a:pt x="101" y="150"/>
                      </a:lnTo>
                      <a:lnTo>
                        <a:pt x="101" y="152"/>
                      </a:lnTo>
                      <a:lnTo>
                        <a:pt x="99" y="152"/>
                      </a:lnTo>
                      <a:lnTo>
                        <a:pt x="101" y="153"/>
                      </a:lnTo>
                      <a:lnTo>
                        <a:pt x="101" y="155"/>
                      </a:lnTo>
                      <a:lnTo>
                        <a:pt x="103" y="155"/>
                      </a:lnTo>
                      <a:lnTo>
                        <a:pt x="104" y="156"/>
                      </a:lnTo>
                      <a:lnTo>
                        <a:pt x="104" y="158"/>
                      </a:lnTo>
                      <a:lnTo>
                        <a:pt x="104" y="161"/>
                      </a:lnTo>
                      <a:lnTo>
                        <a:pt x="106" y="161"/>
                      </a:lnTo>
                      <a:lnTo>
                        <a:pt x="108" y="163"/>
                      </a:lnTo>
                      <a:lnTo>
                        <a:pt x="110" y="165"/>
                      </a:lnTo>
                      <a:lnTo>
                        <a:pt x="111" y="166"/>
                      </a:lnTo>
                      <a:lnTo>
                        <a:pt x="113" y="168"/>
                      </a:lnTo>
                      <a:lnTo>
                        <a:pt x="115" y="170"/>
                      </a:lnTo>
                      <a:lnTo>
                        <a:pt x="113" y="171"/>
                      </a:lnTo>
                      <a:lnTo>
                        <a:pt x="113" y="173"/>
                      </a:lnTo>
                      <a:lnTo>
                        <a:pt x="115" y="173"/>
                      </a:lnTo>
                      <a:lnTo>
                        <a:pt x="115" y="175"/>
                      </a:lnTo>
                      <a:lnTo>
                        <a:pt x="116" y="176"/>
                      </a:lnTo>
                      <a:lnTo>
                        <a:pt x="116" y="178"/>
                      </a:lnTo>
                      <a:lnTo>
                        <a:pt x="116" y="179"/>
                      </a:lnTo>
                      <a:lnTo>
                        <a:pt x="115" y="179"/>
                      </a:lnTo>
                      <a:lnTo>
                        <a:pt x="113" y="179"/>
                      </a:lnTo>
                      <a:lnTo>
                        <a:pt x="111" y="181"/>
                      </a:lnTo>
                      <a:lnTo>
                        <a:pt x="111" y="183"/>
                      </a:lnTo>
                      <a:lnTo>
                        <a:pt x="113" y="183"/>
                      </a:lnTo>
                      <a:lnTo>
                        <a:pt x="113" y="184"/>
                      </a:lnTo>
                      <a:lnTo>
                        <a:pt x="111" y="186"/>
                      </a:lnTo>
                      <a:lnTo>
                        <a:pt x="111" y="188"/>
                      </a:lnTo>
                      <a:lnTo>
                        <a:pt x="113" y="188"/>
                      </a:lnTo>
                      <a:lnTo>
                        <a:pt x="113" y="191"/>
                      </a:lnTo>
                      <a:lnTo>
                        <a:pt x="113" y="193"/>
                      </a:lnTo>
                      <a:lnTo>
                        <a:pt x="113" y="194"/>
                      </a:lnTo>
                      <a:lnTo>
                        <a:pt x="115" y="194"/>
                      </a:lnTo>
                      <a:lnTo>
                        <a:pt x="116" y="194"/>
                      </a:lnTo>
                      <a:lnTo>
                        <a:pt x="118" y="194"/>
                      </a:lnTo>
                      <a:lnTo>
                        <a:pt x="118" y="196"/>
                      </a:lnTo>
                      <a:lnTo>
                        <a:pt x="120" y="197"/>
                      </a:lnTo>
                      <a:lnTo>
                        <a:pt x="120" y="199"/>
                      </a:lnTo>
                      <a:lnTo>
                        <a:pt x="120" y="201"/>
                      </a:lnTo>
                      <a:lnTo>
                        <a:pt x="120" y="202"/>
                      </a:lnTo>
                      <a:lnTo>
                        <a:pt x="121" y="204"/>
                      </a:lnTo>
                      <a:lnTo>
                        <a:pt x="123" y="204"/>
                      </a:lnTo>
                      <a:lnTo>
                        <a:pt x="123" y="206"/>
                      </a:lnTo>
                      <a:lnTo>
                        <a:pt x="125" y="206"/>
                      </a:lnTo>
                      <a:lnTo>
                        <a:pt x="126" y="206"/>
                      </a:lnTo>
                      <a:lnTo>
                        <a:pt x="128" y="207"/>
                      </a:lnTo>
                      <a:lnTo>
                        <a:pt x="130" y="207"/>
                      </a:lnTo>
                      <a:lnTo>
                        <a:pt x="130" y="209"/>
                      </a:lnTo>
                      <a:lnTo>
                        <a:pt x="130" y="211"/>
                      </a:lnTo>
                      <a:lnTo>
                        <a:pt x="131" y="211"/>
                      </a:lnTo>
                      <a:lnTo>
                        <a:pt x="133" y="211"/>
                      </a:lnTo>
                      <a:lnTo>
                        <a:pt x="133" y="212"/>
                      </a:lnTo>
                      <a:lnTo>
                        <a:pt x="135" y="212"/>
                      </a:lnTo>
                      <a:lnTo>
                        <a:pt x="137" y="212"/>
                      </a:lnTo>
                      <a:lnTo>
                        <a:pt x="138" y="212"/>
                      </a:lnTo>
                      <a:lnTo>
                        <a:pt x="142" y="212"/>
                      </a:lnTo>
                      <a:lnTo>
                        <a:pt x="143" y="212"/>
                      </a:lnTo>
                      <a:lnTo>
                        <a:pt x="145" y="214"/>
                      </a:lnTo>
                      <a:lnTo>
                        <a:pt x="147" y="212"/>
                      </a:lnTo>
                      <a:lnTo>
                        <a:pt x="148" y="212"/>
                      </a:lnTo>
                      <a:lnTo>
                        <a:pt x="148" y="214"/>
                      </a:lnTo>
                      <a:lnTo>
                        <a:pt x="150" y="214"/>
                      </a:lnTo>
                      <a:lnTo>
                        <a:pt x="152" y="216"/>
                      </a:lnTo>
                      <a:lnTo>
                        <a:pt x="153" y="217"/>
                      </a:lnTo>
                      <a:lnTo>
                        <a:pt x="155" y="217"/>
                      </a:lnTo>
                      <a:lnTo>
                        <a:pt x="157" y="217"/>
                      </a:lnTo>
                      <a:lnTo>
                        <a:pt x="159" y="219"/>
                      </a:lnTo>
                      <a:lnTo>
                        <a:pt x="160" y="220"/>
                      </a:lnTo>
                      <a:lnTo>
                        <a:pt x="162" y="220"/>
                      </a:lnTo>
                      <a:lnTo>
                        <a:pt x="164" y="219"/>
                      </a:lnTo>
                      <a:lnTo>
                        <a:pt x="165" y="219"/>
                      </a:lnTo>
                      <a:lnTo>
                        <a:pt x="165" y="217"/>
                      </a:lnTo>
                      <a:lnTo>
                        <a:pt x="167" y="217"/>
                      </a:lnTo>
                      <a:lnTo>
                        <a:pt x="169" y="217"/>
                      </a:lnTo>
                      <a:lnTo>
                        <a:pt x="169" y="219"/>
                      </a:lnTo>
                      <a:lnTo>
                        <a:pt x="169" y="217"/>
                      </a:lnTo>
                      <a:lnTo>
                        <a:pt x="170" y="217"/>
                      </a:lnTo>
                      <a:lnTo>
                        <a:pt x="170" y="216"/>
                      </a:lnTo>
                      <a:lnTo>
                        <a:pt x="172" y="216"/>
                      </a:lnTo>
                      <a:lnTo>
                        <a:pt x="172" y="214"/>
                      </a:lnTo>
                      <a:lnTo>
                        <a:pt x="172" y="212"/>
                      </a:lnTo>
                      <a:lnTo>
                        <a:pt x="174" y="211"/>
                      </a:lnTo>
                      <a:lnTo>
                        <a:pt x="174" y="209"/>
                      </a:lnTo>
                      <a:lnTo>
                        <a:pt x="175" y="209"/>
                      </a:lnTo>
                      <a:lnTo>
                        <a:pt x="177" y="209"/>
                      </a:lnTo>
                      <a:lnTo>
                        <a:pt x="177" y="207"/>
                      </a:lnTo>
                      <a:lnTo>
                        <a:pt x="179" y="207"/>
                      </a:lnTo>
                      <a:lnTo>
                        <a:pt x="179" y="206"/>
                      </a:lnTo>
                      <a:lnTo>
                        <a:pt x="180" y="206"/>
                      </a:lnTo>
                      <a:lnTo>
                        <a:pt x="182" y="206"/>
                      </a:lnTo>
                      <a:lnTo>
                        <a:pt x="184" y="206"/>
                      </a:lnTo>
                      <a:lnTo>
                        <a:pt x="186" y="206"/>
                      </a:lnTo>
                      <a:lnTo>
                        <a:pt x="186" y="204"/>
                      </a:lnTo>
                      <a:lnTo>
                        <a:pt x="187" y="202"/>
                      </a:lnTo>
                      <a:lnTo>
                        <a:pt x="186" y="201"/>
                      </a:lnTo>
                      <a:lnTo>
                        <a:pt x="186" y="199"/>
                      </a:lnTo>
                      <a:lnTo>
                        <a:pt x="186" y="197"/>
                      </a:lnTo>
                      <a:lnTo>
                        <a:pt x="187" y="197"/>
                      </a:lnTo>
                      <a:lnTo>
                        <a:pt x="189" y="197"/>
                      </a:lnTo>
                      <a:lnTo>
                        <a:pt x="191" y="197"/>
                      </a:lnTo>
                      <a:lnTo>
                        <a:pt x="191" y="196"/>
                      </a:lnTo>
                      <a:lnTo>
                        <a:pt x="192" y="196"/>
                      </a:lnTo>
                      <a:lnTo>
                        <a:pt x="192" y="194"/>
                      </a:lnTo>
                      <a:lnTo>
                        <a:pt x="194" y="194"/>
                      </a:lnTo>
                      <a:lnTo>
                        <a:pt x="194" y="193"/>
                      </a:lnTo>
                      <a:lnTo>
                        <a:pt x="196" y="193"/>
                      </a:lnTo>
                      <a:lnTo>
                        <a:pt x="197" y="193"/>
                      </a:lnTo>
                      <a:lnTo>
                        <a:pt x="199" y="194"/>
                      </a:lnTo>
                      <a:lnTo>
                        <a:pt x="201" y="196"/>
                      </a:lnTo>
                      <a:lnTo>
                        <a:pt x="202" y="194"/>
                      </a:lnTo>
                      <a:lnTo>
                        <a:pt x="204" y="194"/>
                      </a:lnTo>
                      <a:lnTo>
                        <a:pt x="206" y="193"/>
                      </a:lnTo>
                      <a:lnTo>
                        <a:pt x="206" y="191"/>
                      </a:lnTo>
                      <a:lnTo>
                        <a:pt x="207" y="191"/>
                      </a:lnTo>
                      <a:lnTo>
                        <a:pt x="209" y="191"/>
                      </a:lnTo>
                      <a:lnTo>
                        <a:pt x="211" y="191"/>
                      </a:lnTo>
                      <a:lnTo>
                        <a:pt x="213" y="191"/>
                      </a:lnTo>
                      <a:lnTo>
                        <a:pt x="213" y="189"/>
                      </a:lnTo>
                      <a:lnTo>
                        <a:pt x="214" y="188"/>
                      </a:lnTo>
                      <a:lnTo>
                        <a:pt x="216" y="186"/>
                      </a:lnTo>
                      <a:lnTo>
                        <a:pt x="218" y="186"/>
                      </a:lnTo>
                      <a:lnTo>
                        <a:pt x="219" y="186"/>
                      </a:lnTo>
                      <a:lnTo>
                        <a:pt x="219" y="188"/>
                      </a:lnTo>
                      <a:lnTo>
                        <a:pt x="221" y="188"/>
                      </a:lnTo>
                      <a:lnTo>
                        <a:pt x="221" y="189"/>
                      </a:lnTo>
                      <a:lnTo>
                        <a:pt x="223" y="191"/>
                      </a:lnTo>
                      <a:lnTo>
                        <a:pt x="223" y="193"/>
                      </a:lnTo>
                      <a:lnTo>
                        <a:pt x="224" y="193"/>
                      </a:lnTo>
                      <a:lnTo>
                        <a:pt x="226" y="193"/>
                      </a:lnTo>
                      <a:lnTo>
                        <a:pt x="228" y="193"/>
                      </a:lnTo>
                      <a:lnTo>
                        <a:pt x="229" y="191"/>
                      </a:lnTo>
                      <a:lnTo>
                        <a:pt x="229" y="193"/>
                      </a:lnTo>
                      <a:lnTo>
                        <a:pt x="231" y="193"/>
                      </a:lnTo>
                      <a:lnTo>
                        <a:pt x="233" y="193"/>
                      </a:lnTo>
                      <a:lnTo>
                        <a:pt x="233" y="194"/>
                      </a:lnTo>
                      <a:lnTo>
                        <a:pt x="235" y="194"/>
                      </a:lnTo>
                      <a:lnTo>
                        <a:pt x="236" y="194"/>
                      </a:lnTo>
                      <a:lnTo>
                        <a:pt x="236" y="193"/>
                      </a:lnTo>
                      <a:lnTo>
                        <a:pt x="238" y="193"/>
                      </a:lnTo>
                      <a:lnTo>
                        <a:pt x="238" y="191"/>
                      </a:lnTo>
                      <a:lnTo>
                        <a:pt x="238" y="189"/>
                      </a:lnTo>
                      <a:lnTo>
                        <a:pt x="240" y="189"/>
                      </a:lnTo>
                      <a:lnTo>
                        <a:pt x="241" y="189"/>
                      </a:lnTo>
                      <a:lnTo>
                        <a:pt x="243" y="189"/>
                      </a:lnTo>
                      <a:lnTo>
                        <a:pt x="243" y="188"/>
                      </a:lnTo>
                      <a:lnTo>
                        <a:pt x="243" y="186"/>
                      </a:lnTo>
                      <a:lnTo>
                        <a:pt x="243" y="184"/>
                      </a:lnTo>
                      <a:lnTo>
                        <a:pt x="245" y="181"/>
                      </a:lnTo>
                      <a:lnTo>
                        <a:pt x="246" y="179"/>
                      </a:lnTo>
                      <a:lnTo>
                        <a:pt x="246" y="176"/>
                      </a:lnTo>
                      <a:lnTo>
                        <a:pt x="246" y="175"/>
                      </a:lnTo>
                      <a:lnTo>
                        <a:pt x="246" y="173"/>
                      </a:lnTo>
                      <a:lnTo>
                        <a:pt x="248" y="173"/>
                      </a:lnTo>
                      <a:lnTo>
                        <a:pt x="250" y="173"/>
                      </a:lnTo>
                      <a:lnTo>
                        <a:pt x="251" y="175"/>
                      </a:lnTo>
                      <a:lnTo>
                        <a:pt x="253" y="175"/>
                      </a:lnTo>
                      <a:lnTo>
                        <a:pt x="255" y="175"/>
                      </a:lnTo>
                      <a:lnTo>
                        <a:pt x="256" y="175"/>
                      </a:lnTo>
                      <a:lnTo>
                        <a:pt x="256" y="173"/>
                      </a:lnTo>
                      <a:lnTo>
                        <a:pt x="256" y="171"/>
                      </a:lnTo>
                      <a:lnTo>
                        <a:pt x="258" y="170"/>
                      </a:lnTo>
                      <a:lnTo>
                        <a:pt x="258" y="168"/>
                      </a:lnTo>
                      <a:lnTo>
                        <a:pt x="260" y="168"/>
                      </a:lnTo>
                      <a:lnTo>
                        <a:pt x="260" y="166"/>
                      </a:lnTo>
                      <a:lnTo>
                        <a:pt x="262" y="166"/>
                      </a:lnTo>
                      <a:lnTo>
                        <a:pt x="262" y="165"/>
                      </a:lnTo>
                      <a:lnTo>
                        <a:pt x="263" y="165"/>
                      </a:lnTo>
                      <a:lnTo>
                        <a:pt x="265" y="163"/>
                      </a:lnTo>
                      <a:lnTo>
                        <a:pt x="265" y="161"/>
                      </a:lnTo>
                      <a:lnTo>
                        <a:pt x="265" y="160"/>
                      </a:lnTo>
                      <a:lnTo>
                        <a:pt x="265" y="158"/>
                      </a:lnTo>
                      <a:lnTo>
                        <a:pt x="265" y="156"/>
                      </a:lnTo>
                      <a:lnTo>
                        <a:pt x="267" y="155"/>
                      </a:lnTo>
                      <a:lnTo>
                        <a:pt x="268" y="155"/>
                      </a:lnTo>
                      <a:lnTo>
                        <a:pt x="270" y="153"/>
                      </a:lnTo>
                      <a:lnTo>
                        <a:pt x="270" y="152"/>
                      </a:lnTo>
                      <a:lnTo>
                        <a:pt x="272" y="148"/>
                      </a:lnTo>
                      <a:lnTo>
                        <a:pt x="272" y="147"/>
                      </a:lnTo>
                      <a:lnTo>
                        <a:pt x="272" y="145"/>
                      </a:lnTo>
                      <a:lnTo>
                        <a:pt x="270" y="145"/>
                      </a:lnTo>
                      <a:lnTo>
                        <a:pt x="272" y="143"/>
                      </a:lnTo>
                      <a:lnTo>
                        <a:pt x="272" y="142"/>
                      </a:lnTo>
                      <a:lnTo>
                        <a:pt x="273" y="142"/>
                      </a:lnTo>
                      <a:lnTo>
                        <a:pt x="275" y="142"/>
                      </a:lnTo>
                      <a:lnTo>
                        <a:pt x="278" y="142"/>
                      </a:lnTo>
                      <a:lnTo>
                        <a:pt x="278" y="140"/>
                      </a:lnTo>
                      <a:lnTo>
                        <a:pt x="278" y="138"/>
                      </a:lnTo>
                      <a:lnTo>
                        <a:pt x="280" y="138"/>
                      </a:lnTo>
                      <a:lnTo>
                        <a:pt x="280" y="137"/>
                      </a:lnTo>
                      <a:lnTo>
                        <a:pt x="282" y="137"/>
                      </a:lnTo>
                      <a:lnTo>
                        <a:pt x="282" y="135"/>
                      </a:lnTo>
                      <a:lnTo>
                        <a:pt x="280" y="133"/>
                      </a:lnTo>
                      <a:lnTo>
                        <a:pt x="278" y="133"/>
                      </a:lnTo>
                      <a:lnTo>
                        <a:pt x="277" y="132"/>
                      </a:lnTo>
                      <a:lnTo>
                        <a:pt x="278" y="130"/>
                      </a:lnTo>
                      <a:lnTo>
                        <a:pt x="278" y="129"/>
                      </a:lnTo>
                      <a:lnTo>
                        <a:pt x="277" y="129"/>
                      </a:lnTo>
                      <a:lnTo>
                        <a:pt x="277" y="127"/>
                      </a:lnTo>
                      <a:lnTo>
                        <a:pt x="278" y="127"/>
                      </a:lnTo>
                      <a:lnTo>
                        <a:pt x="278" y="125"/>
                      </a:lnTo>
                      <a:lnTo>
                        <a:pt x="280" y="125"/>
                      </a:lnTo>
                      <a:lnTo>
                        <a:pt x="280" y="124"/>
                      </a:lnTo>
                      <a:lnTo>
                        <a:pt x="280" y="122"/>
                      </a:lnTo>
                      <a:lnTo>
                        <a:pt x="282" y="120"/>
                      </a:lnTo>
                      <a:lnTo>
                        <a:pt x="280" y="119"/>
                      </a:lnTo>
                      <a:lnTo>
                        <a:pt x="278" y="119"/>
                      </a:lnTo>
                      <a:lnTo>
                        <a:pt x="278" y="117"/>
                      </a:lnTo>
                      <a:lnTo>
                        <a:pt x="277" y="117"/>
                      </a:lnTo>
                      <a:lnTo>
                        <a:pt x="275" y="117"/>
                      </a:lnTo>
                      <a:lnTo>
                        <a:pt x="275" y="115"/>
                      </a:lnTo>
                      <a:lnTo>
                        <a:pt x="273" y="115"/>
                      </a:lnTo>
                      <a:lnTo>
                        <a:pt x="272" y="114"/>
                      </a:lnTo>
                      <a:lnTo>
                        <a:pt x="270" y="114"/>
                      </a:lnTo>
                      <a:lnTo>
                        <a:pt x="268" y="112"/>
                      </a:lnTo>
                      <a:lnTo>
                        <a:pt x="268" y="110"/>
                      </a:lnTo>
                      <a:lnTo>
                        <a:pt x="268" y="109"/>
                      </a:lnTo>
                      <a:lnTo>
                        <a:pt x="268" y="107"/>
                      </a:lnTo>
                      <a:lnTo>
                        <a:pt x="267" y="106"/>
                      </a:lnTo>
                      <a:lnTo>
                        <a:pt x="265" y="102"/>
                      </a:lnTo>
                      <a:lnTo>
                        <a:pt x="265" y="101"/>
                      </a:lnTo>
                      <a:lnTo>
                        <a:pt x="265" y="99"/>
                      </a:lnTo>
                      <a:lnTo>
                        <a:pt x="265" y="97"/>
                      </a:lnTo>
                      <a:lnTo>
                        <a:pt x="263" y="96"/>
                      </a:lnTo>
                      <a:lnTo>
                        <a:pt x="263" y="94"/>
                      </a:lnTo>
                      <a:lnTo>
                        <a:pt x="265" y="92"/>
                      </a:lnTo>
                      <a:lnTo>
                        <a:pt x="265" y="91"/>
                      </a:lnTo>
                      <a:lnTo>
                        <a:pt x="267" y="89"/>
                      </a:lnTo>
                      <a:lnTo>
                        <a:pt x="267" y="87"/>
                      </a:lnTo>
                      <a:lnTo>
                        <a:pt x="268" y="87"/>
                      </a:lnTo>
                      <a:lnTo>
                        <a:pt x="268" y="86"/>
                      </a:lnTo>
                      <a:lnTo>
                        <a:pt x="270" y="84"/>
                      </a:lnTo>
                      <a:lnTo>
                        <a:pt x="272" y="84"/>
                      </a:lnTo>
                      <a:lnTo>
                        <a:pt x="273" y="83"/>
                      </a:lnTo>
                      <a:lnTo>
                        <a:pt x="275" y="83"/>
                      </a:lnTo>
                      <a:lnTo>
                        <a:pt x="277" y="81"/>
                      </a:lnTo>
                      <a:lnTo>
                        <a:pt x="278" y="81"/>
                      </a:lnTo>
                      <a:lnTo>
                        <a:pt x="280" y="81"/>
                      </a:lnTo>
                      <a:lnTo>
                        <a:pt x="282" y="79"/>
                      </a:lnTo>
                      <a:lnTo>
                        <a:pt x="283" y="79"/>
                      </a:lnTo>
                      <a:lnTo>
                        <a:pt x="283" y="78"/>
                      </a:lnTo>
                      <a:lnTo>
                        <a:pt x="285" y="78"/>
                      </a:lnTo>
                      <a:lnTo>
                        <a:pt x="285" y="76"/>
                      </a:lnTo>
                      <a:lnTo>
                        <a:pt x="287" y="74"/>
                      </a:lnTo>
                      <a:lnTo>
                        <a:pt x="287" y="73"/>
                      </a:lnTo>
                      <a:lnTo>
                        <a:pt x="287" y="71"/>
                      </a:lnTo>
                      <a:lnTo>
                        <a:pt x="289" y="71"/>
                      </a:lnTo>
                      <a:lnTo>
                        <a:pt x="290" y="71"/>
                      </a:lnTo>
                      <a:lnTo>
                        <a:pt x="292" y="71"/>
                      </a:lnTo>
                      <a:lnTo>
                        <a:pt x="294" y="69"/>
                      </a:lnTo>
                      <a:lnTo>
                        <a:pt x="295" y="69"/>
                      </a:lnTo>
                      <a:lnTo>
                        <a:pt x="297" y="68"/>
                      </a:lnTo>
                      <a:lnTo>
                        <a:pt x="299" y="68"/>
                      </a:lnTo>
                      <a:lnTo>
                        <a:pt x="300" y="66"/>
                      </a:lnTo>
                      <a:lnTo>
                        <a:pt x="300" y="68"/>
                      </a:lnTo>
                      <a:lnTo>
                        <a:pt x="302" y="68"/>
                      </a:lnTo>
                      <a:lnTo>
                        <a:pt x="304" y="68"/>
                      </a:lnTo>
                      <a:lnTo>
                        <a:pt x="307" y="71"/>
                      </a:lnTo>
                      <a:lnTo>
                        <a:pt x="307" y="73"/>
                      </a:lnTo>
                      <a:lnTo>
                        <a:pt x="307" y="74"/>
                      </a:lnTo>
                      <a:lnTo>
                        <a:pt x="309" y="74"/>
                      </a:lnTo>
                      <a:lnTo>
                        <a:pt x="309" y="76"/>
                      </a:lnTo>
                      <a:lnTo>
                        <a:pt x="311" y="76"/>
                      </a:lnTo>
                      <a:lnTo>
                        <a:pt x="311" y="78"/>
                      </a:lnTo>
                      <a:lnTo>
                        <a:pt x="312" y="76"/>
                      </a:lnTo>
                      <a:lnTo>
                        <a:pt x="312" y="78"/>
                      </a:lnTo>
                      <a:lnTo>
                        <a:pt x="314" y="78"/>
                      </a:lnTo>
                      <a:lnTo>
                        <a:pt x="314" y="79"/>
                      </a:lnTo>
                      <a:lnTo>
                        <a:pt x="316" y="79"/>
                      </a:lnTo>
                      <a:lnTo>
                        <a:pt x="316" y="81"/>
                      </a:lnTo>
                      <a:lnTo>
                        <a:pt x="317" y="81"/>
                      </a:lnTo>
                      <a:lnTo>
                        <a:pt x="317" y="83"/>
                      </a:lnTo>
                      <a:lnTo>
                        <a:pt x="319" y="81"/>
                      </a:lnTo>
                      <a:lnTo>
                        <a:pt x="321" y="81"/>
                      </a:lnTo>
                      <a:lnTo>
                        <a:pt x="322" y="81"/>
                      </a:lnTo>
                      <a:lnTo>
                        <a:pt x="322" y="79"/>
                      </a:lnTo>
                      <a:lnTo>
                        <a:pt x="324" y="79"/>
                      </a:lnTo>
                      <a:lnTo>
                        <a:pt x="324" y="81"/>
                      </a:lnTo>
                      <a:lnTo>
                        <a:pt x="326" y="81"/>
                      </a:lnTo>
                      <a:lnTo>
                        <a:pt x="327" y="81"/>
                      </a:lnTo>
                      <a:lnTo>
                        <a:pt x="329" y="79"/>
                      </a:lnTo>
                      <a:lnTo>
                        <a:pt x="329" y="78"/>
                      </a:lnTo>
                      <a:lnTo>
                        <a:pt x="331" y="78"/>
                      </a:lnTo>
                      <a:lnTo>
                        <a:pt x="331" y="79"/>
                      </a:lnTo>
                      <a:lnTo>
                        <a:pt x="331" y="78"/>
                      </a:lnTo>
                      <a:lnTo>
                        <a:pt x="332" y="78"/>
                      </a:lnTo>
                      <a:lnTo>
                        <a:pt x="334" y="78"/>
                      </a:lnTo>
                      <a:lnTo>
                        <a:pt x="334" y="79"/>
                      </a:lnTo>
                      <a:lnTo>
                        <a:pt x="334" y="78"/>
                      </a:lnTo>
                      <a:lnTo>
                        <a:pt x="336" y="79"/>
                      </a:lnTo>
                      <a:lnTo>
                        <a:pt x="338" y="79"/>
                      </a:lnTo>
                      <a:lnTo>
                        <a:pt x="339" y="79"/>
                      </a:lnTo>
                      <a:lnTo>
                        <a:pt x="339" y="81"/>
                      </a:lnTo>
                      <a:lnTo>
                        <a:pt x="341" y="81"/>
                      </a:lnTo>
                      <a:lnTo>
                        <a:pt x="343" y="81"/>
                      </a:lnTo>
                      <a:lnTo>
                        <a:pt x="344" y="81"/>
                      </a:lnTo>
                      <a:lnTo>
                        <a:pt x="344" y="79"/>
                      </a:lnTo>
                      <a:lnTo>
                        <a:pt x="346" y="79"/>
                      </a:lnTo>
                      <a:lnTo>
                        <a:pt x="346" y="81"/>
                      </a:lnTo>
                      <a:lnTo>
                        <a:pt x="348" y="81"/>
                      </a:lnTo>
                      <a:lnTo>
                        <a:pt x="348" y="83"/>
                      </a:lnTo>
                      <a:lnTo>
                        <a:pt x="348" y="84"/>
                      </a:lnTo>
                      <a:lnTo>
                        <a:pt x="348" y="86"/>
                      </a:lnTo>
                      <a:lnTo>
                        <a:pt x="348" y="87"/>
                      </a:lnTo>
                      <a:lnTo>
                        <a:pt x="349" y="89"/>
                      </a:lnTo>
                      <a:lnTo>
                        <a:pt x="349" y="91"/>
                      </a:lnTo>
                      <a:lnTo>
                        <a:pt x="351" y="91"/>
                      </a:lnTo>
                      <a:lnTo>
                        <a:pt x="353" y="91"/>
                      </a:lnTo>
                      <a:lnTo>
                        <a:pt x="353" y="92"/>
                      </a:lnTo>
                      <a:lnTo>
                        <a:pt x="354" y="92"/>
                      </a:lnTo>
                      <a:lnTo>
                        <a:pt x="354" y="94"/>
                      </a:lnTo>
                      <a:lnTo>
                        <a:pt x="356" y="94"/>
                      </a:lnTo>
                      <a:lnTo>
                        <a:pt x="358" y="94"/>
                      </a:lnTo>
                      <a:lnTo>
                        <a:pt x="359" y="94"/>
                      </a:lnTo>
                      <a:lnTo>
                        <a:pt x="359" y="96"/>
                      </a:lnTo>
                      <a:lnTo>
                        <a:pt x="361" y="97"/>
                      </a:lnTo>
                      <a:lnTo>
                        <a:pt x="361" y="99"/>
                      </a:lnTo>
                      <a:lnTo>
                        <a:pt x="361" y="101"/>
                      </a:lnTo>
                      <a:lnTo>
                        <a:pt x="363" y="101"/>
                      </a:lnTo>
                      <a:lnTo>
                        <a:pt x="366" y="101"/>
                      </a:lnTo>
                      <a:lnTo>
                        <a:pt x="366" y="99"/>
                      </a:lnTo>
                      <a:lnTo>
                        <a:pt x="366" y="97"/>
                      </a:lnTo>
                      <a:lnTo>
                        <a:pt x="368" y="97"/>
                      </a:lnTo>
                      <a:lnTo>
                        <a:pt x="370" y="96"/>
                      </a:lnTo>
                      <a:lnTo>
                        <a:pt x="371" y="94"/>
                      </a:lnTo>
                      <a:lnTo>
                        <a:pt x="370" y="92"/>
                      </a:lnTo>
                      <a:lnTo>
                        <a:pt x="371" y="92"/>
                      </a:lnTo>
                      <a:lnTo>
                        <a:pt x="373" y="92"/>
                      </a:lnTo>
                      <a:lnTo>
                        <a:pt x="375" y="94"/>
                      </a:lnTo>
                      <a:lnTo>
                        <a:pt x="376" y="94"/>
                      </a:lnTo>
                      <a:lnTo>
                        <a:pt x="376" y="92"/>
                      </a:lnTo>
                      <a:lnTo>
                        <a:pt x="378" y="92"/>
                      </a:lnTo>
                      <a:lnTo>
                        <a:pt x="380" y="92"/>
                      </a:lnTo>
                      <a:lnTo>
                        <a:pt x="381" y="91"/>
                      </a:lnTo>
                      <a:lnTo>
                        <a:pt x="381" y="89"/>
                      </a:lnTo>
                      <a:lnTo>
                        <a:pt x="383" y="89"/>
                      </a:lnTo>
                      <a:lnTo>
                        <a:pt x="385" y="89"/>
                      </a:lnTo>
                      <a:lnTo>
                        <a:pt x="387" y="89"/>
                      </a:lnTo>
                      <a:lnTo>
                        <a:pt x="388" y="89"/>
                      </a:lnTo>
                      <a:lnTo>
                        <a:pt x="390" y="89"/>
                      </a:lnTo>
                      <a:lnTo>
                        <a:pt x="392" y="89"/>
                      </a:lnTo>
                      <a:lnTo>
                        <a:pt x="392" y="87"/>
                      </a:lnTo>
                      <a:lnTo>
                        <a:pt x="393" y="87"/>
                      </a:lnTo>
                      <a:lnTo>
                        <a:pt x="392" y="86"/>
                      </a:lnTo>
                      <a:lnTo>
                        <a:pt x="393" y="86"/>
                      </a:lnTo>
                      <a:lnTo>
                        <a:pt x="395" y="86"/>
                      </a:lnTo>
                      <a:lnTo>
                        <a:pt x="397" y="86"/>
                      </a:lnTo>
                      <a:lnTo>
                        <a:pt x="397" y="84"/>
                      </a:lnTo>
                      <a:lnTo>
                        <a:pt x="398" y="84"/>
                      </a:lnTo>
                      <a:lnTo>
                        <a:pt x="398" y="81"/>
                      </a:lnTo>
                      <a:lnTo>
                        <a:pt x="402" y="79"/>
                      </a:lnTo>
                      <a:lnTo>
                        <a:pt x="403" y="79"/>
                      </a:lnTo>
                      <a:lnTo>
                        <a:pt x="405" y="78"/>
                      </a:lnTo>
                      <a:lnTo>
                        <a:pt x="405" y="76"/>
                      </a:lnTo>
                      <a:lnTo>
                        <a:pt x="405" y="74"/>
                      </a:lnTo>
                      <a:lnTo>
                        <a:pt x="408" y="74"/>
                      </a:lnTo>
                      <a:lnTo>
                        <a:pt x="408" y="73"/>
                      </a:lnTo>
                      <a:lnTo>
                        <a:pt x="410" y="73"/>
                      </a:lnTo>
                      <a:lnTo>
                        <a:pt x="410" y="71"/>
                      </a:lnTo>
                      <a:lnTo>
                        <a:pt x="412" y="71"/>
                      </a:lnTo>
                      <a:lnTo>
                        <a:pt x="414" y="71"/>
                      </a:lnTo>
                      <a:lnTo>
                        <a:pt x="415" y="69"/>
                      </a:lnTo>
                      <a:lnTo>
                        <a:pt x="417" y="69"/>
                      </a:lnTo>
                      <a:lnTo>
                        <a:pt x="419" y="69"/>
                      </a:lnTo>
                      <a:lnTo>
                        <a:pt x="420" y="69"/>
                      </a:lnTo>
                      <a:lnTo>
                        <a:pt x="422" y="69"/>
                      </a:lnTo>
                      <a:lnTo>
                        <a:pt x="424" y="69"/>
                      </a:lnTo>
                      <a:lnTo>
                        <a:pt x="425" y="69"/>
                      </a:lnTo>
                      <a:lnTo>
                        <a:pt x="427" y="69"/>
                      </a:lnTo>
                      <a:lnTo>
                        <a:pt x="429" y="69"/>
                      </a:lnTo>
                      <a:lnTo>
                        <a:pt x="430" y="68"/>
                      </a:lnTo>
                      <a:lnTo>
                        <a:pt x="432" y="66"/>
                      </a:lnTo>
                      <a:lnTo>
                        <a:pt x="434" y="66"/>
                      </a:lnTo>
                      <a:lnTo>
                        <a:pt x="435" y="66"/>
                      </a:lnTo>
                      <a:lnTo>
                        <a:pt x="437" y="66"/>
                      </a:lnTo>
                      <a:lnTo>
                        <a:pt x="439" y="68"/>
                      </a:lnTo>
                      <a:lnTo>
                        <a:pt x="441" y="66"/>
                      </a:lnTo>
                      <a:lnTo>
                        <a:pt x="442" y="66"/>
                      </a:lnTo>
                      <a:lnTo>
                        <a:pt x="442" y="68"/>
                      </a:lnTo>
                      <a:lnTo>
                        <a:pt x="444" y="68"/>
                      </a:lnTo>
                      <a:lnTo>
                        <a:pt x="446" y="68"/>
                      </a:lnTo>
                      <a:lnTo>
                        <a:pt x="447" y="68"/>
                      </a:lnTo>
                      <a:lnTo>
                        <a:pt x="447" y="66"/>
                      </a:lnTo>
                      <a:lnTo>
                        <a:pt x="449" y="66"/>
                      </a:lnTo>
                      <a:lnTo>
                        <a:pt x="451" y="66"/>
                      </a:lnTo>
                      <a:lnTo>
                        <a:pt x="451" y="64"/>
                      </a:lnTo>
                      <a:lnTo>
                        <a:pt x="452" y="64"/>
                      </a:lnTo>
                      <a:lnTo>
                        <a:pt x="454" y="66"/>
                      </a:lnTo>
                      <a:lnTo>
                        <a:pt x="454" y="64"/>
                      </a:lnTo>
                      <a:lnTo>
                        <a:pt x="456" y="63"/>
                      </a:lnTo>
                      <a:lnTo>
                        <a:pt x="456" y="60"/>
                      </a:lnTo>
                      <a:lnTo>
                        <a:pt x="457" y="58"/>
                      </a:lnTo>
                      <a:lnTo>
                        <a:pt x="457" y="56"/>
                      </a:lnTo>
                      <a:lnTo>
                        <a:pt x="459" y="56"/>
                      </a:lnTo>
                      <a:lnTo>
                        <a:pt x="459" y="55"/>
                      </a:lnTo>
                      <a:lnTo>
                        <a:pt x="461" y="53"/>
                      </a:lnTo>
                      <a:lnTo>
                        <a:pt x="463" y="53"/>
                      </a:lnTo>
                      <a:lnTo>
                        <a:pt x="464" y="51"/>
                      </a:lnTo>
                      <a:lnTo>
                        <a:pt x="464" y="50"/>
                      </a:lnTo>
                      <a:lnTo>
                        <a:pt x="464" y="48"/>
                      </a:lnTo>
                      <a:lnTo>
                        <a:pt x="464" y="46"/>
                      </a:lnTo>
                      <a:lnTo>
                        <a:pt x="464" y="45"/>
                      </a:lnTo>
                      <a:lnTo>
                        <a:pt x="466" y="43"/>
                      </a:lnTo>
                      <a:lnTo>
                        <a:pt x="468" y="45"/>
                      </a:lnTo>
                      <a:lnTo>
                        <a:pt x="469" y="45"/>
                      </a:lnTo>
                      <a:lnTo>
                        <a:pt x="469" y="43"/>
                      </a:lnTo>
                      <a:lnTo>
                        <a:pt x="471" y="43"/>
                      </a:lnTo>
                      <a:lnTo>
                        <a:pt x="469" y="43"/>
                      </a:lnTo>
                      <a:lnTo>
                        <a:pt x="471" y="41"/>
                      </a:lnTo>
                      <a:lnTo>
                        <a:pt x="473" y="41"/>
                      </a:lnTo>
                      <a:lnTo>
                        <a:pt x="474" y="41"/>
                      </a:lnTo>
                      <a:lnTo>
                        <a:pt x="474" y="40"/>
                      </a:lnTo>
                      <a:lnTo>
                        <a:pt x="476" y="40"/>
                      </a:lnTo>
                      <a:lnTo>
                        <a:pt x="476" y="38"/>
                      </a:lnTo>
                      <a:lnTo>
                        <a:pt x="478" y="40"/>
                      </a:lnTo>
                      <a:lnTo>
                        <a:pt x="478" y="38"/>
                      </a:lnTo>
                      <a:lnTo>
                        <a:pt x="479" y="38"/>
                      </a:lnTo>
                      <a:lnTo>
                        <a:pt x="479" y="40"/>
                      </a:lnTo>
                      <a:lnTo>
                        <a:pt x="481" y="40"/>
                      </a:lnTo>
                      <a:lnTo>
                        <a:pt x="483" y="40"/>
                      </a:lnTo>
                      <a:lnTo>
                        <a:pt x="481" y="38"/>
                      </a:lnTo>
                      <a:lnTo>
                        <a:pt x="483" y="38"/>
                      </a:lnTo>
                      <a:lnTo>
                        <a:pt x="481" y="38"/>
                      </a:lnTo>
                      <a:lnTo>
                        <a:pt x="483" y="37"/>
                      </a:lnTo>
                      <a:lnTo>
                        <a:pt x="484" y="35"/>
                      </a:lnTo>
                      <a:lnTo>
                        <a:pt x="484" y="33"/>
                      </a:lnTo>
                      <a:lnTo>
                        <a:pt x="486" y="33"/>
                      </a:lnTo>
                      <a:lnTo>
                        <a:pt x="486" y="32"/>
                      </a:lnTo>
                      <a:lnTo>
                        <a:pt x="484" y="32"/>
                      </a:lnTo>
                      <a:lnTo>
                        <a:pt x="486" y="30"/>
                      </a:lnTo>
                      <a:lnTo>
                        <a:pt x="488" y="28"/>
                      </a:lnTo>
                      <a:lnTo>
                        <a:pt x="490" y="28"/>
                      </a:lnTo>
                      <a:lnTo>
                        <a:pt x="490" y="27"/>
                      </a:lnTo>
                      <a:lnTo>
                        <a:pt x="491" y="25"/>
                      </a:lnTo>
                      <a:lnTo>
                        <a:pt x="493" y="25"/>
                      </a:lnTo>
                      <a:lnTo>
                        <a:pt x="493" y="23"/>
                      </a:lnTo>
                      <a:lnTo>
                        <a:pt x="493" y="25"/>
                      </a:lnTo>
                      <a:lnTo>
                        <a:pt x="495" y="22"/>
                      </a:lnTo>
                      <a:lnTo>
                        <a:pt x="496" y="20"/>
                      </a:lnTo>
                      <a:lnTo>
                        <a:pt x="496" y="18"/>
                      </a:lnTo>
                      <a:lnTo>
                        <a:pt x="496" y="17"/>
                      </a:lnTo>
                      <a:lnTo>
                        <a:pt x="498" y="15"/>
                      </a:lnTo>
                      <a:lnTo>
                        <a:pt x="500" y="15"/>
                      </a:lnTo>
                      <a:lnTo>
                        <a:pt x="500" y="17"/>
                      </a:lnTo>
                      <a:lnTo>
                        <a:pt x="501" y="17"/>
                      </a:lnTo>
                      <a:lnTo>
                        <a:pt x="501" y="18"/>
                      </a:lnTo>
                      <a:lnTo>
                        <a:pt x="503" y="18"/>
                      </a:lnTo>
                      <a:lnTo>
                        <a:pt x="503" y="17"/>
                      </a:lnTo>
                      <a:lnTo>
                        <a:pt x="505" y="17"/>
                      </a:lnTo>
                      <a:lnTo>
                        <a:pt x="505" y="18"/>
                      </a:lnTo>
                      <a:lnTo>
                        <a:pt x="506" y="18"/>
                      </a:lnTo>
                      <a:lnTo>
                        <a:pt x="508" y="18"/>
                      </a:lnTo>
                      <a:lnTo>
                        <a:pt x="508" y="17"/>
                      </a:lnTo>
                      <a:lnTo>
                        <a:pt x="510" y="17"/>
                      </a:lnTo>
                      <a:lnTo>
                        <a:pt x="511" y="17"/>
                      </a:lnTo>
                      <a:lnTo>
                        <a:pt x="511" y="15"/>
                      </a:lnTo>
                      <a:lnTo>
                        <a:pt x="513" y="15"/>
                      </a:lnTo>
                      <a:lnTo>
                        <a:pt x="515" y="17"/>
                      </a:lnTo>
                      <a:lnTo>
                        <a:pt x="515" y="15"/>
                      </a:lnTo>
                      <a:lnTo>
                        <a:pt x="517" y="17"/>
                      </a:lnTo>
                      <a:lnTo>
                        <a:pt x="517" y="15"/>
                      </a:lnTo>
                      <a:lnTo>
                        <a:pt x="517" y="17"/>
                      </a:lnTo>
                      <a:lnTo>
                        <a:pt x="517" y="15"/>
                      </a:lnTo>
                      <a:lnTo>
                        <a:pt x="518" y="17"/>
                      </a:lnTo>
                      <a:lnTo>
                        <a:pt x="520" y="15"/>
                      </a:lnTo>
                      <a:lnTo>
                        <a:pt x="522" y="15"/>
                      </a:lnTo>
                      <a:lnTo>
                        <a:pt x="523" y="15"/>
                      </a:lnTo>
                      <a:lnTo>
                        <a:pt x="523" y="17"/>
                      </a:lnTo>
                      <a:lnTo>
                        <a:pt x="522" y="17"/>
                      </a:lnTo>
                      <a:lnTo>
                        <a:pt x="522" y="18"/>
                      </a:lnTo>
                      <a:lnTo>
                        <a:pt x="522" y="20"/>
                      </a:lnTo>
                      <a:lnTo>
                        <a:pt x="523" y="20"/>
                      </a:lnTo>
                      <a:lnTo>
                        <a:pt x="523" y="22"/>
                      </a:lnTo>
                      <a:lnTo>
                        <a:pt x="523" y="23"/>
                      </a:lnTo>
                      <a:lnTo>
                        <a:pt x="525" y="23"/>
                      </a:lnTo>
                      <a:lnTo>
                        <a:pt x="527" y="23"/>
                      </a:lnTo>
                      <a:lnTo>
                        <a:pt x="528" y="23"/>
                      </a:lnTo>
                      <a:lnTo>
                        <a:pt x="530" y="23"/>
                      </a:lnTo>
                      <a:lnTo>
                        <a:pt x="530" y="25"/>
                      </a:lnTo>
                      <a:lnTo>
                        <a:pt x="532" y="25"/>
                      </a:lnTo>
                      <a:lnTo>
                        <a:pt x="532" y="27"/>
                      </a:lnTo>
                      <a:lnTo>
                        <a:pt x="530" y="27"/>
                      </a:lnTo>
                      <a:lnTo>
                        <a:pt x="530" y="28"/>
                      </a:lnTo>
                      <a:lnTo>
                        <a:pt x="532" y="28"/>
                      </a:lnTo>
                      <a:lnTo>
                        <a:pt x="533" y="27"/>
                      </a:lnTo>
                      <a:lnTo>
                        <a:pt x="535" y="27"/>
                      </a:lnTo>
                      <a:lnTo>
                        <a:pt x="537" y="27"/>
                      </a:lnTo>
                      <a:lnTo>
                        <a:pt x="537" y="28"/>
                      </a:lnTo>
                      <a:lnTo>
                        <a:pt x="539" y="28"/>
                      </a:lnTo>
                      <a:lnTo>
                        <a:pt x="540" y="28"/>
                      </a:lnTo>
                      <a:lnTo>
                        <a:pt x="542" y="28"/>
                      </a:lnTo>
                      <a:lnTo>
                        <a:pt x="542" y="30"/>
                      </a:lnTo>
                      <a:lnTo>
                        <a:pt x="544" y="30"/>
                      </a:lnTo>
                      <a:lnTo>
                        <a:pt x="544" y="32"/>
                      </a:lnTo>
                      <a:lnTo>
                        <a:pt x="544" y="33"/>
                      </a:lnTo>
                      <a:lnTo>
                        <a:pt x="545" y="33"/>
                      </a:lnTo>
                      <a:lnTo>
                        <a:pt x="545" y="35"/>
                      </a:lnTo>
                      <a:lnTo>
                        <a:pt x="547" y="37"/>
                      </a:lnTo>
                      <a:lnTo>
                        <a:pt x="547" y="38"/>
                      </a:lnTo>
                      <a:lnTo>
                        <a:pt x="547" y="41"/>
                      </a:lnTo>
                      <a:lnTo>
                        <a:pt x="549" y="41"/>
                      </a:lnTo>
                      <a:lnTo>
                        <a:pt x="549" y="43"/>
                      </a:lnTo>
                      <a:lnTo>
                        <a:pt x="549" y="45"/>
                      </a:lnTo>
                      <a:lnTo>
                        <a:pt x="550" y="45"/>
                      </a:lnTo>
                      <a:lnTo>
                        <a:pt x="550" y="46"/>
                      </a:lnTo>
                      <a:lnTo>
                        <a:pt x="550" y="48"/>
                      </a:lnTo>
                      <a:lnTo>
                        <a:pt x="550" y="50"/>
                      </a:lnTo>
                      <a:lnTo>
                        <a:pt x="552" y="50"/>
                      </a:lnTo>
                      <a:lnTo>
                        <a:pt x="552" y="51"/>
                      </a:lnTo>
                      <a:lnTo>
                        <a:pt x="554" y="51"/>
                      </a:lnTo>
                      <a:lnTo>
                        <a:pt x="554" y="53"/>
                      </a:lnTo>
                      <a:lnTo>
                        <a:pt x="555" y="51"/>
                      </a:lnTo>
                      <a:lnTo>
                        <a:pt x="555" y="53"/>
                      </a:lnTo>
                      <a:lnTo>
                        <a:pt x="557" y="53"/>
                      </a:lnTo>
                      <a:lnTo>
                        <a:pt x="557" y="55"/>
                      </a:lnTo>
                      <a:lnTo>
                        <a:pt x="557" y="53"/>
                      </a:lnTo>
                      <a:lnTo>
                        <a:pt x="559" y="55"/>
                      </a:lnTo>
                      <a:lnTo>
                        <a:pt x="560" y="55"/>
                      </a:lnTo>
                      <a:lnTo>
                        <a:pt x="560" y="56"/>
                      </a:lnTo>
                      <a:lnTo>
                        <a:pt x="562" y="56"/>
                      </a:lnTo>
                      <a:lnTo>
                        <a:pt x="564" y="56"/>
                      </a:lnTo>
                      <a:lnTo>
                        <a:pt x="564" y="58"/>
                      </a:lnTo>
                      <a:lnTo>
                        <a:pt x="566" y="58"/>
                      </a:lnTo>
                      <a:lnTo>
                        <a:pt x="566" y="60"/>
                      </a:lnTo>
                      <a:lnTo>
                        <a:pt x="564" y="61"/>
                      </a:lnTo>
                      <a:lnTo>
                        <a:pt x="564" y="63"/>
                      </a:lnTo>
                      <a:lnTo>
                        <a:pt x="562" y="64"/>
                      </a:lnTo>
                      <a:lnTo>
                        <a:pt x="564" y="64"/>
                      </a:lnTo>
                      <a:lnTo>
                        <a:pt x="564" y="66"/>
                      </a:lnTo>
                      <a:lnTo>
                        <a:pt x="564" y="68"/>
                      </a:lnTo>
                      <a:lnTo>
                        <a:pt x="562" y="69"/>
                      </a:lnTo>
                      <a:lnTo>
                        <a:pt x="560" y="69"/>
                      </a:lnTo>
                      <a:lnTo>
                        <a:pt x="562" y="69"/>
                      </a:lnTo>
                      <a:lnTo>
                        <a:pt x="560" y="71"/>
                      </a:lnTo>
                      <a:lnTo>
                        <a:pt x="559" y="71"/>
                      </a:lnTo>
                      <a:lnTo>
                        <a:pt x="559" y="69"/>
                      </a:lnTo>
                      <a:lnTo>
                        <a:pt x="559" y="71"/>
                      </a:lnTo>
                      <a:lnTo>
                        <a:pt x="557" y="71"/>
                      </a:lnTo>
                      <a:lnTo>
                        <a:pt x="557" y="73"/>
                      </a:lnTo>
                      <a:lnTo>
                        <a:pt x="559" y="73"/>
                      </a:lnTo>
                      <a:lnTo>
                        <a:pt x="559" y="74"/>
                      </a:lnTo>
                      <a:lnTo>
                        <a:pt x="559" y="76"/>
                      </a:lnTo>
                      <a:lnTo>
                        <a:pt x="557" y="76"/>
                      </a:lnTo>
                      <a:lnTo>
                        <a:pt x="557" y="78"/>
                      </a:lnTo>
                      <a:lnTo>
                        <a:pt x="559" y="78"/>
                      </a:lnTo>
                      <a:lnTo>
                        <a:pt x="557" y="79"/>
                      </a:lnTo>
                      <a:lnTo>
                        <a:pt x="559" y="79"/>
                      </a:lnTo>
                      <a:lnTo>
                        <a:pt x="557" y="81"/>
                      </a:lnTo>
                      <a:lnTo>
                        <a:pt x="555" y="81"/>
                      </a:lnTo>
                      <a:lnTo>
                        <a:pt x="557" y="83"/>
                      </a:lnTo>
                      <a:lnTo>
                        <a:pt x="555" y="84"/>
                      </a:lnTo>
                      <a:lnTo>
                        <a:pt x="557" y="84"/>
                      </a:lnTo>
                      <a:lnTo>
                        <a:pt x="560" y="84"/>
                      </a:lnTo>
                      <a:lnTo>
                        <a:pt x="562" y="86"/>
                      </a:lnTo>
                      <a:lnTo>
                        <a:pt x="564" y="86"/>
                      </a:lnTo>
                      <a:lnTo>
                        <a:pt x="567" y="86"/>
                      </a:lnTo>
                      <a:lnTo>
                        <a:pt x="567" y="87"/>
                      </a:lnTo>
                      <a:lnTo>
                        <a:pt x="569" y="87"/>
                      </a:lnTo>
                      <a:lnTo>
                        <a:pt x="571" y="87"/>
                      </a:lnTo>
                      <a:lnTo>
                        <a:pt x="572" y="86"/>
                      </a:lnTo>
                      <a:lnTo>
                        <a:pt x="574" y="86"/>
                      </a:lnTo>
                      <a:lnTo>
                        <a:pt x="576" y="86"/>
                      </a:lnTo>
                      <a:lnTo>
                        <a:pt x="576" y="84"/>
                      </a:lnTo>
                      <a:lnTo>
                        <a:pt x="577" y="84"/>
                      </a:lnTo>
                      <a:lnTo>
                        <a:pt x="577" y="83"/>
                      </a:lnTo>
                      <a:lnTo>
                        <a:pt x="577" y="81"/>
                      </a:lnTo>
                      <a:lnTo>
                        <a:pt x="579" y="81"/>
                      </a:lnTo>
                      <a:lnTo>
                        <a:pt x="581" y="81"/>
                      </a:lnTo>
                      <a:lnTo>
                        <a:pt x="582" y="81"/>
                      </a:lnTo>
                      <a:lnTo>
                        <a:pt x="584" y="81"/>
                      </a:lnTo>
                      <a:lnTo>
                        <a:pt x="586" y="81"/>
                      </a:lnTo>
                      <a:lnTo>
                        <a:pt x="586" y="79"/>
                      </a:lnTo>
                      <a:lnTo>
                        <a:pt x="587" y="76"/>
                      </a:lnTo>
                      <a:lnTo>
                        <a:pt x="589" y="76"/>
                      </a:lnTo>
                      <a:lnTo>
                        <a:pt x="591" y="76"/>
                      </a:lnTo>
                      <a:lnTo>
                        <a:pt x="591" y="78"/>
                      </a:lnTo>
                      <a:lnTo>
                        <a:pt x="593" y="78"/>
                      </a:lnTo>
                      <a:lnTo>
                        <a:pt x="594" y="78"/>
                      </a:lnTo>
                      <a:lnTo>
                        <a:pt x="596" y="78"/>
                      </a:lnTo>
                      <a:lnTo>
                        <a:pt x="596" y="76"/>
                      </a:lnTo>
                      <a:lnTo>
                        <a:pt x="598" y="76"/>
                      </a:lnTo>
                      <a:lnTo>
                        <a:pt x="596" y="74"/>
                      </a:lnTo>
                      <a:lnTo>
                        <a:pt x="596" y="73"/>
                      </a:lnTo>
                      <a:lnTo>
                        <a:pt x="598" y="73"/>
                      </a:lnTo>
                      <a:lnTo>
                        <a:pt x="598" y="71"/>
                      </a:lnTo>
                      <a:lnTo>
                        <a:pt x="598" y="69"/>
                      </a:lnTo>
                      <a:lnTo>
                        <a:pt x="599" y="69"/>
                      </a:lnTo>
                      <a:lnTo>
                        <a:pt x="599" y="68"/>
                      </a:lnTo>
                      <a:lnTo>
                        <a:pt x="599" y="66"/>
                      </a:lnTo>
                      <a:lnTo>
                        <a:pt x="599" y="64"/>
                      </a:lnTo>
                      <a:lnTo>
                        <a:pt x="601" y="63"/>
                      </a:lnTo>
                      <a:lnTo>
                        <a:pt x="601" y="61"/>
                      </a:lnTo>
                      <a:lnTo>
                        <a:pt x="601" y="60"/>
                      </a:lnTo>
                      <a:lnTo>
                        <a:pt x="601" y="58"/>
                      </a:lnTo>
                      <a:lnTo>
                        <a:pt x="601" y="56"/>
                      </a:lnTo>
                      <a:lnTo>
                        <a:pt x="601" y="53"/>
                      </a:lnTo>
                      <a:lnTo>
                        <a:pt x="603" y="51"/>
                      </a:lnTo>
                      <a:lnTo>
                        <a:pt x="603" y="50"/>
                      </a:lnTo>
                      <a:lnTo>
                        <a:pt x="604" y="50"/>
                      </a:lnTo>
                      <a:lnTo>
                        <a:pt x="604" y="48"/>
                      </a:lnTo>
                      <a:lnTo>
                        <a:pt x="606" y="48"/>
                      </a:lnTo>
                      <a:lnTo>
                        <a:pt x="608" y="48"/>
                      </a:lnTo>
                      <a:lnTo>
                        <a:pt x="609" y="48"/>
                      </a:lnTo>
                      <a:lnTo>
                        <a:pt x="609" y="50"/>
                      </a:lnTo>
                      <a:lnTo>
                        <a:pt x="611" y="51"/>
                      </a:lnTo>
                      <a:lnTo>
                        <a:pt x="613" y="51"/>
                      </a:lnTo>
                      <a:lnTo>
                        <a:pt x="613" y="53"/>
                      </a:lnTo>
                      <a:lnTo>
                        <a:pt x="615" y="53"/>
                      </a:lnTo>
                      <a:lnTo>
                        <a:pt x="616" y="53"/>
                      </a:lnTo>
                      <a:lnTo>
                        <a:pt x="618" y="53"/>
                      </a:lnTo>
                      <a:lnTo>
                        <a:pt x="618" y="51"/>
                      </a:lnTo>
                      <a:lnTo>
                        <a:pt x="620" y="51"/>
                      </a:lnTo>
                      <a:lnTo>
                        <a:pt x="621" y="50"/>
                      </a:lnTo>
                      <a:lnTo>
                        <a:pt x="621" y="48"/>
                      </a:lnTo>
                      <a:lnTo>
                        <a:pt x="623" y="48"/>
                      </a:lnTo>
                      <a:lnTo>
                        <a:pt x="625" y="48"/>
                      </a:lnTo>
                      <a:lnTo>
                        <a:pt x="626" y="48"/>
                      </a:lnTo>
                      <a:lnTo>
                        <a:pt x="628" y="48"/>
                      </a:lnTo>
                      <a:lnTo>
                        <a:pt x="630" y="48"/>
                      </a:lnTo>
                      <a:lnTo>
                        <a:pt x="631" y="48"/>
                      </a:lnTo>
                      <a:lnTo>
                        <a:pt x="633" y="46"/>
                      </a:lnTo>
                      <a:lnTo>
                        <a:pt x="635" y="45"/>
                      </a:lnTo>
                      <a:lnTo>
                        <a:pt x="635" y="43"/>
                      </a:lnTo>
                      <a:lnTo>
                        <a:pt x="636" y="43"/>
                      </a:lnTo>
                      <a:lnTo>
                        <a:pt x="636" y="41"/>
                      </a:lnTo>
                      <a:lnTo>
                        <a:pt x="638" y="40"/>
                      </a:lnTo>
                      <a:lnTo>
                        <a:pt x="640" y="38"/>
                      </a:lnTo>
                      <a:lnTo>
                        <a:pt x="640" y="37"/>
                      </a:lnTo>
                      <a:lnTo>
                        <a:pt x="640" y="35"/>
                      </a:lnTo>
                      <a:lnTo>
                        <a:pt x="640" y="33"/>
                      </a:lnTo>
                      <a:lnTo>
                        <a:pt x="638" y="32"/>
                      </a:lnTo>
                      <a:lnTo>
                        <a:pt x="638" y="30"/>
                      </a:lnTo>
                      <a:lnTo>
                        <a:pt x="638" y="28"/>
                      </a:lnTo>
                      <a:lnTo>
                        <a:pt x="638" y="27"/>
                      </a:lnTo>
                      <a:lnTo>
                        <a:pt x="640" y="27"/>
                      </a:lnTo>
                      <a:lnTo>
                        <a:pt x="642" y="27"/>
                      </a:lnTo>
                      <a:lnTo>
                        <a:pt x="643" y="27"/>
                      </a:lnTo>
                      <a:lnTo>
                        <a:pt x="645" y="25"/>
                      </a:lnTo>
                      <a:lnTo>
                        <a:pt x="647" y="25"/>
                      </a:lnTo>
                      <a:lnTo>
                        <a:pt x="647" y="27"/>
                      </a:lnTo>
                      <a:lnTo>
                        <a:pt x="648" y="27"/>
                      </a:lnTo>
                      <a:lnTo>
                        <a:pt x="650" y="25"/>
                      </a:lnTo>
                      <a:lnTo>
                        <a:pt x="652" y="25"/>
                      </a:lnTo>
                      <a:lnTo>
                        <a:pt x="652" y="23"/>
                      </a:lnTo>
                      <a:lnTo>
                        <a:pt x="653" y="23"/>
                      </a:lnTo>
                      <a:lnTo>
                        <a:pt x="655" y="23"/>
                      </a:lnTo>
                      <a:lnTo>
                        <a:pt x="657" y="25"/>
                      </a:lnTo>
                      <a:lnTo>
                        <a:pt x="658" y="23"/>
                      </a:lnTo>
                      <a:lnTo>
                        <a:pt x="660" y="23"/>
                      </a:lnTo>
                      <a:lnTo>
                        <a:pt x="660" y="22"/>
                      </a:lnTo>
                      <a:lnTo>
                        <a:pt x="658" y="22"/>
                      </a:lnTo>
                      <a:lnTo>
                        <a:pt x="658" y="20"/>
                      </a:lnTo>
                      <a:lnTo>
                        <a:pt x="660" y="18"/>
                      </a:lnTo>
                      <a:lnTo>
                        <a:pt x="658" y="18"/>
                      </a:lnTo>
                      <a:lnTo>
                        <a:pt x="658" y="17"/>
                      </a:lnTo>
                      <a:lnTo>
                        <a:pt x="657" y="14"/>
                      </a:lnTo>
                      <a:lnTo>
                        <a:pt x="657" y="12"/>
                      </a:lnTo>
                      <a:lnTo>
                        <a:pt x="658" y="12"/>
                      </a:lnTo>
                      <a:lnTo>
                        <a:pt x="660" y="12"/>
                      </a:lnTo>
                      <a:lnTo>
                        <a:pt x="662" y="12"/>
                      </a:lnTo>
                      <a:lnTo>
                        <a:pt x="663" y="12"/>
                      </a:lnTo>
                      <a:lnTo>
                        <a:pt x="663" y="10"/>
                      </a:lnTo>
                      <a:lnTo>
                        <a:pt x="665" y="12"/>
                      </a:lnTo>
                      <a:lnTo>
                        <a:pt x="667" y="10"/>
                      </a:lnTo>
                      <a:lnTo>
                        <a:pt x="669" y="10"/>
                      </a:lnTo>
                      <a:lnTo>
                        <a:pt x="669" y="9"/>
                      </a:lnTo>
                      <a:lnTo>
                        <a:pt x="670" y="9"/>
                      </a:lnTo>
                      <a:lnTo>
                        <a:pt x="672" y="7"/>
                      </a:lnTo>
                      <a:lnTo>
                        <a:pt x="674" y="7"/>
                      </a:lnTo>
                      <a:lnTo>
                        <a:pt x="674" y="5"/>
                      </a:lnTo>
                      <a:lnTo>
                        <a:pt x="675" y="5"/>
                      </a:lnTo>
                      <a:lnTo>
                        <a:pt x="677" y="5"/>
                      </a:lnTo>
                      <a:lnTo>
                        <a:pt x="679" y="5"/>
                      </a:lnTo>
                      <a:lnTo>
                        <a:pt x="679" y="4"/>
                      </a:lnTo>
                      <a:lnTo>
                        <a:pt x="680" y="4"/>
                      </a:lnTo>
                      <a:lnTo>
                        <a:pt x="680" y="2"/>
                      </a:lnTo>
                      <a:lnTo>
                        <a:pt x="682" y="2"/>
                      </a:lnTo>
                      <a:lnTo>
                        <a:pt x="684" y="2"/>
                      </a:lnTo>
                      <a:lnTo>
                        <a:pt x="684" y="0"/>
                      </a:lnTo>
                      <a:lnTo>
                        <a:pt x="685" y="0"/>
                      </a:lnTo>
                      <a:lnTo>
                        <a:pt x="687" y="0"/>
                      </a:lnTo>
                      <a:lnTo>
                        <a:pt x="689" y="0"/>
                      </a:lnTo>
                      <a:lnTo>
                        <a:pt x="691" y="2"/>
                      </a:lnTo>
                      <a:lnTo>
                        <a:pt x="692" y="2"/>
                      </a:lnTo>
                      <a:lnTo>
                        <a:pt x="694" y="2"/>
                      </a:lnTo>
                      <a:lnTo>
                        <a:pt x="696" y="2"/>
                      </a:lnTo>
                      <a:lnTo>
                        <a:pt x="697" y="4"/>
                      </a:lnTo>
                      <a:lnTo>
                        <a:pt x="697" y="5"/>
                      </a:lnTo>
                      <a:lnTo>
                        <a:pt x="697" y="7"/>
                      </a:lnTo>
                      <a:lnTo>
                        <a:pt x="699" y="7"/>
                      </a:lnTo>
                      <a:lnTo>
                        <a:pt x="699" y="9"/>
                      </a:lnTo>
                      <a:lnTo>
                        <a:pt x="701" y="9"/>
                      </a:lnTo>
                      <a:lnTo>
                        <a:pt x="701" y="10"/>
                      </a:lnTo>
                      <a:lnTo>
                        <a:pt x="701" y="12"/>
                      </a:lnTo>
                      <a:lnTo>
                        <a:pt x="699" y="12"/>
                      </a:lnTo>
                      <a:lnTo>
                        <a:pt x="701" y="14"/>
                      </a:lnTo>
                      <a:lnTo>
                        <a:pt x="701" y="15"/>
                      </a:lnTo>
                      <a:lnTo>
                        <a:pt x="701" y="17"/>
                      </a:lnTo>
                      <a:lnTo>
                        <a:pt x="702" y="17"/>
                      </a:lnTo>
                      <a:lnTo>
                        <a:pt x="702" y="15"/>
                      </a:lnTo>
                      <a:lnTo>
                        <a:pt x="704" y="17"/>
                      </a:lnTo>
                      <a:lnTo>
                        <a:pt x="706" y="15"/>
                      </a:lnTo>
                      <a:lnTo>
                        <a:pt x="707" y="15"/>
                      </a:lnTo>
                      <a:lnTo>
                        <a:pt x="709" y="15"/>
                      </a:lnTo>
                      <a:lnTo>
                        <a:pt x="709" y="17"/>
                      </a:lnTo>
                      <a:lnTo>
                        <a:pt x="711" y="17"/>
                      </a:lnTo>
                      <a:lnTo>
                        <a:pt x="712" y="17"/>
                      </a:lnTo>
                      <a:lnTo>
                        <a:pt x="714" y="17"/>
                      </a:lnTo>
                      <a:lnTo>
                        <a:pt x="718" y="18"/>
                      </a:lnTo>
                      <a:lnTo>
                        <a:pt x="719" y="18"/>
                      </a:lnTo>
                      <a:lnTo>
                        <a:pt x="721" y="18"/>
                      </a:lnTo>
                      <a:lnTo>
                        <a:pt x="721" y="20"/>
                      </a:lnTo>
                      <a:lnTo>
                        <a:pt x="723" y="20"/>
                      </a:lnTo>
                      <a:lnTo>
                        <a:pt x="724" y="22"/>
                      </a:lnTo>
                      <a:lnTo>
                        <a:pt x="726" y="23"/>
                      </a:lnTo>
                      <a:lnTo>
                        <a:pt x="728" y="25"/>
                      </a:lnTo>
                      <a:lnTo>
                        <a:pt x="729" y="25"/>
                      </a:lnTo>
                      <a:lnTo>
                        <a:pt x="729" y="23"/>
                      </a:lnTo>
                      <a:lnTo>
                        <a:pt x="731" y="23"/>
                      </a:lnTo>
                      <a:lnTo>
                        <a:pt x="733" y="23"/>
                      </a:lnTo>
                      <a:lnTo>
                        <a:pt x="734" y="23"/>
                      </a:lnTo>
                      <a:lnTo>
                        <a:pt x="736" y="23"/>
                      </a:lnTo>
                      <a:lnTo>
                        <a:pt x="738" y="23"/>
                      </a:lnTo>
                      <a:lnTo>
                        <a:pt x="739" y="23"/>
                      </a:lnTo>
                      <a:lnTo>
                        <a:pt x="741" y="23"/>
                      </a:lnTo>
                      <a:lnTo>
                        <a:pt x="743" y="25"/>
                      </a:lnTo>
                      <a:lnTo>
                        <a:pt x="745" y="25"/>
                      </a:lnTo>
                      <a:lnTo>
                        <a:pt x="745" y="27"/>
                      </a:lnTo>
                      <a:lnTo>
                        <a:pt x="746" y="27"/>
                      </a:lnTo>
                      <a:lnTo>
                        <a:pt x="746" y="28"/>
                      </a:lnTo>
                      <a:lnTo>
                        <a:pt x="748" y="28"/>
                      </a:lnTo>
                      <a:lnTo>
                        <a:pt x="750" y="28"/>
                      </a:lnTo>
                      <a:lnTo>
                        <a:pt x="750" y="30"/>
                      </a:lnTo>
                      <a:lnTo>
                        <a:pt x="751" y="30"/>
                      </a:lnTo>
                      <a:lnTo>
                        <a:pt x="751" y="32"/>
                      </a:lnTo>
                      <a:lnTo>
                        <a:pt x="751" y="33"/>
                      </a:lnTo>
                      <a:lnTo>
                        <a:pt x="753" y="35"/>
                      </a:lnTo>
                      <a:lnTo>
                        <a:pt x="753" y="37"/>
                      </a:lnTo>
                      <a:lnTo>
                        <a:pt x="753" y="38"/>
                      </a:lnTo>
                      <a:lnTo>
                        <a:pt x="753" y="40"/>
                      </a:lnTo>
                      <a:lnTo>
                        <a:pt x="755" y="40"/>
                      </a:lnTo>
                      <a:lnTo>
                        <a:pt x="755" y="41"/>
                      </a:lnTo>
                      <a:lnTo>
                        <a:pt x="756" y="41"/>
                      </a:lnTo>
                      <a:lnTo>
                        <a:pt x="758" y="41"/>
                      </a:lnTo>
                      <a:lnTo>
                        <a:pt x="760" y="40"/>
                      </a:lnTo>
                      <a:lnTo>
                        <a:pt x="760" y="38"/>
                      </a:lnTo>
                      <a:lnTo>
                        <a:pt x="760" y="37"/>
                      </a:lnTo>
                      <a:lnTo>
                        <a:pt x="760" y="35"/>
                      </a:lnTo>
                      <a:lnTo>
                        <a:pt x="760" y="33"/>
                      </a:lnTo>
                      <a:lnTo>
                        <a:pt x="761" y="32"/>
                      </a:lnTo>
                      <a:lnTo>
                        <a:pt x="761" y="30"/>
                      </a:lnTo>
                      <a:lnTo>
                        <a:pt x="763" y="30"/>
                      </a:lnTo>
                      <a:lnTo>
                        <a:pt x="763" y="28"/>
                      </a:lnTo>
                      <a:lnTo>
                        <a:pt x="765" y="27"/>
                      </a:lnTo>
                      <a:lnTo>
                        <a:pt x="767" y="27"/>
                      </a:lnTo>
                      <a:lnTo>
                        <a:pt x="770" y="27"/>
                      </a:lnTo>
                      <a:lnTo>
                        <a:pt x="770" y="28"/>
                      </a:lnTo>
                      <a:lnTo>
                        <a:pt x="773" y="28"/>
                      </a:lnTo>
                      <a:lnTo>
                        <a:pt x="773" y="30"/>
                      </a:lnTo>
                      <a:lnTo>
                        <a:pt x="773" y="32"/>
                      </a:lnTo>
                      <a:lnTo>
                        <a:pt x="773" y="33"/>
                      </a:lnTo>
                      <a:lnTo>
                        <a:pt x="772" y="35"/>
                      </a:lnTo>
                      <a:lnTo>
                        <a:pt x="770" y="35"/>
                      </a:lnTo>
                      <a:lnTo>
                        <a:pt x="770" y="37"/>
                      </a:lnTo>
                      <a:lnTo>
                        <a:pt x="768" y="37"/>
                      </a:lnTo>
                      <a:lnTo>
                        <a:pt x="768" y="38"/>
                      </a:lnTo>
                      <a:lnTo>
                        <a:pt x="770" y="38"/>
                      </a:lnTo>
                      <a:lnTo>
                        <a:pt x="770" y="40"/>
                      </a:lnTo>
                      <a:lnTo>
                        <a:pt x="770" y="41"/>
                      </a:lnTo>
                      <a:lnTo>
                        <a:pt x="772" y="43"/>
                      </a:lnTo>
                      <a:lnTo>
                        <a:pt x="773" y="45"/>
                      </a:lnTo>
                      <a:lnTo>
                        <a:pt x="775" y="45"/>
                      </a:lnTo>
                      <a:lnTo>
                        <a:pt x="777" y="46"/>
                      </a:lnTo>
                      <a:lnTo>
                        <a:pt x="778" y="46"/>
                      </a:lnTo>
                      <a:lnTo>
                        <a:pt x="780" y="46"/>
                      </a:lnTo>
                      <a:lnTo>
                        <a:pt x="782" y="45"/>
                      </a:lnTo>
                      <a:lnTo>
                        <a:pt x="783" y="43"/>
                      </a:lnTo>
                      <a:lnTo>
                        <a:pt x="785" y="41"/>
                      </a:lnTo>
                      <a:lnTo>
                        <a:pt x="787" y="41"/>
                      </a:lnTo>
                      <a:lnTo>
                        <a:pt x="788" y="41"/>
                      </a:lnTo>
                      <a:lnTo>
                        <a:pt x="788" y="43"/>
                      </a:lnTo>
                      <a:lnTo>
                        <a:pt x="790" y="45"/>
                      </a:lnTo>
                      <a:lnTo>
                        <a:pt x="790" y="46"/>
                      </a:lnTo>
                      <a:lnTo>
                        <a:pt x="790" y="48"/>
                      </a:lnTo>
                      <a:lnTo>
                        <a:pt x="788" y="48"/>
                      </a:lnTo>
                      <a:lnTo>
                        <a:pt x="788" y="50"/>
                      </a:lnTo>
                      <a:lnTo>
                        <a:pt x="787" y="50"/>
                      </a:lnTo>
                      <a:lnTo>
                        <a:pt x="788" y="51"/>
                      </a:lnTo>
                      <a:lnTo>
                        <a:pt x="788" y="53"/>
                      </a:lnTo>
                      <a:lnTo>
                        <a:pt x="787" y="53"/>
                      </a:lnTo>
                      <a:lnTo>
                        <a:pt x="787" y="55"/>
                      </a:lnTo>
                      <a:lnTo>
                        <a:pt x="788" y="56"/>
                      </a:lnTo>
                      <a:lnTo>
                        <a:pt x="790" y="58"/>
                      </a:lnTo>
                      <a:lnTo>
                        <a:pt x="790" y="60"/>
                      </a:lnTo>
                      <a:lnTo>
                        <a:pt x="792" y="60"/>
                      </a:lnTo>
                      <a:lnTo>
                        <a:pt x="790" y="61"/>
                      </a:lnTo>
                      <a:lnTo>
                        <a:pt x="790" y="63"/>
                      </a:lnTo>
                      <a:lnTo>
                        <a:pt x="792" y="63"/>
                      </a:lnTo>
                      <a:lnTo>
                        <a:pt x="794" y="69"/>
                      </a:lnTo>
                      <a:lnTo>
                        <a:pt x="795" y="73"/>
                      </a:lnTo>
                      <a:lnTo>
                        <a:pt x="797" y="74"/>
                      </a:lnTo>
                      <a:lnTo>
                        <a:pt x="797" y="76"/>
                      </a:lnTo>
                      <a:lnTo>
                        <a:pt x="799" y="76"/>
                      </a:lnTo>
                      <a:lnTo>
                        <a:pt x="799" y="78"/>
                      </a:lnTo>
                      <a:lnTo>
                        <a:pt x="800" y="78"/>
                      </a:lnTo>
                      <a:lnTo>
                        <a:pt x="800" y="79"/>
                      </a:lnTo>
                      <a:lnTo>
                        <a:pt x="799" y="79"/>
                      </a:lnTo>
                      <a:lnTo>
                        <a:pt x="799" y="81"/>
                      </a:lnTo>
                      <a:lnTo>
                        <a:pt x="800" y="83"/>
                      </a:lnTo>
                      <a:lnTo>
                        <a:pt x="802" y="83"/>
                      </a:lnTo>
                      <a:lnTo>
                        <a:pt x="804" y="83"/>
                      </a:lnTo>
                      <a:lnTo>
                        <a:pt x="804" y="84"/>
                      </a:lnTo>
                      <a:lnTo>
                        <a:pt x="805" y="83"/>
                      </a:lnTo>
                      <a:lnTo>
                        <a:pt x="807" y="84"/>
                      </a:lnTo>
                      <a:lnTo>
                        <a:pt x="807" y="83"/>
                      </a:lnTo>
                      <a:lnTo>
                        <a:pt x="809" y="83"/>
                      </a:lnTo>
                      <a:lnTo>
                        <a:pt x="810" y="84"/>
                      </a:lnTo>
                      <a:lnTo>
                        <a:pt x="812" y="84"/>
                      </a:lnTo>
                      <a:lnTo>
                        <a:pt x="812" y="86"/>
                      </a:lnTo>
                      <a:lnTo>
                        <a:pt x="814" y="86"/>
                      </a:lnTo>
                      <a:lnTo>
                        <a:pt x="816" y="86"/>
                      </a:lnTo>
                      <a:lnTo>
                        <a:pt x="816" y="87"/>
                      </a:lnTo>
                      <a:lnTo>
                        <a:pt x="817" y="87"/>
                      </a:lnTo>
                      <a:lnTo>
                        <a:pt x="819" y="89"/>
                      </a:lnTo>
                      <a:lnTo>
                        <a:pt x="817" y="89"/>
                      </a:lnTo>
                      <a:lnTo>
                        <a:pt x="817" y="91"/>
                      </a:lnTo>
                      <a:lnTo>
                        <a:pt x="817" y="92"/>
                      </a:lnTo>
                      <a:lnTo>
                        <a:pt x="816" y="92"/>
                      </a:lnTo>
                      <a:lnTo>
                        <a:pt x="816" y="94"/>
                      </a:lnTo>
                      <a:lnTo>
                        <a:pt x="817" y="94"/>
                      </a:lnTo>
                      <a:lnTo>
                        <a:pt x="816" y="94"/>
                      </a:lnTo>
                      <a:lnTo>
                        <a:pt x="816" y="96"/>
                      </a:lnTo>
                      <a:lnTo>
                        <a:pt x="814" y="96"/>
                      </a:lnTo>
                      <a:lnTo>
                        <a:pt x="814" y="97"/>
                      </a:lnTo>
                      <a:lnTo>
                        <a:pt x="814" y="99"/>
                      </a:lnTo>
                      <a:lnTo>
                        <a:pt x="816" y="99"/>
                      </a:lnTo>
                      <a:lnTo>
                        <a:pt x="816" y="101"/>
                      </a:lnTo>
                      <a:lnTo>
                        <a:pt x="817" y="101"/>
                      </a:lnTo>
                      <a:lnTo>
                        <a:pt x="817" y="102"/>
                      </a:lnTo>
                      <a:lnTo>
                        <a:pt x="819" y="102"/>
                      </a:lnTo>
                      <a:lnTo>
                        <a:pt x="819" y="104"/>
                      </a:lnTo>
                      <a:lnTo>
                        <a:pt x="819" y="102"/>
                      </a:lnTo>
                      <a:lnTo>
                        <a:pt x="817" y="102"/>
                      </a:lnTo>
                      <a:lnTo>
                        <a:pt x="817" y="104"/>
                      </a:lnTo>
                      <a:lnTo>
                        <a:pt x="816" y="104"/>
                      </a:lnTo>
                      <a:lnTo>
                        <a:pt x="816" y="106"/>
                      </a:lnTo>
                      <a:lnTo>
                        <a:pt x="814" y="106"/>
                      </a:lnTo>
                      <a:lnTo>
                        <a:pt x="814" y="107"/>
                      </a:lnTo>
                      <a:lnTo>
                        <a:pt x="814" y="109"/>
                      </a:lnTo>
                      <a:lnTo>
                        <a:pt x="814" y="110"/>
                      </a:lnTo>
                      <a:lnTo>
                        <a:pt x="814" y="112"/>
                      </a:lnTo>
                      <a:lnTo>
                        <a:pt x="816" y="112"/>
                      </a:lnTo>
                      <a:lnTo>
                        <a:pt x="816" y="114"/>
                      </a:lnTo>
                      <a:lnTo>
                        <a:pt x="816" y="115"/>
                      </a:lnTo>
                      <a:lnTo>
                        <a:pt x="816" y="114"/>
                      </a:lnTo>
                      <a:lnTo>
                        <a:pt x="817" y="115"/>
                      </a:lnTo>
                      <a:lnTo>
                        <a:pt x="819" y="117"/>
                      </a:lnTo>
                      <a:lnTo>
                        <a:pt x="821" y="119"/>
                      </a:lnTo>
                      <a:lnTo>
                        <a:pt x="821" y="120"/>
                      </a:lnTo>
                      <a:lnTo>
                        <a:pt x="821" y="122"/>
                      </a:lnTo>
                      <a:lnTo>
                        <a:pt x="821" y="124"/>
                      </a:lnTo>
                      <a:lnTo>
                        <a:pt x="819" y="124"/>
                      </a:lnTo>
                      <a:lnTo>
                        <a:pt x="819" y="125"/>
                      </a:lnTo>
                      <a:lnTo>
                        <a:pt x="819" y="127"/>
                      </a:lnTo>
                      <a:lnTo>
                        <a:pt x="819" y="129"/>
                      </a:lnTo>
                      <a:lnTo>
                        <a:pt x="821" y="130"/>
                      </a:lnTo>
                      <a:lnTo>
                        <a:pt x="821" y="132"/>
                      </a:lnTo>
                      <a:lnTo>
                        <a:pt x="822" y="132"/>
                      </a:lnTo>
                      <a:lnTo>
                        <a:pt x="824" y="132"/>
                      </a:lnTo>
                      <a:lnTo>
                        <a:pt x="826" y="132"/>
                      </a:lnTo>
                      <a:lnTo>
                        <a:pt x="826" y="133"/>
                      </a:lnTo>
                      <a:lnTo>
                        <a:pt x="827" y="133"/>
                      </a:lnTo>
                      <a:lnTo>
                        <a:pt x="829" y="133"/>
                      </a:lnTo>
                      <a:lnTo>
                        <a:pt x="831" y="133"/>
                      </a:lnTo>
                      <a:lnTo>
                        <a:pt x="832" y="133"/>
                      </a:lnTo>
                      <a:lnTo>
                        <a:pt x="832" y="135"/>
                      </a:lnTo>
                      <a:lnTo>
                        <a:pt x="834" y="135"/>
                      </a:lnTo>
                      <a:lnTo>
                        <a:pt x="834" y="137"/>
                      </a:lnTo>
                      <a:lnTo>
                        <a:pt x="836" y="137"/>
                      </a:lnTo>
                      <a:lnTo>
                        <a:pt x="836" y="138"/>
                      </a:lnTo>
                      <a:lnTo>
                        <a:pt x="834" y="138"/>
                      </a:lnTo>
                      <a:lnTo>
                        <a:pt x="834" y="140"/>
                      </a:lnTo>
                      <a:lnTo>
                        <a:pt x="836" y="140"/>
                      </a:lnTo>
                      <a:lnTo>
                        <a:pt x="836" y="142"/>
                      </a:lnTo>
                      <a:lnTo>
                        <a:pt x="837" y="145"/>
                      </a:lnTo>
                      <a:lnTo>
                        <a:pt x="839" y="147"/>
                      </a:lnTo>
                      <a:lnTo>
                        <a:pt x="839" y="148"/>
                      </a:lnTo>
                      <a:lnTo>
                        <a:pt x="841" y="153"/>
                      </a:lnTo>
                      <a:lnTo>
                        <a:pt x="843" y="166"/>
                      </a:lnTo>
                      <a:lnTo>
                        <a:pt x="841" y="166"/>
                      </a:lnTo>
                      <a:lnTo>
                        <a:pt x="839" y="166"/>
                      </a:lnTo>
                      <a:lnTo>
                        <a:pt x="837" y="168"/>
                      </a:lnTo>
                      <a:lnTo>
                        <a:pt x="836" y="170"/>
                      </a:lnTo>
                      <a:lnTo>
                        <a:pt x="834" y="170"/>
                      </a:lnTo>
                      <a:lnTo>
                        <a:pt x="834" y="171"/>
                      </a:lnTo>
                      <a:lnTo>
                        <a:pt x="832" y="171"/>
                      </a:lnTo>
                      <a:lnTo>
                        <a:pt x="834" y="171"/>
                      </a:lnTo>
                      <a:lnTo>
                        <a:pt x="834" y="173"/>
                      </a:lnTo>
                      <a:lnTo>
                        <a:pt x="832" y="173"/>
                      </a:lnTo>
                      <a:lnTo>
                        <a:pt x="832" y="175"/>
                      </a:lnTo>
                      <a:lnTo>
                        <a:pt x="831" y="175"/>
                      </a:lnTo>
                      <a:lnTo>
                        <a:pt x="832" y="175"/>
                      </a:lnTo>
                      <a:lnTo>
                        <a:pt x="832" y="176"/>
                      </a:lnTo>
                      <a:lnTo>
                        <a:pt x="834" y="178"/>
                      </a:lnTo>
                      <a:lnTo>
                        <a:pt x="834" y="179"/>
                      </a:lnTo>
                      <a:lnTo>
                        <a:pt x="836" y="179"/>
                      </a:lnTo>
                      <a:lnTo>
                        <a:pt x="836" y="181"/>
                      </a:lnTo>
                      <a:lnTo>
                        <a:pt x="836" y="183"/>
                      </a:lnTo>
                      <a:lnTo>
                        <a:pt x="836" y="184"/>
                      </a:lnTo>
                      <a:lnTo>
                        <a:pt x="834" y="184"/>
                      </a:lnTo>
                      <a:lnTo>
                        <a:pt x="834" y="186"/>
                      </a:lnTo>
                      <a:lnTo>
                        <a:pt x="832" y="186"/>
                      </a:lnTo>
                      <a:lnTo>
                        <a:pt x="834" y="186"/>
                      </a:lnTo>
                      <a:lnTo>
                        <a:pt x="834" y="188"/>
                      </a:lnTo>
                      <a:lnTo>
                        <a:pt x="834" y="189"/>
                      </a:lnTo>
                      <a:lnTo>
                        <a:pt x="834" y="188"/>
                      </a:lnTo>
                      <a:lnTo>
                        <a:pt x="834" y="189"/>
                      </a:lnTo>
                      <a:lnTo>
                        <a:pt x="836" y="189"/>
                      </a:lnTo>
                      <a:lnTo>
                        <a:pt x="836" y="199"/>
                      </a:lnTo>
                      <a:lnTo>
                        <a:pt x="821" y="204"/>
                      </a:lnTo>
                      <a:lnTo>
                        <a:pt x="819" y="206"/>
                      </a:lnTo>
                      <a:lnTo>
                        <a:pt x="817" y="206"/>
                      </a:lnTo>
                      <a:lnTo>
                        <a:pt x="816" y="204"/>
                      </a:lnTo>
                      <a:lnTo>
                        <a:pt x="812" y="202"/>
                      </a:lnTo>
                      <a:lnTo>
                        <a:pt x="810" y="201"/>
                      </a:lnTo>
                      <a:lnTo>
                        <a:pt x="809" y="201"/>
                      </a:lnTo>
                      <a:lnTo>
                        <a:pt x="805" y="201"/>
                      </a:lnTo>
                      <a:lnTo>
                        <a:pt x="805" y="199"/>
                      </a:lnTo>
                      <a:lnTo>
                        <a:pt x="804" y="199"/>
                      </a:lnTo>
                      <a:lnTo>
                        <a:pt x="804" y="201"/>
                      </a:lnTo>
                      <a:lnTo>
                        <a:pt x="802" y="199"/>
                      </a:lnTo>
                      <a:lnTo>
                        <a:pt x="800" y="199"/>
                      </a:lnTo>
                      <a:lnTo>
                        <a:pt x="799" y="199"/>
                      </a:lnTo>
                      <a:lnTo>
                        <a:pt x="799" y="201"/>
                      </a:lnTo>
                      <a:lnTo>
                        <a:pt x="797" y="201"/>
                      </a:lnTo>
                      <a:lnTo>
                        <a:pt x="797" y="202"/>
                      </a:lnTo>
                      <a:lnTo>
                        <a:pt x="797" y="204"/>
                      </a:lnTo>
                      <a:lnTo>
                        <a:pt x="795" y="206"/>
                      </a:lnTo>
                      <a:lnTo>
                        <a:pt x="795" y="207"/>
                      </a:lnTo>
                      <a:lnTo>
                        <a:pt x="795" y="209"/>
                      </a:lnTo>
                      <a:lnTo>
                        <a:pt x="795" y="211"/>
                      </a:lnTo>
                      <a:lnTo>
                        <a:pt x="795" y="212"/>
                      </a:lnTo>
                      <a:lnTo>
                        <a:pt x="795" y="214"/>
                      </a:lnTo>
                      <a:lnTo>
                        <a:pt x="795" y="216"/>
                      </a:lnTo>
                      <a:lnTo>
                        <a:pt x="797" y="217"/>
                      </a:lnTo>
                      <a:lnTo>
                        <a:pt x="797" y="219"/>
                      </a:lnTo>
                      <a:lnTo>
                        <a:pt x="799" y="219"/>
                      </a:lnTo>
                      <a:lnTo>
                        <a:pt x="799" y="220"/>
                      </a:lnTo>
                      <a:lnTo>
                        <a:pt x="800" y="220"/>
                      </a:lnTo>
                      <a:lnTo>
                        <a:pt x="800" y="222"/>
                      </a:lnTo>
                      <a:lnTo>
                        <a:pt x="800" y="224"/>
                      </a:lnTo>
                      <a:lnTo>
                        <a:pt x="802" y="224"/>
                      </a:lnTo>
                      <a:lnTo>
                        <a:pt x="802" y="225"/>
                      </a:lnTo>
                      <a:lnTo>
                        <a:pt x="804" y="225"/>
                      </a:lnTo>
                      <a:lnTo>
                        <a:pt x="804" y="227"/>
                      </a:lnTo>
                      <a:lnTo>
                        <a:pt x="804" y="229"/>
                      </a:lnTo>
                      <a:lnTo>
                        <a:pt x="805" y="229"/>
                      </a:lnTo>
                      <a:lnTo>
                        <a:pt x="807" y="229"/>
                      </a:lnTo>
                      <a:lnTo>
                        <a:pt x="809" y="229"/>
                      </a:lnTo>
                      <a:lnTo>
                        <a:pt x="807" y="230"/>
                      </a:lnTo>
                      <a:lnTo>
                        <a:pt x="809" y="232"/>
                      </a:lnTo>
                      <a:lnTo>
                        <a:pt x="809" y="234"/>
                      </a:lnTo>
                      <a:lnTo>
                        <a:pt x="809" y="235"/>
                      </a:lnTo>
                      <a:lnTo>
                        <a:pt x="810" y="235"/>
                      </a:lnTo>
                      <a:lnTo>
                        <a:pt x="810" y="239"/>
                      </a:lnTo>
                      <a:lnTo>
                        <a:pt x="810" y="240"/>
                      </a:lnTo>
                      <a:lnTo>
                        <a:pt x="810" y="242"/>
                      </a:lnTo>
                      <a:lnTo>
                        <a:pt x="812" y="243"/>
                      </a:lnTo>
                      <a:lnTo>
                        <a:pt x="814" y="243"/>
                      </a:lnTo>
                      <a:lnTo>
                        <a:pt x="816" y="243"/>
                      </a:lnTo>
                      <a:lnTo>
                        <a:pt x="816" y="245"/>
                      </a:lnTo>
                      <a:lnTo>
                        <a:pt x="817" y="245"/>
                      </a:lnTo>
                      <a:lnTo>
                        <a:pt x="819" y="245"/>
                      </a:lnTo>
                      <a:lnTo>
                        <a:pt x="821" y="245"/>
                      </a:lnTo>
                      <a:lnTo>
                        <a:pt x="821" y="247"/>
                      </a:lnTo>
                      <a:lnTo>
                        <a:pt x="821" y="248"/>
                      </a:lnTo>
                      <a:lnTo>
                        <a:pt x="819" y="248"/>
                      </a:lnTo>
                      <a:lnTo>
                        <a:pt x="819" y="250"/>
                      </a:lnTo>
                      <a:lnTo>
                        <a:pt x="819" y="252"/>
                      </a:lnTo>
                      <a:lnTo>
                        <a:pt x="819" y="253"/>
                      </a:lnTo>
                      <a:lnTo>
                        <a:pt x="817" y="252"/>
                      </a:lnTo>
                      <a:lnTo>
                        <a:pt x="817" y="253"/>
                      </a:lnTo>
                      <a:lnTo>
                        <a:pt x="816" y="253"/>
                      </a:lnTo>
                      <a:lnTo>
                        <a:pt x="816" y="255"/>
                      </a:lnTo>
                      <a:lnTo>
                        <a:pt x="814" y="255"/>
                      </a:lnTo>
                      <a:lnTo>
                        <a:pt x="814" y="257"/>
                      </a:lnTo>
                      <a:lnTo>
                        <a:pt x="814" y="258"/>
                      </a:lnTo>
                      <a:lnTo>
                        <a:pt x="814" y="260"/>
                      </a:lnTo>
                      <a:lnTo>
                        <a:pt x="816" y="260"/>
                      </a:lnTo>
                      <a:lnTo>
                        <a:pt x="816" y="262"/>
                      </a:lnTo>
                      <a:lnTo>
                        <a:pt x="817" y="262"/>
                      </a:lnTo>
                      <a:lnTo>
                        <a:pt x="817" y="263"/>
                      </a:lnTo>
                      <a:lnTo>
                        <a:pt x="817" y="265"/>
                      </a:lnTo>
                      <a:lnTo>
                        <a:pt x="819" y="263"/>
                      </a:lnTo>
                      <a:lnTo>
                        <a:pt x="821" y="263"/>
                      </a:lnTo>
                      <a:lnTo>
                        <a:pt x="822" y="263"/>
                      </a:lnTo>
                      <a:lnTo>
                        <a:pt x="821" y="263"/>
                      </a:lnTo>
                      <a:lnTo>
                        <a:pt x="821" y="265"/>
                      </a:lnTo>
                      <a:lnTo>
                        <a:pt x="822" y="265"/>
                      </a:lnTo>
                      <a:lnTo>
                        <a:pt x="822" y="263"/>
                      </a:lnTo>
                      <a:lnTo>
                        <a:pt x="822" y="265"/>
                      </a:lnTo>
                      <a:lnTo>
                        <a:pt x="824" y="265"/>
                      </a:lnTo>
                      <a:lnTo>
                        <a:pt x="824" y="266"/>
                      </a:lnTo>
                      <a:lnTo>
                        <a:pt x="824" y="265"/>
                      </a:lnTo>
                      <a:lnTo>
                        <a:pt x="826" y="265"/>
                      </a:lnTo>
                      <a:lnTo>
                        <a:pt x="827" y="265"/>
                      </a:lnTo>
                      <a:lnTo>
                        <a:pt x="827" y="266"/>
                      </a:lnTo>
                      <a:lnTo>
                        <a:pt x="827" y="268"/>
                      </a:lnTo>
                      <a:lnTo>
                        <a:pt x="829" y="268"/>
                      </a:lnTo>
                      <a:lnTo>
                        <a:pt x="829" y="266"/>
                      </a:lnTo>
                      <a:lnTo>
                        <a:pt x="831" y="266"/>
                      </a:lnTo>
                      <a:lnTo>
                        <a:pt x="829" y="266"/>
                      </a:lnTo>
                      <a:lnTo>
                        <a:pt x="831" y="268"/>
                      </a:lnTo>
                      <a:lnTo>
                        <a:pt x="832" y="268"/>
                      </a:lnTo>
                      <a:lnTo>
                        <a:pt x="832" y="270"/>
                      </a:lnTo>
                      <a:lnTo>
                        <a:pt x="831" y="270"/>
                      </a:lnTo>
                      <a:lnTo>
                        <a:pt x="832" y="271"/>
                      </a:lnTo>
                      <a:lnTo>
                        <a:pt x="832" y="270"/>
                      </a:lnTo>
                      <a:lnTo>
                        <a:pt x="832" y="271"/>
                      </a:lnTo>
                      <a:lnTo>
                        <a:pt x="832" y="270"/>
                      </a:lnTo>
                      <a:lnTo>
                        <a:pt x="832" y="271"/>
                      </a:lnTo>
                      <a:lnTo>
                        <a:pt x="834" y="271"/>
                      </a:lnTo>
                      <a:lnTo>
                        <a:pt x="834" y="273"/>
                      </a:lnTo>
                      <a:lnTo>
                        <a:pt x="836" y="273"/>
                      </a:lnTo>
                      <a:lnTo>
                        <a:pt x="836" y="275"/>
                      </a:lnTo>
                      <a:lnTo>
                        <a:pt x="837" y="275"/>
                      </a:lnTo>
                      <a:lnTo>
                        <a:pt x="837" y="276"/>
                      </a:lnTo>
                      <a:lnTo>
                        <a:pt x="839" y="276"/>
                      </a:lnTo>
                      <a:lnTo>
                        <a:pt x="841" y="276"/>
                      </a:lnTo>
                      <a:lnTo>
                        <a:pt x="843" y="276"/>
                      </a:lnTo>
                      <a:lnTo>
                        <a:pt x="844" y="276"/>
                      </a:lnTo>
                      <a:lnTo>
                        <a:pt x="844" y="278"/>
                      </a:lnTo>
                      <a:lnTo>
                        <a:pt x="846" y="278"/>
                      </a:lnTo>
                      <a:lnTo>
                        <a:pt x="846" y="276"/>
                      </a:lnTo>
                      <a:lnTo>
                        <a:pt x="848" y="278"/>
                      </a:lnTo>
                      <a:lnTo>
                        <a:pt x="846" y="278"/>
                      </a:lnTo>
                      <a:lnTo>
                        <a:pt x="846" y="280"/>
                      </a:lnTo>
                      <a:lnTo>
                        <a:pt x="848" y="280"/>
                      </a:lnTo>
                      <a:lnTo>
                        <a:pt x="849" y="280"/>
                      </a:lnTo>
                      <a:lnTo>
                        <a:pt x="849" y="278"/>
                      </a:lnTo>
                      <a:lnTo>
                        <a:pt x="851" y="278"/>
                      </a:lnTo>
                      <a:lnTo>
                        <a:pt x="851" y="276"/>
                      </a:lnTo>
                      <a:lnTo>
                        <a:pt x="849" y="276"/>
                      </a:lnTo>
                      <a:lnTo>
                        <a:pt x="851" y="276"/>
                      </a:lnTo>
                      <a:lnTo>
                        <a:pt x="851" y="275"/>
                      </a:lnTo>
                      <a:lnTo>
                        <a:pt x="853" y="276"/>
                      </a:lnTo>
                      <a:lnTo>
                        <a:pt x="853" y="275"/>
                      </a:lnTo>
                      <a:lnTo>
                        <a:pt x="853" y="276"/>
                      </a:lnTo>
                      <a:lnTo>
                        <a:pt x="854" y="276"/>
                      </a:lnTo>
                      <a:lnTo>
                        <a:pt x="856" y="276"/>
                      </a:lnTo>
                      <a:lnTo>
                        <a:pt x="858" y="276"/>
                      </a:lnTo>
                      <a:lnTo>
                        <a:pt x="858" y="278"/>
                      </a:lnTo>
                      <a:lnTo>
                        <a:pt x="859" y="278"/>
                      </a:lnTo>
                      <a:lnTo>
                        <a:pt x="858" y="278"/>
                      </a:lnTo>
                      <a:lnTo>
                        <a:pt x="859" y="276"/>
                      </a:lnTo>
                      <a:lnTo>
                        <a:pt x="859" y="278"/>
                      </a:lnTo>
                      <a:lnTo>
                        <a:pt x="861" y="278"/>
                      </a:lnTo>
                      <a:lnTo>
                        <a:pt x="863" y="278"/>
                      </a:lnTo>
                      <a:lnTo>
                        <a:pt x="864" y="278"/>
                      </a:lnTo>
                      <a:lnTo>
                        <a:pt x="864" y="276"/>
                      </a:lnTo>
                      <a:lnTo>
                        <a:pt x="866" y="276"/>
                      </a:lnTo>
                      <a:lnTo>
                        <a:pt x="868" y="275"/>
                      </a:lnTo>
                      <a:lnTo>
                        <a:pt x="868" y="276"/>
                      </a:lnTo>
                      <a:lnTo>
                        <a:pt x="870" y="275"/>
                      </a:lnTo>
                      <a:lnTo>
                        <a:pt x="871" y="275"/>
                      </a:lnTo>
                      <a:lnTo>
                        <a:pt x="875" y="271"/>
                      </a:lnTo>
                      <a:lnTo>
                        <a:pt x="876" y="271"/>
                      </a:lnTo>
                      <a:lnTo>
                        <a:pt x="878" y="270"/>
                      </a:lnTo>
                      <a:lnTo>
                        <a:pt x="878" y="268"/>
                      </a:lnTo>
                      <a:lnTo>
                        <a:pt x="880" y="268"/>
                      </a:lnTo>
                      <a:lnTo>
                        <a:pt x="881" y="268"/>
                      </a:lnTo>
                      <a:lnTo>
                        <a:pt x="880" y="268"/>
                      </a:lnTo>
                      <a:lnTo>
                        <a:pt x="880" y="270"/>
                      </a:lnTo>
                      <a:lnTo>
                        <a:pt x="876" y="273"/>
                      </a:lnTo>
                      <a:lnTo>
                        <a:pt x="875" y="275"/>
                      </a:lnTo>
                      <a:lnTo>
                        <a:pt x="875" y="278"/>
                      </a:lnTo>
                      <a:lnTo>
                        <a:pt x="873" y="280"/>
                      </a:lnTo>
                      <a:lnTo>
                        <a:pt x="871" y="281"/>
                      </a:lnTo>
                      <a:lnTo>
                        <a:pt x="871" y="283"/>
                      </a:lnTo>
                      <a:lnTo>
                        <a:pt x="870" y="286"/>
                      </a:lnTo>
                      <a:lnTo>
                        <a:pt x="868" y="289"/>
                      </a:lnTo>
                      <a:lnTo>
                        <a:pt x="866" y="291"/>
                      </a:lnTo>
                      <a:lnTo>
                        <a:pt x="866" y="293"/>
                      </a:lnTo>
                      <a:lnTo>
                        <a:pt x="864" y="294"/>
                      </a:lnTo>
                      <a:lnTo>
                        <a:pt x="864" y="296"/>
                      </a:lnTo>
                      <a:lnTo>
                        <a:pt x="863" y="299"/>
                      </a:lnTo>
                      <a:lnTo>
                        <a:pt x="863" y="301"/>
                      </a:lnTo>
                      <a:lnTo>
                        <a:pt x="861" y="304"/>
                      </a:lnTo>
                      <a:lnTo>
                        <a:pt x="859" y="304"/>
                      </a:lnTo>
                      <a:lnTo>
                        <a:pt x="859" y="306"/>
                      </a:lnTo>
                      <a:lnTo>
                        <a:pt x="859" y="308"/>
                      </a:lnTo>
                      <a:lnTo>
                        <a:pt x="858" y="308"/>
                      </a:lnTo>
                      <a:lnTo>
                        <a:pt x="856" y="312"/>
                      </a:lnTo>
                      <a:lnTo>
                        <a:pt x="856" y="314"/>
                      </a:lnTo>
                      <a:lnTo>
                        <a:pt x="854" y="316"/>
                      </a:lnTo>
                      <a:lnTo>
                        <a:pt x="854" y="317"/>
                      </a:lnTo>
                      <a:lnTo>
                        <a:pt x="854" y="319"/>
                      </a:lnTo>
                      <a:lnTo>
                        <a:pt x="851" y="322"/>
                      </a:lnTo>
                      <a:lnTo>
                        <a:pt x="849" y="326"/>
                      </a:lnTo>
                      <a:lnTo>
                        <a:pt x="849" y="327"/>
                      </a:lnTo>
                      <a:lnTo>
                        <a:pt x="848" y="327"/>
                      </a:lnTo>
                      <a:lnTo>
                        <a:pt x="848" y="329"/>
                      </a:lnTo>
                      <a:lnTo>
                        <a:pt x="846" y="331"/>
                      </a:lnTo>
                      <a:lnTo>
                        <a:pt x="846" y="332"/>
                      </a:lnTo>
                      <a:lnTo>
                        <a:pt x="843" y="337"/>
                      </a:lnTo>
                      <a:lnTo>
                        <a:pt x="841" y="340"/>
                      </a:lnTo>
                      <a:lnTo>
                        <a:pt x="839" y="342"/>
                      </a:lnTo>
                      <a:lnTo>
                        <a:pt x="837" y="342"/>
                      </a:lnTo>
                      <a:lnTo>
                        <a:pt x="837" y="344"/>
                      </a:lnTo>
                      <a:lnTo>
                        <a:pt x="836" y="347"/>
                      </a:lnTo>
                      <a:lnTo>
                        <a:pt x="834" y="349"/>
                      </a:lnTo>
                      <a:lnTo>
                        <a:pt x="832" y="349"/>
                      </a:lnTo>
                      <a:lnTo>
                        <a:pt x="832" y="350"/>
                      </a:lnTo>
                      <a:lnTo>
                        <a:pt x="831" y="352"/>
                      </a:lnTo>
                      <a:lnTo>
                        <a:pt x="831" y="354"/>
                      </a:lnTo>
                      <a:lnTo>
                        <a:pt x="829" y="354"/>
                      </a:lnTo>
                      <a:lnTo>
                        <a:pt x="829" y="355"/>
                      </a:lnTo>
                      <a:lnTo>
                        <a:pt x="827" y="357"/>
                      </a:lnTo>
                      <a:lnTo>
                        <a:pt x="827" y="358"/>
                      </a:lnTo>
                      <a:lnTo>
                        <a:pt x="826" y="358"/>
                      </a:lnTo>
                      <a:lnTo>
                        <a:pt x="824" y="362"/>
                      </a:lnTo>
                      <a:lnTo>
                        <a:pt x="822" y="363"/>
                      </a:lnTo>
                      <a:lnTo>
                        <a:pt x="822" y="367"/>
                      </a:lnTo>
                      <a:lnTo>
                        <a:pt x="821" y="367"/>
                      </a:lnTo>
                      <a:lnTo>
                        <a:pt x="821" y="368"/>
                      </a:lnTo>
                      <a:lnTo>
                        <a:pt x="819" y="370"/>
                      </a:lnTo>
                      <a:lnTo>
                        <a:pt x="819" y="372"/>
                      </a:lnTo>
                      <a:lnTo>
                        <a:pt x="817" y="373"/>
                      </a:lnTo>
                      <a:lnTo>
                        <a:pt x="816" y="373"/>
                      </a:lnTo>
                      <a:lnTo>
                        <a:pt x="816" y="375"/>
                      </a:lnTo>
                      <a:lnTo>
                        <a:pt x="814" y="375"/>
                      </a:lnTo>
                      <a:lnTo>
                        <a:pt x="814" y="377"/>
                      </a:lnTo>
                      <a:lnTo>
                        <a:pt x="814" y="378"/>
                      </a:lnTo>
                      <a:lnTo>
                        <a:pt x="812" y="378"/>
                      </a:lnTo>
                      <a:lnTo>
                        <a:pt x="812" y="380"/>
                      </a:lnTo>
                      <a:lnTo>
                        <a:pt x="810" y="380"/>
                      </a:lnTo>
                      <a:lnTo>
                        <a:pt x="810" y="381"/>
                      </a:lnTo>
                      <a:lnTo>
                        <a:pt x="809" y="381"/>
                      </a:lnTo>
                      <a:lnTo>
                        <a:pt x="809" y="383"/>
                      </a:lnTo>
                      <a:lnTo>
                        <a:pt x="807" y="385"/>
                      </a:lnTo>
                      <a:lnTo>
                        <a:pt x="805" y="385"/>
                      </a:lnTo>
                      <a:lnTo>
                        <a:pt x="805" y="386"/>
                      </a:lnTo>
                      <a:lnTo>
                        <a:pt x="802" y="390"/>
                      </a:lnTo>
                      <a:lnTo>
                        <a:pt x="802" y="391"/>
                      </a:lnTo>
                      <a:lnTo>
                        <a:pt x="800" y="391"/>
                      </a:lnTo>
                      <a:lnTo>
                        <a:pt x="799" y="393"/>
                      </a:lnTo>
                      <a:lnTo>
                        <a:pt x="797" y="395"/>
                      </a:lnTo>
                      <a:lnTo>
                        <a:pt x="797" y="396"/>
                      </a:lnTo>
                      <a:lnTo>
                        <a:pt x="795" y="396"/>
                      </a:lnTo>
                      <a:lnTo>
                        <a:pt x="795" y="398"/>
                      </a:lnTo>
                      <a:lnTo>
                        <a:pt x="794" y="399"/>
                      </a:lnTo>
                      <a:lnTo>
                        <a:pt x="792" y="399"/>
                      </a:lnTo>
                      <a:lnTo>
                        <a:pt x="792" y="401"/>
                      </a:lnTo>
                      <a:lnTo>
                        <a:pt x="790" y="401"/>
                      </a:lnTo>
                      <a:lnTo>
                        <a:pt x="790" y="403"/>
                      </a:lnTo>
                      <a:lnTo>
                        <a:pt x="788" y="404"/>
                      </a:lnTo>
                      <a:lnTo>
                        <a:pt x="787" y="406"/>
                      </a:lnTo>
                      <a:lnTo>
                        <a:pt x="785" y="406"/>
                      </a:lnTo>
                      <a:lnTo>
                        <a:pt x="785" y="408"/>
                      </a:lnTo>
                      <a:lnTo>
                        <a:pt x="783" y="408"/>
                      </a:lnTo>
                      <a:lnTo>
                        <a:pt x="782" y="408"/>
                      </a:lnTo>
                      <a:lnTo>
                        <a:pt x="780" y="408"/>
                      </a:lnTo>
                      <a:lnTo>
                        <a:pt x="778" y="409"/>
                      </a:lnTo>
                      <a:lnTo>
                        <a:pt x="777" y="409"/>
                      </a:lnTo>
                      <a:lnTo>
                        <a:pt x="777" y="411"/>
                      </a:lnTo>
                      <a:lnTo>
                        <a:pt x="775" y="411"/>
                      </a:lnTo>
                      <a:lnTo>
                        <a:pt x="775" y="413"/>
                      </a:lnTo>
                      <a:lnTo>
                        <a:pt x="773" y="413"/>
                      </a:lnTo>
                      <a:lnTo>
                        <a:pt x="772" y="413"/>
                      </a:lnTo>
                      <a:lnTo>
                        <a:pt x="770" y="413"/>
                      </a:lnTo>
                      <a:lnTo>
                        <a:pt x="768" y="413"/>
                      </a:lnTo>
                      <a:lnTo>
                        <a:pt x="763" y="411"/>
                      </a:lnTo>
                      <a:lnTo>
                        <a:pt x="763" y="413"/>
                      </a:lnTo>
                      <a:lnTo>
                        <a:pt x="761" y="414"/>
                      </a:lnTo>
                      <a:lnTo>
                        <a:pt x="760" y="419"/>
                      </a:lnTo>
                      <a:lnTo>
                        <a:pt x="758" y="421"/>
                      </a:lnTo>
                      <a:lnTo>
                        <a:pt x="756" y="422"/>
                      </a:lnTo>
                      <a:lnTo>
                        <a:pt x="753" y="424"/>
                      </a:lnTo>
                      <a:lnTo>
                        <a:pt x="751" y="424"/>
                      </a:lnTo>
                      <a:lnTo>
                        <a:pt x="750" y="426"/>
                      </a:lnTo>
                      <a:lnTo>
                        <a:pt x="746" y="427"/>
                      </a:lnTo>
                      <a:lnTo>
                        <a:pt x="743" y="424"/>
                      </a:lnTo>
                      <a:lnTo>
                        <a:pt x="741" y="424"/>
                      </a:lnTo>
                      <a:lnTo>
                        <a:pt x="741" y="426"/>
                      </a:lnTo>
                      <a:lnTo>
                        <a:pt x="739" y="426"/>
                      </a:lnTo>
                      <a:lnTo>
                        <a:pt x="738" y="427"/>
                      </a:lnTo>
                      <a:lnTo>
                        <a:pt x="736" y="427"/>
                      </a:lnTo>
                      <a:lnTo>
                        <a:pt x="736" y="429"/>
                      </a:lnTo>
                      <a:lnTo>
                        <a:pt x="734" y="429"/>
                      </a:lnTo>
                      <a:lnTo>
                        <a:pt x="734" y="431"/>
                      </a:lnTo>
                      <a:lnTo>
                        <a:pt x="733" y="431"/>
                      </a:lnTo>
                      <a:lnTo>
                        <a:pt x="731" y="431"/>
                      </a:lnTo>
                      <a:lnTo>
                        <a:pt x="729" y="432"/>
                      </a:lnTo>
                      <a:lnTo>
                        <a:pt x="728" y="434"/>
                      </a:lnTo>
                      <a:lnTo>
                        <a:pt x="728" y="437"/>
                      </a:lnTo>
                      <a:lnTo>
                        <a:pt x="726" y="439"/>
                      </a:lnTo>
                      <a:lnTo>
                        <a:pt x="726" y="442"/>
                      </a:lnTo>
                      <a:lnTo>
                        <a:pt x="726" y="444"/>
                      </a:lnTo>
                      <a:lnTo>
                        <a:pt x="728" y="445"/>
                      </a:lnTo>
                      <a:lnTo>
                        <a:pt x="728" y="447"/>
                      </a:lnTo>
                      <a:lnTo>
                        <a:pt x="729" y="449"/>
                      </a:lnTo>
                      <a:lnTo>
                        <a:pt x="729" y="447"/>
                      </a:lnTo>
                      <a:lnTo>
                        <a:pt x="731" y="447"/>
                      </a:lnTo>
                      <a:lnTo>
                        <a:pt x="731" y="445"/>
                      </a:lnTo>
                      <a:lnTo>
                        <a:pt x="731" y="447"/>
                      </a:lnTo>
                      <a:lnTo>
                        <a:pt x="733" y="447"/>
                      </a:lnTo>
                      <a:lnTo>
                        <a:pt x="733" y="449"/>
                      </a:lnTo>
                      <a:lnTo>
                        <a:pt x="733" y="450"/>
                      </a:lnTo>
                      <a:lnTo>
                        <a:pt x="733" y="452"/>
                      </a:lnTo>
                      <a:lnTo>
                        <a:pt x="734" y="452"/>
                      </a:lnTo>
                      <a:lnTo>
                        <a:pt x="734" y="454"/>
                      </a:lnTo>
                      <a:lnTo>
                        <a:pt x="733" y="454"/>
                      </a:lnTo>
                      <a:lnTo>
                        <a:pt x="734" y="454"/>
                      </a:lnTo>
                      <a:lnTo>
                        <a:pt x="733" y="454"/>
                      </a:lnTo>
                      <a:lnTo>
                        <a:pt x="733" y="455"/>
                      </a:lnTo>
                      <a:lnTo>
                        <a:pt x="731" y="455"/>
                      </a:lnTo>
                      <a:lnTo>
                        <a:pt x="731" y="457"/>
                      </a:lnTo>
                      <a:lnTo>
                        <a:pt x="733" y="457"/>
                      </a:lnTo>
                      <a:lnTo>
                        <a:pt x="731" y="457"/>
                      </a:lnTo>
                      <a:lnTo>
                        <a:pt x="733" y="457"/>
                      </a:lnTo>
                      <a:lnTo>
                        <a:pt x="731" y="457"/>
                      </a:lnTo>
                      <a:lnTo>
                        <a:pt x="731" y="459"/>
                      </a:lnTo>
                      <a:lnTo>
                        <a:pt x="729" y="459"/>
                      </a:lnTo>
                      <a:lnTo>
                        <a:pt x="729" y="460"/>
                      </a:lnTo>
                      <a:lnTo>
                        <a:pt x="729" y="462"/>
                      </a:lnTo>
                      <a:lnTo>
                        <a:pt x="729" y="464"/>
                      </a:lnTo>
                      <a:lnTo>
                        <a:pt x="729" y="465"/>
                      </a:lnTo>
                      <a:lnTo>
                        <a:pt x="731" y="465"/>
                      </a:lnTo>
                      <a:lnTo>
                        <a:pt x="731" y="467"/>
                      </a:lnTo>
                      <a:lnTo>
                        <a:pt x="733" y="467"/>
                      </a:lnTo>
                      <a:lnTo>
                        <a:pt x="733" y="468"/>
                      </a:lnTo>
                      <a:lnTo>
                        <a:pt x="733" y="470"/>
                      </a:lnTo>
                      <a:lnTo>
                        <a:pt x="733" y="468"/>
                      </a:lnTo>
                      <a:lnTo>
                        <a:pt x="734" y="468"/>
                      </a:lnTo>
                      <a:lnTo>
                        <a:pt x="733" y="468"/>
                      </a:lnTo>
                      <a:lnTo>
                        <a:pt x="734" y="470"/>
                      </a:lnTo>
                      <a:lnTo>
                        <a:pt x="734" y="468"/>
                      </a:lnTo>
                      <a:lnTo>
                        <a:pt x="734" y="470"/>
                      </a:lnTo>
                      <a:lnTo>
                        <a:pt x="734" y="472"/>
                      </a:lnTo>
                      <a:lnTo>
                        <a:pt x="733" y="472"/>
                      </a:lnTo>
                      <a:lnTo>
                        <a:pt x="733" y="473"/>
                      </a:lnTo>
                      <a:lnTo>
                        <a:pt x="731" y="473"/>
                      </a:lnTo>
                      <a:lnTo>
                        <a:pt x="731" y="472"/>
                      </a:lnTo>
                      <a:lnTo>
                        <a:pt x="729" y="472"/>
                      </a:lnTo>
                      <a:lnTo>
                        <a:pt x="728" y="473"/>
                      </a:lnTo>
                      <a:lnTo>
                        <a:pt x="726" y="473"/>
                      </a:lnTo>
                      <a:lnTo>
                        <a:pt x="726" y="475"/>
                      </a:lnTo>
                      <a:lnTo>
                        <a:pt x="726" y="477"/>
                      </a:lnTo>
                      <a:lnTo>
                        <a:pt x="724" y="477"/>
                      </a:lnTo>
                      <a:lnTo>
                        <a:pt x="724" y="478"/>
                      </a:lnTo>
                      <a:lnTo>
                        <a:pt x="724" y="480"/>
                      </a:lnTo>
                      <a:lnTo>
                        <a:pt x="723" y="482"/>
                      </a:lnTo>
                      <a:lnTo>
                        <a:pt x="723" y="483"/>
                      </a:lnTo>
                      <a:lnTo>
                        <a:pt x="724" y="485"/>
                      </a:lnTo>
                      <a:lnTo>
                        <a:pt x="724" y="488"/>
                      </a:lnTo>
                      <a:lnTo>
                        <a:pt x="726" y="488"/>
                      </a:lnTo>
                      <a:lnTo>
                        <a:pt x="726" y="490"/>
                      </a:lnTo>
                      <a:lnTo>
                        <a:pt x="728" y="491"/>
                      </a:lnTo>
                      <a:lnTo>
                        <a:pt x="728" y="493"/>
                      </a:lnTo>
                      <a:lnTo>
                        <a:pt x="729" y="493"/>
                      </a:lnTo>
                      <a:lnTo>
                        <a:pt x="729" y="495"/>
                      </a:lnTo>
                      <a:lnTo>
                        <a:pt x="729" y="496"/>
                      </a:lnTo>
                      <a:lnTo>
                        <a:pt x="729" y="498"/>
                      </a:lnTo>
                      <a:lnTo>
                        <a:pt x="729" y="500"/>
                      </a:lnTo>
                      <a:lnTo>
                        <a:pt x="729" y="501"/>
                      </a:lnTo>
                      <a:lnTo>
                        <a:pt x="729" y="505"/>
                      </a:lnTo>
                      <a:lnTo>
                        <a:pt x="728" y="505"/>
                      </a:lnTo>
                      <a:lnTo>
                        <a:pt x="729" y="505"/>
                      </a:lnTo>
                      <a:lnTo>
                        <a:pt x="728" y="506"/>
                      </a:lnTo>
                      <a:lnTo>
                        <a:pt x="728" y="508"/>
                      </a:lnTo>
                      <a:lnTo>
                        <a:pt x="728" y="510"/>
                      </a:lnTo>
                      <a:lnTo>
                        <a:pt x="728" y="511"/>
                      </a:lnTo>
                      <a:lnTo>
                        <a:pt x="726" y="513"/>
                      </a:lnTo>
                      <a:lnTo>
                        <a:pt x="726" y="514"/>
                      </a:lnTo>
                      <a:lnTo>
                        <a:pt x="726" y="516"/>
                      </a:lnTo>
                      <a:lnTo>
                        <a:pt x="726" y="518"/>
                      </a:lnTo>
                      <a:lnTo>
                        <a:pt x="724" y="518"/>
                      </a:lnTo>
                      <a:lnTo>
                        <a:pt x="726" y="519"/>
                      </a:lnTo>
                      <a:lnTo>
                        <a:pt x="724" y="519"/>
                      </a:lnTo>
                      <a:lnTo>
                        <a:pt x="724" y="521"/>
                      </a:lnTo>
                      <a:lnTo>
                        <a:pt x="724" y="523"/>
                      </a:lnTo>
                      <a:lnTo>
                        <a:pt x="724" y="524"/>
                      </a:lnTo>
                      <a:lnTo>
                        <a:pt x="724" y="526"/>
                      </a:lnTo>
                      <a:lnTo>
                        <a:pt x="724" y="528"/>
                      </a:lnTo>
                      <a:lnTo>
                        <a:pt x="724" y="529"/>
                      </a:lnTo>
                      <a:lnTo>
                        <a:pt x="724" y="531"/>
                      </a:lnTo>
                      <a:lnTo>
                        <a:pt x="724" y="533"/>
                      </a:lnTo>
                      <a:lnTo>
                        <a:pt x="724" y="534"/>
                      </a:lnTo>
                      <a:lnTo>
                        <a:pt x="723" y="534"/>
                      </a:lnTo>
                      <a:lnTo>
                        <a:pt x="723" y="536"/>
                      </a:lnTo>
                      <a:lnTo>
                        <a:pt x="723" y="537"/>
                      </a:lnTo>
                      <a:lnTo>
                        <a:pt x="723" y="541"/>
                      </a:lnTo>
                      <a:lnTo>
                        <a:pt x="721" y="542"/>
                      </a:lnTo>
                      <a:lnTo>
                        <a:pt x="721" y="546"/>
                      </a:lnTo>
                      <a:lnTo>
                        <a:pt x="721" y="547"/>
                      </a:lnTo>
                      <a:lnTo>
                        <a:pt x="721" y="549"/>
                      </a:lnTo>
                      <a:lnTo>
                        <a:pt x="719" y="551"/>
                      </a:lnTo>
                      <a:lnTo>
                        <a:pt x="719" y="552"/>
                      </a:lnTo>
                      <a:lnTo>
                        <a:pt x="719" y="554"/>
                      </a:lnTo>
                      <a:lnTo>
                        <a:pt x="719" y="556"/>
                      </a:lnTo>
                      <a:lnTo>
                        <a:pt x="719" y="557"/>
                      </a:lnTo>
                      <a:lnTo>
                        <a:pt x="718" y="557"/>
                      </a:lnTo>
                      <a:lnTo>
                        <a:pt x="718" y="559"/>
                      </a:lnTo>
                      <a:lnTo>
                        <a:pt x="718" y="562"/>
                      </a:lnTo>
                      <a:lnTo>
                        <a:pt x="718" y="564"/>
                      </a:lnTo>
                      <a:lnTo>
                        <a:pt x="718" y="569"/>
                      </a:lnTo>
                      <a:lnTo>
                        <a:pt x="718" y="570"/>
                      </a:lnTo>
                      <a:lnTo>
                        <a:pt x="718" y="574"/>
                      </a:lnTo>
                      <a:lnTo>
                        <a:pt x="718" y="575"/>
                      </a:lnTo>
                      <a:lnTo>
                        <a:pt x="719" y="575"/>
                      </a:lnTo>
                      <a:lnTo>
                        <a:pt x="719" y="577"/>
                      </a:lnTo>
                      <a:lnTo>
                        <a:pt x="721" y="577"/>
                      </a:lnTo>
                      <a:lnTo>
                        <a:pt x="721" y="575"/>
                      </a:lnTo>
                      <a:lnTo>
                        <a:pt x="721" y="577"/>
                      </a:lnTo>
                      <a:lnTo>
                        <a:pt x="721" y="579"/>
                      </a:lnTo>
                      <a:lnTo>
                        <a:pt x="719" y="579"/>
                      </a:lnTo>
                      <a:lnTo>
                        <a:pt x="721" y="579"/>
                      </a:lnTo>
                      <a:lnTo>
                        <a:pt x="721" y="580"/>
                      </a:lnTo>
                      <a:lnTo>
                        <a:pt x="721" y="582"/>
                      </a:lnTo>
                      <a:lnTo>
                        <a:pt x="721" y="583"/>
                      </a:lnTo>
                      <a:lnTo>
                        <a:pt x="721" y="585"/>
                      </a:lnTo>
                      <a:lnTo>
                        <a:pt x="721" y="587"/>
                      </a:lnTo>
                      <a:lnTo>
                        <a:pt x="721" y="588"/>
                      </a:lnTo>
                      <a:lnTo>
                        <a:pt x="723" y="590"/>
                      </a:lnTo>
                      <a:lnTo>
                        <a:pt x="723" y="592"/>
                      </a:lnTo>
                      <a:lnTo>
                        <a:pt x="723" y="593"/>
                      </a:lnTo>
                      <a:lnTo>
                        <a:pt x="723" y="595"/>
                      </a:lnTo>
                      <a:lnTo>
                        <a:pt x="724" y="597"/>
                      </a:lnTo>
                      <a:lnTo>
                        <a:pt x="724" y="601"/>
                      </a:lnTo>
                      <a:lnTo>
                        <a:pt x="724" y="603"/>
                      </a:lnTo>
                      <a:lnTo>
                        <a:pt x="724" y="605"/>
                      </a:lnTo>
                      <a:lnTo>
                        <a:pt x="724" y="608"/>
                      </a:lnTo>
                      <a:lnTo>
                        <a:pt x="724" y="611"/>
                      </a:lnTo>
                      <a:lnTo>
                        <a:pt x="724" y="615"/>
                      </a:lnTo>
                      <a:lnTo>
                        <a:pt x="724" y="616"/>
                      </a:lnTo>
                      <a:lnTo>
                        <a:pt x="723" y="618"/>
                      </a:lnTo>
                      <a:lnTo>
                        <a:pt x="724" y="618"/>
                      </a:lnTo>
                      <a:lnTo>
                        <a:pt x="724" y="621"/>
                      </a:lnTo>
                      <a:lnTo>
                        <a:pt x="724" y="623"/>
                      </a:lnTo>
                      <a:lnTo>
                        <a:pt x="724" y="624"/>
                      </a:lnTo>
                      <a:lnTo>
                        <a:pt x="724" y="626"/>
                      </a:lnTo>
                      <a:lnTo>
                        <a:pt x="726" y="629"/>
                      </a:lnTo>
                      <a:lnTo>
                        <a:pt x="726" y="631"/>
                      </a:lnTo>
                      <a:lnTo>
                        <a:pt x="726" y="633"/>
                      </a:lnTo>
                      <a:lnTo>
                        <a:pt x="728" y="638"/>
                      </a:lnTo>
                      <a:lnTo>
                        <a:pt x="728" y="639"/>
                      </a:lnTo>
                      <a:lnTo>
                        <a:pt x="728" y="641"/>
                      </a:lnTo>
                      <a:lnTo>
                        <a:pt x="728" y="643"/>
                      </a:lnTo>
                      <a:lnTo>
                        <a:pt x="729" y="643"/>
                      </a:lnTo>
                      <a:lnTo>
                        <a:pt x="729" y="646"/>
                      </a:lnTo>
                      <a:lnTo>
                        <a:pt x="729" y="647"/>
                      </a:lnTo>
                      <a:lnTo>
                        <a:pt x="728" y="647"/>
                      </a:lnTo>
                      <a:lnTo>
                        <a:pt x="729" y="647"/>
                      </a:lnTo>
                      <a:lnTo>
                        <a:pt x="729" y="649"/>
                      </a:lnTo>
                      <a:lnTo>
                        <a:pt x="729" y="651"/>
                      </a:lnTo>
                      <a:lnTo>
                        <a:pt x="729" y="652"/>
                      </a:lnTo>
                      <a:lnTo>
                        <a:pt x="729" y="654"/>
                      </a:lnTo>
                      <a:lnTo>
                        <a:pt x="729" y="657"/>
                      </a:lnTo>
                      <a:lnTo>
                        <a:pt x="729" y="659"/>
                      </a:lnTo>
                      <a:lnTo>
                        <a:pt x="731" y="661"/>
                      </a:lnTo>
                      <a:lnTo>
                        <a:pt x="731" y="662"/>
                      </a:lnTo>
                      <a:lnTo>
                        <a:pt x="733" y="664"/>
                      </a:lnTo>
                      <a:lnTo>
                        <a:pt x="733" y="666"/>
                      </a:lnTo>
                      <a:lnTo>
                        <a:pt x="733" y="667"/>
                      </a:lnTo>
                      <a:lnTo>
                        <a:pt x="734" y="669"/>
                      </a:lnTo>
                      <a:lnTo>
                        <a:pt x="736" y="672"/>
                      </a:lnTo>
                      <a:lnTo>
                        <a:pt x="736" y="674"/>
                      </a:lnTo>
                      <a:lnTo>
                        <a:pt x="736" y="675"/>
                      </a:lnTo>
                      <a:lnTo>
                        <a:pt x="736" y="677"/>
                      </a:lnTo>
                      <a:lnTo>
                        <a:pt x="734" y="680"/>
                      </a:lnTo>
                      <a:lnTo>
                        <a:pt x="731" y="687"/>
                      </a:lnTo>
                      <a:lnTo>
                        <a:pt x="731" y="689"/>
                      </a:lnTo>
                      <a:lnTo>
                        <a:pt x="731" y="690"/>
                      </a:lnTo>
                      <a:lnTo>
                        <a:pt x="729" y="692"/>
                      </a:lnTo>
                      <a:lnTo>
                        <a:pt x="729" y="695"/>
                      </a:lnTo>
                      <a:lnTo>
                        <a:pt x="728" y="695"/>
                      </a:lnTo>
                      <a:lnTo>
                        <a:pt x="728" y="697"/>
                      </a:lnTo>
                      <a:lnTo>
                        <a:pt x="728" y="700"/>
                      </a:lnTo>
                      <a:lnTo>
                        <a:pt x="728" y="702"/>
                      </a:lnTo>
                      <a:lnTo>
                        <a:pt x="728" y="703"/>
                      </a:lnTo>
                      <a:lnTo>
                        <a:pt x="728" y="705"/>
                      </a:lnTo>
                      <a:lnTo>
                        <a:pt x="726" y="705"/>
                      </a:lnTo>
                      <a:lnTo>
                        <a:pt x="726" y="707"/>
                      </a:lnTo>
                      <a:lnTo>
                        <a:pt x="726" y="708"/>
                      </a:lnTo>
                      <a:lnTo>
                        <a:pt x="724" y="708"/>
                      </a:lnTo>
                      <a:lnTo>
                        <a:pt x="723" y="710"/>
                      </a:lnTo>
                      <a:lnTo>
                        <a:pt x="723" y="712"/>
                      </a:lnTo>
                      <a:lnTo>
                        <a:pt x="721" y="712"/>
                      </a:lnTo>
                      <a:lnTo>
                        <a:pt x="721" y="713"/>
                      </a:lnTo>
                      <a:lnTo>
                        <a:pt x="721" y="715"/>
                      </a:lnTo>
                      <a:lnTo>
                        <a:pt x="723" y="713"/>
                      </a:lnTo>
                      <a:lnTo>
                        <a:pt x="721" y="715"/>
                      </a:lnTo>
                      <a:lnTo>
                        <a:pt x="721" y="716"/>
                      </a:lnTo>
                      <a:lnTo>
                        <a:pt x="721" y="718"/>
                      </a:lnTo>
                      <a:lnTo>
                        <a:pt x="723" y="718"/>
                      </a:lnTo>
                      <a:lnTo>
                        <a:pt x="723" y="720"/>
                      </a:lnTo>
                      <a:lnTo>
                        <a:pt x="723" y="721"/>
                      </a:lnTo>
                      <a:lnTo>
                        <a:pt x="723" y="723"/>
                      </a:lnTo>
                      <a:lnTo>
                        <a:pt x="721" y="723"/>
                      </a:lnTo>
                      <a:lnTo>
                        <a:pt x="719" y="725"/>
                      </a:lnTo>
                      <a:lnTo>
                        <a:pt x="719" y="726"/>
                      </a:lnTo>
                      <a:lnTo>
                        <a:pt x="718" y="728"/>
                      </a:lnTo>
                      <a:lnTo>
                        <a:pt x="718" y="730"/>
                      </a:lnTo>
                      <a:lnTo>
                        <a:pt x="718" y="731"/>
                      </a:lnTo>
                      <a:lnTo>
                        <a:pt x="718" y="733"/>
                      </a:lnTo>
                      <a:lnTo>
                        <a:pt x="716" y="735"/>
                      </a:lnTo>
                      <a:lnTo>
                        <a:pt x="716" y="736"/>
                      </a:lnTo>
                      <a:lnTo>
                        <a:pt x="716" y="738"/>
                      </a:lnTo>
                      <a:lnTo>
                        <a:pt x="716" y="739"/>
                      </a:lnTo>
                      <a:lnTo>
                        <a:pt x="716" y="741"/>
                      </a:lnTo>
                      <a:lnTo>
                        <a:pt x="714" y="743"/>
                      </a:lnTo>
                      <a:lnTo>
                        <a:pt x="714" y="744"/>
                      </a:lnTo>
                      <a:lnTo>
                        <a:pt x="714" y="746"/>
                      </a:lnTo>
                      <a:lnTo>
                        <a:pt x="714" y="748"/>
                      </a:lnTo>
                      <a:lnTo>
                        <a:pt x="714" y="749"/>
                      </a:lnTo>
                      <a:lnTo>
                        <a:pt x="714" y="751"/>
                      </a:lnTo>
                      <a:lnTo>
                        <a:pt x="714" y="753"/>
                      </a:lnTo>
                      <a:lnTo>
                        <a:pt x="712" y="753"/>
                      </a:lnTo>
                      <a:lnTo>
                        <a:pt x="712" y="754"/>
                      </a:lnTo>
                      <a:lnTo>
                        <a:pt x="711" y="756"/>
                      </a:lnTo>
                      <a:lnTo>
                        <a:pt x="711" y="758"/>
                      </a:lnTo>
                      <a:lnTo>
                        <a:pt x="709" y="759"/>
                      </a:lnTo>
                      <a:lnTo>
                        <a:pt x="709" y="761"/>
                      </a:lnTo>
                      <a:lnTo>
                        <a:pt x="709" y="762"/>
                      </a:lnTo>
                      <a:lnTo>
                        <a:pt x="709" y="766"/>
                      </a:lnTo>
                      <a:lnTo>
                        <a:pt x="709" y="767"/>
                      </a:lnTo>
                      <a:lnTo>
                        <a:pt x="709" y="769"/>
                      </a:lnTo>
                      <a:lnTo>
                        <a:pt x="711" y="771"/>
                      </a:lnTo>
                      <a:lnTo>
                        <a:pt x="712" y="771"/>
                      </a:lnTo>
                      <a:lnTo>
                        <a:pt x="711" y="772"/>
                      </a:lnTo>
                      <a:lnTo>
                        <a:pt x="709" y="774"/>
                      </a:lnTo>
                      <a:lnTo>
                        <a:pt x="709" y="776"/>
                      </a:lnTo>
                      <a:lnTo>
                        <a:pt x="709" y="777"/>
                      </a:lnTo>
                      <a:lnTo>
                        <a:pt x="709" y="779"/>
                      </a:lnTo>
                      <a:lnTo>
                        <a:pt x="707" y="779"/>
                      </a:lnTo>
                      <a:lnTo>
                        <a:pt x="707" y="781"/>
                      </a:lnTo>
                      <a:lnTo>
                        <a:pt x="707" y="782"/>
                      </a:lnTo>
                      <a:lnTo>
                        <a:pt x="707" y="784"/>
                      </a:lnTo>
                      <a:lnTo>
                        <a:pt x="707" y="785"/>
                      </a:lnTo>
                      <a:lnTo>
                        <a:pt x="707" y="787"/>
                      </a:lnTo>
                      <a:lnTo>
                        <a:pt x="706" y="787"/>
                      </a:lnTo>
                      <a:lnTo>
                        <a:pt x="706" y="789"/>
                      </a:lnTo>
                      <a:lnTo>
                        <a:pt x="706" y="790"/>
                      </a:lnTo>
                      <a:lnTo>
                        <a:pt x="706" y="792"/>
                      </a:lnTo>
                      <a:lnTo>
                        <a:pt x="704" y="792"/>
                      </a:lnTo>
                      <a:lnTo>
                        <a:pt x="704" y="794"/>
                      </a:lnTo>
                      <a:lnTo>
                        <a:pt x="702" y="795"/>
                      </a:lnTo>
                      <a:lnTo>
                        <a:pt x="702" y="797"/>
                      </a:lnTo>
                      <a:lnTo>
                        <a:pt x="702" y="799"/>
                      </a:lnTo>
                      <a:lnTo>
                        <a:pt x="702" y="800"/>
                      </a:lnTo>
                      <a:lnTo>
                        <a:pt x="702" y="802"/>
                      </a:lnTo>
                      <a:lnTo>
                        <a:pt x="702" y="803"/>
                      </a:lnTo>
                      <a:lnTo>
                        <a:pt x="702" y="805"/>
                      </a:lnTo>
                      <a:lnTo>
                        <a:pt x="702" y="807"/>
                      </a:lnTo>
                      <a:lnTo>
                        <a:pt x="702" y="810"/>
                      </a:lnTo>
                      <a:lnTo>
                        <a:pt x="702" y="812"/>
                      </a:lnTo>
                      <a:lnTo>
                        <a:pt x="704" y="813"/>
                      </a:lnTo>
                      <a:lnTo>
                        <a:pt x="704" y="815"/>
                      </a:lnTo>
                      <a:lnTo>
                        <a:pt x="704" y="817"/>
                      </a:lnTo>
                      <a:lnTo>
                        <a:pt x="704" y="818"/>
                      </a:lnTo>
                      <a:lnTo>
                        <a:pt x="704" y="820"/>
                      </a:lnTo>
                      <a:lnTo>
                        <a:pt x="706" y="822"/>
                      </a:lnTo>
                      <a:close/>
                      <a:moveTo>
                        <a:pt x="721" y="712"/>
                      </a:moveTo>
                      <a:lnTo>
                        <a:pt x="723" y="712"/>
                      </a:lnTo>
                      <a:lnTo>
                        <a:pt x="721" y="712"/>
                      </a:lnTo>
                      <a:close/>
                      <a:moveTo>
                        <a:pt x="670" y="882"/>
                      </a:moveTo>
                      <a:lnTo>
                        <a:pt x="670" y="881"/>
                      </a:lnTo>
                      <a:lnTo>
                        <a:pt x="670" y="882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81" name="Freeform 23"/>
                <p:cNvSpPr>
                  <a:spLocks noChangeAspect="1"/>
                </p:cNvSpPr>
                <p:nvPr/>
              </p:nvSpPr>
              <p:spPr bwMode="auto">
                <a:xfrm>
                  <a:off x="6092118" y="1702990"/>
                  <a:ext cx="615600" cy="782776"/>
                </a:xfrm>
                <a:custGeom>
                  <a:avLst/>
                  <a:gdLst>
                    <a:gd name="T0" fmla="*/ 2147483647 w 395"/>
                    <a:gd name="T1" fmla="*/ 2147483647 h 468"/>
                    <a:gd name="T2" fmla="*/ 2147483647 w 395"/>
                    <a:gd name="T3" fmla="*/ 2147483647 h 468"/>
                    <a:gd name="T4" fmla="*/ 2147483647 w 395"/>
                    <a:gd name="T5" fmla="*/ 2147483647 h 468"/>
                    <a:gd name="T6" fmla="*/ 2147483647 w 395"/>
                    <a:gd name="T7" fmla="*/ 2147483647 h 468"/>
                    <a:gd name="T8" fmla="*/ 2147483647 w 395"/>
                    <a:gd name="T9" fmla="*/ 2147483647 h 468"/>
                    <a:gd name="T10" fmla="*/ 2147483647 w 395"/>
                    <a:gd name="T11" fmla="*/ 2147483647 h 468"/>
                    <a:gd name="T12" fmla="*/ 2147483647 w 395"/>
                    <a:gd name="T13" fmla="*/ 2147483647 h 468"/>
                    <a:gd name="T14" fmla="*/ 2147483647 w 395"/>
                    <a:gd name="T15" fmla="*/ 2147483647 h 468"/>
                    <a:gd name="T16" fmla="*/ 0 w 395"/>
                    <a:gd name="T17" fmla="*/ 2147483647 h 468"/>
                    <a:gd name="T18" fmla="*/ 2147483647 w 395"/>
                    <a:gd name="T19" fmla="*/ 2147483647 h 468"/>
                    <a:gd name="T20" fmla="*/ 2147483647 w 395"/>
                    <a:gd name="T21" fmla="*/ 2147483647 h 468"/>
                    <a:gd name="T22" fmla="*/ 2147483647 w 395"/>
                    <a:gd name="T23" fmla="*/ 2147483647 h 468"/>
                    <a:gd name="T24" fmla="*/ 2147483647 w 395"/>
                    <a:gd name="T25" fmla="*/ 2147483647 h 468"/>
                    <a:gd name="T26" fmla="*/ 2147483647 w 395"/>
                    <a:gd name="T27" fmla="*/ 2147483647 h 468"/>
                    <a:gd name="T28" fmla="*/ 2147483647 w 395"/>
                    <a:gd name="T29" fmla="*/ 2147483647 h 468"/>
                    <a:gd name="T30" fmla="*/ 2147483647 w 395"/>
                    <a:gd name="T31" fmla="*/ 2147483647 h 468"/>
                    <a:gd name="T32" fmla="*/ 2147483647 w 395"/>
                    <a:gd name="T33" fmla="*/ 2147483647 h 468"/>
                    <a:gd name="T34" fmla="*/ 2147483647 w 395"/>
                    <a:gd name="T35" fmla="*/ 2147483647 h 468"/>
                    <a:gd name="T36" fmla="*/ 2147483647 w 395"/>
                    <a:gd name="T37" fmla="*/ 2147483647 h 468"/>
                    <a:gd name="T38" fmla="*/ 2147483647 w 395"/>
                    <a:gd name="T39" fmla="*/ 2147483647 h 468"/>
                    <a:gd name="T40" fmla="*/ 2147483647 w 395"/>
                    <a:gd name="T41" fmla="*/ 2147483647 h 468"/>
                    <a:gd name="T42" fmla="*/ 2147483647 w 395"/>
                    <a:gd name="T43" fmla="*/ 2147483647 h 468"/>
                    <a:gd name="T44" fmla="*/ 2147483647 w 395"/>
                    <a:gd name="T45" fmla="*/ 2147483647 h 468"/>
                    <a:gd name="T46" fmla="*/ 2147483647 w 395"/>
                    <a:gd name="T47" fmla="*/ 2147483647 h 468"/>
                    <a:gd name="T48" fmla="*/ 2147483647 w 395"/>
                    <a:gd name="T49" fmla="*/ 2147483647 h 468"/>
                    <a:gd name="T50" fmla="*/ 2147483647 w 395"/>
                    <a:gd name="T51" fmla="*/ 2147483647 h 468"/>
                    <a:gd name="T52" fmla="*/ 2147483647 w 395"/>
                    <a:gd name="T53" fmla="*/ 2147483647 h 468"/>
                    <a:gd name="T54" fmla="*/ 2147483647 w 395"/>
                    <a:gd name="T55" fmla="*/ 2147483647 h 468"/>
                    <a:gd name="T56" fmla="*/ 2147483647 w 395"/>
                    <a:gd name="T57" fmla="*/ 2147483647 h 468"/>
                    <a:gd name="T58" fmla="*/ 2147483647 w 395"/>
                    <a:gd name="T59" fmla="*/ 2147483647 h 468"/>
                    <a:gd name="T60" fmla="*/ 2147483647 w 395"/>
                    <a:gd name="T61" fmla="*/ 2147483647 h 468"/>
                    <a:gd name="T62" fmla="*/ 2147483647 w 395"/>
                    <a:gd name="T63" fmla="*/ 2147483647 h 468"/>
                    <a:gd name="T64" fmla="*/ 2147483647 w 395"/>
                    <a:gd name="T65" fmla="*/ 2147483647 h 468"/>
                    <a:gd name="T66" fmla="*/ 2147483647 w 395"/>
                    <a:gd name="T67" fmla="*/ 2147483647 h 468"/>
                    <a:gd name="T68" fmla="*/ 2147483647 w 395"/>
                    <a:gd name="T69" fmla="*/ 2147483647 h 468"/>
                    <a:gd name="T70" fmla="*/ 2147483647 w 395"/>
                    <a:gd name="T71" fmla="*/ 2147483647 h 468"/>
                    <a:gd name="T72" fmla="*/ 2147483647 w 395"/>
                    <a:gd name="T73" fmla="*/ 2147483647 h 468"/>
                    <a:gd name="T74" fmla="*/ 2147483647 w 395"/>
                    <a:gd name="T75" fmla="*/ 2147483647 h 468"/>
                    <a:gd name="T76" fmla="*/ 2147483647 w 395"/>
                    <a:gd name="T77" fmla="*/ 2147483647 h 468"/>
                    <a:gd name="T78" fmla="*/ 2147483647 w 395"/>
                    <a:gd name="T79" fmla="*/ 2147483647 h 468"/>
                    <a:gd name="T80" fmla="*/ 2147483647 w 395"/>
                    <a:gd name="T81" fmla="*/ 2147483647 h 468"/>
                    <a:gd name="T82" fmla="*/ 2147483647 w 395"/>
                    <a:gd name="T83" fmla="*/ 2147483647 h 468"/>
                    <a:gd name="T84" fmla="*/ 2147483647 w 395"/>
                    <a:gd name="T85" fmla="*/ 2147483647 h 468"/>
                    <a:gd name="T86" fmla="*/ 2147483647 w 395"/>
                    <a:gd name="T87" fmla="*/ 2147483647 h 468"/>
                    <a:gd name="T88" fmla="*/ 2147483647 w 395"/>
                    <a:gd name="T89" fmla="*/ 2147483647 h 468"/>
                    <a:gd name="T90" fmla="*/ 2147483647 w 395"/>
                    <a:gd name="T91" fmla="*/ 2147483647 h 468"/>
                    <a:gd name="T92" fmla="*/ 2147483647 w 395"/>
                    <a:gd name="T93" fmla="*/ 2147483647 h 468"/>
                    <a:gd name="T94" fmla="*/ 2147483647 w 395"/>
                    <a:gd name="T95" fmla="*/ 2147483647 h 468"/>
                    <a:gd name="T96" fmla="*/ 2147483647 w 395"/>
                    <a:gd name="T97" fmla="*/ 2147483647 h 468"/>
                    <a:gd name="T98" fmla="*/ 2147483647 w 395"/>
                    <a:gd name="T99" fmla="*/ 2147483647 h 468"/>
                    <a:gd name="T100" fmla="*/ 2147483647 w 395"/>
                    <a:gd name="T101" fmla="*/ 2147483647 h 468"/>
                    <a:gd name="T102" fmla="*/ 2147483647 w 395"/>
                    <a:gd name="T103" fmla="*/ 2147483647 h 468"/>
                    <a:gd name="T104" fmla="*/ 2147483647 w 395"/>
                    <a:gd name="T105" fmla="*/ 2147483647 h 468"/>
                    <a:gd name="T106" fmla="*/ 2147483647 w 395"/>
                    <a:gd name="T107" fmla="*/ 2147483647 h 468"/>
                    <a:gd name="T108" fmla="*/ 2147483647 w 395"/>
                    <a:gd name="T109" fmla="*/ 2147483647 h 468"/>
                    <a:gd name="T110" fmla="*/ 2147483647 w 395"/>
                    <a:gd name="T111" fmla="*/ 2147483647 h 468"/>
                    <a:gd name="T112" fmla="*/ 2147483647 w 395"/>
                    <a:gd name="T113" fmla="*/ 2147483647 h 468"/>
                    <a:gd name="T114" fmla="*/ 2147483647 w 395"/>
                    <a:gd name="T115" fmla="*/ 2147483647 h 468"/>
                    <a:gd name="T116" fmla="*/ 2147483647 w 395"/>
                    <a:gd name="T117" fmla="*/ 2147483647 h 468"/>
                    <a:gd name="T118" fmla="*/ 2147483647 w 395"/>
                    <a:gd name="T119" fmla="*/ 2147483647 h 46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95"/>
                    <a:gd name="T181" fmla="*/ 0 h 468"/>
                    <a:gd name="T182" fmla="*/ 395 w 395"/>
                    <a:gd name="T183" fmla="*/ 468 h 46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95" h="468">
                      <a:moveTo>
                        <a:pt x="49" y="300"/>
                      </a:moveTo>
                      <a:lnTo>
                        <a:pt x="49" y="299"/>
                      </a:lnTo>
                      <a:lnTo>
                        <a:pt x="51" y="296"/>
                      </a:lnTo>
                      <a:lnTo>
                        <a:pt x="52" y="296"/>
                      </a:lnTo>
                      <a:lnTo>
                        <a:pt x="52" y="294"/>
                      </a:lnTo>
                      <a:lnTo>
                        <a:pt x="52" y="292"/>
                      </a:lnTo>
                      <a:lnTo>
                        <a:pt x="52" y="291"/>
                      </a:lnTo>
                      <a:lnTo>
                        <a:pt x="52" y="289"/>
                      </a:lnTo>
                      <a:lnTo>
                        <a:pt x="51" y="287"/>
                      </a:lnTo>
                      <a:lnTo>
                        <a:pt x="51" y="286"/>
                      </a:lnTo>
                      <a:lnTo>
                        <a:pt x="51" y="284"/>
                      </a:lnTo>
                      <a:lnTo>
                        <a:pt x="49" y="282"/>
                      </a:lnTo>
                      <a:lnTo>
                        <a:pt x="49" y="281"/>
                      </a:lnTo>
                      <a:lnTo>
                        <a:pt x="49" y="279"/>
                      </a:lnTo>
                      <a:lnTo>
                        <a:pt x="49" y="278"/>
                      </a:lnTo>
                      <a:lnTo>
                        <a:pt x="49" y="276"/>
                      </a:lnTo>
                      <a:lnTo>
                        <a:pt x="49" y="274"/>
                      </a:lnTo>
                      <a:lnTo>
                        <a:pt x="49" y="273"/>
                      </a:lnTo>
                      <a:lnTo>
                        <a:pt x="49" y="271"/>
                      </a:lnTo>
                      <a:lnTo>
                        <a:pt x="47" y="268"/>
                      </a:lnTo>
                      <a:lnTo>
                        <a:pt x="47" y="266"/>
                      </a:lnTo>
                      <a:lnTo>
                        <a:pt x="47" y="264"/>
                      </a:lnTo>
                      <a:lnTo>
                        <a:pt x="49" y="264"/>
                      </a:lnTo>
                      <a:lnTo>
                        <a:pt x="51" y="263"/>
                      </a:lnTo>
                      <a:lnTo>
                        <a:pt x="51" y="261"/>
                      </a:lnTo>
                      <a:lnTo>
                        <a:pt x="49" y="259"/>
                      </a:lnTo>
                      <a:lnTo>
                        <a:pt x="49" y="258"/>
                      </a:lnTo>
                      <a:lnTo>
                        <a:pt x="49" y="256"/>
                      </a:lnTo>
                      <a:lnTo>
                        <a:pt x="47" y="255"/>
                      </a:lnTo>
                      <a:lnTo>
                        <a:pt x="47" y="253"/>
                      </a:lnTo>
                      <a:lnTo>
                        <a:pt x="47" y="251"/>
                      </a:lnTo>
                      <a:lnTo>
                        <a:pt x="47" y="250"/>
                      </a:lnTo>
                      <a:lnTo>
                        <a:pt x="47" y="248"/>
                      </a:lnTo>
                      <a:lnTo>
                        <a:pt x="49" y="248"/>
                      </a:lnTo>
                      <a:lnTo>
                        <a:pt x="49" y="246"/>
                      </a:lnTo>
                      <a:lnTo>
                        <a:pt x="47" y="246"/>
                      </a:lnTo>
                      <a:lnTo>
                        <a:pt x="47" y="245"/>
                      </a:lnTo>
                      <a:lnTo>
                        <a:pt x="46" y="245"/>
                      </a:lnTo>
                      <a:lnTo>
                        <a:pt x="46" y="243"/>
                      </a:lnTo>
                      <a:lnTo>
                        <a:pt x="46" y="241"/>
                      </a:lnTo>
                      <a:lnTo>
                        <a:pt x="44" y="241"/>
                      </a:lnTo>
                      <a:lnTo>
                        <a:pt x="44" y="243"/>
                      </a:lnTo>
                      <a:lnTo>
                        <a:pt x="42" y="241"/>
                      </a:lnTo>
                      <a:lnTo>
                        <a:pt x="44" y="241"/>
                      </a:lnTo>
                      <a:lnTo>
                        <a:pt x="44" y="240"/>
                      </a:lnTo>
                      <a:lnTo>
                        <a:pt x="42" y="240"/>
                      </a:lnTo>
                      <a:lnTo>
                        <a:pt x="42" y="238"/>
                      </a:lnTo>
                      <a:lnTo>
                        <a:pt x="40" y="238"/>
                      </a:lnTo>
                      <a:lnTo>
                        <a:pt x="40" y="236"/>
                      </a:lnTo>
                      <a:lnTo>
                        <a:pt x="39" y="235"/>
                      </a:lnTo>
                      <a:lnTo>
                        <a:pt x="37" y="233"/>
                      </a:lnTo>
                      <a:lnTo>
                        <a:pt x="35" y="232"/>
                      </a:lnTo>
                      <a:lnTo>
                        <a:pt x="35" y="230"/>
                      </a:lnTo>
                      <a:lnTo>
                        <a:pt x="37" y="225"/>
                      </a:lnTo>
                      <a:lnTo>
                        <a:pt x="37" y="223"/>
                      </a:lnTo>
                      <a:lnTo>
                        <a:pt x="37" y="222"/>
                      </a:lnTo>
                      <a:lnTo>
                        <a:pt x="39" y="220"/>
                      </a:lnTo>
                      <a:lnTo>
                        <a:pt x="39" y="218"/>
                      </a:lnTo>
                      <a:lnTo>
                        <a:pt x="37" y="217"/>
                      </a:lnTo>
                      <a:lnTo>
                        <a:pt x="35" y="217"/>
                      </a:lnTo>
                      <a:lnTo>
                        <a:pt x="35" y="215"/>
                      </a:lnTo>
                      <a:lnTo>
                        <a:pt x="34" y="213"/>
                      </a:lnTo>
                      <a:lnTo>
                        <a:pt x="34" y="212"/>
                      </a:lnTo>
                      <a:lnTo>
                        <a:pt x="32" y="210"/>
                      </a:lnTo>
                      <a:lnTo>
                        <a:pt x="32" y="209"/>
                      </a:lnTo>
                      <a:lnTo>
                        <a:pt x="32" y="207"/>
                      </a:lnTo>
                      <a:lnTo>
                        <a:pt x="30" y="207"/>
                      </a:lnTo>
                      <a:lnTo>
                        <a:pt x="32" y="205"/>
                      </a:lnTo>
                      <a:lnTo>
                        <a:pt x="30" y="204"/>
                      </a:lnTo>
                      <a:lnTo>
                        <a:pt x="29" y="202"/>
                      </a:lnTo>
                      <a:lnTo>
                        <a:pt x="27" y="199"/>
                      </a:lnTo>
                      <a:lnTo>
                        <a:pt x="25" y="197"/>
                      </a:lnTo>
                      <a:lnTo>
                        <a:pt x="25" y="195"/>
                      </a:lnTo>
                      <a:lnTo>
                        <a:pt x="25" y="194"/>
                      </a:lnTo>
                      <a:lnTo>
                        <a:pt x="25" y="192"/>
                      </a:lnTo>
                      <a:lnTo>
                        <a:pt x="25" y="190"/>
                      </a:lnTo>
                      <a:lnTo>
                        <a:pt x="25" y="187"/>
                      </a:lnTo>
                      <a:lnTo>
                        <a:pt x="25" y="186"/>
                      </a:lnTo>
                      <a:lnTo>
                        <a:pt x="25" y="184"/>
                      </a:lnTo>
                      <a:lnTo>
                        <a:pt x="24" y="182"/>
                      </a:lnTo>
                      <a:lnTo>
                        <a:pt x="22" y="181"/>
                      </a:lnTo>
                      <a:lnTo>
                        <a:pt x="22" y="179"/>
                      </a:lnTo>
                      <a:lnTo>
                        <a:pt x="20" y="179"/>
                      </a:lnTo>
                      <a:lnTo>
                        <a:pt x="20" y="177"/>
                      </a:lnTo>
                      <a:lnTo>
                        <a:pt x="22" y="176"/>
                      </a:lnTo>
                      <a:lnTo>
                        <a:pt x="24" y="174"/>
                      </a:lnTo>
                      <a:lnTo>
                        <a:pt x="24" y="172"/>
                      </a:lnTo>
                      <a:lnTo>
                        <a:pt x="22" y="171"/>
                      </a:lnTo>
                      <a:lnTo>
                        <a:pt x="20" y="169"/>
                      </a:lnTo>
                      <a:lnTo>
                        <a:pt x="18" y="169"/>
                      </a:lnTo>
                      <a:lnTo>
                        <a:pt x="18" y="166"/>
                      </a:lnTo>
                      <a:lnTo>
                        <a:pt x="20" y="164"/>
                      </a:lnTo>
                      <a:lnTo>
                        <a:pt x="22" y="163"/>
                      </a:lnTo>
                      <a:lnTo>
                        <a:pt x="24" y="159"/>
                      </a:lnTo>
                      <a:lnTo>
                        <a:pt x="24" y="158"/>
                      </a:lnTo>
                      <a:lnTo>
                        <a:pt x="24" y="156"/>
                      </a:lnTo>
                      <a:lnTo>
                        <a:pt x="24" y="154"/>
                      </a:lnTo>
                      <a:lnTo>
                        <a:pt x="25" y="153"/>
                      </a:lnTo>
                      <a:lnTo>
                        <a:pt x="27" y="153"/>
                      </a:lnTo>
                      <a:lnTo>
                        <a:pt x="27" y="151"/>
                      </a:lnTo>
                      <a:lnTo>
                        <a:pt x="29" y="149"/>
                      </a:lnTo>
                      <a:lnTo>
                        <a:pt x="30" y="148"/>
                      </a:lnTo>
                      <a:lnTo>
                        <a:pt x="32" y="146"/>
                      </a:lnTo>
                      <a:lnTo>
                        <a:pt x="34" y="144"/>
                      </a:lnTo>
                      <a:lnTo>
                        <a:pt x="34" y="143"/>
                      </a:lnTo>
                      <a:lnTo>
                        <a:pt x="34" y="141"/>
                      </a:lnTo>
                      <a:lnTo>
                        <a:pt x="35" y="136"/>
                      </a:lnTo>
                      <a:lnTo>
                        <a:pt x="35" y="135"/>
                      </a:lnTo>
                      <a:lnTo>
                        <a:pt x="35" y="133"/>
                      </a:lnTo>
                      <a:lnTo>
                        <a:pt x="37" y="133"/>
                      </a:lnTo>
                      <a:lnTo>
                        <a:pt x="37" y="131"/>
                      </a:lnTo>
                      <a:lnTo>
                        <a:pt x="37" y="130"/>
                      </a:lnTo>
                      <a:lnTo>
                        <a:pt x="35" y="130"/>
                      </a:lnTo>
                      <a:lnTo>
                        <a:pt x="34" y="128"/>
                      </a:lnTo>
                      <a:lnTo>
                        <a:pt x="32" y="128"/>
                      </a:lnTo>
                      <a:lnTo>
                        <a:pt x="30" y="128"/>
                      </a:lnTo>
                      <a:lnTo>
                        <a:pt x="29" y="126"/>
                      </a:lnTo>
                      <a:lnTo>
                        <a:pt x="29" y="125"/>
                      </a:lnTo>
                      <a:lnTo>
                        <a:pt x="27" y="123"/>
                      </a:lnTo>
                      <a:lnTo>
                        <a:pt x="27" y="120"/>
                      </a:lnTo>
                      <a:lnTo>
                        <a:pt x="25" y="118"/>
                      </a:lnTo>
                      <a:lnTo>
                        <a:pt x="22" y="117"/>
                      </a:lnTo>
                      <a:lnTo>
                        <a:pt x="22" y="115"/>
                      </a:lnTo>
                      <a:lnTo>
                        <a:pt x="20" y="113"/>
                      </a:lnTo>
                      <a:lnTo>
                        <a:pt x="20" y="112"/>
                      </a:lnTo>
                      <a:lnTo>
                        <a:pt x="20" y="108"/>
                      </a:lnTo>
                      <a:lnTo>
                        <a:pt x="20" y="107"/>
                      </a:lnTo>
                      <a:lnTo>
                        <a:pt x="18" y="103"/>
                      </a:lnTo>
                      <a:lnTo>
                        <a:pt x="18" y="102"/>
                      </a:lnTo>
                      <a:lnTo>
                        <a:pt x="18" y="100"/>
                      </a:lnTo>
                      <a:lnTo>
                        <a:pt x="17" y="98"/>
                      </a:lnTo>
                      <a:lnTo>
                        <a:pt x="17" y="97"/>
                      </a:lnTo>
                      <a:lnTo>
                        <a:pt x="17" y="95"/>
                      </a:lnTo>
                      <a:lnTo>
                        <a:pt x="15" y="94"/>
                      </a:lnTo>
                      <a:lnTo>
                        <a:pt x="15" y="92"/>
                      </a:lnTo>
                      <a:lnTo>
                        <a:pt x="13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8" y="84"/>
                      </a:lnTo>
                      <a:lnTo>
                        <a:pt x="5" y="74"/>
                      </a:lnTo>
                      <a:lnTo>
                        <a:pt x="3" y="71"/>
                      </a:lnTo>
                      <a:lnTo>
                        <a:pt x="2" y="69"/>
                      </a:lnTo>
                      <a:lnTo>
                        <a:pt x="2" y="67"/>
                      </a:lnTo>
                      <a:lnTo>
                        <a:pt x="0" y="56"/>
                      </a:lnTo>
                      <a:lnTo>
                        <a:pt x="0" y="54"/>
                      </a:lnTo>
                      <a:lnTo>
                        <a:pt x="0" y="53"/>
                      </a:lnTo>
                      <a:lnTo>
                        <a:pt x="3" y="48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0" y="33"/>
                      </a:lnTo>
                      <a:lnTo>
                        <a:pt x="12" y="33"/>
                      </a:lnTo>
                      <a:lnTo>
                        <a:pt x="12" y="31"/>
                      </a:lnTo>
                      <a:lnTo>
                        <a:pt x="13" y="31"/>
                      </a:lnTo>
                      <a:lnTo>
                        <a:pt x="13" y="30"/>
                      </a:lnTo>
                      <a:lnTo>
                        <a:pt x="15" y="30"/>
                      </a:lnTo>
                      <a:lnTo>
                        <a:pt x="15" y="28"/>
                      </a:lnTo>
                      <a:lnTo>
                        <a:pt x="17" y="28"/>
                      </a:lnTo>
                      <a:lnTo>
                        <a:pt x="17" y="26"/>
                      </a:lnTo>
                      <a:lnTo>
                        <a:pt x="15" y="26"/>
                      </a:lnTo>
                      <a:lnTo>
                        <a:pt x="17" y="25"/>
                      </a:lnTo>
                      <a:lnTo>
                        <a:pt x="15" y="25"/>
                      </a:lnTo>
                      <a:lnTo>
                        <a:pt x="17" y="23"/>
                      </a:lnTo>
                      <a:lnTo>
                        <a:pt x="17" y="21"/>
                      </a:lnTo>
                      <a:lnTo>
                        <a:pt x="17" y="20"/>
                      </a:lnTo>
                      <a:lnTo>
                        <a:pt x="15" y="18"/>
                      </a:lnTo>
                      <a:lnTo>
                        <a:pt x="15" y="16"/>
                      </a:lnTo>
                      <a:lnTo>
                        <a:pt x="13" y="16"/>
                      </a:lnTo>
                      <a:lnTo>
                        <a:pt x="12" y="16"/>
                      </a:lnTo>
                      <a:lnTo>
                        <a:pt x="10" y="16"/>
                      </a:lnTo>
                      <a:lnTo>
                        <a:pt x="10" y="15"/>
                      </a:lnTo>
                      <a:lnTo>
                        <a:pt x="10" y="13"/>
                      </a:lnTo>
                      <a:lnTo>
                        <a:pt x="13" y="10"/>
                      </a:lnTo>
                      <a:lnTo>
                        <a:pt x="15" y="10"/>
                      </a:lnTo>
                      <a:lnTo>
                        <a:pt x="15" y="8"/>
                      </a:lnTo>
                      <a:lnTo>
                        <a:pt x="17" y="8"/>
                      </a:lnTo>
                      <a:lnTo>
                        <a:pt x="17" y="10"/>
                      </a:lnTo>
                      <a:lnTo>
                        <a:pt x="18" y="10"/>
                      </a:lnTo>
                      <a:lnTo>
                        <a:pt x="20" y="10"/>
                      </a:lnTo>
                      <a:lnTo>
                        <a:pt x="22" y="10"/>
                      </a:lnTo>
                      <a:lnTo>
                        <a:pt x="24" y="10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0" y="10"/>
                      </a:lnTo>
                      <a:lnTo>
                        <a:pt x="32" y="10"/>
                      </a:lnTo>
                      <a:lnTo>
                        <a:pt x="34" y="10"/>
                      </a:lnTo>
                      <a:lnTo>
                        <a:pt x="37" y="10"/>
                      </a:lnTo>
                      <a:lnTo>
                        <a:pt x="40" y="10"/>
                      </a:lnTo>
                      <a:lnTo>
                        <a:pt x="42" y="10"/>
                      </a:lnTo>
                      <a:lnTo>
                        <a:pt x="42" y="8"/>
                      </a:lnTo>
                      <a:lnTo>
                        <a:pt x="44" y="8"/>
                      </a:lnTo>
                      <a:lnTo>
                        <a:pt x="46" y="8"/>
                      </a:lnTo>
                      <a:lnTo>
                        <a:pt x="47" y="8"/>
                      </a:lnTo>
                      <a:lnTo>
                        <a:pt x="49" y="8"/>
                      </a:lnTo>
                      <a:lnTo>
                        <a:pt x="49" y="7"/>
                      </a:lnTo>
                      <a:lnTo>
                        <a:pt x="52" y="7"/>
                      </a:lnTo>
                      <a:lnTo>
                        <a:pt x="54" y="7"/>
                      </a:lnTo>
                      <a:lnTo>
                        <a:pt x="54" y="8"/>
                      </a:lnTo>
                      <a:lnTo>
                        <a:pt x="56" y="8"/>
                      </a:lnTo>
                      <a:lnTo>
                        <a:pt x="57" y="8"/>
                      </a:lnTo>
                      <a:lnTo>
                        <a:pt x="59" y="8"/>
                      </a:lnTo>
                      <a:lnTo>
                        <a:pt x="61" y="8"/>
                      </a:lnTo>
                      <a:lnTo>
                        <a:pt x="61" y="7"/>
                      </a:lnTo>
                      <a:lnTo>
                        <a:pt x="62" y="7"/>
                      </a:lnTo>
                      <a:lnTo>
                        <a:pt x="64" y="7"/>
                      </a:lnTo>
                      <a:lnTo>
                        <a:pt x="66" y="7"/>
                      </a:lnTo>
                      <a:lnTo>
                        <a:pt x="67" y="7"/>
                      </a:lnTo>
                      <a:lnTo>
                        <a:pt x="69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73" y="5"/>
                      </a:lnTo>
                      <a:lnTo>
                        <a:pt x="73" y="7"/>
                      </a:lnTo>
                      <a:lnTo>
                        <a:pt x="74" y="7"/>
                      </a:lnTo>
                      <a:lnTo>
                        <a:pt x="78" y="5"/>
                      </a:lnTo>
                      <a:lnTo>
                        <a:pt x="79" y="5"/>
                      </a:lnTo>
                      <a:lnTo>
                        <a:pt x="81" y="5"/>
                      </a:lnTo>
                      <a:lnTo>
                        <a:pt x="83" y="3"/>
                      </a:lnTo>
                      <a:lnTo>
                        <a:pt x="84" y="3"/>
                      </a:lnTo>
                      <a:lnTo>
                        <a:pt x="86" y="2"/>
                      </a:lnTo>
                      <a:lnTo>
                        <a:pt x="86" y="0"/>
                      </a:lnTo>
                      <a:lnTo>
                        <a:pt x="88" y="0"/>
                      </a:lnTo>
                      <a:lnTo>
                        <a:pt x="89" y="0"/>
                      </a:lnTo>
                      <a:lnTo>
                        <a:pt x="93" y="2"/>
                      </a:lnTo>
                      <a:lnTo>
                        <a:pt x="94" y="2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5" y="2"/>
                      </a:lnTo>
                      <a:lnTo>
                        <a:pt x="108" y="2"/>
                      </a:lnTo>
                      <a:lnTo>
                        <a:pt x="110" y="2"/>
                      </a:lnTo>
                      <a:lnTo>
                        <a:pt x="111" y="2"/>
                      </a:lnTo>
                      <a:lnTo>
                        <a:pt x="113" y="2"/>
                      </a:lnTo>
                      <a:lnTo>
                        <a:pt x="115" y="2"/>
                      </a:lnTo>
                      <a:lnTo>
                        <a:pt x="115" y="3"/>
                      </a:lnTo>
                      <a:lnTo>
                        <a:pt x="116" y="3"/>
                      </a:lnTo>
                      <a:lnTo>
                        <a:pt x="118" y="3"/>
                      </a:lnTo>
                      <a:lnTo>
                        <a:pt x="118" y="2"/>
                      </a:lnTo>
                      <a:lnTo>
                        <a:pt x="118" y="3"/>
                      </a:lnTo>
                      <a:lnTo>
                        <a:pt x="120" y="3"/>
                      </a:lnTo>
                      <a:lnTo>
                        <a:pt x="120" y="5"/>
                      </a:lnTo>
                      <a:lnTo>
                        <a:pt x="122" y="5"/>
                      </a:lnTo>
                      <a:lnTo>
                        <a:pt x="123" y="5"/>
                      </a:lnTo>
                      <a:lnTo>
                        <a:pt x="123" y="3"/>
                      </a:lnTo>
                      <a:lnTo>
                        <a:pt x="125" y="3"/>
                      </a:lnTo>
                      <a:lnTo>
                        <a:pt x="127" y="3"/>
                      </a:lnTo>
                      <a:lnTo>
                        <a:pt x="128" y="5"/>
                      </a:lnTo>
                      <a:lnTo>
                        <a:pt x="130" y="5"/>
                      </a:lnTo>
                      <a:lnTo>
                        <a:pt x="132" y="5"/>
                      </a:lnTo>
                      <a:lnTo>
                        <a:pt x="133" y="5"/>
                      </a:lnTo>
                      <a:lnTo>
                        <a:pt x="135" y="5"/>
                      </a:lnTo>
                      <a:lnTo>
                        <a:pt x="137" y="5"/>
                      </a:lnTo>
                      <a:lnTo>
                        <a:pt x="138" y="7"/>
                      </a:lnTo>
                      <a:lnTo>
                        <a:pt x="137" y="7"/>
                      </a:lnTo>
                      <a:lnTo>
                        <a:pt x="137" y="5"/>
                      </a:lnTo>
                      <a:lnTo>
                        <a:pt x="135" y="5"/>
                      </a:lnTo>
                      <a:lnTo>
                        <a:pt x="137" y="5"/>
                      </a:lnTo>
                      <a:lnTo>
                        <a:pt x="140" y="7"/>
                      </a:lnTo>
                      <a:lnTo>
                        <a:pt x="138" y="7"/>
                      </a:lnTo>
                      <a:lnTo>
                        <a:pt x="138" y="5"/>
                      </a:lnTo>
                      <a:lnTo>
                        <a:pt x="138" y="7"/>
                      </a:lnTo>
                      <a:lnTo>
                        <a:pt x="140" y="7"/>
                      </a:lnTo>
                      <a:lnTo>
                        <a:pt x="142" y="7"/>
                      </a:lnTo>
                      <a:lnTo>
                        <a:pt x="143" y="8"/>
                      </a:lnTo>
                      <a:lnTo>
                        <a:pt x="145" y="8"/>
                      </a:lnTo>
                      <a:lnTo>
                        <a:pt x="147" y="10"/>
                      </a:lnTo>
                      <a:lnTo>
                        <a:pt x="149" y="10"/>
                      </a:lnTo>
                      <a:lnTo>
                        <a:pt x="149" y="11"/>
                      </a:lnTo>
                      <a:lnTo>
                        <a:pt x="150" y="11"/>
                      </a:lnTo>
                      <a:lnTo>
                        <a:pt x="152" y="13"/>
                      </a:lnTo>
                      <a:lnTo>
                        <a:pt x="154" y="13"/>
                      </a:lnTo>
                      <a:lnTo>
                        <a:pt x="154" y="15"/>
                      </a:lnTo>
                      <a:lnTo>
                        <a:pt x="155" y="15"/>
                      </a:lnTo>
                      <a:lnTo>
                        <a:pt x="157" y="15"/>
                      </a:lnTo>
                      <a:lnTo>
                        <a:pt x="157" y="16"/>
                      </a:lnTo>
                      <a:lnTo>
                        <a:pt x="159" y="16"/>
                      </a:lnTo>
                      <a:lnTo>
                        <a:pt x="159" y="18"/>
                      </a:lnTo>
                      <a:lnTo>
                        <a:pt x="160" y="18"/>
                      </a:lnTo>
                      <a:lnTo>
                        <a:pt x="162" y="20"/>
                      </a:lnTo>
                      <a:lnTo>
                        <a:pt x="164" y="20"/>
                      </a:lnTo>
                      <a:lnTo>
                        <a:pt x="165" y="20"/>
                      </a:lnTo>
                      <a:lnTo>
                        <a:pt x="167" y="21"/>
                      </a:lnTo>
                      <a:lnTo>
                        <a:pt x="169" y="21"/>
                      </a:lnTo>
                      <a:lnTo>
                        <a:pt x="170" y="21"/>
                      </a:lnTo>
                      <a:lnTo>
                        <a:pt x="170" y="23"/>
                      </a:lnTo>
                      <a:lnTo>
                        <a:pt x="172" y="23"/>
                      </a:lnTo>
                      <a:lnTo>
                        <a:pt x="172" y="25"/>
                      </a:lnTo>
                      <a:lnTo>
                        <a:pt x="174" y="25"/>
                      </a:lnTo>
                      <a:lnTo>
                        <a:pt x="174" y="26"/>
                      </a:lnTo>
                      <a:lnTo>
                        <a:pt x="176" y="26"/>
                      </a:lnTo>
                      <a:lnTo>
                        <a:pt x="177" y="26"/>
                      </a:lnTo>
                      <a:lnTo>
                        <a:pt x="177" y="28"/>
                      </a:lnTo>
                      <a:lnTo>
                        <a:pt x="179" y="28"/>
                      </a:lnTo>
                      <a:lnTo>
                        <a:pt x="181" y="30"/>
                      </a:lnTo>
                      <a:lnTo>
                        <a:pt x="182" y="30"/>
                      </a:lnTo>
                      <a:lnTo>
                        <a:pt x="184" y="31"/>
                      </a:lnTo>
                      <a:lnTo>
                        <a:pt x="186" y="33"/>
                      </a:lnTo>
                      <a:lnTo>
                        <a:pt x="187" y="33"/>
                      </a:lnTo>
                      <a:lnTo>
                        <a:pt x="189" y="33"/>
                      </a:lnTo>
                      <a:lnTo>
                        <a:pt x="189" y="34"/>
                      </a:lnTo>
                      <a:lnTo>
                        <a:pt x="191" y="34"/>
                      </a:lnTo>
                      <a:lnTo>
                        <a:pt x="192" y="34"/>
                      </a:lnTo>
                      <a:lnTo>
                        <a:pt x="192" y="36"/>
                      </a:lnTo>
                      <a:lnTo>
                        <a:pt x="194" y="36"/>
                      </a:lnTo>
                      <a:lnTo>
                        <a:pt x="196" y="36"/>
                      </a:lnTo>
                      <a:lnTo>
                        <a:pt x="198" y="36"/>
                      </a:lnTo>
                      <a:lnTo>
                        <a:pt x="199" y="38"/>
                      </a:lnTo>
                      <a:lnTo>
                        <a:pt x="201" y="39"/>
                      </a:lnTo>
                      <a:lnTo>
                        <a:pt x="203" y="39"/>
                      </a:lnTo>
                      <a:lnTo>
                        <a:pt x="204" y="39"/>
                      </a:lnTo>
                      <a:lnTo>
                        <a:pt x="206" y="39"/>
                      </a:lnTo>
                      <a:lnTo>
                        <a:pt x="208" y="41"/>
                      </a:lnTo>
                      <a:lnTo>
                        <a:pt x="209" y="41"/>
                      </a:lnTo>
                      <a:lnTo>
                        <a:pt x="211" y="44"/>
                      </a:lnTo>
                      <a:lnTo>
                        <a:pt x="213" y="46"/>
                      </a:lnTo>
                      <a:lnTo>
                        <a:pt x="214" y="49"/>
                      </a:lnTo>
                      <a:lnTo>
                        <a:pt x="214" y="51"/>
                      </a:lnTo>
                      <a:lnTo>
                        <a:pt x="216" y="51"/>
                      </a:lnTo>
                      <a:lnTo>
                        <a:pt x="218" y="51"/>
                      </a:lnTo>
                      <a:lnTo>
                        <a:pt x="219" y="51"/>
                      </a:lnTo>
                      <a:lnTo>
                        <a:pt x="219" y="53"/>
                      </a:lnTo>
                      <a:lnTo>
                        <a:pt x="221" y="56"/>
                      </a:lnTo>
                      <a:lnTo>
                        <a:pt x="223" y="56"/>
                      </a:lnTo>
                      <a:lnTo>
                        <a:pt x="223" y="57"/>
                      </a:lnTo>
                      <a:lnTo>
                        <a:pt x="225" y="57"/>
                      </a:lnTo>
                      <a:lnTo>
                        <a:pt x="226" y="57"/>
                      </a:lnTo>
                      <a:lnTo>
                        <a:pt x="228" y="57"/>
                      </a:lnTo>
                      <a:lnTo>
                        <a:pt x="230" y="56"/>
                      </a:lnTo>
                      <a:lnTo>
                        <a:pt x="231" y="56"/>
                      </a:lnTo>
                      <a:lnTo>
                        <a:pt x="233" y="57"/>
                      </a:lnTo>
                      <a:lnTo>
                        <a:pt x="233" y="59"/>
                      </a:lnTo>
                      <a:lnTo>
                        <a:pt x="235" y="59"/>
                      </a:lnTo>
                      <a:lnTo>
                        <a:pt x="235" y="61"/>
                      </a:lnTo>
                      <a:lnTo>
                        <a:pt x="236" y="61"/>
                      </a:lnTo>
                      <a:lnTo>
                        <a:pt x="236" y="62"/>
                      </a:lnTo>
                      <a:lnTo>
                        <a:pt x="238" y="64"/>
                      </a:lnTo>
                      <a:lnTo>
                        <a:pt x="238" y="66"/>
                      </a:lnTo>
                      <a:lnTo>
                        <a:pt x="240" y="66"/>
                      </a:lnTo>
                      <a:lnTo>
                        <a:pt x="241" y="67"/>
                      </a:lnTo>
                      <a:lnTo>
                        <a:pt x="243" y="67"/>
                      </a:lnTo>
                      <a:lnTo>
                        <a:pt x="243" y="69"/>
                      </a:lnTo>
                      <a:lnTo>
                        <a:pt x="245" y="69"/>
                      </a:lnTo>
                      <a:lnTo>
                        <a:pt x="246" y="71"/>
                      </a:lnTo>
                      <a:lnTo>
                        <a:pt x="248" y="71"/>
                      </a:lnTo>
                      <a:lnTo>
                        <a:pt x="248" y="69"/>
                      </a:lnTo>
                      <a:lnTo>
                        <a:pt x="248" y="71"/>
                      </a:lnTo>
                      <a:lnTo>
                        <a:pt x="250" y="72"/>
                      </a:lnTo>
                      <a:lnTo>
                        <a:pt x="252" y="74"/>
                      </a:lnTo>
                      <a:lnTo>
                        <a:pt x="253" y="76"/>
                      </a:lnTo>
                      <a:lnTo>
                        <a:pt x="253" y="77"/>
                      </a:lnTo>
                      <a:lnTo>
                        <a:pt x="255" y="77"/>
                      </a:lnTo>
                      <a:lnTo>
                        <a:pt x="257" y="77"/>
                      </a:lnTo>
                      <a:lnTo>
                        <a:pt x="258" y="79"/>
                      </a:lnTo>
                      <a:lnTo>
                        <a:pt x="260" y="80"/>
                      </a:lnTo>
                      <a:lnTo>
                        <a:pt x="262" y="80"/>
                      </a:lnTo>
                      <a:lnTo>
                        <a:pt x="262" y="82"/>
                      </a:lnTo>
                      <a:lnTo>
                        <a:pt x="263" y="84"/>
                      </a:lnTo>
                      <a:lnTo>
                        <a:pt x="265" y="84"/>
                      </a:lnTo>
                      <a:lnTo>
                        <a:pt x="265" y="82"/>
                      </a:lnTo>
                      <a:lnTo>
                        <a:pt x="265" y="84"/>
                      </a:lnTo>
                      <a:lnTo>
                        <a:pt x="267" y="84"/>
                      </a:lnTo>
                      <a:lnTo>
                        <a:pt x="268" y="84"/>
                      </a:lnTo>
                      <a:lnTo>
                        <a:pt x="270" y="84"/>
                      </a:lnTo>
                      <a:lnTo>
                        <a:pt x="272" y="84"/>
                      </a:lnTo>
                      <a:lnTo>
                        <a:pt x="272" y="85"/>
                      </a:lnTo>
                      <a:lnTo>
                        <a:pt x="274" y="85"/>
                      </a:lnTo>
                      <a:lnTo>
                        <a:pt x="275" y="85"/>
                      </a:lnTo>
                      <a:lnTo>
                        <a:pt x="277" y="85"/>
                      </a:lnTo>
                      <a:lnTo>
                        <a:pt x="279" y="87"/>
                      </a:lnTo>
                      <a:lnTo>
                        <a:pt x="279" y="85"/>
                      </a:lnTo>
                      <a:lnTo>
                        <a:pt x="280" y="85"/>
                      </a:lnTo>
                      <a:lnTo>
                        <a:pt x="280" y="84"/>
                      </a:lnTo>
                      <a:lnTo>
                        <a:pt x="280" y="85"/>
                      </a:lnTo>
                      <a:lnTo>
                        <a:pt x="282" y="87"/>
                      </a:lnTo>
                      <a:lnTo>
                        <a:pt x="284" y="90"/>
                      </a:lnTo>
                      <a:lnTo>
                        <a:pt x="284" y="92"/>
                      </a:lnTo>
                      <a:lnTo>
                        <a:pt x="285" y="92"/>
                      </a:lnTo>
                      <a:lnTo>
                        <a:pt x="285" y="94"/>
                      </a:lnTo>
                      <a:lnTo>
                        <a:pt x="287" y="95"/>
                      </a:lnTo>
                      <a:lnTo>
                        <a:pt x="287" y="97"/>
                      </a:lnTo>
                      <a:lnTo>
                        <a:pt x="290" y="100"/>
                      </a:lnTo>
                      <a:lnTo>
                        <a:pt x="292" y="102"/>
                      </a:lnTo>
                      <a:lnTo>
                        <a:pt x="294" y="103"/>
                      </a:lnTo>
                      <a:lnTo>
                        <a:pt x="294" y="105"/>
                      </a:lnTo>
                      <a:lnTo>
                        <a:pt x="295" y="105"/>
                      </a:lnTo>
                      <a:lnTo>
                        <a:pt x="295" y="107"/>
                      </a:lnTo>
                      <a:lnTo>
                        <a:pt x="297" y="107"/>
                      </a:lnTo>
                      <a:lnTo>
                        <a:pt x="295" y="107"/>
                      </a:lnTo>
                      <a:lnTo>
                        <a:pt x="297" y="107"/>
                      </a:lnTo>
                      <a:lnTo>
                        <a:pt x="299" y="107"/>
                      </a:lnTo>
                      <a:lnTo>
                        <a:pt x="301" y="108"/>
                      </a:lnTo>
                      <a:lnTo>
                        <a:pt x="302" y="110"/>
                      </a:lnTo>
                      <a:lnTo>
                        <a:pt x="302" y="112"/>
                      </a:lnTo>
                      <a:lnTo>
                        <a:pt x="304" y="112"/>
                      </a:lnTo>
                      <a:lnTo>
                        <a:pt x="304" y="113"/>
                      </a:lnTo>
                      <a:lnTo>
                        <a:pt x="306" y="115"/>
                      </a:lnTo>
                      <a:lnTo>
                        <a:pt x="307" y="115"/>
                      </a:lnTo>
                      <a:lnTo>
                        <a:pt x="307" y="117"/>
                      </a:lnTo>
                      <a:lnTo>
                        <a:pt x="311" y="120"/>
                      </a:lnTo>
                      <a:lnTo>
                        <a:pt x="311" y="121"/>
                      </a:lnTo>
                      <a:lnTo>
                        <a:pt x="312" y="123"/>
                      </a:lnTo>
                      <a:lnTo>
                        <a:pt x="314" y="126"/>
                      </a:lnTo>
                      <a:lnTo>
                        <a:pt x="316" y="126"/>
                      </a:lnTo>
                      <a:lnTo>
                        <a:pt x="319" y="130"/>
                      </a:lnTo>
                      <a:lnTo>
                        <a:pt x="321" y="131"/>
                      </a:lnTo>
                      <a:lnTo>
                        <a:pt x="321" y="133"/>
                      </a:lnTo>
                      <a:lnTo>
                        <a:pt x="323" y="133"/>
                      </a:lnTo>
                      <a:lnTo>
                        <a:pt x="324" y="135"/>
                      </a:lnTo>
                      <a:lnTo>
                        <a:pt x="326" y="135"/>
                      </a:lnTo>
                      <a:lnTo>
                        <a:pt x="326" y="136"/>
                      </a:lnTo>
                      <a:lnTo>
                        <a:pt x="328" y="136"/>
                      </a:lnTo>
                      <a:lnTo>
                        <a:pt x="329" y="140"/>
                      </a:lnTo>
                      <a:lnTo>
                        <a:pt x="331" y="141"/>
                      </a:lnTo>
                      <a:lnTo>
                        <a:pt x="333" y="143"/>
                      </a:lnTo>
                      <a:lnTo>
                        <a:pt x="336" y="144"/>
                      </a:lnTo>
                      <a:lnTo>
                        <a:pt x="338" y="146"/>
                      </a:lnTo>
                      <a:lnTo>
                        <a:pt x="339" y="146"/>
                      </a:lnTo>
                      <a:lnTo>
                        <a:pt x="341" y="146"/>
                      </a:lnTo>
                      <a:lnTo>
                        <a:pt x="341" y="148"/>
                      </a:lnTo>
                      <a:lnTo>
                        <a:pt x="343" y="148"/>
                      </a:lnTo>
                      <a:lnTo>
                        <a:pt x="344" y="149"/>
                      </a:lnTo>
                      <a:lnTo>
                        <a:pt x="344" y="148"/>
                      </a:lnTo>
                      <a:lnTo>
                        <a:pt x="346" y="149"/>
                      </a:lnTo>
                      <a:lnTo>
                        <a:pt x="348" y="151"/>
                      </a:lnTo>
                      <a:lnTo>
                        <a:pt x="346" y="151"/>
                      </a:lnTo>
                      <a:lnTo>
                        <a:pt x="348" y="151"/>
                      </a:lnTo>
                      <a:lnTo>
                        <a:pt x="348" y="153"/>
                      </a:lnTo>
                      <a:lnTo>
                        <a:pt x="350" y="154"/>
                      </a:lnTo>
                      <a:lnTo>
                        <a:pt x="350" y="156"/>
                      </a:lnTo>
                      <a:lnTo>
                        <a:pt x="351" y="158"/>
                      </a:lnTo>
                      <a:lnTo>
                        <a:pt x="351" y="159"/>
                      </a:lnTo>
                      <a:lnTo>
                        <a:pt x="353" y="161"/>
                      </a:lnTo>
                      <a:lnTo>
                        <a:pt x="355" y="161"/>
                      </a:lnTo>
                      <a:lnTo>
                        <a:pt x="358" y="164"/>
                      </a:lnTo>
                      <a:lnTo>
                        <a:pt x="363" y="169"/>
                      </a:lnTo>
                      <a:lnTo>
                        <a:pt x="365" y="169"/>
                      </a:lnTo>
                      <a:lnTo>
                        <a:pt x="366" y="171"/>
                      </a:lnTo>
                      <a:lnTo>
                        <a:pt x="368" y="171"/>
                      </a:lnTo>
                      <a:lnTo>
                        <a:pt x="370" y="171"/>
                      </a:lnTo>
                      <a:lnTo>
                        <a:pt x="371" y="171"/>
                      </a:lnTo>
                      <a:lnTo>
                        <a:pt x="371" y="169"/>
                      </a:lnTo>
                      <a:lnTo>
                        <a:pt x="373" y="169"/>
                      </a:lnTo>
                      <a:lnTo>
                        <a:pt x="375" y="171"/>
                      </a:lnTo>
                      <a:lnTo>
                        <a:pt x="375" y="172"/>
                      </a:lnTo>
                      <a:lnTo>
                        <a:pt x="377" y="172"/>
                      </a:lnTo>
                      <a:lnTo>
                        <a:pt x="378" y="172"/>
                      </a:lnTo>
                      <a:lnTo>
                        <a:pt x="380" y="172"/>
                      </a:lnTo>
                      <a:lnTo>
                        <a:pt x="382" y="174"/>
                      </a:lnTo>
                      <a:lnTo>
                        <a:pt x="385" y="174"/>
                      </a:lnTo>
                      <a:lnTo>
                        <a:pt x="385" y="176"/>
                      </a:lnTo>
                      <a:lnTo>
                        <a:pt x="387" y="176"/>
                      </a:lnTo>
                      <a:lnTo>
                        <a:pt x="388" y="176"/>
                      </a:lnTo>
                      <a:lnTo>
                        <a:pt x="388" y="177"/>
                      </a:lnTo>
                      <a:lnTo>
                        <a:pt x="390" y="177"/>
                      </a:lnTo>
                      <a:lnTo>
                        <a:pt x="392" y="179"/>
                      </a:lnTo>
                      <a:lnTo>
                        <a:pt x="393" y="181"/>
                      </a:lnTo>
                      <a:lnTo>
                        <a:pt x="393" y="184"/>
                      </a:lnTo>
                      <a:lnTo>
                        <a:pt x="395" y="186"/>
                      </a:lnTo>
                      <a:lnTo>
                        <a:pt x="395" y="187"/>
                      </a:lnTo>
                      <a:lnTo>
                        <a:pt x="395" y="189"/>
                      </a:lnTo>
                      <a:lnTo>
                        <a:pt x="387" y="190"/>
                      </a:lnTo>
                      <a:lnTo>
                        <a:pt x="378" y="194"/>
                      </a:lnTo>
                      <a:lnTo>
                        <a:pt x="375" y="194"/>
                      </a:lnTo>
                      <a:lnTo>
                        <a:pt x="360" y="197"/>
                      </a:lnTo>
                      <a:lnTo>
                        <a:pt x="355" y="204"/>
                      </a:lnTo>
                      <a:lnTo>
                        <a:pt x="353" y="209"/>
                      </a:lnTo>
                      <a:lnTo>
                        <a:pt x="344" y="225"/>
                      </a:lnTo>
                      <a:lnTo>
                        <a:pt x="343" y="230"/>
                      </a:lnTo>
                      <a:lnTo>
                        <a:pt x="343" y="232"/>
                      </a:lnTo>
                      <a:lnTo>
                        <a:pt x="341" y="232"/>
                      </a:lnTo>
                      <a:lnTo>
                        <a:pt x="341" y="233"/>
                      </a:lnTo>
                      <a:lnTo>
                        <a:pt x="339" y="233"/>
                      </a:lnTo>
                      <a:lnTo>
                        <a:pt x="339" y="235"/>
                      </a:lnTo>
                      <a:lnTo>
                        <a:pt x="339" y="236"/>
                      </a:lnTo>
                      <a:lnTo>
                        <a:pt x="338" y="238"/>
                      </a:lnTo>
                      <a:lnTo>
                        <a:pt x="338" y="240"/>
                      </a:lnTo>
                      <a:lnTo>
                        <a:pt x="336" y="240"/>
                      </a:lnTo>
                      <a:lnTo>
                        <a:pt x="336" y="241"/>
                      </a:lnTo>
                      <a:lnTo>
                        <a:pt x="334" y="241"/>
                      </a:lnTo>
                      <a:lnTo>
                        <a:pt x="334" y="243"/>
                      </a:lnTo>
                      <a:lnTo>
                        <a:pt x="334" y="245"/>
                      </a:lnTo>
                      <a:lnTo>
                        <a:pt x="333" y="246"/>
                      </a:lnTo>
                      <a:lnTo>
                        <a:pt x="331" y="246"/>
                      </a:lnTo>
                      <a:lnTo>
                        <a:pt x="331" y="248"/>
                      </a:lnTo>
                      <a:lnTo>
                        <a:pt x="329" y="248"/>
                      </a:lnTo>
                      <a:lnTo>
                        <a:pt x="328" y="246"/>
                      </a:lnTo>
                      <a:lnTo>
                        <a:pt x="328" y="248"/>
                      </a:lnTo>
                      <a:lnTo>
                        <a:pt x="328" y="250"/>
                      </a:lnTo>
                      <a:lnTo>
                        <a:pt x="328" y="251"/>
                      </a:lnTo>
                      <a:lnTo>
                        <a:pt x="326" y="251"/>
                      </a:lnTo>
                      <a:lnTo>
                        <a:pt x="326" y="253"/>
                      </a:lnTo>
                      <a:lnTo>
                        <a:pt x="328" y="253"/>
                      </a:lnTo>
                      <a:lnTo>
                        <a:pt x="328" y="255"/>
                      </a:lnTo>
                      <a:lnTo>
                        <a:pt x="326" y="256"/>
                      </a:lnTo>
                      <a:lnTo>
                        <a:pt x="326" y="258"/>
                      </a:lnTo>
                      <a:lnTo>
                        <a:pt x="324" y="258"/>
                      </a:lnTo>
                      <a:lnTo>
                        <a:pt x="323" y="258"/>
                      </a:lnTo>
                      <a:lnTo>
                        <a:pt x="323" y="259"/>
                      </a:lnTo>
                      <a:lnTo>
                        <a:pt x="323" y="261"/>
                      </a:lnTo>
                      <a:lnTo>
                        <a:pt x="323" y="263"/>
                      </a:lnTo>
                      <a:lnTo>
                        <a:pt x="321" y="263"/>
                      </a:lnTo>
                      <a:lnTo>
                        <a:pt x="321" y="264"/>
                      </a:lnTo>
                      <a:lnTo>
                        <a:pt x="319" y="264"/>
                      </a:lnTo>
                      <a:lnTo>
                        <a:pt x="317" y="266"/>
                      </a:lnTo>
                      <a:lnTo>
                        <a:pt x="317" y="268"/>
                      </a:lnTo>
                      <a:lnTo>
                        <a:pt x="317" y="269"/>
                      </a:lnTo>
                      <a:lnTo>
                        <a:pt x="316" y="271"/>
                      </a:lnTo>
                      <a:lnTo>
                        <a:pt x="317" y="271"/>
                      </a:lnTo>
                      <a:lnTo>
                        <a:pt x="319" y="271"/>
                      </a:lnTo>
                      <a:lnTo>
                        <a:pt x="321" y="271"/>
                      </a:lnTo>
                      <a:lnTo>
                        <a:pt x="321" y="273"/>
                      </a:lnTo>
                      <a:lnTo>
                        <a:pt x="319" y="273"/>
                      </a:lnTo>
                      <a:lnTo>
                        <a:pt x="319" y="274"/>
                      </a:lnTo>
                      <a:lnTo>
                        <a:pt x="317" y="276"/>
                      </a:lnTo>
                      <a:lnTo>
                        <a:pt x="317" y="278"/>
                      </a:lnTo>
                      <a:lnTo>
                        <a:pt x="316" y="278"/>
                      </a:lnTo>
                      <a:lnTo>
                        <a:pt x="316" y="279"/>
                      </a:lnTo>
                      <a:lnTo>
                        <a:pt x="314" y="279"/>
                      </a:lnTo>
                      <a:lnTo>
                        <a:pt x="314" y="281"/>
                      </a:lnTo>
                      <a:lnTo>
                        <a:pt x="314" y="282"/>
                      </a:lnTo>
                      <a:lnTo>
                        <a:pt x="312" y="284"/>
                      </a:lnTo>
                      <a:lnTo>
                        <a:pt x="314" y="284"/>
                      </a:lnTo>
                      <a:lnTo>
                        <a:pt x="314" y="286"/>
                      </a:lnTo>
                      <a:lnTo>
                        <a:pt x="312" y="286"/>
                      </a:lnTo>
                      <a:lnTo>
                        <a:pt x="312" y="287"/>
                      </a:lnTo>
                      <a:lnTo>
                        <a:pt x="311" y="287"/>
                      </a:lnTo>
                      <a:lnTo>
                        <a:pt x="311" y="289"/>
                      </a:lnTo>
                      <a:lnTo>
                        <a:pt x="309" y="289"/>
                      </a:lnTo>
                      <a:lnTo>
                        <a:pt x="309" y="291"/>
                      </a:lnTo>
                      <a:lnTo>
                        <a:pt x="309" y="292"/>
                      </a:lnTo>
                      <a:lnTo>
                        <a:pt x="307" y="292"/>
                      </a:lnTo>
                      <a:lnTo>
                        <a:pt x="306" y="292"/>
                      </a:lnTo>
                      <a:lnTo>
                        <a:pt x="306" y="294"/>
                      </a:lnTo>
                      <a:lnTo>
                        <a:pt x="304" y="294"/>
                      </a:lnTo>
                      <a:lnTo>
                        <a:pt x="302" y="296"/>
                      </a:lnTo>
                      <a:lnTo>
                        <a:pt x="301" y="297"/>
                      </a:lnTo>
                      <a:lnTo>
                        <a:pt x="301" y="300"/>
                      </a:lnTo>
                      <a:lnTo>
                        <a:pt x="301" y="302"/>
                      </a:lnTo>
                      <a:lnTo>
                        <a:pt x="299" y="302"/>
                      </a:lnTo>
                      <a:lnTo>
                        <a:pt x="297" y="302"/>
                      </a:lnTo>
                      <a:lnTo>
                        <a:pt x="297" y="304"/>
                      </a:lnTo>
                      <a:lnTo>
                        <a:pt x="295" y="304"/>
                      </a:lnTo>
                      <a:lnTo>
                        <a:pt x="294" y="304"/>
                      </a:lnTo>
                      <a:lnTo>
                        <a:pt x="292" y="304"/>
                      </a:lnTo>
                      <a:lnTo>
                        <a:pt x="292" y="302"/>
                      </a:lnTo>
                      <a:lnTo>
                        <a:pt x="292" y="304"/>
                      </a:lnTo>
                      <a:lnTo>
                        <a:pt x="290" y="304"/>
                      </a:lnTo>
                      <a:lnTo>
                        <a:pt x="289" y="304"/>
                      </a:lnTo>
                      <a:lnTo>
                        <a:pt x="289" y="302"/>
                      </a:lnTo>
                      <a:lnTo>
                        <a:pt x="289" y="300"/>
                      </a:lnTo>
                      <a:lnTo>
                        <a:pt x="287" y="300"/>
                      </a:lnTo>
                      <a:lnTo>
                        <a:pt x="287" y="302"/>
                      </a:lnTo>
                      <a:lnTo>
                        <a:pt x="287" y="300"/>
                      </a:lnTo>
                      <a:lnTo>
                        <a:pt x="287" y="302"/>
                      </a:lnTo>
                      <a:lnTo>
                        <a:pt x="285" y="302"/>
                      </a:lnTo>
                      <a:lnTo>
                        <a:pt x="284" y="304"/>
                      </a:lnTo>
                      <a:lnTo>
                        <a:pt x="282" y="304"/>
                      </a:lnTo>
                      <a:lnTo>
                        <a:pt x="284" y="304"/>
                      </a:lnTo>
                      <a:lnTo>
                        <a:pt x="284" y="305"/>
                      </a:lnTo>
                      <a:lnTo>
                        <a:pt x="282" y="305"/>
                      </a:lnTo>
                      <a:lnTo>
                        <a:pt x="282" y="307"/>
                      </a:lnTo>
                      <a:lnTo>
                        <a:pt x="280" y="307"/>
                      </a:lnTo>
                      <a:lnTo>
                        <a:pt x="280" y="309"/>
                      </a:lnTo>
                      <a:lnTo>
                        <a:pt x="280" y="310"/>
                      </a:lnTo>
                      <a:lnTo>
                        <a:pt x="279" y="310"/>
                      </a:lnTo>
                      <a:lnTo>
                        <a:pt x="279" y="312"/>
                      </a:lnTo>
                      <a:lnTo>
                        <a:pt x="277" y="312"/>
                      </a:lnTo>
                      <a:lnTo>
                        <a:pt x="277" y="314"/>
                      </a:lnTo>
                      <a:lnTo>
                        <a:pt x="275" y="314"/>
                      </a:lnTo>
                      <a:lnTo>
                        <a:pt x="275" y="315"/>
                      </a:lnTo>
                      <a:lnTo>
                        <a:pt x="275" y="317"/>
                      </a:lnTo>
                      <a:lnTo>
                        <a:pt x="275" y="319"/>
                      </a:lnTo>
                      <a:lnTo>
                        <a:pt x="274" y="319"/>
                      </a:lnTo>
                      <a:lnTo>
                        <a:pt x="274" y="320"/>
                      </a:lnTo>
                      <a:lnTo>
                        <a:pt x="272" y="320"/>
                      </a:lnTo>
                      <a:lnTo>
                        <a:pt x="272" y="322"/>
                      </a:lnTo>
                      <a:lnTo>
                        <a:pt x="270" y="322"/>
                      </a:lnTo>
                      <a:lnTo>
                        <a:pt x="270" y="323"/>
                      </a:lnTo>
                      <a:lnTo>
                        <a:pt x="272" y="323"/>
                      </a:lnTo>
                      <a:lnTo>
                        <a:pt x="270" y="325"/>
                      </a:lnTo>
                      <a:lnTo>
                        <a:pt x="270" y="327"/>
                      </a:lnTo>
                      <a:lnTo>
                        <a:pt x="270" y="328"/>
                      </a:lnTo>
                      <a:lnTo>
                        <a:pt x="272" y="328"/>
                      </a:lnTo>
                      <a:lnTo>
                        <a:pt x="272" y="330"/>
                      </a:lnTo>
                      <a:lnTo>
                        <a:pt x="270" y="330"/>
                      </a:lnTo>
                      <a:lnTo>
                        <a:pt x="270" y="332"/>
                      </a:lnTo>
                      <a:lnTo>
                        <a:pt x="268" y="332"/>
                      </a:lnTo>
                      <a:lnTo>
                        <a:pt x="268" y="333"/>
                      </a:lnTo>
                      <a:lnTo>
                        <a:pt x="270" y="333"/>
                      </a:lnTo>
                      <a:lnTo>
                        <a:pt x="272" y="333"/>
                      </a:lnTo>
                      <a:lnTo>
                        <a:pt x="274" y="333"/>
                      </a:lnTo>
                      <a:lnTo>
                        <a:pt x="275" y="333"/>
                      </a:lnTo>
                      <a:lnTo>
                        <a:pt x="275" y="332"/>
                      </a:lnTo>
                      <a:lnTo>
                        <a:pt x="275" y="333"/>
                      </a:lnTo>
                      <a:lnTo>
                        <a:pt x="275" y="335"/>
                      </a:lnTo>
                      <a:lnTo>
                        <a:pt x="274" y="335"/>
                      </a:lnTo>
                      <a:lnTo>
                        <a:pt x="272" y="337"/>
                      </a:lnTo>
                      <a:lnTo>
                        <a:pt x="272" y="338"/>
                      </a:lnTo>
                      <a:lnTo>
                        <a:pt x="272" y="340"/>
                      </a:lnTo>
                      <a:lnTo>
                        <a:pt x="270" y="340"/>
                      </a:lnTo>
                      <a:lnTo>
                        <a:pt x="270" y="342"/>
                      </a:lnTo>
                      <a:lnTo>
                        <a:pt x="268" y="342"/>
                      </a:lnTo>
                      <a:lnTo>
                        <a:pt x="268" y="343"/>
                      </a:lnTo>
                      <a:lnTo>
                        <a:pt x="267" y="343"/>
                      </a:lnTo>
                      <a:lnTo>
                        <a:pt x="267" y="345"/>
                      </a:lnTo>
                      <a:lnTo>
                        <a:pt x="267" y="346"/>
                      </a:lnTo>
                      <a:lnTo>
                        <a:pt x="265" y="346"/>
                      </a:lnTo>
                      <a:lnTo>
                        <a:pt x="265" y="348"/>
                      </a:lnTo>
                      <a:lnTo>
                        <a:pt x="263" y="350"/>
                      </a:lnTo>
                      <a:lnTo>
                        <a:pt x="265" y="351"/>
                      </a:lnTo>
                      <a:lnTo>
                        <a:pt x="265" y="353"/>
                      </a:lnTo>
                      <a:lnTo>
                        <a:pt x="263" y="353"/>
                      </a:lnTo>
                      <a:lnTo>
                        <a:pt x="263" y="355"/>
                      </a:lnTo>
                      <a:lnTo>
                        <a:pt x="263" y="356"/>
                      </a:lnTo>
                      <a:lnTo>
                        <a:pt x="263" y="358"/>
                      </a:lnTo>
                      <a:lnTo>
                        <a:pt x="262" y="358"/>
                      </a:lnTo>
                      <a:lnTo>
                        <a:pt x="262" y="360"/>
                      </a:lnTo>
                      <a:lnTo>
                        <a:pt x="262" y="361"/>
                      </a:lnTo>
                      <a:lnTo>
                        <a:pt x="260" y="363"/>
                      </a:lnTo>
                      <a:lnTo>
                        <a:pt x="262" y="363"/>
                      </a:lnTo>
                      <a:lnTo>
                        <a:pt x="263" y="363"/>
                      </a:lnTo>
                      <a:lnTo>
                        <a:pt x="263" y="365"/>
                      </a:lnTo>
                      <a:lnTo>
                        <a:pt x="263" y="366"/>
                      </a:lnTo>
                      <a:lnTo>
                        <a:pt x="265" y="366"/>
                      </a:lnTo>
                      <a:lnTo>
                        <a:pt x="265" y="368"/>
                      </a:lnTo>
                      <a:lnTo>
                        <a:pt x="267" y="368"/>
                      </a:lnTo>
                      <a:lnTo>
                        <a:pt x="267" y="369"/>
                      </a:lnTo>
                      <a:lnTo>
                        <a:pt x="265" y="369"/>
                      </a:lnTo>
                      <a:lnTo>
                        <a:pt x="263" y="369"/>
                      </a:lnTo>
                      <a:lnTo>
                        <a:pt x="265" y="369"/>
                      </a:lnTo>
                      <a:lnTo>
                        <a:pt x="265" y="371"/>
                      </a:lnTo>
                      <a:lnTo>
                        <a:pt x="263" y="371"/>
                      </a:lnTo>
                      <a:lnTo>
                        <a:pt x="263" y="373"/>
                      </a:lnTo>
                      <a:lnTo>
                        <a:pt x="262" y="373"/>
                      </a:lnTo>
                      <a:lnTo>
                        <a:pt x="260" y="373"/>
                      </a:lnTo>
                      <a:lnTo>
                        <a:pt x="262" y="374"/>
                      </a:lnTo>
                      <a:lnTo>
                        <a:pt x="260" y="376"/>
                      </a:lnTo>
                      <a:lnTo>
                        <a:pt x="258" y="376"/>
                      </a:lnTo>
                      <a:lnTo>
                        <a:pt x="258" y="378"/>
                      </a:lnTo>
                      <a:lnTo>
                        <a:pt x="258" y="376"/>
                      </a:lnTo>
                      <a:lnTo>
                        <a:pt x="257" y="378"/>
                      </a:lnTo>
                      <a:lnTo>
                        <a:pt x="255" y="379"/>
                      </a:lnTo>
                      <a:lnTo>
                        <a:pt x="253" y="379"/>
                      </a:lnTo>
                      <a:lnTo>
                        <a:pt x="253" y="381"/>
                      </a:lnTo>
                      <a:lnTo>
                        <a:pt x="253" y="383"/>
                      </a:lnTo>
                      <a:lnTo>
                        <a:pt x="253" y="384"/>
                      </a:lnTo>
                      <a:lnTo>
                        <a:pt x="255" y="384"/>
                      </a:lnTo>
                      <a:lnTo>
                        <a:pt x="255" y="386"/>
                      </a:lnTo>
                      <a:lnTo>
                        <a:pt x="253" y="386"/>
                      </a:lnTo>
                      <a:lnTo>
                        <a:pt x="253" y="388"/>
                      </a:lnTo>
                      <a:lnTo>
                        <a:pt x="255" y="389"/>
                      </a:lnTo>
                      <a:lnTo>
                        <a:pt x="257" y="389"/>
                      </a:lnTo>
                      <a:lnTo>
                        <a:pt x="258" y="391"/>
                      </a:lnTo>
                      <a:lnTo>
                        <a:pt x="260" y="391"/>
                      </a:lnTo>
                      <a:lnTo>
                        <a:pt x="260" y="392"/>
                      </a:lnTo>
                      <a:lnTo>
                        <a:pt x="262" y="394"/>
                      </a:lnTo>
                      <a:lnTo>
                        <a:pt x="262" y="396"/>
                      </a:lnTo>
                      <a:lnTo>
                        <a:pt x="263" y="397"/>
                      </a:lnTo>
                      <a:lnTo>
                        <a:pt x="262" y="399"/>
                      </a:lnTo>
                      <a:lnTo>
                        <a:pt x="262" y="401"/>
                      </a:lnTo>
                      <a:lnTo>
                        <a:pt x="260" y="401"/>
                      </a:lnTo>
                      <a:lnTo>
                        <a:pt x="262" y="402"/>
                      </a:lnTo>
                      <a:lnTo>
                        <a:pt x="260" y="402"/>
                      </a:lnTo>
                      <a:lnTo>
                        <a:pt x="260" y="404"/>
                      </a:lnTo>
                      <a:lnTo>
                        <a:pt x="262" y="404"/>
                      </a:lnTo>
                      <a:lnTo>
                        <a:pt x="260" y="404"/>
                      </a:lnTo>
                      <a:lnTo>
                        <a:pt x="260" y="406"/>
                      </a:lnTo>
                      <a:lnTo>
                        <a:pt x="262" y="406"/>
                      </a:lnTo>
                      <a:lnTo>
                        <a:pt x="263" y="406"/>
                      </a:lnTo>
                      <a:lnTo>
                        <a:pt x="265" y="406"/>
                      </a:lnTo>
                      <a:lnTo>
                        <a:pt x="267" y="407"/>
                      </a:lnTo>
                      <a:lnTo>
                        <a:pt x="267" y="409"/>
                      </a:lnTo>
                      <a:lnTo>
                        <a:pt x="267" y="411"/>
                      </a:lnTo>
                      <a:lnTo>
                        <a:pt x="268" y="411"/>
                      </a:lnTo>
                      <a:lnTo>
                        <a:pt x="270" y="412"/>
                      </a:lnTo>
                      <a:lnTo>
                        <a:pt x="270" y="411"/>
                      </a:lnTo>
                      <a:lnTo>
                        <a:pt x="272" y="411"/>
                      </a:lnTo>
                      <a:lnTo>
                        <a:pt x="274" y="411"/>
                      </a:lnTo>
                      <a:lnTo>
                        <a:pt x="272" y="412"/>
                      </a:lnTo>
                      <a:lnTo>
                        <a:pt x="274" y="412"/>
                      </a:lnTo>
                      <a:lnTo>
                        <a:pt x="274" y="414"/>
                      </a:lnTo>
                      <a:lnTo>
                        <a:pt x="274" y="415"/>
                      </a:lnTo>
                      <a:lnTo>
                        <a:pt x="274" y="417"/>
                      </a:lnTo>
                      <a:lnTo>
                        <a:pt x="274" y="419"/>
                      </a:lnTo>
                      <a:lnTo>
                        <a:pt x="274" y="420"/>
                      </a:lnTo>
                      <a:lnTo>
                        <a:pt x="272" y="420"/>
                      </a:lnTo>
                      <a:lnTo>
                        <a:pt x="272" y="422"/>
                      </a:lnTo>
                      <a:lnTo>
                        <a:pt x="270" y="422"/>
                      </a:lnTo>
                      <a:lnTo>
                        <a:pt x="270" y="424"/>
                      </a:lnTo>
                      <a:lnTo>
                        <a:pt x="270" y="425"/>
                      </a:lnTo>
                      <a:lnTo>
                        <a:pt x="268" y="425"/>
                      </a:lnTo>
                      <a:lnTo>
                        <a:pt x="268" y="427"/>
                      </a:lnTo>
                      <a:lnTo>
                        <a:pt x="270" y="427"/>
                      </a:lnTo>
                      <a:lnTo>
                        <a:pt x="270" y="429"/>
                      </a:lnTo>
                      <a:lnTo>
                        <a:pt x="268" y="429"/>
                      </a:lnTo>
                      <a:lnTo>
                        <a:pt x="268" y="430"/>
                      </a:lnTo>
                      <a:lnTo>
                        <a:pt x="267" y="430"/>
                      </a:lnTo>
                      <a:lnTo>
                        <a:pt x="265" y="430"/>
                      </a:lnTo>
                      <a:lnTo>
                        <a:pt x="263" y="430"/>
                      </a:lnTo>
                      <a:lnTo>
                        <a:pt x="263" y="432"/>
                      </a:lnTo>
                      <a:lnTo>
                        <a:pt x="265" y="432"/>
                      </a:lnTo>
                      <a:lnTo>
                        <a:pt x="265" y="434"/>
                      </a:lnTo>
                      <a:lnTo>
                        <a:pt x="263" y="435"/>
                      </a:lnTo>
                      <a:lnTo>
                        <a:pt x="263" y="437"/>
                      </a:lnTo>
                      <a:lnTo>
                        <a:pt x="263" y="438"/>
                      </a:lnTo>
                      <a:lnTo>
                        <a:pt x="263" y="440"/>
                      </a:lnTo>
                      <a:lnTo>
                        <a:pt x="262" y="440"/>
                      </a:lnTo>
                      <a:lnTo>
                        <a:pt x="262" y="442"/>
                      </a:lnTo>
                      <a:lnTo>
                        <a:pt x="260" y="442"/>
                      </a:lnTo>
                      <a:lnTo>
                        <a:pt x="258" y="442"/>
                      </a:lnTo>
                      <a:lnTo>
                        <a:pt x="258" y="443"/>
                      </a:lnTo>
                      <a:lnTo>
                        <a:pt x="257" y="443"/>
                      </a:lnTo>
                      <a:lnTo>
                        <a:pt x="258" y="443"/>
                      </a:lnTo>
                      <a:lnTo>
                        <a:pt x="258" y="445"/>
                      </a:lnTo>
                      <a:lnTo>
                        <a:pt x="257" y="445"/>
                      </a:lnTo>
                      <a:lnTo>
                        <a:pt x="257" y="447"/>
                      </a:lnTo>
                      <a:lnTo>
                        <a:pt x="255" y="447"/>
                      </a:lnTo>
                      <a:lnTo>
                        <a:pt x="255" y="448"/>
                      </a:lnTo>
                      <a:lnTo>
                        <a:pt x="255" y="450"/>
                      </a:lnTo>
                      <a:lnTo>
                        <a:pt x="253" y="450"/>
                      </a:lnTo>
                      <a:lnTo>
                        <a:pt x="253" y="448"/>
                      </a:lnTo>
                      <a:lnTo>
                        <a:pt x="252" y="450"/>
                      </a:lnTo>
                      <a:lnTo>
                        <a:pt x="250" y="450"/>
                      </a:lnTo>
                      <a:lnTo>
                        <a:pt x="248" y="450"/>
                      </a:lnTo>
                      <a:lnTo>
                        <a:pt x="246" y="450"/>
                      </a:lnTo>
                      <a:lnTo>
                        <a:pt x="246" y="452"/>
                      </a:lnTo>
                      <a:lnTo>
                        <a:pt x="248" y="452"/>
                      </a:lnTo>
                      <a:lnTo>
                        <a:pt x="248" y="453"/>
                      </a:lnTo>
                      <a:lnTo>
                        <a:pt x="246" y="455"/>
                      </a:lnTo>
                      <a:lnTo>
                        <a:pt x="245" y="455"/>
                      </a:lnTo>
                      <a:lnTo>
                        <a:pt x="243" y="455"/>
                      </a:lnTo>
                      <a:lnTo>
                        <a:pt x="243" y="453"/>
                      </a:lnTo>
                      <a:lnTo>
                        <a:pt x="243" y="455"/>
                      </a:lnTo>
                      <a:lnTo>
                        <a:pt x="241" y="455"/>
                      </a:lnTo>
                      <a:lnTo>
                        <a:pt x="241" y="457"/>
                      </a:lnTo>
                      <a:lnTo>
                        <a:pt x="241" y="458"/>
                      </a:lnTo>
                      <a:lnTo>
                        <a:pt x="240" y="458"/>
                      </a:lnTo>
                      <a:lnTo>
                        <a:pt x="240" y="457"/>
                      </a:lnTo>
                      <a:lnTo>
                        <a:pt x="238" y="457"/>
                      </a:lnTo>
                      <a:lnTo>
                        <a:pt x="238" y="458"/>
                      </a:lnTo>
                      <a:lnTo>
                        <a:pt x="236" y="458"/>
                      </a:lnTo>
                      <a:lnTo>
                        <a:pt x="236" y="460"/>
                      </a:lnTo>
                      <a:lnTo>
                        <a:pt x="235" y="460"/>
                      </a:lnTo>
                      <a:lnTo>
                        <a:pt x="235" y="461"/>
                      </a:lnTo>
                      <a:lnTo>
                        <a:pt x="236" y="461"/>
                      </a:lnTo>
                      <a:lnTo>
                        <a:pt x="235" y="463"/>
                      </a:lnTo>
                      <a:lnTo>
                        <a:pt x="235" y="465"/>
                      </a:lnTo>
                      <a:lnTo>
                        <a:pt x="233" y="465"/>
                      </a:lnTo>
                      <a:lnTo>
                        <a:pt x="235" y="466"/>
                      </a:lnTo>
                      <a:lnTo>
                        <a:pt x="233" y="466"/>
                      </a:lnTo>
                      <a:lnTo>
                        <a:pt x="231" y="466"/>
                      </a:lnTo>
                      <a:lnTo>
                        <a:pt x="230" y="466"/>
                      </a:lnTo>
                      <a:lnTo>
                        <a:pt x="230" y="465"/>
                      </a:lnTo>
                      <a:lnTo>
                        <a:pt x="230" y="463"/>
                      </a:lnTo>
                      <a:lnTo>
                        <a:pt x="228" y="463"/>
                      </a:lnTo>
                      <a:lnTo>
                        <a:pt x="228" y="465"/>
                      </a:lnTo>
                      <a:lnTo>
                        <a:pt x="226" y="465"/>
                      </a:lnTo>
                      <a:lnTo>
                        <a:pt x="225" y="465"/>
                      </a:lnTo>
                      <a:lnTo>
                        <a:pt x="225" y="466"/>
                      </a:lnTo>
                      <a:lnTo>
                        <a:pt x="223" y="466"/>
                      </a:lnTo>
                      <a:lnTo>
                        <a:pt x="221" y="468"/>
                      </a:lnTo>
                      <a:lnTo>
                        <a:pt x="221" y="466"/>
                      </a:lnTo>
                      <a:lnTo>
                        <a:pt x="221" y="465"/>
                      </a:lnTo>
                      <a:lnTo>
                        <a:pt x="221" y="463"/>
                      </a:lnTo>
                      <a:lnTo>
                        <a:pt x="221" y="461"/>
                      </a:lnTo>
                      <a:lnTo>
                        <a:pt x="221" y="460"/>
                      </a:lnTo>
                      <a:lnTo>
                        <a:pt x="219" y="458"/>
                      </a:lnTo>
                      <a:lnTo>
                        <a:pt x="218" y="457"/>
                      </a:lnTo>
                      <a:lnTo>
                        <a:pt x="218" y="455"/>
                      </a:lnTo>
                      <a:lnTo>
                        <a:pt x="216" y="455"/>
                      </a:lnTo>
                      <a:lnTo>
                        <a:pt x="214" y="455"/>
                      </a:lnTo>
                      <a:lnTo>
                        <a:pt x="213" y="453"/>
                      </a:lnTo>
                      <a:lnTo>
                        <a:pt x="211" y="453"/>
                      </a:lnTo>
                      <a:lnTo>
                        <a:pt x="211" y="452"/>
                      </a:lnTo>
                      <a:lnTo>
                        <a:pt x="209" y="452"/>
                      </a:lnTo>
                      <a:lnTo>
                        <a:pt x="209" y="453"/>
                      </a:lnTo>
                      <a:lnTo>
                        <a:pt x="208" y="453"/>
                      </a:lnTo>
                      <a:lnTo>
                        <a:pt x="208" y="452"/>
                      </a:lnTo>
                      <a:lnTo>
                        <a:pt x="206" y="452"/>
                      </a:lnTo>
                      <a:lnTo>
                        <a:pt x="204" y="450"/>
                      </a:lnTo>
                      <a:lnTo>
                        <a:pt x="203" y="450"/>
                      </a:lnTo>
                      <a:lnTo>
                        <a:pt x="201" y="450"/>
                      </a:lnTo>
                      <a:lnTo>
                        <a:pt x="201" y="448"/>
                      </a:lnTo>
                      <a:lnTo>
                        <a:pt x="201" y="447"/>
                      </a:lnTo>
                      <a:lnTo>
                        <a:pt x="203" y="445"/>
                      </a:lnTo>
                      <a:lnTo>
                        <a:pt x="203" y="443"/>
                      </a:lnTo>
                      <a:lnTo>
                        <a:pt x="204" y="445"/>
                      </a:lnTo>
                      <a:lnTo>
                        <a:pt x="203" y="443"/>
                      </a:lnTo>
                      <a:lnTo>
                        <a:pt x="201" y="442"/>
                      </a:lnTo>
                      <a:lnTo>
                        <a:pt x="201" y="440"/>
                      </a:lnTo>
                      <a:lnTo>
                        <a:pt x="201" y="438"/>
                      </a:lnTo>
                      <a:lnTo>
                        <a:pt x="199" y="438"/>
                      </a:lnTo>
                      <a:lnTo>
                        <a:pt x="199" y="437"/>
                      </a:lnTo>
                      <a:lnTo>
                        <a:pt x="198" y="437"/>
                      </a:lnTo>
                      <a:lnTo>
                        <a:pt x="198" y="435"/>
                      </a:lnTo>
                      <a:lnTo>
                        <a:pt x="196" y="435"/>
                      </a:lnTo>
                      <a:lnTo>
                        <a:pt x="196" y="434"/>
                      </a:lnTo>
                      <a:lnTo>
                        <a:pt x="194" y="434"/>
                      </a:lnTo>
                      <a:lnTo>
                        <a:pt x="192" y="432"/>
                      </a:lnTo>
                      <a:lnTo>
                        <a:pt x="191" y="432"/>
                      </a:lnTo>
                      <a:lnTo>
                        <a:pt x="189" y="432"/>
                      </a:lnTo>
                      <a:lnTo>
                        <a:pt x="189" y="430"/>
                      </a:lnTo>
                      <a:lnTo>
                        <a:pt x="187" y="430"/>
                      </a:lnTo>
                      <a:lnTo>
                        <a:pt x="184" y="430"/>
                      </a:lnTo>
                      <a:lnTo>
                        <a:pt x="184" y="429"/>
                      </a:lnTo>
                      <a:lnTo>
                        <a:pt x="182" y="427"/>
                      </a:lnTo>
                      <a:lnTo>
                        <a:pt x="181" y="427"/>
                      </a:lnTo>
                      <a:lnTo>
                        <a:pt x="181" y="425"/>
                      </a:lnTo>
                      <a:lnTo>
                        <a:pt x="179" y="425"/>
                      </a:lnTo>
                      <a:lnTo>
                        <a:pt x="179" y="424"/>
                      </a:lnTo>
                      <a:lnTo>
                        <a:pt x="177" y="424"/>
                      </a:lnTo>
                      <a:lnTo>
                        <a:pt x="176" y="424"/>
                      </a:lnTo>
                      <a:lnTo>
                        <a:pt x="174" y="422"/>
                      </a:lnTo>
                      <a:lnTo>
                        <a:pt x="174" y="420"/>
                      </a:lnTo>
                      <a:lnTo>
                        <a:pt x="172" y="420"/>
                      </a:lnTo>
                      <a:lnTo>
                        <a:pt x="172" y="419"/>
                      </a:lnTo>
                      <a:lnTo>
                        <a:pt x="170" y="419"/>
                      </a:lnTo>
                      <a:lnTo>
                        <a:pt x="169" y="419"/>
                      </a:lnTo>
                      <a:lnTo>
                        <a:pt x="169" y="417"/>
                      </a:lnTo>
                      <a:lnTo>
                        <a:pt x="167" y="417"/>
                      </a:lnTo>
                      <a:lnTo>
                        <a:pt x="165" y="417"/>
                      </a:lnTo>
                      <a:lnTo>
                        <a:pt x="164" y="417"/>
                      </a:lnTo>
                      <a:lnTo>
                        <a:pt x="162" y="417"/>
                      </a:lnTo>
                      <a:lnTo>
                        <a:pt x="160" y="417"/>
                      </a:lnTo>
                      <a:lnTo>
                        <a:pt x="159" y="417"/>
                      </a:lnTo>
                      <a:lnTo>
                        <a:pt x="159" y="419"/>
                      </a:lnTo>
                      <a:lnTo>
                        <a:pt x="157" y="419"/>
                      </a:lnTo>
                      <a:lnTo>
                        <a:pt x="155" y="419"/>
                      </a:lnTo>
                      <a:lnTo>
                        <a:pt x="154" y="419"/>
                      </a:lnTo>
                      <a:lnTo>
                        <a:pt x="152" y="419"/>
                      </a:lnTo>
                      <a:lnTo>
                        <a:pt x="150" y="419"/>
                      </a:lnTo>
                      <a:lnTo>
                        <a:pt x="149" y="419"/>
                      </a:lnTo>
                      <a:lnTo>
                        <a:pt x="147" y="419"/>
                      </a:lnTo>
                      <a:lnTo>
                        <a:pt x="147" y="420"/>
                      </a:lnTo>
                      <a:lnTo>
                        <a:pt x="145" y="420"/>
                      </a:lnTo>
                      <a:lnTo>
                        <a:pt x="143" y="419"/>
                      </a:lnTo>
                      <a:lnTo>
                        <a:pt x="143" y="420"/>
                      </a:lnTo>
                      <a:lnTo>
                        <a:pt x="142" y="420"/>
                      </a:lnTo>
                      <a:lnTo>
                        <a:pt x="140" y="420"/>
                      </a:lnTo>
                      <a:lnTo>
                        <a:pt x="138" y="420"/>
                      </a:lnTo>
                      <a:lnTo>
                        <a:pt x="137" y="420"/>
                      </a:lnTo>
                      <a:lnTo>
                        <a:pt x="135" y="422"/>
                      </a:lnTo>
                      <a:lnTo>
                        <a:pt x="135" y="424"/>
                      </a:lnTo>
                      <a:lnTo>
                        <a:pt x="135" y="422"/>
                      </a:lnTo>
                      <a:lnTo>
                        <a:pt x="133" y="422"/>
                      </a:lnTo>
                      <a:lnTo>
                        <a:pt x="132" y="422"/>
                      </a:lnTo>
                      <a:lnTo>
                        <a:pt x="130" y="420"/>
                      </a:lnTo>
                      <a:lnTo>
                        <a:pt x="128" y="420"/>
                      </a:lnTo>
                      <a:lnTo>
                        <a:pt x="127" y="422"/>
                      </a:lnTo>
                      <a:lnTo>
                        <a:pt x="125" y="422"/>
                      </a:lnTo>
                      <a:lnTo>
                        <a:pt x="123" y="422"/>
                      </a:lnTo>
                      <a:lnTo>
                        <a:pt x="122" y="422"/>
                      </a:lnTo>
                      <a:lnTo>
                        <a:pt x="120" y="424"/>
                      </a:lnTo>
                      <a:lnTo>
                        <a:pt x="118" y="424"/>
                      </a:lnTo>
                      <a:lnTo>
                        <a:pt x="116" y="422"/>
                      </a:lnTo>
                      <a:lnTo>
                        <a:pt x="116" y="420"/>
                      </a:lnTo>
                      <a:lnTo>
                        <a:pt x="115" y="420"/>
                      </a:lnTo>
                      <a:lnTo>
                        <a:pt x="115" y="419"/>
                      </a:lnTo>
                      <a:lnTo>
                        <a:pt x="113" y="419"/>
                      </a:lnTo>
                      <a:lnTo>
                        <a:pt x="113" y="417"/>
                      </a:lnTo>
                      <a:lnTo>
                        <a:pt x="111" y="417"/>
                      </a:lnTo>
                      <a:lnTo>
                        <a:pt x="108" y="415"/>
                      </a:lnTo>
                      <a:lnTo>
                        <a:pt x="106" y="415"/>
                      </a:lnTo>
                      <a:lnTo>
                        <a:pt x="106" y="417"/>
                      </a:lnTo>
                      <a:lnTo>
                        <a:pt x="105" y="417"/>
                      </a:lnTo>
                      <a:lnTo>
                        <a:pt x="103" y="419"/>
                      </a:lnTo>
                      <a:lnTo>
                        <a:pt x="101" y="420"/>
                      </a:lnTo>
                      <a:lnTo>
                        <a:pt x="101" y="422"/>
                      </a:lnTo>
                      <a:lnTo>
                        <a:pt x="100" y="422"/>
                      </a:lnTo>
                      <a:lnTo>
                        <a:pt x="98" y="422"/>
                      </a:lnTo>
                      <a:lnTo>
                        <a:pt x="96" y="422"/>
                      </a:lnTo>
                      <a:lnTo>
                        <a:pt x="96" y="420"/>
                      </a:lnTo>
                      <a:lnTo>
                        <a:pt x="94" y="420"/>
                      </a:lnTo>
                      <a:lnTo>
                        <a:pt x="93" y="420"/>
                      </a:lnTo>
                      <a:lnTo>
                        <a:pt x="91" y="419"/>
                      </a:lnTo>
                      <a:lnTo>
                        <a:pt x="89" y="419"/>
                      </a:lnTo>
                      <a:lnTo>
                        <a:pt x="88" y="419"/>
                      </a:lnTo>
                      <a:lnTo>
                        <a:pt x="86" y="417"/>
                      </a:lnTo>
                      <a:lnTo>
                        <a:pt x="86" y="415"/>
                      </a:lnTo>
                      <a:lnTo>
                        <a:pt x="86" y="414"/>
                      </a:lnTo>
                      <a:lnTo>
                        <a:pt x="86" y="412"/>
                      </a:lnTo>
                      <a:lnTo>
                        <a:pt x="88" y="409"/>
                      </a:lnTo>
                      <a:lnTo>
                        <a:pt x="88" y="407"/>
                      </a:lnTo>
                      <a:lnTo>
                        <a:pt x="88" y="406"/>
                      </a:lnTo>
                      <a:lnTo>
                        <a:pt x="88" y="404"/>
                      </a:lnTo>
                      <a:lnTo>
                        <a:pt x="89" y="404"/>
                      </a:lnTo>
                      <a:lnTo>
                        <a:pt x="89" y="401"/>
                      </a:lnTo>
                      <a:lnTo>
                        <a:pt x="89" y="399"/>
                      </a:lnTo>
                      <a:lnTo>
                        <a:pt x="91" y="397"/>
                      </a:lnTo>
                      <a:lnTo>
                        <a:pt x="91" y="396"/>
                      </a:lnTo>
                      <a:lnTo>
                        <a:pt x="93" y="394"/>
                      </a:lnTo>
                      <a:lnTo>
                        <a:pt x="94" y="392"/>
                      </a:lnTo>
                      <a:lnTo>
                        <a:pt x="94" y="391"/>
                      </a:lnTo>
                      <a:lnTo>
                        <a:pt x="94" y="389"/>
                      </a:lnTo>
                      <a:lnTo>
                        <a:pt x="96" y="389"/>
                      </a:lnTo>
                      <a:lnTo>
                        <a:pt x="96" y="388"/>
                      </a:lnTo>
                      <a:lnTo>
                        <a:pt x="94" y="388"/>
                      </a:lnTo>
                      <a:lnTo>
                        <a:pt x="94" y="386"/>
                      </a:lnTo>
                      <a:lnTo>
                        <a:pt x="94" y="384"/>
                      </a:lnTo>
                      <a:lnTo>
                        <a:pt x="96" y="383"/>
                      </a:lnTo>
                      <a:lnTo>
                        <a:pt x="94" y="381"/>
                      </a:lnTo>
                      <a:lnTo>
                        <a:pt x="94" y="379"/>
                      </a:lnTo>
                      <a:lnTo>
                        <a:pt x="94" y="378"/>
                      </a:lnTo>
                      <a:lnTo>
                        <a:pt x="94" y="376"/>
                      </a:lnTo>
                      <a:lnTo>
                        <a:pt x="96" y="376"/>
                      </a:lnTo>
                      <a:lnTo>
                        <a:pt x="96" y="374"/>
                      </a:lnTo>
                      <a:lnTo>
                        <a:pt x="98" y="374"/>
                      </a:lnTo>
                      <a:lnTo>
                        <a:pt x="98" y="373"/>
                      </a:lnTo>
                      <a:lnTo>
                        <a:pt x="100" y="373"/>
                      </a:lnTo>
                      <a:lnTo>
                        <a:pt x="100" y="371"/>
                      </a:lnTo>
                      <a:lnTo>
                        <a:pt x="100" y="369"/>
                      </a:lnTo>
                      <a:lnTo>
                        <a:pt x="98" y="369"/>
                      </a:lnTo>
                      <a:lnTo>
                        <a:pt x="96" y="369"/>
                      </a:lnTo>
                      <a:lnTo>
                        <a:pt x="96" y="371"/>
                      </a:lnTo>
                      <a:lnTo>
                        <a:pt x="94" y="371"/>
                      </a:lnTo>
                      <a:lnTo>
                        <a:pt x="93" y="369"/>
                      </a:lnTo>
                      <a:lnTo>
                        <a:pt x="93" y="368"/>
                      </a:lnTo>
                      <a:lnTo>
                        <a:pt x="93" y="366"/>
                      </a:lnTo>
                      <a:lnTo>
                        <a:pt x="91" y="366"/>
                      </a:lnTo>
                      <a:lnTo>
                        <a:pt x="91" y="365"/>
                      </a:lnTo>
                      <a:lnTo>
                        <a:pt x="89" y="363"/>
                      </a:lnTo>
                      <a:lnTo>
                        <a:pt x="88" y="365"/>
                      </a:lnTo>
                      <a:lnTo>
                        <a:pt x="86" y="365"/>
                      </a:lnTo>
                      <a:lnTo>
                        <a:pt x="83" y="363"/>
                      </a:lnTo>
                      <a:lnTo>
                        <a:pt x="79" y="361"/>
                      </a:lnTo>
                      <a:lnTo>
                        <a:pt x="78" y="361"/>
                      </a:lnTo>
                      <a:lnTo>
                        <a:pt x="76" y="361"/>
                      </a:lnTo>
                      <a:lnTo>
                        <a:pt x="74" y="360"/>
                      </a:lnTo>
                      <a:lnTo>
                        <a:pt x="74" y="358"/>
                      </a:lnTo>
                      <a:lnTo>
                        <a:pt x="73" y="360"/>
                      </a:lnTo>
                      <a:lnTo>
                        <a:pt x="71" y="360"/>
                      </a:lnTo>
                      <a:lnTo>
                        <a:pt x="69" y="358"/>
                      </a:lnTo>
                      <a:lnTo>
                        <a:pt x="67" y="358"/>
                      </a:lnTo>
                      <a:lnTo>
                        <a:pt x="66" y="358"/>
                      </a:lnTo>
                      <a:lnTo>
                        <a:pt x="66" y="356"/>
                      </a:lnTo>
                      <a:lnTo>
                        <a:pt x="64" y="356"/>
                      </a:lnTo>
                      <a:lnTo>
                        <a:pt x="64" y="355"/>
                      </a:lnTo>
                      <a:lnTo>
                        <a:pt x="66" y="353"/>
                      </a:lnTo>
                      <a:lnTo>
                        <a:pt x="66" y="351"/>
                      </a:lnTo>
                      <a:lnTo>
                        <a:pt x="64" y="350"/>
                      </a:lnTo>
                      <a:lnTo>
                        <a:pt x="64" y="348"/>
                      </a:lnTo>
                      <a:lnTo>
                        <a:pt x="64" y="346"/>
                      </a:lnTo>
                      <a:lnTo>
                        <a:pt x="62" y="345"/>
                      </a:lnTo>
                      <a:lnTo>
                        <a:pt x="61" y="345"/>
                      </a:lnTo>
                      <a:lnTo>
                        <a:pt x="61" y="343"/>
                      </a:lnTo>
                      <a:lnTo>
                        <a:pt x="61" y="342"/>
                      </a:lnTo>
                      <a:lnTo>
                        <a:pt x="61" y="340"/>
                      </a:lnTo>
                      <a:lnTo>
                        <a:pt x="61" y="338"/>
                      </a:lnTo>
                      <a:lnTo>
                        <a:pt x="61" y="337"/>
                      </a:lnTo>
                      <a:lnTo>
                        <a:pt x="61" y="335"/>
                      </a:lnTo>
                      <a:lnTo>
                        <a:pt x="59" y="333"/>
                      </a:lnTo>
                      <a:lnTo>
                        <a:pt x="59" y="332"/>
                      </a:lnTo>
                      <a:lnTo>
                        <a:pt x="61" y="330"/>
                      </a:lnTo>
                      <a:lnTo>
                        <a:pt x="61" y="328"/>
                      </a:lnTo>
                      <a:lnTo>
                        <a:pt x="62" y="328"/>
                      </a:lnTo>
                      <a:lnTo>
                        <a:pt x="62" y="327"/>
                      </a:lnTo>
                      <a:lnTo>
                        <a:pt x="61" y="325"/>
                      </a:lnTo>
                      <a:lnTo>
                        <a:pt x="61" y="323"/>
                      </a:lnTo>
                      <a:lnTo>
                        <a:pt x="59" y="323"/>
                      </a:lnTo>
                      <a:lnTo>
                        <a:pt x="57" y="322"/>
                      </a:lnTo>
                      <a:lnTo>
                        <a:pt x="57" y="320"/>
                      </a:lnTo>
                      <a:lnTo>
                        <a:pt x="57" y="319"/>
                      </a:lnTo>
                      <a:lnTo>
                        <a:pt x="56" y="319"/>
                      </a:lnTo>
                      <a:lnTo>
                        <a:pt x="54" y="317"/>
                      </a:lnTo>
                      <a:lnTo>
                        <a:pt x="56" y="315"/>
                      </a:lnTo>
                      <a:lnTo>
                        <a:pt x="56" y="314"/>
                      </a:lnTo>
                      <a:lnTo>
                        <a:pt x="54" y="314"/>
                      </a:lnTo>
                      <a:lnTo>
                        <a:pt x="56" y="312"/>
                      </a:lnTo>
                      <a:lnTo>
                        <a:pt x="54" y="310"/>
                      </a:lnTo>
                      <a:lnTo>
                        <a:pt x="56" y="310"/>
                      </a:lnTo>
                      <a:lnTo>
                        <a:pt x="56" y="309"/>
                      </a:lnTo>
                      <a:lnTo>
                        <a:pt x="54" y="307"/>
                      </a:lnTo>
                      <a:lnTo>
                        <a:pt x="54" y="305"/>
                      </a:lnTo>
                      <a:lnTo>
                        <a:pt x="54" y="304"/>
                      </a:lnTo>
                      <a:lnTo>
                        <a:pt x="52" y="302"/>
                      </a:lnTo>
                      <a:lnTo>
                        <a:pt x="52" y="300"/>
                      </a:lnTo>
                      <a:lnTo>
                        <a:pt x="51" y="300"/>
                      </a:lnTo>
                      <a:lnTo>
                        <a:pt x="49" y="300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82" name="Freeform 24"/>
                <p:cNvSpPr>
                  <a:spLocks noChangeAspect="1"/>
                </p:cNvSpPr>
                <p:nvPr/>
              </p:nvSpPr>
              <p:spPr bwMode="auto">
                <a:xfrm>
                  <a:off x="6513670" y="2020785"/>
                  <a:ext cx="531960" cy="331173"/>
                </a:xfrm>
                <a:custGeom>
                  <a:avLst/>
                  <a:gdLst>
                    <a:gd name="T0" fmla="*/ 2147483647 w 343"/>
                    <a:gd name="T1" fmla="*/ 2147483647 h 199"/>
                    <a:gd name="T2" fmla="*/ 2147483647 w 343"/>
                    <a:gd name="T3" fmla="*/ 2147483647 h 199"/>
                    <a:gd name="T4" fmla="*/ 2147483647 w 343"/>
                    <a:gd name="T5" fmla="*/ 2147483647 h 199"/>
                    <a:gd name="T6" fmla="*/ 2147483647 w 343"/>
                    <a:gd name="T7" fmla="*/ 2147483647 h 199"/>
                    <a:gd name="T8" fmla="*/ 2147483647 w 343"/>
                    <a:gd name="T9" fmla="*/ 2147483647 h 199"/>
                    <a:gd name="T10" fmla="*/ 2147483647 w 343"/>
                    <a:gd name="T11" fmla="*/ 2147483647 h 199"/>
                    <a:gd name="T12" fmla="*/ 2147483647 w 343"/>
                    <a:gd name="T13" fmla="*/ 2147483647 h 199"/>
                    <a:gd name="T14" fmla="*/ 2147483647 w 343"/>
                    <a:gd name="T15" fmla="*/ 2147483647 h 199"/>
                    <a:gd name="T16" fmla="*/ 2147483647 w 343"/>
                    <a:gd name="T17" fmla="*/ 2147483647 h 199"/>
                    <a:gd name="T18" fmla="*/ 2147483647 w 343"/>
                    <a:gd name="T19" fmla="*/ 2147483647 h 199"/>
                    <a:gd name="T20" fmla="*/ 2147483647 w 343"/>
                    <a:gd name="T21" fmla="*/ 2147483647 h 199"/>
                    <a:gd name="T22" fmla="*/ 2147483647 w 343"/>
                    <a:gd name="T23" fmla="*/ 2147483647 h 199"/>
                    <a:gd name="T24" fmla="*/ 2147483647 w 343"/>
                    <a:gd name="T25" fmla="*/ 2147483647 h 199"/>
                    <a:gd name="T26" fmla="*/ 2147483647 w 343"/>
                    <a:gd name="T27" fmla="*/ 2147483647 h 199"/>
                    <a:gd name="T28" fmla="*/ 2147483647 w 343"/>
                    <a:gd name="T29" fmla="*/ 2147483647 h 199"/>
                    <a:gd name="T30" fmla="*/ 2147483647 w 343"/>
                    <a:gd name="T31" fmla="*/ 2147483647 h 199"/>
                    <a:gd name="T32" fmla="*/ 2147483647 w 343"/>
                    <a:gd name="T33" fmla="*/ 2147483647 h 199"/>
                    <a:gd name="T34" fmla="*/ 2147483647 w 343"/>
                    <a:gd name="T35" fmla="*/ 2147483647 h 199"/>
                    <a:gd name="T36" fmla="*/ 2147483647 w 343"/>
                    <a:gd name="T37" fmla="*/ 2147483647 h 199"/>
                    <a:gd name="T38" fmla="*/ 2147483647 w 343"/>
                    <a:gd name="T39" fmla="*/ 2147483647 h 199"/>
                    <a:gd name="T40" fmla="*/ 2147483647 w 343"/>
                    <a:gd name="T41" fmla="*/ 2147483647 h 199"/>
                    <a:gd name="T42" fmla="*/ 2147483647 w 343"/>
                    <a:gd name="T43" fmla="*/ 2147483647 h 199"/>
                    <a:gd name="T44" fmla="*/ 2147483647 w 343"/>
                    <a:gd name="T45" fmla="*/ 2147483647 h 199"/>
                    <a:gd name="T46" fmla="*/ 2147483647 w 343"/>
                    <a:gd name="T47" fmla="*/ 2147483647 h 199"/>
                    <a:gd name="T48" fmla="*/ 2147483647 w 343"/>
                    <a:gd name="T49" fmla="*/ 2147483647 h 199"/>
                    <a:gd name="T50" fmla="*/ 2147483647 w 343"/>
                    <a:gd name="T51" fmla="*/ 2147483647 h 199"/>
                    <a:gd name="T52" fmla="*/ 2147483647 w 343"/>
                    <a:gd name="T53" fmla="*/ 2147483647 h 199"/>
                    <a:gd name="T54" fmla="*/ 2147483647 w 343"/>
                    <a:gd name="T55" fmla="*/ 2147483647 h 199"/>
                    <a:gd name="T56" fmla="*/ 2147483647 w 343"/>
                    <a:gd name="T57" fmla="*/ 2147483647 h 199"/>
                    <a:gd name="T58" fmla="*/ 2147483647 w 343"/>
                    <a:gd name="T59" fmla="*/ 2147483647 h 199"/>
                    <a:gd name="T60" fmla="*/ 2147483647 w 343"/>
                    <a:gd name="T61" fmla="*/ 2147483647 h 199"/>
                    <a:gd name="T62" fmla="*/ 2147483647 w 343"/>
                    <a:gd name="T63" fmla="*/ 2147483647 h 199"/>
                    <a:gd name="T64" fmla="*/ 2147483647 w 343"/>
                    <a:gd name="T65" fmla="*/ 2147483647 h 199"/>
                    <a:gd name="T66" fmla="*/ 2147483647 w 343"/>
                    <a:gd name="T67" fmla="*/ 2147483647 h 199"/>
                    <a:gd name="T68" fmla="*/ 2147483647 w 343"/>
                    <a:gd name="T69" fmla="*/ 2147483647 h 199"/>
                    <a:gd name="T70" fmla="*/ 2147483647 w 343"/>
                    <a:gd name="T71" fmla="*/ 2147483647 h 199"/>
                    <a:gd name="T72" fmla="*/ 2147483647 w 343"/>
                    <a:gd name="T73" fmla="*/ 2147483647 h 199"/>
                    <a:gd name="T74" fmla="*/ 2147483647 w 343"/>
                    <a:gd name="T75" fmla="*/ 2147483647 h 199"/>
                    <a:gd name="T76" fmla="*/ 2147483647 w 343"/>
                    <a:gd name="T77" fmla="*/ 2147483647 h 199"/>
                    <a:gd name="T78" fmla="*/ 2147483647 w 343"/>
                    <a:gd name="T79" fmla="*/ 2147483647 h 199"/>
                    <a:gd name="T80" fmla="*/ 2147483647 w 343"/>
                    <a:gd name="T81" fmla="*/ 2147483647 h 199"/>
                    <a:gd name="T82" fmla="*/ 2147483647 w 343"/>
                    <a:gd name="T83" fmla="*/ 2147483647 h 199"/>
                    <a:gd name="T84" fmla="*/ 2147483647 w 343"/>
                    <a:gd name="T85" fmla="*/ 2147483647 h 199"/>
                    <a:gd name="T86" fmla="*/ 2147483647 w 343"/>
                    <a:gd name="T87" fmla="*/ 2147483647 h 199"/>
                    <a:gd name="T88" fmla="*/ 2147483647 w 343"/>
                    <a:gd name="T89" fmla="*/ 2147483647 h 199"/>
                    <a:gd name="T90" fmla="*/ 2147483647 w 343"/>
                    <a:gd name="T91" fmla="*/ 2147483647 h 199"/>
                    <a:gd name="T92" fmla="*/ 2147483647 w 343"/>
                    <a:gd name="T93" fmla="*/ 2147483647 h 199"/>
                    <a:gd name="T94" fmla="*/ 2147483647 w 343"/>
                    <a:gd name="T95" fmla="*/ 2147483647 h 199"/>
                    <a:gd name="T96" fmla="*/ 2147483647 w 343"/>
                    <a:gd name="T97" fmla="*/ 2147483647 h 199"/>
                    <a:gd name="T98" fmla="*/ 2147483647 w 343"/>
                    <a:gd name="T99" fmla="*/ 2147483647 h 199"/>
                    <a:gd name="T100" fmla="*/ 0 w 343"/>
                    <a:gd name="T101" fmla="*/ 2147483647 h 199"/>
                    <a:gd name="T102" fmla="*/ 2147483647 w 343"/>
                    <a:gd name="T103" fmla="*/ 2147483647 h 199"/>
                    <a:gd name="T104" fmla="*/ 2147483647 w 343"/>
                    <a:gd name="T105" fmla="*/ 2147483647 h 199"/>
                    <a:gd name="T106" fmla="*/ 2147483647 w 343"/>
                    <a:gd name="T107" fmla="*/ 2147483647 h 199"/>
                    <a:gd name="T108" fmla="*/ 2147483647 w 343"/>
                    <a:gd name="T109" fmla="*/ 2147483647 h 199"/>
                    <a:gd name="T110" fmla="*/ 2147483647 w 343"/>
                    <a:gd name="T111" fmla="*/ 2147483647 h 199"/>
                    <a:gd name="T112" fmla="*/ 2147483647 w 343"/>
                    <a:gd name="T113" fmla="*/ 2147483647 h 199"/>
                    <a:gd name="T114" fmla="*/ 2147483647 w 343"/>
                    <a:gd name="T115" fmla="*/ 2147483647 h 199"/>
                    <a:gd name="T116" fmla="*/ 2147483647 w 343"/>
                    <a:gd name="T117" fmla="*/ 2147483647 h 199"/>
                    <a:gd name="T118" fmla="*/ 2147483647 w 343"/>
                    <a:gd name="T119" fmla="*/ 2147483647 h 19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43"/>
                    <a:gd name="T181" fmla="*/ 0 h 199"/>
                    <a:gd name="T182" fmla="*/ 343 w 343"/>
                    <a:gd name="T183" fmla="*/ 199 h 19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43" h="199">
                      <a:moveTo>
                        <a:pt x="117" y="1"/>
                      </a:moveTo>
                      <a:lnTo>
                        <a:pt x="125" y="0"/>
                      </a:lnTo>
                      <a:lnTo>
                        <a:pt x="127" y="0"/>
                      </a:lnTo>
                      <a:lnTo>
                        <a:pt x="127" y="1"/>
                      </a:lnTo>
                      <a:lnTo>
                        <a:pt x="129" y="3"/>
                      </a:lnTo>
                      <a:lnTo>
                        <a:pt x="130" y="5"/>
                      </a:lnTo>
                      <a:lnTo>
                        <a:pt x="132" y="6"/>
                      </a:lnTo>
                      <a:lnTo>
                        <a:pt x="134" y="8"/>
                      </a:lnTo>
                      <a:lnTo>
                        <a:pt x="134" y="10"/>
                      </a:lnTo>
                      <a:lnTo>
                        <a:pt x="135" y="10"/>
                      </a:lnTo>
                      <a:lnTo>
                        <a:pt x="137" y="10"/>
                      </a:lnTo>
                      <a:lnTo>
                        <a:pt x="139" y="10"/>
                      </a:lnTo>
                      <a:lnTo>
                        <a:pt x="139" y="8"/>
                      </a:lnTo>
                      <a:lnTo>
                        <a:pt x="140" y="8"/>
                      </a:lnTo>
                      <a:lnTo>
                        <a:pt x="142" y="8"/>
                      </a:lnTo>
                      <a:lnTo>
                        <a:pt x="142" y="10"/>
                      </a:lnTo>
                      <a:lnTo>
                        <a:pt x="142" y="8"/>
                      </a:lnTo>
                      <a:lnTo>
                        <a:pt x="144" y="10"/>
                      </a:lnTo>
                      <a:lnTo>
                        <a:pt x="145" y="10"/>
                      </a:lnTo>
                      <a:lnTo>
                        <a:pt x="147" y="10"/>
                      </a:lnTo>
                      <a:lnTo>
                        <a:pt x="149" y="10"/>
                      </a:lnTo>
                      <a:lnTo>
                        <a:pt x="150" y="10"/>
                      </a:lnTo>
                      <a:lnTo>
                        <a:pt x="150" y="8"/>
                      </a:lnTo>
                      <a:lnTo>
                        <a:pt x="152" y="10"/>
                      </a:lnTo>
                      <a:lnTo>
                        <a:pt x="152" y="8"/>
                      </a:lnTo>
                      <a:lnTo>
                        <a:pt x="154" y="8"/>
                      </a:lnTo>
                      <a:lnTo>
                        <a:pt x="156" y="10"/>
                      </a:lnTo>
                      <a:lnTo>
                        <a:pt x="157" y="10"/>
                      </a:lnTo>
                      <a:lnTo>
                        <a:pt x="159" y="11"/>
                      </a:lnTo>
                      <a:lnTo>
                        <a:pt x="161" y="11"/>
                      </a:lnTo>
                      <a:lnTo>
                        <a:pt x="161" y="10"/>
                      </a:lnTo>
                      <a:lnTo>
                        <a:pt x="161" y="11"/>
                      </a:lnTo>
                      <a:lnTo>
                        <a:pt x="162" y="11"/>
                      </a:lnTo>
                      <a:lnTo>
                        <a:pt x="164" y="11"/>
                      </a:lnTo>
                      <a:lnTo>
                        <a:pt x="164" y="13"/>
                      </a:lnTo>
                      <a:lnTo>
                        <a:pt x="166" y="16"/>
                      </a:lnTo>
                      <a:lnTo>
                        <a:pt x="167" y="16"/>
                      </a:lnTo>
                      <a:lnTo>
                        <a:pt x="169" y="18"/>
                      </a:lnTo>
                      <a:lnTo>
                        <a:pt x="169" y="20"/>
                      </a:lnTo>
                      <a:lnTo>
                        <a:pt x="171" y="20"/>
                      </a:lnTo>
                      <a:lnTo>
                        <a:pt x="171" y="21"/>
                      </a:lnTo>
                      <a:lnTo>
                        <a:pt x="172" y="21"/>
                      </a:lnTo>
                      <a:lnTo>
                        <a:pt x="172" y="20"/>
                      </a:lnTo>
                      <a:lnTo>
                        <a:pt x="174" y="21"/>
                      </a:lnTo>
                      <a:lnTo>
                        <a:pt x="176" y="21"/>
                      </a:lnTo>
                      <a:lnTo>
                        <a:pt x="174" y="21"/>
                      </a:lnTo>
                      <a:lnTo>
                        <a:pt x="176" y="21"/>
                      </a:lnTo>
                      <a:lnTo>
                        <a:pt x="176" y="23"/>
                      </a:lnTo>
                      <a:lnTo>
                        <a:pt x="177" y="23"/>
                      </a:lnTo>
                      <a:lnTo>
                        <a:pt x="177" y="21"/>
                      </a:lnTo>
                      <a:lnTo>
                        <a:pt x="177" y="23"/>
                      </a:lnTo>
                      <a:lnTo>
                        <a:pt x="179" y="23"/>
                      </a:lnTo>
                      <a:lnTo>
                        <a:pt x="179" y="24"/>
                      </a:lnTo>
                      <a:lnTo>
                        <a:pt x="181" y="24"/>
                      </a:lnTo>
                      <a:lnTo>
                        <a:pt x="179" y="24"/>
                      </a:lnTo>
                      <a:lnTo>
                        <a:pt x="179" y="23"/>
                      </a:lnTo>
                      <a:lnTo>
                        <a:pt x="181" y="23"/>
                      </a:lnTo>
                      <a:lnTo>
                        <a:pt x="183" y="23"/>
                      </a:lnTo>
                      <a:lnTo>
                        <a:pt x="184" y="23"/>
                      </a:lnTo>
                      <a:lnTo>
                        <a:pt x="186" y="23"/>
                      </a:lnTo>
                      <a:lnTo>
                        <a:pt x="186" y="24"/>
                      </a:lnTo>
                      <a:lnTo>
                        <a:pt x="188" y="24"/>
                      </a:lnTo>
                      <a:lnTo>
                        <a:pt x="186" y="24"/>
                      </a:lnTo>
                      <a:lnTo>
                        <a:pt x="188" y="24"/>
                      </a:lnTo>
                      <a:lnTo>
                        <a:pt x="186" y="23"/>
                      </a:lnTo>
                      <a:lnTo>
                        <a:pt x="188" y="23"/>
                      </a:lnTo>
                      <a:lnTo>
                        <a:pt x="189" y="23"/>
                      </a:lnTo>
                      <a:lnTo>
                        <a:pt x="188" y="23"/>
                      </a:lnTo>
                      <a:lnTo>
                        <a:pt x="189" y="23"/>
                      </a:lnTo>
                      <a:lnTo>
                        <a:pt x="191" y="23"/>
                      </a:lnTo>
                      <a:lnTo>
                        <a:pt x="193" y="23"/>
                      </a:lnTo>
                      <a:lnTo>
                        <a:pt x="194" y="23"/>
                      </a:lnTo>
                      <a:lnTo>
                        <a:pt x="196" y="23"/>
                      </a:lnTo>
                      <a:lnTo>
                        <a:pt x="196" y="21"/>
                      </a:lnTo>
                      <a:lnTo>
                        <a:pt x="198" y="21"/>
                      </a:lnTo>
                      <a:lnTo>
                        <a:pt x="199" y="21"/>
                      </a:lnTo>
                      <a:lnTo>
                        <a:pt x="198" y="21"/>
                      </a:lnTo>
                      <a:lnTo>
                        <a:pt x="196" y="21"/>
                      </a:lnTo>
                      <a:lnTo>
                        <a:pt x="198" y="21"/>
                      </a:lnTo>
                      <a:lnTo>
                        <a:pt x="199" y="21"/>
                      </a:lnTo>
                      <a:lnTo>
                        <a:pt x="201" y="21"/>
                      </a:lnTo>
                      <a:lnTo>
                        <a:pt x="203" y="21"/>
                      </a:lnTo>
                      <a:lnTo>
                        <a:pt x="205" y="21"/>
                      </a:lnTo>
                      <a:lnTo>
                        <a:pt x="208" y="23"/>
                      </a:lnTo>
                      <a:lnTo>
                        <a:pt x="210" y="23"/>
                      </a:lnTo>
                      <a:lnTo>
                        <a:pt x="211" y="23"/>
                      </a:lnTo>
                      <a:lnTo>
                        <a:pt x="213" y="23"/>
                      </a:lnTo>
                      <a:lnTo>
                        <a:pt x="215" y="23"/>
                      </a:lnTo>
                      <a:lnTo>
                        <a:pt x="215" y="24"/>
                      </a:lnTo>
                      <a:lnTo>
                        <a:pt x="216" y="24"/>
                      </a:lnTo>
                      <a:lnTo>
                        <a:pt x="215" y="24"/>
                      </a:lnTo>
                      <a:lnTo>
                        <a:pt x="216" y="24"/>
                      </a:lnTo>
                      <a:lnTo>
                        <a:pt x="218" y="24"/>
                      </a:lnTo>
                      <a:lnTo>
                        <a:pt x="220" y="24"/>
                      </a:lnTo>
                      <a:lnTo>
                        <a:pt x="216" y="23"/>
                      </a:lnTo>
                      <a:lnTo>
                        <a:pt x="218" y="23"/>
                      </a:lnTo>
                      <a:lnTo>
                        <a:pt x="220" y="24"/>
                      </a:lnTo>
                      <a:lnTo>
                        <a:pt x="221" y="24"/>
                      </a:lnTo>
                      <a:lnTo>
                        <a:pt x="223" y="24"/>
                      </a:lnTo>
                      <a:lnTo>
                        <a:pt x="226" y="24"/>
                      </a:lnTo>
                      <a:lnTo>
                        <a:pt x="228" y="24"/>
                      </a:lnTo>
                      <a:lnTo>
                        <a:pt x="230" y="24"/>
                      </a:lnTo>
                      <a:lnTo>
                        <a:pt x="232" y="23"/>
                      </a:lnTo>
                      <a:lnTo>
                        <a:pt x="233" y="23"/>
                      </a:lnTo>
                      <a:lnTo>
                        <a:pt x="235" y="23"/>
                      </a:lnTo>
                      <a:lnTo>
                        <a:pt x="237" y="21"/>
                      </a:lnTo>
                      <a:lnTo>
                        <a:pt x="238" y="21"/>
                      </a:lnTo>
                      <a:lnTo>
                        <a:pt x="240" y="21"/>
                      </a:lnTo>
                      <a:lnTo>
                        <a:pt x="242" y="20"/>
                      </a:lnTo>
                      <a:lnTo>
                        <a:pt x="245" y="20"/>
                      </a:lnTo>
                      <a:lnTo>
                        <a:pt x="247" y="20"/>
                      </a:lnTo>
                      <a:lnTo>
                        <a:pt x="248" y="20"/>
                      </a:lnTo>
                      <a:lnTo>
                        <a:pt x="250" y="20"/>
                      </a:lnTo>
                      <a:lnTo>
                        <a:pt x="252" y="20"/>
                      </a:lnTo>
                      <a:lnTo>
                        <a:pt x="253" y="21"/>
                      </a:lnTo>
                      <a:lnTo>
                        <a:pt x="255" y="21"/>
                      </a:lnTo>
                      <a:lnTo>
                        <a:pt x="257" y="21"/>
                      </a:lnTo>
                      <a:lnTo>
                        <a:pt x="259" y="21"/>
                      </a:lnTo>
                      <a:lnTo>
                        <a:pt x="260" y="21"/>
                      </a:lnTo>
                      <a:lnTo>
                        <a:pt x="264" y="21"/>
                      </a:lnTo>
                      <a:lnTo>
                        <a:pt x="264" y="23"/>
                      </a:lnTo>
                      <a:lnTo>
                        <a:pt x="265" y="23"/>
                      </a:lnTo>
                      <a:lnTo>
                        <a:pt x="265" y="21"/>
                      </a:lnTo>
                      <a:lnTo>
                        <a:pt x="265" y="23"/>
                      </a:lnTo>
                      <a:lnTo>
                        <a:pt x="267" y="23"/>
                      </a:lnTo>
                      <a:lnTo>
                        <a:pt x="269" y="23"/>
                      </a:lnTo>
                      <a:lnTo>
                        <a:pt x="270" y="24"/>
                      </a:lnTo>
                      <a:lnTo>
                        <a:pt x="272" y="24"/>
                      </a:lnTo>
                      <a:lnTo>
                        <a:pt x="274" y="24"/>
                      </a:lnTo>
                      <a:lnTo>
                        <a:pt x="275" y="24"/>
                      </a:lnTo>
                      <a:lnTo>
                        <a:pt x="277" y="26"/>
                      </a:lnTo>
                      <a:lnTo>
                        <a:pt x="279" y="26"/>
                      </a:lnTo>
                      <a:lnTo>
                        <a:pt x="281" y="26"/>
                      </a:lnTo>
                      <a:lnTo>
                        <a:pt x="282" y="26"/>
                      </a:lnTo>
                      <a:lnTo>
                        <a:pt x="284" y="26"/>
                      </a:lnTo>
                      <a:lnTo>
                        <a:pt x="286" y="28"/>
                      </a:lnTo>
                      <a:lnTo>
                        <a:pt x="287" y="28"/>
                      </a:lnTo>
                      <a:lnTo>
                        <a:pt x="289" y="28"/>
                      </a:lnTo>
                      <a:lnTo>
                        <a:pt x="291" y="29"/>
                      </a:lnTo>
                      <a:lnTo>
                        <a:pt x="292" y="29"/>
                      </a:lnTo>
                      <a:lnTo>
                        <a:pt x="294" y="29"/>
                      </a:lnTo>
                      <a:lnTo>
                        <a:pt x="294" y="31"/>
                      </a:lnTo>
                      <a:lnTo>
                        <a:pt x="296" y="31"/>
                      </a:lnTo>
                      <a:lnTo>
                        <a:pt x="296" y="33"/>
                      </a:lnTo>
                      <a:lnTo>
                        <a:pt x="297" y="34"/>
                      </a:lnTo>
                      <a:lnTo>
                        <a:pt x="299" y="34"/>
                      </a:lnTo>
                      <a:lnTo>
                        <a:pt x="301" y="36"/>
                      </a:lnTo>
                      <a:lnTo>
                        <a:pt x="301" y="38"/>
                      </a:lnTo>
                      <a:lnTo>
                        <a:pt x="302" y="38"/>
                      </a:lnTo>
                      <a:lnTo>
                        <a:pt x="302" y="39"/>
                      </a:lnTo>
                      <a:lnTo>
                        <a:pt x="304" y="41"/>
                      </a:lnTo>
                      <a:lnTo>
                        <a:pt x="304" y="43"/>
                      </a:lnTo>
                      <a:lnTo>
                        <a:pt x="306" y="44"/>
                      </a:lnTo>
                      <a:lnTo>
                        <a:pt x="306" y="47"/>
                      </a:lnTo>
                      <a:lnTo>
                        <a:pt x="308" y="49"/>
                      </a:lnTo>
                      <a:lnTo>
                        <a:pt x="308" y="51"/>
                      </a:lnTo>
                      <a:lnTo>
                        <a:pt x="309" y="51"/>
                      </a:lnTo>
                      <a:lnTo>
                        <a:pt x="309" y="49"/>
                      </a:lnTo>
                      <a:lnTo>
                        <a:pt x="309" y="51"/>
                      </a:lnTo>
                      <a:lnTo>
                        <a:pt x="311" y="51"/>
                      </a:lnTo>
                      <a:lnTo>
                        <a:pt x="311" y="52"/>
                      </a:lnTo>
                      <a:lnTo>
                        <a:pt x="311" y="54"/>
                      </a:lnTo>
                      <a:lnTo>
                        <a:pt x="313" y="54"/>
                      </a:lnTo>
                      <a:lnTo>
                        <a:pt x="313" y="56"/>
                      </a:lnTo>
                      <a:lnTo>
                        <a:pt x="313" y="57"/>
                      </a:lnTo>
                      <a:lnTo>
                        <a:pt x="313" y="59"/>
                      </a:lnTo>
                      <a:lnTo>
                        <a:pt x="314" y="59"/>
                      </a:lnTo>
                      <a:lnTo>
                        <a:pt x="314" y="61"/>
                      </a:lnTo>
                      <a:lnTo>
                        <a:pt x="314" y="62"/>
                      </a:lnTo>
                      <a:lnTo>
                        <a:pt x="316" y="62"/>
                      </a:lnTo>
                      <a:lnTo>
                        <a:pt x="316" y="64"/>
                      </a:lnTo>
                      <a:lnTo>
                        <a:pt x="316" y="66"/>
                      </a:lnTo>
                      <a:lnTo>
                        <a:pt x="316" y="67"/>
                      </a:lnTo>
                      <a:lnTo>
                        <a:pt x="318" y="67"/>
                      </a:lnTo>
                      <a:lnTo>
                        <a:pt x="318" y="69"/>
                      </a:lnTo>
                      <a:lnTo>
                        <a:pt x="318" y="70"/>
                      </a:lnTo>
                      <a:lnTo>
                        <a:pt x="318" y="72"/>
                      </a:lnTo>
                      <a:lnTo>
                        <a:pt x="319" y="74"/>
                      </a:lnTo>
                      <a:lnTo>
                        <a:pt x="319" y="75"/>
                      </a:lnTo>
                      <a:lnTo>
                        <a:pt x="319" y="77"/>
                      </a:lnTo>
                      <a:lnTo>
                        <a:pt x="319" y="79"/>
                      </a:lnTo>
                      <a:lnTo>
                        <a:pt x="321" y="79"/>
                      </a:lnTo>
                      <a:lnTo>
                        <a:pt x="321" y="80"/>
                      </a:lnTo>
                      <a:lnTo>
                        <a:pt x="321" y="82"/>
                      </a:lnTo>
                      <a:lnTo>
                        <a:pt x="319" y="84"/>
                      </a:lnTo>
                      <a:lnTo>
                        <a:pt x="321" y="84"/>
                      </a:lnTo>
                      <a:lnTo>
                        <a:pt x="321" y="85"/>
                      </a:lnTo>
                      <a:lnTo>
                        <a:pt x="321" y="87"/>
                      </a:lnTo>
                      <a:lnTo>
                        <a:pt x="321" y="89"/>
                      </a:lnTo>
                      <a:lnTo>
                        <a:pt x="323" y="89"/>
                      </a:lnTo>
                      <a:lnTo>
                        <a:pt x="323" y="90"/>
                      </a:lnTo>
                      <a:lnTo>
                        <a:pt x="323" y="92"/>
                      </a:lnTo>
                      <a:lnTo>
                        <a:pt x="323" y="93"/>
                      </a:lnTo>
                      <a:lnTo>
                        <a:pt x="323" y="95"/>
                      </a:lnTo>
                      <a:lnTo>
                        <a:pt x="323" y="97"/>
                      </a:lnTo>
                      <a:lnTo>
                        <a:pt x="324" y="97"/>
                      </a:lnTo>
                      <a:lnTo>
                        <a:pt x="324" y="98"/>
                      </a:lnTo>
                      <a:lnTo>
                        <a:pt x="324" y="100"/>
                      </a:lnTo>
                      <a:lnTo>
                        <a:pt x="324" y="102"/>
                      </a:lnTo>
                      <a:lnTo>
                        <a:pt x="324" y="103"/>
                      </a:lnTo>
                      <a:lnTo>
                        <a:pt x="326" y="103"/>
                      </a:lnTo>
                      <a:lnTo>
                        <a:pt x="326" y="105"/>
                      </a:lnTo>
                      <a:lnTo>
                        <a:pt x="326" y="103"/>
                      </a:lnTo>
                      <a:lnTo>
                        <a:pt x="328" y="105"/>
                      </a:lnTo>
                      <a:lnTo>
                        <a:pt x="328" y="107"/>
                      </a:lnTo>
                      <a:lnTo>
                        <a:pt x="329" y="107"/>
                      </a:lnTo>
                      <a:lnTo>
                        <a:pt x="329" y="108"/>
                      </a:lnTo>
                      <a:lnTo>
                        <a:pt x="329" y="110"/>
                      </a:lnTo>
                      <a:lnTo>
                        <a:pt x="329" y="111"/>
                      </a:lnTo>
                      <a:lnTo>
                        <a:pt x="329" y="113"/>
                      </a:lnTo>
                      <a:lnTo>
                        <a:pt x="329" y="115"/>
                      </a:lnTo>
                      <a:lnTo>
                        <a:pt x="329" y="118"/>
                      </a:lnTo>
                      <a:lnTo>
                        <a:pt x="329" y="120"/>
                      </a:lnTo>
                      <a:lnTo>
                        <a:pt x="329" y="121"/>
                      </a:lnTo>
                      <a:lnTo>
                        <a:pt x="329" y="123"/>
                      </a:lnTo>
                      <a:lnTo>
                        <a:pt x="331" y="125"/>
                      </a:lnTo>
                      <a:lnTo>
                        <a:pt x="331" y="126"/>
                      </a:lnTo>
                      <a:lnTo>
                        <a:pt x="333" y="126"/>
                      </a:lnTo>
                      <a:lnTo>
                        <a:pt x="333" y="128"/>
                      </a:lnTo>
                      <a:lnTo>
                        <a:pt x="335" y="128"/>
                      </a:lnTo>
                      <a:lnTo>
                        <a:pt x="336" y="128"/>
                      </a:lnTo>
                      <a:lnTo>
                        <a:pt x="336" y="130"/>
                      </a:lnTo>
                      <a:lnTo>
                        <a:pt x="336" y="131"/>
                      </a:lnTo>
                      <a:lnTo>
                        <a:pt x="336" y="133"/>
                      </a:lnTo>
                      <a:lnTo>
                        <a:pt x="336" y="134"/>
                      </a:lnTo>
                      <a:lnTo>
                        <a:pt x="336" y="136"/>
                      </a:lnTo>
                      <a:lnTo>
                        <a:pt x="336" y="138"/>
                      </a:lnTo>
                      <a:lnTo>
                        <a:pt x="336" y="139"/>
                      </a:lnTo>
                      <a:lnTo>
                        <a:pt x="338" y="141"/>
                      </a:lnTo>
                      <a:lnTo>
                        <a:pt x="340" y="141"/>
                      </a:lnTo>
                      <a:lnTo>
                        <a:pt x="341" y="143"/>
                      </a:lnTo>
                      <a:lnTo>
                        <a:pt x="341" y="144"/>
                      </a:lnTo>
                      <a:lnTo>
                        <a:pt x="341" y="146"/>
                      </a:lnTo>
                      <a:lnTo>
                        <a:pt x="343" y="148"/>
                      </a:lnTo>
                      <a:lnTo>
                        <a:pt x="341" y="148"/>
                      </a:lnTo>
                      <a:lnTo>
                        <a:pt x="341" y="149"/>
                      </a:lnTo>
                      <a:lnTo>
                        <a:pt x="343" y="151"/>
                      </a:lnTo>
                      <a:lnTo>
                        <a:pt x="343" y="153"/>
                      </a:lnTo>
                      <a:lnTo>
                        <a:pt x="341" y="153"/>
                      </a:lnTo>
                      <a:lnTo>
                        <a:pt x="340" y="154"/>
                      </a:lnTo>
                      <a:lnTo>
                        <a:pt x="340" y="153"/>
                      </a:lnTo>
                      <a:lnTo>
                        <a:pt x="340" y="154"/>
                      </a:lnTo>
                      <a:lnTo>
                        <a:pt x="338" y="154"/>
                      </a:lnTo>
                      <a:lnTo>
                        <a:pt x="336" y="154"/>
                      </a:lnTo>
                      <a:lnTo>
                        <a:pt x="335" y="156"/>
                      </a:lnTo>
                      <a:lnTo>
                        <a:pt x="333" y="156"/>
                      </a:lnTo>
                      <a:lnTo>
                        <a:pt x="333" y="154"/>
                      </a:lnTo>
                      <a:lnTo>
                        <a:pt x="331" y="154"/>
                      </a:lnTo>
                      <a:lnTo>
                        <a:pt x="331" y="153"/>
                      </a:lnTo>
                      <a:lnTo>
                        <a:pt x="329" y="153"/>
                      </a:lnTo>
                      <a:lnTo>
                        <a:pt x="329" y="154"/>
                      </a:lnTo>
                      <a:lnTo>
                        <a:pt x="328" y="154"/>
                      </a:lnTo>
                      <a:lnTo>
                        <a:pt x="328" y="156"/>
                      </a:lnTo>
                      <a:lnTo>
                        <a:pt x="326" y="157"/>
                      </a:lnTo>
                      <a:lnTo>
                        <a:pt x="324" y="157"/>
                      </a:lnTo>
                      <a:lnTo>
                        <a:pt x="324" y="159"/>
                      </a:lnTo>
                      <a:lnTo>
                        <a:pt x="323" y="159"/>
                      </a:lnTo>
                      <a:lnTo>
                        <a:pt x="323" y="157"/>
                      </a:lnTo>
                      <a:lnTo>
                        <a:pt x="321" y="157"/>
                      </a:lnTo>
                      <a:lnTo>
                        <a:pt x="319" y="157"/>
                      </a:lnTo>
                      <a:lnTo>
                        <a:pt x="319" y="156"/>
                      </a:lnTo>
                      <a:lnTo>
                        <a:pt x="319" y="154"/>
                      </a:lnTo>
                      <a:lnTo>
                        <a:pt x="318" y="154"/>
                      </a:lnTo>
                      <a:lnTo>
                        <a:pt x="318" y="156"/>
                      </a:lnTo>
                      <a:lnTo>
                        <a:pt x="316" y="156"/>
                      </a:lnTo>
                      <a:lnTo>
                        <a:pt x="314" y="157"/>
                      </a:lnTo>
                      <a:lnTo>
                        <a:pt x="308" y="157"/>
                      </a:lnTo>
                      <a:lnTo>
                        <a:pt x="306" y="156"/>
                      </a:lnTo>
                      <a:lnTo>
                        <a:pt x="304" y="156"/>
                      </a:lnTo>
                      <a:lnTo>
                        <a:pt x="302" y="154"/>
                      </a:lnTo>
                      <a:lnTo>
                        <a:pt x="302" y="153"/>
                      </a:lnTo>
                      <a:lnTo>
                        <a:pt x="301" y="153"/>
                      </a:lnTo>
                      <a:lnTo>
                        <a:pt x="299" y="153"/>
                      </a:lnTo>
                      <a:lnTo>
                        <a:pt x="297" y="153"/>
                      </a:lnTo>
                      <a:lnTo>
                        <a:pt x="297" y="151"/>
                      </a:lnTo>
                      <a:lnTo>
                        <a:pt x="297" y="153"/>
                      </a:lnTo>
                      <a:lnTo>
                        <a:pt x="296" y="151"/>
                      </a:lnTo>
                      <a:lnTo>
                        <a:pt x="294" y="151"/>
                      </a:lnTo>
                      <a:lnTo>
                        <a:pt x="294" y="153"/>
                      </a:lnTo>
                      <a:lnTo>
                        <a:pt x="294" y="151"/>
                      </a:lnTo>
                      <a:lnTo>
                        <a:pt x="292" y="151"/>
                      </a:lnTo>
                      <a:lnTo>
                        <a:pt x="291" y="151"/>
                      </a:lnTo>
                      <a:lnTo>
                        <a:pt x="289" y="151"/>
                      </a:lnTo>
                      <a:lnTo>
                        <a:pt x="289" y="153"/>
                      </a:lnTo>
                      <a:lnTo>
                        <a:pt x="289" y="151"/>
                      </a:lnTo>
                      <a:lnTo>
                        <a:pt x="289" y="153"/>
                      </a:lnTo>
                      <a:lnTo>
                        <a:pt x="287" y="151"/>
                      </a:lnTo>
                      <a:lnTo>
                        <a:pt x="287" y="153"/>
                      </a:lnTo>
                      <a:lnTo>
                        <a:pt x="286" y="153"/>
                      </a:lnTo>
                      <a:lnTo>
                        <a:pt x="284" y="153"/>
                      </a:lnTo>
                      <a:lnTo>
                        <a:pt x="284" y="151"/>
                      </a:lnTo>
                      <a:lnTo>
                        <a:pt x="282" y="149"/>
                      </a:lnTo>
                      <a:lnTo>
                        <a:pt x="281" y="149"/>
                      </a:lnTo>
                      <a:lnTo>
                        <a:pt x="279" y="149"/>
                      </a:lnTo>
                      <a:lnTo>
                        <a:pt x="277" y="149"/>
                      </a:lnTo>
                      <a:lnTo>
                        <a:pt x="277" y="148"/>
                      </a:lnTo>
                      <a:lnTo>
                        <a:pt x="277" y="149"/>
                      </a:lnTo>
                      <a:lnTo>
                        <a:pt x="277" y="148"/>
                      </a:lnTo>
                      <a:lnTo>
                        <a:pt x="277" y="149"/>
                      </a:lnTo>
                      <a:lnTo>
                        <a:pt x="275" y="149"/>
                      </a:lnTo>
                      <a:lnTo>
                        <a:pt x="274" y="149"/>
                      </a:lnTo>
                      <a:lnTo>
                        <a:pt x="272" y="151"/>
                      </a:lnTo>
                      <a:lnTo>
                        <a:pt x="270" y="151"/>
                      </a:lnTo>
                      <a:lnTo>
                        <a:pt x="269" y="151"/>
                      </a:lnTo>
                      <a:lnTo>
                        <a:pt x="267" y="151"/>
                      </a:lnTo>
                      <a:lnTo>
                        <a:pt x="262" y="153"/>
                      </a:lnTo>
                      <a:lnTo>
                        <a:pt x="260" y="151"/>
                      </a:lnTo>
                      <a:lnTo>
                        <a:pt x="250" y="153"/>
                      </a:lnTo>
                      <a:lnTo>
                        <a:pt x="248" y="153"/>
                      </a:lnTo>
                      <a:lnTo>
                        <a:pt x="247" y="153"/>
                      </a:lnTo>
                      <a:lnTo>
                        <a:pt x="245" y="153"/>
                      </a:lnTo>
                      <a:lnTo>
                        <a:pt x="245" y="151"/>
                      </a:lnTo>
                      <a:lnTo>
                        <a:pt x="243" y="151"/>
                      </a:lnTo>
                      <a:lnTo>
                        <a:pt x="243" y="149"/>
                      </a:lnTo>
                      <a:lnTo>
                        <a:pt x="243" y="151"/>
                      </a:lnTo>
                      <a:lnTo>
                        <a:pt x="243" y="149"/>
                      </a:lnTo>
                      <a:lnTo>
                        <a:pt x="242" y="149"/>
                      </a:lnTo>
                      <a:lnTo>
                        <a:pt x="242" y="148"/>
                      </a:lnTo>
                      <a:lnTo>
                        <a:pt x="240" y="148"/>
                      </a:lnTo>
                      <a:lnTo>
                        <a:pt x="240" y="149"/>
                      </a:lnTo>
                      <a:lnTo>
                        <a:pt x="238" y="149"/>
                      </a:lnTo>
                      <a:lnTo>
                        <a:pt x="240" y="149"/>
                      </a:lnTo>
                      <a:lnTo>
                        <a:pt x="238" y="149"/>
                      </a:lnTo>
                      <a:lnTo>
                        <a:pt x="238" y="148"/>
                      </a:lnTo>
                      <a:lnTo>
                        <a:pt x="238" y="146"/>
                      </a:lnTo>
                      <a:lnTo>
                        <a:pt x="237" y="146"/>
                      </a:lnTo>
                      <a:lnTo>
                        <a:pt x="235" y="146"/>
                      </a:lnTo>
                      <a:lnTo>
                        <a:pt x="235" y="148"/>
                      </a:lnTo>
                      <a:lnTo>
                        <a:pt x="232" y="148"/>
                      </a:lnTo>
                      <a:lnTo>
                        <a:pt x="230" y="148"/>
                      </a:lnTo>
                      <a:lnTo>
                        <a:pt x="228" y="146"/>
                      </a:lnTo>
                      <a:lnTo>
                        <a:pt x="223" y="148"/>
                      </a:lnTo>
                      <a:lnTo>
                        <a:pt x="221" y="148"/>
                      </a:lnTo>
                      <a:lnTo>
                        <a:pt x="221" y="146"/>
                      </a:lnTo>
                      <a:lnTo>
                        <a:pt x="220" y="146"/>
                      </a:lnTo>
                      <a:lnTo>
                        <a:pt x="220" y="144"/>
                      </a:lnTo>
                      <a:lnTo>
                        <a:pt x="218" y="144"/>
                      </a:lnTo>
                      <a:lnTo>
                        <a:pt x="216" y="144"/>
                      </a:lnTo>
                      <a:lnTo>
                        <a:pt x="216" y="143"/>
                      </a:lnTo>
                      <a:lnTo>
                        <a:pt x="216" y="141"/>
                      </a:lnTo>
                      <a:lnTo>
                        <a:pt x="218" y="139"/>
                      </a:lnTo>
                      <a:lnTo>
                        <a:pt x="218" y="138"/>
                      </a:lnTo>
                      <a:lnTo>
                        <a:pt x="218" y="136"/>
                      </a:lnTo>
                      <a:lnTo>
                        <a:pt x="218" y="134"/>
                      </a:lnTo>
                      <a:lnTo>
                        <a:pt x="216" y="134"/>
                      </a:lnTo>
                      <a:lnTo>
                        <a:pt x="216" y="133"/>
                      </a:lnTo>
                      <a:lnTo>
                        <a:pt x="215" y="133"/>
                      </a:lnTo>
                      <a:lnTo>
                        <a:pt x="215" y="134"/>
                      </a:lnTo>
                      <a:lnTo>
                        <a:pt x="213" y="134"/>
                      </a:lnTo>
                      <a:lnTo>
                        <a:pt x="211" y="134"/>
                      </a:lnTo>
                      <a:lnTo>
                        <a:pt x="211" y="136"/>
                      </a:lnTo>
                      <a:lnTo>
                        <a:pt x="208" y="134"/>
                      </a:lnTo>
                      <a:lnTo>
                        <a:pt x="205" y="141"/>
                      </a:lnTo>
                      <a:lnTo>
                        <a:pt x="198" y="141"/>
                      </a:lnTo>
                      <a:lnTo>
                        <a:pt x="198" y="143"/>
                      </a:lnTo>
                      <a:lnTo>
                        <a:pt x="196" y="143"/>
                      </a:lnTo>
                      <a:lnTo>
                        <a:pt x="196" y="144"/>
                      </a:lnTo>
                      <a:lnTo>
                        <a:pt x="196" y="146"/>
                      </a:lnTo>
                      <a:lnTo>
                        <a:pt x="194" y="148"/>
                      </a:lnTo>
                      <a:lnTo>
                        <a:pt x="194" y="149"/>
                      </a:lnTo>
                      <a:lnTo>
                        <a:pt x="194" y="151"/>
                      </a:lnTo>
                      <a:lnTo>
                        <a:pt x="194" y="153"/>
                      </a:lnTo>
                      <a:lnTo>
                        <a:pt x="194" y="154"/>
                      </a:lnTo>
                      <a:lnTo>
                        <a:pt x="196" y="154"/>
                      </a:lnTo>
                      <a:lnTo>
                        <a:pt x="198" y="154"/>
                      </a:lnTo>
                      <a:lnTo>
                        <a:pt x="199" y="154"/>
                      </a:lnTo>
                      <a:lnTo>
                        <a:pt x="199" y="156"/>
                      </a:lnTo>
                      <a:lnTo>
                        <a:pt x="199" y="157"/>
                      </a:lnTo>
                      <a:lnTo>
                        <a:pt x="201" y="157"/>
                      </a:lnTo>
                      <a:lnTo>
                        <a:pt x="203" y="157"/>
                      </a:lnTo>
                      <a:lnTo>
                        <a:pt x="203" y="159"/>
                      </a:lnTo>
                      <a:lnTo>
                        <a:pt x="205" y="161"/>
                      </a:lnTo>
                      <a:lnTo>
                        <a:pt x="203" y="161"/>
                      </a:lnTo>
                      <a:lnTo>
                        <a:pt x="203" y="162"/>
                      </a:lnTo>
                      <a:lnTo>
                        <a:pt x="203" y="164"/>
                      </a:lnTo>
                      <a:lnTo>
                        <a:pt x="203" y="166"/>
                      </a:lnTo>
                      <a:lnTo>
                        <a:pt x="203" y="164"/>
                      </a:lnTo>
                      <a:lnTo>
                        <a:pt x="201" y="164"/>
                      </a:lnTo>
                      <a:lnTo>
                        <a:pt x="201" y="166"/>
                      </a:lnTo>
                      <a:lnTo>
                        <a:pt x="199" y="166"/>
                      </a:lnTo>
                      <a:lnTo>
                        <a:pt x="199" y="164"/>
                      </a:lnTo>
                      <a:lnTo>
                        <a:pt x="198" y="164"/>
                      </a:lnTo>
                      <a:lnTo>
                        <a:pt x="198" y="162"/>
                      </a:lnTo>
                      <a:lnTo>
                        <a:pt x="196" y="162"/>
                      </a:lnTo>
                      <a:lnTo>
                        <a:pt x="194" y="162"/>
                      </a:lnTo>
                      <a:lnTo>
                        <a:pt x="196" y="162"/>
                      </a:lnTo>
                      <a:lnTo>
                        <a:pt x="194" y="164"/>
                      </a:lnTo>
                      <a:lnTo>
                        <a:pt x="194" y="166"/>
                      </a:lnTo>
                      <a:lnTo>
                        <a:pt x="194" y="167"/>
                      </a:lnTo>
                      <a:lnTo>
                        <a:pt x="193" y="167"/>
                      </a:lnTo>
                      <a:lnTo>
                        <a:pt x="193" y="169"/>
                      </a:lnTo>
                      <a:lnTo>
                        <a:pt x="193" y="171"/>
                      </a:lnTo>
                      <a:lnTo>
                        <a:pt x="193" y="172"/>
                      </a:lnTo>
                      <a:lnTo>
                        <a:pt x="191" y="172"/>
                      </a:lnTo>
                      <a:lnTo>
                        <a:pt x="193" y="172"/>
                      </a:lnTo>
                      <a:lnTo>
                        <a:pt x="193" y="174"/>
                      </a:lnTo>
                      <a:lnTo>
                        <a:pt x="193" y="176"/>
                      </a:lnTo>
                      <a:lnTo>
                        <a:pt x="194" y="174"/>
                      </a:lnTo>
                      <a:lnTo>
                        <a:pt x="194" y="176"/>
                      </a:lnTo>
                      <a:lnTo>
                        <a:pt x="196" y="176"/>
                      </a:lnTo>
                      <a:lnTo>
                        <a:pt x="198" y="177"/>
                      </a:lnTo>
                      <a:lnTo>
                        <a:pt x="196" y="177"/>
                      </a:lnTo>
                      <a:lnTo>
                        <a:pt x="198" y="179"/>
                      </a:lnTo>
                      <a:lnTo>
                        <a:pt x="198" y="180"/>
                      </a:lnTo>
                      <a:lnTo>
                        <a:pt x="196" y="182"/>
                      </a:lnTo>
                      <a:lnTo>
                        <a:pt x="196" y="184"/>
                      </a:lnTo>
                      <a:lnTo>
                        <a:pt x="194" y="184"/>
                      </a:lnTo>
                      <a:lnTo>
                        <a:pt x="193" y="185"/>
                      </a:lnTo>
                      <a:lnTo>
                        <a:pt x="194" y="185"/>
                      </a:lnTo>
                      <a:lnTo>
                        <a:pt x="194" y="187"/>
                      </a:lnTo>
                      <a:lnTo>
                        <a:pt x="193" y="189"/>
                      </a:lnTo>
                      <a:lnTo>
                        <a:pt x="193" y="190"/>
                      </a:lnTo>
                      <a:lnTo>
                        <a:pt x="193" y="192"/>
                      </a:lnTo>
                      <a:lnTo>
                        <a:pt x="191" y="192"/>
                      </a:lnTo>
                      <a:lnTo>
                        <a:pt x="188" y="194"/>
                      </a:lnTo>
                      <a:lnTo>
                        <a:pt x="186" y="194"/>
                      </a:lnTo>
                      <a:lnTo>
                        <a:pt x="184" y="194"/>
                      </a:lnTo>
                      <a:lnTo>
                        <a:pt x="183" y="194"/>
                      </a:lnTo>
                      <a:lnTo>
                        <a:pt x="181" y="194"/>
                      </a:lnTo>
                      <a:lnTo>
                        <a:pt x="181" y="192"/>
                      </a:lnTo>
                      <a:lnTo>
                        <a:pt x="179" y="192"/>
                      </a:lnTo>
                      <a:lnTo>
                        <a:pt x="179" y="194"/>
                      </a:lnTo>
                      <a:lnTo>
                        <a:pt x="179" y="195"/>
                      </a:lnTo>
                      <a:lnTo>
                        <a:pt x="179" y="197"/>
                      </a:lnTo>
                      <a:lnTo>
                        <a:pt x="177" y="197"/>
                      </a:lnTo>
                      <a:lnTo>
                        <a:pt x="177" y="199"/>
                      </a:lnTo>
                      <a:lnTo>
                        <a:pt x="176" y="197"/>
                      </a:lnTo>
                      <a:lnTo>
                        <a:pt x="174" y="197"/>
                      </a:lnTo>
                      <a:lnTo>
                        <a:pt x="172" y="195"/>
                      </a:lnTo>
                      <a:lnTo>
                        <a:pt x="172" y="194"/>
                      </a:lnTo>
                      <a:lnTo>
                        <a:pt x="172" y="192"/>
                      </a:lnTo>
                      <a:lnTo>
                        <a:pt x="172" y="190"/>
                      </a:lnTo>
                      <a:lnTo>
                        <a:pt x="172" y="189"/>
                      </a:lnTo>
                      <a:lnTo>
                        <a:pt x="174" y="187"/>
                      </a:lnTo>
                      <a:lnTo>
                        <a:pt x="174" y="185"/>
                      </a:lnTo>
                      <a:lnTo>
                        <a:pt x="176" y="185"/>
                      </a:lnTo>
                      <a:lnTo>
                        <a:pt x="176" y="184"/>
                      </a:lnTo>
                      <a:lnTo>
                        <a:pt x="176" y="182"/>
                      </a:lnTo>
                      <a:lnTo>
                        <a:pt x="174" y="182"/>
                      </a:lnTo>
                      <a:lnTo>
                        <a:pt x="172" y="182"/>
                      </a:lnTo>
                      <a:lnTo>
                        <a:pt x="171" y="182"/>
                      </a:lnTo>
                      <a:lnTo>
                        <a:pt x="171" y="180"/>
                      </a:lnTo>
                      <a:lnTo>
                        <a:pt x="172" y="179"/>
                      </a:lnTo>
                      <a:lnTo>
                        <a:pt x="171" y="179"/>
                      </a:lnTo>
                      <a:lnTo>
                        <a:pt x="171" y="177"/>
                      </a:lnTo>
                      <a:lnTo>
                        <a:pt x="169" y="177"/>
                      </a:lnTo>
                      <a:lnTo>
                        <a:pt x="167" y="177"/>
                      </a:lnTo>
                      <a:lnTo>
                        <a:pt x="167" y="176"/>
                      </a:lnTo>
                      <a:lnTo>
                        <a:pt x="167" y="174"/>
                      </a:lnTo>
                      <a:lnTo>
                        <a:pt x="166" y="174"/>
                      </a:lnTo>
                      <a:lnTo>
                        <a:pt x="162" y="176"/>
                      </a:lnTo>
                      <a:lnTo>
                        <a:pt x="159" y="177"/>
                      </a:lnTo>
                      <a:lnTo>
                        <a:pt x="154" y="180"/>
                      </a:lnTo>
                      <a:lnTo>
                        <a:pt x="152" y="172"/>
                      </a:lnTo>
                      <a:lnTo>
                        <a:pt x="150" y="172"/>
                      </a:lnTo>
                      <a:lnTo>
                        <a:pt x="149" y="172"/>
                      </a:lnTo>
                      <a:lnTo>
                        <a:pt x="147" y="176"/>
                      </a:lnTo>
                      <a:lnTo>
                        <a:pt x="144" y="177"/>
                      </a:lnTo>
                      <a:lnTo>
                        <a:pt x="145" y="177"/>
                      </a:lnTo>
                      <a:lnTo>
                        <a:pt x="145" y="179"/>
                      </a:lnTo>
                      <a:lnTo>
                        <a:pt x="144" y="180"/>
                      </a:lnTo>
                      <a:lnTo>
                        <a:pt x="142" y="180"/>
                      </a:lnTo>
                      <a:lnTo>
                        <a:pt x="142" y="182"/>
                      </a:lnTo>
                      <a:lnTo>
                        <a:pt x="140" y="182"/>
                      </a:lnTo>
                      <a:lnTo>
                        <a:pt x="139" y="180"/>
                      </a:lnTo>
                      <a:lnTo>
                        <a:pt x="137" y="180"/>
                      </a:lnTo>
                      <a:lnTo>
                        <a:pt x="137" y="179"/>
                      </a:lnTo>
                      <a:lnTo>
                        <a:pt x="135" y="179"/>
                      </a:lnTo>
                      <a:lnTo>
                        <a:pt x="135" y="180"/>
                      </a:lnTo>
                      <a:lnTo>
                        <a:pt x="134" y="180"/>
                      </a:lnTo>
                      <a:lnTo>
                        <a:pt x="132" y="182"/>
                      </a:lnTo>
                      <a:lnTo>
                        <a:pt x="132" y="184"/>
                      </a:lnTo>
                      <a:lnTo>
                        <a:pt x="130" y="184"/>
                      </a:lnTo>
                      <a:lnTo>
                        <a:pt x="129" y="184"/>
                      </a:lnTo>
                      <a:lnTo>
                        <a:pt x="127" y="184"/>
                      </a:lnTo>
                      <a:lnTo>
                        <a:pt x="127" y="182"/>
                      </a:lnTo>
                      <a:lnTo>
                        <a:pt x="125" y="182"/>
                      </a:lnTo>
                      <a:lnTo>
                        <a:pt x="125" y="180"/>
                      </a:lnTo>
                      <a:lnTo>
                        <a:pt x="125" y="179"/>
                      </a:lnTo>
                      <a:lnTo>
                        <a:pt x="123" y="179"/>
                      </a:lnTo>
                      <a:lnTo>
                        <a:pt x="125" y="177"/>
                      </a:lnTo>
                      <a:lnTo>
                        <a:pt x="125" y="176"/>
                      </a:lnTo>
                      <a:lnTo>
                        <a:pt x="125" y="174"/>
                      </a:lnTo>
                      <a:lnTo>
                        <a:pt x="123" y="174"/>
                      </a:lnTo>
                      <a:lnTo>
                        <a:pt x="122" y="172"/>
                      </a:lnTo>
                      <a:lnTo>
                        <a:pt x="120" y="172"/>
                      </a:lnTo>
                      <a:lnTo>
                        <a:pt x="120" y="171"/>
                      </a:lnTo>
                      <a:lnTo>
                        <a:pt x="117" y="172"/>
                      </a:lnTo>
                      <a:lnTo>
                        <a:pt x="115" y="172"/>
                      </a:lnTo>
                      <a:lnTo>
                        <a:pt x="115" y="171"/>
                      </a:lnTo>
                      <a:lnTo>
                        <a:pt x="113" y="171"/>
                      </a:lnTo>
                      <a:lnTo>
                        <a:pt x="112" y="171"/>
                      </a:lnTo>
                      <a:lnTo>
                        <a:pt x="110" y="171"/>
                      </a:lnTo>
                      <a:lnTo>
                        <a:pt x="108" y="171"/>
                      </a:lnTo>
                      <a:lnTo>
                        <a:pt x="105" y="172"/>
                      </a:lnTo>
                      <a:lnTo>
                        <a:pt x="105" y="171"/>
                      </a:lnTo>
                      <a:lnTo>
                        <a:pt x="105" y="169"/>
                      </a:lnTo>
                      <a:lnTo>
                        <a:pt x="105" y="167"/>
                      </a:lnTo>
                      <a:lnTo>
                        <a:pt x="105" y="166"/>
                      </a:lnTo>
                      <a:lnTo>
                        <a:pt x="105" y="164"/>
                      </a:lnTo>
                      <a:lnTo>
                        <a:pt x="105" y="162"/>
                      </a:lnTo>
                      <a:lnTo>
                        <a:pt x="105" y="161"/>
                      </a:lnTo>
                      <a:lnTo>
                        <a:pt x="105" y="159"/>
                      </a:lnTo>
                      <a:lnTo>
                        <a:pt x="105" y="157"/>
                      </a:lnTo>
                      <a:lnTo>
                        <a:pt x="107" y="157"/>
                      </a:lnTo>
                      <a:lnTo>
                        <a:pt x="108" y="157"/>
                      </a:lnTo>
                      <a:lnTo>
                        <a:pt x="110" y="157"/>
                      </a:lnTo>
                      <a:lnTo>
                        <a:pt x="112" y="157"/>
                      </a:lnTo>
                      <a:lnTo>
                        <a:pt x="112" y="156"/>
                      </a:lnTo>
                      <a:lnTo>
                        <a:pt x="113" y="156"/>
                      </a:lnTo>
                      <a:lnTo>
                        <a:pt x="113" y="154"/>
                      </a:lnTo>
                      <a:lnTo>
                        <a:pt x="113" y="153"/>
                      </a:lnTo>
                      <a:lnTo>
                        <a:pt x="112" y="153"/>
                      </a:lnTo>
                      <a:lnTo>
                        <a:pt x="113" y="151"/>
                      </a:lnTo>
                      <a:lnTo>
                        <a:pt x="112" y="149"/>
                      </a:lnTo>
                      <a:lnTo>
                        <a:pt x="112" y="148"/>
                      </a:lnTo>
                      <a:lnTo>
                        <a:pt x="112" y="146"/>
                      </a:lnTo>
                      <a:lnTo>
                        <a:pt x="112" y="144"/>
                      </a:lnTo>
                      <a:lnTo>
                        <a:pt x="115" y="138"/>
                      </a:lnTo>
                      <a:lnTo>
                        <a:pt x="120" y="134"/>
                      </a:lnTo>
                      <a:lnTo>
                        <a:pt x="123" y="131"/>
                      </a:lnTo>
                      <a:lnTo>
                        <a:pt x="123" y="128"/>
                      </a:lnTo>
                      <a:lnTo>
                        <a:pt x="127" y="126"/>
                      </a:lnTo>
                      <a:lnTo>
                        <a:pt x="132" y="121"/>
                      </a:lnTo>
                      <a:lnTo>
                        <a:pt x="134" y="121"/>
                      </a:lnTo>
                      <a:lnTo>
                        <a:pt x="135" y="121"/>
                      </a:lnTo>
                      <a:lnTo>
                        <a:pt x="132" y="116"/>
                      </a:lnTo>
                      <a:lnTo>
                        <a:pt x="134" y="111"/>
                      </a:lnTo>
                      <a:lnTo>
                        <a:pt x="132" y="111"/>
                      </a:lnTo>
                      <a:lnTo>
                        <a:pt x="130" y="111"/>
                      </a:lnTo>
                      <a:lnTo>
                        <a:pt x="129" y="111"/>
                      </a:lnTo>
                      <a:lnTo>
                        <a:pt x="129" y="110"/>
                      </a:lnTo>
                      <a:lnTo>
                        <a:pt x="127" y="110"/>
                      </a:lnTo>
                      <a:lnTo>
                        <a:pt x="125" y="110"/>
                      </a:lnTo>
                      <a:lnTo>
                        <a:pt x="125" y="111"/>
                      </a:lnTo>
                      <a:lnTo>
                        <a:pt x="123" y="113"/>
                      </a:lnTo>
                      <a:lnTo>
                        <a:pt x="122" y="113"/>
                      </a:lnTo>
                      <a:lnTo>
                        <a:pt x="120" y="113"/>
                      </a:lnTo>
                      <a:lnTo>
                        <a:pt x="118" y="113"/>
                      </a:lnTo>
                      <a:lnTo>
                        <a:pt x="117" y="115"/>
                      </a:lnTo>
                      <a:lnTo>
                        <a:pt x="115" y="115"/>
                      </a:lnTo>
                      <a:lnTo>
                        <a:pt x="113" y="115"/>
                      </a:lnTo>
                      <a:lnTo>
                        <a:pt x="112" y="118"/>
                      </a:lnTo>
                      <a:lnTo>
                        <a:pt x="108" y="118"/>
                      </a:lnTo>
                      <a:lnTo>
                        <a:pt x="105" y="120"/>
                      </a:lnTo>
                      <a:lnTo>
                        <a:pt x="103" y="120"/>
                      </a:lnTo>
                      <a:lnTo>
                        <a:pt x="98" y="121"/>
                      </a:lnTo>
                      <a:lnTo>
                        <a:pt x="96" y="123"/>
                      </a:lnTo>
                      <a:lnTo>
                        <a:pt x="96" y="121"/>
                      </a:lnTo>
                      <a:lnTo>
                        <a:pt x="95" y="121"/>
                      </a:lnTo>
                      <a:lnTo>
                        <a:pt x="93" y="121"/>
                      </a:lnTo>
                      <a:lnTo>
                        <a:pt x="93" y="123"/>
                      </a:lnTo>
                      <a:lnTo>
                        <a:pt x="91" y="125"/>
                      </a:lnTo>
                      <a:lnTo>
                        <a:pt x="90" y="125"/>
                      </a:lnTo>
                      <a:lnTo>
                        <a:pt x="88" y="126"/>
                      </a:lnTo>
                      <a:lnTo>
                        <a:pt x="86" y="126"/>
                      </a:lnTo>
                      <a:lnTo>
                        <a:pt x="85" y="126"/>
                      </a:lnTo>
                      <a:lnTo>
                        <a:pt x="85" y="125"/>
                      </a:lnTo>
                      <a:lnTo>
                        <a:pt x="83" y="125"/>
                      </a:lnTo>
                      <a:lnTo>
                        <a:pt x="81" y="125"/>
                      </a:lnTo>
                      <a:lnTo>
                        <a:pt x="80" y="125"/>
                      </a:lnTo>
                      <a:lnTo>
                        <a:pt x="78" y="126"/>
                      </a:lnTo>
                      <a:lnTo>
                        <a:pt x="78" y="128"/>
                      </a:lnTo>
                      <a:lnTo>
                        <a:pt x="76" y="128"/>
                      </a:lnTo>
                      <a:lnTo>
                        <a:pt x="78" y="130"/>
                      </a:lnTo>
                      <a:lnTo>
                        <a:pt x="76" y="130"/>
                      </a:lnTo>
                      <a:lnTo>
                        <a:pt x="78" y="131"/>
                      </a:lnTo>
                      <a:lnTo>
                        <a:pt x="78" y="133"/>
                      </a:lnTo>
                      <a:lnTo>
                        <a:pt x="80" y="131"/>
                      </a:lnTo>
                      <a:lnTo>
                        <a:pt x="80" y="133"/>
                      </a:lnTo>
                      <a:lnTo>
                        <a:pt x="78" y="133"/>
                      </a:lnTo>
                      <a:lnTo>
                        <a:pt x="78" y="134"/>
                      </a:lnTo>
                      <a:lnTo>
                        <a:pt x="76" y="134"/>
                      </a:lnTo>
                      <a:lnTo>
                        <a:pt x="74" y="134"/>
                      </a:lnTo>
                      <a:lnTo>
                        <a:pt x="73" y="134"/>
                      </a:lnTo>
                      <a:lnTo>
                        <a:pt x="71" y="136"/>
                      </a:lnTo>
                      <a:lnTo>
                        <a:pt x="73" y="136"/>
                      </a:lnTo>
                      <a:lnTo>
                        <a:pt x="71" y="136"/>
                      </a:lnTo>
                      <a:lnTo>
                        <a:pt x="71" y="138"/>
                      </a:lnTo>
                      <a:lnTo>
                        <a:pt x="69" y="138"/>
                      </a:lnTo>
                      <a:lnTo>
                        <a:pt x="71" y="138"/>
                      </a:lnTo>
                      <a:lnTo>
                        <a:pt x="71" y="139"/>
                      </a:lnTo>
                      <a:lnTo>
                        <a:pt x="69" y="139"/>
                      </a:lnTo>
                      <a:lnTo>
                        <a:pt x="69" y="141"/>
                      </a:lnTo>
                      <a:lnTo>
                        <a:pt x="68" y="141"/>
                      </a:lnTo>
                      <a:lnTo>
                        <a:pt x="68" y="143"/>
                      </a:lnTo>
                      <a:lnTo>
                        <a:pt x="66" y="143"/>
                      </a:lnTo>
                      <a:lnTo>
                        <a:pt x="66" y="144"/>
                      </a:lnTo>
                      <a:lnTo>
                        <a:pt x="64" y="144"/>
                      </a:lnTo>
                      <a:lnTo>
                        <a:pt x="63" y="143"/>
                      </a:lnTo>
                      <a:lnTo>
                        <a:pt x="63" y="144"/>
                      </a:lnTo>
                      <a:lnTo>
                        <a:pt x="61" y="144"/>
                      </a:lnTo>
                      <a:lnTo>
                        <a:pt x="59" y="144"/>
                      </a:lnTo>
                      <a:lnTo>
                        <a:pt x="58" y="144"/>
                      </a:lnTo>
                      <a:lnTo>
                        <a:pt x="58" y="146"/>
                      </a:lnTo>
                      <a:lnTo>
                        <a:pt x="56" y="146"/>
                      </a:lnTo>
                      <a:lnTo>
                        <a:pt x="54" y="146"/>
                      </a:lnTo>
                      <a:lnTo>
                        <a:pt x="54" y="148"/>
                      </a:lnTo>
                      <a:lnTo>
                        <a:pt x="53" y="148"/>
                      </a:lnTo>
                      <a:lnTo>
                        <a:pt x="53" y="149"/>
                      </a:lnTo>
                      <a:lnTo>
                        <a:pt x="54" y="149"/>
                      </a:lnTo>
                      <a:lnTo>
                        <a:pt x="54" y="151"/>
                      </a:lnTo>
                      <a:lnTo>
                        <a:pt x="53" y="151"/>
                      </a:lnTo>
                      <a:lnTo>
                        <a:pt x="51" y="151"/>
                      </a:lnTo>
                      <a:lnTo>
                        <a:pt x="51" y="149"/>
                      </a:lnTo>
                      <a:lnTo>
                        <a:pt x="51" y="148"/>
                      </a:lnTo>
                      <a:lnTo>
                        <a:pt x="51" y="149"/>
                      </a:lnTo>
                      <a:lnTo>
                        <a:pt x="49" y="149"/>
                      </a:lnTo>
                      <a:lnTo>
                        <a:pt x="47" y="151"/>
                      </a:lnTo>
                      <a:lnTo>
                        <a:pt x="47" y="153"/>
                      </a:lnTo>
                      <a:lnTo>
                        <a:pt x="46" y="153"/>
                      </a:lnTo>
                      <a:lnTo>
                        <a:pt x="46" y="154"/>
                      </a:lnTo>
                      <a:lnTo>
                        <a:pt x="44" y="154"/>
                      </a:lnTo>
                      <a:lnTo>
                        <a:pt x="44" y="156"/>
                      </a:lnTo>
                      <a:lnTo>
                        <a:pt x="42" y="156"/>
                      </a:lnTo>
                      <a:lnTo>
                        <a:pt x="41" y="154"/>
                      </a:lnTo>
                      <a:lnTo>
                        <a:pt x="41" y="153"/>
                      </a:lnTo>
                      <a:lnTo>
                        <a:pt x="39" y="153"/>
                      </a:lnTo>
                      <a:lnTo>
                        <a:pt x="37" y="153"/>
                      </a:lnTo>
                      <a:lnTo>
                        <a:pt x="36" y="153"/>
                      </a:lnTo>
                      <a:lnTo>
                        <a:pt x="34" y="153"/>
                      </a:lnTo>
                      <a:lnTo>
                        <a:pt x="32" y="153"/>
                      </a:lnTo>
                      <a:lnTo>
                        <a:pt x="31" y="153"/>
                      </a:lnTo>
                      <a:lnTo>
                        <a:pt x="29" y="153"/>
                      </a:lnTo>
                      <a:lnTo>
                        <a:pt x="27" y="153"/>
                      </a:lnTo>
                      <a:lnTo>
                        <a:pt x="25" y="153"/>
                      </a:lnTo>
                      <a:lnTo>
                        <a:pt x="25" y="151"/>
                      </a:lnTo>
                      <a:lnTo>
                        <a:pt x="24" y="151"/>
                      </a:lnTo>
                      <a:lnTo>
                        <a:pt x="24" y="149"/>
                      </a:lnTo>
                      <a:lnTo>
                        <a:pt x="22" y="149"/>
                      </a:lnTo>
                      <a:lnTo>
                        <a:pt x="22" y="148"/>
                      </a:lnTo>
                      <a:lnTo>
                        <a:pt x="20" y="149"/>
                      </a:lnTo>
                      <a:lnTo>
                        <a:pt x="19" y="149"/>
                      </a:lnTo>
                      <a:lnTo>
                        <a:pt x="20" y="149"/>
                      </a:lnTo>
                      <a:lnTo>
                        <a:pt x="19" y="148"/>
                      </a:lnTo>
                      <a:lnTo>
                        <a:pt x="19" y="146"/>
                      </a:lnTo>
                      <a:lnTo>
                        <a:pt x="17" y="144"/>
                      </a:lnTo>
                      <a:lnTo>
                        <a:pt x="15" y="144"/>
                      </a:lnTo>
                      <a:lnTo>
                        <a:pt x="15" y="146"/>
                      </a:lnTo>
                      <a:lnTo>
                        <a:pt x="14" y="146"/>
                      </a:lnTo>
                      <a:lnTo>
                        <a:pt x="12" y="148"/>
                      </a:lnTo>
                      <a:lnTo>
                        <a:pt x="10" y="148"/>
                      </a:lnTo>
                      <a:lnTo>
                        <a:pt x="9" y="146"/>
                      </a:lnTo>
                      <a:lnTo>
                        <a:pt x="9" y="144"/>
                      </a:lnTo>
                      <a:lnTo>
                        <a:pt x="9" y="143"/>
                      </a:lnTo>
                      <a:lnTo>
                        <a:pt x="9" y="141"/>
                      </a:lnTo>
                      <a:lnTo>
                        <a:pt x="9" y="139"/>
                      </a:lnTo>
                      <a:lnTo>
                        <a:pt x="10" y="139"/>
                      </a:lnTo>
                      <a:lnTo>
                        <a:pt x="9" y="139"/>
                      </a:lnTo>
                      <a:lnTo>
                        <a:pt x="7" y="139"/>
                      </a:lnTo>
                      <a:lnTo>
                        <a:pt x="5" y="139"/>
                      </a:lnTo>
                      <a:lnTo>
                        <a:pt x="5" y="141"/>
                      </a:lnTo>
                      <a:lnTo>
                        <a:pt x="5" y="143"/>
                      </a:lnTo>
                      <a:lnTo>
                        <a:pt x="4" y="143"/>
                      </a:lnTo>
                      <a:lnTo>
                        <a:pt x="2" y="141"/>
                      </a:lnTo>
                      <a:lnTo>
                        <a:pt x="0" y="141"/>
                      </a:lnTo>
                      <a:lnTo>
                        <a:pt x="2" y="141"/>
                      </a:lnTo>
                      <a:lnTo>
                        <a:pt x="2" y="139"/>
                      </a:lnTo>
                      <a:lnTo>
                        <a:pt x="0" y="139"/>
                      </a:lnTo>
                      <a:lnTo>
                        <a:pt x="0" y="138"/>
                      </a:lnTo>
                      <a:lnTo>
                        <a:pt x="0" y="136"/>
                      </a:lnTo>
                      <a:lnTo>
                        <a:pt x="2" y="134"/>
                      </a:lnTo>
                      <a:lnTo>
                        <a:pt x="0" y="134"/>
                      </a:lnTo>
                      <a:lnTo>
                        <a:pt x="0" y="133"/>
                      </a:lnTo>
                      <a:lnTo>
                        <a:pt x="2" y="133"/>
                      </a:lnTo>
                      <a:lnTo>
                        <a:pt x="2" y="131"/>
                      </a:lnTo>
                      <a:lnTo>
                        <a:pt x="4" y="131"/>
                      </a:lnTo>
                      <a:lnTo>
                        <a:pt x="4" y="130"/>
                      </a:lnTo>
                      <a:lnTo>
                        <a:pt x="5" y="130"/>
                      </a:lnTo>
                      <a:lnTo>
                        <a:pt x="5" y="128"/>
                      </a:lnTo>
                      <a:lnTo>
                        <a:pt x="5" y="126"/>
                      </a:lnTo>
                      <a:lnTo>
                        <a:pt x="5" y="125"/>
                      </a:lnTo>
                      <a:lnTo>
                        <a:pt x="7" y="125"/>
                      </a:lnTo>
                      <a:lnTo>
                        <a:pt x="7" y="123"/>
                      </a:lnTo>
                      <a:lnTo>
                        <a:pt x="9" y="123"/>
                      </a:lnTo>
                      <a:lnTo>
                        <a:pt x="9" y="121"/>
                      </a:lnTo>
                      <a:lnTo>
                        <a:pt x="10" y="121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2" y="118"/>
                      </a:lnTo>
                      <a:lnTo>
                        <a:pt x="12" y="116"/>
                      </a:lnTo>
                      <a:lnTo>
                        <a:pt x="14" y="116"/>
                      </a:lnTo>
                      <a:lnTo>
                        <a:pt x="14" y="115"/>
                      </a:lnTo>
                      <a:lnTo>
                        <a:pt x="12" y="115"/>
                      </a:lnTo>
                      <a:lnTo>
                        <a:pt x="14" y="115"/>
                      </a:lnTo>
                      <a:lnTo>
                        <a:pt x="15" y="113"/>
                      </a:lnTo>
                      <a:lnTo>
                        <a:pt x="17" y="113"/>
                      </a:lnTo>
                      <a:lnTo>
                        <a:pt x="17" y="111"/>
                      </a:lnTo>
                      <a:lnTo>
                        <a:pt x="17" y="113"/>
                      </a:lnTo>
                      <a:lnTo>
                        <a:pt x="17" y="111"/>
                      </a:lnTo>
                      <a:lnTo>
                        <a:pt x="19" y="111"/>
                      </a:lnTo>
                      <a:lnTo>
                        <a:pt x="19" y="113"/>
                      </a:lnTo>
                      <a:lnTo>
                        <a:pt x="19" y="115"/>
                      </a:lnTo>
                      <a:lnTo>
                        <a:pt x="20" y="115"/>
                      </a:lnTo>
                      <a:lnTo>
                        <a:pt x="22" y="115"/>
                      </a:lnTo>
                      <a:lnTo>
                        <a:pt x="22" y="113"/>
                      </a:lnTo>
                      <a:lnTo>
                        <a:pt x="22" y="115"/>
                      </a:lnTo>
                      <a:lnTo>
                        <a:pt x="24" y="115"/>
                      </a:lnTo>
                      <a:lnTo>
                        <a:pt x="25" y="115"/>
                      </a:lnTo>
                      <a:lnTo>
                        <a:pt x="27" y="115"/>
                      </a:lnTo>
                      <a:lnTo>
                        <a:pt x="27" y="113"/>
                      </a:lnTo>
                      <a:lnTo>
                        <a:pt x="29" y="113"/>
                      </a:lnTo>
                      <a:lnTo>
                        <a:pt x="31" y="113"/>
                      </a:lnTo>
                      <a:lnTo>
                        <a:pt x="31" y="111"/>
                      </a:lnTo>
                      <a:lnTo>
                        <a:pt x="31" y="108"/>
                      </a:lnTo>
                      <a:lnTo>
                        <a:pt x="32" y="107"/>
                      </a:lnTo>
                      <a:lnTo>
                        <a:pt x="34" y="105"/>
                      </a:lnTo>
                      <a:lnTo>
                        <a:pt x="36" y="105"/>
                      </a:lnTo>
                      <a:lnTo>
                        <a:pt x="36" y="103"/>
                      </a:lnTo>
                      <a:lnTo>
                        <a:pt x="37" y="103"/>
                      </a:lnTo>
                      <a:lnTo>
                        <a:pt x="39" y="103"/>
                      </a:lnTo>
                      <a:lnTo>
                        <a:pt x="39" y="102"/>
                      </a:lnTo>
                      <a:lnTo>
                        <a:pt x="39" y="100"/>
                      </a:lnTo>
                      <a:lnTo>
                        <a:pt x="41" y="100"/>
                      </a:lnTo>
                      <a:lnTo>
                        <a:pt x="41" y="98"/>
                      </a:lnTo>
                      <a:lnTo>
                        <a:pt x="42" y="98"/>
                      </a:lnTo>
                      <a:lnTo>
                        <a:pt x="42" y="97"/>
                      </a:lnTo>
                      <a:lnTo>
                        <a:pt x="44" y="97"/>
                      </a:lnTo>
                      <a:lnTo>
                        <a:pt x="44" y="95"/>
                      </a:lnTo>
                      <a:lnTo>
                        <a:pt x="42" y="95"/>
                      </a:lnTo>
                      <a:lnTo>
                        <a:pt x="44" y="93"/>
                      </a:lnTo>
                      <a:lnTo>
                        <a:pt x="44" y="92"/>
                      </a:lnTo>
                      <a:lnTo>
                        <a:pt x="44" y="90"/>
                      </a:lnTo>
                      <a:lnTo>
                        <a:pt x="46" y="90"/>
                      </a:lnTo>
                      <a:lnTo>
                        <a:pt x="46" y="89"/>
                      </a:lnTo>
                      <a:lnTo>
                        <a:pt x="47" y="89"/>
                      </a:lnTo>
                      <a:lnTo>
                        <a:pt x="47" y="87"/>
                      </a:lnTo>
                      <a:lnTo>
                        <a:pt x="49" y="85"/>
                      </a:lnTo>
                      <a:lnTo>
                        <a:pt x="49" y="84"/>
                      </a:lnTo>
                      <a:lnTo>
                        <a:pt x="51" y="84"/>
                      </a:lnTo>
                      <a:lnTo>
                        <a:pt x="51" y="82"/>
                      </a:lnTo>
                      <a:lnTo>
                        <a:pt x="49" y="82"/>
                      </a:lnTo>
                      <a:lnTo>
                        <a:pt x="47" y="82"/>
                      </a:lnTo>
                      <a:lnTo>
                        <a:pt x="46" y="82"/>
                      </a:lnTo>
                      <a:lnTo>
                        <a:pt x="47" y="80"/>
                      </a:lnTo>
                      <a:lnTo>
                        <a:pt x="47" y="79"/>
                      </a:lnTo>
                      <a:lnTo>
                        <a:pt x="47" y="77"/>
                      </a:lnTo>
                      <a:lnTo>
                        <a:pt x="49" y="75"/>
                      </a:lnTo>
                      <a:lnTo>
                        <a:pt x="51" y="75"/>
                      </a:lnTo>
                      <a:lnTo>
                        <a:pt x="51" y="74"/>
                      </a:lnTo>
                      <a:lnTo>
                        <a:pt x="53" y="74"/>
                      </a:lnTo>
                      <a:lnTo>
                        <a:pt x="53" y="72"/>
                      </a:lnTo>
                      <a:lnTo>
                        <a:pt x="53" y="70"/>
                      </a:lnTo>
                      <a:lnTo>
                        <a:pt x="53" y="69"/>
                      </a:lnTo>
                      <a:lnTo>
                        <a:pt x="54" y="69"/>
                      </a:lnTo>
                      <a:lnTo>
                        <a:pt x="56" y="69"/>
                      </a:lnTo>
                      <a:lnTo>
                        <a:pt x="56" y="67"/>
                      </a:lnTo>
                      <a:lnTo>
                        <a:pt x="58" y="66"/>
                      </a:lnTo>
                      <a:lnTo>
                        <a:pt x="58" y="64"/>
                      </a:lnTo>
                      <a:lnTo>
                        <a:pt x="56" y="64"/>
                      </a:lnTo>
                      <a:lnTo>
                        <a:pt x="56" y="62"/>
                      </a:lnTo>
                      <a:lnTo>
                        <a:pt x="58" y="62"/>
                      </a:lnTo>
                      <a:lnTo>
                        <a:pt x="58" y="61"/>
                      </a:lnTo>
                      <a:lnTo>
                        <a:pt x="58" y="59"/>
                      </a:lnTo>
                      <a:lnTo>
                        <a:pt x="58" y="57"/>
                      </a:lnTo>
                      <a:lnTo>
                        <a:pt x="59" y="59"/>
                      </a:lnTo>
                      <a:lnTo>
                        <a:pt x="61" y="59"/>
                      </a:lnTo>
                      <a:lnTo>
                        <a:pt x="61" y="57"/>
                      </a:lnTo>
                      <a:lnTo>
                        <a:pt x="63" y="57"/>
                      </a:lnTo>
                      <a:lnTo>
                        <a:pt x="64" y="56"/>
                      </a:lnTo>
                      <a:lnTo>
                        <a:pt x="64" y="54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6" y="51"/>
                      </a:lnTo>
                      <a:lnTo>
                        <a:pt x="68" y="51"/>
                      </a:lnTo>
                      <a:lnTo>
                        <a:pt x="68" y="49"/>
                      </a:lnTo>
                      <a:lnTo>
                        <a:pt x="69" y="47"/>
                      </a:lnTo>
                      <a:lnTo>
                        <a:pt x="69" y="46"/>
                      </a:lnTo>
                      <a:lnTo>
                        <a:pt x="69" y="44"/>
                      </a:lnTo>
                      <a:lnTo>
                        <a:pt x="71" y="44"/>
                      </a:lnTo>
                      <a:lnTo>
                        <a:pt x="71" y="43"/>
                      </a:lnTo>
                      <a:lnTo>
                        <a:pt x="73" y="43"/>
                      </a:lnTo>
                      <a:lnTo>
                        <a:pt x="73" y="41"/>
                      </a:lnTo>
                      <a:lnTo>
                        <a:pt x="74" y="36"/>
                      </a:lnTo>
                      <a:lnTo>
                        <a:pt x="83" y="20"/>
                      </a:lnTo>
                      <a:lnTo>
                        <a:pt x="85" y="15"/>
                      </a:lnTo>
                      <a:lnTo>
                        <a:pt x="90" y="8"/>
                      </a:lnTo>
                      <a:lnTo>
                        <a:pt x="105" y="5"/>
                      </a:lnTo>
                      <a:lnTo>
                        <a:pt x="108" y="5"/>
                      </a:lnTo>
                      <a:lnTo>
                        <a:pt x="117" y="1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83" name="Freeform 25"/>
                <p:cNvSpPr>
                  <a:spLocks noChangeAspect="1"/>
                </p:cNvSpPr>
                <p:nvPr/>
              </p:nvSpPr>
              <p:spPr bwMode="auto">
                <a:xfrm>
                  <a:off x="3104452" y="2405481"/>
                  <a:ext cx="1686209" cy="1652526"/>
                </a:xfrm>
                <a:custGeom>
                  <a:avLst/>
                  <a:gdLst>
                    <a:gd name="T0" fmla="*/ 2147483647 w 1081"/>
                    <a:gd name="T1" fmla="*/ 2147483647 h 986"/>
                    <a:gd name="T2" fmla="*/ 2147483647 w 1081"/>
                    <a:gd name="T3" fmla="*/ 2147483647 h 986"/>
                    <a:gd name="T4" fmla="*/ 2147483647 w 1081"/>
                    <a:gd name="T5" fmla="*/ 2147483647 h 986"/>
                    <a:gd name="T6" fmla="*/ 2147483647 w 1081"/>
                    <a:gd name="T7" fmla="*/ 2147483647 h 986"/>
                    <a:gd name="T8" fmla="*/ 2147483647 w 1081"/>
                    <a:gd name="T9" fmla="*/ 2147483647 h 986"/>
                    <a:gd name="T10" fmla="*/ 2147483647 w 1081"/>
                    <a:gd name="T11" fmla="*/ 2147483647 h 986"/>
                    <a:gd name="T12" fmla="*/ 2147483647 w 1081"/>
                    <a:gd name="T13" fmla="*/ 2147483647 h 986"/>
                    <a:gd name="T14" fmla="*/ 2147483647 w 1081"/>
                    <a:gd name="T15" fmla="*/ 2147483647 h 986"/>
                    <a:gd name="T16" fmla="*/ 2147483647 w 1081"/>
                    <a:gd name="T17" fmla="*/ 2147483647 h 986"/>
                    <a:gd name="T18" fmla="*/ 2147483647 w 1081"/>
                    <a:gd name="T19" fmla="*/ 2147483647 h 986"/>
                    <a:gd name="T20" fmla="*/ 2147483647 w 1081"/>
                    <a:gd name="T21" fmla="*/ 2147483647 h 986"/>
                    <a:gd name="T22" fmla="*/ 2147483647 w 1081"/>
                    <a:gd name="T23" fmla="*/ 2147483647 h 986"/>
                    <a:gd name="T24" fmla="*/ 2147483647 w 1081"/>
                    <a:gd name="T25" fmla="*/ 2147483647 h 986"/>
                    <a:gd name="T26" fmla="*/ 2147483647 w 1081"/>
                    <a:gd name="T27" fmla="*/ 2147483647 h 986"/>
                    <a:gd name="T28" fmla="*/ 2147483647 w 1081"/>
                    <a:gd name="T29" fmla="*/ 2147483647 h 986"/>
                    <a:gd name="T30" fmla="*/ 2147483647 w 1081"/>
                    <a:gd name="T31" fmla="*/ 2147483647 h 986"/>
                    <a:gd name="T32" fmla="*/ 2147483647 w 1081"/>
                    <a:gd name="T33" fmla="*/ 2147483647 h 986"/>
                    <a:gd name="T34" fmla="*/ 2147483647 w 1081"/>
                    <a:gd name="T35" fmla="*/ 2147483647 h 986"/>
                    <a:gd name="T36" fmla="*/ 2147483647 w 1081"/>
                    <a:gd name="T37" fmla="*/ 2147483647 h 986"/>
                    <a:gd name="T38" fmla="*/ 2147483647 w 1081"/>
                    <a:gd name="T39" fmla="*/ 2147483647 h 986"/>
                    <a:gd name="T40" fmla="*/ 2147483647 w 1081"/>
                    <a:gd name="T41" fmla="*/ 2147483647 h 986"/>
                    <a:gd name="T42" fmla="*/ 2147483647 w 1081"/>
                    <a:gd name="T43" fmla="*/ 2147483647 h 986"/>
                    <a:gd name="T44" fmla="*/ 2147483647 w 1081"/>
                    <a:gd name="T45" fmla="*/ 2147483647 h 986"/>
                    <a:gd name="T46" fmla="*/ 2147483647 w 1081"/>
                    <a:gd name="T47" fmla="*/ 2147483647 h 986"/>
                    <a:gd name="T48" fmla="*/ 2147483647 w 1081"/>
                    <a:gd name="T49" fmla="*/ 2147483647 h 986"/>
                    <a:gd name="T50" fmla="*/ 2147483647 w 1081"/>
                    <a:gd name="T51" fmla="*/ 2147483647 h 986"/>
                    <a:gd name="T52" fmla="*/ 2147483647 w 1081"/>
                    <a:gd name="T53" fmla="*/ 2147483647 h 986"/>
                    <a:gd name="T54" fmla="*/ 2147483647 w 1081"/>
                    <a:gd name="T55" fmla="*/ 2147483647 h 986"/>
                    <a:gd name="T56" fmla="*/ 2147483647 w 1081"/>
                    <a:gd name="T57" fmla="*/ 2147483647 h 986"/>
                    <a:gd name="T58" fmla="*/ 2147483647 w 1081"/>
                    <a:gd name="T59" fmla="*/ 2147483647 h 986"/>
                    <a:gd name="T60" fmla="*/ 2147483647 w 1081"/>
                    <a:gd name="T61" fmla="*/ 2147483647 h 986"/>
                    <a:gd name="T62" fmla="*/ 2147483647 w 1081"/>
                    <a:gd name="T63" fmla="*/ 2147483647 h 986"/>
                    <a:gd name="T64" fmla="*/ 2147483647 w 1081"/>
                    <a:gd name="T65" fmla="*/ 2147483647 h 986"/>
                    <a:gd name="T66" fmla="*/ 2147483647 w 1081"/>
                    <a:gd name="T67" fmla="*/ 2147483647 h 986"/>
                    <a:gd name="T68" fmla="*/ 2147483647 w 1081"/>
                    <a:gd name="T69" fmla="*/ 2147483647 h 986"/>
                    <a:gd name="T70" fmla="*/ 2147483647 w 1081"/>
                    <a:gd name="T71" fmla="*/ 2147483647 h 986"/>
                    <a:gd name="T72" fmla="*/ 2147483647 w 1081"/>
                    <a:gd name="T73" fmla="*/ 2147483647 h 986"/>
                    <a:gd name="T74" fmla="*/ 2147483647 w 1081"/>
                    <a:gd name="T75" fmla="*/ 2147483647 h 986"/>
                    <a:gd name="T76" fmla="*/ 2147483647 w 1081"/>
                    <a:gd name="T77" fmla="*/ 2147483647 h 986"/>
                    <a:gd name="T78" fmla="*/ 2147483647 w 1081"/>
                    <a:gd name="T79" fmla="*/ 2147483647 h 986"/>
                    <a:gd name="T80" fmla="*/ 2147483647 w 1081"/>
                    <a:gd name="T81" fmla="*/ 2147483647 h 986"/>
                    <a:gd name="T82" fmla="*/ 2147483647 w 1081"/>
                    <a:gd name="T83" fmla="*/ 2147483647 h 986"/>
                    <a:gd name="T84" fmla="*/ 2147483647 w 1081"/>
                    <a:gd name="T85" fmla="*/ 2147483647 h 986"/>
                    <a:gd name="T86" fmla="*/ 2147483647 w 1081"/>
                    <a:gd name="T87" fmla="*/ 2147483647 h 986"/>
                    <a:gd name="T88" fmla="*/ 2147483647 w 1081"/>
                    <a:gd name="T89" fmla="*/ 2147483647 h 986"/>
                    <a:gd name="T90" fmla="*/ 2147483647 w 1081"/>
                    <a:gd name="T91" fmla="*/ 2147483647 h 986"/>
                    <a:gd name="T92" fmla="*/ 2147483647 w 1081"/>
                    <a:gd name="T93" fmla="*/ 2147483647 h 986"/>
                    <a:gd name="T94" fmla="*/ 2147483647 w 1081"/>
                    <a:gd name="T95" fmla="*/ 2147483647 h 986"/>
                    <a:gd name="T96" fmla="*/ 2147483647 w 1081"/>
                    <a:gd name="T97" fmla="*/ 2147483647 h 986"/>
                    <a:gd name="T98" fmla="*/ 2147483647 w 1081"/>
                    <a:gd name="T99" fmla="*/ 2147483647 h 986"/>
                    <a:gd name="T100" fmla="*/ 2147483647 w 1081"/>
                    <a:gd name="T101" fmla="*/ 2147483647 h 986"/>
                    <a:gd name="T102" fmla="*/ 2147483647 w 1081"/>
                    <a:gd name="T103" fmla="*/ 2147483647 h 986"/>
                    <a:gd name="T104" fmla="*/ 2147483647 w 1081"/>
                    <a:gd name="T105" fmla="*/ 2147483647 h 986"/>
                    <a:gd name="T106" fmla="*/ 2147483647 w 1081"/>
                    <a:gd name="T107" fmla="*/ 2147483647 h 986"/>
                    <a:gd name="T108" fmla="*/ 2147483647 w 1081"/>
                    <a:gd name="T109" fmla="*/ 2147483647 h 986"/>
                    <a:gd name="T110" fmla="*/ 2147483647 w 1081"/>
                    <a:gd name="T111" fmla="*/ 2147483647 h 986"/>
                    <a:gd name="T112" fmla="*/ 2147483647 w 1081"/>
                    <a:gd name="T113" fmla="*/ 2147483647 h 986"/>
                    <a:gd name="T114" fmla="*/ 2147483647 w 1081"/>
                    <a:gd name="T115" fmla="*/ 2147483647 h 986"/>
                    <a:gd name="T116" fmla="*/ 2147483647 w 1081"/>
                    <a:gd name="T117" fmla="*/ 2147483647 h 986"/>
                    <a:gd name="T118" fmla="*/ 2147483647 w 1081"/>
                    <a:gd name="T119" fmla="*/ 2147483647 h 986"/>
                    <a:gd name="T120" fmla="*/ 2147483647 w 1081"/>
                    <a:gd name="T121" fmla="*/ 2147483647 h 986"/>
                    <a:gd name="T122" fmla="*/ 2147483647 w 1081"/>
                    <a:gd name="T123" fmla="*/ 2147483647 h 986"/>
                    <a:gd name="T124" fmla="*/ 2147483647 w 1081"/>
                    <a:gd name="T125" fmla="*/ 2147483647 h 98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081"/>
                    <a:gd name="T190" fmla="*/ 0 h 986"/>
                    <a:gd name="T191" fmla="*/ 1081 w 1081"/>
                    <a:gd name="T192" fmla="*/ 986 h 98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081" h="986">
                      <a:moveTo>
                        <a:pt x="302" y="135"/>
                      </a:moveTo>
                      <a:lnTo>
                        <a:pt x="304" y="133"/>
                      </a:lnTo>
                      <a:lnTo>
                        <a:pt x="305" y="132"/>
                      </a:lnTo>
                      <a:lnTo>
                        <a:pt x="307" y="132"/>
                      </a:lnTo>
                      <a:lnTo>
                        <a:pt x="309" y="130"/>
                      </a:lnTo>
                      <a:lnTo>
                        <a:pt x="309" y="128"/>
                      </a:lnTo>
                      <a:lnTo>
                        <a:pt x="310" y="128"/>
                      </a:lnTo>
                      <a:lnTo>
                        <a:pt x="312" y="127"/>
                      </a:lnTo>
                      <a:lnTo>
                        <a:pt x="312" y="125"/>
                      </a:lnTo>
                      <a:lnTo>
                        <a:pt x="310" y="125"/>
                      </a:lnTo>
                      <a:lnTo>
                        <a:pt x="309" y="125"/>
                      </a:lnTo>
                      <a:lnTo>
                        <a:pt x="307" y="125"/>
                      </a:lnTo>
                      <a:lnTo>
                        <a:pt x="305" y="127"/>
                      </a:lnTo>
                      <a:lnTo>
                        <a:pt x="304" y="127"/>
                      </a:lnTo>
                      <a:lnTo>
                        <a:pt x="302" y="127"/>
                      </a:lnTo>
                      <a:lnTo>
                        <a:pt x="302" y="125"/>
                      </a:lnTo>
                      <a:lnTo>
                        <a:pt x="302" y="124"/>
                      </a:lnTo>
                      <a:lnTo>
                        <a:pt x="304" y="124"/>
                      </a:lnTo>
                      <a:lnTo>
                        <a:pt x="304" y="120"/>
                      </a:lnTo>
                      <a:lnTo>
                        <a:pt x="305" y="119"/>
                      </a:lnTo>
                      <a:lnTo>
                        <a:pt x="305" y="117"/>
                      </a:lnTo>
                      <a:lnTo>
                        <a:pt x="307" y="117"/>
                      </a:lnTo>
                      <a:lnTo>
                        <a:pt x="307" y="115"/>
                      </a:lnTo>
                      <a:lnTo>
                        <a:pt x="305" y="114"/>
                      </a:lnTo>
                      <a:lnTo>
                        <a:pt x="305" y="112"/>
                      </a:lnTo>
                      <a:lnTo>
                        <a:pt x="305" y="110"/>
                      </a:lnTo>
                      <a:lnTo>
                        <a:pt x="305" y="109"/>
                      </a:lnTo>
                      <a:lnTo>
                        <a:pt x="304" y="109"/>
                      </a:lnTo>
                      <a:lnTo>
                        <a:pt x="304" y="107"/>
                      </a:lnTo>
                      <a:lnTo>
                        <a:pt x="304" y="105"/>
                      </a:lnTo>
                      <a:lnTo>
                        <a:pt x="305" y="104"/>
                      </a:lnTo>
                      <a:lnTo>
                        <a:pt x="305" y="102"/>
                      </a:lnTo>
                      <a:lnTo>
                        <a:pt x="307" y="101"/>
                      </a:lnTo>
                      <a:lnTo>
                        <a:pt x="309" y="101"/>
                      </a:lnTo>
                      <a:lnTo>
                        <a:pt x="309" y="99"/>
                      </a:lnTo>
                      <a:lnTo>
                        <a:pt x="310" y="97"/>
                      </a:lnTo>
                      <a:lnTo>
                        <a:pt x="310" y="96"/>
                      </a:lnTo>
                      <a:lnTo>
                        <a:pt x="310" y="94"/>
                      </a:lnTo>
                      <a:lnTo>
                        <a:pt x="310" y="92"/>
                      </a:lnTo>
                      <a:lnTo>
                        <a:pt x="312" y="92"/>
                      </a:lnTo>
                      <a:lnTo>
                        <a:pt x="312" y="91"/>
                      </a:lnTo>
                      <a:lnTo>
                        <a:pt x="314" y="91"/>
                      </a:lnTo>
                      <a:lnTo>
                        <a:pt x="314" y="89"/>
                      </a:lnTo>
                      <a:lnTo>
                        <a:pt x="312" y="87"/>
                      </a:lnTo>
                      <a:lnTo>
                        <a:pt x="312" y="86"/>
                      </a:lnTo>
                      <a:lnTo>
                        <a:pt x="314" y="86"/>
                      </a:lnTo>
                      <a:lnTo>
                        <a:pt x="314" y="84"/>
                      </a:lnTo>
                      <a:lnTo>
                        <a:pt x="314" y="82"/>
                      </a:lnTo>
                      <a:lnTo>
                        <a:pt x="314" y="81"/>
                      </a:lnTo>
                      <a:lnTo>
                        <a:pt x="314" y="79"/>
                      </a:lnTo>
                      <a:lnTo>
                        <a:pt x="314" y="78"/>
                      </a:lnTo>
                      <a:lnTo>
                        <a:pt x="314" y="76"/>
                      </a:lnTo>
                      <a:lnTo>
                        <a:pt x="314" y="74"/>
                      </a:lnTo>
                      <a:lnTo>
                        <a:pt x="315" y="74"/>
                      </a:lnTo>
                      <a:lnTo>
                        <a:pt x="315" y="73"/>
                      </a:lnTo>
                      <a:lnTo>
                        <a:pt x="317" y="73"/>
                      </a:lnTo>
                      <a:lnTo>
                        <a:pt x="315" y="71"/>
                      </a:lnTo>
                      <a:lnTo>
                        <a:pt x="317" y="69"/>
                      </a:lnTo>
                      <a:lnTo>
                        <a:pt x="315" y="68"/>
                      </a:lnTo>
                      <a:lnTo>
                        <a:pt x="314" y="63"/>
                      </a:lnTo>
                      <a:lnTo>
                        <a:pt x="312" y="61"/>
                      </a:lnTo>
                      <a:lnTo>
                        <a:pt x="312" y="60"/>
                      </a:lnTo>
                      <a:lnTo>
                        <a:pt x="312" y="58"/>
                      </a:lnTo>
                      <a:lnTo>
                        <a:pt x="310" y="56"/>
                      </a:lnTo>
                      <a:lnTo>
                        <a:pt x="309" y="53"/>
                      </a:lnTo>
                      <a:lnTo>
                        <a:pt x="309" y="51"/>
                      </a:lnTo>
                      <a:lnTo>
                        <a:pt x="309" y="50"/>
                      </a:lnTo>
                      <a:lnTo>
                        <a:pt x="309" y="48"/>
                      </a:lnTo>
                      <a:lnTo>
                        <a:pt x="307" y="46"/>
                      </a:lnTo>
                      <a:lnTo>
                        <a:pt x="307" y="45"/>
                      </a:lnTo>
                      <a:lnTo>
                        <a:pt x="309" y="45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14" y="41"/>
                      </a:lnTo>
                      <a:lnTo>
                        <a:pt x="315" y="40"/>
                      </a:lnTo>
                      <a:lnTo>
                        <a:pt x="315" y="38"/>
                      </a:lnTo>
                      <a:lnTo>
                        <a:pt x="317" y="38"/>
                      </a:lnTo>
                      <a:lnTo>
                        <a:pt x="317" y="37"/>
                      </a:lnTo>
                      <a:lnTo>
                        <a:pt x="317" y="35"/>
                      </a:lnTo>
                      <a:lnTo>
                        <a:pt x="317" y="33"/>
                      </a:lnTo>
                      <a:lnTo>
                        <a:pt x="321" y="32"/>
                      </a:lnTo>
                      <a:lnTo>
                        <a:pt x="321" y="28"/>
                      </a:lnTo>
                      <a:lnTo>
                        <a:pt x="324" y="27"/>
                      </a:lnTo>
                      <a:lnTo>
                        <a:pt x="324" y="25"/>
                      </a:lnTo>
                      <a:lnTo>
                        <a:pt x="324" y="23"/>
                      </a:lnTo>
                      <a:lnTo>
                        <a:pt x="322" y="20"/>
                      </a:lnTo>
                      <a:lnTo>
                        <a:pt x="322" y="18"/>
                      </a:lnTo>
                      <a:lnTo>
                        <a:pt x="322" y="17"/>
                      </a:lnTo>
                      <a:lnTo>
                        <a:pt x="324" y="14"/>
                      </a:lnTo>
                      <a:lnTo>
                        <a:pt x="324" y="12"/>
                      </a:lnTo>
                      <a:lnTo>
                        <a:pt x="324" y="10"/>
                      </a:lnTo>
                      <a:lnTo>
                        <a:pt x="324" y="9"/>
                      </a:lnTo>
                      <a:lnTo>
                        <a:pt x="327" y="5"/>
                      </a:lnTo>
                      <a:lnTo>
                        <a:pt x="329" y="4"/>
                      </a:lnTo>
                      <a:lnTo>
                        <a:pt x="329" y="2"/>
                      </a:lnTo>
                      <a:lnTo>
                        <a:pt x="331" y="2"/>
                      </a:lnTo>
                      <a:lnTo>
                        <a:pt x="331" y="0"/>
                      </a:lnTo>
                      <a:lnTo>
                        <a:pt x="332" y="0"/>
                      </a:lnTo>
                      <a:lnTo>
                        <a:pt x="336" y="4"/>
                      </a:lnTo>
                      <a:lnTo>
                        <a:pt x="337" y="4"/>
                      </a:lnTo>
                      <a:lnTo>
                        <a:pt x="337" y="5"/>
                      </a:lnTo>
                      <a:lnTo>
                        <a:pt x="339" y="7"/>
                      </a:lnTo>
                      <a:lnTo>
                        <a:pt x="339" y="10"/>
                      </a:lnTo>
                      <a:lnTo>
                        <a:pt x="341" y="10"/>
                      </a:lnTo>
                      <a:lnTo>
                        <a:pt x="343" y="12"/>
                      </a:lnTo>
                      <a:lnTo>
                        <a:pt x="344" y="14"/>
                      </a:lnTo>
                      <a:lnTo>
                        <a:pt x="344" y="15"/>
                      </a:lnTo>
                      <a:lnTo>
                        <a:pt x="346" y="17"/>
                      </a:lnTo>
                      <a:lnTo>
                        <a:pt x="346" y="18"/>
                      </a:lnTo>
                      <a:lnTo>
                        <a:pt x="348" y="20"/>
                      </a:lnTo>
                      <a:lnTo>
                        <a:pt x="348" y="22"/>
                      </a:lnTo>
                      <a:lnTo>
                        <a:pt x="349" y="23"/>
                      </a:lnTo>
                      <a:lnTo>
                        <a:pt x="349" y="25"/>
                      </a:lnTo>
                      <a:lnTo>
                        <a:pt x="349" y="28"/>
                      </a:lnTo>
                      <a:lnTo>
                        <a:pt x="351" y="28"/>
                      </a:lnTo>
                      <a:lnTo>
                        <a:pt x="353" y="30"/>
                      </a:lnTo>
                      <a:lnTo>
                        <a:pt x="354" y="33"/>
                      </a:lnTo>
                      <a:lnTo>
                        <a:pt x="354" y="35"/>
                      </a:lnTo>
                      <a:lnTo>
                        <a:pt x="354" y="37"/>
                      </a:lnTo>
                      <a:lnTo>
                        <a:pt x="354" y="40"/>
                      </a:lnTo>
                      <a:lnTo>
                        <a:pt x="356" y="41"/>
                      </a:lnTo>
                      <a:lnTo>
                        <a:pt x="356" y="43"/>
                      </a:lnTo>
                      <a:lnTo>
                        <a:pt x="358" y="45"/>
                      </a:lnTo>
                      <a:lnTo>
                        <a:pt x="359" y="48"/>
                      </a:lnTo>
                      <a:lnTo>
                        <a:pt x="359" y="50"/>
                      </a:lnTo>
                      <a:lnTo>
                        <a:pt x="359" y="51"/>
                      </a:lnTo>
                      <a:lnTo>
                        <a:pt x="359" y="53"/>
                      </a:lnTo>
                      <a:lnTo>
                        <a:pt x="359" y="55"/>
                      </a:lnTo>
                      <a:lnTo>
                        <a:pt x="359" y="56"/>
                      </a:lnTo>
                      <a:lnTo>
                        <a:pt x="359" y="58"/>
                      </a:lnTo>
                      <a:lnTo>
                        <a:pt x="361" y="60"/>
                      </a:lnTo>
                      <a:lnTo>
                        <a:pt x="363" y="61"/>
                      </a:lnTo>
                      <a:lnTo>
                        <a:pt x="363" y="63"/>
                      </a:lnTo>
                      <a:lnTo>
                        <a:pt x="364" y="66"/>
                      </a:lnTo>
                      <a:lnTo>
                        <a:pt x="368" y="68"/>
                      </a:lnTo>
                      <a:lnTo>
                        <a:pt x="370" y="69"/>
                      </a:lnTo>
                      <a:lnTo>
                        <a:pt x="370" y="71"/>
                      </a:lnTo>
                      <a:lnTo>
                        <a:pt x="370" y="73"/>
                      </a:lnTo>
                      <a:lnTo>
                        <a:pt x="370" y="74"/>
                      </a:lnTo>
                      <a:lnTo>
                        <a:pt x="371" y="76"/>
                      </a:lnTo>
                      <a:lnTo>
                        <a:pt x="373" y="76"/>
                      </a:lnTo>
                      <a:lnTo>
                        <a:pt x="375" y="76"/>
                      </a:lnTo>
                      <a:lnTo>
                        <a:pt x="375" y="78"/>
                      </a:lnTo>
                      <a:lnTo>
                        <a:pt x="376" y="78"/>
                      </a:lnTo>
                      <a:lnTo>
                        <a:pt x="376" y="79"/>
                      </a:lnTo>
                      <a:lnTo>
                        <a:pt x="378" y="79"/>
                      </a:lnTo>
                      <a:lnTo>
                        <a:pt x="378" y="81"/>
                      </a:lnTo>
                      <a:lnTo>
                        <a:pt x="378" y="82"/>
                      </a:lnTo>
                      <a:lnTo>
                        <a:pt x="376" y="86"/>
                      </a:lnTo>
                      <a:lnTo>
                        <a:pt x="376" y="87"/>
                      </a:lnTo>
                      <a:lnTo>
                        <a:pt x="375" y="87"/>
                      </a:lnTo>
                      <a:lnTo>
                        <a:pt x="375" y="89"/>
                      </a:lnTo>
                      <a:lnTo>
                        <a:pt x="375" y="91"/>
                      </a:lnTo>
                      <a:lnTo>
                        <a:pt x="375" y="92"/>
                      </a:lnTo>
                      <a:lnTo>
                        <a:pt x="375" y="94"/>
                      </a:lnTo>
                      <a:lnTo>
                        <a:pt x="375" y="96"/>
                      </a:lnTo>
                      <a:lnTo>
                        <a:pt x="375" y="97"/>
                      </a:lnTo>
                      <a:lnTo>
                        <a:pt x="373" y="99"/>
                      </a:lnTo>
                      <a:lnTo>
                        <a:pt x="373" y="101"/>
                      </a:lnTo>
                      <a:lnTo>
                        <a:pt x="375" y="101"/>
                      </a:lnTo>
                      <a:lnTo>
                        <a:pt x="375" y="102"/>
                      </a:lnTo>
                      <a:lnTo>
                        <a:pt x="376" y="102"/>
                      </a:lnTo>
                      <a:lnTo>
                        <a:pt x="376" y="104"/>
                      </a:lnTo>
                      <a:lnTo>
                        <a:pt x="376" y="105"/>
                      </a:lnTo>
                      <a:lnTo>
                        <a:pt x="376" y="107"/>
                      </a:lnTo>
                      <a:lnTo>
                        <a:pt x="378" y="109"/>
                      </a:lnTo>
                      <a:lnTo>
                        <a:pt x="378" y="110"/>
                      </a:lnTo>
                      <a:lnTo>
                        <a:pt x="376" y="112"/>
                      </a:lnTo>
                      <a:lnTo>
                        <a:pt x="376" y="114"/>
                      </a:lnTo>
                      <a:lnTo>
                        <a:pt x="378" y="114"/>
                      </a:lnTo>
                      <a:lnTo>
                        <a:pt x="378" y="115"/>
                      </a:lnTo>
                      <a:lnTo>
                        <a:pt x="380" y="115"/>
                      </a:lnTo>
                      <a:lnTo>
                        <a:pt x="380" y="117"/>
                      </a:lnTo>
                      <a:lnTo>
                        <a:pt x="380" y="119"/>
                      </a:lnTo>
                      <a:lnTo>
                        <a:pt x="380" y="120"/>
                      </a:lnTo>
                      <a:lnTo>
                        <a:pt x="381" y="122"/>
                      </a:lnTo>
                      <a:lnTo>
                        <a:pt x="381" y="124"/>
                      </a:lnTo>
                      <a:lnTo>
                        <a:pt x="381" y="125"/>
                      </a:lnTo>
                      <a:lnTo>
                        <a:pt x="381" y="127"/>
                      </a:lnTo>
                      <a:lnTo>
                        <a:pt x="381" y="128"/>
                      </a:lnTo>
                      <a:lnTo>
                        <a:pt x="381" y="130"/>
                      </a:lnTo>
                      <a:lnTo>
                        <a:pt x="383" y="130"/>
                      </a:lnTo>
                      <a:lnTo>
                        <a:pt x="385" y="130"/>
                      </a:lnTo>
                      <a:lnTo>
                        <a:pt x="386" y="130"/>
                      </a:lnTo>
                      <a:lnTo>
                        <a:pt x="388" y="130"/>
                      </a:lnTo>
                      <a:lnTo>
                        <a:pt x="390" y="130"/>
                      </a:lnTo>
                      <a:lnTo>
                        <a:pt x="393" y="132"/>
                      </a:lnTo>
                      <a:lnTo>
                        <a:pt x="393" y="133"/>
                      </a:lnTo>
                      <a:lnTo>
                        <a:pt x="395" y="133"/>
                      </a:lnTo>
                      <a:lnTo>
                        <a:pt x="397" y="133"/>
                      </a:lnTo>
                      <a:lnTo>
                        <a:pt x="398" y="133"/>
                      </a:lnTo>
                      <a:lnTo>
                        <a:pt x="400" y="135"/>
                      </a:lnTo>
                      <a:lnTo>
                        <a:pt x="400" y="137"/>
                      </a:lnTo>
                      <a:lnTo>
                        <a:pt x="398" y="138"/>
                      </a:lnTo>
                      <a:lnTo>
                        <a:pt x="398" y="140"/>
                      </a:lnTo>
                      <a:lnTo>
                        <a:pt x="400" y="140"/>
                      </a:lnTo>
                      <a:lnTo>
                        <a:pt x="402" y="142"/>
                      </a:lnTo>
                      <a:lnTo>
                        <a:pt x="403" y="142"/>
                      </a:lnTo>
                      <a:lnTo>
                        <a:pt x="405" y="142"/>
                      </a:lnTo>
                      <a:lnTo>
                        <a:pt x="408" y="142"/>
                      </a:lnTo>
                      <a:lnTo>
                        <a:pt x="408" y="143"/>
                      </a:lnTo>
                      <a:lnTo>
                        <a:pt x="410" y="145"/>
                      </a:lnTo>
                      <a:lnTo>
                        <a:pt x="412" y="145"/>
                      </a:lnTo>
                      <a:lnTo>
                        <a:pt x="413" y="145"/>
                      </a:lnTo>
                      <a:lnTo>
                        <a:pt x="415" y="145"/>
                      </a:lnTo>
                      <a:lnTo>
                        <a:pt x="417" y="145"/>
                      </a:lnTo>
                      <a:lnTo>
                        <a:pt x="419" y="145"/>
                      </a:lnTo>
                      <a:lnTo>
                        <a:pt x="420" y="147"/>
                      </a:lnTo>
                      <a:lnTo>
                        <a:pt x="422" y="147"/>
                      </a:lnTo>
                      <a:lnTo>
                        <a:pt x="424" y="150"/>
                      </a:lnTo>
                      <a:lnTo>
                        <a:pt x="425" y="151"/>
                      </a:lnTo>
                      <a:lnTo>
                        <a:pt x="425" y="153"/>
                      </a:lnTo>
                      <a:lnTo>
                        <a:pt x="429" y="153"/>
                      </a:lnTo>
                      <a:lnTo>
                        <a:pt x="429" y="155"/>
                      </a:lnTo>
                      <a:lnTo>
                        <a:pt x="430" y="155"/>
                      </a:lnTo>
                      <a:lnTo>
                        <a:pt x="430" y="156"/>
                      </a:lnTo>
                      <a:lnTo>
                        <a:pt x="432" y="158"/>
                      </a:lnTo>
                      <a:lnTo>
                        <a:pt x="432" y="160"/>
                      </a:lnTo>
                      <a:lnTo>
                        <a:pt x="434" y="161"/>
                      </a:lnTo>
                      <a:lnTo>
                        <a:pt x="435" y="161"/>
                      </a:lnTo>
                      <a:lnTo>
                        <a:pt x="435" y="163"/>
                      </a:lnTo>
                      <a:lnTo>
                        <a:pt x="434" y="163"/>
                      </a:lnTo>
                      <a:lnTo>
                        <a:pt x="434" y="165"/>
                      </a:lnTo>
                      <a:lnTo>
                        <a:pt x="432" y="166"/>
                      </a:lnTo>
                      <a:lnTo>
                        <a:pt x="434" y="166"/>
                      </a:lnTo>
                      <a:lnTo>
                        <a:pt x="434" y="168"/>
                      </a:lnTo>
                      <a:lnTo>
                        <a:pt x="432" y="170"/>
                      </a:lnTo>
                      <a:lnTo>
                        <a:pt x="434" y="170"/>
                      </a:lnTo>
                      <a:lnTo>
                        <a:pt x="434" y="171"/>
                      </a:lnTo>
                      <a:lnTo>
                        <a:pt x="435" y="171"/>
                      </a:lnTo>
                      <a:lnTo>
                        <a:pt x="435" y="173"/>
                      </a:lnTo>
                      <a:lnTo>
                        <a:pt x="437" y="173"/>
                      </a:lnTo>
                      <a:lnTo>
                        <a:pt x="439" y="174"/>
                      </a:lnTo>
                      <a:lnTo>
                        <a:pt x="440" y="174"/>
                      </a:lnTo>
                      <a:lnTo>
                        <a:pt x="442" y="173"/>
                      </a:lnTo>
                      <a:lnTo>
                        <a:pt x="444" y="173"/>
                      </a:lnTo>
                      <a:lnTo>
                        <a:pt x="444" y="174"/>
                      </a:lnTo>
                      <a:lnTo>
                        <a:pt x="446" y="174"/>
                      </a:lnTo>
                      <a:lnTo>
                        <a:pt x="447" y="174"/>
                      </a:lnTo>
                      <a:lnTo>
                        <a:pt x="449" y="174"/>
                      </a:lnTo>
                      <a:lnTo>
                        <a:pt x="451" y="174"/>
                      </a:lnTo>
                      <a:lnTo>
                        <a:pt x="452" y="174"/>
                      </a:lnTo>
                      <a:lnTo>
                        <a:pt x="454" y="174"/>
                      </a:lnTo>
                      <a:lnTo>
                        <a:pt x="456" y="176"/>
                      </a:lnTo>
                      <a:lnTo>
                        <a:pt x="457" y="178"/>
                      </a:lnTo>
                      <a:lnTo>
                        <a:pt x="457" y="179"/>
                      </a:lnTo>
                      <a:lnTo>
                        <a:pt x="459" y="179"/>
                      </a:lnTo>
                      <a:lnTo>
                        <a:pt x="459" y="183"/>
                      </a:lnTo>
                      <a:lnTo>
                        <a:pt x="459" y="184"/>
                      </a:lnTo>
                      <a:lnTo>
                        <a:pt x="459" y="186"/>
                      </a:lnTo>
                      <a:lnTo>
                        <a:pt x="459" y="188"/>
                      </a:lnTo>
                      <a:lnTo>
                        <a:pt x="461" y="188"/>
                      </a:lnTo>
                      <a:lnTo>
                        <a:pt x="461" y="189"/>
                      </a:lnTo>
                      <a:lnTo>
                        <a:pt x="461" y="191"/>
                      </a:lnTo>
                      <a:lnTo>
                        <a:pt x="462" y="191"/>
                      </a:lnTo>
                      <a:lnTo>
                        <a:pt x="462" y="189"/>
                      </a:lnTo>
                      <a:lnTo>
                        <a:pt x="464" y="189"/>
                      </a:lnTo>
                      <a:lnTo>
                        <a:pt x="466" y="188"/>
                      </a:lnTo>
                      <a:lnTo>
                        <a:pt x="467" y="188"/>
                      </a:lnTo>
                      <a:lnTo>
                        <a:pt x="469" y="188"/>
                      </a:lnTo>
                      <a:lnTo>
                        <a:pt x="469" y="186"/>
                      </a:lnTo>
                      <a:lnTo>
                        <a:pt x="518" y="191"/>
                      </a:lnTo>
                      <a:lnTo>
                        <a:pt x="626" y="199"/>
                      </a:lnTo>
                      <a:lnTo>
                        <a:pt x="665" y="202"/>
                      </a:lnTo>
                      <a:lnTo>
                        <a:pt x="712" y="206"/>
                      </a:lnTo>
                      <a:lnTo>
                        <a:pt x="761" y="209"/>
                      </a:lnTo>
                      <a:lnTo>
                        <a:pt x="805" y="212"/>
                      </a:lnTo>
                      <a:lnTo>
                        <a:pt x="854" y="216"/>
                      </a:lnTo>
                      <a:lnTo>
                        <a:pt x="888" y="219"/>
                      </a:lnTo>
                      <a:lnTo>
                        <a:pt x="913" y="220"/>
                      </a:lnTo>
                      <a:lnTo>
                        <a:pt x="979" y="224"/>
                      </a:lnTo>
                      <a:lnTo>
                        <a:pt x="1021" y="227"/>
                      </a:lnTo>
                      <a:lnTo>
                        <a:pt x="1055" y="229"/>
                      </a:lnTo>
                      <a:lnTo>
                        <a:pt x="1081" y="230"/>
                      </a:lnTo>
                      <a:lnTo>
                        <a:pt x="1081" y="232"/>
                      </a:lnTo>
                      <a:lnTo>
                        <a:pt x="1079" y="232"/>
                      </a:lnTo>
                      <a:lnTo>
                        <a:pt x="1079" y="234"/>
                      </a:lnTo>
                      <a:lnTo>
                        <a:pt x="1077" y="235"/>
                      </a:lnTo>
                      <a:lnTo>
                        <a:pt x="1077" y="237"/>
                      </a:lnTo>
                      <a:lnTo>
                        <a:pt x="1077" y="239"/>
                      </a:lnTo>
                      <a:lnTo>
                        <a:pt x="1077" y="240"/>
                      </a:lnTo>
                      <a:lnTo>
                        <a:pt x="1076" y="240"/>
                      </a:lnTo>
                      <a:lnTo>
                        <a:pt x="1076" y="242"/>
                      </a:lnTo>
                      <a:lnTo>
                        <a:pt x="1076" y="243"/>
                      </a:lnTo>
                      <a:lnTo>
                        <a:pt x="1074" y="243"/>
                      </a:lnTo>
                      <a:lnTo>
                        <a:pt x="1074" y="245"/>
                      </a:lnTo>
                      <a:lnTo>
                        <a:pt x="1074" y="247"/>
                      </a:lnTo>
                      <a:lnTo>
                        <a:pt x="1074" y="248"/>
                      </a:lnTo>
                      <a:lnTo>
                        <a:pt x="1072" y="250"/>
                      </a:lnTo>
                      <a:lnTo>
                        <a:pt x="1070" y="250"/>
                      </a:lnTo>
                      <a:lnTo>
                        <a:pt x="1069" y="252"/>
                      </a:lnTo>
                      <a:lnTo>
                        <a:pt x="1069" y="253"/>
                      </a:lnTo>
                      <a:lnTo>
                        <a:pt x="1067" y="255"/>
                      </a:lnTo>
                      <a:lnTo>
                        <a:pt x="1065" y="257"/>
                      </a:lnTo>
                      <a:lnTo>
                        <a:pt x="1064" y="260"/>
                      </a:lnTo>
                      <a:lnTo>
                        <a:pt x="1065" y="262"/>
                      </a:lnTo>
                      <a:lnTo>
                        <a:pt x="1065" y="265"/>
                      </a:lnTo>
                      <a:lnTo>
                        <a:pt x="1065" y="266"/>
                      </a:lnTo>
                      <a:lnTo>
                        <a:pt x="1065" y="268"/>
                      </a:lnTo>
                      <a:lnTo>
                        <a:pt x="1064" y="268"/>
                      </a:lnTo>
                      <a:lnTo>
                        <a:pt x="1064" y="270"/>
                      </a:lnTo>
                      <a:lnTo>
                        <a:pt x="1064" y="271"/>
                      </a:lnTo>
                      <a:lnTo>
                        <a:pt x="1064" y="273"/>
                      </a:lnTo>
                      <a:lnTo>
                        <a:pt x="1062" y="276"/>
                      </a:lnTo>
                      <a:lnTo>
                        <a:pt x="1062" y="278"/>
                      </a:lnTo>
                      <a:lnTo>
                        <a:pt x="1060" y="280"/>
                      </a:lnTo>
                      <a:lnTo>
                        <a:pt x="1060" y="281"/>
                      </a:lnTo>
                      <a:lnTo>
                        <a:pt x="1059" y="281"/>
                      </a:lnTo>
                      <a:lnTo>
                        <a:pt x="1057" y="283"/>
                      </a:lnTo>
                      <a:lnTo>
                        <a:pt x="1057" y="285"/>
                      </a:lnTo>
                      <a:lnTo>
                        <a:pt x="1055" y="288"/>
                      </a:lnTo>
                      <a:lnTo>
                        <a:pt x="1055" y="289"/>
                      </a:lnTo>
                      <a:lnTo>
                        <a:pt x="1057" y="289"/>
                      </a:lnTo>
                      <a:lnTo>
                        <a:pt x="1055" y="291"/>
                      </a:lnTo>
                      <a:lnTo>
                        <a:pt x="1054" y="291"/>
                      </a:lnTo>
                      <a:lnTo>
                        <a:pt x="1054" y="293"/>
                      </a:lnTo>
                      <a:lnTo>
                        <a:pt x="1052" y="294"/>
                      </a:lnTo>
                      <a:lnTo>
                        <a:pt x="1054" y="296"/>
                      </a:lnTo>
                      <a:lnTo>
                        <a:pt x="1054" y="298"/>
                      </a:lnTo>
                      <a:lnTo>
                        <a:pt x="1052" y="298"/>
                      </a:lnTo>
                      <a:lnTo>
                        <a:pt x="1052" y="299"/>
                      </a:lnTo>
                      <a:lnTo>
                        <a:pt x="1052" y="301"/>
                      </a:lnTo>
                      <a:lnTo>
                        <a:pt x="1050" y="301"/>
                      </a:lnTo>
                      <a:lnTo>
                        <a:pt x="1048" y="301"/>
                      </a:lnTo>
                      <a:lnTo>
                        <a:pt x="1048" y="303"/>
                      </a:lnTo>
                      <a:lnTo>
                        <a:pt x="1047" y="303"/>
                      </a:lnTo>
                      <a:lnTo>
                        <a:pt x="1047" y="304"/>
                      </a:lnTo>
                      <a:lnTo>
                        <a:pt x="1045" y="306"/>
                      </a:lnTo>
                      <a:lnTo>
                        <a:pt x="1045" y="307"/>
                      </a:lnTo>
                      <a:lnTo>
                        <a:pt x="1047" y="307"/>
                      </a:lnTo>
                      <a:lnTo>
                        <a:pt x="1047" y="309"/>
                      </a:lnTo>
                      <a:lnTo>
                        <a:pt x="1047" y="311"/>
                      </a:lnTo>
                      <a:lnTo>
                        <a:pt x="1047" y="312"/>
                      </a:lnTo>
                      <a:lnTo>
                        <a:pt x="1048" y="314"/>
                      </a:lnTo>
                      <a:lnTo>
                        <a:pt x="1048" y="316"/>
                      </a:lnTo>
                      <a:lnTo>
                        <a:pt x="1047" y="316"/>
                      </a:lnTo>
                      <a:lnTo>
                        <a:pt x="1047" y="317"/>
                      </a:lnTo>
                      <a:lnTo>
                        <a:pt x="1047" y="319"/>
                      </a:lnTo>
                      <a:lnTo>
                        <a:pt x="1045" y="319"/>
                      </a:lnTo>
                      <a:lnTo>
                        <a:pt x="1043" y="319"/>
                      </a:lnTo>
                      <a:lnTo>
                        <a:pt x="1043" y="321"/>
                      </a:lnTo>
                      <a:lnTo>
                        <a:pt x="1043" y="322"/>
                      </a:lnTo>
                      <a:lnTo>
                        <a:pt x="1043" y="324"/>
                      </a:lnTo>
                      <a:lnTo>
                        <a:pt x="1043" y="326"/>
                      </a:lnTo>
                      <a:lnTo>
                        <a:pt x="1045" y="326"/>
                      </a:lnTo>
                      <a:lnTo>
                        <a:pt x="1045" y="327"/>
                      </a:lnTo>
                      <a:lnTo>
                        <a:pt x="1045" y="329"/>
                      </a:lnTo>
                      <a:lnTo>
                        <a:pt x="1043" y="329"/>
                      </a:lnTo>
                      <a:lnTo>
                        <a:pt x="1042" y="330"/>
                      </a:lnTo>
                      <a:lnTo>
                        <a:pt x="1042" y="332"/>
                      </a:lnTo>
                      <a:lnTo>
                        <a:pt x="1043" y="332"/>
                      </a:lnTo>
                      <a:lnTo>
                        <a:pt x="1043" y="334"/>
                      </a:lnTo>
                      <a:lnTo>
                        <a:pt x="1043" y="335"/>
                      </a:lnTo>
                      <a:lnTo>
                        <a:pt x="1043" y="337"/>
                      </a:lnTo>
                      <a:lnTo>
                        <a:pt x="1043" y="339"/>
                      </a:lnTo>
                      <a:lnTo>
                        <a:pt x="1043" y="340"/>
                      </a:lnTo>
                      <a:lnTo>
                        <a:pt x="1043" y="342"/>
                      </a:lnTo>
                      <a:lnTo>
                        <a:pt x="1045" y="344"/>
                      </a:lnTo>
                      <a:lnTo>
                        <a:pt x="1043" y="344"/>
                      </a:lnTo>
                      <a:lnTo>
                        <a:pt x="1043" y="345"/>
                      </a:lnTo>
                      <a:lnTo>
                        <a:pt x="1042" y="345"/>
                      </a:lnTo>
                      <a:lnTo>
                        <a:pt x="1042" y="347"/>
                      </a:lnTo>
                      <a:lnTo>
                        <a:pt x="1042" y="349"/>
                      </a:lnTo>
                      <a:lnTo>
                        <a:pt x="1040" y="349"/>
                      </a:lnTo>
                      <a:lnTo>
                        <a:pt x="1040" y="350"/>
                      </a:lnTo>
                      <a:lnTo>
                        <a:pt x="1040" y="352"/>
                      </a:lnTo>
                      <a:lnTo>
                        <a:pt x="1038" y="352"/>
                      </a:lnTo>
                      <a:lnTo>
                        <a:pt x="1040" y="355"/>
                      </a:lnTo>
                      <a:lnTo>
                        <a:pt x="1040" y="357"/>
                      </a:lnTo>
                      <a:lnTo>
                        <a:pt x="1040" y="360"/>
                      </a:lnTo>
                      <a:lnTo>
                        <a:pt x="1038" y="362"/>
                      </a:lnTo>
                      <a:lnTo>
                        <a:pt x="1038" y="363"/>
                      </a:lnTo>
                      <a:lnTo>
                        <a:pt x="1038" y="365"/>
                      </a:lnTo>
                      <a:lnTo>
                        <a:pt x="1037" y="365"/>
                      </a:lnTo>
                      <a:lnTo>
                        <a:pt x="1037" y="367"/>
                      </a:lnTo>
                      <a:lnTo>
                        <a:pt x="1035" y="368"/>
                      </a:lnTo>
                      <a:lnTo>
                        <a:pt x="1035" y="370"/>
                      </a:lnTo>
                      <a:lnTo>
                        <a:pt x="1035" y="372"/>
                      </a:lnTo>
                      <a:lnTo>
                        <a:pt x="1033" y="373"/>
                      </a:lnTo>
                      <a:lnTo>
                        <a:pt x="1033" y="375"/>
                      </a:lnTo>
                      <a:lnTo>
                        <a:pt x="1033" y="376"/>
                      </a:lnTo>
                      <a:lnTo>
                        <a:pt x="1032" y="378"/>
                      </a:lnTo>
                      <a:lnTo>
                        <a:pt x="1032" y="380"/>
                      </a:lnTo>
                      <a:lnTo>
                        <a:pt x="1032" y="381"/>
                      </a:lnTo>
                      <a:lnTo>
                        <a:pt x="1032" y="383"/>
                      </a:lnTo>
                      <a:lnTo>
                        <a:pt x="1033" y="385"/>
                      </a:lnTo>
                      <a:lnTo>
                        <a:pt x="1032" y="386"/>
                      </a:lnTo>
                      <a:lnTo>
                        <a:pt x="1032" y="388"/>
                      </a:lnTo>
                      <a:lnTo>
                        <a:pt x="1033" y="388"/>
                      </a:lnTo>
                      <a:lnTo>
                        <a:pt x="1033" y="390"/>
                      </a:lnTo>
                      <a:lnTo>
                        <a:pt x="1035" y="391"/>
                      </a:lnTo>
                      <a:lnTo>
                        <a:pt x="1037" y="391"/>
                      </a:lnTo>
                      <a:lnTo>
                        <a:pt x="1038" y="391"/>
                      </a:lnTo>
                      <a:lnTo>
                        <a:pt x="1040" y="391"/>
                      </a:lnTo>
                      <a:lnTo>
                        <a:pt x="1040" y="393"/>
                      </a:lnTo>
                      <a:lnTo>
                        <a:pt x="1040" y="395"/>
                      </a:lnTo>
                      <a:lnTo>
                        <a:pt x="1038" y="395"/>
                      </a:lnTo>
                      <a:lnTo>
                        <a:pt x="1040" y="395"/>
                      </a:lnTo>
                      <a:lnTo>
                        <a:pt x="1040" y="396"/>
                      </a:lnTo>
                      <a:lnTo>
                        <a:pt x="1040" y="398"/>
                      </a:lnTo>
                      <a:lnTo>
                        <a:pt x="1040" y="399"/>
                      </a:lnTo>
                      <a:lnTo>
                        <a:pt x="1038" y="401"/>
                      </a:lnTo>
                      <a:lnTo>
                        <a:pt x="1037" y="401"/>
                      </a:lnTo>
                      <a:lnTo>
                        <a:pt x="1037" y="403"/>
                      </a:lnTo>
                      <a:lnTo>
                        <a:pt x="1035" y="403"/>
                      </a:lnTo>
                      <a:lnTo>
                        <a:pt x="1035" y="404"/>
                      </a:lnTo>
                      <a:lnTo>
                        <a:pt x="1033" y="404"/>
                      </a:lnTo>
                      <a:lnTo>
                        <a:pt x="1033" y="406"/>
                      </a:lnTo>
                      <a:lnTo>
                        <a:pt x="1035" y="406"/>
                      </a:lnTo>
                      <a:lnTo>
                        <a:pt x="1035" y="408"/>
                      </a:lnTo>
                      <a:lnTo>
                        <a:pt x="1035" y="411"/>
                      </a:lnTo>
                      <a:lnTo>
                        <a:pt x="1037" y="413"/>
                      </a:lnTo>
                      <a:lnTo>
                        <a:pt x="1037" y="414"/>
                      </a:lnTo>
                      <a:lnTo>
                        <a:pt x="1037" y="416"/>
                      </a:lnTo>
                      <a:lnTo>
                        <a:pt x="1037" y="418"/>
                      </a:lnTo>
                      <a:lnTo>
                        <a:pt x="1038" y="418"/>
                      </a:lnTo>
                      <a:lnTo>
                        <a:pt x="1040" y="418"/>
                      </a:lnTo>
                      <a:lnTo>
                        <a:pt x="1042" y="418"/>
                      </a:lnTo>
                      <a:lnTo>
                        <a:pt x="1042" y="419"/>
                      </a:lnTo>
                      <a:lnTo>
                        <a:pt x="1042" y="421"/>
                      </a:lnTo>
                      <a:lnTo>
                        <a:pt x="1040" y="421"/>
                      </a:lnTo>
                      <a:lnTo>
                        <a:pt x="1038" y="422"/>
                      </a:lnTo>
                      <a:lnTo>
                        <a:pt x="1040" y="424"/>
                      </a:lnTo>
                      <a:lnTo>
                        <a:pt x="1040" y="426"/>
                      </a:lnTo>
                      <a:lnTo>
                        <a:pt x="1040" y="427"/>
                      </a:lnTo>
                      <a:lnTo>
                        <a:pt x="1038" y="427"/>
                      </a:lnTo>
                      <a:lnTo>
                        <a:pt x="1038" y="429"/>
                      </a:lnTo>
                      <a:lnTo>
                        <a:pt x="1037" y="429"/>
                      </a:lnTo>
                      <a:lnTo>
                        <a:pt x="1037" y="431"/>
                      </a:lnTo>
                      <a:lnTo>
                        <a:pt x="1038" y="431"/>
                      </a:lnTo>
                      <a:lnTo>
                        <a:pt x="1038" y="432"/>
                      </a:lnTo>
                      <a:lnTo>
                        <a:pt x="1037" y="432"/>
                      </a:lnTo>
                      <a:lnTo>
                        <a:pt x="1037" y="434"/>
                      </a:lnTo>
                      <a:lnTo>
                        <a:pt x="1038" y="434"/>
                      </a:lnTo>
                      <a:lnTo>
                        <a:pt x="1038" y="436"/>
                      </a:lnTo>
                      <a:lnTo>
                        <a:pt x="1038" y="437"/>
                      </a:lnTo>
                      <a:lnTo>
                        <a:pt x="1038" y="439"/>
                      </a:lnTo>
                      <a:lnTo>
                        <a:pt x="1038" y="441"/>
                      </a:lnTo>
                      <a:lnTo>
                        <a:pt x="1038" y="442"/>
                      </a:lnTo>
                      <a:lnTo>
                        <a:pt x="1038" y="444"/>
                      </a:lnTo>
                      <a:lnTo>
                        <a:pt x="1038" y="445"/>
                      </a:lnTo>
                      <a:lnTo>
                        <a:pt x="1038" y="447"/>
                      </a:lnTo>
                      <a:lnTo>
                        <a:pt x="1037" y="449"/>
                      </a:lnTo>
                      <a:lnTo>
                        <a:pt x="1038" y="449"/>
                      </a:lnTo>
                      <a:lnTo>
                        <a:pt x="1038" y="450"/>
                      </a:lnTo>
                      <a:lnTo>
                        <a:pt x="1040" y="450"/>
                      </a:lnTo>
                      <a:lnTo>
                        <a:pt x="1042" y="450"/>
                      </a:lnTo>
                      <a:lnTo>
                        <a:pt x="1040" y="450"/>
                      </a:lnTo>
                      <a:lnTo>
                        <a:pt x="1040" y="452"/>
                      </a:lnTo>
                      <a:lnTo>
                        <a:pt x="1042" y="454"/>
                      </a:lnTo>
                      <a:lnTo>
                        <a:pt x="1042" y="455"/>
                      </a:lnTo>
                      <a:lnTo>
                        <a:pt x="1042" y="457"/>
                      </a:lnTo>
                      <a:lnTo>
                        <a:pt x="1040" y="457"/>
                      </a:lnTo>
                      <a:lnTo>
                        <a:pt x="1042" y="457"/>
                      </a:lnTo>
                      <a:lnTo>
                        <a:pt x="1042" y="459"/>
                      </a:lnTo>
                      <a:lnTo>
                        <a:pt x="1042" y="460"/>
                      </a:lnTo>
                      <a:lnTo>
                        <a:pt x="1042" y="462"/>
                      </a:lnTo>
                      <a:lnTo>
                        <a:pt x="1042" y="464"/>
                      </a:lnTo>
                      <a:lnTo>
                        <a:pt x="1043" y="465"/>
                      </a:lnTo>
                      <a:lnTo>
                        <a:pt x="1043" y="467"/>
                      </a:lnTo>
                      <a:lnTo>
                        <a:pt x="1042" y="467"/>
                      </a:lnTo>
                      <a:lnTo>
                        <a:pt x="1042" y="468"/>
                      </a:lnTo>
                      <a:lnTo>
                        <a:pt x="1043" y="468"/>
                      </a:lnTo>
                      <a:lnTo>
                        <a:pt x="1043" y="470"/>
                      </a:lnTo>
                      <a:lnTo>
                        <a:pt x="1043" y="472"/>
                      </a:lnTo>
                      <a:lnTo>
                        <a:pt x="1042" y="472"/>
                      </a:lnTo>
                      <a:lnTo>
                        <a:pt x="1040" y="472"/>
                      </a:lnTo>
                      <a:lnTo>
                        <a:pt x="1042" y="473"/>
                      </a:lnTo>
                      <a:lnTo>
                        <a:pt x="1040" y="475"/>
                      </a:lnTo>
                      <a:lnTo>
                        <a:pt x="1040" y="477"/>
                      </a:lnTo>
                      <a:lnTo>
                        <a:pt x="1040" y="478"/>
                      </a:lnTo>
                      <a:lnTo>
                        <a:pt x="1038" y="480"/>
                      </a:lnTo>
                      <a:lnTo>
                        <a:pt x="1037" y="482"/>
                      </a:lnTo>
                      <a:lnTo>
                        <a:pt x="1038" y="483"/>
                      </a:lnTo>
                      <a:lnTo>
                        <a:pt x="1038" y="485"/>
                      </a:lnTo>
                      <a:lnTo>
                        <a:pt x="1037" y="485"/>
                      </a:lnTo>
                      <a:lnTo>
                        <a:pt x="1035" y="485"/>
                      </a:lnTo>
                      <a:lnTo>
                        <a:pt x="1035" y="487"/>
                      </a:lnTo>
                      <a:lnTo>
                        <a:pt x="1035" y="488"/>
                      </a:lnTo>
                      <a:lnTo>
                        <a:pt x="1037" y="490"/>
                      </a:lnTo>
                      <a:lnTo>
                        <a:pt x="1038" y="490"/>
                      </a:lnTo>
                      <a:lnTo>
                        <a:pt x="1040" y="490"/>
                      </a:lnTo>
                      <a:lnTo>
                        <a:pt x="1042" y="490"/>
                      </a:lnTo>
                      <a:lnTo>
                        <a:pt x="1042" y="491"/>
                      </a:lnTo>
                      <a:lnTo>
                        <a:pt x="1040" y="491"/>
                      </a:lnTo>
                      <a:lnTo>
                        <a:pt x="1040" y="493"/>
                      </a:lnTo>
                      <a:lnTo>
                        <a:pt x="1042" y="495"/>
                      </a:lnTo>
                      <a:lnTo>
                        <a:pt x="1042" y="496"/>
                      </a:lnTo>
                      <a:lnTo>
                        <a:pt x="1043" y="496"/>
                      </a:lnTo>
                      <a:lnTo>
                        <a:pt x="1043" y="498"/>
                      </a:lnTo>
                      <a:lnTo>
                        <a:pt x="1043" y="500"/>
                      </a:lnTo>
                      <a:lnTo>
                        <a:pt x="1042" y="500"/>
                      </a:lnTo>
                      <a:lnTo>
                        <a:pt x="1042" y="501"/>
                      </a:lnTo>
                      <a:lnTo>
                        <a:pt x="1043" y="501"/>
                      </a:lnTo>
                      <a:lnTo>
                        <a:pt x="1043" y="503"/>
                      </a:lnTo>
                      <a:lnTo>
                        <a:pt x="1043" y="505"/>
                      </a:lnTo>
                      <a:lnTo>
                        <a:pt x="1045" y="505"/>
                      </a:lnTo>
                      <a:lnTo>
                        <a:pt x="1045" y="503"/>
                      </a:lnTo>
                      <a:lnTo>
                        <a:pt x="1047" y="503"/>
                      </a:lnTo>
                      <a:lnTo>
                        <a:pt x="1047" y="505"/>
                      </a:lnTo>
                      <a:lnTo>
                        <a:pt x="1045" y="505"/>
                      </a:lnTo>
                      <a:lnTo>
                        <a:pt x="1045" y="506"/>
                      </a:lnTo>
                      <a:lnTo>
                        <a:pt x="1047" y="506"/>
                      </a:lnTo>
                      <a:lnTo>
                        <a:pt x="1048" y="508"/>
                      </a:lnTo>
                      <a:lnTo>
                        <a:pt x="1050" y="508"/>
                      </a:lnTo>
                      <a:lnTo>
                        <a:pt x="1052" y="508"/>
                      </a:lnTo>
                      <a:lnTo>
                        <a:pt x="1054" y="506"/>
                      </a:lnTo>
                      <a:lnTo>
                        <a:pt x="1054" y="508"/>
                      </a:lnTo>
                      <a:lnTo>
                        <a:pt x="1054" y="509"/>
                      </a:lnTo>
                      <a:lnTo>
                        <a:pt x="1055" y="509"/>
                      </a:lnTo>
                      <a:lnTo>
                        <a:pt x="1055" y="511"/>
                      </a:lnTo>
                      <a:lnTo>
                        <a:pt x="1054" y="511"/>
                      </a:lnTo>
                      <a:lnTo>
                        <a:pt x="1054" y="513"/>
                      </a:lnTo>
                      <a:lnTo>
                        <a:pt x="1054" y="514"/>
                      </a:lnTo>
                      <a:lnTo>
                        <a:pt x="1052" y="516"/>
                      </a:lnTo>
                      <a:lnTo>
                        <a:pt x="1052" y="519"/>
                      </a:lnTo>
                      <a:lnTo>
                        <a:pt x="1050" y="519"/>
                      </a:lnTo>
                      <a:lnTo>
                        <a:pt x="1050" y="521"/>
                      </a:lnTo>
                      <a:lnTo>
                        <a:pt x="1050" y="523"/>
                      </a:lnTo>
                      <a:lnTo>
                        <a:pt x="1048" y="523"/>
                      </a:lnTo>
                      <a:lnTo>
                        <a:pt x="1048" y="521"/>
                      </a:lnTo>
                      <a:lnTo>
                        <a:pt x="1047" y="521"/>
                      </a:lnTo>
                      <a:lnTo>
                        <a:pt x="1047" y="523"/>
                      </a:lnTo>
                      <a:lnTo>
                        <a:pt x="1047" y="524"/>
                      </a:lnTo>
                      <a:lnTo>
                        <a:pt x="1048" y="524"/>
                      </a:lnTo>
                      <a:lnTo>
                        <a:pt x="1048" y="526"/>
                      </a:lnTo>
                      <a:lnTo>
                        <a:pt x="1047" y="526"/>
                      </a:lnTo>
                      <a:lnTo>
                        <a:pt x="1045" y="526"/>
                      </a:lnTo>
                      <a:lnTo>
                        <a:pt x="1045" y="528"/>
                      </a:lnTo>
                      <a:lnTo>
                        <a:pt x="1043" y="528"/>
                      </a:lnTo>
                      <a:lnTo>
                        <a:pt x="1045" y="528"/>
                      </a:lnTo>
                      <a:lnTo>
                        <a:pt x="1045" y="529"/>
                      </a:lnTo>
                      <a:lnTo>
                        <a:pt x="1045" y="531"/>
                      </a:lnTo>
                      <a:lnTo>
                        <a:pt x="1047" y="532"/>
                      </a:lnTo>
                      <a:lnTo>
                        <a:pt x="1045" y="534"/>
                      </a:lnTo>
                      <a:lnTo>
                        <a:pt x="1045" y="536"/>
                      </a:lnTo>
                      <a:lnTo>
                        <a:pt x="1045" y="537"/>
                      </a:lnTo>
                      <a:lnTo>
                        <a:pt x="1045" y="539"/>
                      </a:lnTo>
                      <a:lnTo>
                        <a:pt x="1045" y="541"/>
                      </a:lnTo>
                      <a:lnTo>
                        <a:pt x="1047" y="541"/>
                      </a:lnTo>
                      <a:lnTo>
                        <a:pt x="1047" y="542"/>
                      </a:lnTo>
                      <a:lnTo>
                        <a:pt x="1047" y="544"/>
                      </a:lnTo>
                      <a:lnTo>
                        <a:pt x="1047" y="546"/>
                      </a:lnTo>
                      <a:lnTo>
                        <a:pt x="1045" y="546"/>
                      </a:lnTo>
                      <a:lnTo>
                        <a:pt x="1045" y="547"/>
                      </a:lnTo>
                      <a:lnTo>
                        <a:pt x="1045" y="549"/>
                      </a:lnTo>
                      <a:lnTo>
                        <a:pt x="1045" y="551"/>
                      </a:lnTo>
                      <a:lnTo>
                        <a:pt x="1043" y="551"/>
                      </a:lnTo>
                      <a:lnTo>
                        <a:pt x="1043" y="552"/>
                      </a:lnTo>
                      <a:lnTo>
                        <a:pt x="1042" y="554"/>
                      </a:lnTo>
                      <a:lnTo>
                        <a:pt x="1040" y="555"/>
                      </a:lnTo>
                      <a:lnTo>
                        <a:pt x="1038" y="557"/>
                      </a:lnTo>
                      <a:lnTo>
                        <a:pt x="1038" y="559"/>
                      </a:lnTo>
                      <a:lnTo>
                        <a:pt x="1040" y="560"/>
                      </a:lnTo>
                      <a:lnTo>
                        <a:pt x="1040" y="562"/>
                      </a:lnTo>
                      <a:lnTo>
                        <a:pt x="1038" y="562"/>
                      </a:lnTo>
                      <a:lnTo>
                        <a:pt x="1037" y="562"/>
                      </a:lnTo>
                      <a:lnTo>
                        <a:pt x="1037" y="564"/>
                      </a:lnTo>
                      <a:lnTo>
                        <a:pt x="1037" y="565"/>
                      </a:lnTo>
                      <a:lnTo>
                        <a:pt x="1035" y="565"/>
                      </a:lnTo>
                      <a:lnTo>
                        <a:pt x="1035" y="567"/>
                      </a:lnTo>
                      <a:lnTo>
                        <a:pt x="1033" y="567"/>
                      </a:lnTo>
                      <a:lnTo>
                        <a:pt x="1033" y="569"/>
                      </a:lnTo>
                      <a:lnTo>
                        <a:pt x="1032" y="569"/>
                      </a:lnTo>
                      <a:lnTo>
                        <a:pt x="1030" y="570"/>
                      </a:lnTo>
                      <a:lnTo>
                        <a:pt x="1030" y="572"/>
                      </a:lnTo>
                      <a:lnTo>
                        <a:pt x="1030" y="574"/>
                      </a:lnTo>
                      <a:lnTo>
                        <a:pt x="1030" y="575"/>
                      </a:lnTo>
                      <a:lnTo>
                        <a:pt x="1030" y="577"/>
                      </a:lnTo>
                      <a:lnTo>
                        <a:pt x="1028" y="578"/>
                      </a:lnTo>
                      <a:lnTo>
                        <a:pt x="1028" y="582"/>
                      </a:lnTo>
                      <a:lnTo>
                        <a:pt x="1027" y="583"/>
                      </a:lnTo>
                      <a:lnTo>
                        <a:pt x="1027" y="585"/>
                      </a:lnTo>
                      <a:lnTo>
                        <a:pt x="1025" y="587"/>
                      </a:lnTo>
                      <a:lnTo>
                        <a:pt x="1023" y="587"/>
                      </a:lnTo>
                      <a:lnTo>
                        <a:pt x="1021" y="588"/>
                      </a:lnTo>
                      <a:lnTo>
                        <a:pt x="1020" y="588"/>
                      </a:lnTo>
                      <a:lnTo>
                        <a:pt x="1020" y="590"/>
                      </a:lnTo>
                      <a:lnTo>
                        <a:pt x="1020" y="592"/>
                      </a:lnTo>
                      <a:lnTo>
                        <a:pt x="1021" y="592"/>
                      </a:lnTo>
                      <a:lnTo>
                        <a:pt x="1021" y="593"/>
                      </a:lnTo>
                      <a:lnTo>
                        <a:pt x="1021" y="595"/>
                      </a:lnTo>
                      <a:lnTo>
                        <a:pt x="1021" y="597"/>
                      </a:lnTo>
                      <a:lnTo>
                        <a:pt x="1021" y="598"/>
                      </a:lnTo>
                      <a:lnTo>
                        <a:pt x="1021" y="600"/>
                      </a:lnTo>
                      <a:lnTo>
                        <a:pt x="1023" y="601"/>
                      </a:lnTo>
                      <a:lnTo>
                        <a:pt x="1023" y="603"/>
                      </a:lnTo>
                      <a:lnTo>
                        <a:pt x="1021" y="605"/>
                      </a:lnTo>
                      <a:lnTo>
                        <a:pt x="1023" y="606"/>
                      </a:lnTo>
                      <a:lnTo>
                        <a:pt x="1021" y="608"/>
                      </a:lnTo>
                      <a:lnTo>
                        <a:pt x="1021" y="610"/>
                      </a:lnTo>
                      <a:lnTo>
                        <a:pt x="1020" y="610"/>
                      </a:lnTo>
                      <a:lnTo>
                        <a:pt x="1020" y="611"/>
                      </a:lnTo>
                      <a:lnTo>
                        <a:pt x="1020" y="613"/>
                      </a:lnTo>
                      <a:lnTo>
                        <a:pt x="1021" y="613"/>
                      </a:lnTo>
                      <a:lnTo>
                        <a:pt x="1021" y="615"/>
                      </a:lnTo>
                      <a:lnTo>
                        <a:pt x="1021" y="616"/>
                      </a:lnTo>
                      <a:lnTo>
                        <a:pt x="1021" y="618"/>
                      </a:lnTo>
                      <a:lnTo>
                        <a:pt x="1023" y="620"/>
                      </a:lnTo>
                      <a:lnTo>
                        <a:pt x="1023" y="621"/>
                      </a:lnTo>
                      <a:lnTo>
                        <a:pt x="1023" y="623"/>
                      </a:lnTo>
                      <a:lnTo>
                        <a:pt x="1021" y="624"/>
                      </a:lnTo>
                      <a:lnTo>
                        <a:pt x="1020" y="626"/>
                      </a:lnTo>
                      <a:lnTo>
                        <a:pt x="1018" y="626"/>
                      </a:lnTo>
                      <a:lnTo>
                        <a:pt x="1016" y="624"/>
                      </a:lnTo>
                      <a:lnTo>
                        <a:pt x="1015" y="624"/>
                      </a:lnTo>
                      <a:lnTo>
                        <a:pt x="1015" y="626"/>
                      </a:lnTo>
                      <a:lnTo>
                        <a:pt x="1016" y="628"/>
                      </a:lnTo>
                      <a:lnTo>
                        <a:pt x="1016" y="629"/>
                      </a:lnTo>
                      <a:lnTo>
                        <a:pt x="1015" y="629"/>
                      </a:lnTo>
                      <a:lnTo>
                        <a:pt x="1015" y="631"/>
                      </a:lnTo>
                      <a:lnTo>
                        <a:pt x="1013" y="631"/>
                      </a:lnTo>
                      <a:lnTo>
                        <a:pt x="1015" y="633"/>
                      </a:lnTo>
                      <a:lnTo>
                        <a:pt x="1013" y="633"/>
                      </a:lnTo>
                      <a:lnTo>
                        <a:pt x="1013" y="634"/>
                      </a:lnTo>
                      <a:lnTo>
                        <a:pt x="1011" y="636"/>
                      </a:lnTo>
                      <a:lnTo>
                        <a:pt x="1011" y="638"/>
                      </a:lnTo>
                      <a:lnTo>
                        <a:pt x="1010" y="639"/>
                      </a:lnTo>
                      <a:lnTo>
                        <a:pt x="1010" y="641"/>
                      </a:lnTo>
                      <a:lnTo>
                        <a:pt x="1010" y="643"/>
                      </a:lnTo>
                      <a:lnTo>
                        <a:pt x="1010" y="644"/>
                      </a:lnTo>
                      <a:lnTo>
                        <a:pt x="1010" y="646"/>
                      </a:lnTo>
                      <a:lnTo>
                        <a:pt x="1010" y="647"/>
                      </a:lnTo>
                      <a:lnTo>
                        <a:pt x="1008" y="647"/>
                      </a:lnTo>
                      <a:lnTo>
                        <a:pt x="1008" y="649"/>
                      </a:lnTo>
                      <a:lnTo>
                        <a:pt x="1008" y="651"/>
                      </a:lnTo>
                      <a:lnTo>
                        <a:pt x="1008" y="652"/>
                      </a:lnTo>
                      <a:lnTo>
                        <a:pt x="1008" y="654"/>
                      </a:lnTo>
                      <a:lnTo>
                        <a:pt x="1008" y="656"/>
                      </a:lnTo>
                      <a:lnTo>
                        <a:pt x="1010" y="656"/>
                      </a:lnTo>
                      <a:lnTo>
                        <a:pt x="1010" y="657"/>
                      </a:lnTo>
                      <a:lnTo>
                        <a:pt x="1010" y="659"/>
                      </a:lnTo>
                      <a:lnTo>
                        <a:pt x="1010" y="661"/>
                      </a:lnTo>
                      <a:lnTo>
                        <a:pt x="1011" y="662"/>
                      </a:lnTo>
                      <a:lnTo>
                        <a:pt x="1010" y="664"/>
                      </a:lnTo>
                      <a:lnTo>
                        <a:pt x="1008" y="666"/>
                      </a:lnTo>
                      <a:lnTo>
                        <a:pt x="1008" y="667"/>
                      </a:lnTo>
                      <a:lnTo>
                        <a:pt x="1008" y="669"/>
                      </a:lnTo>
                      <a:lnTo>
                        <a:pt x="1008" y="670"/>
                      </a:lnTo>
                      <a:lnTo>
                        <a:pt x="1008" y="672"/>
                      </a:lnTo>
                      <a:lnTo>
                        <a:pt x="1006" y="672"/>
                      </a:lnTo>
                      <a:lnTo>
                        <a:pt x="1006" y="674"/>
                      </a:lnTo>
                      <a:lnTo>
                        <a:pt x="1006" y="675"/>
                      </a:lnTo>
                      <a:lnTo>
                        <a:pt x="1005" y="675"/>
                      </a:lnTo>
                      <a:lnTo>
                        <a:pt x="1005" y="677"/>
                      </a:lnTo>
                      <a:lnTo>
                        <a:pt x="1005" y="679"/>
                      </a:lnTo>
                      <a:lnTo>
                        <a:pt x="1005" y="680"/>
                      </a:lnTo>
                      <a:lnTo>
                        <a:pt x="1003" y="680"/>
                      </a:lnTo>
                      <a:lnTo>
                        <a:pt x="1003" y="682"/>
                      </a:lnTo>
                      <a:lnTo>
                        <a:pt x="1003" y="684"/>
                      </a:lnTo>
                      <a:lnTo>
                        <a:pt x="1003" y="685"/>
                      </a:lnTo>
                      <a:lnTo>
                        <a:pt x="1003" y="687"/>
                      </a:lnTo>
                      <a:lnTo>
                        <a:pt x="1001" y="689"/>
                      </a:lnTo>
                      <a:lnTo>
                        <a:pt x="1000" y="690"/>
                      </a:lnTo>
                      <a:lnTo>
                        <a:pt x="1000" y="692"/>
                      </a:lnTo>
                      <a:lnTo>
                        <a:pt x="1000" y="693"/>
                      </a:lnTo>
                      <a:lnTo>
                        <a:pt x="1000" y="695"/>
                      </a:lnTo>
                      <a:lnTo>
                        <a:pt x="1000" y="697"/>
                      </a:lnTo>
                      <a:lnTo>
                        <a:pt x="1000" y="698"/>
                      </a:lnTo>
                      <a:lnTo>
                        <a:pt x="998" y="698"/>
                      </a:lnTo>
                      <a:lnTo>
                        <a:pt x="998" y="700"/>
                      </a:lnTo>
                      <a:lnTo>
                        <a:pt x="996" y="700"/>
                      </a:lnTo>
                      <a:lnTo>
                        <a:pt x="994" y="700"/>
                      </a:lnTo>
                      <a:lnTo>
                        <a:pt x="993" y="702"/>
                      </a:lnTo>
                      <a:lnTo>
                        <a:pt x="993" y="703"/>
                      </a:lnTo>
                      <a:lnTo>
                        <a:pt x="993" y="705"/>
                      </a:lnTo>
                      <a:lnTo>
                        <a:pt x="991" y="705"/>
                      </a:lnTo>
                      <a:lnTo>
                        <a:pt x="989" y="707"/>
                      </a:lnTo>
                      <a:lnTo>
                        <a:pt x="988" y="707"/>
                      </a:lnTo>
                      <a:lnTo>
                        <a:pt x="986" y="708"/>
                      </a:lnTo>
                      <a:lnTo>
                        <a:pt x="984" y="710"/>
                      </a:lnTo>
                      <a:lnTo>
                        <a:pt x="981" y="710"/>
                      </a:lnTo>
                      <a:lnTo>
                        <a:pt x="979" y="710"/>
                      </a:lnTo>
                      <a:lnTo>
                        <a:pt x="979" y="708"/>
                      </a:lnTo>
                      <a:lnTo>
                        <a:pt x="979" y="707"/>
                      </a:lnTo>
                      <a:lnTo>
                        <a:pt x="979" y="705"/>
                      </a:lnTo>
                      <a:lnTo>
                        <a:pt x="978" y="705"/>
                      </a:lnTo>
                      <a:lnTo>
                        <a:pt x="978" y="703"/>
                      </a:lnTo>
                      <a:lnTo>
                        <a:pt x="976" y="703"/>
                      </a:lnTo>
                      <a:lnTo>
                        <a:pt x="974" y="705"/>
                      </a:lnTo>
                      <a:lnTo>
                        <a:pt x="974" y="707"/>
                      </a:lnTo>
                      <a:lnTo>
                        <a:pt x="972" y="707"/>
                      </a:lnTo>
                      <a:lnTo>
                        <a:pt x="971" y="707"/>
                      </a:lnTo>
                      <a:lnTo>
                        <a:pt x="969" y="707"/>
                      </a:lnTo>
                      <a:lnTo>
                        <a:pt x="967" y="707"/>
                      </a:lnTo>
                      <a:lnTo>
                        <a:pt x="966" y="707"/>
                      </a:lnTo>
                      <a:lnTo>
                        <a:pt x="966" y="708"/>
                      </a:lnTo>
                      <a:lnTo>
                        <a:pt x="964" y="710"/>
                      </a:lnTo>
                      <a:lnTo>
                        <a:pt x="962" y="711"/>
                      </a:lnTo>
                      <a:lnTo>
                        <a:pt x="961" y="711"/>
                      </a:lnTo>
                      <a:lnTo>
                        <a:pt x="959" y="711"/>
                      </a:lnTo>
                      <a:lnTo>
                        <a:pt x="957" y="711"/>
                      </a:lnTo>
                      <a:lnTo>
                        <a:pt x="957" y="713"/>
                      </a:lnTo>
                      <a:lnTo>
                        <a:pt x="956" y="713"/>
                      </a:lnTo>
                      <a:lnTo>
                        <a:pt x="956" y="715"/>
                      </a:lnTo>
                      <a:lnTo>
                        <a:pt x="956" y="716"/>
                      </a:lnTo>
                      <a:lnTo>
                        <a:pt x="954" y="716"/>
                      </a:lnTo>
                      <a:lnTo>
                        <a:pt x="952" y="716"/>
                      </a:lnTo>
                      <a:lnTo>
                        <a:pt x="952" y="718"/>
                      </a:lnTo>
                      <a:lnTo>
                        <a:pt x="952" y="720"/>
                      </a:lnTo>
                      <a:lnTo>
                        <a:pt x="951" y="720"/>
                      </a:lnTo>
                      <a:lnTo>
                        <a:pt x="951" y="721"/>
                      </a:lnTo>
                      <a:lnTo>
                        <a:pt x="949" y="721"/>
                      </a:lnTo>
                      <a:lnTo>
                        <a:pt x="947" y="721"/>
                      </a:lnTo>
                      <a:lnTo>
                        <a:pt x="945" y="723"/>
                      </a:lnTo>
                      <a:lnTo>
                        <a:pt x="945" y="725"/>
                      </a:lnTo>
                      <a:lnTo>
                        <a:pt x="945" y="726"/>
                      </a:lnTo>
                      <a:lnTo>
                        <a:pt x="944" y="728"/>
                      </a:lnTo>
                      <a:lnTo>
                        <a:pt x="944" y="730"/>
                      </a:lnTo>
                      <a:lnTo>
                        <a:pt x="945" y="730"/>
                      </a:lnTo>
                      <a:lnTo>
                        <a:pt x="945" y="731"/>
                      </a:lnTo>
                      <a:lnTo>
                        <a:pt x="944" y="733"/>
                      </a:lnTo>
                      <a:lnTo>
                        <a:pt x="942" y="733"/>
                      </a:lnTo>
                      <a:lnTo>
                        <a:pt x="942" y="734"/>
                      </a:lnTo>
                      <a:lnTo>
                        <a:pt x="942" y="736"/>
                      </a:lnTo>
                      <a:lnTo>
                        <a:pt x="942" y="738"/>
                      </a:lnTo>
                      <a:lnTo>
                        <a:pt x="944" y="739"/>
                      </a:lnTo>
                      <a:lnTo>
                        <a:pt x="944" y="741"/>
                      </a:lnTo>
                      <a:lnTo>
                        <a:pt x="942" y="743"/>
                      </a:lnTo>
                      <a:lnTo>
                        <a:pt x="942" y="744"/>
                      </a:lnTo>
                      <a:lnTo>
                        <a:pt x="940" y="744"/>
                      </a:lnTo>
                      <a:lnTo>
                        <a:pt x="942" y="746"/>
                      </a:lnTo>
                      <a:lnTo>
                        <a:pt x="940" y="748"/>
                      </a:lnTo>
                      <a:lnTo>
                        <a:pt x="940" y="749"/>
                      </a:lnTo>
                      <a:lnTo>
                        <a:pt x="940" y="751"/>
                      </a:lnTo>
                      <a:lnTo>
                        <a:pt x="940" y="753"/>
                      </a:lnTo>
                      <a:lnTo>
                        <a:pt x="939" y="753"/>
                      </a:lnTo>
                      <a:lnTo>
                        <a:pt x="937" y="753"/>
                      </a:lnTo>
                      <a:lnTo>
                        <a:pt x="937" y="754"/>
                      </a:lnTo>
                      <a:lnTo>
                        <a:pt x="939" y="756"/>
                      </a:lnTo>
                      <a:lnTo>
                        <a:pt x="939" y="757"/>
                      </a:lnTo>
                      <a:lnTo>
                        <a:pt x="937" y="757"/>
                      </a:lnTo>
                      <a:lnTo>
                        <a:pt x="935" y="757"/>
                      </a:lnTo>
                      <a:lnTo>
                        <a:pt x="935" y="756"/>
                      </a:lnTo>
                      <a:lnTo>
                        <a:pt x="934" y="756"/>
                      </a:lnTo>
                      <a:lnTo>
                        <a:pt x="934" y="757"/>
                      </a:lnTo>
                      <a:lnTo>
                        <a:pt x="935" y="762"/>
                      </a:lnTo>
                      <a:lnTo>
                        <a:pt x="935" y="764"/>
                      </a:lnTo>
                      <a:lnTo>
                        <a:pt x="935" y="766"/>
                      </a:lnTo>
                      <a:lnTo>
                        <a:pt x="932" y="771"/>
                      </a:lnTo>
                      <a:lnTo>
                        <a:pt x="932" y="772"/>
                      </a:lnTo>
                      <a:lnTo>
                        <a:pt x="930" y="772"/>
                      </a:lnTo>
                      <a:lnTo>
                        <a:pt x="932" y="772"/>
                      </a:lnTo>
                      <a:lnTo>
                        <a:pt x="930" y="774"/>
                      </a:lnTo>
                      <a:lnTo>
                        <a:pt x="929" y="776"/>
                      </a:lnTo>
                      <a:lnTo>
                        <a:pt x="927" y="777"/>
                      </a:lnTo>
                      <a:lnTo>
                        <a:pt x="925" y="779"/>
                      </a:lnTo>
                      <a:lnTo>
                        <a:pt x="925" y="780"/>
                      </a:lnTo>
                      <a:lnTo>
                        <a:pt x="924" y="780"/>
                      </a:lnTo>
                      <a:lnTo>
                        <a:pt x="924" y="782"/>
                      </a:lnTo>
                      <a:lnTo>
                        <a:pt x="922" y="782"/>
                      </a:lnTo>
                      <a:lnTo>
                        <a:pt x="920" y="780"/>
                      </a:lnTo>
                      <a:lnTo>
                        <a:pt x="918" y="780"/>
                      </a:lnTo>
                      <a:lnTo>
                        <a:pt x="917" y="780"/>
                      </a:lnTo>
                      <a:lnTo>
                        <a:pt x="917" y="782"/>
                      </a:lnTo>
                      <a:lnTo>
                        <a:pt x="917" y="784"/>
                      </a:lnTo>
                      <a:lnTo>
                        <a:pt x="915" y="784"/>
                      </a:lnTo>
                      <a:lnTo>
                        <a:pt x="913" y="784"/>
                      </a:lnTo>
                      <a:lnTo>
                        <a:pt x="913" y="785"/>
                      </a:lnTo>
                      <a:lnTo>
                        <a:pt x="913" y="787"/>
                      </a:lnTo>
                      <a:lnTo>
                        <a:pt x="912" y="787"/>
                      </a:lnTo>
                      <a:lnTo>
                        <a:pt x="910" y="789"/>
                      </a:lnTo>
                      <a:lnTo>
                        <a:pt x="910" y="787"/>
                      </a:lnTo>
                      <a:lnTo>
                        <a:pt x="908" y="789"/>
                      </a:lnTo>
                      <a:lnTo>
                        <a:pt x="907" y="789"/>
                      </a:lnTo>
                      <a:lnTo>
                        <a:pt x="907" y="787"/>
                      </a:lnTo>
                      <a:lnTo>
                        <a:pt x="905" y="787"/>
                      </a:lnTo>
                      <a:lnTo>
                        <a:pt x="903" y="787"/>
                      </a:lnTo>
                      <a:lnTo>
                        <a:pt x="903" y="789"/>
                      </a:lnTo>
                      <a:lnTo>
                        <a:pt x="903" y="787"/>
                      </a:lnTo>
                      <a:lnTo>
                        <a:pt x="902" y="787"/>
                      </a:lnTo>
                      <a:lnTo>
                        <a:pt x="900" y="789"/>
                      </a:lnTo>
                      <a:lnTo>
                        <a:pt x="898" y="789"/>
                      </a:lnTo>
                      <a:lnTo>
                        <a:pt x="896" y="789"/>
                      </a:lnTo>
                      <a:lnTo>
                        <a:pt x="895" y="787"/>
                      </a:lnTo>
                      <a:lnTo>
                        <a:pt x="893" y="787"/>
                      </a:lnTo>
                      <a:lnTo>
                        <a:pt x="893" y="789"/>
                      </a:lnTo>
                      <a:lnTo>
                        <a:pt x="891" y="789"/>
                      </a:lnTo>
                      <a:lnTo>
                        <a:pt x="890" y="789"/>
                      </a:lnTo>
                      <a:lnTo>
                        <a:pt x="888" y="789"/>
                      </a:lnTo>
                      <a:lnTo>
                        <a:pt x="888" y="790"/>
                      </a:lnTo>
                      <a:lnTo>
                        <a:pt x="888" y="792"/>
                      </a:lnTo>
                      <a:lnTo>
                        <a:pt x="888" y="794"/>
                      </a:lnTo>
                      <a:lnTo>
                        <a:pt x="886" y="794"/>
                      </a:lnTo>
                      <a:lnTo>
                        <a:pt x="885" y="795"/>
                      </a:lnTo>
                      <a:lnTo>
                        <a:pt x="885" y="797"/>
                      </a:lnTo>
                      <a:lnTo>
                        <a:pt x="885" y="799"/>
                      </a:lnTo>
                      <a:lnTo>
                        <a:pt x="883" y="799"/>
                      </a:lnTo>
                      <a:lnTo>
                        <a:pt x="883" y="800"/>
                      </a:lnTo>
                      <a:lnTo>
                        <a:pt x="883" y="802"/>
                      </a:lnTo>
                      <a:lnTo>
                        <a:pt x="881" y="802"/>
                      </a:lnTo>
                      <a:lnTo>
                        <a:pt x="883" y="802"/>
                      </a:lnTo>
                      <a:lnTo>
                        <a:pt x="881" y="803"/>
                      </a:lnTo>
                      <a:lnTo>
                        <a:pt x="881" y="805"/>
                      </a:lnTo>
                      <a:lnTo>
                        <a:pt x="880" y="805"/>
                      </a:lnTo>
                      <a:lnTo>
                        <a:pt x="880" y="807"/>
                      </a:lnTo>
                      <a:lnTo>
                        <a:pt x="878" y="805"/>
                      </a:lnTo>
                      <a:lnTo>
                        <a:pt x="878" y="807"/>
                      </a:lnTo>
                      <a:lnTo>
                        <a:pt x="876" y="807"/>
                      </a:lnTo>
                      <a:lnTo>
                        <a:pt x="875" y="807"/>
                      </a:lnTo>
                      <a:lnTo>
                        <a:pt x="873" y="807"/>
                      </a:lnTo>
                      <a:lnTo>
                        <a:pt x="873" y="808"/>
                      </a:lnTo>
                      <a:lnTo>
                        <a:pt x="871" y="808"/>
                      </a:lnTo>
                      <a:lnTo>
                        <a:pt x="869" y="808"/>
                      </a:lnTo>
                      <a:lnTo>
                        <a:pt x="869" y="810"/>
                      </a:lnTo>
                      <a:lnTo>
                        <a:pt x="868" y="810"/>
                      </a:lnTo>
                      <a:lnTo>
                        <a:pt x="866" y="810"/>
                      </a:lnTo>
                      <a:lnTo>
                        <a:pt x="866" y="812"/>
                      </a:lnTo>
                      <a:lnTo>
                        <a:pt x="864" y="812"/>
                      </a:lnTo>
                      <a:lnTo>
                        <a:pt x="864" y="810"/>
                      </a:lnTo>
                      <a:lnTo>
                        <a:pt x="863" y="810"/>
                      </a:lnTo>
                      <a:lnTo>
                        <a:pt x="863" y="812"/>
                      </a:lnTo>
                      <a:lnTo>
                        <a:pt x="863" y="813"/>
                      </a:lnTo>
                      <a:lnTo>
                        <a:pt x="861" y="813"/>
                      </a:lnTo>
                      <a:lnTo>
                        <a:pt x="861" y="815"/>
                      </a:lnTo>
                      <a:lnTo>
                        <a:pt x="861" y="817"/>
                      </a:lnTo>
                      <a:lnTo>
                        <a:pt x="861" y="818"/>
                      </a:lnTo>
                      <a:lnTo>
                        <a:pt x="861" y="820"/>
                      </a:lnTo>
                      <a:lnTo>
                        <a:pt x="859" y="818"/>
                      </a:lnTo>
                      <a:lnTo>
                        <a:pt x="859" y="820"/>
                      </a:lnTo>
                      <a:lnTo>
                        <a:pt x="859" y="822"/>
                      </a:lnTo>
                      <a:lnTo>
                        <a:pt x="861" y="822"/>
                      </a:lnTo>
                      <a:lnTo>
                        <a:pt x="861" y="823"/>
                      </a:lnTo>
                      <a:lnTo>
                        <a:pt x="859" y="823"/>
                      </a:lnTo>
                      <a:lnTo>
                        <a:pt x="858" y="822"/>
                      </a:lnTo>
                      <a:lnTo>
                        <a:pt x="858" y="823"/>
                      </a:lnTo>
                      <a:lnTo>
                        <a:pt x="856" y="823"/>
                      </a:lnTo>
                      <a:lnTo>
                        <a:pt x="854" y="823"/>
                      </a:lnTo>
                      <a:lnTo>
                        <a:pt x="854" y="825"/>
                      </a:lnTo>
                      <a:lnTo>
                        <a:pt x="853" y="825"/>
                      </a:lnTo>
                      <a:lnTo>
                        <a:pt x="851" y="825"/>
                      </a:lnTo>
                      <a:lnTo>
                        <a:pt x="849" y="825"/>
                      </a:lnTo>
                      <a:lnTo>
                        <a:pt x="849" y="826"/>
                      </a:lnTo>
                      <a:lnTo>
                        <a:pt x="848" y="826"/>
                      </a:lnTo>
                      <a:lnTo>
                        <a:pt x="848" y="828"/>
                      </a:lnTo>
                      <a:lnTo>
                        <a:pt x="848" y="830"/>
                      </a:lnTo>
                      <a:lnTo>
                        <a:pt x="848" y="831"/>
                      </a:lnTo>
                      <a:lnTo>
                        <a:pt x="848" y="833"/>
                      </a:lnTo>
                      <a:lnTo>
                        <a:pt x="848" y="835"/>
                      </a:lnTo>
                      <a:lnTo>
                        <a:pt x="849" y="836"/>
                      </a:lnTo>
                      <a:lnTo>
                        <a:pt x="851" y="836"/>
                      </a:lnTo>
                      <a:lnTo>
                        <a:pt x="853" y="836"/>
                      </a:lnTo>
                      <a:lnTo>
                        <a:pt x="851" y="838"/>
                      </a:lnTo>
                      <a:lnTo>
                        <a:pt x="853" y="838"/>
                      </a:lnTo>
                      <a:lnTo>
                        <a:pt x="853" y="840"/>
                      </a:lnTo>
                      <a:lnTo>
                        <a:pt x="854" y="840"/>
                      </a:lnTo>
                      <a:lnTo>
                        <a:pt x="854" y="841"/>
                      </a:lnTo>
                      <a:lnTo>
                        <a:pt x="856" y="841"/>
                      </a:lnTo>
                      <a:lnTo>
                        <a:pt x="854" y="841"/>
                      </a:lnTo>
                      <a:lnTo>
                        <a:pt x="854" y="843"/>
                      </a:lnTo>
                      <a:lnTo>
                        <a:pt x="856" y="843"/>
                      </a:lnTo>
                      <a:lnTo>
                        <a:pt x="854" y="843"/>
                      </a:lnTo>
                      <a:lnTo>
                        <a:pt x="856" y="843"/>
                      </a:lnTo>
                      <a:lnTo>
                        <a:pt x="854" y="845"/>
                      </a:lnTo>
                      <a:lnTo>
                        <a:pt x="853" y="845"/>
                      </a:lnTo>
                      <a:lnTo>
                        <a:pt x="853" y="846"/>
                      </a:lnTo>
                      <a:lnTo>
                        <a:pt x="853" y="848"/>
                      </a:lnTo>
                      <a:lnTo>
                        <a:pt x="853" y="849"/>
                      </a:lnTo>
                      <a:lnTo>
                        <a:pt x="851" y="849"/>
                      </a:lnTo>
                      <a:lnTo>
                        <a:pt x="851" y="848"/>
                      </a:lnTo>
                      <a:lnTo>
                        <a:pt x="851" y="849"/>
                      </a:lnTo>
                      <a:lnTo>
                        <a:pt x="849" y="849"/>
                      </a:lnTo>
                      <a:lnTo>
                        <a:pt x="849" y="851"/>
                      </a:lnTo>
                      <a:lnTo>
                        <a:pt x="849" y="853"/>
                      </a:lnTo>
                      <a:lnTo>
                        <a:pt x="848" y="853"/>
                      </a:lnTo>
                      <a:lnTo>
                        <a:pt x="848" y="851"/>
                      </a:lnTo>
                      <a:lnTo>
                        <a:pt x="846" y="851"/>
                      </a:lnTo>
                      <a:lnTo>
                        <a:pt x="846" y="853"/>
                      </a:lnTo>
                      <a:lnTo>
                        <a:pt x="844" y="853"/>
                      </a:lnTo>
                      <a:lnTo>
                        <a:pt x="842" y="853"/>
                      </a:lnTo>
                      <a:lnTo>
                        <a:pt x="842" y="854"/>
                      </a:lnTo>
                      <a:lnTo>
                        <a:pt x="844" y="854"/>
                      </a:lnTo>
                      <a:lnTo>
                        <a:pt x="844" y="856"/>
                      </a:lnTo>
                      <a:lnTo>
                        <a:pt x="844" y="858"/>
                      </a:lnTo>
                      <a:lnTo>
                        <a:pt x="842" y="856"/>
                      </a:lnTo>
                      <a:lnTo>
                        <a:pt x="842" y="858"/>
                      </a:lnTo>
                      <a:lnTo>
                        <a:pt x="842" y="859"/>
                      </a:lnTo>
                      <a:lnTo>
                        <a:pt x="841" y="859"/>
                      </a:lnTo>
                      <a:lnTo>
                        <a:pt x="839" y="859"/>
                      </a:lnTo>
                      <a:lnTo>
                        <a:pt x="839" y="861"/>
                      </a:lnTo>
                      <a:lnTo>
                        <a:pt x="841" y="859"/>
                      </a:lnTo>
                      <a:lnTo>
                        <a:pt x="841" y="861"/>
                      </a:lnTo>
                      <a:lnTo>
                        <a:pt x="841" y="863"/>
                      </a:lnTo>
                      <a:lnTo>
                        <a:pt x="841" y="864"/>
                      </a:lnTo>
                      <a:lnTo>
                        <a:pt x="839" y="863"/>
                      </a:lnTo>
                      <a:lnTo>
                        <a:pt x="839" y="864"/>
                      </a:lnTo>
                      <a:lnTo>
                        <a:pt x="837" y="864"/>
                      </a:lnTo>
                      <a:lnTo>
                        <a:pt x="837" y="866"/>
                      </a:lnTo>
                      <a:lnTo>
                        <a:pt x="837" y="868"/>
                      </a:lnTo>
                      <a:lnTo>
                        <a:pt x="836" y="868"/>
                      </a:lnTo>
                      <a:lnTo>
                        <a:pt x="836" y="866"/>
                      </a:lnTo>
                      <a:lnTo>
                        <a:pt x="836" y="868"/>
                      </a:lnTo>
                      <a:lnTo>
                        <a:pt x="834" y="868"/>
                      </a:lnTo>
                      <a:lnTo>
                        <a:pt x="834" y="869"/>
                      </a:lnTo>
                      <a:lnTo>
                        <a:pt x="832" y="869"/>
                      </a:lnTo>
                      <a:lnTo>
                        <a:pt x="831" y="869"/>
                      </a:lnTo>
                      <a:lnTo>
                        <a:pt x="831" y="871"/>
                      </a:lnTo>
                      <a:lnTo>
                        <a:pt x="829" y="871"/>
                      </a:lnTo>
                      <a:lnTo>
                        <a:pt x="829" y="869"/>
                      </a:lnTo>
                      <a:lnTo>
                        <a:pt x="829" y="871"/>
                      </a:lnTo>
                      <a:lnTo>
                        <a:pt x="827" y="871"/>
                      </a:lnTo>
                      <a:lnTo>
                        <a:pt x="829" y="871"/>
                      </a:lnTo>
                      <a:lnTo>
                        <a:pt x="827" y="871"/>
                      </a:lnTo>
                      <a:lnTo>
                        <a:pt x="827" y="872"/>
                      </a:lnTo>
                      <a:lnTo>
                        <a:pt x="826" y="872"/>
                      </a:lnTo>
                      <a:lnTo>
                        <a:pt x="826" y="874"/>
                      </a:lnTo>
                      <a:lnTo>
                        <a:pt x="824" y="874"/>
                      </a:lnTo>
                      <a:lnTo>
                        <a:pt x="826" y="874"/>
                      </a:lnTo>
                      <a:lnTo>
                        <a:pt x="826" y="872"/>
                      </a:lnTo>
                      <a:lnTo>
                        <a:pt x="824" y="872"/>
                      </a:lnTo>
                      <a:lnTo>
                        <a:pt x="824" y="874"/>
                      </a:lnTo>
                      <a:lnTo>
                        <a:pt x="824" y="876"/>
                      </a:lnTo>
                      <a:lnTo>
                        <a:pt x="822" y="876"/>
                      </a:lnTo>
                      <a:lnTo>
                        <a:pt x="824" y="877"/>
                      </a:lnTo>
                      <a:lnTo>
                        <a:pt x="822" y="877"/>
                      </a:lnTo>
                      <a:lnTo>
                        <a:pt x="820" y="877"/>
                      </a:lnTo>
                      <a:lnTo>
                        <a:pt x="822" y="877"/>
                      </a:lnTo>
                      <a:lnTo>
                        <a:pt x="820" y="879"/>
                      </a:lnTo>
                      <a:lnTo>
                        <a:pt x="820" y="877"/>
                      </a:lnTo>
                      <a:lnTo>
                        <a:pt x="819" y="877"/>
                      </a:lnTo>
                      <a:lnTo>
                        <a:pt x="819" y="879"/>
                      </a:lnTo>
                      <a:lnTo>
                        <a:pt x="819" y="877"/>
                      </a:lnTo>
                      <a:lnTo>
                        <a:pt x="817" y="877"/>
                      </a:lnTo>
                      <a:lnTo>
                        <a:pt x="817" y="879"/>
                      </a:lnTo>
                      <a:lnTo>
                        <a:pt x="815" y="879"/>
                      </a:lnTo>
                      <a:lnTo>
                        <a:pt x="817" y="879"/>
                      </a:lnTo>
                      <a:lnTo>
                        <a:pt x="815" y="881"/>
                      </a:lnTo>
                      <a:lnTo>
                        <a:pt x="815" y="882"/>
                      </a:lnTo>
                      <a:lnTo>
                        <a:pt x="814" y="882"/>
                      </a:lnTo>
                      <a:lnTo>
                        <a:pt x="814" y="884"/>
                      </a:lnTo>
                      <a:lnTo>
                        <a:pt x="815" y="884"/>
                      </a:lnTo>
                      <a:lnTo>
                        <a:pt x="814" y="884"/>
                      </a:lnTo>
                      <a:lnTo>
                        <a:pt x="814" y="886"/>
                      </a:lnTo>
                      <a:lnTo>
                        <a:pt x="814" y="887"/>
                      </a:lnTo>
                      <a:lnTo>
                        <a:pt x="812" y="887"/>
                      </a:lnTo>
                      <a:lnTo>
                        <a:pt x="812" y="889"/>
                      </a:lnTo>
                      <a:lnTo>
                        <a:pt x="814" y="891"/>
                      </a:lnTo>
                      <a:lnTo>
                        <a:pt x="812" y="891"/>
                      </a:lnTo>
                      <a:lnTo>
                        <a:pt x="812" y="892"/>
                      </a:lnTo>
                      <a:lnTo>
                        <a:pt x="812" y="894"/>
                      </a:lnTo>
                      <a:lnTo>
                        <a:pt x="810" y="894"/>
                      </a:lnTo>
                      <a:lnTo>
                        <a:pt x="812" y="894"/>
                      </a:lnTo>
                      <a:lnTo>
                        <a:pt x="810" y="894"/>
                      </a:lnTo>
                      <a:lnTo>
                        <a:pt x="810" y="895"/>
                      </a:lnTo>
                      <a:lnTo>
                        <a:pt x="812" y="895"/>
                      </a:lnTo>
                      <a:lnTo>
                        <a:pt x="812" y="897"/>
                      </a:lnTo>
                      <a:lnTo>
                        <a:pt x="810" y="897"/>
                      </a:lnTo>
                      <a:lnTo>
                        <a:pt x="810" y="899"/>
                      </a:lnTo>
                      <a:lnTo>
                        <a:pt x="810" y="897"/>
                      </a:lnTo>
                      <a:lnTo>
                        <a:pt x="810" y="899"/>
                      </a:lnTo>
                      <a:lnTo>
                        <a:pt x="809" y="899"/>
                      </a:lnTo>
                      <a:lnTo>
                        <a:pt x="810" y="899"/>
                      </a:lnTo>
                      <a:lnTo>
                        <a:pt x="809" y="899"/>
                      </a:lnTo>
                      <a:lnTo>
                        <a:pt x="809" y="900"/>
                      </a:lnTo>
                      <a:lnTo>
                        <a:pt x="809" y="899"/>
                      </a:lnTo>
                      <a:lnTo>
                        <a:pt x="809" y="900"/>
                      </a:lnTo>
                      <a:lnTo>
                        <a:pt x="807" y="900"/>
                      </a:lnTo>
                      <a:lnTo>
                        <a:pt x="807" y="902"/>
                      </a:lnTo>
                      <a:lnTo>
                        <a:pt x="807" y="904"/>
                      </a:lnTo>
                      <a:lnTo>
                        <a:pt x="805" y="904"/>
                      </a:lnTo>
                      <a:lnTo>
                        <a:pt x="805" y="905"/>
                      </a:lnTo>
                      <a:lnTo>
                        <a:pt x="804" y="905"/>
                      </a:lnTo>
                      <a:lnTo>
                        <a:pt x="804" y="907"/>
                      </a:lnTo>
                      <a:lnTo>
                        <a:pt x="804" y="905"/>
                      </a:lnTo>
                      <a:lnTo>
                        <a:pt x="804" y="907"/>
                      </a:lnTo>
                      <a:lnTo>
                        <a:pt x="802" y="907"/>
                      </a:lnTo>
                      <a:lnTo>
                        <a:pt x="804" y="907"/>
                      </a:lnTo>
                      <a:lnTo>
                        <a:pt x="804" y="909"/>
                      </a:lnTo>
                      <a:lnTo>
                        <a:pt x="802" y="909"/>
                      </a:lnTo>
                      <a:lnTo>
                        <a:pt x="802" y="910"/>
                      </a:lnTo>
                      <a:lnTo>
                        <a:pt x="802" y="912"/>
                      </a:lnTo>
                      <a:lnTo>
                        <a:pt x="802" y="913"/>
                      </a:lnTo>
                      <a:lnTo>
                        <a:pt x="800" y="913"/>
                      </a:lnTo>
                      <a:lnTo>
                        <a:pt x="800" y="915"/>
                      </a:lnTo>
                      <a:lnTo>
                        <a:pt x="800" y="913"/>
                      </a:lnTo>
                      <a:lnTo>
                        <a:pt x="799" y="915"/>
                      </a:lnTo>
                      <a:lnTo>
                        <a:pt x="799" y="917"/>
                      </a:lnTo>
                      <a:lnTo>
                        <a:pt x="797" y="917"/>
                      </a:lnTo>
                      <a:lnTo>
                        <a:pt x="797" y="918"/>
                      </a:lnTo>
                      <a:lnTo>
                        <a:pt x="799" y="918"/>
                      </a:lnTo>
                      <a:lnTo>
                        <a:pt x="799" y="920"/>
                      </a:lnTo>
                      <a:lnTo>
                        <a:pt x="797" y="918"/>
                      </a:lnTo>
                      <a:lnTo>
                        <a:pt x="797" y="920"/>
                      </a:lnTo>
                      <a:lnTo>
                        <a:pt x="799" y="920"/>
                      </a:lnTo>
                      <a:lnTo>
                        <a:pt x="797" y="920"/>
                      </a:lnTo>
                      <a:lnTo>
                        <a:pt x="799" y="922"/>
                      </a:lnTo>
                      <a:lnTo>
                        <a:pt x="799" y="923"/>
                      </a:lnTo>
                      <a:lnTo>
                        <a:pt x="799" y="925"/>
                      </a:lnTo>
                      <a:lnTo>
                        <a:pt x="799" y="927"/>
                      </a:lnTo>
                      <a:lnTo>
                        <a:pt x="799" y="925"/>
                      </a:lnTo>
                      <a:lnTo>
                        <a:pt x="799" y="927"/>
                      </a:lnTo>
                      <a:lnTo>
                        <a:pt x="797" y="927"/>
                      </a:lnTo>
                      <a:lnTo>
                        <a:pt x="799" y="927"/>
                      </a:lnTo>
                      <a:lnTo>
                        <a:pt x="799" y="928"/>
                      </a:lnTo>
                      <a:lnTo>
                        <a:pt x="797" y="928"/>
                      </a:lnTo>
                      <a:lnTo>
                        <a:pt x="797" y="930"/>
                      </a:lnTo>
                      <a:lnTo>
                        <a:pt x="795" y="930"/>
                      </a:lnTo>
                      <a:lnTo>
                        <a:pt x="797" y="930"/>
                      </a:lnTo>
                      <a:lnTo>
                        <a:pt x="795" y="930"/>
                      </a:lnTo>
                      <a:lnTo>
                        <a:pt x="795" y="932"/>
                      </a:lnTo>
                      <a:lnTo>
                        <a:pt x="797" y="932"/>
                      </a:lnTo>
                      <a:lnTo>
                        <a:pt x="795" y="932"/>
                      </a:lnTo>
                      <a:lnTo>
                        <a:pt x="797" y="932"/>
                      </a:lnTo>
                      <a:lnTo>
                        <a:pt x="797" y="933"/>
                      </a:lnTo>
                      <a:lnTo>
                        <a:pt x="795" y="935"/>
                      </a:lnTo>
                      <a:lnTo>
                        <a:pt x="795" y="936"/>
                      </a:lnTo>
                      <a:lnTo>
                        <a:pt x="795" y="938"/>
                      </a:lnTo>
                      <a:lnTo>
                        <a:pt x="795" y="940"/>
                      </a:lnTo>
                      <a:lnTo>
                        <a:pt x="795" y="941"/>
                      </a:lnTo>
                      <a:lnTo>
                        <a:pt x="793" y="941"/>
                      </a:lnTo>
                      <a:lnTo>
                        <a:pt x="795" y="941"/>
                      </a:lnTo>
                      <a:lnTo>
                        <a:pt x="793" y="943"/>
                      </a:lnTo>
                      <a:lnTo>
                        <a:pt x="795" y="943"/>
                      </a:lnTo>
                      <a:lnTo>
                        <a:pt x="795" y="945"/>
                      </a:lnTo>
                      <a:lnTo>
                        <a:pt x="795" y="946"/>
                      </a:lnTo>
                      <a:lnTo>
                        <a:pt x="793" y="946"/>
                      </a:lnTo>
                      <a:lnTo>
                        <a:pt x="795" y="946"/>
                      </a:lnTo>
                      <a:lnTo>
                        <a:pt x="795" y="948"/>
                      </a:lnTo>
                      <a:lnTo>
                        <a:pt x="793" y="948"/>
                      </a:lnTo>
                      <a:lnTo>
                        <a:pt x="795" y="948"/>
                      </a:lnTo>
                      <a:lnTo>
                        <a:pt x="793" y="948"/>
                      </a:lnTo>
                      <a:lnTo>
                        <a:pt x="795" y="948"/>
                      </a:lnTo>
                      <a:lnTo>
                        <a:pt x="793" y="948"/>
                      </a:lnTo>
                      <a:lnTo>
                        <a:pt x="793" y="950"/>
                      </a:lnTo>
                      <a:lnTo>
                        <a:pt x="793" y="951"/>
                      </a:lnTo>
                      <a:lnTo>
                        <a:pt x="795" y="951"/>
                      </a:lnTo>
                      <a:lnTo>
                        <a:pt x="793" y="951"/>
                      </a:lnTo>
                      <a:lnTo>
                        <a:pt x="795" y="951"/>
                      </a:lnTo>
                      <a:lnTo>
                        <a:pt x="795" y="953"/>
                      </a:lnTo>
                      <a:lnTo>
                        <a:pt x="795" y="955"/>
                      </a:lnTo>
                      <a:lnTo>
                        <a:pt x="795" y="956"/>
                      </a:lnTo>
                      <a:lnTo>
                        <a:pt x="797" y="956"/>
                      </a:lnTo>
                      <a:lnTo>
                        <a:pt x="797" y="958"/>
                      </a:lnTo>
                      <a:lnTo>
                        <a:pt x="797" y="956"/>
                      </a:lnTo>
                      <a:lnTo>
                        <a:pt x="797" y="958"/>
                      </a:lnTo>
                      <a:lnTo>
                        <a:pt x="799" y="958"/>
                      </a:lnTo>
                      <a:lnTo>
                        <a:pt x="799" y="959"/>
                      </a:lnTo>
                      <a:lnTo>
                        <a:pt x="800" y="959"/>
                      </a:lnTo>
                      <a:lnTo>
                        <a:pt x="800" y="961"/>
                      </a:lnTo>
                      <a:lnTo>
                        <a:pt x="802" y="961"/>
                      </a:lnTo>
                      <a:lnTo>
                        <a:pt x="802" y="963"/>
                      </a:lnTo>
                      <a:lnTo>
                        <a:pt x="802" y="964"/>
                      </a:lnTo>
                      <a:lnTo>
                        <a:pt x="804" y="964"/>
                      </a:lnTo>
                      <a:lnTo>
                        <a:pt x="804" y="966"/>
                      </a:lnTo>
                      <a:lnTo>
                        <a:pt x="804" y="968"/>
                      </a:lnTo>
                      <a:lnTo>
                        <a:pt x="805" y="968"/>
                      </a:lnTo>
                      <a:lnTo>
                        <a:pt x="805" y="969"/>
                      </a:lnTo>
                      <a:lnTo>
                        <a:pt x="804" y="969"/>
                      </a:lnTo>
                      <a:lnTo>
                        <a:pt x="805" y="969"/>
                      </a:lnTo>
                      <a:lnTo>
                        <a:pt x="804" y="971"/>
                      </a:lnTo>
                      <a:lnTo>
                        <a:pt x="805" y="971"/>
                      </a:lnTo>
                      <a:lnTo>
                        <a:pt x="805" y="973"/>
                      </a:lnTo>
                      <a:lnTo>
                        <a:pt x="805" y="974"/>
                      </a:lnTo>
                      <a:lnTo>
                        <a:pt x="805" y="976"/>
                      </a:lnTo>
                      <a:lnTo>
                        <a:pt x="807" y="976"/>
                      </a:lnTo>
                      <a:lnTo>
                        <a:pt x="809" y="976"/>
                      </a:lnTo>
                      <a:lnTo>
                        <a:pt x="809" y="978"/>
                      </a:lnTo>
                      <a:lnTo>
                        <a:pt x="810" y="979"/>
                      </a:lnTo>
                      <a:lnTo>
                        <a:pt x="810" y="981"/>
                      </a:lnTo>
                      <a:lnTo>
                        <a:pt x="810" y="982"/>
                      </a:lnTo>
                      <a:lnTo>
                        <a:pt x="810" y="984"/>
                      </a:lnTo>
                      <a:lnTo>
                        <a:pt x="810" y="986"/>
                      </a:lnTo>
                      <a:lnTo>
                        <a:pt x="802" y="986"/>
                      </a:lnTo>
                      <a:lnTo>
                        <a:pt x="800" y="986"/>
                      </a:lnTo>
                      <a:lnTo>
                        <a:pt x="799" y="986"/>
                      </a:lnTo>
                      <a:lnTo>
                        <a:pt x="799" y="984"/>
                      </a:lnTo>
                      <a:lnTo>
                        <a:pt x="797" y="984"/>
                      </a:lnTo>
                      <a:lnTo>
                        <a:pt x="795" y="984"/>
                      </a:lnTo>
                      <a:lnTo>
                        <a:pt x="795" y="982"/>
                      </a:lnTo>
                      <a:lnTo>
                        <a:pt x="790" y="982"/>
                      </a:lnTo>
                      <a:lnTo>
                        <a:pt x="788" y="982"/>
                      </a:lnTo>
                      <a:lnTo>
                        <a:pt x="787" y="982"/>
                      </a:lnTo>
                      <a:lnTo>
                        <a:pt x="787" y="984"/>
                      </a:lnTo>
                      <a:lnTo>
                        <a:pt x="785" y="982"/>
                      </a:lnTo>
                      <a:lnTo>
                        <a:pt x="785" y="984"/>
                      </a:lnTo>
                      <a:lnTo>
                        <a:pt x="785" y="982"/>
                      </a:lnTo>
                      <a:lnTo>
                        <a:pt x="783" y="984"/>
                      </a:lnTo>
                      <a:lnTo>
                        <a:pt x="783" y="982"/>
                      </a:lnTo>
                      <a:lnTo>
                        <a:pt x="783" y="984"/>
                      </a:lnTo>
                      <a:lnTo>
                        <a:pt x="782" y="984"/>
                      </a:lnTo>
                      <a:lnTo>
                        <a:pt x="780" y="982"/>
                      </a:lnTo>
                      <a:lnTo>
                        <a:pt x="778" y="982"/>
                      </a:lnTo>
                      <a:lnTo>
                        <a:pt x="778" y="981"/>
                      </a:lnTo>
                      <a:lnTo>
                        <a:pt x="778" y="982"/>
                      </a:lnTo>
                      <a:lnTo>
                        <a:pt x="778" y="981"/>
                      </a:lnTo>
                      <a:lnTo>
                        <a:pt x="777" y="982"/>
                      </a:lnTo>
                      <a:lnTo>
                        <a:pt x="777" y="981"/>
                      </a:lnTo>
                      <a:lnTo>
                        <a:pt x="777" y="982"/>
                      </a:lnTo>
                      <a:lnTo>
                        <a:pt x="775" y="982"/>
                      </a:lnTo>
                      <a:lnTo>
                        <a:pt x="775" y="984"/>
                      </a:lnTo>
                      <a:lnTo>
                        <a:pt x="773" y="986"/>
                      </a:lnTo>
                      <a:lnTo>
                        <a:pt x="773" y="984"/>
                      </a:lnTo>
                      <a:lnTo>
                        <a:pt x="773" y="986"/>
                      </a:lnTo>
                      <a:lnTo>
                        <a:pt x="771" y="986"/>
                      </a:lnTo>
                      <a:lnTo>
                        <a:pt x="770" y="986"/>
                      </a:lnTo>
                      <a:lnTo>
                        <a:pt x="768" y="984"/>
                      </a:lnTo>
                      <a:lnTo>
                        <a:pt x="766" y="984"/>
                      </a:lnTo>
                      <a:lnTo>
                        <a:pt x="765" y="984"/>
                      </a:lnTo>
                      <a:lnTo>
                        <a:pt x="765" y="982"/>
                      </a:lnTo>
                      <a:lnTo>
                        <a:pt x="763" y="984"/>
                      </a:lnTo>
                      <a:lnTo>
                        <a:pt x="761" y="984"/>
                      </a:lnTo>
                      <a:lnTo>
                        <a:pt x="761" y="982"/>
                      </a:lnTo>
                      <a:lnTo>
                        <a:pt x="760" y="982"/>
                      </a:lnTo>
                      <a:lnTo>
                        <a:pt x="760" y="981"/>
                      </a:lnTo>
                      <a:lnTo>
                        <a:pt x="758" y="981"/>
                      </a:lnTo>
                      <a:lnTo>
                        <a:pt x="756" y="981"/>
                      </a:lnTo>
                      <a:lnTo>
                        <a:pt x="755" y="981"/>
                      </a:lnTo>
                      <a:lnTo>
                        <a:pt x="753" y="982"/>
                      </a:lnTo>
                      <a:lnTo>
                        <a:pt x="755" y="982"/>
                      </a:lnTo>
                      <a:lnTo>
                        <a:pt x="753" y="982"/>
                      </a:lnTo>
                      <a:lnTo>
                        <a:pt x="751" y="984"/>
                      </a:lnTo>
                      <a:lnTo>
                        <a:pt x="753" y="984"/>
                      </a:lnTo>
                      <a:lnTo>
                        <a:pt x="751" y="984"/>
                      </a:lnTo>
                      <a:lnTo>
                        <a:pt x="751" y="982"/>
                      </a:lnTo>
                      <a:lnTo>
                        <a:pt x="751" y="984"/>
                      </a:lnTo>
                      <a:lnTo>
                        <a:pt x="750" y="982"/>
                      </a:lnTo>
                      <a:lnTo>
                        <a:pt x="748" y="982"/>
                      </a:lnTo>
                      <a:lnTo>
                        <a:pt x="746" y="982"/>
                      </a:lnTo>
                      <a:lnTo>
                        <a:pt x="744" y="982"/>
                      </a:lnTo>
                      <a:lnTo>
                        <a:pt x="743" y="982"/>
                      </a:lnTo>
                      <a:lnTo>
                        <a:pt x="743" y="981"/>
                      </a:lnTo>
                      <a:lnTo>
                        <a:pt x="741" y="981"/>
                      </a:lnTo>
                      <a:lnTo>
                        <a:pt x="743" y="981"/>
                      </a:lnTo>
                      <a:lnTo>
                        <a:pt x="741" y="981"/>
                      </a:lnTo>
                      <a:lnTo>
                        <a:pt x="741" y="979"/>
                      </a:lnTo>
                      <a:lnTo>
                        <a:pt x="741" y="981"/>
                      </a:lnTo>
                      <a:lnTo>
                        <a:pt x="741" y="979"/>
                      </a:lnTo>
                      <a:lnTo>
                        <a:pt x="739" y="979"/>
                      </a:lnTo>
                      <a:lnTo>
                        <a:pt x="739" y="978"/>
                      </a:lnTo>
                      <a:lnTo>
                        <a:pt x="738" y="978"/>
                      </a:lnTo>
                      <a:lnTo>
                        <a:pt x="738" y="976"/>
                      </a:lnTo>
                      <a:lnTo>
                        <a:pt x="738" y="978"/>
                      </a:lnTo>
                      <a:lnTo>
                        <a:pt x="738" y="976"/>
                      </a:lnTo>
                      <a:lnTo>
                        <a:pt x="736" y="976"/>
                      </a:lnTo>
                      <a:lnTo>
                        <a:pt x="734" y="976"/>
                      </a:lnTo>
                      <a:lnTo>
                        <a:pt x="736" y="976"/>
                      </a:lnTo>
                      <a:lnTo>
                        <a:pt x="734" y="974"/>
                      </a:lnTo>
                      <a:lnTo>
                        <a:pt x="734" y="976"/>
                      </a:lnTo>
                      <a:lnTo>
                        <a:pt x="734" y="974"/>
                      </a:lnTo>
                      <a:lnTo>
                        <a:pt x="733" y="974"/>
                      </a:lnTo>
                      <a:lnTo>
                        <a:pt x="731" y="974"/>
                      </a:lnTo>
                      <a:lnTo>
                        <a:pt x="731" y="976"/>
                      </a:lnTo>
                      <a:lnTo>
                        <a:pt x="731" y="974"/>
                      </a:lnTo>
                      <a:lnTo>
                        <a:pt x="731" y="976"/>
                      </a:lnTo>
                      <a:lnTo>
                        <a:pt x="729" y="976"/>
                      </a:lnTo>
                      <a:lnTo>
                        <a:pt x="729" y="974"/>
                      </a:lnTo>
                      <a:lnTo>
                        <a:pt x="729" y="976"/>
                      </a:lnTo>
                      <a:lnTo>
                        <a:pt x="728" y="974"/>
                      </a:lnTo>
                      <a:lnTo>
                        <a:pt x="728" y="976"/>
                      </a:lnTo>
                      <a:lnTo>
                        <a:pt x="728" y="974"/>
                      </a:lnTo>
                      <a:lnTo>
                        <a:pt x="728" y="973"/>
                      </a:lnTo>
                      <a:lnTo>
                        <a:pt x="728" y="971"/>
                      </a:lnTo>
                      <a:lnTo>
                        <a:pt x="728" y="969"/>
                      </a:lnTo>
                      <a:lnTo>
                        <a:pt x="729" y="969"/>
                      </a:lnTo>
                      <a:lnTo>
                        <a:pt x="728" y="968"/>
                      </a:lnTo>
                      <a:lnTo>
                        <a:pt x="729" y="968"/>
                      </a:lnTo>
                      <a:lnTo>
                        <a:pt x="729" y="966"/>
                      </a:lnTo>
                      <a:lnTo>
                        <a:pt x="731" y="966"/>
                      </a:lnTo>
                      <a:lnTo>
                        <a:pt x="731" y="964"/>
                      </a:lnTo>
                      <a:lnTo>
                        <a:pt x="733" y="964"/>
                      </a:lnTo>
                      <a:lnTo>
                        <a:pt x="731" y="963"/>
                      </a:lnTo>
                      <a:lnTo>
                        <a:pt x="733" y="963"/>
                      </a:lnTo>
                      <a:lnTo>
                        <a:pt x="733" y="961"/>
                      </a:lnTo>
                      <a:lnTo>
                        <a:pt x="733" y="959"/>
                      </a:lnTo>
                      <a:lnTo>
                        <a:pt x="734" y="959"/>
                      </a:lnTo>
                      <a:lnTo>
                        <a:pt x="734" y="958"/>
                      </a:lnTo>
                      <a:lnTo>
                        <a:pt x="736" y="958"/>
                      </a:lnTo>
                      <a:lnTo>
                        <a:pt x="736" y="956"/>
                      </a:lnTo>
                      <a:lnTo>
                        <a:pt x="736" y="955"/>
                      </a:lnTo>
                      <a:lnTo>
                        <a:pt x="738" y="955"/>
                      </a:lnTo>
                      <a:lnTo>
                        <a:pt x="739" y="955"/>
                      </a:lnTo>
                      <a:lnTo>
                        <a:pt x="739" y="953"/>
                      </a:lnTo>
                      <a:lnTo>
                        <a:pt x="741" y="953"/>
                      </a:lnTo>
                      <a:lnTo>
                        <a:pt x="743" y="953"/>
                      </a:lnTo>
                      <a:lnTo>
                        <a:pt x="744" y="953"/>
                      </a:lnTo>
                      <a:lnTo>
                        <a:pt x="746" y="953"/>
                      </a:lnTo>
                      <a:lnTo>
                        <a:pt x="748" y="953"/>
                      </a:lnTo>
                      <a:lnTo>
                        <a:pt x="748" y="951"/>
                      </a:lnTo>
                      <a:lnTo>
                        <a:pt x="750" y="951"/>
                      </a:lnTo>
                      <a:lnTo>
                        <a:pt x="750" y="953"/>
                      </a:lnTo>
                      <a:lnTo>
                        <a:pt x="751" y="951"/>
                      </a:lnTo>
                      <a:lnTo>
                        <a:pt x="751" y="936"/>
                      </a:lnTo>
                      <a:lnTo>
                        <a:pt x="753" y="913"/>
                      </a:lnTo>
                      <a:lnTo>
                        <a:pt x="751" y="912"/>
                      </a:lnTo>
                      <a:lnTo>
                        <a:pt x="750" y="912"/>
                      </a:lnTo>
                      <a:lnTo>
                        <a:pt x="748" y="912"/>
                      </a:lnTo>
                      <a:lnTo>
                        <a:pt x="746" y="913"/>
                      </a:lnTo>
                      <a:lnTo>
                        <a:pt x="744" y="913"/>
                      </a:lnTo>
                      <a:lnTo>
                        <a:pt x="746" y="913"/>
                      </a:lnTo>
                      <a:lnTo>
                        <a:pt x="744" y="913"/>
                      </a:lnTo>
                      <a:lnTo>
                        <a:pt x="744" y="915"/>
                      </a:lnTo>
                      <a:lnTo>
                        <a:pt x="744" y="917"/>
                      </a:lnTo>
                      <a:lnTo>
                        <a:pt x="743" y="917"/>
                      </a:lnTo>
                      <a:lnTo>
                        <a:pt x="741" y="917"/>
                      </a:lnTo>
                      <a:lnTo>
                        <a:pt x="739" y="918"/>
                      </a:lnTo>
                      <a:lnTo>
                        <a:pt x="739" y="920"/>
                      </a:lnTo>
                      <a:lnTo>
                        <a:pt x="739" y="922"/>
                      </a:lnTo>
                      <a:lnTo>
                        <a:pt x="738" y="922"/>
                      </a:lnTo>
                      <a:lnTo>
                        <a:pt x="739" y="922"/>
                      </a:lnTo>
                      <a:lnTo>
                        <a:pt x="739" y="923"/>
                      </a:lnTo>
                      <a:lnTo>
                        <a:pt x="738" y="923"/>
                      </a:lnTo>
                      <a:lnTo>
                        <a:pt x="736" y="923"/>
                      </a:lnTo>
                      <a:lnTo>
                        <a:pt x="736" y="925"/>
                      </a:lnTo>
                      <a:lnTo>
                        <a:pt x="734" y="925"/>
                      </a:lnTo>
                      <a:lnTo>
                        <a:pt x="734" y="927"/>
                      </a:lnTo>
                      <a:lnTo>
                        <a:pt x="733" y="927"/>
                      </a:lnTo>
                      <a:lnTo>
                        <a:pt x="733" y="928"/>
                      </a:lnTo>
                      <a:lnTo>
                        <a:pt x="731" y="928"/>
                      </a:lnTo>
                      <a:lnTo>
                        <a:pt x="731" y="930"/>
                      </a:lnTo>
                      <a:lnTo>
                        <a:pt x="729" y="930"/>
                      </a:lnTo>
                      <a:lnTo>
                        <a:pt x="729" y="932"/>
                      </a:lnTo>
                      <a:lnTo>
                        <a:pt x="728" y="932"/>
                      </a:lnTo>
                      <a:lnTo>
                        <a:pt x="728" y="933"/>
                      </a:lnTo>
                      <a:lnTo>
                        <a:pt x="726" y="933"/>
                      </a:lnTo>
                      <a:lnTo>
                        <a:pt x="724" y="933"/>
                      </a:lnTo>
                      <a:lnTo>
                        <a:pt x="724" y="935"/>
                      </a:lnTo>
                      <a:lnTo>
                        <a:pt x="724" y="933"/>
                      </a:lnTo>
                      <a:lnTo>
                        <a:pt x="723" y="933"/>
                      </a:lnTo>
                      <a:lnTo>
                        <a:pt x="723" y="935"/>
                      </a:lnTo>
                      <a:lnTo>
                        <a:pt x="721" y="935"/>
                      </a:lnTo>
                      <a:lnTo>
                        <a:pt x="719" y="935"/>
                      </a:lnTo>
                      <a:lnTo>
                        <a:pt x="719" y="936"/>
                      </a:lnTo>
                      <a:lnTo>
                        <a:pt x="717" y="936"/>
                      </a:lnTo>
                      <a:lnTo>
                        <a:pt x="717" y="938"/>
                      </a:lnTo>
                      <a:lnTo>
                        <a:pt x="717" y="940"/>
                      </a:lnTo>
                      <a:lnTo>
                        <a:pt x="719" y="940"/>
                      </a:lnTo>
                      <a:lnTo>
                        <a:pt x="717" y="940"/>
                      </a:lnTo>
                      <a:lnTo>
                        <a:pt x="717" y="941"/>
                      </a:lnTo>
                      <a:lnTo>
                        <a:pt x="717" y="943"/>
                      </a:lnTo>
                      <a:lnTo>
                        <a:pt x="717" y="945"/>
                      </a:lnTo>
                      <a:lnTo>
                        <a:pt x="716" y="945"/>
                      </a:lnTo>
                      <a:lnTo>
                        <a:pt x="716" y="946"/>
                      </a:lnTo>
                      <a:lnTo>
                        <a:pt x="716" y="948"/>
                      </a:lnTo>
                      <a:lnTo>
                        <a:pt x="714" y="948"/>
                      </a:lnTo>
                      <a:lnTo>
                        <a:pt x="714" y="946"/>
                      </a:lnTo>
                      <a:lnTo>
                        <a:pt x="712" y="946"/>
                      </a:lnTo>
                      <a:lnTo>
                        <a:pt x="712" y="948"/>
                      </a:lnTo>
                      <a:lnTo>
                        <a:pt x="712" y="946"/>
                      </a:lnTo>
                      <a:lnTo>
                        <a:pt x="712" y="948"/>
                      </a:lnTo>
                      <a:lnTo>
                        <a:pt x="711" y="946"/>
                      </a:lnTo>
                      <a:lnTo>
                        <a:pt x="711" y="948"/>
                      </a:lnTo>
                      <a:lnTo>
                        <a:pt x="709" y="946"/>
                      </a:lnTo>
                      <a:lnTo>
                        <a:pt x="709" y="948"/>
                      </a:lnTo>
                      <a:lnTo>
                        <a:pt x="709" y="946"/>
                      </a:lnTo>
                      <a:lnTo>
                        <a:pt x="707" y="946"/>
                      </a:lnTo>
                      <a:lnTo>
                        <a:pt x="706" y="946"/>
                      </a:lnTo>
                      <a:lnTo>
                        <a:pt x="704" y="946"/>
                      </a:lnTo>
                      <a:lnTo>
                        <a:pt x="704" y="948"/>
                      </a:lnTo>
                      <a:lnTo>
                        <a:pt x="702" y="948"/>
                      </a:lnTo>
                      <a:lnTo>
                        <a:pt x="701" y="948"/>
                      </a:lnTo>
                      <a:lnTo>
                        <a:pt x="699" y="948"/>
                      </a:lnTo>
                      <a:lnTo>
                        <a:pt x="699" y="950"/>
                      </a:lnTo>
                      <a:lnTo>
                        <a:pt x="697" y="950"/>
                      </a:lnTo>
                      <a:lnTo>
                        <a:pt x="697" y="951"/>
                      </a:lnTo>
                      <a:lnTo>
                        <a:pt x="695" y="951"/>
                      </a:lnTo>
                      <a:lnTo>
                        <a:pt x="694" y="951"/>
                      </a:lnTo>
                      <a:lnTo>
                        <a:pt x="692" y="951"/>
                      </a:lnTo>
                      <a:lnTo>
                        <a:pt x="690" y="951"/>
                      </a:lnTo>
                      <a:lnTo>
                        <a:pt x="689" y="951"/>
                      </a:lnTo>
                      <a:lnTo>
                        <a:pt x="689" y="950"/>
                      </a:lnTo>
                      <a:lnTo>
                        <a:pt x="689" y="951"/>
                      </a:lnTo>
                      <a:lnTo>
                        <a:pt x="689" y="950"/>
                      </a:lnTo>
                      <a:lnTo>
                        <a:pt x="687" y="950"/>
                      </a:lnTo>
                      <a:lnTo>
                        <a:pt x="685" y="948"/>
                      </a:lnTo>
                      <a:lnTo>
                        <a:pt x="687" y="948"/>
                      </a:lnTo>
                      <a:lnTo>
                        <a:pt x="687" y="946"/>
                      </a:lnTo>
                      <a:lnTo>
                        <a:pt x="687" y="945"/>
                      </a:lnTo>
                      <a:lnTo>
                        <a:pt x="687" y="943"/>
                      </a:lnTo>
                      <a:lnTo>
                        <a:pt x="687" y="945"/>
                      </a:lnTo>
                      <a:lnTo>
                        <a:pt x="687" y="943"/>
                      </a:lnTo>
                      <a:lnTo>
                        <a:pt x="685" y="943"/>
                      </a:lnTo>
                      <a:lnTo>
                        <a:pt x="684" y="943"/>
                      </a:lnTo>
                      <a:lnTo>
                        <a:pt x="684" y="941"/>
                      </a:lnTo>
                      <a:lnTo>
                        <a:pt x="684" y="940"/>
                      </a:lnTo>
                      <a:lnTo>
                        <a:pt x="682" y="940"/>
                      </a:lnTo>
                      <a:lnTo>
                        <a:pt x="680" y="940"/>
                      </a:lnTo>
                      <a:lnTo>
                        <a:pt x="679" y="940"/>
                      </a:lnTo>
                      <a:lnTo>
                        <a:pt x="679" y="938"/>
                      </a:lnTo>
                      <a:lnTo>
                        <a:pt x="677" y="938"/>
                      </a:lnTo>
                      <a:lnTo>
                        <a:pt x="679" y="938"/>
                      </a:lnTo>
                      <a:lnTo>
                        <a:pt x="677" y="938"/>
                      </a:lnTo>
                      <a:lnTo>
                        <a:pt x="677" y="936"/>
                      </a:lnTo>
                      <a:lnTo>
                        <a:pt x="679" y="936"/>
                      </a:lnTo>
                      <a:lnTo>
                        <a:pt x="677" y="936"/>
                      </a:lnTo>
                      <a:lnTo>
                        <a:pt x="677" y="935"/>
                      </a:lnTo>
                      <a:lnTo>
                        <a:pt x="675" y="935"/>
                      </a:lnTo>
                      <a:lnTo>
                        <a:pt x="674" y="935"/>
                      </a:lnTo>
                      <a:lnTo>
                        <a:pt x="672" y="935"/>
                      </a:lnTo>
                      <a:lnTo>
                        <a:pt x="670" y="935"/>
                      </a:lnTo>
                      <a:lnTo>
                        <a:pt x="668" y="935"/>
                      </a:lnTo>
                      <a:lnTo>
                        <a:pt x="668" y="933"/>
                      </a:lnTo>
                      <a:lnTo>
                        <a:pt x="667" y="933"/>
                      </a:lnTo>
                      <a:lnTo>
                        <a:pt x="667" y="935"/>
                      </a:lnTo>
                      <a:lnTo>
                        <a:pt x="665" y="935"/>
                      </a:lnTo>
                      <a:lnTo>
                        <a:pt x="665" y="936"/>
                      </a:lnTo>
                      <a:lnTo>
                        <a:pt x="663" y="935"/>
                      </a:lnTo>
                      <a:lnTo>
                        <a:pt x="663" y="936"/>
                      </a:lnTo>
                      <a:lnTo>
                        <a:pt x="662" y="936"/>
                      </a:lnTo>
                      <a:lnTo>
                        <a:pt x="662" y="935"/>
                      </a:lnTo>
                      <a:lnTo>
                        <a:pt x="660" y="935"/>
                      </a:lnTo>
                      <a:lnTo>
                        <a:pt x="660" y="936"/>
                      </a:lnTo>
                      <a:lnTo>
                        <a:pt x="658" y="936"/>
                      </a:lnTo>
                      <a:lnTo>
                        <a:pt x="657" y="936"/>
                      </a:lnTo>
                      <a:lnTo>
                        <a:pt x="657" y="938"/>
                      </a:lnTo>
                      <a:lnTo>
                        <a:pt x="655" y="938"/>
                      </a:lnTo>
                      <a:lnTo>
                        <a:pt x="653" y="938"/>
                      </a:lnTo>
                      <a:lnTo>
                        <a:pt x="652" y="938"/>
                      </a:lnTo>
                      <a:lnTo>
                        <a:pt x="652" y="940"/>
                      </a:lnTo>
                      <a:lnTo>
                        <a:pt x="652" y="941"/>
                      </a:lnTo>
                      <a:lnTo>
                        <a:pt x="650" y="941"/>
                      </a:lnTo>
                      <a:lnTo>
                        <a:pt x="652" y="941"/>
                      </a:lnTo>
                      <a:lnTo>
                        <a:pt x="652" y="943"/>
                      </a:lnTo>
                      <a:lnTo>
                        <a:pt x="650" y="943"/>
                      </a:lnTo>
                      <a:lnTo>
                        <a:pt x="648" y="943"/>
                      </a:lnTo>
                      <a:lnTo>
                        <a:pt x="648" y="945"/>
                      </a:lnTo>
                      <a:lnTo>
                        <a:pt x="647" y="945"/>
                      </a:lnTo>
                      <a:lnTo>
                        <a:pt x="645" y="946"/>
                      </a:lnTo>
                      <a:lnTo>
                        <a:pt x="643" y="946"/>
                      </a:lnTo>
                      <a:lnTo>
                        <a:pt x="641" y="946"/>
                      </a:lnTo>
                      <a:lnTo>
                        <a:pt x="641" y="948"/>
                      </a:lnTo>
                      <a:lnTo>
                        <a:pt x="640" y="948"/>
                      </a:lnTo>
                      <a:lnTo>
                        <a:pt x="638" y="948"/>
                      </a:lnTo>
                      <a:lnTo>
                        <a:pt x="638" y="946"/>
                      </a:lnTo>
                      <a:lnTo>
                        <a:pt x="636" y="946"/>
                      </a:lnTo>
                      <a:lnTo>
                        <a:pt x="635" y="946"/>
                      </a:lnTo>
                      <a:lnTo>
                        <a:pt x="633" y="946"/>
                      </a:lnTo>
                      <a:lnTo>
                        <a:pt x="633" y="948"/>
                      </a:lnTo>
                      <a:lnTo>
                        <a:pt x="633" y="946"/>
                      </a:lnTo>
                      <a:lnTo>
                        <a:pt x="633" y="948"/>
                      </a:lnTo>
                      <a:lnTo>
                        <a:pt x="631" y="948"/>
                      </a:lnTo>
                      <a:lnTo>
                        <a:pt x="630" y="948"/>
                      </a:lnTo>
                      <a:lnTo>
                        <a:pt x="630" y="950"/>
                      </a:lnTo>
                      <a:lnTo>
                        <a:pt x="628" y="950"/>
                      </a:lnTo>
                      <a:lnTo>
                        <a:pt x="630" y="950"/>
                      </a:lnTo>
                      <a:lnTo>
                        <a:pt x="628" y="950"/>
                      </a:lnTo>
                      <a:lnTo>
                        <a:pt x="628" y="948"/>
                      </a:lnTo>
                      <a:lnTo>
                        <a:pt x="628" y="950"/>
                      </a:lnTo>
                      <a:lnTo>
                        <a:pt x="628" y="948"/>
                      </a:lnTo>
                      <a:lnTo>
                        <a:pt x="626" y="948"/>
                      </a:lnTo>
                      <a:lnTo>
                        <a:pt x="626" y="950"/>
                      </a:lnTo>
                      <a:lnTo>
                        <a:pt x="626" y="948"/>
                      </a:lnTo>
                      <a:lnTo>
                        <a:pt x="626" y="950"/>
                      </a:lnTo>
                      <a:lnTo>
                        <a:pt x="626" y="948"/>
                      </a:lnTo>
                      <a:lnTo>
                        <a:pt x="626" y="950"/>
                      </a:lnTo>
                      <a:lnTo>
                        <a:pt x="625" y="950"/>
                      </a:lnTo>
                      <a:lnTo>
                        <a:pt x="623" y="950"/>
                      </a:lnTo>
                      <a:lnTo>
                        <a:pt x="621" y="950"/>
                      </a:lnTo>
                      <a:lnTo>
                        <a:pt x="621" y="948"/>
                      </a:lnTo>
                      <a:lnTo>
                        <a:pt x="621" y="950"/>
                      </a:lnTo>
                      <a:lnTo>
                        <a:pt x="619" y="948"/>
                      </a:lnTo>
                      <a:lnTo>
                        <a:pt x="619" y="950"/>
                      </a:lnTo>
                      <a:lnTo>
                        <a:pt x="619" y="948"/>
                      </a:lnTo>
                      <a:lnTo>
                        <a:pt x="618" y="948"/>
                      </a:lnTo>
                      <a:lnTo>
                        <a:pt x="618" y="950"/>
                      </a:lnTo>
                      <a:lnTo>
                        <a:pt x="616" y="950"/>
                      </a:lnTo>
                      <a:lnTo>
                        <a:pt x="616" y="951"/>
                      </a:lnTo>
                      <a:lnTo>
                        <a:pt x="614" y="950"/>
                      </a:lnTo>
                      <a:lnTo>
                        <a:pt x="613" y="950"/>
                      </a:lnTo>
                      <a:lnTo>
                        <a:pt x="611" y="950"/>
                      </a:lnTo>
                      <a:lnTo>
                        <a:pt x="613" y="950"/>
                      </a:lnTo>
                      <a:lnTo>
                        <a:pt x="611" y="950"/>
                      </a:lnTo>
                      <a:lnTo>
                        <a:pt x="611" y="948"/>
                      </a:lnTo>
                      <a:lnTo>
                        <a:pt x="609" y="948"/>
                      </a:lnTo>
                      <a:lnTo>
                        <a:pt x="609" y="946"/>
                      </a:lnTo>
                      <a:lnTo>
                        <a:pt x="608" y="948"/>
                      </a:lnTo>
                      <a:lnTo>
                        <a:pt x="606" y="946"/>
                      </a:lnTo>
                      <a:lnTo>
                        <a:pt x="608" y="946"/>
                      </a:lnTo>
                      <a:lnTo>
                        <a:pt x="606" y="946"/>
                      </a:lnTo>
                      <a:lnTo>
                        <a:pt x="606" y="945"/>
                      </a:lnTo>
                      <a:lnTo>
                        <a:pt x="606" y="946"/>
                      </a:lnTo>
                      <a:lnTo>
                        <a:pt x="606" y="945"/>
                      </a:lnTo>
                      <a:lnTo>
                        <a:pt x="606" y="946"/>
                      </a:lnTo>
                      <a:lnTo>
                        <a:pt x="606" y="945"/>
                      </a:lnTo>
                      <a:lnTo>
                        <a:pt x="604" y="945"/>
                      </a:lnTo>
                      <a:lnTo>
                        <a:pt x="604" y="946"/>
                      </a:lnTo>
                      <a:lnTo>
                        <a:pt x="604" y="945"/>
                      </a:lnTo>
                      <a:lnTo>
                        <a:pt x="604" y="943"/>
                      </a:lnTo>
                      <a:lnTo>
                        <a:pt x="603" y="943"/>
                      </a:lnTo>
                      <a:lnTo>
                        <a:pt x="603" y="941"/>
                      </a:lnTo>
                      <a:lnTo>
                        <a:pt x="603" y="943"/>
                      </a:lnTo>
                      <a:lnTo>
                        <a:pt x="601" y="943"/>
                      </a:lnTo>
                      <a:lnTo>
                        <a:pt x="601" y="941"/>
                      </a:lnTo>
                      <a:lnTo>
                        <a:pt x="599" y="941"/>
                      </a:lnTo>
                      <a:lnTo>
                        <a:pt x="601" y="941"/>
                      </a:lnTo>
                      <a:lnTo>
                        <a:pt x="601" y="940"/>
                      </a:lnTo>
                      <a:lnTo>
                        <a:pt x="599" y="940"/>
                      </a:lnTo>
                      <a:lnTo>
                        <a:pt x="599" y="941"/>
                      </a:lnTo>
                      <a:lnTo>
                        <a:pt x="598" y="941"/>
                      </a:lnTo>
                      <a:lnTo>
                        <a:pt x="598" y="940"/>
                      </a:lnTo>
                      <a:lnTo>
                        <a:pt x="598" y="941"/>
                      </a:lnTo>
                      <a:lnTo>
                        <a:pt x="596" y="941"/>
                      </a:lnTo>
                      <a:lnTo>
                        <a:pt x="594" y="941"/>
                      </a:lnTo>
                      <a:lnTo>
                        <a:pt x="594" y="940"/>
                      </a:lnTo>
                      <a:lnTo>
                        <a:pt x="592" y="938"/>
                      </a:lnTo>
                      <a:lnTo>
                        <a:pt x="591" y="938"/>
                      </a:lnTo>
                      <a:lnTo>
                        <a:pt x="589" y="938"/>
                      </a:lnTo>
                      <a:lnTo>
                        <a:pt x="587" y="938"/>
                      </a:lnTo>
                      <a:lnTo>
                        <a:pt x="586" y="938"/>
                      </a:lnTo>
                      <a:lnTo>
                        <a:pt x="586" y="936"/>
                      </a:lnTo>
                      <a:lnTo>
                        <a:pt x="586" y="938"/>
                      </a:lnTo>
                      <a:lnTo>
                        <a:pt x="586" y="936"/>
                      </a:lnTo>
                      <a:lnTo>
                        <a:pt x="584" y="936"/>
                      </a:lnTo>
                      <a:lnTo>
                        <a:pt x="584" y="935"/>
                      </a:lnTo>
                      <a:lnTo>
                        <a:pt x="582" y="935"/>
                      </a:lnTo>
                      <a:lnTo>
                        <a:pt x="581" y="935"/>
                      </a:lnTo>
                      <a:lnTo>
                        <a:pt x="579" y="935"/>
                      </a:lnTo>
                      <a:lnTo>
                        <a:pt x="579" y="933"/>
                      </a:lnTo>
                      <a:lnTo>
                        <a:pt x="577" y="933"/>
                      </a:lnTo>
                      <a:lnTo>
                        <a:pt x="576" y="932"/>
                      </a:lnTo>
                      <a:lnTo>
                        <a:pt x="574" y="932"/>
                      </a:lnTo>
                      <a:lnTo>
                        <a:pt x="574" y="930"/>
                      </a:lnTo>
                      <a:lnTo>
                        <a:pt x="574" y="928"/>
                      </a:lnTo>
                      <a:lnTo>
                        <a:pt x="572" y="930"/>
                      </a:lnTo>
                      <a:lnTo>
                        <a:pt x="572" y="928"/>
                      </a:lnTo>
                      <a:lnTo>
                        <a:pt x="574" y="927"/>
                      </a:lnTo>
                      <a:lnTo>
                        <a:pt x="572" y="927"/>
                      </a:lnTo>
                      <a:lnTo>
                        <a:pt x="572" y="925"/>
                      </a:lnTo>
                      <a:lnTo>
                        <a:pt x="571" y="925"/>
                      </a:lnTo>
                      <a:lnTo>
                        <a:pt x="571" y="923"/>
                      </a:lnTo>
                      <a:lnTo>
                        <a:pt x="571" y="925"/>
                      </a:lnTo>
                      <a:lnTo>
                        <a:pt x="569" y="925"/>
                      </a:lnTo>
                      <a:lnTo>
                        <a:pt x="569" y="923"/>
                      </a:lnTo>
                      <a:lnTo>
                        <a:pt x="567" y="923"/>
                      </a:lnTo>
                      <a:lnTo>
                        <a:pt x="567" y="922"/>
                      </a:lnTo>
                      <a:lnTo>
                        <a:pt x="567" y="923"/>
                      </a:lnTo>
                      <a:lnTo>
                        <a:pt x="565" y="923"/>
                      </a:lnTo>
                      <a:lnTo>
                        <a:pt x="565" y="922"/>
                      </a:lnTo>
                      <a:lnTo>
                        <a:pt x="565" y="923"/>
                      </a:lnTo>
                      <a:lnTo>
                        <a:pt x="564" y="923"/>
                      </a:lnTo>
                      <a:lnTo>
                        <a:pt x="564" y="922"/>
                      </a:lnTo>
                      <a:lnTo>
                        <a:pt x="564" y="923"/>
                      </a:lnTo>
                      <a:lnTo>
                        <a:pt x="562" y="922"/>
                      </a:lnTo>
                      <a:lnTo>
                        <a:pt x="562" y="923"/>
                      </a:lnTo>
                      <a:lnTo>
                        <a:pt x="560" y="922"/>
                      </a:lnTo>
                      <a:lnTo>
                        <a:pt x="560" y="923"/>
                      </a:lnTo>
                      <a:lnTo>
                        <a:pt x="559" y="922"/>
                      </a:lnTo>
                      <a:lnTo>
                        <a:pt x="557" y="922"/>
                      </a:lnTo>
                      <a:lnTo>
                        <a:pt x="555" y="920"/>
                      </a:lnTo>
                      <a:lnTo>
                        <a:pt x="555" y="922"/>
                      </a:lnTo>
                      <a:lnTo>
                        <a:pt x="554" y="920"/>
                      </a:lnTo>
                      <a:lnTo>
                        <a:pt x="554" y="922"/>
                      </a:lnTo>
                      <a:lnTo>
                        <a:pt x="554" y="920"/>
                      </a:lnTo>
                      <a:lnTo>
                        <a:pt x="552" y="920"/>
                      </a:lnTo>
                      <a:lnTo>
                        <a:pt x="552" y="918"/>
                      </a:lnTo>
                      <a:lnTo>
                        <a:pt x="550" y="918"/>
                      </a:lnTo>
                      <a:lnTo>
                        <a:pt x="549" y="918"/>
                      </a:lnTo>
                      <a:lnTo>
                        <a:pt x="550" y="918"/>
                      </a:lnTo>
                      <a:lnTo>
                        <a:pt x="550" y="917"/>
                      </a:lnTo>
                      <a:lnTo>
                        <a:pt x="549" y="917"/>
                      </a:lnTo>
                      <a:lnTo>
                        <a:pt x="549" y="918"/>
                      </a:lnTo>
                      <a:lnTo>
                        <a:pt x="549" y="917"/>
                      </a:lnTo>
                      <a:lnTo>
                        <a:pt x="547" y="917"/>
                      </a:lnTo>
                      <a:lnTo>
                        <a:pt x="545" y="915"/>
                      </a:lnTo>
                      <a:lnTo>
                        <a:pt x="545" y="917"/>
                      </a:lnTo>
                      <a:lnTo>
                        <a:pt x="543" y="917"/>
                      </a:lnTo>
                      <a:lnTo>
                        <a:pt x="543" y="915"/>
                      </a:lnTo>
                      <a:lnTo>
                        <a:pt x="543" y="917"/>
                      </a:lnTo>
                      <a:lnTo>
                        <a:pt x="542" y="915"/>
                      </a:lnTo>
                      <a:lnTo>
                        <a:pt x="543" y="915"/>
                      </a:lnTo>
                      <a:lnTo>
                        <a:pt x="542" y="915"/>
                      </a:lnTo>
                      <a:lnTo>
                        <a:pt x="540" y="915"/>
                      </a:lnTo>
                      <a:lnTo>
                        <a:pt x="540" y="913"/>
                      </a:lnTo>
                      <a:lnTo>
                        <a:pt x="540" y="915"/>
                      </a:lnTo>
                      <a:lnTo>
                        <a:pt x="538" y="917"/>
                      </a:lnTo>
                      <a:lnTo>
                        <a:pt x="538" y="915"/>
                      </a:lnTo>
                      <a:lnTo>
                        <a:pt x="537" y="913"/>
                      </a:lnTo>
                      <a:lnTo>
                        <a:pt x="538" y="913"/>
                      </a:lnTo>
                      <a:lnTo>
                        <a:pt x="537" y="913"/>
                      </a:lnTo>
                      <a:lnTo>
                        <a:pt x="535" y="913"/>
                      </a:lnTo>
                      <a:lnTo>
                        <a:pt x="533" y="913"/>
                      </a:lnTo>
                      <a:lnTo>
                        <a:pt x="535" y="913"/>
                      </a:lnTo>
                      <a:lnTo>
                        <a:pt x="533" y="912"/>
                      </a:lnTo>
                      <a:lnTo>
                        <a:pt x="533" y="913"/>
                      </a:lnTo>
                      <a:lnTo>
                        <a:pt x="533" y="912"/>
                      </a:lnTo>
                      <a:lnTo>
                        <a:pt x="532" y="912"/>
                      </a:lnTo>
                      <a:lnTo>
                        <a:pt x="532" y="910"/>
                      </a:lnTo>
                      <a:lnTo>
                        <a:pt x="533" y="910"/>
                      </a:lnTo>
                      <a:lnTo>
                        <a:pt x="533" y="909"/>
                      </a:lnTo>
                      <a:lnTo>
                        <a:pt x="532" y="909"/>
                      </a:lnTo>
                      <a:lnTo>
                        <a:pt x="530" y="907"/>
                      </a:lnTo>
                      <a:lnTo>
                        <a:pt x="528" y="907"/>
                      </a:lnTo>
                      <a:lnTo>
                        <a:pt x="527" y="907"/>
                      </a:lnTo>
                      <a:lnTo>
                        <a:pt x="525" y="907"/>
                      </a:lnTo>
                      <a:lnTo>
                        <a:pt x="523" y="907"/>
                      </a:lnTo>
                      <a:lnTo>
                        <a:pt x="523" y="905"/>
                      </a:lnTo>
                      <a:lnTo>
                        <a:pt x="522" y="905"/>
                      </a:lnTo>
                      <a:lnTo>
                        <a:pt x="522" y="907"/>
                      </a:lnTo>
                      <a:lnTo>
                        <a:pt x="520" y="907"/>
                      </a:lnTo>
                      <a:lnTo>
                        <a:pt x="520" y="909"/>
                      </a:lnTo>
                      <a:lnTo>
                        <a:pt x="520" y="907"/>
                      </a:lnTo>
                      <a:lnTo>
                        <a:pt x="518" y="907"/>
                      </a:lnTo>
                      <a:lnTo>
                        <a:pt x="518" y="909"/>
                      </a:lnTo>
                      <a:lnTo>
                        <a:pt x="516" y="909"/>
                      </a:lnTo>
                      <a:lnTo>
                        <a:pt x="515" y="909"/>
                      </a:lnTo>
                      <a:lnTo>
                        <a:pt x="516" y="909"/>
                      </a:lnTo>
                      <a:lnTo>
                        <a:pt x="515" y="909"/>
                      </a:lnTo>
                      <a:lnTo>
                        <a:pt x="515" y="910"/>
                      </a:lnTo>
                      <a:lnTo>
                        <a:pt x="513" y="910"/>
                      </a:lnTo>
                      <a:lnTo>
                        <a:pt x="513" y="912"/>
                      </a:lnTo>
                      <a:lnTo>
                        <a:pt x="513" y="910"/>
                      </a:lnTo>
                      <a:lnTo>
                        <a:pt x="511" y="910"/>
                      </a:lnTo>
                      <a:lnTo>
                        <a:pt x="513" y="912"/>
                      </a:lnTo>
                      <a:lnTo>
                        <a:pt x="511" y="912"/>
                      </a:lnTo>
                      <a:lnTo>
                        <a:pt x="511" y="910"/>
                      </a:lnTo>
                      <a:lnTo>
                        <a:pt x="510" y="910"/>
                      </a:lnTo>
                      <a:lnTo>
                        <a:pt x="510" y="912"/>
                      </a:lnTo>
                      <a:lnTo>
                        <a:pt x="508" y="912"/>
                      </a:lnTo>
                      <a:lnTo>
                        <a:pt x="510" y="913"/>
                      </a:lnTo>
                      <a:lnTo>
                        <a:pt x="508" y="913"/>
                      </a:lnTo>
                      <a:lnTo>
                        <a:pt x="508" y="912"/>
                      </a:lnTo>
                      <a:lnTo>
                        <a:pt x="508" y="913"/>
                      </a:lnTo>
                      <a:lnTo>
                        <a:pt x="506" y="913"/>
                      </a:lnTo>
                      <a:lnTo>
                        <a:pt x="506" y="915"/>
                      </a:lnTo>
                      <a:lnTo>
                        <a:pt x="505" y="915"/>
                      </a:lnTo>
                      <a:lnTo>
                        <a:pt x="505" y="917"/>
                      </a:lnTo>
                      <a:lnTo>
                        <a:pt x="505" y="915"/>
                      </a:lnTo>
                      <a:lnTo>
                        <a:pt x="503" y="915"/>
                      </a:lnTo>
                      <a:lnTo>
                        <a:pt x="503" y="917"/>
                      </a:lnTo>
                      <a:lnTo>
                        <a:pt x="501" y="917"/>
                      </a:lnTo>
                      <a:lnTo>
                        <a:pt x="500" y="917"/>
                      </a:lnTo>
                      <a:lnTo>
                        <a:pt x="500" y="915"/>
                      </a:lnTo>
                      <a:lnTo>
                        <a:pt x="501" y="915"/>
                      </a:lnTo>
                      <a:lnTo>
                        <a:pt x="500" y="915"/>
                      </a:lnTo>
                      <a:lnTo>
                        <a:pt x="500" y="917"/>
                      </a:lnTo>
                      <a:lnTo>
                        <a:pt x="498" y="917"/>
                      </a:lnTo>
                      <a:lnTo>
                        <a:pt x="496" y="917"/>
                      </a:lnTo>
                      <a:lnTo>
                        <a:pt x="496" y="918"/>
                      </a:lnTo>
                      <a:lnTo>
                        <a:pt x="495" y="918"/>
                      </a:lnTo>
                      <a:lnTo>
                        <a:pt x="495" y="920"/>
                      </a:lnTo>
                      <a:lnTo>
                        <a:pt x="495" y="918"/>
                      </a:lnTo>
                      <a:lnTo>
                        <a:pt x="493" y="920"/>
                      </a:lnTo>
                      <a:lnTo>
                        <a:pt x="491" y="922"/>
                      </a:lnTo>
                      <a:lnTo>
                        <a:pt x="491" y="920"/>
                      </a:lnTo>
                      <a:lnTo>
                        <a:pt x="491" y="918"/>
                      </a:lnTo>
                      <a:lnTo>
                        <a:pt x="489" y="918"/>
                      </a:lnTo>
                      <a:lnTo>
                        <a:pt x="489" y="920"/>
                      </a:lnTo>
                      <a:lnTo>
                        <a:pt x="489" y="918"/>
                      </a:lnTo>
                      <a:lnTo>
                        <a:pt x="488" y="918"/>
                      </a:lnTo>
                      <a:lnTo>
                        <a:pt x="486" y="918"/>
                      </a:lnTo>
                      <a:lnTo>
                        <a:pt x="486" y="917"/>
                      </a:lnTo>
                      <a:lnTo>
                        <a:pt x="484" y="918"/>
                      </a:lnTo>
                      <a:lnTo>
                        <a:pt x="484" y="917"/>
                      </a:lnTo>
                      <a:lnTo>
                        <a:pt x="484" y="918"/>
                      </a:lnTo>
                      <a:lnTo>
                        <a:pt x="486" y="918"/>
                      </a:lnTo>
                      <a:lnTo>
                        <a:pt x="484" y="918"/>
                      </a:lnTo>
                      <a:lnTo>
                        <a:pt x="484" y="920"/>
                      </a:lnTo>
                      <a:lnTo>
                        <a:pt x="484" y="918"/>
                      </a:lnTo>
                      <a:lnTo>
                        <a:pt x="484" y="920"/>
                      </a:lnTo>
                      <a:lnTo>
                        <a:pt x="483" y="920"/>
                      </a:lnTo>
                      <a:lnTo>
                        <a:pt x="481" y="920"/>
                      </a:lnTo>
                      <a:lnTo>
                        <a:pt x="479" y="920"/>
                      </a:lnTo>
                      <a:lnTo>
                        <a:pt x="478" y="920"/>
                      </a:lnTo>
                      <a:lnTo>
                        <a:pt x="479" y="920"/>
                      </a:lnTo>
                      <a:lnTo>
                        <a:pt x="479" y="922"/>
                      </a:lnTo>
                      <a:lnTo>
                        <a:pt x="478" y="920"/>
                      </a:lnTo>
                      <a:lnTo>
                        <a:pt x="476" y="922"/>
                      </a:lnTo>
                      <a:lnTo>
                        <a:pt x="476" y="920"/>
                      </a:lnTo>
                      <a:lnTo>
                        <a:pt x="476" y="922"/>
                      </a:lnTo>
                      <a:lnTo>
                        <a:pt x="474" y="920"/>
                      </a:lnTo>
                      <a:lnTo>
                        <a:pt x="474" y="922"/>
                      </a:lnTo>
                      <a:lnTo>
                        <a:pt x="473" y="920"/>
                      </a:lnTo>
                      <a:lnTo>
                        <a:pt x="471" y="920"/>
                      </a:lnTo>
                      <a:lnTo>
                        <a:pt x="473" y="920"/>
                      </a:lnTo>
                      <a:lnTo>
                        <a:pt x="473" y="922"/>
                      </a:lnTo>
                      <a:lnTo>
                        <a:pt x="471" y="920"/>
                      </a:lnTo>
                      <a:lnTo>
                        <a:pt x="471" y="922"/>
                      </a:lnTo>
                      <a:lnTo>
                        <a:pt x="469" y="922"/>
                      </a:lnTo>
                      <a:lnTo>
                        <a:pt x="469" y="920"/>
                      </a:lnTo>
                      <a:lnTo>
                        <a:pt x="467" y="920"/>
                      </a:lnTo>
                      <a:lnTo>
                        <a:pt x="466" y="920"/>
                      </a:lnTo>
                      <a:lnTo>
                        <a:pt x="466" y="918"/>
                      </a:lnTo>
                      <a:lnTo>
                        <a:pt x="464" y="918"/>
                      </a:lnTo>
                      <a:lnTo>
                        <a:pt x="464" y="920"/>
                      </a:lnTo>
                      <a:lnTo>
                        <a:pt x="462" y="920"/>
                      </a:lnTo>
                      <a:lnTo>
                        <a:pt x="461" y="920"/>
                      </a:lnTo>
                      <a:lnTo>
                        <a:pt x="461" y="922"/>
                      </a:lnTo>
                      <a:lnTo>
                        <a:pt x="461" y="923"/>
                      </a:lnTo>
                      <a:lnTo>
                        <a:pt x="459" y="925"/>
                      </a:lnTo>
                      <a:lnTo>
                        <a:pt x="459" y="927"/>
                      </a:lnTo>
                      <a:lnTo>
                        <a:pt x="457" y="927"/>
                      </a:lnTo>
                      <a:lnTo>
                        <a:pt x="456" y="927"/>
                      </a:lnTo>
                      <a:lnTo>
                        <a:pt x="454" y="927"/>
                      </a:lnTo>
                      <a:lnTo>
                        <a:pt x="454" y="928"/>
                      </a:lnTo>
                      <a:lnTo>
                        <a:pt x="454" y="930"/>
                      </a:lnTo>
                      <a:lnTo>
                        <a:pt x="456" y="930"/>
                      </a:lnTo>
                      <a:lnTo>
                        <a:pt x="456" y="932"/>
                      </a:lnTo>
                      <a:lnTo>
                        <a:pt x="454" y="930"/>
                      </a:lnTo>
                      <a:lnTo>
                        <a:pt x="454" y="932"/>
                      </a:lnTo>
                      <a:lnTo>
                        <a:pt x="456" y="932"/>
                      </a:lnTo>
                      <a:lnTo>
                        <a:pt x="456" y="933"/>
                      </a:lnTo>
                      <a:lnTo>
                        <a:pt x="454" y="933"/>
                      </a:lnTo>
                      <a:lnTo>
                        <a:pt x="452" y="933"/>
                      </a:lnTo>
                      <a:lnTo>
                        <a:pt x="452" y="935"/>
                      </a:lnTo>
                      <a:lnTo>
                        <a:pt x="451" y="935"/>
                      </a:lnTo>
                      <a:lnTo>
                        <a:pt x="451" y="936"/>
                      </a:lnTo>
                      <a:lnTo>
                        <a:pt x="452" y="936"/>
                      </a:lnTo>
                      <a:lnTo>
                        <a:pt x="451" y="938"/>
                      </a:lnTo>
                      <a:lnTo>
                        <a:pt x="451" y="940"/>
                      </a:lnTo>
                      <a:lnTo>
                        <a:pt x="449" y="940"/>
                      </a:lnTo>
                      <a:lnTo>
                        <a:pt x="447" y="940"/>
                      </a:lnTo>
                      <a:lnTo>
                        <a:pt x="446" y="940"/>
                      </a:lnTo>
                      <a:lnTo>
                        <a:pt x="446" y="941"/>
                      </a:lnTo>
                      <a:lnTo>
                        <a:pt x="444" y="941"/>
                      </a:lnTo>
                      <a:lnTo>
                        <a:pt x="444" y="943"/>
                      </a:lnTo>
                      <a:lnTo>
                        <a:pt x="442" y="943"/>
                      </a:lnTo>
                      <a:lnTo>
                        <a:pt x="440" y="943"/>
                      </a:lnTo>
                      <a:lnTo>
                        <a:pt x="440" y="945"/>
                      </a:lnTo>
                      <a:lnTo>
                        <a:pt x="440" y="946"/>
                      </a:lnTo>
                      <a:lnTo>
                        <a:pt x="442" y="946"/>
                      </a:lnTo>
                      <a:lnTo>
                        <a:pt x="442" y="948"/>
                      </a:lnTo>
                      <a:lnTo>
                        <a:pt x="440" y="948"/>
                      </a:lnTo>
                      <a:lnTo>
                        <a:pt x="440" y="950"/>
                      </a:lnTo>
                      <a:lnTo>
                        <a:pt x="440" y="951"/>
                      </a:lnTo>
                      <a:lnTo>
                        <a:pt x="439" y="951"/>
                      </a:lnTo>
                      <a:lnTo>
                        <a:pt x="439" y="953"/>
                      </a:lnTo>
                      <a:lnTo>
                        <a:pt x="437" y="953"/>
                      </a:lnTo>
                      <a:lnTo>
                        <a:pt x="437" y="955"/>
                      </a:lnTo>
                      <a:lnTo>
                        <a:pt x="435" y="955"/>
                      </a:lnTo>
                      <a:lnTo>
                        <a:pt x="435" y="956"/>
                      </a:lnTo>
                      <a:lnTo>
                        <a:pt x="434" y="958"/>
                      </a:lnTo>
                      <a:lnTo>
                        <a:pt x="432" y="958"/>
                      </a:lnTo>
                      <a:lnTo>
                        <a:pt x="430" y="959"/>
                      </a:lnTo>
                      <a:lnTo>
                        <a:pt x="429" y="961"/>
                      </a:lnTo>
                      <a:lnTo>
                        <a:pt x="427" y="961"/>
                      </a:lnTo>
                      <a:lnTo>
                        <a:pt x="427" y="963"/>
                      </a:lnTo>
                      <a:lnTo>
                        <a:pt x="427" y="961"/>
                      </a:lnTo>
                      <a:lnTo>
                        <a:pt x="425" y="961"/>
                      </a:lnTo>
                      <a:lnTo>
                        <a:pt x="424" y="963"/>
                      </a:lnTo>
                      <a:lnTo>
                        <a:pt x="422" y="963"/>
                      </a:lnTo>
                      <a:lnTo>
                        <a:pt x="420" y="963"/>
                      </a:lnTo>
                      <a:lnTo>
                        <a:pt x="419" y="963"/>
                      </a:lnTo>
                      <a:lnTo>
                        <a:pt x="417" y="963"/>
                      </a:lnTo>
                      <a:lnTo>
                        <a:pt x="415" y="964"/>
                      </a:lnTo>
                      <a:lnTo>
                        <a:pt x="415" y="963"/>
                      </a:lnTo>
                      <a:lnTo>
                        <a:pt x="415" y="964"/>
                      </a:lnTo>
                      <a:lnTo>
                        <a:pt x="417" y="964"/>
                      </a:lnTo>
                      <a:lnTo>
                        <a:pt x="417" y="966"/>
                      </a:lnTo>
                      <a:lnTo>
                        <a:pt x="415" y="964"/>
                      </a:lnTo>
                      <a:lnTo>
                        <a:pt x="415" y="966"/>
                      </a:lnTo>
                      <a:lnTo>
                        <a:pt x="413" y="966"/>
                      </a:lnTo>
                      <a:lnTo>
                        <a:pt x="412" y="966"/>
                      </a:lnTo>
                      <a:lnTo>
                        <a:pt x="410" y="966"/>
                      </a:lnTo>
                      <a:lnTo>
                        <a:pt x="412" y="966"/>
                      </a:lnTo>
                      <a:lnTo>
                        <a:pt x="410" y="966"/>
                      </a:lnTo>
                      <a:lnTo>
                        <a:pt x="410" y="964"/>
                      </a:lnTo>
                      <a:lnTo>
                        <a:pt x="408" y="966"/>
                      </a:lnTo>
                      <a:lnTo>
                        <a:pt x="408" y="968"/>
                      </a:lnTo>
                      <a:lnTo>
                        <a:pt x="407" y="968"/>
                      </a:lnTo>
                      <a:lnTo>
                        <a:pt x="405" y="968"/>
                      </a:lnTo>
                      <a:lnTo>
                        <a:pt x="403" y="968"/>
                      </a:lnTo>
                      <a:lnTo>
                        <a:pt x="403" y="966"/>
                      </a:lnTo>
                      <a:lnTo>
                        <a:pt x="402" y="966"/>
                      </a:lnTo>
                      <a:lnTo>
                        <a:pt x="402" y="968"/>
                      </a:lnTo>
                      <a:lnTo>
                        <a:pt x="400" y="968"/>
                      </a:lnTo>
                      <a:lnTo>
                        <a:pt x="400" y="969"/>
                      </a:lnTo>
                      <a:lnTo>
                        <a:pt x="398" y="969"/>
                      </a:lnTo>
                      <a:lnTo>
                        <a:pt x="397" y="971"/>
                      </a:lnTo>
                      <a:lnTo>
                        <a:pt x="397" y="973"/>
                      </a:lnTo>
                      <a:lnTo>
                        <a:pt x="395" y="974"/>
                      </a:lnTo>
                      <a:lnTo>
                        <a:pt x="395" y="973"/>
                      </a:lnTo>
                      <a:lnTo>
                        <a:pt x="393" y="973"/>
                      </a:lnTo>
                      <a:lnTo>
                        <a:pt x="393" y="971"/>
                      </a:lnTo>
                      <a:lnTo>
                        <a:pt x="393" y="969"/>
                      </a:lnTo>
                      <a:lnTo>
                        <a:pt x="391" y="969"/>
                      </a:lnTo>
                      <a:lnTo>
                        <a:pt x="390" y="969"/>
                      </a:lnTo>
                      <a:lnTo>
                        <a:pt x="388" y="969"/>
                      </a:lnTo>
                      <a:lnTo>
                        <a:pt x="388" y="968"/>
                      </a:lnTo>
                      <a:lnTo>
                        <a:pt x="386" y="968"/>
                      </a:lnTo>
                      <a:lnTo>
                        <a:pt x="386" y="966"/>
                      </a:lnTo>
                      <a:lnTo>
                        <a:pt x="385" y="966"/>
                      </a:lnTo>
                      <a:lnTo>
                        <a:pt x="385" y="964"/>
                      </a:lnTo>
                      <a:lnTo>
                        <a:pt x="383" y="964"/>
                      </a:lnTo>
                      <a:lnTo>
                        <a:pt x="381" y="964"/>
                      </a:lnTo>
                      <a:lnTo>
                        <a:pt x="381" y="963"/>
                      </a:lnTo>
                      <a:lnTo>
                        <a:pt x="380" y="963"/>
                      </a:lnTo>
                      <a:lnTo>
                        <a:pt x="381" y="963"/>
                      </a:lnTo>
                      <a:lnTo>
                        <a:pt x="381" y="961"/>
                      </a:lnTo>
                      <a:lnTo>
                        <a:pt x="380" y="961"/>
                      </a:lnTo>
                      <a:lnTo>
                        <a:pt x="380" y="959"/>
                      </a:lnTo>
                      <a:lnTo>
                        <a:pt x="380" y="958"/>
                      </a:lnTo>
                      <a:lnTo>
                        <a:pt x="378" y="956"/>
                      </a:lnTo>
                      <a:lnTo>
                        <a:pt x="378" y="958"/>
                      </a:lnTo>
                      <a:lnTo>
                        <a:pt x="376" y="958"/>
                      </a:lnTo>
                      <a:lnTo>
                        <a:pt x="375" y="958"/>
                      </a:lnTo>
                      <a:lnTo>
                        <a:pt x="375" y="956"/>
                      </a:lnTo>
                      <a:lnTo>
                        <a:pt x="373" y="956"/>
                      </a:lnTo>
                      <a:lnTo>
                        <a:pt x="375" y="956"/>
                      </a:lnTo>
                      <a:lnTo>
                        <a:pt x="373" y="955"/>
                      </a:lnTo>
                      <a:lnTo>
                        <a:pt x="375" y="953"/>
                      </a:lnTo>
                      <a:lnTo>
                        <a:pt x="375" y="951"/>
                      </a:lnTo>
                      <a:lnTo>
                        <a:pt x="373" y="950"/>
                      </a:lnTo>
                      <a:lnTo>
                        <a:pt x="375" y="950"/>
                      </a:lnTo>
                      <a:lnTo>
                        <a:pt x="373" y="950"/>
                      </a:lnTo>
                      <a:lnTo>
                        <a:pt x="373" y="948"/>
                      </a:lnTo>
                      <a:lnTo>
                        <a:pt x="373" y="946"/>
                      </a:lnTo>
                      <a:lnTo>
                        <a:pt x="371" y="946"/>
                      </a:lnTo>
                      <a:lnTo>
                        <a:pt x="373" y="946"/>
                      </a:lnTo>
                      <a:lnTo>
                        <a:pt x="371" y="945"/>
                      </a:lnTo>
                      <a:lnTo>
                        <a:pt x="371" y="943"/>
                      </a:lnTo>
                      <a:lnTo>
                        <a:pt x="371" y="941"/>
                      </a:lnTo>
                      <a:lnTo>
                        <a:pt x="371" y="940"/>
                      </a:lnTo>
                      <a:lnTo>
                        <a:pt x="370" y="940"/>
                      </a:lnTo>
                      <a:lnTo>
                        <a:pt x="368" y="940"/>
                      </a:lnTo>
                      <a:lnTo>
                        <a:pt x="368" y="941"/>
                      </a:lnTo>
                      <a:lnTo>
                        <a:pt x="368" y="943"/>
                      </a:lnTo>
                      <a:lnTo>
                        <a:pt x="354" y="932"/>
                      </a:lnTo>
                      <a:lnTo>
                        <a:pt x="346" y="936"/>
                      </a:lnTo>
                      <a:lnTo>
                        <a:pt x="346" y="938"/>
                      </a:lnTo>
                      <a:lnTo>
                        <a:pt x="344" y="938"/>
                      </a:lnTo>
                      <a:lnTo>
                        <a:pt x="344" y="936"/>
                      </a:lnTo>
                      <a:lnTo>
                        <a:pt x="343" y="936"/>
                      </a:lnTo>
                      <a:lnTo>
                        <a:pt x="341" y="936"/>
                      </a:lnTo>
                      <a:lnTo>
                        <a:pt x="339" y="936"/>
                      </a:lnTo>
                      <a:lnTo>
                        <a:pt x="339" y="935"/>
                      </a:lnTo>
                      <a:lnTo>
                        <a:pt x="339" y="933"/>
                      </a:lnTo>
                      <a:lnTo>
                        <a:pt x="337" y="933"/>
                      </a:lnTo>
                      <a:lnTo>
                        <a:pt x="337" y="932"/>
                      </a:lnTo>
                      <a:lnTo>
                        <a:pt x="336" y="933"/>
                      </a:lnTo>
                      <a:lnTo>
                        <a:pt x="334" y="933"/>
                      </a:lnTo>
                      <a:lnTo>
                        <a:pt x="332" y="932"/>
                      </a:lnTo>
                      <a:lnTo>
                        <a:pt x="332" y="930"/>
                      </a:lnTo>
                      <a:lnTo>
                        <a:pt x="332" y="928"/>
                      </a:lnTo>
                      <a:lnTo>
                        <a:pt x="331" y="928"/>
                      </a:lnTo>
                      <a:lnTo>
                        <a:pt x="329" y="928"/>
                      </a:lnTo>
                      <a:lnTo>
                        <a:pt x="329" y="927"/>
                      </a:lnTo>
                      <a:lnTo>
                        <a:pt x="327" y="927"/>
                      </a:lnTo>
                      <a:lnTo>
                        <a:pt x="326" y="927"/>
                      </a:lnTo>
                      <a:lnTo>
                        <a:pt x="324" y="925"/>
                      </a:lnTo>
                      <a:lnTo>
                        <a:pt x="326" y="925"/>
                      </a:lnTo>
                      <a:lnTo>
                        <a:pt x="326" y="923"/>
                      </a:lnTo>
                      <a:lnTo>
                        <a:pt x="324" y="923"/>
                      </a:lnTo>
                      <a:lnTo>
                        <a:pt x="322" y="923"/>
                      </a:lnTo>
                      <a:lnTo>
                        <a:pt x="321" y="923"/>
                      </a:lnTo>
                      <a:lnTo>
                        <a:pt x="319" y="923"/>
                      </a:lnTo>
                      <a:lnTo>
                        <a:pt x="319" y="922"/>
                      </a:lnTo>
                      <a:lnTo>
                        <a:pt x="319" y="920"/>
                      </a:lnTo>
                      <a:lnTo>
                        <a:pt x="317" y="920"/>
                      </a:lnTo>
                      <a:lnTo>
                        <a:pt x="317" y="918"/>
                      </a:lnTo>
                      <a:lnTo>
                        <a:pt x="315" y="918"/>
                      </a:lnTo>
                      <a:lnTo>
                        <a:pt x="315" y="917"/>
                      </a:lnTo>
                      <a:lnTo>
                        <a:pt x="315" y="915"/>
                      </a:lnTo>
                      <a:lnTo>
                        <a:pt x="314" y="915"/>
                      </a:lnTo>
                      <a:lnTo>
                        <a:pt x="314" y="913"/>
                      </a:lnTo>
                      <a:lnTo>
                        <a:pt x="312" y="913"/>
                      </a:lnTo>
                      <a:lnTo>
                        <a:pt x="312" y="912"/>
                      </a:lnTo>
                      <a:lnTo>
                        <a:pt x="310" y="912"/>
                      </a:lnTo>
                      <a:lnTo>
                        <a:pt x="310" y="910"/>
                      </a:lnTo>
                      <a:lnTo>
                        <a:pt x="309" y="910"/>
                      </a:lnTo>
                      <a:lnTo>
                        <a:pt x="309" y="909"/>
                      </a:lnTo>
                      <a:lnTo>
                        <a:pt x="307" y="909"/>
                      </a:lnTo>
                      <a:lnTo>
                        <a:pt x="305" y="907"/>
                      </a:lnTo>
                      <a:lnTo>
                        <a:pt x="305" y="905"/>
                      </a:lnTo>
                      <a:lnTo>
                        <a:pt x="305" y="904"/>
                      </a:lnTo>
                      <a:lnTo>
                        <a:pt x="307" y="902"/>
                      </a:lnTo>
                      <a:lnTo>
                        <a:pt x="307" y="900"/>
                      </a:lnTo>
                      <a:lnTo>
                        <a:pt x="305" y="900"/>
                      </a:lnTo>
                      <a:lnTo>
                        <a:pt x="304" y="900"/>
                      </a:lnTo>
                      <a:lnTo>
                        <a:pt x="304" y="899"/>
                      </a:lnTo>
                      <a:lnTo>
                        <a:pt x="302" y="899"/>
                      </a:lnTo>
                      <a:lnTo>
                        <a:pt x="302" y="897"/>
                      </a:lnTo>
                      <a:lnTo>
                        <a:pt x="302" y="895"/>
                      </a:lnTo>
                      <a:lnTo>
                        <a:pt x="304" y="895"/>
                      </a:lnTo>
                      <a:lnTo>
                        <a:pt x="302" y="895"/>
                      </a:lnTo>
                      <a:lnTo>
                        <a:pt x="302" y="894"/>
                      </a:lnTo>
                      <a:lnTo>
                        <a:pt x="304" y="894"/>
                      </a:lnTo>
                      <a:lnTo>
                        <a:pt x="302" y="894"/>
                      </a:lnTo>
                      <a:lnTo>
                        <a:pt x="302" y="892"/>
                      </a:lnTo>
                      <a:lnTo>
                        <a:pt x="302" y="891"/>
                      </a:lnTo>
                      <a:lnTo>
                        <a:pt x="304" y="891"/>
                      </a:lnTo>
                      <a:lnTo>
                        <a:pt x="304" y="889"/>
                      </a:lnTo>
                      <a:lnTo>
                        <a:pt x="302" y="889"/>
                      </a:lnTo>
                      <a:lnTo>
                        <a:pt x="300" y="887"/>
                      </a:lnTo>
                      <a:lnTo>
                        <a:pt x="302" y="887"/>
                      </a:lnTo>
                      <a:lnTo>
                        <a:pt x="300" y="887"/>
                      </a:lnTo>
                      <a:lnTo>
                        <a:pt x="300" y="886"/>
                      </a:lnTo>
                      <a:lnTo>
                        <a:pt x="300" y="884"/>
                      </a:lnTo>
                      <a:lnTo>
                        <a:pt x="299" y="886"/>
                      </a:lnTo>
                      <a:lnTo>
                        <a:pt x="299" y="884"/>
                      </a:lnTo>
                      <a:lnTo>
                        <a:pt x="299" y="882"/>
                      </a:lnTo>
                      <a:lnTo>
                        <a:pt x="300" y="882"/>
                      </a:lnTo>
                      <a:lnTo>
                        <a:pt x="300" y="881"/>
                      </a:lnTo>
                      <a:lnTo>
                        <a:pt x="299" y="881"/>
                      </a:lnTo>
                      <a:lnTo>
                        <a:pt x="300" y="881"/>
                      </a:lnTo>
                      <a:lnTo>
                        <a:pt x="299" y="881"/>
                      </a:lnTo>
                      <a:lnTo>
                        <a:pt x="300" y="879"/>
                      </a:lnTo>
                      <a:lnTo>
                        <a:pt x="299" y="879"/>
                      </a:lnTo>
                      <a:lnTo>
                        <a:pt x="300" y="877"/>
                      </a:lnTo>
                      <a:lnTo>
                        <a:pt x="299" y="877"/>
                      </a:lnTo>
                      <a:lnTo>
                        <a:pt x="300" y="877"/>
                      </a:lnTo>
                      <a:lnTo>
                        <a:pt x="299" y="877"/>
                      </a:lnTo>
                      <a:lnTo>
                        <a:pt x="299" y="876"/>
                      </a:lnTo>
                      <a:lnTo>
                        <a:pt x="300" y="876"/>
                      </a:lnTo>
                      <a:lnTo>
                        <a:pt x="299" y="876"/>
                      </a:lnTo>
                      <a:lnTo>
                        <a:pt x="299" y="874"/>
                      </a:lnTo>
                      <a:lnTo>
                        <a:pt x="299" y="872"/>
                      </a:lnTo>
                      <a:lnTo>
                        <a:pt x="299" y="871"/>
                      </a:lnTo>
                      <a:lnTo>
                        <a:pt x="300" y="871"/>
                      </a:lnTo>
                      <a:lnTo>
                        <a:pt x="300" y="869"/>
                      </a:lnTo>
                      <a:lnTo>
                        <a:pt x="299" y="868"/>
                      </a:lnTo>
                      <a:lnTo>
                        <a:pt x="299" y="866"/>
                      </a:lnTo>
                      <a:lnTo>
                        <a:pt x="299" y="864"/>
                      </a:lnTo>
                      <a:lnTo>
                        <a:pt x="299" y="863"/>
                      </a:lnTo>
                      <a:lnTo>
                        <a:pt x="300" y="859"/>
                      </a:lnTo>
                      <a:lnTo>
                        <a:pt x="300" y="858"/>
                      </a:lnTo>
                      <a:lnTo>
                        <a:pt x="300" y="856"/>
                      </a:lnTo>
                      <a:lnTo>
                        <a:pt x="302" y="853"/>
                      </a:lnTo>
                      <a:lnTo>
                        <a:pt x="304" y="853"/>
                      </a:lnTo>
                      <a:lnTo>
                        <a:pt x="304" y="851"/>
                      </a:lnTo>
                      <a:lnTo>
                        <a:pt x="307" y="849"/>
                      </a:lnTo>
                      <a:lnTo>
                        <a:pt x="307" y="848"/>
                      </a:lnTo>
                      <a:lnTo>
                        <a:pt x="310" y="848"/>
                      </a:lnTo>
                      <a:lnTo>
                        <a:pt x="310" y="846"/>
                      </a:lnTo>
                      <a:lnTo>
                        <a:pt x="312" y="843"/>
                      </a:lnTo>
                      <a:lnTo>
                        <a:pt x="310" y="840"/>
                      </a:lnTo>
                      <a:lnTo>
                        <a:pt x="310" y="838"/>
                      </a:lnTo>
                      <a:lnTo>
                        <a:pt x="310" y="836"/>
                      </a:lnTo>
                      <a:lnTo>
                        <a:pt x="310" y="835"/>
                      </a:lnTo>
                      <a:lnTo>
                        <a:pt x="312" y="835"/>
                      </a:lnTo>
                      <a:lnTo>
                        <a:pt x="312" y="833"/>
                      </a:lnTo>
                      <a:lnTo>
                        <a:pt x="314" y="833"/>
                      </a:lnTo>
                      <a:lnTo>
                        <a:pt x="314" y="831"/>
                      </a:lnTo>
                      <a:lnTo>
                        <a:pt x="314" y="830"/>
                      </a:lnTo>
                      <a:lnTo>
                        <a:pt x="315" y="828"/>
                      </a:lnTo>
                      <a:lnTo>
                        <a:pt x="315" y="826"/>
                      </a:lnTo>
                      <a:lnTo>
                        <a:pt x="314" y="825"/>
                      </a:lnTo>
                      <a:lnTo>
                        <a:pt x="314" y="823"/>
                      </a:lnTo>
                      <a:lnTo>
                        <a:pt x="312" y="823"/>
                      </a:lnTo>
                      <a:lnTo>
                        <a:pt x="310" y="823"/>
                      </a:lnTo>
                      <a:lnTo>
                        <a:pt x="309" y="823"/>
                      </a:lnTo>
                      <a:lnTo>
                        <a:pt x="307" y="822"/>
                      </a:lnTo>
                      <a:lnTo>
                        <a:pt x="307" y="823"/>
                      </a:lnTo>
                      <a:lnTo>
                        <a:pt x="307" y="825"/>
                      </a:lnTo>
                      <a:lnTo>
                        <a:pt x="305" y="826"/>
                      </a:lnTo>
                      <a:lnTo>
                        <a:pt x="304" y="828"/>
                      </a:lnTo>
                      <a:lnTo>
                        <a:pt x="302" y="828"/>
                      </a:lnTo>
                      <a:lnTo>
                        <a:pt x="270" y="826"/>
                      </a:lnTo>
                      <a:lnTo>
                        <a:pt x="204" y="825"/>
                      </a:lnTo>
                      <a:lnTo>
                        <a:pt x="197" y="823"/>
                      </a:lnTo>
                      <a:lnTo>
                        <a:pt x="170" y="823"/>
                      </a:lnTo>
                      <a:lnTo>
                        <a:pt x="150" y="823"/>
                      </a:lnTo>
                      <a:lnTo>
                        <a:pt x="138" y="823"/>
                      </a:lnTo>
                      <a:lnTo>
                        <a:pt x="133" y="761"/>
                      </a:lnTo>
                      <a:lnTo>
                        <a:pt x="131" y="749"/>
                      </a:lnTo>
                      <a:lnTo>
                        <a:pt x="106" y="723"/>
                      </a:lnTo>
                      <a:lnTo>
                        <a:pt x="103" y="720"/>
                      </a:lnTo>
                      <a:lnTo>
                        <a:pt x="101" y="716"/>
                      </a:lnTo>
                      <a:lnTo>
                        <a:pt x="106" y="715"/>
                      </a:lnTo>
                      <a:lnTo>
                        <a:pt x="131" y="715"/>
                      </a:lnTo>
                      <a:lnTo>
                        <a:pt x="128" y="670"/>
                      </a:lnTo>
                      <a:lnTo>
                        <a:pt x="128" y="672"/>
                      </a:lnTo>
                      <a:lnTo>
                        <a:pt x="126" y="672"/>
                      </a:lnTo>
                      <a:lnTo>
                        <a:pt x="125" y="670"/>
                      </a:lnTo>
                      <a:lnTo>
                        <a:pt x="123" y="670"/>
                      </a:lnTo>
                      <a:lnTo>
                        <a:pt x="123" y="669"/>
                      </a:lnTo>
                      <a:lnTo>
                        <a:pt x="123" y="667"/>
                      </a:lnTo>
                      <a:lnTo>
                        <a:pt x="123" y="666"/>
                      </a:lnTo>
                      <a:lnTo>
                        <a:pt x="123" y="664"/>
                      </a:lnTo>
                      <a:lnTo>
                        <a:pt x="123" y="666"/>
                      </a:lnTo>
                      <a:lnTo>
                        <a:pt x="123" y="664"/>
                      </a:lnTo>
                      <a:lnTo>
                        <a:pt x="121" y="664"/>
                      </a:lnTo>
                      <a:lnTo>
                        <a:pt x="121" y="662"/>
                      </a:lnTo>
                      <a:lnTo>
                        <a:pt x="121" y="661"/>
                      </a:lnTo>
                      <a:lnTo>
                        <a:pt x="121" y="659"/>
                      </a:lnTo>
                      <a:lnTo>
                        <a:pt x="120" y="659"/>
                      </a:lnTo>
                      <a:lnTo>
                        <a:pt x="120" y="657"/>
                      </a:lnTo>
                      <a:lnTo>
                        <a:pt x="118" y="657"/>
                      </a:lnTo>
                      <a:lnTo>
                        <a:pt x="118" y="656"/>
                      </a:lnTo>
                      <a:lnTo>
                        <a:pt x="118" y="654"/>
                      </a:lnTo>
                      <a:lnTo>
                        <a:pt x="116" y="654"/>
                      </a:lnTo>
                      <a:lnTo>
                        <a:pt x="116" y="652"/>
                      </a:lnTo>
                      <a:lnTo>
                        <a:pt x="116" y="651"/>
                      </a:lnTo>
                      <a:lnTo>
                        <a:pt x="116" y="649"/>
                      </a:lnTo>
                      <a:lnTo>
                        <a:pt x="116" y="647"/>
                      </a:lnTo>
                      <a:lnTo>
                        <a:pt x="115" y="647"/>
                      </a:lnTo>
                      <a:lnTo>
                        <a:pt x="116" y="647"/>
                      </a:lnTo>
                      <a:lnTo>
                        <a:pt x="115" y="646"/>
                      </a:lnTo>
                      <a:lnTo>
                        <a:pt x="115" y="647"/>
                      </a:lnTo>
                      <a:lnTo>
                        <a:pt x="115" y="646"/>
                      </a:lnTo>
                      <a:lnTo>
                        <a:pt x="113" y="646"/>
                      </a:lnTo>
                      <a:lnTo>
                        <a:pt x="115" y="646"/>
                      </a:lnTo>
                      <a:lnTo>
                        <a:pt x="113" y="646"/>
                      </a:lnTo>
                      <a:lnTo>
                        <a:pt x="113" y="644"/>
                      </a:lnTo>
                      <a:lnTo>
                        <a:pt x="111" y="644"/>
                      </a:lnTo>
                      <a:lnTo>
                        <a:pt x="111" y="643"/>
                      </a:lnTo>
                      <a:lnTo>
                        <a:pt x="111" y="641"/>
                      </a:lnTo>
                      <a:lnTo>
                        <a:pt x="109" y="639"/>
                      </a:lnTo>
                      <a:lnTo>
                        <a:pt x="111" y="639"/>
                      </a:lnTo>
                      <a:lnTo>
                        <a:pt x="109" y="639"/>
                      </a:lnTo>
                      <a:lnTo>
                        <a:pt x="109" y="638"/>
                      </a:lnTo>
                      <a:lnTo>
                        <a:pt x="111" y="638"/>
                      </a:lnTo>
                      <a:lnTo>
                        <a:pt x="111" y="636"/>
                      </a:lnTo>
                      <a:lnTo>
                        <a:pt x="109" y="636"/>
                      </a:lnTo>
                      <a:lnTo>
                        <a:pt x="109" y="634"/>
                      </a:lnTo>
                      <a:lnTo>
                        <a:pt x="109" y="633"/>
                      </a:lnTo>
                      <a:lnTo>
                        <a:pt x="109" y="631"/>
                      </a:lnTo>
                      <a:lnTo>
                        <a:pt x="108" y="631"/>
                      </a:lnTo>
                      <a:lnTo>
                        <a:pt x="108" y="629"/>
                      </a:lnTo>
                      <a:lnTo>
                        <a:pt x="109" y="629"/>
                      </a:lnTo>
                      <a:lnTo>
                        <a:pt x="109" y="628"/>
                      </a:lnTo>
                      <a:lnTo>
                        <a:pt x="108" y="626"/>
                      </a:lnTo>
                      <a:lnTo>
                        <a:pt x="109" y="626"/>
                      </a:lnTo>
                      <a:lnTo>
                        <a:pt x="108" y="624"/>
                      </a:lnTo>
                      <a:lnTo>
                        <a:pt x="109" y="624"/>
                      </a:lnTo>
                      <a:lnTo>
                        <a:pt x="109" y="623"/>
                      </a:lnTo>
                      <a:lnTo>
                        <a:pt x="108" y="623"/>
                      </a:lnTo>
                      <a:lnTo>
                        <a:pt x="109" y="623"/>
                      </a:lnTo>
                      <a:lnTo>
                        <a:pt x="111" y="623"/>
                      </a:lnTo>
                      <a:lnTo>
                        <a:pt x="111" y="621"/>
                      </a:lnTo>
                      <a:lnTo>
                        <a:pt x="113" y="621"/>
                      </a:lnTo>
                      <a:lnTo>
                        <a:pt x="113" y="620"/>
                      </a:lnTo>
                      <a:lnTo>
                        <a:pt x="113" y="618"/>
                      </a:lnTo>
                      <a:lnTo>
                        <a:pt x="115" y="618"/>
                      </a:lnTo>
                      <a:lnTo>
                        <a:pt x="116" y="616"/>
                      </a:lnTo>
                      <a:lnTo>
                        <a:pt x="115" y="616"/>
                      </a:lnTo>
                      <a:lnTo>
                        <a:pt x="116" y="616"/>
                      </a:lnTo>
                      <a:lnTo>
                        <a:pt x="116" y="615"/>
                      </a:lnTo>
                      <a:lnTo>
                        <a:pt x="116" y="613"/>
                      </a:lnTo>
                      <a:lnTo>
                        <a:pt x="118" y="613"/>
                      </a:lnTo>
                      <a:lnTo>
                        <a:pt x="118" y="611"/>
                      </a:lnTo>
                      <a:lnTo>
                        <a:pt x="116" y="611"/>
                      </a:lnTo>
                      <a:lnTo>
                        <a:pt x="115" y="613"/>
                      </a:lnTo>
                      <a:lnTo>
                        <a:pt x="115" y="611"/>
                      </a:lnTo>
                      <a:lnTo>
                        <a:pt x="113" y="610"/>
                      </a:lnTo>
                      <a:lnTo>
                        <a:pt x="115" y="610"/>
                      </a:lnTo>
                      <a:lnTo>
                        <a:pt x="115" y="611"/>
                      </a:lnTo>
                      <a:lnTo>
                        <a:pt x="115" y="610"/>
                      </a:lnTo>
                      <a:lnTo>
                        <a:pt x="115" y="608"/>
                      </a:lnTo>
                      <a:lnTo>
                        <a:pt x="113" y="608"/>
                      </a:lnTo>
                      <a:lnTo>
                        <a:pt x="111" y="608"/>
                      </a:lnTo>
                      <a:lnTo>
                        <a:pt x="111" y="606"/>
                      </a:lnTo>
                      <a:lnTo>
                        <a:pt x="111" y="605"/>
                      </a:lnTo>
                      <a:lnTo>
                        <a:pt x="111" y="603"/>
                      </a:lnTo>
                      <a:lnTo>
                        <a:pt x="109" y="603"/>
                      </a:lnTo>
                      <a:lnTo>
                        <a:pt x="109" y="601"/>
                      </a:lnTo>
                      <a:lnTo>
                        <a:pt x="111" y="601"/>
                      </a:lnTo>
                      <a:lnTo>
                        <a:pt x="111" y="600"/>
                      </a:lnTo>
                      <a:lnTo>
                        <a:pt x="109" y="600"/>
                      </a:lnTo>
                      <a:lnTo>
                        <a:pt x="108" y="600"/>
                      </a:lnTo>
                      <a:lnTo>
                        <a:pt x="108" y="601"/>
                      </a:lnTo>
                      <a:lnTo>
                        <a:pt x="108" y="600"/>
                      </a:lnTo>
                      <a:lnTo>
                        <a:pt x="109" y="598"/>
                      </a:lnTo>
                      <a:lnTo>
                        <a:pt x="108" y="598"/>
                      </a:lnTo>
                      <a:lnTo>
                        <a:pt x="108" y="597"/>
                      </a:lnTo>
                      <a:lnTo>
                        <a:pt x="109" y="598"/>
                      </a:lnTo>
                      <a:lnTo>
                        <a:pt x="109" y="597"/>
                      </a:lnTo>
                      <a:lnTo>
                        <a:pt x="108" y="597"/>
                      </a:lnTo>
                      <a:lnTo>
                        <a:pt x="109" y="595"/>
                      </a:lnTo>
                      <a:lnTo>
                        <a:pt x="108" y="595"/>
                      </a:lnTo>
                      <a:lnTo>
                        <a:pt x="106" y="595"/>
                      </a:lnTo>
                      <a:lnTo>
                        <a:pt x="104" y="595"/>
                      </a:lnTo>
                      <a:lnTo>
                        <a:pt x="104" y="593"/>
                      </a:lnTo>
                      <a:lnTo>
                        <a:pt x="103" y="593"/>
                      </a:lnTo>
                      <a:lnTo>
                        <a:pt x="101" y="593"/>
                      </a:lnTo>
                      <a:lnTo>
                        <a:pt x="99" y="593"/>
                      </a:lnTo>
                      <a:lnTo>
                        <a:pt x="99" y="592"/>
                      </a:lnTo>
                      <a:lnTo>
                        <a:pt x="101" y="592"/>
                      </a:lnTo>
                      <a:lnTo>
                        <a:pt x="99" y="592"/>
                      </a:lnTo>
                      <a:lnTo>
                        <a:pt x="99" y="590"/>
                      </a:lnTo>
                      <a:lnTo>
                        <a:pt x="98" y="590"/>
                      </a:lnTo>
                      <a:lnTo>
                        <a:pt x="96" y="590"/>
                      </a:lnTo>
                      <a:lnTo>
                        <a:pt x="96" y="588"/>
                      </a:lnTo>
                      <a:lnTo>
                        <a:pt x="94" y="588"/>
                      </a:lnTo>
                      <a:lnTo>
                        <a:pt x="93" y="588"/>
                      </a:lnTo>
                      <a:lnTo>
                        <a:pt x="93" y="590"/>
                      </a:lnTo>
                      <a:lnTo>
                        <a:pt x="93" y="588"/>
                      </a:lnTo>
                      <a:lnTo>
                        <a:pt x="93" y="590"/>
                      </a:lnTo>
                      <a:lnTo>
                        <a:pt x="91" y="590"/>
                      </a:lnTo>
                      <a:lnTo>
                        <a:pt x="91" y="588"/>
                      </a:lnTo>
                      <a:lnTo>
                        <a:pt x="89" y="588"/>
                      </a:lnTo>
                      <a:lnTo>
                        <a:pt x="89" y="587"/>
                      </a:lnTo>
                      <a:lnTo>
                        <a:pt x="87" y="587"/>
                      </a:lnTo>
                      <a:lnTo>
                        <a:pt x="87" y="588"/>
                      </a:lnTo>
                      <a:lnTo>
                        <a:pt x="87" y="587"/>
                      </a:lnTo>
                      <a:lnTo>
                        <a:pt x="87" y="585"/>
                      </a:lnTo>
                      <a:lnTo>
                        <a:pt x="86" y="585"/>
                      </a:lnTo>
                      <a:lnTo>
                        <a:pt x="86" y="583"/>
                      </a:lnTo>
                      <a:lnTo>
                        <a:pt x="87" y="583"/>
                      </a:lnTo>
                      <a:lnTo>
                        <a:pt x="87" y="582"/>
                      </a:lnTo>
                      <a:lnTo>
                        <a:pt x="89" y="582"/>
                      </a:lnTo>
                      <a:lnTo>
                        <a:pt x="89" y="580"/>
                      </a:lnTo>
                      <a:lnTo>
                        <a:pt x="89" y="578"/>
                      </a:lnTo>
                      <a:lnTo>
                        <a:pt x="91" y="578"/>
                      </a:lnTo>
                      <a:lnTo>
                        <a:pt x="91" y="577"/>
                      </a:lnTo>
                      <a:lnTo>
                        <a:pt x="93" y="577"/>
                      </a:lnTo>
                      <a:lnTo>
                        <a:pt x="94" y="577"/>
                      </a:lnTo>
                      <a:lnTo>
                        <a:pt x="93" y="577"/>
                      </a:lnTo>
                      <a:lnTo>
                        <a:pt x="93" y="575"/>
                      </a:lnTo>
                      <a:lnTo>
                        <a:pt x="94" y="575"/>
                      </a:lnTo>
                      <a:lnTo>
                        <a:pt x="94" y="574"/>
                      </a:lnTo>
                      <a:lnTo>
                        <a:pt x="96" y="574"/>
                      </a:lnTo>
                      <a:lnTo>
                        <a:pt x="98" y="575"/>
                      </a:lnTo>
                      <a:lnTo>
                        <a:pt x="98" y="574"/>
                      </a:lnTo>
                      <a:lnTo>
                        <a:pt x="99" y="574"/>
                      </a:lnTo>
                      <a:lnTo>
                        <a:pt x="101" y="574"/>
                      </a:lnTo>
                      <a:lnTo>
                        <a:pt x="101" y="572"/>
                      </a:lnTo>
                      <a:lnTo>
                        <a:pt x="103" y="572"/>
                      </a:lnTo>
                      <a:lnTo>
                        <a:pt x="104" y="570"/>
                      </a:lnTo>
                      <a:lnTo>
                        <a:pt x="103" y="570"/>
                      </a:lnTo>
                      <a:lnTo>
                        <a:pt x="104" y="570"/>
                      </a:lnTo>
                      <a:lnTo>
                        <a:pt x="104" y="569"/>
                      </a:lnTo>
                      <a:lnTo>
                        <a:pt x="106" y="569"/>
                      </a:lnTo>
                      <a:lnTo>
                        <a:pt x="106" y="567"/>
                      </a:lnTo>
                      <a:lnTo>
                        <a:pt x="108" y="567"/>
                      </a:lnTo>
                      <a:lnTo>
                        <a:pt x="109" y="567"/>
                      </a:lnTo>
                      <a:lnTo>
                        <a:pt x="111" y="567"/>
                      </a:lnTo>
                      <a:lnTo>
                        <a:pt x="113" y="567"/>
                      </a:lnTo>
                      <a:lnTo>
                        <a:pt x="113" y="565"/>
                      </a:lnTo>
                      <a:lnTo>
                        <a:pt x="115" y="565"/>
                      </a:lnTo>
                      <a:lnTo>
                        <a:pt x="115" y="564"/>
                      </a:lnTo>
                      <a:lnTo>
                        <a:pt x="116" y="564"/>
                      </a:lnTo>
                      <a:lnTo>
                        <a:pt x="118" y="564"/>
                      </a:lnTo>
                      <a:lnTo>
                        <a:pt x="118" y="562"/>
                      </a:lnTo>
                      <a:lnTo>
                        <a:pt x="118" y="560"/>
                      </a:lnTo>
                      <a:lnTo>
                        <a:pt x="118" y="559"/>
                      </a:lnTo>
                      <a:lnTo>
                        <a:pt x="118" y="557"/>
                      </a:lnTo>
                      <a:lnTo>
                        <a:pt x="118" y="555"/>
                      </a:lnTo>
                      <a:lnTo>
                        <a:pt x="120" y="555"/>
                      </a:lnTo>
                      <a:lnTo>
                        <a:pt x="120" y="554"/>
                      </a:lnTo>
                      <a:lnTo>
                        <a:pt x="120" y="552"/>
                      </a:lnTo>
                      <a:lnTo>
                        <a:pt x="118" y="552"/>
                      </a:lnTo>
                      <a:lnTo>
                        <a:pt x="120" y="551"/>
                      </a:lnTo>
                      <a:lnTo>
                        <a:pt x="120" y="549"/>
                      </a:lnTo>
                      <a:lnTo>
                        <a:pt x="121" y="549"/>
                      </a:lnTo>
                      <a:lnTo>
                        <a:pt x="121" y="547"/>
                      </a:lnTo>
                      <a:lnTo>
                        <a:pt x="123" y="546"/>
                      </a:lnTo>
                      <a:lnTo>
                        <a:pt x="123" y="544"/>
                      </a:lnTo>
                      <a:lnTo>
                        <a:pt x="123" y="542"/>
                      </a:lnTo>
                      <a:lnTo>
                        <a:pt x="125" y="541"/>
                      </a:lnTo>
                      <a:lnTo>
                        <a:pt x="125" y="539"/>
                      </a:lnTo>
                      <a:lnTo>
                        <a:pt x="125" y="537"/>
                      </a:lnTo>
                      <a:lnTo>
                        <a:pt x="126" y="537"/>
                      </a:lnTo>
                      <a:lnTo>
                        <a:pt x="128" y="536"/>
                      </a:lnTo>
                      <a:lnTo>
                        <a:pt x="128" y="534"/>
                      </a:lnTo>
                      <a:lnTo>
                        <a:pt x="128" y="532"/>
                      </a:lnTo>
                      <a:lnTo>
                        <a:pt x="128" y="531"/>
                      </a:lnTo>
                      <a:lnTo>
                        <a:pt x="126" y="531"/>
                      </a:lnTo>
                      <a:lnTo>
                        <a:pt x="128" y="531"/>
                      </a:lnTo>
                      <a:lnTo>
                        <a:pt x="126" y="531"/>
                      </a:lnTo>
                      <a:lnTo>
                        <a:pt x="126" y="529"/>
                      </a:lnTo>
                      <a:lnTo>
                        <a:pt x="128" y="529"/>
                      </a:lnTo>
                      <a:lnTo>
                        <a:pt x="130" y="528"/>
                      </a:lnTo>
                      <a:lnTo>
                        <a:pt x="130" y="526"/>
                      </a:lnTo>
                      <a:lnTo>
                        <a:pt x="130" y="528"/>
                      </a:lnTo>
                      <a:lnTo>
                        <a:pt x="130" y="526"/>
                      </a:lnTo>
                      <a:lnTo>
                        <a:pt x="131" y="526"/>
                      </a:lnTo>
                      <a:lnTo>
                        <a:pt x="131" y="524"/>
                      </a:lnTo>
                      <a:lnTo>
                        <a:pt x="131" y="526"/>
                      </a:lnTo>
                      <a:lnTo>
                        <a:pt x="131" y="524"/>
                      </a:lnTo>
                      <a:lnTo>
                        <a:pt x="133" y="524"/>
                      </a:lnTo>
                      <a:lnTo>
                        <a:pt x="133" y="523"/>
                      </a:lnTo>
                      <a:lnTo>
                        <a:pt x="135" y="521"/>
                      </a:lnTo>
                      <a:lnTo>
                        <a:pt x="135" y="519"/>
                      </a:lnTo>
                      <a:lnTo>
                        <a:pt x="136" y="519"/>
                      </a:lnTo>
                      <a:lnTo>
                        <a:pt x="138" y="519"/>
                      </a:lnTo>
                      <a:lnTo>
                        <a:pt x="140" y="519"/>
                      </a:lnTo>
                      <a:lnTo>
                        <a:pt x="140" y="518"/>
                      </a:lnTo>
                      <a:lnTo>
                        <a:pt x="140" y="519"/>
                      </a:lnTo>
                      <a:lnTo>
                        <a:pt x="142" y="519"/>
                      </a:lnTo>
                      <a:lnTo>
                        <a:pt x="142" y="518"/>
                      </a:lnTo>
                      <a:lnTo>
                        <a:pt x="143" y="518"/>
                      </a:lnTo>
                      <a:lnTo>
                        <a:pt x="143" y="516"/>
                      </a:lnTo>
                      <a:lnTo>
                        <a:pt x="143" y="514"/>
                      </a:lnTo>
                      <a:lnTo>
                        <a:pt x="145" y="514"/>
                      </a:lnTo>
                      <a:lnTo>
                        <a:pt x="145" y="513"/>
                      </a:lnTo>
                      <a:lnTo>
                        <a:pt x="147" y="513"/>
                      </a:lnTo>
                      <a:lnTo>
                        <a:pt x="147" y="511"/>
                      </a:lnTo>
                      <a:lnTo>
                        <a:pt x="147" y="509"/>
                      </a:lnTo>
                      <a:lnTo>
                        <a:pt x="147" y="506"/>
                      </a:lnTo>
                      <a:lnTo>
                        <a:pt x="147" y="505"/>
                      </a:lnTo>
                      <a:lnTo>
                        <a:pt x="147" y="503"/>
                      </a:lnTo>
                      <a:lnTo>
                        <a:pt x="147" y="501"/>
                      </a:lnTo>
                      <a:lnTo>
                        <a:pt x="147" y="500"/>
                      </a:lnTo>
                      <a:lnTo>
                        <a:pt x="145" y="498"/>
                      </a:lnTo>
                      <a:lnTo>
                        <a:pt x="145" y="496"/>
                      </a:lnTo>
                      <a:lnTo>
                        <a:pt x="145" y="495"/>
                      </a:lnTo>
                      <a:lnTo>
                        <a:pt x="147" y="495"/>
                      </a:lnTo>
                      <a:lnTo>
                        <a:pt x="147" y="493"/>
                      </a:lnTo>
                      <a:lnTo>
                        <a:pt x="147" y="491"/>
                      </a:lnTo>
                      <a:lnTo>
                        <a:pt x="147" y="490"/>
                      </a:lnTo>
                      <a:lnTo>
                        <a:pt x="148" y="488"/>
                      </a:lnTo>
                      <a:lnTo>
                        <a:pt x="147" y="487"/>
                      </a:lnTo>
                      <a:lnTo>
                        <a:pt x="148" y="487"/>
                      </a:lnTo>
                      <a:lnTo>
                        <a:pt x="148" y="485"/>
                      </a:lnTo>
                      <a:lnTo>
                        <a:pt x="150" y="485"/>
                      </a:lnTo>
                      <a:lnTo>
                        <a:pt x="152" y="483"/>
                      </a:lnTo>
                      <a:lnTo>
                        <a:pt x="152" y="482"/>
                      </a:lnTo>
                      <a:lnTo>
                        <a:pt x="152" y="480"/>
                      </a:lnTo>
                      <a:lnTo>
                        <a:pt x="153" y="480"/>
                      </a:lnTo>
                      <a:lnTo>
                        <a:pt x="153" y="478"/>
                      </a:lnTo>
                      <a:lnTo>
                        <a:pt x="155" y="478"/>
                      </a:lnTo>
                      <a:lnTo>
                        <a:pt x="157" y="478"/>
                      </a:lnTo>
                      <a:lnTo>
                        <a:pt x="157" y="477"/>
                      </a:lnTo>
                      <a:lnTo>
                        <a:pt x="158" y="475"/>
                      </a:lnTo>
                      <a:lnTo>
                        <a:pt x="160" y="475"/>
                      </a:lnTo>
                      <a:lnTo>
                        <a:pt x="162" y="473"/>
                      </a:lnTo>
                      <a:lnTo>
                        <a:pt x="163" y="473"/>
                      </a:lnTo>
                      <a:lnTo>
                        <a:pt x="165" y="473"/>
                      </a:lnTo>
                      <a:lnTo>
                        <a:pt x="167" y="473"/>
                      </a:lnTo>
                      <a:lnTo>
                        <a:pt x="169" y="473"/>
                      </a:lnTo>
                      <a:lnTo>
                        <a:pt x="169" y="472"/>
                      </a:lnTo>
                      <a:lnTo>
                        <a:pt x="169" y="470"/>
                      </a:lnTo>
                      <a:lnTo>
                        <a:pt x="169" y="468"/>
                      </a:lnTo>
                      <a:lnTo>
                        <a:pt x="170" y="467"/>
                      </a:lnTo>
                      <a:lnTo>
                        <a:pt x="170" y="465"/>
                      </a:lnTo>
                      <a:lnTo>
                        <a:pt x="172" y="465"/>
                      </a:lnTo>
                      <a:lnTo>
                        <a:pt x="170" y="465"/>
                      </a:lnTo>
                      <a:lnTo>
                        <a:pt x="172" y="465"/>
                      </a:lnTo>
                      <a:lnTo>
                        <a:pt x="172" y="464"/>
                      </a:lnTo>
                      <a:lnTo>
                        <a:pt x="172" y="462"/>
                      </a:lnTo>
                      <a:lnTo>
                        <a:pt x="174" y="462"/>
                      </a:lnTo>
                      <a:lnTo>
                        <a:pt x="175" y="460"/>
                      </a:lnTo>
                      <a:lnTo>
                        <a:pt x="165" y="452"/>
                      </a:lnTo>
                      <a:lnTo>
                        <a:pt x="163" y="452"/>
                      </a:lnTo>
                      <a:lnTo>
                        <a:pt x="163" y="450"/>
                      </a:lnTo>
                      <a:lnTo>
                        <a:pt x="163" y="449"/>
                      </a:lnTo>
                      <a:lnTo>
                        <a:pt x="162" y="447"/>
                      </a:lnTo>
                      <a:lnTo>
                        <a:pt x="162" y="445"/>
                      </a:lnTo>
                      <a:lnTo>
                        <a:pt x="163" y="445"/>
                      </a:lnTo>
                      <a:lnTo>
                        <a:pt x="163" y="444"/>
                      </a:lnTo>
                      <a:lnTo>
                        <a:pt x="163" y="442"/>
                      </a:lnTo>
                      <a:lnTo>
                        <a:pt x="163" y="441"/>
                      </a:lnTo>
                      <a:lnTo>
                        <a:pt x="162" y="439"/>
                      </a:lnTo>
                      <a:lnTo>
                        <a:pt x="160" y="437"/>
                      </a:lnTo>
                      <a:lnTo>
                        <a:pt x="160" y="436"/>
                      </a:lnTo>
                      <a:lnTo>
                        <a:pt x="158" y="436"/>
                      </a:lnTo>
                      <a:lnTo>
                        <a:pt x="158" y="434"/>
                      </a:lnTo>
                      <a:lnTo>
                        <a:pt x="157" y="434"/>
                      </a:lnTo>
                      <a:lnTo>
                        <a:pt x="158" y="434"/>
                      </a:lnTo>
                      <a:lnTo>
                        <a:pt x="157" y="434"/>
                      </a:lnTo>
                      <a:lnTo>
                        <a:pt x="157" y="432"/>
                      </a:lnTo>
                      <a:lnTo>
                        <a:pt x="157" y="431"/>
                      </a:lnTo>
                      <a:lnTo>
                        <a:pt x="157" y="429"/>
                      </a:lnTo>
                      <a:lnTo>
                        <a:pt x="157" y="427"/>
                      </a:lnTo>
                      <a:lnTo>
                        <a:pt x="157" y="426"/>
                      </a:lnTo>
                      <a:lnTo>
                        <a:pt x="155" y="426"/>
                      </a:lnTo>
                      <a:lnTo>
                        <a:pt x="155" y="424"/>
                      </a:lnTo>
                      <a:lnTo>
                        <a:pt x="155" y="422"/>
                      </a:lnTo>
                      <a:lnTo>
                        <a:pt x="155" y="421"/>
                      </a:lnTo>
                      <a:lnTo>
                        <a:pt x="153" y="421"/>
                      </a:lnTo>
                      <a:lnTo>
                        <a:pt x="153" y="419"/>
                      </a:lnTo>
                      <a:lnTo>
                        <a:pt x="152" y="419"/>
                      </a:lnTo>
                      <a:lnTo>
                        <a:pt x="152" y="421"/>
                      </a:lnTo>
                      <a:lnTo>
                        <a:pt x="152" y="419"/>
                      </a:lnTo>
                      <a:lnTo>
                        <a:pt x="150" y="421"/>
                      </a:lnTo>
                      <a:lnTo>
                        <a:pt x="150" y="419"/>
                      </a:lnTo>
                      <a:lnTo>
                        <a:pt x="150" y="421"/>
                      </a:lnTo>
                      <a:lnTo>
                        <a:pt x="148" y="419"/>
                      </a:lnTo>
                      <a:lnTo>
                        <a:pt x="147" y="419"/>
                      </a:lnTo>
                      <a:lnTo>
                        <a:pt x="147" y="418"/>
                      </a:lnTo>
                      <a:lnTo>
                        <a:pt x="147" y="416"/>
                      </a:lnTo>
                      <a:lnTo>
                        <a:pt x="145" y="418"/>
                      </a:lnTo>
                      <a:lnTo>
                        <a:pt x="145" y="416"/>
                      </a:lnTo>
                      <a:lnTo>
                        <a:pt x="145" y="414"/>
                      </a:lnTo>
                      <a:lnTo>
                        <a:pt x="143" y="414"/>
                      </a:lnTo>
                      <a:lnTo>
                        <a:pt x="145" y="414"/>
                      </a:lnTo>
                      <a:lnTo>
                        <a:pt x="145" y="413"/>
                      </a:lnTo>
                      <a:lnTo>
                        <a:pt x="145" y="411"/>
                      </a:lnTo>
                      <a:lnTo>
                        <a:pt x="143" y="411"/>
                      </a:lnTo>
                      <a:lnTo>
                        <a:pt x="145" y="409"/>
                      </a:lnTo>
                      <a:lnTo>
                        <a:pt x="143" y="409"/>
                      </a:lnTo>
                      <a:lnTo>
                        <a:pt x="145" y="409"/>
                      </a:lnTo>
                      <a:lnTo>
                        <a:pt x="143" y="409"/>
                      </a:lnTo>
                      <a:lnTo>
                        <a:pt x="145" y="409"/>
                      </a:lnTo>
                      <a:lnTo>
                        <a:pt x="145" y="408"/>
                      </a:lnTo>
                      <a:lnTo>
                        <a:pt x="143" y="408"/>
                      </a:lnTo>
                      <a:lnTo>
                        <a:pt x="143" y="406"/>
                      </a:lnTo>
                      <a:lnTo>
                        <a:pt x="143" y="404"/>
                      </a:lnTo>
                      <a:lnTo>
                        <a:pt x="143" y="403"/>
                      </a:lnTo>
                      <a:lnTo>
                        <a:pt x="143" y="401"/>
                      </a:lnTo>
                      <a:lnTo>
                        <a:pt x="143" y="399"/>
                      </a:lnTo>
                      <a:lnTo>
                        <a:pt x="143" y="398"/>
                      </a:lnTo>
                      <a:lnTo>
                        <a:pt x="143" y="396"/>
                      </a:lnTo>
                      <a:lnTo>
                        <a:pt x="143" y="395"/>
                      </a:lnTo>
                      <a:lnTo>
                        <a:pt x="143" y="393"/>
                      </a:lnTo>
                      <a:lnTo>
                        <a:pt x="143" y="391"/>
                      </a:lnTo>
                      <a:lnTo>
                        <a:pt x="145" y="391"/>
                      </a:lnTo>
                      <a:lnTo>
                        <a:pt x="145" y="390"/>
                      </a:lnTo>
                      <a:lnTo>
                        <a:pt x="145" y="391"/>
                      </a:lnTo>
                      <a:lnTo>
                        <a:pt x="145" y="390"/>
                      </a:lnTo>
                      <a:lnTo>
                        <a:pt x="147" y="390"/>
                      </a:lnTo>
                      <a:lnTo>
                        <a:pt x="145" y="390"/>
                      </a:lnTo>
                      <a:lnTo>
                        <a:pt x="145" y="388"/>
                      </a:lnTo>
                      <a:lnTo>
                        <a:pt x="145" y="390"/>
                      </a:lnTo>
                      <a:lnTo>
                        <a:pt x="147" y="390"/>
                      </a:lnTo>
                      <a:lnTo>
                        <a:pt x="147" y="388"/>
                      </a:lnTo>
                      <a:lnTo>
                        <a:pt x="148" y="388"/>
                      </a:lnTo>
                      <a:lnTo>
                        <a:pt x="148" y="386"/>
                      </a:lnTo>
                      <a:lnTo>
                        <a:pt x="150" y="386"/>
                      </a:lnTo>
                      <a:lnTo>
                        <a:pt x="150" y="385"/>
                      </a:lnTo>
                      <a:lnTo>
                        <a:pt x="152" y="385"/>
                      </a:lnTo>
                      <a:lnTo>
                        <a:pt x="152" y="383"/>
                      </a:lnTo>
                      <a:lnTo>
                        <a:pt x="153" y="381"/>
                      </a:lnTo>
                      <a:lnTo>
                        <a:pt x="155" y="381"/>
                      </a:lnTo>
                      <a:lnTo>
                        <a:pt x="155" y="380"/>
                      </a:lnTo>
                      <a:lnTo>
                        <a:pt x="157" y="380"/>
                      </a:lnTo>
                      <a:lnTo>
                        <a:pt x="157" y="378"/>
                      </a:lnTo>
                      <a:lnTo>
                        <a:pt x="158" y="378"/>
                      </a:lnTo>
                      <a:lnTo>
                        <a:pt x="158" y="376"/>
                      </a:lnTo>
                      <a:lnTo>
                        <a:pt x="160" y="376"/>
                      </a:lnTo>
                      <a:lnTo>
                        <a:pt x="162" y="375"/>
                      </a:lnTo>
                      <a:lnTo>
                        <a:pt x="160" y="375"/>
                      </a:lnTo>
                      <a:lnTo>
                        <a:pt x="162" y="375"/>
                      </a:lnTo>
                      <a:lnTo>
                        <a:pt x="162" y="373"/>
                      </a:lnTo>
                      <a:lnTo>
                        <a:pt x="162" y="372"/>
                      </a:lnTo>
                      <a:lnTo>
                        <a:pt x="162" y="370"/>
                      </a:lnTo>
                      <a:lnTo>
                        <a:pt x="162" y="368"/>
                      </a:lnTo>
                      <a:lnTo>
                        <a:pt x="162" y="367"/>
                      </a:lnTo>
                      <a:lnTo>
                        <a:pt x="160" y="367"/>
                      </a:lnTo>
                      <a:lnTo>
                        <a:pt x="160" y="365"/>
                      </a:lnTo>
                      <a:lnTo>
                        <a:pt x="158" y="365"/>
                      </a:lnTo>
                      <a:lnTo>
                        <a:pt x="158" y="363"/>
                      </a:lnTo>
                      <a:lnTo>
                        <a:pt x="157" y="362"/>
                      </a:lnTo>
                      <a:lnTo>
                        <a:pt x="157" y="360"/>
                      </a:lnTo>
                      <a:lnTo>
                        <a:pt x="155" y="358"/>
                      </a:lnTo>
                      <a:lnTo>
                        <a:pt x="155" y="357"/>
                      </a:lnTo>
                      <a:lnTo>
                        <a:pt x="157" y="357"/>
                      </a:lnTo>
                      <a:lnTo>
                        <a:pt x="157" y="355"/>
                      </a:lnTo>
                      <a:lnTo>
                        <a:pt x="157" y="353"/>
                      </a:lnTo>
                      <a:lnTo>
                        <a:pt x="155" y="353"/>
                      </a:lnTo>
                      <a:lnTo>
                        <a:pt x="155" y="352"/>
                      </a:lnTo>
                      <a:lnTo>
                        <a:pt x="155" y="350"/>
                      </a:lnTo>
                      <a:lnTo>
                        <a:pt x="157" y="350"/>
                      </a:lnTo>
                      <a:lnTo>
                        <a:pt x="157" y="349"/>
                      </a:lnTo>
                      <a:lnTo>
                        <a:pt x="155" y="349"/>
                      </a:lnTo>
                      <a:lnTo>
                        <a:pt x="153" y="349"/>
                      </a:lnTo>
                      <a:lnTo>
                        <a:pt x="152" y="349"/>
                      </a:lnTo>
                      <a:lnTo>
                        <a:pt x="150" y="349"/>
                      </a:lnTo>
                      <a:lnTo>
                        <a:pt x="148" y="349"/>
                      </a:lnTo>
                      <a:lnTo>
                        <a:pt x="147" y="347"/>
                      </a:lnTo>
                      <a:lnTo>
                        <a:pt x="145" y="347"/>
                      </a:lnTo>
                      <a:lnTo>
                        <a:pt x="143" y="347"/>
                      </a:lnTo>
                      <a:lnTo>
                        <a:pt x="142" y="347"/>
                      </a:lnTo>
                      <a:lnTo>
                        <a:pt x="140" y="347"/>
                      </a:lnTo>
                      <a:lnTo>
                        <a:pt x="138" y="345"/>
                      </a:lnTo>
                      <a:lnTo>
                        <a:pt x="138" y="347"/>
                      </a:lnTo>
                      <a:lnTo>
                        <a:pt x="136" y="347"/>
                      </a:lnTo>
                      <a:lnTo>
                        <a:pt x="136" y="349"/>
                      </a:lnTo>
                      <a:lnTo>
                        <a:pt x="135" y="347"/>
                      </a:lnTo>
                      <a:lnTo>
                        <a:pt x="135" y="349"/>
                      </a:lnTo>
                      <a:lnTo>
                        <a:pt x="135" y="347"/>
                      </a:lnTo>
                      <a:lnTo>
                        <a:pt x="133" y="347"/>
                      </a:lnTo>
                      <a:lnTo>
                        <a:pt x="131" y="347"/>
                      </a:lnTo>
                      <a:lnTo>
                        <a:pt x="131" y="345"/>
                      </a:lnTo>
                      <a:lnTo>
                        <a:pt x="131" y="347"/>
                      </a:lnTo>
                      <a:lnTo>
                        <a:pt x="130" y="347"/>
                      </a:lnTo>
                      <a:lnTo>
                        <a:pt x="130" y="345"/>
                      </a:lnTo>
                      <a:lnTo>
                        <a:pt x="128" y="345"/>
                      </a:lnTo>
                      <a:lnTo>
                        <a:pt x="128" y="347"/>
                      </a:lnTo>
                      <a:lnTo>
                        <a:pt x="128" y="345"/>
                      </a:lnTo>
                      <a:lnTo>
                        <a:pt x="128" y="344"/>
                      </a:lnTo>
                      <a:lnTo>
                        <a:pt x="126" y="344"/>
                      </a:lnTo>
                      <a:lnTo>
                        <a:pt x="125" y="342"/>
                      </a:lnTo>
                      <a:lnTo>
                        <a:pt x="125" y="344"/>
                      </a:lnTo>
                      <a:lnTo>
                        <a:pt x="123" y="344"/>
                      </a:lnTo>
                      <a:lnTo>
                        <a:pt x="123" y="345"/>
                      </a:lnTo>
                      <a:lnTo>
                        <a:pt x="121" y="345"/>
                      </a:lnTo>
                      <a:lnTo>
                        <a:pt x="121" y="344"/>
                      </a:lnTo>
                      <a:lnTo>
                        <a:pt x="121" y="345"/>
                      </a:lnTo>
                      <a:lnTo>
                        <a:pt x="121" y="347"/>
                      </a:lnTo>
                      <a:lnTo>
                        <a:pt x="120" y="347"/>
                      </a:lnTo>
                      <a:lnTo>
                        <a:pt x="118" y="345"/>
                      </a:lnTo>
                      <a:lnTo>
                        <a:pt x="118" y="347"/>
                      </a:lnTo>
                      <a:lnTo>
                        <a:pt x="116" y="345"/>
                      </a:lnTo>
                      <a:lnTo>
                        <a:pt x="116" y="344"/>
                      </a:lnTo>
                      <a:lnTo>
                        <a:pt x="115" y="344"/>
                      </a:lnTo>
                      <a:lnTo>
                        <a:pt x="115" y="342"/>
                      </a:lnTo>
                      <a:lnTo>
                        <a:pt x="115" y="340"/>
                      </a:lnTo>
                      <a:lnTo>
                        <a:pt x="113" y="340"/>
                      </a:lnTo>
                      <a:lnTo>
                        <a:pt x="111" y="340"/>
                      </a:lnTo>
                      <a:lnTo>
                        <a:pt x="113" y="339"/>
                      </a:lnTo>
                      <a:lnTo>
                        <a:pt x="111" y="339"/>
                      </a:lnTo>
                      <a:lnTo>
                        <a:pt x="111" y="337"/>
                      </a:lnTo>
                      <a:lnTo>
                        <a:pt x="59" y="337"/>
                      </a:lnTo>
                      <a:lnTo>
                        <a:pt x="18" y="335"/>
                      </a:lnTo>
                      <a:lnTo>
                        <a:pt x="6" y="335"/>
                      </a:lnTo>
                      <a:lnTo>
                        <a:pt x="8" y="335"/>
                      </a:lnTo>
                      <a:lnTo>
                        <a:pt x="10" y="335"/>
                      </a:lnTo>
                      <a:lnTo>
                        <a:pt x="10" y="334"/>
                      </a:lnTo>
                      <a:lnTo>
                        <a:pt x="10" y="332"/>
                      </a:lnTo>
                      <a:lnTo>
                        <a:pt x="10" y="330"/>
                      </a:lnTo>
                      <a:lnTo>
                        <a:pt x="10" y="329"/>
                      </a:lnTo>
                      <a:lnTo>
                        <a:pt x="10" y="327"/>
                      </a:lnTo>
                      <a:lnTo>
                        <a:pt x="10" y="326"/>
                      </a:lnTo>
                      <a:lnTo>
                        <a:pt x="10" y="324"/>
                      </a:lnTo>
                      <a:lnTo>
                        <a:pt x="10" y="322"/>
                      </a:lnTo>
                      <a:lnTo>
                        <a:pt x="11" y="322"/>
                      </a:lnTo>
                      <a:lnTo>
                        <a:pt x="10" y="321"/>
                      </a:lnTo>
                      <a:lnTo>
                        <a:pt x="11" y="321"/>
                      </a:lnTo>
                      <a:lnTo>
                        <a:pt x="11" y="319"/>
                      </a:lnTo>
                      <a:lnTo>
                        <a:pt x="11" y="317"/>
                      </a:lnTo>
                      <a:lnTo>
                        <a:pt x="13" y="317"/>
                      </a:lnTo>
                      <a:lnTo>
                        <a:pt x="13" y="319"/>
                      </a:lnTo>
                      <a:lnTo>
                        <a:pt x="15" y="319"/>
                      </a:lnTo>
                      <a:lnTo>
                        <a:pt x="15" y="317"/>
                      </a:lnTo>
                      <a:lnTo>
                        <a:pt x="13" y="317"/>
                      </a:lnTo>
                      <a:lnTo>
                        <a:pt x="13" y="316"/>
                      </a:lnTo>
                      <a:lnTo>
                        <a:pt x="13" y="314"/>
                      </a:lnTo>
                      <a:lnTo>
                        <a:pt x="13" y="312"/>
                      </a:lnTo>
                      <a:lnTo>
                        <a:pt x="15" y="311"/>
                      </a:lnTo>
                      <a:lnTo>
                        <a:pt x="13" y="311"/>
                      </a:lnTo>
                      <a:lnTo>
                        <a:pt x="11" y="311"/>
                      </a:lnTo>
                      <a:lnTo>
                        <a:pt x="11" y="309"/>
                      </a:lnTo>
                      <a:lnTo>
                        <a:pt x="11" y="307"/>
                      </a:lnTo>
                      <a:lnTo>
                        <a:pt x="13" y="307"/>
                      </a:lnTo>
                      <a:lnTo>
                        <a:pt x="13" y="306"/>
                      </a:lnTo>
                      <a:lnTo>
                        <a:pt x="13" y="304"/>
                      </a:lnTo>
                      <a:lnTo>
                        <a:pt x="13" y="303"/>
                      </a:lnTo>
                      <a:lnTo>
                        <a:pt x="13" y="301"/>
                      </a:lnTo>
                      <a:lnTo>
                        <a:pt x="13" y="299"/>
                      </a:lnTo>
                      <a:lnTo>
                        <a:pt x="13" y="298"/>
                      </a:lnTo>
                      <a:lnTo>
                        <a:pt x="15" y="298"/>
                      </a:lnTo>
                      <a:lnTo>
                        <a:pt x="15" y="296"/>
                      </a:lnTo>
                      <a:lnTo>
                        <a:pt x="15" y="294"/>
                      </a:lnTo>
                      <a:lnTo>
                        <a:pt x="13" y="294"/>
                      </a:lnTo>
                      <a:lnTo>
                        <a:pt x="13" y="293"/>
                      </a:lnTo>
                      <a:lnTo>
                        <a:pt x="13" y="291"/>
                      </a:lnTo>
                      <a:lnTo>
                        <a:pt x="13" y="289"/>
                      </a:lnTo>
                      <a:lnTo>
                        <a:pt x="15" y="289"/>
                      </a:lnTo>
                      <a:lnTo>
                        <a:pt x="15" y="288"/>
                      </a:lnTo>
                      <a:lnTo>
                        <a:pt x="15" y="286"/>
                      </a:lnTo>
                      <a:lnTo>
                        <a:pt x="15" y="285"/>
                      </a:lnTo>
                      <a:lnTo>
                        <a:pt x="15" y="283"/>
                      </a:lnTo>
                      <a:lnTo>
                        <a:pt x="13" y="283"/>
                      </a:lnTo>
                      <a:lnTo>
                        <a:pt x="15" y="283"/>
                      </a:lnTo>
                      <a:lnTo>
                        <a:pt x="13" y="283"/>
                      </a:lnTo>
                      <a:lnTo>
                        <a:pt x="13" y="281"/>
                      </a:lnTo>
                      <a:lnTo>
                        <a:pt x="11" y="281"/>
                      </a:lnTo>
                      <a:lnTo>
                        <a:pt x="11" y="280"/>
                      </a:lnTo>
                      <a:lnTo>
                        <a:pt x="11" y="278"/>
                      </a:lnTo>
                      <a:lnTo>
                        <a:pt x="10" y="278"/>
                      </a:lnTo>
                      <a:lnTo>
                        <a:pt x="10" y="276"/>
                      </a:lnTo>
                      <a:lnTo>
                        <a:pt x="8" y="276"/>
                      </a:lnTo>
                      <a:lnTo>
                        <a:pt x="8" y="275"/>
                      </a:lnTo>
                      <a:lnTo>
                        <a:pt x="6" y="275"/>
                      </a:lnTo>
                      <a:lnTo>
                        <a:pt x="6" y="273"/>
                      </a:lnTo>
                      <a:lnTo>
                        <a:pt x="8" y="273"/>
                      </a:lnTo>
                      <a:lnTo>
                        <a:pt x="6" y="271"/>
                      </a:lnTo>
                      <a:lnTo>
                        <a:pt x="6" y="270"/>
                      </a:lnTo>
                      <a:lnTo>
                        <a:pt x="5" y="270"/>
                      </a:lnTo>
                      <a:lnTo>
                        <a:pt x="5" y="268"/>
                      </a:lnTo>
                      <a:lnTo>
                        <a:pt x="5" y="266"/>
                      </a:lnTo>
                      <a:lnTo>
                        <a:pt x="5" y="265"/>
                      </a:lnTo>
                      <a:lnTo>
                        <a:pt x="5" y="263"/>
                      </a:lnTo>
                      <a:lnTo>
                        <a:pt x="6" y="263"/>
                      </a:lnTo>
                      <a:lnTo>
                        <a:pt x="6" y="262"/>
                      </a:lnTo>
                      <a:lnTo>
                        <a:pt x="5" y="260"/>
                      </a:lnTo>
                      <a:lnTo>
                        <a:pt x="3" y="260"/>
                      </a:lnTo>
                      <a:lnTo>
                        <a:pt x="1" y="260"/>
                      </a:lnTo>
                      <a:lnTo>
                        <a:pt x="1" y="258"/>
                      </a:lnTo>
                      <a:lnTo>
                        <a:pt x="3" y="258"/>
                      </a:lnTo>
                      <a:lnTo>
                        <a:pt x="3" y="257"/>
                      </a:lnTo>
                      <a:lnTo>
                        <a:pt x="3" y="255"/>
                      </a:lnTo>
                      <a:lnTo>
                        <a:pt x="3" y="253"/>
                      </a:lnTo>
                      <a:lnTo>
                        <a:pt x="5" y="252"/>
                      </a:lnTo>
                      <a:lnTo>
                        <a:pt x="3" y="250"/>
                      </a:lnTo>
                      <a:lnTo>
                        <a:pt x="5" y="250"/>
                      </a:lnTo>
                      <a:lnTo>
                        <a:pt x="6" y="248"/>
                      </a:lnTo>
                      <a:lnTo>
                        <a:pt x="8" y="247"/>
                      </a:lnTo>
                      <a:lnTo>
                        <a:pt x="8" y="245"/>
                      </a:lnTo>
                      <a:lnTo>
                        <a:pt x="8" y="243"/>
                      </a:lnTo>
                      <a:lnTo>
                        <a:pt x="10" y="243"/>
                      </a:lnTo>
                      <a:lnTo>
                        <a:pt x="10" y="242"/>
                      </a:lnTo>
                      <a:lnTo>
                        <a:pt x="8" y="242"/>
                      </a:lnTo>
                      <a:lnTo>
                        <a:pt x="8" y="240"/>
                      </a:lnTo>
                      <a:lnTo>
                        <a:pt x="10" y="240"/>
                      </a:lnTo>
                      <a:lnTo>
                        <a:pt x="10" y="239"/>
                      </a:lnTo>
                      <a:lnTo>
                        <a:pt x="10" y="237"/>
                      </a:lnTo>
                      <a:lnTo>
                        <a:pt x="10" y="235"/>
                      </a:lnTo>
                      <a:lnTo>
                        <a:pt x="11" y="235"/>
                      </a:lnTo>
                      <a:lnTo>
                        <a:pt x="11" y="234"/>
                      </a:lnTo>
                      <a:lnTo>
                        <a:pt x="11" y="232"/>
                      </a:lnTo>
                      <a:lnTo>
                        <a:pt x="10" y="232"/>
                      </a:lnTo>
                      <a:lnTo>
                        <a:pt x="10" y="230"/>
                      </a:lnTo>
                      <a:lnTo>
                        <a:pt x="10" y="229"/>
                      </a:lnTo>
                      <a:lnTo>
                        <a:pt x="8" y="229"/>
                      </a:lnTo>
                      <a:lnTo>
                        <a:pt x="10" y="227"/>
                      </a:lnTo>
                      <a:lnTo>
                        <a:pt x="10" y="225"/>
                      </a:lnTo>
                      <a:lnTo>
                        <a:pt x="8" y="225"/>
                      </a:lnTo>
                      <a:lnTo>
                        <a:pt x="8" y="224"/>
                      </a:lnTo>
                      <a:lnTo>
                        <a:pt x="8" y="222"/>
                      </a:lnTo>
                      <a:lnTo>
                        <a:pt x="8" y="220"/>
                      </a:lnTo>
                      <a:lnTo>
                        <a:pt x="6" y="220"/>
                      </a:lnTo>
                      <a:lnTo>
                        <a:pt x="5" y="220"/>
                      </a:lnTo>
                      <a:lnTo>
                        <a:pt x="5" y="219"/>
                      </a:lnTo>
                      <a:lnTo>
                        <a:pt x="6" y="219"/>
                      </a:lnTo>
                      <a:lnTo>
                        <a:pt x="8" y="219"/>
                      </a:lnTo>
                      <a:lnTo>
                        <a:pt x="10" y="219"/>
                      </a:lnTo>
                      <a:lnTo>
                        <a:pt x="10" y="217"/>
                      </a:lnTo>
                      <a:lnTo>
                        <a:pt x="11" y="217"/>
                      </a:lnTo>
                      <a:lnTo>
                        <a:pt x="11" y="216"/>
                      </a:lnTo>
                      <a:lnTo>
                        <a:pt x="11" y="214"/>
                      </a:lnTo>
                      <a:lnTo>
                        <a:pt x="13" y="212"/>
                      </a:lnTo>
                      <a:lnTo>
                        <a:pt x="13" y="211"/>
                      </a:lnTo>
                      <a:lnTo>
                        <a:pt x="11" y="211"/>
                      </a:lnTo>
                      <a:lnTo>
                        <a:pt x="11" y="209"/>
                      </a:lnTo>
                      <a:lnTo>
                        <a:pt x="11" y="207"/>
                      </a:lnTo>
                      <a:lnTo>
                        <a:pt x="11" y="206"/>
                      </a:lnTo>
                      <a:lnTo>
                        <a:pt x="11" y="204"/>
                      </a:lnTo>
                      <a:lnTo>
                        <a:pt x="11" y="202"/>
                      </a:lnTo>
                      <a:lnTo>
                        <a:pt x="10" y="202"/>
                      </a:lnTo>
                      <a:lnTo>
                        <a:pt x="8" y="202"/>
                      </a:lnTo>
                      <a:lnTo>
                        <a:pt x="8" y="201"/>
                      </a:lnTo>
                      <a:lnTo>
                        <a:pt x="6" y="201"/>
                      </a:lnTo>
                      <a:lnTo>
                        <a:pt x="8" y="201"/>
                      </a:lnTo>
                      <a:lnTo>
                        <a:pt x="8" y="199"/>
                      </a:lnTo>
                      <a:lnTo>
                        <a:pt x="10" y="199"/>
                      </a:lnTo>
                      <a:lnTo>
                        <a:pt x="8" y="199"/>
                      </a:lnTo>
                      <a:lnTo>
                        <a:pt x="6" y="197"/>
                      </a:lnTo>
                      <a:lnTo>
                        <a:pt x="5" y="197"/>
                      </a:lnTo>
                      <a:lnTo>
                        <a:pt x="5" y="196"/>
                      </a:lnTo>
                      <a:lnTo>
                        <a:pt x="5" y="194"/>
                      </a:lnTo>
                      <a:lnTo>
                        <a:pt x="6" y="193"/>
                      </a:lnTo>
                      <a:lnTo>
                        <a:pt x="6" y="191"/>
                      </a:lnTo>
                      <a:lnTo>
                        <a:pt x="6" y="189"/>
                      </a:lnTo>
                      <a:lnTo>
                        <a:pt x="6" y="188"/>
                      </a:lnTo>
                      <a:lnTo>
                        <a:pt x="5" y="188"/>
                      </a:lnTo>
                      <a:lnTo>
                        <a:pt x="5" y="186"/>
                      </a:lnTo>
                      <a:lnTo>
                        <a:pt x="3" y="188"/>
                      </a:lnTo>
                      <a:lnTo>
                        <a:pt x="1" y="186"/>
                      </a:lnTo>
                      <a:lnTo>
                        <a:pt x="0" y="186"/>
                      </a:lnTo>
                      <a:lnTo>
                        <a:pt x="0" y="184"/>
                      </a:lnTo>
                      <a:lnTo>
                        <a:pt x="1" y="183"/>
                      </a:lnTo>
                      <a:lnTo>
                        <a:pt x="1" y="181"/>
                      </a:lnTo>
                      <a:lnTo>
                        <a:pt x="1" y="179"/>
                      </a:lnTo>
                      <a:lnTo>
                        <a:pt x="1" y="178"/>
                      </a:lnTo>
                      <a:lnTo>
                        <a:pt x="0" y="179"/>
                      </a:lnTo>
                      <a:lnTo>
                        <a:pt x="0" y="178"/>
                      </a:lnTo>
                      <a:lnTo>
                        <a:pt x="0" y="176"/>
                      </a:lnTo>
                      <a:lnTo>
                        <a:pt x="1" y="176"/>
                      </a:lnTo>
                      <a:lnTo>
                        <a:pt x="3" y="176"/>
                      </a:lnTo>
                      <a:lnTo>
                        <a:pt x="3" y="174"/>
                      </a:lnTo>
                      <a:lnTo>
                        <a:pt x="5" y="174"/>
                      </a:lnTo>
                      <a:lnTo>
                        <a:pt x="6" y="176"/>
                      </a:lnTo>
                      <a:lnTo>
                        <a:pt x="8" y="176"/>
                      </a:lnTo>
                      <a:lnTo>
                        <a:pt x="10" y="176"/>
                      </a:lnTo>
                      <a:lnTo>
                        <a:pt x="10" y="174"/>
                      </a:lnTo>
                      <a:lnTo>
                        <a:pt x="10" y="173"/>
                      </a:lnTo>
                      <a:lnTo>
                        <a:pt x="10" y="171"/>
                      </a:lnTo>
                      <a:lnTo>
                        <a:pt x="10" y="170"/>
                      </a:lnTo>
                      <a:lnTo>
                        <a:pt x="8" y="168"/>
                      </a:lnTo>
                      <a:lnTo>
                        <a:pt x="8" y="166"/>
                      </a:lnTo>
                      <a:lnTo>
                        <a:pt x="6" y="166"/>
                      </a:lnTo>
                      <a:lnTo>
                        <a:pt x="6" y="165"/>
                      </a:lnTo>
                      <a:lnTo>
                        <a:pt x="6" y="163"/>
                      </a:lnTo>
                      <a:lnTo>
                        <a:pt x="6" y="161"/>
                      </a:lnTo>
                      <a:lnTo>
                        <a:pt x="6" y="160"/>
                      </a:lnTo>
                      <a:lnTo>
                        <a:pt x="8" y="160"/>
                      </a:lnTo>
                      <a:lnTo>
                        <a:pt x="8" y="158"/>
                      </a:lnTo>
                      <a:lnTo>
                        <a:pt x="8" y="156"/>
                      </a:lnTo>
                      <a:lnTo>
                        <a:pt x="10" y="155"/>
                      </a:lnTo>
                      <a:lnTo>
                        <a:pt x="10" y="153"/>
                      </a:lnTo>
                      <a:lnTo>
                        <a:pt x="10" y="151"/>
                      </a:lnTo>
                      <a:lnTo>
                        <a:pt x="11" y="150"/>
                      </a:lnTo>
                      <a:lnTo>
                        <a:pt x="11" y="148"/>
                      </a:lnTo>
                      <a:lnTo>
                        <a:pt x="13" y="147"/>
                      </a:lnTo>
                      <a:lnTo>
                        <a:pt x="15" y="145"/>
                      </a:lnTo>
                      <a:lnTo>
                        <a:pt x="13" y="145"/>
                      </a:lnTo>
                      <a:lnTo>
                        <a:pt x="13" y="143"/>
                      </a:lnTo>
                      <a:lnTo>
                        <a:pt x="13" y="142"/>
                      </a:lnTo>
                      <a:lnTo>
                        <a:pt x="11" y="142"/>
                      </a:lnTo>
                      <a:lnTo>
                        <a:pt x="11" y="140"/>
                      </a:lnTo>
                      <a:lnTo>
                        <a:pt x="10" y="140"/>
                      </a:lnTo>
                      <a:lnTo>
                        <a:pt x="10" y="138"/>
                      </a:lnTo>
                      <a:lnTo>
                        <a:pt x="10" y="137"/>
                      </a:lnTo>
                      <a:lnTo>
                        <a:pt x="8" y="137"/>
                      </a:lnTo>
                      <a:lnTo>
                        <a:pt x="6" y="135"/>
                      </a:lnTo>
                      <a:lnTo>
                        <a:pt x="5" y="135"/>
                      </a:lnTo>
                      <a:lnTo>
                        <a:pt x="3" y="135"/>
                      </a:lnTo>
                      <a:lnTo>
                        <a:pt x="11" y="135"/>
                      </a:lnTo>
                      <a:lnTo>
                        <a:pt x="115" y="133"/>
                      </a:lnTo>
                      <a:lnTo>
                        <a:pt x="153" y="135"/>
                      </a:lnTo>
                      <a:lnTo>
                        <a:pt x="201" y="135"/>
                      </a:lnTo>
                      <a:lnTo>
                        <a:pt x="236" y="135"/>
                      </a:lnTo>
                      <a:lnTo>
                        <a:pt x="297" y="135"/>
                      </a:lnTo>
                      <a:lnTo>
                        <a:pt x="302" y="135"/>
                      </a:lnTo>
                      <a:close/>
                    </a:path>
                  </a:pathLst>
                </a:custGeom>
                <a:solidFill>
                  <a:srgbClr val="FFFFE1"/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black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84" name="Freeform 27"/>
                <p:cNvSpPr>
                  <a:spLocks noChangeAspect="1"/>
                </p:cNvSpPr>
                <p:nvPr/>
              </p:nvSpPr>
              <p:spPr bwMode="auto">
                <a:xfrm>
                  <a:off x="4342343" y="3184913"/>
                  <a:ext cx="1087336" cy="1093878"/>
                </a:xfrm>
                <a:custGeom>
                  <a:avLst/>
                  <a:gdLst>
                    <a:gd name="T0" fmla="*/ 2147483647 w 698"/>
                    <a:gd name="T1" fmla="*/ 2147483647 h 655"/>
                    <a:gd name="T2" fmla="*/ 2147483647 w 698"/>
                    <a:gd name="T3" fmla="*/ 2147483647 h 655"/>
                    <a:gd name="T4" fmla="*/ 2147483647 w 698"/>
                    <a:gd name="T5" fmla="*/ 2147483647 h 655"/>
                    <a:gd name="T6" fmla="*/ 2147483647 w 698"/>
                    <a:gd name="T7" fmla="*/ 2147483647 h 655"/>
                    <a:gd name="T8" fmla="*/ 2147483647 w 698"/>
                    <a:gd name="T9" fmla="*/ 2147483647 h 655"/>
                    <a:gd name="T10" fmla="*/ 2147483647 w 698"/>
                    <a:gd name="T11" fmla="*/ 2147483647 h 655"/>
                    <a:gd name="T12" fmla="*/ 2147483647 w 698"/>
                    <a:gd name="T13" fmla="*/ 2147483647 h 655"/>
                    <a:gd name="T14" fmla="*/ 2147483647 w 698"/>
                    <a:gd name="T15" fmla="*/ 2147483647 h 655"/>
                    <a:gd name="T16" fmla="*/ 2147483647 w 698"/>
                    <a:gd name="T17" fmla="*/ 2147483647 h 655"/>
                    <a:gd name="T18" fmla="*/ 2147483647 w 698"/>
                    <a:gd name="T19" fmla="*/ 2147483647 h 655"/>
                    <a:gd name="T20" fmla="*/ 2147483647 w 698"/>
                    <a:gd name="T21" fmla="*/ 2147483647 h 655"/>
                    <a:gd name="T22" fmla="*/ 2147483647 w 698"/>
                    <a:gd name="T23" fmla="*/ 2147483647 h 655"/>
                    <a:gd name="T24" fmla="*/ 2147483647 w 698"/>
                    <a:gd name="T25" fmla="*/ 2147483647 h 655"/>
                    <a:gd name="T26" fmla="*/ 2147483647 w 698"/>
                    <a:gd name="T27" fmla="*/ 2147483647 h 655"/>
                    <a:gd name="T28" fmla="*/ 2147483647 w 698"/>
                    <a:gd name="T29" fmla="*/ 2147483647 h 655"/>
                    <a:gd name="T30" fmla="*/ 2147483647 w 698"/>
                    <a:gd name="T31" fmla="*/ 2147483647 h 655"/>
                    <a:gd name="T32" fmla="*/ 2147483647 w 698"/>
                    <a:gd name="T33" fmla="*/ 2147483647 h 655"/>
                    <a:gd name="T34" fmla="*/ 2147483647 w 698"/>
                    <a:gd name="T35" fmla="*/ 2147483647 h 655"/>
                    <a:gd name="T36" fmla="*/ 2147483647 w 698"/>
                    <a:gd name="T37" fmla="*/ 2147483647 h 655"/>
                    <a:gd name="T38" fmla="*/ 2147483647 w 698"/>
                    <a:gd name="T39" fmla="*/ 2147483647 h 655"/>
                    <a:gd name="T40" fmla="*/ 2147483647 w 698"/>
                    <a:gd name="T41" fmla="*/ 2147483647 h 655"/>
                    <a:gd name="T42" fmla="*/ 2147483647 w 698"/>
                    <a:gd name="T43" fmla="*/ 2147483647 h 655"/>
                    <a:gd name="T44" fmla="*/ 2147483647 w 698"/>
                    <a:gd name="T45" fmla="*/ 2147483647 h 655"/>
                    <a:gd name="T46" fmla="*/ 2147483647 w 698"/>
                    <a:gd name="T47" fmla="*/ 2147483647 h 655"/>
                    <a:gd name="T48" fmla="*/ 2147483647 w 698"/>
                    <a:gd name="T49" fmla="*/ 2147483647 h 655"/>
                    <a:gd name="T50" fmla="*/ 2147483647 w 698"/>
                    <a:gd name="T51" fmla="*/ 2147483647 h 655"/>
                    <a:gd name="T52" fmla="*/ 2147483647 w 698"/>
                    <a:gd name="T53" fmla="*/ 2147483647 h 655"/>
                    <a:gd name="T54" fmla="*/ 2147483647 w 698"/>
                    <a:gd name="T55" fmla="*/ 2147483647 h 655"/>
                    <a:gd name="T56" fmla="*/ 2147483647 w 698"/>
                    <a:gd name="T57" fmla="*/ 2147483647 h 655"/>
                    <a:gd name="T58" fmla="*/ 2147483647 w 698"/>
                    <a:gd name="T59" fmla="*/ 2147483647 h 655"/>
                    <a:gd name="T60" fmla="*/ 2147483647 w 698"/>
                    <a:gd name="T61" fmla="*/ 2147483647 h 655"/>
                    <a:gd name="T62" fmla="*/ 2147483647 w 698"/>
                    <a:gd name="T63" fmla="*/ 2147483647 h 655"/>
                    <a:gd name="T64" fmla="*/ 2147483647 w 698"/>
                    <a:gd name="T65" fmla="*/ 2147483647 h 655"/>
                    <a:gd name="T66" fmla="*/ 2147483647 w 698"/>
                    <a:gd name="T67" fmla="*/ 2147483647 h 655"/>
                    <a:gd name="T68" fmla="*/ 2147483647 w 698"/>
                    <a:gd name="T69" fmla="*/ 2147483647 h 655"/>
                    <a:gd name="T70" fmla="*/ 2147483647 w 698"/>
                    <a:gd name="T71" fmla="*/ 2147483647 h 655"/>
                    <a:gd name="T72" fmla="*/ 2147483647 w 698"/>
                    <a:gd name="T73" fmla="*/ 2147483647 h 655"/>
                    <a:gd name="T74" fmla="*/ 2147483647 w 698"/>
                    <a:gd name="T75" fmla="*/ 2147483647 h 655"/>
                    <a:gd name="T76" fmla="*/ 2147483647 w 698"/>
                    <a:gd name="T77" fmla="*/ 2147483647 h 655"/>
                    <a:gd name="T78" fmla="*/ 2147483647 w 698"/>
                    <a:gd name="T79" fmla="*/ 2147483647 h 655"/>
                    <a:gd name="T80" fmla="*/ 2147483647 w 698"/>
                    <a:gd name="T81" fmla="*/ 2147483647 h 655"/>
                    <a:gd name="T82" fmla="*/ 2147483647 w 698"/>
                    <a:gd name="T83" fmla="*/ 2147483647 h 655"/>
                    <a:gd name="T84" fmla="*/ 2147483647 w 698"/>
                    <a:gd name="T85" fmla="*/ 2147483647 h 655"/>
                    <a:gd name="T86" fmla="*/ 2147483647 w 698"/>
                    <a:gd name="T87" fmla="*/ 2147483647 h 655"/>
                    <a:gd name="T88" fmla="*/ 2147483647 w 698"/>
                    <a:gd name="T89" fmla="*/ 2147483647 h 655"/>
                    <a:gd name="T90" fmla="*/ 2147483647 w 698"/>
                    <a:gd name="T91" fmla="*/ 2147483647 h 655"/>
                    <a:gd name="T92" fmla="*/ 2147483647 w 698"/>
                    <a:gd name="T93" fmla="*/ 2147483647 h 655"/>
                    <a:gd name="T94" fmla="*/ 2147483647 w 698"/>
                    <a:gd name="T95" fmla="*/ 2147483647 h 655"/>
                    <a:gd name="T96" fmla="*/ 2147483647 w 698"/>
                    <a:gd name="T97" fmla="*/ 2147483647 h 655"/>
                    <a:gd name="T98" fmla="*/ 2147483647 w 698"/>
                    <a:gd name="T99" fmla="*/ 2147483647 h 655"/>
                    <a:gd name="T100" fmla="*/ 2147483647 w 698"/>
                    <a:gd name="T101" fmla="*/ 2147483647 h 655"/>
                    <a:gd name="T102" fmla="*/ 2147483647 w 698"/>
                    <a:gd name="T103" fmla="*/ 2147483647 h 655"/>
                    <a:gd name="T104" fmla="*/ 2147483647 w 698"/>
                    <a:gd name="T105" fmla="*/ 2147483647 h 655"/>
                    <a:gd name="T106" fmla="*/ 2147483647 w 698"/>
                    <a:gd name="T107" fmla="*/ 2147483647 h 655"/>
                    <a:gd name="T108" fmla="*/ 2147483647 w 698"/>
                    <a:gd name="T109" fmla="*/ 2147483647 h 655"/>
                    <a:gd name="T110" fmla="*/ 2147483647 w 698"/>
                    <a:gd name="T111" fmla="*/ 2147483647 h 655"/>
                    <a:gd name="T112" fmla="*/ 2147483647 w 698"/>
                    <a:gd name="T113" fmla="*/ 2147483647 h 655"/>
                    <a:gd name="T114" fmla="*/ 2147483647 w 698"/>
                    <a:gd name="T115" fmla="*/ 2147483647 h 655"/>
                    <a:gd name="T116" fmla="*/ 2147483647 w 698"/>
                    <a:gd name="T117" fmla="*/ 2147483647 h 655"/>
                    <a:gd name="T118" fmla="*/ 2147483647 w 698"/>
                    <a:gd name="T119" fmla="*/ 2147483647 h 655"/>
                    <a:gd name="T120" fmla="*/ 2147483647 w 698"/>
                    <a:gd name="T121" fmla="*/ 2147483647 h 655"/>
                    <a:gd name="T122" fmla="*/ 2147483647 w 698"/>
                    <a:gd name="T123" fmla="*/ 2147483647 h 655"/>
                    <a:gd name="T124" fmla="*/ 2147483647 w 698"/>
                    <a:gd name="T125" fmla="*/ 2147483647 h 65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98"/>
                    <a:gd name="T190" fmla="*/ 0 h 655"/>
                    <a:gd name="T191" fmla="*/ 698 w 698"/>
                    <a:gd name="T192" fmla="*/ 655 h 65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98" h="655">
                      <a:moveTo>
                        <a:pt x="686" y="224"/>
                      </a:moveTo>
                      <a:lnTo>
                        <a:pt x="686" y="225"/>
                      </a:lnTo>
                      <a:lnTo>
                        <a:pt x="684" y="225"/>
                      </a:lnTo>
                      <a:lnTo>
                        <a:pt x="683" y="225"/>
                      </a:lnTo>
                      <a:lnTo>
                        <a:pt x="684" y="225"/>
                      </a:lnTo>
                      <a:lnTo>
                        <a:pt x="684" y="227"/>
                      </a:lnTo>
                      <a:lnTo>
                        <a:pt x="686" y="228"/>
                      </a:lnTo>
                      <a:lnTo>
                        <a:pt x="684" y="228"/>
                      </a:lnTo>
                      <a:lnTo>
                        <a:pt x="684" y="230"/>
                      </a:lnTo>
                      <a:lnTo>
                        <a:pt x="684" y="228"/>
                      </a:lnTo>
                      <a:lnTo>
                        <a:pt x="684" y="230"/>
                      </a:lnTo>
                      <a:lnTo>
                        <a:pt x="683" y="230"/>
                      </a:lnTo>
                      <a:lnTo>
                        <a:pt x="683" y="232"/>
                      </a:lnTo>
                      <a:lnTo>
                        <a:pt x="683" y="233"/>
                      </a:lnTo>
                      <a:lnTo>
                        <a:pt x="681" y="232"/>
                      </a:lnTo>
                      <a:lnTo>
                        <a:pt x="681" y="233"/>
                      </a:lnTo>
                      <a:lnTo>
                        <a:pt x="681" y="235"/>
                      </a:lnTo>
                      <a:lnTo>
                        <a:pt x="679" y="235"/>
                      </a:lnTo>
                      <a:lnTo>
                        <a:pt x="678" y="235"/>
                      </a:lnTo>
                      <a:lnTo>
                        <a:pt x="678" y="233"/>
                      </a:lnTo>
                      <a:lnTo>
                        <a:pt x="676" y="233"/>
                      </a:lnTo>
                      <a:lnTo>
                        <a:pt x="676" y="235"/>
                      </a:lnTo>
                      <a:lnTo>
                        <a:pt x="674" y="235"/>
                      </a:lnTo>
                      <a:lnTo>
                        <a:pt x="674" y="233"/>
                      </a:lnTo>
                      <a:lnTo>
                        <a:pt x="673" y="233"/>
                      </a:lnTo>
                      <a:lnTo>
                        <a:pt x="673" y="232"/>
                      </a:lnTo>
                      <a:lnTo>
                        <a:pt x="673" y="233"/>
                      </a:lnTo>
                      <a:lnTo>
                        <a:pt x="673" y="235"/>
                      </a:lnTo>
                      <a:lnTo>
                        <a:pt x="673" y="237"/>
                      </a:lnTo>
                      <a:lnTo>
                        <a:pt x="671" y="237"/>
                      </a:lnTo>
                      <a:lnTo>
                        <a:pt x="669" y="235"/>
                      </a:lnTo>
                      <a:lnTo>
                        <a:pt x="668" y="237"/>
                      </a:lnTo>
                      <a:lnTo>
                        <a:pt x="668" y="235"/>
                      </a:lnTo>
                      <a:lnTo>
                        <a:pt x="666" y="233"/>
                      </a:lnTo>
                      <a:lnTo>
                        <a:pt x="664" y="233"/>
                      </a:lnTo>
                      <a:lnTo>
                        <a:pt x="664" y="235"/>
                      </a:lnTo>
                      <a:lnTo>
                        <a:pt x="663" y="235"/>
                      </a:lnTo>
                      <a:lnTo>
                        <a:pt x="661" y="235"/>
                      </a:lnTo>
                      <a:lnTo>
                        <a:pt x="661" y="233"/>
                      </a:lnTo>
                      <a:lnTo>
                        <a:pt x="659" y="233"/>
                      </a:lnTo>
                      <a:lnTo>
                        <a:pt x="659" y="232"/>
                      </a:lnTo>
                      <a:lnTo>
                        <a:pt x="657" y="232"/>
                      </a:lnTo>
                      <a:lnTo>
                        <a:pt x="659" y="230"/>
                      </a:lnTo>
                      <a:lnTo>
                        <a:pt x="659" y="228"/>
                      </a:lnTo>
                      <a:lnTo>
                        <a:pt x="661" y="228"/>
                      </a:lnTo>
                      <a:lnTo>
                        <a:pt x="659" y="228"/>
                      </a:lnTo>
                      <a:lnTo>
                        <a:pt x="657" y="227"/>
                      </a:lnTo>
                      <a:lnTo>
                        <a:pt x="657" y="225"/>
                      </a:lnTo>
                      <a:lnTo>
                        <a:pt x="657" y="224"/>
                      </a:lnTo>
                      <a:lnTo>
                        <a:pt x="656" y="222"/>
                      </a:lnTo>
                      <a:lnTo>
                        <a:pt x="654" y="222"/>
                      </a:lnTo>
                      <a:lnTo>
                        <a:pt x="652" y="222"/>
                      </a:lnTo>
                      <a:lnTo>
                        <a:pt x="652" y="220"/>
                      </a:lnTo>
                      <a:lnTo>
                        <a:pt x="651" y="220"/>
                      </a:lnTo>
                      <a:lnTo>
                        <a:pt x="651" y="219"/>
                      </a:lnTo>
                      <a:lnTo>
                        <a:pt x="649" y="219"/>
                      </a:lnTo>
                      <a:lnTo>
                        <a:pt x="647" y="219"/>
                      </a:lnTo>
                      <a:lnTo>
                        <a:pt x="647" y="217"/>
                      </a:lnTo>
                      <a:lnTo>
                        <a:pt x="646" y="217"/>
                      </a:lnTo>
                      <a:lnTo>
                        <a:pt x="644" y="217"/>
                      </a:lnTo>
                      <a:lnTo>
                        <a:pt x="644" y="215"/>
                      </a:lnTo>
                      <a:lnTo>
                        <a:pt x="644" y="214"/>
                      </a:lnTo>
                      <a:lnTo>
                        <a:pt x="642" y="214"/>
                      </a:lnTo>
                      <a:lnTo>
                        <a:pt x="641" y="214"/>
                      </a:lnTo>
                      <a:lnTo>
                        <a:pt x="641" y="215"/>
                      </a:lnTo>
                      <a:lnTo>
                        <a:pt x="641" y="217"/>
                      </a:lnTo>
                      <a:lnTo>
                        <a:pt x="639" y="217"/>
                      </a:lnTo>
                      <a:lnTo>
                        <a:pt x="637" y="219"/>
                      </a:lnTo>
                      <a:lnTo>
                        <a:pt x="637" y="220"/>
                      </a:lnTo>
                      <a:lnTo>
                        <a:pt x="635" y="222"/>
                      </a:lnTo>
                      <a:lnTo>
                        <a:pt x="635" y="224"/>
                      </a:lnTo>
                      <a:lnTo>
                        <a:pt x="635" y="225"/>
                      </a:lnTo>
                      <a:lnTo>
                        <a:pt x="637" y="225"/>
                      </a:lnTo>
                      <a:lnTo>
                        <a:pt x="639" y="225"/>
                      </a:lnTo>
                      <a:lnTo>
                        <a:pt x="639" y="227"/>
                      </a:lnTo>
                      <a:lnTo>
                        <a:pt x="639" y="228"/>
                      </a:lnTo>
                      <a:lnTo>
                        <a:pt x="639" y="230"/>
                      </a:lnTo>
                      <a:lnTo>
                        <a:pt x="637" y="230"/>
                      </a:lnTo>
                      <a:lnTo>
                        <a:pt x="637" y="232"/>
                      </a:lnTo>
                      <a:lnTo>
                        <a:pt x="637" y="233"/>
                      </a:lnTo>
                      <a:lnTo>
                        <a:pt x="637" y="235"/>
                      </a:lnTo>
                      <a:lnTo>
                        <a:pt x="637" y="237"/>
                      </a:lnTo>
                      <a:lnTo>
                        <a:pt x="637" y="238"/>
                      </a:lnTo>
                      <a:lnTo>
                        <a:pt x="639" y="238"/>
                      </a:lnTo>
                      <a:lnTo>
                        <a:pt x="639" y="240"/>
                      </a:lnTo>
                      <a:lnTo>
                        <a:pt x="639" y="242"/>
                      </a:lnTo>
                      <a:lnTo>
                        <a:pt x="639" y="243"/>
                      </a:lnTo>
                      <a:lnTo>
                        <a:pt x="641" y="243"/>
                      </a:lnTo>
                      <a:lnTo>
                        <a:pt x="641" y="245"/>
                      </a:lnTo>
                      <a:lnTo>
                        <a:pt x="641" y="246"/>
                      </a:lnTo>
                      <a:lnTo>
                        <a:pt x="639" y="246"/>
                      </a:lnTo>
                      <a:lnTo>
                        <a:pt x="637" y="246"/>
                      </a:lnTo>
                      <a:lnTo>
                        <a:pt x="635" y="246"/>
                      </a:lnTo>
                      <a:lnTo>
                        <a:pt x="635" y="248"/>
                      </a:lnTo>
                      <a:lnTo>
                        <a:pt x="634" y="248"/>
                      </a:lnTo>
                      <a:lnTo>
                        <a:pt x="632" y="248"/>
                      </a:lnTo>
                      <a:lnTo>
                        <a:pt x="632" y="250"/>
                      </a:lnTo>
                      <a:lnTo>
                        <a:pt x="630" y="250"/>
                      </a:lnTo>
                      <a:lnTo>
                        <a:pt x="630" y="248"/>
                      </a:lnTo>
                      <a:lnTo>
                        <a:pt x="629" y="250"/>
                      </a:lnTo>
                      <a:lnTo>
                        <a:pt x="627" y="250"/>
                      </a:lnTo>
                      <a:lnTo>
                        <a:pt x="627" y="248"/>
                      </a:lnTo>
                      <a:lnTo>
                        <a:pt x="625" y="246"/>
                      </a:lnTo>
                      <a:lnTo>
                        <a:pt x="624" y="246"/>
                      </a:lnTo>
                      <a:lnTo>
                        <a:pt x="622" y="246"/>
                      </a:lnTo>
                      <a:lnTo>
                        <a:pt x="622" y="245"/>
                      </a:lnTo>
                      <a:lnTo>
                        <a:pt x="620" y="245"/>
                      </a:lnTo>
                      <a:lnTo>
                        <a:pt x="619" y="245"/>
                      </a:lnTo>
                      <a:lnTo>
                        <a:pt x="617" y="245"/>
                      </a:lnTo>
                      <a:lnTo>
                        <a:pt x="615" y="243"/>
                      </a:lnTo>
                      <a:lnTo>
                        <a:pt x="614" y="243"/>
                      </a:lnTo>
                      <a:lnTo>
                        <a:pt x="612" y="243"/>
                      </a:lnTo>
                      <a:lnTo>
                        <a:pt x="612" y="242"/>
                      </a:lnTo>
                      <a:lnTo>
                        <a:pt x="610" y="242"/>
                      </a:lnTo>
                      <a:lnTo>
                        <a:pt x="608" y="242"/>
                      </a:lnTo>
                      <a:lnTo>
                        <a:pt x="607" y="242"/>
                      </a:lnTo>
                      <a:lnTo>
                        <a:pt x="607" y="243"/>
                      </a:lnTo>
                      <a:lnTo>
                        <a:pt x="605" y="243"/>
                      </a:lnTo>
                      <a:lnTo>
                        <a:pt x="603" y="245"/>
                      </a:lnTo>
                      <a:lnTo>
                        <a:pt x="602" y="245"/>
                      </a:lnTo>
                      <a:lnTo>
                        <a:pt x="602" y="246"/>
                      </a:lnTo>
                      <a:lnTo>
                        <a:pt x="600" y="246"/>
                      </a:lnTo>
                      <a:lnTo>
                        <a:pt x="600" y="248"/>
                      </a:lnTo>
                      <a:lnTo>
                        <a:pt x="602" y="248"/>
                      </a:lnTo>
                      <a:lnTo>
                        <a:pt x="602" y="250"/>
                      </a:lnTo>
                      <a:lnTo>
                        <a:pt x="603" y="250"/>
                      </a:lnTo>
                      <a:lnTo>
                        <a:pt x="603" y="251"/>
                      </a:lnTo>
                      <a:lnTo>
                        <a:pt x="605" y="251"/>
                      </a:lnTo>
                      <a:lnTo>
                        <a:pt x="603" y="253"/>
                      </a:lnTo>
                      <a:lnTo>
                        <a:pt x="603" y="255"/>
                      </a:lnTo>
                      <a:lnTo>
                        <a:pt x="602" y="255"/>
                      </a:lnTo>
                      <a:lnTo>
                        <a:pt x="602" y="256"/>
                      </a:lnTo>
                      <a:lnTo>
                        <a:pt x="602" y="258"/>
                      </a:lnTo>
                      <a:lnTo>
                        <a:pt x="600" y="258"/>
                      </a:lnTo>
                      <a:lnTo>
                        <a:pt x="600" y="260"/>
                      </a:lnTo>
                      <a:lnTo>
                        <a:pt x="600" y="261"/>
                      </a:lnTo>
                      <a:lnTo>
                        <a:pt x="600" y="263"/>
                      </a:lnTo>
                      <a:lnTo>
                        <a:pt x="600" y="265"/>
                      </a:lnTo>
                      <a:lnTo>
                        <a:pt x="602" y="265"/>
                      </a:lnTo>
                      <a:lnTo>
                        <a:pt x="602" y="263"/>
                      </a:lnTo>
                      <a:lnTo>
                        <a:pt x="603" y="263"/>
                      </a:lnTo>
                      <a:lnTo>
                        <a:pt x="603" y="265"/>
                      </a:lnTo>
                      <a:lnTo>
                        <a:pt x="605" y="266"/>
                      </a:lnTo>
                      <a:lnTo>
                        <a:pt x="603" y="266"/>
                      </a:lnTo>
                      <a:lnTo>
                        <a:pt x="603" y="268"/>
                      </a:lnTo>
                      <a:lnTo>
                        <a:pt x="605" y="268"/>
                      </a:lnTo>
                      <a:lnTo>
                        <a:pt x="607" y="269"/>
                      </a:lnTo>
                      <a:lnTo>
                        <a:pt x="608" y="271"/>
                      </a:lnTo>
                      <a:lnTo>
                        <a:pt x="608" y="273"/>
                      </a:lnTo>
                      <a:lnTo>
                        <a:pt x="607" y="273"/>
                      </a:lnTo>
                      <a:lnTo>
                        <a:pt x="607" y="274"/>
                      </a:lnTo>
                      <a:lnTo>
                        <a:pt x="608" y="274"/>
                      </a:lnTo>
                      <a:lnTo>
                        <a:pt x="608" y="276"/>
                      </a:lnTo>
                      <a:lnTo>
                        <a:pt x="607" y="276"/>
                      </a:lnTo>
                      <a:lnTo>
                        <a:pt x="605" y="278"/>
                      </a:lnTo>
                      <a:lnTo>
                        <a:pt x="603" y="278"/>
                      </a:lnTo>
                      <a:lnTo>
                        <a:pt x="602" y="279"/>
                      </a:lnTo>
                      <a:lnTo>
                        <a:pt x="602" y="281"/>
                      </a:lnTo>
                      <a:lnTo>
                        <a:pt x="600" y="281"/>
                      </a:lnTo>
                      <a:lnTo>
                        <a:pt x="600" y="283"/>
                      </a:lnTo>
                      <a:lnTo>
                        <a:pt x="600" y="284"/>
                      </a:lnTo>
                      <a:lnTo>
                        <a:pt x="600" y="286"/>
                      </a:lnTo>
                      <a:lnTo>
                        <a:pt x="600" y="288"/>
                      </a:lnTo>
                      <a:lnTo>
                        <a:pt x="598" y="289"/>
                      </a:lnTo>
                      <a:lnTo>
                        <a:pt x="598" y="291"/>
                      </a:lnTo>
                      <a:lnTo>
                        <a:pt x="598" y="292"/>
                      </a:lnTo>
                      <a:lnTo>
                        <a:pt x="598" y="294"/>
                      </a:lnTo>
                      <a:lnTo>
                        <a:pt x="600" y="294"/>
                      </a:lnTo>
                      <a:lnTo>
                        <a:pt x="602" y="296"/>
                      </a:lnTo>
                      <a:lnTo>
                        <a:pt x="603" y="296"/>
                      </a:lnTo>
                      <a:lnTo>
                        <a:pt x="603" y="297"/>
                      </a:lnTo>
                      <a:lnTo>
                        <a:pt x="605" y="297"/>
                      </a:lnTo>
                      <a:lnTo>
                        <a:pt x="607" y="297"/>
                      </a:lnTo>
                      <a:lnTo>
                        <a:pt x="607" y="299"/>
                      </a:lnTo>
                      <a:lnTo>
                        <a:pt x="607" y="301"/>
                      </a:lnTo>
                      <a:lnTo>
                        <a:pt x="608" y="301"/>
                      </a:lnTo>
                      <a:lnTo>
                        <a:pt x="608" y="302"/>
                      </a:lnTo>
                      <a:lnTo>
                        <a:pt x="607" y="304"/>
                      </a:lnTo>
                      <a:lnTo>
                        <a:pt x="608" y="306"/>
                      </a:lnTo>
                      <a:lnTo>
                        <a:pt x="608" y="307"/>
                      </a:lnTo>
                      <a:lnTo>
                        <a:pt x="610" y="307"/>
                      </a:lnTo>
                      <a:lnTo>
                        <a:pt x="610" y="309"/>
                      </a:lnTo>
                      <a:lnTo>
                        <a:pt x="610" y="311"/>
                      </a:lnTo>
                      <a:lnTo>
                        <a:pt x="610" y="312"/>
                      </a:lnTo>
                      <a:lnTo>
                        <a:pt x="612" y="314"/>
                      </a:lnTo>
                      <a:lnTo>
                        <a:pt x="612" y="315"/>
                      </a:lnTo>
                      <a:lnTo>
                        <a:pt x="610" y="315"/>
                      </a:lnTo>
                      <a:lnTo>
                        <a:pt x="610" y="317"/>
                      </a:lnTo>
                      <a:lnTo>
                        <a:pt x="612" y="319"/>
                      </a:lnTo>
                      <a:lnTo>
                        <a:pt x="612" y="320"/>
                      </a:lnTo>
                      <a:lnTo>
                        <a:pt x="612" y="322"/>
                      </a:lnTo>
                      <a:lnTo>
                        <a:pt x="610" y="322"/>
                      </a:lnTo>
                      <a:lnTo>
                        <a:pt x="607" y="324"/>
                      </a:lnTo>
                      <a:lnTo>
                        <a:pt x="605" y="324"/>
                      </a:lnTo>
                      <a:lnTo>
                        <a:pt x="602" y="324"/>
                      </a:lnTo>
                      <a:lnTo>
                        <a:pt x="598" y="325"/>
                      </a:lnTo>
                      <a:lnTo>
                        <a:pt x="593" y="327"/>
                      </a:lnTo>
                      <a:lnTo>
                        <a:pt x="592" y="327"/>
                      </a:lnTo>
                      <a:lnTo>
                        <a:pt x="590" y="327"/>
                      </a:lnTo>
                      <a:lnTo>
                        <a:pt x="588" y="327"/>
                      </a:lnTo>
                      <a:lnTo>
                        <a:pt x="588" y="329"/>
                      </a:lnTo>
                      <a:lnTo>
                        <a:pt x="587" y="329"/>
                      </a:lnTo>
                      <a:lnTo>
                        <a:pt x="585" y="330"/>
                      </a:lnTo>
                      <a:lnTo>
                        <a:pt x="585" y="329"/>
                      </a:lnTo>
                      <a:lnTo>
                        <a:pt x="583" y="330"/>
                      </a:lnTo>
                      <a:lnTo>
                        <a:pt x="583" y="329"/>
                      </a:lnTo>
                      <a:lnTo>
                        <a:pt x="581" y="329"/>
                      </a:lnTo>
                      <a:lnTo>
                        <a:pt x="581" y="327"/>
                      </a:lnTo>
                      <a:lnTo>
                        <a:pt x="580" y="327"/>
                      </a:lnTo>
                      <a:lnTo>
                        <a:pt x="581" y="327"/>
                      </a:lnTo>
                      <a:lnTo>
                        <a:pt x="580" y="327"/>
                      </a:lnTo>
                      <a:lnTo>
                        <a:pt x="580" y="329"/>
                      </a:lnTo>
                      <a:lnTo>
                        <a:pt x="578" y="327"/>
                      </a:lnTo>
                      <a:lnTo>
                        <a:pt x="578" y="329"/>
                      </a:lnTo>
                      <a:lnTo>
                        <a:pt x="578" y="330"/>
                      </a:lnTo>
                      <a:lnTo>
                        <a:pt x="576" y="330"/>
                      </a:lnTo>
                      <a:lnTo>
                        <a:pt x="576" y="332"/>
                      </a:lnTo>
                      <a:lnTo>
                        <a:pt x="575" y="332"/>
                      </a:lnTo>
                      <a:lnTo>
                        <a:pt x="576" y="332"/>
                      </a:lnTo>
                      <a:lnTo>
                        <a:pt x="575" y="332"/>
                      </a:lnTo>
                      <a:lnTo>
                        <a:pt x="575" y="334"/>
                      </a:lnTo>
                      <a:lnTo>
                        <a:pt x="573" y="334"/>
                      </a:lnTo>
                      <a:lnTo>
                        <a:pt x="573" y="335"/>
                      </a:lnTo>
                      <a:lnTo>
                        <a:pt x="573" y="334"/>
                      </a:lnTo>
                      <a:lnTo>
                        <a:pt x="573" y="335"/>
                      </a:lnTo>
                      <a:lnTo>
                        <a:pt x="571" y="335"/>
                      </a:lnTo>
                      <a:lnTo>
                        <a:pt x="571" y="334"/>
                      </a:lnTo>
                      <a:lnTo>
                        <a:pt x="571" y="335"/>
                      </a:lnTo>
                      <a:lnTo>
                        <a:pt x="570" y="335"/>
                      </a:lnTo>
                      <a:lnTo>
                        <a:pt x="568" y="335"/>
                      </a:lnTo>
                      <a:lnTo>
                        <a:pt x="568" y="334"/>
                      </a:lnTo>
                      <a:lnTo>
                        <a:pt x="568" y="335"/>
                      </a:lnTo>
                      <a:lnTo>
                        <a:pt x="568" y="334"/>
                      </a:lnTo>
                      <a:lnTo>
                        <a:pt x="566" y="334"/>
                      </a:lnTo>
                      <a:lnTo>
                        <a:pt x="566" y="335"/>
                      </a:lnTo>
                      <a:lnTo>
                        <a:pt x="565" y="335"/>
                      </a:lnTo>
                      <a:lnTo>
                        <a:pt x="566" y="335"/>
                      </a:lnTo>
                      <a:lnTo>
                        <a:pt x="565" y="335"/>
                      </a:lnTo>
                      <a:lnTo>
                        <a:pt x="566" y="335"/>
                      </a:lnTo>
                      <a:lnTo>
                        <a:pt x="565" y="335"/>
                      </a:lnTo>
                      <a:lnTo>
                        <a:pt x="565" y="337"/>
                      </a:lnTo>
                      <a:lnTo>
                        <a:pt x="565" y="335"/>
                      </a:lnTo>
                      <a:lnTo>
                        <a:pt x="565" y="337"/>
                      </a:lnTo>
                      <a:lnTo>
                        <a:pt x="563" y="337"/>
                      </a:lnTo>
                      <a:lnTo>
                        <a:pt x="563" y="335"/>
                      </a:lnTo>
                      <a:lnTo>
                        <a:pt x="561" y="335"/>
                      </a:lnTo>
                      <a:lnTo>
                        <a:pt x="561" y="334"/>
                      </a:lnTo>
                      <a:lnTo>
                        <a:pt x="559" y="334"/>
                      </a:lnTo>
                      <a:lnTo>
                        <a:pt x="558" y="334"/>
                      </a:lnTo>
                      <a:lnTo>
                        <a:pt x="558" y="332"/>
                      </a:lnTo>
                      <a:lnTo>
                        <a:pt x="558" y="330"/>
                      </a:lnTo>
                      <a:lnTo>
                        <a:pt x="558" y="329"/>
                      </a:lnTo>
                      <a:lnTo>
                        <a:pt x="559" y="329"/>
                      </a:lnTo>
                      <a:lnTo>
                        <a:pt x="558" y="329"/>
                      </a:lnTo>
                      <a:lnTo>
                        <a:pt x="559" y="329"/>
                      </a:lnTo>
                      <a:lnTo>
                        <a:pt x="558" y="327"/>
                      </a:lnTo>
                      <a:lnTo>
                        <a:pt x="559" y="327"/>
                      </a:lnTo>
                      <a:lnTo>
                        <a:pt x="558" y="327"/>
                      </a:lnTo>
                      <a:lnTo>
                        <a:pt x="559" y="327"/>
                      </a:lnTo>
                      <a:lnTo>
                        <a:pt x="559" y="325"/>
                      </a:lnTo>
                      <a:lnTo>
                        <a:pt x="558" y="325"/>
                      </a:lnTo>
                      <a:lnTo>
                        <a:pt x="558" y="324"/>
                      </a:lnTo>
                      <a:lnTo>
                        <a:pt x="558" y="322"/>
                      </a:lnTo>
                      <a:lnTo>
                        <a:pt x="558" y="320"/>
                      </a:lnTo>
                      <a:lnTo>
                        <a:pt x="559" y="320"/>
                      </a:lnTo>
                      <a:lnTo>
                        <a:pt x="558" y="320"/>
                      </a:lnTo>
                      <a:lnTo>
                        <a:pt x="559" y="320"/>
                      </a:lnTo>
                      <a:lnTo>
                        <a:pt x="559" y="319"/>
                      </a:lnTo>
                      <a:lnTo>
                        <a:pt x="558" y="319"/>
                      </a:lnTo>
                      <a:lnTo>
                        <a:pt x="559" y="319"/>
                      </a:lnTo>
                      <a:lnTo>
                        <a:pt x="558" y="319"/>
                      </a:lnTo>
                      <a:lnTo>
                        <a:pt x="559" y="319"/>
                      </a:lnTo>
                      <a:lnTo>
                        <a:pt x="559" y="317"/>
                      </a:lnTo>
                      <a:lnTo>
                        <a:pt x="559" y="315"/>
                      </a:lnTo>
                      <a:lnTo>
                        <a:pt x="561" y="315"/>
                      </a:lnTo>
                      <a:lnTo>
                        <a:pt x="559" y="315"/>
                      </a:lnTo>
                      <a:lnTo>
                        <a:pt x="561" y="315"/>
                      </a:lnTo>
                      <a:lnTo>
                        <a:pt x="561" y="314"/>
                      </a:lnTo>
                      <a:lnTo>
                        <a:pt x="563" y="312"/>
                      </a:lnTo>
                      <a:lnTo>
                        <a:pt x="563" y="311"/>
                      </a:lnTo>
                      <a:lnTo>
                        <a:pt x="565" y="311"/>
                      </a:lnTo>
                      <a:lnTo>
                        <a:pt x="565" y="309"/>
                      </a:lnTo>
                      <a:lnTo>
                        <a:pt x="563" y="309"/>
                      </a:lnTo>
                      <a:lnTo>
                        <a:pt x="563" y="307"/>
                      </a:lnTo>
                      <a:lnTo>
                        <a:pt x="565" y="307"/>
                      </a:lnTo>
                      <a:lnTo>
                        <a:pt x="565" y="306"/>
                      </a:lnTo>
                      <a:lnTo>
                        <a:pt x="563" y="306"/>
                      </a:lnTo>
                      <a:lnTo>
                        <a:pt x="563" y="304"/>
                      </a:lnTo>
                      <a:lnTo>
                        <a:pt x="563" y="302"/>
                      </a:lnTo>
                      <a:lnTo>
                        <a:pt x="563" y="301"/>
                      </a:lnTo>
                      <a:lnTo>
                        <a:pt x="563" y="299"/>
                      </a:lnTo>
                      <a:lnTo>
                        <a:pt x="563" y="297"/>
                      </a:lnTo>
                      <a:lnTo>
                        <a:pt x="563" y="296"/>
                      </a:lnTo>
                      <a:lnTo>
                        <a:pt x="565" y="296"/>
                      </a:lnTo>
                      <a:lnTo>
                        <a:pt x="563" y="296"/>
                      </a:lnTo>
                      <a:lnTo>
                        <a:pt x="561" y="296"/>
                      </a:lnTo>
                      <a:lnTo>
                        <a:pt x="561" y="294"/>
                      </a:lnTo>
                      <a:lnTo>
                        <a:pt x="559" y="294"/>
                      </a:lnTo>
                      <a:lnTo>
                        <a:pt x="558" y="294"/>
                      </a:lnTo>
                      <a:lnTo>
                        <a:pt x="556" y="294"/>
                      </a:lnTo>
                      <a:lnTo>
                        <a:pt x="556" y="292"/>
                      </a:lnTo>
                      <a:lnTo>
                        <a:pt x="556" y="291"/>
                      </a:lnTo>
                      <a:lnTo>
                        <a:pt x="554" y="291"/>
                      </a:lnTo>
                      <a:lnTo>
                        <a:pt x="554" y="288"/>
                      </a:lnTo>
                      <a:lnTo>
                        <a:pt x="546" y="288"/>
                      </a:lnTo>
                      <a:lnTo>
                        <a:pt x="494" y="288"/>
                      </a:lnTo>
                      <a:lnTo>
                        <a:pt x="480" y="288"/>
                      </a:lnTo>
                      <a:lnTo>
                        <a:pt x="480" y="297"/>
                      </a:lnTo>
                      <a:lnTo>
                        <a:pt x="480" y="299"/>
                      </a:lnTo>
                      <a:lnTo>
                        <a:pt x="478" y="299"/>
                      </a:lnTo>
                      <a:lnTo>
                        <a:pt x="477" y="299"/>
                      </a:lnTo>
                      <a:lnTo>
                        <a:pt x="477" y="301"/>
                      </a:lnTo>
                      <a:lnTo>
                        <a:pt x="477" y="302"/>
                      </a:lnTo>
                      <a:lnTo>
                        <a:pt x="475" y="304"/>
                      </a:lnTo>
                      <a:lnTo>
                        <a:pt x="477" y="306"/>
                      </a:lnTo>
                      <a:lnTo>
                        <a:pt x="477" y="307"/>
                      </a:lnTo>
                      <a:lnTo>
                        <a:pt x="478" y="306"/>
                      </a:lnTo>
                      <a:lnTo>
                        <a:pt x="478" y="307"/>
                      </a:lnTo>
                      <a:lnTo>
                        <a:pt x="480" y="309"/>
                      </a:lnTo>
                      <a:lnTo>
                        <a:pt x="478" y="309"/>
                      </a:lnTo>
                      <a:lnTo>
                        <a:pt x="480" y="309"/>
                      </a:lnTo>
                      <a:lnTo>
                        <a:pt x="478" y="311"/>
                      </a:lnTo>
                      <a:lnTo>
                        <a:pt x="478" y="312"/>
                      </a:lnTo>
                      <a:lnTo>
                        <a:pt x="477" y="312"/>
                      </a:lnTo>
                      <a:lnTo>
                        <a:pt x="477" y="314"/>
                      </a:lnTo>
                      <a:lnTo>
                        <a:pt x="477" y="315"/>
                      </a:lnTo>
                      <a:lnTo>
                        <a:pt x="475" y="314"/>
                      </a:lnTo>
                      <a:lnTo>
                        <a:pt x="475" y="315"/>
                      </a:lnTo>
                      <a:lnTo>
                        <a:pt x="473" y="315"/>
                      </a:lnTo>
                      <a:lnTo>
                        <a:pt x="473" y="317"/>
                      </a:lnTo>
                      <a:lnTo>
                        <a:pt x="472" y="317"/>
                      </a:lnTo>
                      <a:lnTo>
                        <a:pt x="472" y="319"/>
                      </a:lnTo>
                      <a:lnTo>
                        <a:pt x="472" y="320"/>
                      </a:lnTo>
                      <a:lnTo>
                        <a:pt x="473" y="320"/>
                      </a:lnTo>
                      <a:lnTo>
                        <a:pt x="472" y="322"/>
                      </a:lnTo>
                      <a:lnTo>
                        <a:pt x="473" y="322"/>
                      </a:lnTo>
                      <a:lnTo>
                        <a:pt x="473" y="324"/>
                      </a:lnTo>
                      <a:lnTo>
                        <a:pt x="473" y="325"/>
                      </a:lnTo>
                      <a:lnTo>
                        <a:pt x="473" y="327"/>
                      </a:lnTo>
                      <a:lnTo>
                        <a:pt x="475" y="327"/>
                      </a:lnTo>
                      <a:lnTo>
                        <a:pt x="475" y="329"/>
                      </a:lnTo>
                      <a:lnTo>
                        <a:pt x="475" y="330"/>
                      </a:lnTo>
                      <a:lnTo>
                        <a:pt x="473" y="330"/>
                      </a:lnTo>
                      <a:lnTo>
                        <a:pt x="475" y="330"/>
                      </a:lnTo>
                      <a:lnTo>
                        <a:pt x="473" y="332"/>
                      </a:lnTo>
                      <a:lnTo>
                        <a:pt x="473" y="334"/>
                      </a:lnTo>
                      <a:lnTo>
                        <a:pt x="473" y="335"/>
                      </a:lnTo>
                      <a:lnTo>
                        <a:pt x="473" y="337"/>
                      </a:lnTo>
                      <a:lnTo>
                        <a:pt x="472" y="337"/>
                      </a:lnTo>
                      <a:lnTo>
                        <a:pt x="472" y="338"/>
                      </a:lnTo>
                      <a:lnTo>
                        <a:pt x="490" y="338"/>
                      </a:lnTo>
                      <a:lnTo>
                        <a:pt x="505" y="338"/>
                      </a:lnTo>
                      <a:lnTo>
                        <a:pt x="529" y="338"/>
                      </a:lnTo>
                      <a:lnTo>
                        <a:pt x="565" y="338"/>
                      </a:lnTo>
                      <a:lnTo>
                        <a:pt x="565" y="340"/>
                      </a:lnTo>
                      <a:lnTo>
                        <a:pt x="565" y="342"/>
                      </a:lnTo>
                      <a:lnTo>
                        <a:pt x="563" y="342"/>
                      </a:lnTo>
                      <a:lnTo>
                        <a:pt x="561" y="342"/>
                      </a:lnTo>
                      <a:lnTo>
                        <a:pt x="563" y="342"/>
                      </a:lnTo>
                      <a:lnTo>
                        <a:pt x="563" y="343"/>
                      </a:lnTo>
                      <a:lnTo>
                        <a:pt x="561" y="343"/>
                      </a:lnTo>
                      <a:lnTo>
                        <a:pt x="561" y="345"/>
                      </a:lnTo>
                      <a:lnTo>
                        <a:pt x="559" y="345"/>
                      </a:lnTo>
                      <a:lnTo>
                        <a:pt x="561" y="345"/>
                      </a:lnTo>
                      <a:lnTo>
                        <a:pt x="561" y="347"/>
                      </a:lnTo>
                      <a:lnTo>
                        <a:pt x="561" y="348"/>
                      </a:lnTo>
                      <a:lnTo>
                        <a:pt x="563" y="348"/>
                      </a:lnTo>
                      <a:lnTo>
                        <a:pt x="563" y="350"/>
                      </a:lnTo>
                      <a:lnTo>
                        <a:pt x="561" y="350"/>
                      </a:lnTo>
                      <a:lnTo>
                        <a:pt x="563" y="350"/>
                      </a:lnTo>
                      <a:lnTo>
                        <a:pt x="563" y="352"/>
                      </a:lnTo>
                      <a:lnTo>
                        <a:pt x="563" y="353"/>
                      </a:lnTo>
                      <a:lnTo>
                        <a:pt x="563" y="355"/>
                      </a:lnTo>
                      <a:lnTo>
                        <a:pt x="563" y="357"/>
                      </a:lnTo>
                      <a:lnTo>
                        <a:pt x="561" y="358"/>
                      </a:lnTo>
                      <a:lnTo>
                        <a:pt x="561" y="360"/>
                      </a:lnTo>
                      <a:lnTo>
                        <a:pt x="559" y="360"/>
                      </a:lnTo>
                      <a:lnTo>
                        <a:pt x="559" y="361"/>
                      </a:lnTo>
                      <a:lnTo>
                        <a:pt x="561" y="361"/>
                      </a:lnTo>
                      <a:lnTo>
                        <a:pt x="559" y="361"/>
                      </a:lnTo>
                      <a:lnTo>
                        <a:pt x="559" y="363"/>
                      </a:lnTo>
                      <a:lnTo>
                        <a:pt x="558" y="365"/>
                      </a:lnTo>
                      <a:lnTo>
                        <a:pt x="558" y="366"/>
                      </a:lnTo>
                      <a:lnTo>
                        <a:pt x="556" y="366"/>
                      </a:lnTo>
                      <a:lnTo>
                        <a:pt x="556" y="368"/>
                      </a:lnTo>
                      <a:lnTo>
                        <a:pt x="554" y="368"/>
                      </a:lnTo>
                      <a:lnTo>
                        <a:pt x="554" y="370"/>
                      </a:lnTo>
                      <a:lnTo>
                        <a:pt x="553" y="370"/>
                      </a:lnTo>
                      <a:lnTo>
                        <a:pt x="553" y="371"/>
                      </a:lnTo>
                      <a:lnTo>
                        <a:pt x="554" y="371"/>
                      </a:lnTo>
                      <a:lnTo>
                        <a:pt x="553" y="371"/>
                      </a:lnTo>
                      <a:lnTo>
                        <a:pt x="553" y="373"/>
                      </a:lnTo>
                      <a:lnTo>
                        <a:pt x="553" y="375"/>
                      </a:lnTo>
                      <a:lnTo>
                        <a:pt x="551" y="375"/>
                      </a:lnTo>
                      <a:lnTo>
                        <a:pt x="551" y="376"/>
                      </a:lnTo>
                      <a:lnTo>
                        <a:pt x="551" y="378"/>
                      </a:lnTo>
                      <a:lnTo>
                        <a:pt x="551" y="380"/>
                      </a:lnTo>
                      <a:lnTo>
                        <a:pt x="549" y="380"/>
                      </a:lnTo>
                      <a:lnTo>
                        <a:pt x="551" y="380"/>
                      </a:lnTo>
                      <a:lnTo>
                        <a:pt x="551" y="381"/>
                      </a:lnTo>
                      <a:lnTo>
                        <a:pt x="551" y="383"/>
                      </a:lnTo>
                      <a:lnTo>
                        <a:pt x="553" y="383"/>
                      </a:lnTo>
                      <a:lnTo>
                        <a:pt x="553" y="384"/>
                      </a:lnTo>
                      <a:lnTo>
                        <a:pt x="554" y="384"/>
                      </a:lnTo>
                      <a:lnTo>
                        <a:pt x="556" y="384"/>
                      </a:lnTo>
                      <a:lnTo>
                        <a:pt x="554" y="384"/>
                      </a:lnTo>
                      <a:lnTo>
                        <a:pt x="554" y="386"/>
                      </a:lnTo>
                      <a:lnTo>
                        <a:pt x="556" y="386"/>
                      </a:lnTo>
                      <a:lnTo>
                        <a:pt x="556" y="388"/>
                      </a:lnTo>
                      <a:lnTo>
                        <a:pt x="558" y="388"/>
                      </a:lnTo>
                      <a:lnTo>
                        <a:pt x="556" y="386"/>
                      </a:lnTo>
                      <a:lnTo>
                        <a:pt x="558" y="386"/>
                      </a:lnTo>
                      <a:lnTo>
                        <a:pt x="558" y="388"/>
                      </a:lnTo>
                      <a:lnTo>
                        <a:pt x="558" y="389"/>
                      </a:lnTo>
                      <a:lnTo>
                        <a:pt x="558" y="388"/>
                      </a:lnTo>
                      <a:lnTo>
                        <a:pt x="559" y="389"/>
                      </a:lnTo>
                      <a:lnTo>
                        <a:pt x="559" y="388"/>
                      </a:lnTo>
                      <a:lnTo>
                        <a:pt x="561" y="388"/>
                      </a:lnTo>
                      <a:lnTo>
                        <a:pt x="561" y="389"/>
                      </a:lnTo>
                      <a:lnTo>
                        <a:pt x="563" y="389"/>
                      </a:lnTo>
                      <a:lnTo>
                        <a:pt x="561" y="389"/>
                      </a:lnTo>
                      <a:lnTo>
                        <a:pt x="563" y="389"/>
                      </a:lnTo>
                      <a:lnTo>
                        <a:pt x="565" y="389"/>
                      </a:lnTo>
                      <a:lnTo>
                        <a:pt x="563" y="389"/>
                      </a:lnTo>
                      <a:lnTo>
                        <a:pt x="563" y="391"/>
                      </a:lnTo>
                      <a:lnTo>
                        <a:pt x="563" y="389"/>
                      </a:lnTo>
                      <a:lnTo>
                        <a:pt x="565" y="391"/>
                      </a:lnTo>
                      <a:lnTo>
                        <a:pt x="566" y="391"/>
                      </a:lnTo>
                      <a:lnTo>
                        <a:pt x="566" y="393"/>
                      </a:lnTo>
                      <a:lnTo>
                        <a:pt x="566" y="391"/>
                      </a:lnTo>
                      <a:lnTo>
                        <a:pt x="566" y="393"/>
                      </a:lnTo>
                      <a:lnTo>
                        <a:pt x="568" y="393"/>
                      </a:lnTo>
                      <a:lnTo>
                        <a:pt x="568" y="394"/>
                      </a:lnTo>
                      <a:lnTo>
                        <a:pt x="570" y="394"/>
                      </a:lnTo>
                      <a:lnTo>
                        <a:pt x="570" y="396"/>
                      </a:lnTo>
                      <a:lnTo>
                        <a:pt x="570" y="398"/>
                      </a:lnTo>
                      <a:lnTo>
                        <a:pt x="570" y="399"/>
                      </a:lnTo>
                      <a:lnTo>
                        <a:pt x="571" y="398"/>
                      </a:lnTo>
                      <a:lnTo>
                        <a:pt x="571" y="399"/>
                      </a:lnTo>
                      <a:lnTo>
                        <a:pt x="573" y="399"/>
                      </a:lnTo>
                      <a:lnTo>
                        <a:pt x="573" y="401"/>
                      </a:lnTo>
                      <a:lnTo>
                        <a:pt x="571" y="401"/>
                      </a:lnTo>
                      <a:lnTo>
                        <a:pt x="573" y="401"/>
                      </a:lnTo>
                      <a:lnTo>
                        <a:pt x="573" y="403"/>
                      </a:lnTo>
                      <a:lnTo>
                        <a:pt x="571" y="403"/>
                      </a:lnTo>
                      <a:lnTo>
                        <a:pt x="571" y="404"/>
                      </a:lnTo>
                      <a:lnTo>
                        <a:pt x="573" y="404"/>
                      </a:lnTo>
                      <a:lnTo>
                        <a:pt x="571" y="404"/>
                      </a:lnTo>
                      <a:lnTo>
                        <a:pt x="573" y="406"/>
                      </a:lnTo>
                      <a:lnTo>
                        <a:pt x="573" y="407"/>
                      </a:lnTo>
                      <a:lnTo>
                        <a:pt x="573" y="409"/>
                      </a:lnTo>
                      <a:lnTo>
                        <a:pt x="575" y="409"/>
                      </a:lnTo>
                      <a:lnTo>
                        <a:pt x="573" y="409"/>
                      </a:lnTo>
                      <a:lnTo>
                        <a:pt x="575" y="409"/>
                      </a:lnTo>
                      <a:lnTo>
                        <a:pt x="575" y="411"/>
                      </a:lnTo>
                      <a:lnTo>
                        <a:pt x="575" y="412"/>
                      </a:lnTo>
                      <a:lnTo>
                        <a:pt x="573" y="412"/>
                      </a:lnTo>
                      <a:lnTo>
                        <a:pt x="575" y="414"/>
                      </a:lnTo>
                      <a:lnTo>
                        <a:pt x="575" y="416"/>
                      </a:lnTo>
                      <a:lnTo>
                        <a:pt x="575" y="417"/>
                      </a:lnTo>
                      <a:lnTo>
                        <a:pt x="576" y="417"/>
                      </a:lnTo>
                      <a:lnTo>
                        <a:pt x="576" y="416"/>
                      </a:lnTo>
                      <a:lnTo>
                        <a:pt x="576" y="417"/>
                      </a:lnTo>
                      <a:lnTo>
                        <a:pt x="578" y="417"/>
                      </a:lnTo>
                      <a:lnTo>
                        <a:pt x="578" y="419"/>
                      </a:lnTo>
                      <a:lnTo>
                        <a:pt x="576" y="419"/>
                      </a:lnTo>
                      <a:lnTo>
                        <a:pt x="578" y="419"/>
                      </a:lnTo>
                      <a:lnTo>
                        <a:pt x="578" y="421"/>
                      </a:lnTo>
                      <a:lnTo>
                        <a:pt x="580" y="421"/>
                      </a:lnTo>
                      <a:lnTo>
                        <a:pt x="580" y="422"/>
                      </a:lnTo>
                      <a:lnTo>
                        <a:pt x="578" y="422"/>
                      </a:lnTo>
                      <a:lnTo>
                        <a:pt x="580" y="422"/>
                      </a:lnTo>
                      <a:lnTo>
                        <a:pt x="581" y="424"/>
                      </a:lnTo>
                      <a:lnTo>
                        <a:pt x="581" y="426"/>
                      </a:lnTo>
                      <a:lnTo>
                        <a:pt x="580" y="426"/>
                      </a:lnTo>
                      <a:lnTo>
                        <a:pt x="580" y="427"/>
                      </a:lnTo>
                      <a:lnTo>
                        <a:pt x="580" y="426"/>
                      </a:lnTo>
                      <a:lnTo>
                        <a:pt x="581" y="426"/>
                      </a:lnTo>
                      <a:lnTo>
                        <a:pt x="581" y="427"/>
                      </a:lnTo>
                      <a:lnTo>
                        <a:pt x="580" y="427"/>
                      </a:lnTo>
                      <a:lnTo>
                        <a:pt x="580" y="429"/>
                      </a:lnTo>
                      <a:lnTo>
                        <a:pt x="580" y="427"/>
                      </a:lnTo>
                      <a:lnTo>
                        <a:pt x="578" y="429"/>
                      </a:lnTo>
                      <a:lnTo>
                        <a:pt x="580" y="429"/>
                      </a:lnTo>
                      <a:lnTo>
                        <a:pt x="578" y="429"/>
                      </a:lnTo>
                      <a:lnTo>
                        <a:pt x="578" y="430"/>
                      </a:lnTo>
                      <a:lnTo>
                        <a:pt x="578" y="429"/>
                      </a:lnTo>
                      <a:lnTo>
                        <a:pt x="576" y="429"/>
                      </a:lnTo>
                      <a:lnTo>
                        <a:pt x="576" y="430"/>
                      </a:lnTo>
                      <a:lnTo>
                        <a:pt x="576" y="432"/>
                      </a:lnTo>
                      <a:lnTo>
                        <a:pt x="576" y="430"/>
                      </a:lnTo>
                      <a:lnTo>
                        <a:pt x="575" y="430"/>
                      </a:lnTo>
                      <a:lnTo>
                        <a:pt x="575" y="432"/>
                      </a:lnTo>
                      <a:lnTo>
                        <a:pt x="576" y="432"/>
                      </a:lnTo>
                      <a:lnTo>
                        <a:pt x="575" y="432"/>
                      </a:lnTo>
                      <a:lnTo>
                        <a:pt x="573" y="432"/>
                      </a:lnTo>
                      <a:lnTo>
                        <a:pt x="575" y="432"/>
                      </a:lnTo>
                      <a:lnTo>
                        <a:pt x="573" y="432"/>
                      </a:lnTo>
                      <a:lnTo>
                        <a:pt x="573" y="434"/>
                      </a:lnTo>
                      <a:lnTo>
                        <a:pt x="571" y="432"/>
                      </a:lnTo>
                      <a:lnTo>
                        <a:pt x="571" y="434"/>
                      </a:lnTo>
                      <a:lnTo>
                        <a:pt x="573" y="434"/>
                      </a:lnTo>
                      <a:lnTo>
                        <a:pt x="571" y="434"/>
                      </a:lnTo>
                      <a:lnTo>
                        <a:pt x="570" y="434"/>
                      </a:lnTo>
                      <a:lnTo>
                        <a:pt x="570" y="435"/>
                      </a:lnTo>
                      <a:lnTo>
                        <a:pt x="570" y="434"/>
                      </a:lnTo>
                      <a:lnTo>
                        <a:pt x="570" y="435"/>
                      </a:lnTo>
                      <a:lnTo>
                        <a:pt x="570" y="434"/>
                      </a:lnTo>
                      <a:lnTo>
                        <a:pt x="570" y="435"/>
                      </a:lnTo>
                      <a:lnTo>
                        <a:pt x="570" y="434"/>
                      </a:lnTo>
                      <a:lnTo>
                        <a:pt x="568" y="434"/>
                      </a:lnTo>
                      <a:lnTo>
                        <a:pt x="568" y="435"/>
                      </a:lnTo>
                      <a:lnTo>
                        <a:pt x="566" y="435"/>
                      </a:lnTo>
                      <a:lnTo>
                        <a:pt x="566" y="437"/>
                      </a:lnTo>
                      <a:lnTo>
                        <a:pt x="568" y="435"/>
                      </a:lnTo>
                      <a:lnTo>
                        <a:pt x="568" y="437"/>
                      </a:lnTo>
                      <a:lnTo>
                        <a:pt x="566" y="437"/>
                      </a:lnTo>
                      <a:lnTo>
                        <a:pt x="568" y="437"/>
                      </a:lnTo>
                      <a:lnTo>
                        <a:pt x="566" y="437"/>
                      </a:lnTo>
                      <a:lnTo>
                        <a:pt x="566" y="439"/>
                      </a:lnTo>
                      <a:lnTo>
                        <a:pt x="565" y="439"/>
                      </a:lnTo>
                      <a:lnTo>
                        <a:pt x="565" y="440"/>
                      </a:lnTo>
                      <a:lnTo>
                        <a:pt x="565" y="439"/>
                      </a:lnTo>
                      <a:lnTo>
                        <a:pt x="563" y="440"/>
                      </a:lnTo>
                      <a:lnTo>
                        <a:pt x="563" y="439"/>
                      </a:lnTo>
                      <a:lnTo>
                        <a:pt x="563" y="440"/>
                      </a:lnTo>
                      <a:lnTo>
                        <a:pt x="563" y="439"/>
                      </a:lnTo>
                      <a:lnTo>
                        <a:pt x="563" y="440"/>
                      </a:lnTo>
                      <a:lnTo>
                        <a:pt x="561" y="440"/>
                      </a:lnTo>
                      <a:lnTo>
                        <a:pt x="559" y="440"/>
                      </a:lnTo>
                      <a:lnTo>
                        <a:pt x="559" y="442"/>
                      </a:lnTo>
                      <a:lnTo>
                        <a:pt x="561" y="442"/>
                      </a:lnTo>
                      <a:lnTo>
                        <a:pt x="559" y="442"/>
                      </a:lnTo>
                      <a:lnTo>
                        <a:pt x="561" y="442"/>
                      </a:lnTo>
                      <a:lnTo>
                        <a:pt x="561" y="444"/>
                      </a:lnTo>
                      <a:lnTo>
                        <a:pt x="561" y="442"/>
                      </a:lnTo>
                      <a:lnTo>
                        <a:pt x="559" y="442"/>
                      </a:lnTo>
                      <a:lnTo>
                        <a:pt x="559" y="444"/>
                      </a:lnTo>
                      <a:lnTo>
                        <a:pt x="559" y="442"/>
                      </a:lnTo>
                      <a:lnTo>
                        <a:pt x="559" y="444"/>
                      </a:lnTo>
                      <a:lnTo>
                        <a:pt x="561" y="444"/>
                      </a:lnTo>
                      <a:lnTo>
                        <a:pt x="561" y="445"/>
                      </a:lnTo>
                      <a:lnTo>
                        <a:pt x="559" y="445"/>
                      </a:lnTo>
                      <a:lnTo>
                        <a:pt x="559" y="444"/>
                      </a:lnTo>
                      <a:lnTo>
                        <a:pt x="559" y="445"/>
                      </a:lnTo>
                      <a:lnTo>
                        <a:pt x="558" y="445"/>
                      </a:lnTo>
                      <a:lnTo>
                        <a:pt x="558" y="447"/>
                      </a:lnTo>
                      <a:lnTo>
                        <a:pt x="558" y="448"/>
                      </a:lnTo>
                      <a:lnTo>
                        <a:pt x="556" y="448"/>
                      </a:lnTo>
                      <a:lnTo>
                        <a:pt x="554" y="448"/>
                      </a:lnTo>
                      <a:lnTo>
                        <a:pt x="554" y="450"/>
                      </a:lnTo>
                      <a:lnTo>
                        <a:pt x="553" y="450"/>
                      </a:lnTo>
                      <a:lnTo>
                        <a:pt x="554" y="450"/>
                      </a:lnTo>
                      <a:lnTo>
                        <a:pt x="553" y="450"/>
                      </a:lnTo>
                      <a:lnTo>
                        <a:pt x="553" y="452"/>
                      </a:lnTo>
                      <a:lnTo>
                        <a:pt x="554" y="452"/>
                      </a:lnTo>
                      <a:lnTo>
                        <a:pt x="554" y="453"/>
                      </a:lnTo>
                      <a:lnTo>
                        <a:pt x="553" y="453"/>
                      </a:lnTo>
                      <a:lnTo>
                        <a:pt x="554" y="455"/>
                      </a:lnTo>
                      <a:lnTo>
                        <a:pt x="553" y="455"/>
                      </a:lnTo>
                      <a:lnTo>
                        <a:pt x="551" y="455"/>
                      </a:lnTo>
                      <a:lnTo>
                        <a:pt x="551" y="457"/>
                      </a:lnTo>
                      <a:lnTo>
                        <a:pt x="553" y="457"/>
                      </a:lnTo>
                      <a:lnTo>
                        <a:pt x="551" y="457"/>
                      </a:lnTo>
                      <a:lnTo>
                        <a:pt x="551" y="458"/>
                      </a:lnTo>
                      <a:lnTo>
                        <a:pt x="551" y="457"/>
                      </a:lnTo>
                      <a:lnTo>
                        <a:pt x="549" y="457"/>
                      </a:lnTo>
                      <a:lnTo>
                        <a:pt x="549" y="458"/>
                      </a:lnTo>
                      <a:lnTo>
                        <a:pt x="551" y="458"/>
                      </a:lnTo>
                      <a:lnTo>
                        <a:pt x="549" y="458"/>
                      </a:lnTo>
                      <a:lnTo>
                        <a:pt x="549" y="457"/>
                      </a:lnTo>
                      <a:lnTo>
                        <a:pt x="548" y="458"/>
                      </a:lnTo>
                      <a:lnTo>
                        <a:pt x="548" y="457"/>
                      </a:lnTo>
                      <a:lnTo>
                        <a:pt x="546" y="457"/>
                      </a:lnTo>
                      <a:lnTo>
                        <a:pt x="546" y="455"/>
                      </a:lnTo>
                      <a:lnTo>
                        <a:pt x="544" y="455"/>
                      </a:lnTo>
                      <a:lnTo>
                        <a:pt x="544" y="457"/>
                      </a:lnTo>
                      <a:lnTo>
                        <a:pt x="546" y="457"/>
                      </a:lnTo>
                      <a:lnTo>
                        <a:pt x="544" y="457"/>
                      </a:lnTo>
                      <a:lnTo>
                        <a:pt x="544" y="458"/>
                      </a:lnTo>
                      <a:lnTo>
                        <a:pt x="544" y="460"/>
                      </a:lnTo>
                      <a:lnTo>
                        <a:pt x="544" y="462"/>
                      </a:lnTo>
                      <a:lnTo>
                        <a:pt x="544" y="460"/>
                      </a:lnTo>
                      <a:lnTo>
                        <a:pt x="543" y="460"/>
                      </a:lnTo>
                      <a:lnTo>
                        <a:pt x="544" y="462"/>
                      </a:lnTo>
                      <a:lnTo>
                        <a:pt x="543" y="462"/>
                      </a:lnTo>
                      <a:lnTo>
                        <a:pt x="543" y="463"/>
                      </a:lnTo>
                      <a:lnTo>
                        <a:pt x="544" y="463"/>
                      </a:lnTo>
                      <a:lnTo>
                        <a:pt x="543" y="463"/>
                      </a:lnTo>
                      <a:lnTo>
                        <a:pt x="544" y="465"/>
                      </a:lnTo>
                      <a:lnTo>
                        <a:pt x="544" y="467"/>
                      </a:lnTo>
                      <a:lnTo>
                        <a:pt x="543" y="467"/>
                      </a:lnTo>
                      <a:lnTo>
                        <a:pt x="543" y="468"/>
                      </a:lnTo>
                      <a:lnTo>
                        <a:pt x="543" y="467"/>
                      </a:lnTo>
                      <a:lnTo>
                        <a:pt x="543" y="468"/>
                      </a:lnTo>
                      <a:lnTo>
                        <a:pt x="544" y="468"/>
                      </a:lnTo>
                      <a:lnTo>
                        <a:pt x="544" y="470"/>
                      </a:lnTo>
                      <a:lnTo>
                        <a:pt x="546" y="470"/>
                      </a:lnTo>
                      <a:lnTo>
                        <a:pt x="546" y="471"/>
                      </a:lnTo>
                      <a:lnTo>
                        <a:pt x="546" y="473"/>
                      </a:lnTo>
                      <a:lnTo>
                        <a:pt x="546" y="475"/>
                      </a:lnTo>
                      <a:lnTo>
                        <a:pt x="548" y="475"/>
                      </a:lnTo>
                      <a:lnTo>
                        <a:pt x="548" y="473"/>
                      </a:lnTo>
                      <a:lnTo>
                        <a:pt x="549" y="473"/>
                      </a:lnTo>
                      <a:lnTo>
                        <a:pt x="549" y="475"/>
                      </a:lnTo>
                      <a:lnTo>
                        <a:pt x="551" y="475"/>
                      </a:lnTo>
                      <a:lnTo>
                        <a:pt x="553" y="475"/>
                      </a:lnTo>
                      <a:lnTo>
                        <a:pt x="553" y="473"/>
                      </a:lnTo>
                      <a:lnTo>
                        <a:pt x="554" y="473"/>
                      </a:lnTo>
                      <a:lnTo>
                        <a:pt x="556" y="473"/>
                      </a:lnTo>
                      <a:lnTo>
                        <a:pt x="558" y="473"/>
                      </a:lnTo>
                      <a:lnTo>
                        <a:pt x="559" y="473"/>
                      </a:lnTo>
                      <a:lnTo>
                        <a:pt x="561" y="475"/>
                      </a:lnTo>
                      <a:lnTo>
                        <a:pt x="561" y="473"/>
                      </a:lnTo>
                      <a:lnTo>
                        <a:pt x="563" y="473"/>
                      </a:lnTo>
                      <a:lnTo>
                        <a:pt x="563" y="475"/>
                      </a:lnTo>
                      <a:lnTo>
                        <a:pt x="565" y="475"/>
                      </a:lnTo>
                      <a:lnTo>
                        <a:pt x="565" y="476"/>
                      </a:lnTo>
                      <a:lnTo>
                        <a:pt x="566" y="478"/>
                      </a:lnTo>
                      <a:lnTo>
                        <a:pt x="566" y="480"/>
                      </a:lnTo>
                      <a:lnTo>
                        <a:pt x="568" y="480"/>
                      </a:lnTo>
                      <a:lnTo>
                        <a:pt x="568" y="481"/>
                      </a:lnTo>
                      <a:lnTo>
                        <a:pt x="568" y="483"/>
                      </a:lnTo>
                      <a:lnTo>
                        <a:pt x="568" y="485"/>
                      </a:lnTo>
                      <a:lnTo>
                        <a:pt x="566" y="486"/>
                      </a:lnTo>
                      <a:lnTo>
                        <a:pt x="568" y="486"/>
                      </a:lnTo>
                      <a:lnTo>
                        <a:pt x="566" y="486"/>
                      </a:lnTo>
                      <a:lnTo>
                        <a:pt x="568" y="486"/>
                      </a:lnTo>
                      <a:lnTo>
                        <a:pt x="568" y="488"/>
                      </a:lnTo>
                      <a:lnTo>
                        <a:pt x="566" y="488"/>
                      </a:lnTo>
                      <a:lnTo>
                        <a:pt x="565" y="488"/>
                      </a:lnTo>
                      <a:lnTo>
                        <a:pt x="565" y="490"/>
                      </a:lnTo>
                      <a:lnTo>
                        <a:pt x="565" y="491"/>
                      </a:lnTo>
                      <a:lnTo>
                        <a:pt x="563" y="493"/>
                      </a:lnTo>
                      <a:lnTo>
                        <a:pt x="561" y="493"/>
                      </a:lnTo>
                      <a:lnTo>
                        <a:pt x="561" y="494"/>
                      </a:lnTo>
                      <a:lnTo>
                        <a:pt x="561" y="496"/>
                      </a:lnTo>
                      <a:lnTo>
                        <a:pt x="563" y="496"/>
                      </a:lnTo>
                      <a:lnTo>
                        <a:pt x="561" y="496"/>
                      </a:lnTo>
                      <a:lnTo>
                        <a:pt x="561" y="498"/>
                      </a:lnTo>
                      <a:lnTo>
                        <a:pt x="559" y="498"/>
                      </a:lnTo>
                      <a:lnTo>
                        <a:pt x="559" y="499"/>
                      </a:lnTo>
                      <a:lnTo>
                        <a:pt x="561" y="499"/>
                      </a:lnTo>
                      <a:lnTo>
                        <a:pt x="559" y="499"/>
                      </a:lnTo>
                      <a:lnTo>
                        <a:pt x="561" y="499"/>
                      </a:lnTo>
                      <a:lnTo>
                        <a:pt x="561" y="501"/>
                      </a:lnTo>
                      <a:lnTo>
                        <a:pt x="559" y="501"/>
                      </a:lnTo>
                      <a:lnTo>
                        <a:pt x="558" y="501"/>
                      </a:lnTo>
                      <a:lnTo>
                        <a:pt x="558" y="503"/>
                      </a:lnTo>
                      <a:lnTo>
                        <a:pt x="559" y="503"/>
                      </a:lnTo>
                      <a:lnTo>
                        <a:pt x="559" y="504"/>
                      </a:lnTo>
                      <a:lnTo>
                        <a:pt x="559" y="506"/>
                      </a:lnTo>
                      <a:lnTo>
                        <a:pt x="559" y="508"/>
                      </a:lnTo>
                      <a:lnTo>
                        <a:pt x="561" y="508"/>
                      </a:lnTo>
                      <a:lnTo>
                        <a:pt x="561" y="509"/>
                      </a:lnTo>
                      <a:lnTo>
                        <a:pt x="561" y="511"/>
                      </a:lnTo>
                      <a:lnTo>
                        <a:pt x="561" y="513"/>
                      </a:lnTo>
                      <a:lnTo>
                        <a:pt x="561" y="511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3" y="514"/>
                      </a:lnTo>
                      <a:lnTo>
                        <a:pt x="565" y="514"/>
                      </a:lnTo>
                      <a:lnTo>
                        <a:pt x="565" y="516"/>
                      </a:lnTo>
                      <a:lnTo>
                        <a:pt x="563" y="516"/>
                      </a:lnTo>
                      <a:lnTo>
                        <a:pt x="563" y="517"/>
                      </a:lnTo>
                      <a:lnTo>
                        <a:pt x="565" y="517"/>
                      </a:lnTo>
                      <a:lnTo>
                        <a:pt x="565" y="519"/>
                      </a:lnTo>
                      <a:lnTo>
                        <a:pt x="565" y="517"/>
                      </a:lnTo>
                      <a:lnTo>
                        <a:pt x="565" y="519"/>
                      </a:lnTo>
                      <a:lnTo>
                        <a:pt x="566" y="519"/>
                      </a:lnTo>
                      <a:lnTo>
                        <a:pt x="566" y="521"/>
                      </a:lnTo>
                      <a:lnTo>
                        <a:pt x="565" y="521"/>
                      </a:lnTo>
                      <a:lnTo>
                        <a:pt x="566" y="521"/>
                      </a:lnTo>
                      <a:lnTo>
                        <a:pt x="566" y="522"/>
                      </a:lnTo>
                      <a:lnTo>
                        <a:pt x="566" y="521"/>
                      </a:lnTo>
                      <a:lnTo>
                        <a:pt x="566" y="522"/>
                      </a:lnTo>
                      <a:lnTo>
                        <a:pt x="566" y="524"/>
                      </a:lnTo>
                      <a:lnTo>
                        <a:pt x="565" y="524"/>
                      </a:lnTo>
                      <a:lnTo>
                        <a:pt x="563" y="524"/>
                      </a:lnTo>
                      <a:lnTo>
                        <a:pt x="561" y="526"/>
                      </a:lnTo>
                      <a:lnTo>
                        <a:pt x="559" y="526"/>
                      </a:lnTo>
                      <a:lnTo>
                        <a:pt x="559" y="527"/>
                      </a:lnTo>
                      <a:lnTo>
                        <a:pt x="559" y="526"/>
                      </a:lnTo>
                      <a:lnTo>
                        <a:pt x="559" y="527"/>
                      </a:lnTo>
                      <a:lnTo>
                        <a:pt x="558" y="529"/>
                      </a:lnTo>
                      <a:lnTo>
                        <a:pt x="556" y="529"/>
                      </a:lnTo>
                      <a:lnTo>
                        <a:pt x="554" y="531"/>
                      </a:lnTo>
                      <a:lnTo>
                        <a:pt x="556" y="531"/>
                      </a:lnTo>
                      <a:lnTo>
                        <a:pt x="554" y="531"/>
                      </a:lnTo>
                      <a:lnTo>
                        <a:pt x="553" y="531"/>
                      </a:lnTo>
                      <a:lnTo>
                        <a:pt x="553" y="532"/>
                      </a:lnTo>
                      <a:lnTo>
                        <a:pt x="553" y="534"/>
                      </a:lnTo>
                      <a:lnTo>
                        <a:pt x="553" y="532"/>
                      </a:lnTo>
                      <a:lnTo>
                        <a:pt x="551" y="532"/>
                      </a:lnTo>
                      <a:lnTo>
                        <a:pt x="549" y="534"/>
                      </a:lnTo>
                      <a:lnTo>
                        <a:pt x="548" y="534"/>
                      </a:lnTo>
                      <a:lnTo>
                        <a:pt x="548" y="536"/>
                      </a:lnTo>
                      <a:lnTo>
                        <a:pt x="546" y="536"/>
                      </a:lnTo>
                      <a:lnTo>
                        <a:pt x="544" y="536"/>
                      </a:lnTo>
                      <a:lnTo>
                        <a:pt x="544" y="537"/>
                      </a:lnTo>
                      <a:lnTo>
                        <a:pt x="543" y="537"/>
                      </a:lnTo>
                      <a:lnTo>
                        <a:pt x="543" y="539"/>
                      </a:lnTo>
                      <a:lnTo>
                        <a:pt x="544" y="539"/>
                      </a:lnTo>
                      <a:lnTo>
                        <a:pt x="543" y="539"/>
                      </a:lnTo>
                      <a:lnTo>
                        <a:pt x="543" y="537"/>
                      </a:lnTo>
                      <a:lnTo>
                        <a:pt x="543" y="536"/>
                      </a:lnTo>
                      <a:lnTo>
                        <a:pt x="541" y="536"/>
                      </a:lnTo>
                      <a:lnTo>
                        <a:pt x="541" y="537"/>
                      </a:lnTo>
                      <a:lnTo>
                        <a:pt x="539" y="537"/>
                      </a:lnTo>
                      <a:lnTo>
                        <a:pt x="539" y="539"/>
                      </a:lnTo>
                      <a:lnTo>
                        <a:pt x="538" y="539"/>
                      </a:lnTo>
                      <a:lnTo>
                        <a:pt x="539" y="539"/>
                      </a:lnTo>
                      <a:lnTo>
                        <a:pt x="538" y="539"/>
                      </a:lnTo>
                      <a:lnTo>
                        <a:pt x="538" y="540"/>
                      </a:lnTo>
                      <a:lnTo>
                        <a:pt x="536" y="540"/>
                      </a:lnTo>
                      <a:lnTo>
                        <a:pt x="536" y="542"/>
                      </a:lnTo>
                      <a:lnTo>
                        <a:pt x="536" y="540"/>
                      </a:lnTo>
                      <a:lnTo>
                        <a:pt x="534" y="540"/>
                      </a:lnTo>
                      <a:lnTo>
                        <a:pt x="534" y="542"/>
                      </a:lnTo>
                      <a:lnTo>
                        <a:pt x="534" y="544"/>
                      </a:lnTo>
                      <a:lnTo>
                        <a:pt x="532" y="544"/>
                      </a:lnTo>
                      <a:lnTo>
                        <a:pt x="534" y="544"/>
                      </a:lnTo>
                      <a:lnTo>
                        <a:pt x="534" y="545"/>
                      </a:lnTo>
                      <a:lnTo>
                        <a:pt x="536" y="545"/>
                      </a:lnTo>
                      <a:lnTo>
                        <a:pt x="536" y="547"/>
                      </a:lnTo>
                      <a:lnTo>
                        <a:pt x="534" y="547"/>
                      </a:lnTo>
                      <a:lnTo>
                        <a:pt x="534" y="549"/>
                      </a:lnTo>
                      <a:lnTo>
                        <a:pt x="532" y="549"/>
                      </a:lnTo>
                      <a:lnTo>
                        <a:pt x="532" y="547"/>
                      </a:lnTo>
                      <a:lnTo>
                        <a:pt x="531" y="549"/>
                      </a:lnTo>
                      <a:lnTo>
                        <a:pt x="531" y="550"/>
                      </a:lnTo>
                      <a:lnTo>
                        <a:pt x="529" y="550"/>
                      </a:lnTo>
                      <a:lnTo>
                        <a:pt x="527" y="552"/>
                      </a:lnTo>
                      <a:lnTo>
                        <a:pt x="526" y="552"/>
                      </a:lnTo>
                      <a:lnTo>
                        <a:pt x="526" y="550"/>
                      </a:lnTo>
                      <a:lnTo>
                        <a:pt x="526" y="552"/>
                      </a:lnTo>
                      <a:lnTo>
                        <a:pt x="524" y="550"/>
                      </a:lnTo>
                      <a:lnTo>
                        <a:pt x="524" y="552"/>
                      </a:lnTo>
                      <a:lnTo>
                        <a:pt x="522" y="552"/>
                      </a:lnTo>
                      <a:lnTo>
                        <a:pt x="522" y="554"/>
                      </a:lnTo>
                      <a:lnTo>
                        <a:pt x="522" y="555"/>
                      </a:lnTo>
                      <a:lnTo>
                        <a:pt x="521" y="555"/>
                      </a:lnTo>
                      <a:lnTo>
                        <a:pt x="521" y="557"/>
                      </a:lnTo>
                      <a:lnTo>
                        <a:pt x="519" y="557"/>
                      </a:lnTo>
                      <a:lnTo>
                        <a:pt x="517" y="555"/>
                      </a:lnTo>
                      <a:lnTo>
                        <a:pt x="516" y="555"/>
                      </a:lnTo>
                      <a:lnTo>
                        <a:pt x="516" y="557"/>
                      </a:lnTo>
                      <a:lnTo>
                        <a:pt x="514" y="557"/>
                      </a:lnTo>
                      <a:lnTo>
                        <a:pt x="514" y="559"/>
                      </a:lnTo>
                      <a:lnTo>
                        <a:pt x="516" y="559"/>
                      </a:lnTo>
                      <a:lnTo>
                        <a:pt x="514" y="559"/>
                      </a:lnTo>
                      <a:lnTo>
                        <a:pt x="512" y="559"/>
                      </a:lnTo>
                      <a:lnTo>
                        <a:pt x="512" y="560"/>
                      </a:lnTo>
                      <a:lnTo>
                        <a:pt x="511" y="560"/>
                      </a:lnTo>
                      <a:lnTo>
                        <a:pt x="512" y="560"/>
                      </a:lnTo>
                      <a:lnTo>
                        <a:pt x="512" y="562"/>
                      </a:lnTo>
                      <a:lnTo>
                        <a:pt x="511" y="562"/>
                      </a:lnTo>
                      <a:lnTo>
                        <a:pt x="511" y="560"/>
                      </a:lnTo>
                      <a:lnTo>
                        <a:pt x="509" y="560"/>
                      </a:lnTo>
                      <a:lnTo>
                        <a:pt x="509" y="562"/>
                      </a:lnTo>
                      <a:lnTo>
                        <a:pt x="507" y="560"/>
                      </a:lnTo>
                      <a:lnTo>
                        <a:pt x="505" y="562"/>
                      </a:lnTo>
                      <a:lnTo>
                        <a:pt x="505" y="563"/>
                      </a:lnTo>
                      <a:lnTo>
                        <a:pt x="505" y="562"/>
                      </a:lnTo>
                      <a:lnTo>
                        <a:pt x="504" y="563"/>
                      </a:lnTo>
                      <a:lnTo>
                        <a:pt x="502" y="563"/>
                      </a:lnTo>
                      <a:lnTo>
                        <a:pt x="502" y="562"/>
                      </a:lnTo>
                      <a:lnTo>
                        <a:pt x="500" y="562"/>
                      </a:lnTo>
                      <a:lnTo>
                        <a:pt x="500" y="560"/>
                      </a:lnTo>
                      <a:lnTo>
                        <a:pt x="500" y="559"/>
                      </a:lnTo>
                      <a:lnTo>
                        <a:pt x="499" y="560"/>
                      </a:lnTo>
                      <a:lnTo>
                        <a:pt x="497" y="560"/>
                      </a:lnTo>
                      <a:lnTo>
                        <a:pt x="497" y="559"/>
                      </a:lnTo>
                      <a:lnTo>
                        <a:pt x="495" y="559"/>
                      </a:lnTo>
                      <a:lnTo>
                        <a:pt x="495" y="557"/>
                      </a:lnTo>
                      <a:lnTo>
                        <a:pt x="494" y="555"/>
                      </a:lnTo>
                      <a:lnTo>
                        <a:pt x="492" y="557"/>
                      </a:lnTo>
                      <a:lnTo>
                        <a:pt x="490" y="557"/>
                      </a:lnTo>
                      <a:lnTo>
                        <a:pt x="489" y="557"/>
                      </a:lnTo>
                      <a:lnTo>
                        <a:pt x="487" y="557"/>
                      </a:lnTo>
                      <a:lnTo>
                        <a:pt x="487" y="555"/>
                      </a:lnTo>
                      <a:lnTo>
                        <a:pt x="485" y="555"/>
                      </a:lnTo>
                      <a:lnTo>
                        <a:pt x="485" y="554"/>
                      </a:lnTo>
                      <a:lnTo>
                        <a:pt x="483" y="554"/>
                      </a:lnTo>
                      <a:lnTo>
                        <a:pt x="483" y="552"/>
                      </a:lnTo>
                      <a:lnTo>
                        <a:pt x="482" y="552"/>
                      </a:lnTo>
                      <a:lnTo>
                        <a:pt x="480" y="550"/>
                      </a:lnTo>
                      <a:lnTo>
                        <a:pt x="478" y="550"/>
                      </a:lnTo>
                      <a:lnTo>
                        <a:pt x="477" y="550"/>
                      </a:lnTo>
                      <a:lnTo>
                        <a:pt x="478" y="549"/>
                      </a:lnTo>
                      <a:lnTo>
                        <a:pt x="475" y="549"/>
                      </a:lnTo>
                      <a:lnTo>
                        <a:pt x="473" y="549"/>
                      </a:lnTo>
                      <a:lnTo>
                        <a:pt x="475" y="549"/>
                      </a:lnTo>
                      <a:lnTo>
                        <a:pt x="473" y="549"/>
                      </a:lnTo>
                      <a:lnTo>
                        <a:pt x="473" y="547"/>
                      </a:lnTo>
                      <a:lnTo>
                        <a:pt x="473" y="549"/>
                      </a:lnTo>
                      <a:lnTo>
                        <a:pt x="472" y="549"/>
                      </a:lnTo>
                      <a:lnTo>
                        <a:pt x="472" y="550"/>
                      </a:lnTo>
                      <a:lnTo>
                        <a:pt x="470" y="550"/>
                      </a:lnTo>
                      <a:lnTo>
                        <a:pt x="468" y="552"/>
                      </a:lnTo>
                      <a:lnTo>
                        <a:pt x="470" y="552"/>
                      </a:lnTo>
                      <a:lnTo>
                        <a:pt x="470" y="554"/>
                      </a:lnTo>
                      <a:lnTo>
                        <a:pt x="468" y="554"/>
                      </a:lnTo>
                      <a:lnTo>
                        <a:pt x="467" y="552"/>
                      </a:lnTo>
                      <a:lnTo>
                        <a:pt x="465" y="552"/>
                      </a:lnTo>
                      <a:lnTo>
                        <a:pt x="463" y="552"/>
                      </a:lnTo>
                      <a:lnTo>
                        <a:pt x="462" y="552"/>
                      </a:lnTo>
                      <a:lnTo>
                        <a:pt x="460" y="552"/>
                      </a:lnTo>
                      <a:lnTo>
                        <a:pt x="460" y="550"/>
                      </a:lnTo>
                      <a:lnTo>
                        <a:pt x="458" y="552"/>
                      </a:lnTo>
                      <a:lnTo>
                        <a:pt x="456" y="552"/>
                      </a:lnTo>
                      <a:lnTo>
                        <a:pt x="456" y="550"/>
                      </a:lnTo>
                      <a:lnTo>
                        <a:pt x="455" y="552"/>
                      </a:lnTo>
                      <a:lnTo>
                        <a:pt x="453" y="552"/>
                      </a:lnTo>
                      <a:lnTo>
                        <a:pt x="453" y="554"/>
                      </a:lnTo>
                      <a:lnTo>
                        <a:pt x="453" y="552"/>
                      </a:lnTo>
                      <a:lnTo>
                        <a:pt x="453" y="550"/>
                      </a:lnTo>
                      <a:lnTo>
                        <a:pt x="451" y="550"/>
                      </a:lnTo>
                      <a:lnTo>
                        <a:pt x="450" y="550"/>
                      </a:lnTo>
                      <a:lnTo>
                        <a:pt x="448" y="550"/>
                      </a:lnTo>
                      <a:lnTo>
                        <a:pt x="446" y="550"/>
                      </a:lnTo>
                      <a:lnTo>
                        <a:pt x="446" y="549"/>
                      </a:lnTo>
                      <a:lnTo>
                        <a:pt x="446" y="547"/>
                      </a:lnTo>
                      <a:lnTo>
                        <a:pt x="443" y="547"/>
                      </a:lnTo>
                      <a:lnTo>
                        <a:pt x="443" y="549"/>
                      </a:lnTo>
                      <a:lnTo>
                        <a:pt x="441" y="549"/>
                      </a:lnTo>
                      <a:lnTo>
                        <a:pt x="441" y="547"/>
                      </a:lnTo>
                      <a:lnTo>
                        <a:pt x="440" y="547"/>
                      </a:lnTo>
                      <a:lnTo>
                        <a:pt x="438" y="547"/>
                      </a:lnTo>
                      <a:lnTo>
                        <a:pt x="438" y="549"/>
                      </a:lnTo>
                      <a:lnTo>
                        <a:pt x="436" y="549"/>
                      </a:lnTo>
                      <a:lnTo>
                        <a:pt x="436" y="550"/>
                      </a:lnTo>
                      <a:lnTo>
                        <a:pt x="435" y="550"/>
                      </a:lnTo>
                      <a:lnTo>
                        <a:pt x="435" y="549"/>
                      </a:lnTo>
                      <a:lnTo>
                        <a:pt x="433" y="550"/>
                      </a:lnTo>
                      <a:lnTo>
                        <a:pt x="431" y="549"/>
                      </a:lnTo>
                      <a:lnTo>
                        <a:pt x="429" y="550"/>
                      </a:lnTo>
                      <a:lnTo>
                        <a:pt x="428" y="550"/>
                      </a:lnTo>
                      <a:lnTo>
                        <a:pt x="428" y="549"/>
                      </a:lnTo>
                      <a:lnTo>
                        <a:pt x="426" y="550"/>
                      </a:lnTo>
                      <a:lnTo>
                        <a:pt x="424" y="550"/>
                      </a:lnTo>
                      <a:lnTo>
                        <a:pt x="423" y="550"/>
                      </a:lnTo>
                      <a:lnTo>
                        <a:pt x="423" y="552"/>
                      </a:lnTo>
                      <a:lnTo>
                        <a:pt x="421" y="552"/>
                      </a:lnTo>
                      <a:lnTo>
                        <a:pt x="419" y="550"/>
                      </a:lnTo>
                      <a:lnTo>
                        <a:pt x="419" y="549"/>
                      </a:lnTo>
                      <a:lnTo>
                        <a:pt x="418" y="549"/>
                      </a:lnTo>
                      <a:lnTo>
                        <a:pt x="416" y="549"/>
                      </a:lnTo>
                      <a:lnTo>
                        <a:pt x="416" y="547"/>
                      </a:lnTo>
                      <a:lnTo>
                        <a:pt x="414" y="547"/>
                      </a:lnTo>
                      <a:lnTo>
                        <a:pt x="413" y="547"/>
                      </a:lnTo>
                      <a:lnTo>
                        <a:pt x="413" y="545"/>
                      </a:lnTo>
                      <a:lnTo>
                        <a:pt x="411" y="545"/>
                      </a:lnTo>
                      <a:lnTo>
                        <a:pt x="409" y="547"/>
                      </a:lnTo>
                      <a:lnTo>
                        <a:pt x="407" y="547"/>
                      </a:lnTo>
                      <a:lnTo>
                        <a:pt x="407" y="549"/>
                      </a:lnTo>
                      <a:lnTo>
                        <a:pt x="406" y="549"/>
                      </a:lnTo>
                      <a:lnTo>
                        <a:pt x="406" y="550"/>
                      </a:lnTo>
                      <a:lnTo>
                        <a:pt x="404" y="550"/>
                      </a:lnTo>
                      <a:lnTo>
                        <a:pt x="404" y="552"/>
                      </a:lnTo>
                      <a:lnTo>
                        <a:pt x="402" y="552"/>
                      </a:lnTo>
                      <a:lnTo>
                        <a:pt x="401" y="552"/>
                      </a:lnTo>
                      <a:lnTo>
                        <a:pt x="399" y="552"/>
                      </a:lnTo>
                      <a:lnTo>
                        <a:pt x="401" y="552"/>
                      </a:lnTo>
                      <a:lnTo>
                        <a:pt x="399" y="554"/>
                      </a:lnTo>
                      <a:lnTo>
                        <a:pt x="399" y="555"/>
                      </a:lnTo>
                      <a:lnTo>
                        <a:pt x="397" y="555"/>
                      </a:lnTo>
                      <a:lnTo>
                        <a:pt x="396" y="555"/>
                      </a:lnTo>
                      <a:lnTo>
                        <a:pt x="394" y="555"/>
                      </a:lnTo>
                      <a:lnTo>
                        <a:pt x="394" y="554"/>
                      </a:lnTo>
                      <a:lnTo>
                        <a:pt x="392" y="554"/>
                      </a:lnTo>
                      <a:lnTo>
                        <a:pt x="391" y="554"/>
                      </a:lnTo>
                      <a:lnTo>
                        <a:pt x="389" y="555"/>
                      </a:lnTo>
                      <a:lnTo>
                        <a:pt x="387" y="555"/>
                      </a:lnTo>
                      <a:lnTo>
                        <a:pt x="387" y="557"/>
                      </a:lnTo>
                      <a:lnTo>
                        <a:pt x="386" y="555"/>
                      </a:lnTo>
                      <a:lnTo>
                        <a:pt x="384" y="555"/>
                      </a:lnTo>
                      <a:lnTo>
                        <a:pt x="384" y="557"/>
                      </a:lnTo>
                      <a:lnTo>
                        <a:pt x="386" y="557"/>
                      </a:lnTo>
                      <a:lnTo>
                        <a:pt x="386" y="559"/>
                      </a:lnTo>
                      <a:lnTo>
                        <a:pt x="386" y="560"/>
                      </a:lnTo>
                      <a:lnTo>
                        <a:pt x="384" y="560"/>
                      </a:lnTo>
                      <a:lnTo>
                        <a:pt x="382" y="562"/>
                      </a:lnTo>
                      <a:lnTo>
                        <a:pt x="382" y="563"/>
                      </a:lnTo>
                      <a:lnTo>
                        <a:pt x="380" y="565"/>
                      </a:lnTo>
                      <a:lnTo>
                        <a:pt x="380" y="567"/>
                      </a:lnTo>
                      <a:lnTo>
                        <a:pt x="379" y="567"/>
                      </a:lnTo>
                      <a:lnTo>
                        <a:pt x="377" y="567"/>
                      </a:lnTo>
                      <a:lnTo>
                        <a:pt x="377" y="568"/>
                      </a:lnTo>
                      <a:lnTo>
                        <a:pt x="377" y="570"/>
                      </a:lnTo>
                      <a:lnTo>
                        <a:pt x="375" y="570"/>
                      </a:lnTo>
                      <a:lnTo>
                        <a:pt x="374" y="570"/>
                      </a:lnTo>
                      <a:lnTo>
                        <a:pt x="372" y="570"/>
                      </a:lnTo>
                      <a:lnTo>
                        <a:pt x="372" y="572"/>
                      </a:lnTo>
                      <a:lnTo>
                        <a:pt x="372" y="573"/>
                      </a:lnTo>
                      <a:lnTo>
                        <a:pt x="370" y="573"/>
                      </a:lnTo>
                      <a:lnTo>
                        <a:pt x="369" y="575"/>
                      </a:lnTo>
                      <a:lnTo>
                        <a:pt x="369" y="577"/>
                      </a:lnTo>
                      <a:lnTo>
                        <a:pt x="367" y="577"/>
                      </a:lnTo>
                      <a:lnTo>
                        <a:pt x="365" y="577"/>
                      </a:lnTo>
                      <a:lnTo>
                        <a:pt x="364" y="577"/>
                      </a:lnTo>
                      <a:lnTo>
                        <a:pt x="364" y="573"/>
                      </a:lnTo>
                      <a:lnTo>
                        <a:pt x="362" y="573"/>
                      </a:lnTo>
                      <a:lnTo>
                        <a:pt x="362" y="572"/>
                      </a:lnTo>
                      <a:lnTo>
                        <a:pt x="360" y="572"/>
                      </a:lnTo>
                      <a:lnTo>
                        <a:pt x="359" y="570"/>
                      </a:lnTo>
                      <a:lnTo>
                        <a:pt x="359" y="568"/>
                      </a:lnTo>
                      <a:lnTo>
                        <a:pt x="359" y="567"/>
                      </a:lnTo>
                      <a:lnTo>
                        <a:pt x="359" y="565"/>
                      </a:lnTo>
                      <a:lnTo>
                        <a:pt x="359" y="563"/>
                      </a:lnTo>
                      <a:lnTo>
                        <a:pt x="357" y="563"/>
                      </a:lnTo>
                      <a:lnTo>
                        <a:pt x="355" y="563"/>
                      </a:lnTo>
                      <a:lnTo>
                        <a:pt x="353" y="563"/>
                      </a:lnTo>
                      <a:lnTo>
                        <a:pt x="352" y="563"/>
                      </a:lnTo>
                      <a:lnTo>
                        <a:pt x="352" y="565"/>
                      </a:lnTo>
                      <a:lnTo>
                        <a:pt x="353" y="567"/>
                      </a:lnTo>
                      <a:lnTo>
                        <a:pt x="352" y="567"/>
                      </a:lnTo>
                      <a:lnTo>
                        <a:pt x="352" y="568"/>
                      </a:lnTo>
                      <a:lnTo>
                        <a:pt x="350" y="568"/>
                      </a:lnTo>
                      <a:lnTo>
                        <a:pt x="348" y="568"/>
                      </a:lnTo>
                      <a:lnTo>
                        <a:pt x="347" y="568"/>
                      </a:lnTo>
                      <a:lnTo>
                        <a:pt x="343" y="568"/>
                      </a:lnTo>
                      <a:lnTo>
                        <a:pt x="342" y="570"/>
                      </a:lnTo>
                      <a:lnTo>
                        <a:pt x="343" y="572"/>
                      </a:lnTo>
                      <a:lnTo>
                        <a:pt x="343" y="573"/>
                      </a:lnTo>
                      <a:lnTo>
                        <a:pt x="342" y="573"/>
                      </a:lnTo>
                      <a:lnTo>
                        <a:pt x="342" y="572"/>
                      </a:lnTo>
                      <a:lnTo>
                        <a:pt x="340" y="572"/>
                      </a:lnTo>
                      <a:lnTo>
                        <a:pt x="338" y="572"/>
                      </a:lnTo>
                      <a:lnTo>
                        <a:pt x="337" y="573"/>
                      </a:lnTo>
                      <a:lnTo>
                        <a:pt x="335" y="573"/>
                      </a:lnTo>
                      <a:lnTo>
                        <a:pt x="335" y="575"/>
                      </a:lnTo>
                      <a:lnTo>
                        <a:pt x="333" y="575"/>
                      </a:lnTo>
                      <a:lnTo>
                        <a:pt x="331" y="573"/>
                      </a:lnTo>
                      <a:lnTo>
                        <a:pt x="331" y="575"/>
                      </a:lnTo>
                      <a:lnTo>
                        <a:pt x="330" y="575"/>
                      </a:lnTo>
                      <a:lnTo>
                        <a:pt x="330" y="577"/>
                      </a:lnTo>
                      <a:lnTo>
                        <a:pt x="328" y="577"/>
                      </a:lnTo>
                      <a:lnTo>
                        <a:pt x="326" y="577"/>
                      </a:lnTo>
                      <a:lnTo>
                        <a:pt x="325" y="577"/>
                      </a:lnTo>
                      <a:lnTo>
                        <a:pt x="323" y="575"/>
                      </a:lnTo>
                      <a:lnTo>
                        <a:pt x="321" y="575"/>
                      </a:lnTo>
                      <a:lnTo>
                        <a:pt x="321" y="573"/>
                      </a:lnTo>
                      <a:lnTo>
                        <a:pt x="320" y="573"/>
                      </a:lnTo>
                      <a:lnTo>
                        <a:pt x="320" y="575"/>
                      </a:lnTo>
                      <a:lnTo>
                        <a:pt x="318" y="575"/>
                      </a:lnTo>
                      <a:lnTo>
                        <a:pt x="316" y="575"/>
                      </a:lnTo>
                      <a:lnTo>
                        <a:pt x="315" y="575"/>
                      </a:lnTo>
                      <a:lnTo>
                        <a:pt x="313" y="575"/>
                      </a:lnTo>
                      <a:lnTo>
                        <a:pt x="311" y="575"/>
                      </a:lnTo>
                      <a:lnTo>
                        <a:pt x="311" y="573"/>
                      </a:lnTo>
                      <a:lnTo>
                        <a:pt x="310" y="573"/>
                      </a:lnTo>
                      <a:lnTo>
                        <a:pt x="308" y="573"/>
                      </a:lnTo>
                      <a:lnTo>
                        <a:pt x="306" y="573"/>
                      </a:lnTo>
                      <a:lnTo>
                        <a:pt x="306" y="575"/>
                      </a:lnTo>
                      <a:lnTo>
                        <a:pt x="304" y="575"/>
                      </a:lnTo>
                      <a:lnTo>
                        <a:pt x="304" y="577"/>
                      </a:lnTo>
                      <a:lnTo>
                        <a:pt x="303" y="578"/>
                      </a:lnTo>
                      <a:lnTo>
                        <a:pt x="301" y="580"/>
                      </a:lnTo>
                      <a:lnTo>
                        <a:pt x="299" y="580"/>
                      </a:lnTo>
                      <a:lnTo>
                        <a:pt x="298" y="580"/>
                      </a:lnTo>
                      <a:lnTo>
                        <a:pt x="294" y="578"/>
                      </a:lnTo>
                      <a:lnTo>
                        <a:pt x="293" y="580"/>
                      </a:lnTo>
                      <a:lnTo>
                        <a:pt x="291" y="580"/>
                      </a:lnTo>
                      <a:lnTo>
                        <a:pt x="289" y="580"/>
                      </a:lnTo>
                      <a:lnTo>
                        <a:pt x="288" y="580"/>
                      </a:lnTo>
                      <a:lnTo>
                        <a:pt x="286" y="580"/>
                      </a:lnTo>
                      <a:lnTo>
                        <a:pt x="284" y="580"/>
                      </a:lnTo>
                      <a:lnTo>
                        <a:pt x="284" y="582"/>
                      </a:lnTo>
                      <a:lnTo>
                        <a:pt x="283" y="582"/>
                      </a:lnTo>
                      <a:lnTo>
                        <a:pt x="281" y="582"/>
                      </a:lnTo>
                      <a:lnTo>
                        <a:pt x="279" y="582"/>
                      </a:lnTo>
                      <a:lnTo>
                        <a:pt x="279" y="583"/>
                      </a:lnTo>
                      <a:lnTo>
                        <a:pt x="277" y="585"/>
                      </a:lnTo>
                      <a:lnTo>
                        <a:pt x="276" y="586"/>
                      </a:lnTo>
                      <a:lnTo>
                        <a:pt x="276" y="588"/>
                      </a:lnTo>
                      <a:lnTo>
                        <a:pt x="276" y="590"/>
                      </a:lnTo>
                      <a:lnTo>
                        <a:pt x="274" y="591"/>
                      </a:lnTo>
                      <a:lnTo>
                        <a:pt x="274" y="593"/>
                      </a:lnTo>
                      <a:lnTo>
                        <a:pt x="272" y="593"/>
                      </a:lnTo>
                      <a:lnTo>
                        <a:pt x="271" y="593"/>
                      </a:lnTo>
                      <a:lnTo>
                        <a:pt x="269" y="595"/>
                      </a:lnTo>
                      <a:lnTo>
                        <a:pt x="267" y="598"/>
                      </a:lnTo>
                      <a:lnTo>
                        <a:pt x="267" y="600"/>
                      </a:lnTo>
                      <a:lnTo>
                        <a:pt x="267" y="601"/>
                      </a:lnTo>
                      <a:lnTo>
                        <a:pt x="266" y="601"/>
                      </a:lnTo>
                      <a:lnTo>
                        <a:pt x="266" y="603"/>
                      </a:lnTo>
                      <a:lnTo>
                        <a:pt x="264" y="603"/>
                      </a:lnTo>
                      <a:lnTo>
                        <a:pt x="262" y="603"/>
                      </a:lnTo>
                      <a:lnTo>
                        <a:pt x="261" y="605"/>
                      </a:lnTo>
                      <a:lnTo>
                        <a:pt x="261" y="606"/>
                      </a:lnTo>
                      <a:lnTo>
                        <a:pt x="261" y="608"/>
                      </a:lnTo>
                      <a:lnTo>
                        <a:pt x="262" y="608"/>
                      </a:lnTo>
                      <a:lnTo>
                        <a:pt x="262" y="609"/>
                      </a:lnTo>
                      <a:lnTo>
                        <a:pt x="262" y="611"/>
                      </a:lnTo>
                      <a:lnTo>
                        <a:pt x="262" y="613"/>
                      </a:lnTo>
                      <a:lnTo>
                        <a:pt x="261" y="614"/>
                      </a:lnTo>
                      <a:lnTo>
                        <a:pt x="261" y="616"/>
                      </a:lnTo>
                      <a:lnTo>
                        <a:pt x="259" y="618"/>
                      </a:lnTo>
                      <a:lnTo>
                        <a:pt x="259" y="619"/>
                      </a:lnTo>
                      <a:lnTo>
                        <a:pt x="257" y="619"/>
                      </a:lnTo>
                      <a:lnTo>
                        <a:pt x="257" y="621"/>
                      </a:lnTo>
                      <a:lnTo>
                        <a:pt x="255" y="621"/>
                      </a:lnTo>
                      <a:lnTo>
                        <a:pt x="254" y="623"/>
                      </a:lnTo>
                      <a:lnTo>
                        <a:pt x="252" y="623"/>
                      </a:lnTo>
                      <a:lnTo>
                        <a:pt x="250" y="623"/>
                      </a:lnTo>
                      <a:lnTo>
                        <a:pt x="249" y="623"/>
                      </a:lnTo>
                      <a:lnTo>
                        <a:pt x="247" y="623"/>
                      </a:lnTo>
                      <a:lnTo>
                        <a:pt x="245" y="623"/>
                      </a:lnTo>
                      <a:lnTo>
                        <a:pt x="245" y="624"/>
                      </a:lnTo>
                      <a:lnTo>
                        <a:pt x="245" y="626"/>
                      </a:lnTo>
                      <a:lnTo>
                        <a:pt x="244" y="626"/>
                      </a:lnTo>
                      <a:lnTo>
                        <a:pt x="242" y="626"/>
                      </a:lnTo>
                      <a:lnTo>
                        <a:pt x="242" y="628"/>
                      </a:lnTo>
                      <a:lnTo>
                        <a:pt x="240" y="628"/>
                      </a:lnTo>
                      <a:lnTo>
                        <a:pt x="239" y="628"/>
                      </a:lnTo>
                      <a:lnTo>
                        <a:pt x="239" y="629"/>
                      </a:lnTo>
                      <a:lnTo>
                        <a:pt x="239" y="631"/>
                      </a:lnTo>
                      <a:lnTo>
                        <a:pt x="239" y="632"/>
                      </a:lnTo>
                      <a:lnTo>
                        <a:pt x="237" y="632"/>
                      </a:lnTo>
                      <a:lnTo>
                        <a:pt x="237" y="634"/>
                      </a:lnTo>
                      <a:lnTo>
                        <a:pt x="235" y="634"/>
                      </a:lnTo>
                      <a:lnTo>
                        <a:pt x="234" y="634"/>
                      </a:lnTo>
                      <a:lnTo>
                        <a:pt x="234" y="636"/>
                      </a:lnTo>
                      <a:lnTo>
                        <a:pt x="232" y="636"/>
                      </a:lnTo>
                      <a:lnTo>
                        <a:pt x="232" y="637"/>
                      </a:lnTo>
                      <a:lnTo>
                        <a:pt x="230" y="637"/>
                      </a:lnTo>
                      <a:lnTo>
                        <a:pt x="230" y="639"/>
                      </a:lnTo>
                      <a:lnTo>
                        <a:pt x="230" y="641"/>
                      </a:lnTo>
                      <a:lnTo>
                        <a:pt x="230" y="642"/>
                      </a:lnTo>
                      <a:lnTo>
                        <a:pt x="228" y="644"/>
                      </a:lnTo>
                      <a:lnTo>
                        <a:pt x="227" y="646"/>
                      </a:lnTo>
                      <a:lnTo>
                        <a:pt x="227" y="647"/>
                      </a:lnTo>
                      <a:lnTo>
                        <a:pt x="227" y="649"/>
                      </a:lnTo>
                      <a:lnTo>
                        <a:pt x="227" y="650"/>
                      </a:lnTo>
                      <a:lnTo>
                        <a:pt x="230" y="652"/>
                      </a:lnTo>
                      <a:lnTo>
                        <a:pt x="230" y="654"/>
                      </a:lnTo>
                      <a:lnTo>
                        <a:pt x="232" y="654"/>
                      </a:lnTo>
                      <a:lnTo>
                        <a:pt x="230" y="655"/>
                      </a:lnTo>
                      <a:lnTo>
                        <a:pt x="228" y="655"/>
                      </a:lnTo>
                      <a:lnTo>
                        <a:pt x="225" y="654"/>
                      </a:lnTo>
                      <a:lnTo>
                        <a:pt x="223" y="654"/>
                      </a:lnTo>
                      <a:lnTo>
                        <a:pt x="222" y="654"/>
                      </a:lnTo>
                      <a:lnTo>
                        <a:pt x="220" y="654"/>
                      </a:lnTo>
                      <a:lnTo>
                        <a:pt x="220" y="652"/>
                      </a:lnTo>
                      <a:lnTo>
                        <a:pt x="218" y="650"/>
                      </a:lnTo>
                      <a:lnTo>
                        <a:pt x="217" y="650"/>
                      </a:lnTo>
                      <a:lnTo>
                        <a:pt x="215" y="649"/>
                      </a:lnTo>
                      <a:lnTo>
                        <a:pt x="217" y="649"/>
                      </a:lnTo>
                      <a:lnTo>
                        <a:pt x="217" y="647"/>
                      </a:lnTo>
                      <a:lnTo>
                        <a:pt x="215" y="647"/>
                      </a:lnTo>
                      <a:lnTo>
                        <a:pt x="213" y="647"/>
                      </a:lnTo>
                      <a:lnTo>
                        <a:pt x="215" y="647"/>
                      </a:lnTo>
                      <a:lnTo>
                        <a:pt x="213" y="647"/>
                      </a:lnTo>
                      <a:lnTo>
                        <a:pt x="212" y="647"/>
                      </a:lnTo>
                      <a:lnTo>
                        <a:pt x="212" y="646"/>
                      </a:lnTo>
                      <a:lnTo>
                        <a:pt x="213" y="646"/>
                      </a:lnTo>
                      <a:lnTo>
                        <a:pt x="212" y="646"/>
                      </a:lnTo>
                      <a:lnTo>
                        <a:pt x="212" y="644"/>
                      </a:lnTo>
                      <a:lnTo>
                        <a:pt x="212" y="642"/>
                      </a:lnTo>
                      <a:lnTo>
                        <a:pt x="210" y="644"/>
                      </a:lnTo>
                      <a:lnTo>
                        <a:pt x="210" y="642"/>
                      </a:lnTo>
                      <a:lnTo>
                        <a:pt x="210" y="641"/>
                      </a:lnTo>
                      <a:lnTo>
                        <a:pt x="208" y="641"/>
                      </a:lnTo>
                      <a:lnTo>
                        <a:pt x="208" y="639"/>
                      </a:lnTo>
                      <a:lnTo>
                        <a:pt x="207" y="639"/>
                      </a:lnTo>
                      <a:lnTo>
                        <a:pt x="205" y="637"/>
                      </a:lnTo>
                      <a:lnTo>
                        <a:pt x="205" y="639"/>
                      </a:lnTo>
                      <a:lnTo>
                        <a:pt x="203" y="637"/>
                      </a:lnTo>
                      <a:lnTo>
                        <a:pt x="201" y="637"/>
                      </a:lnTo>
                      <a:lnTo>
                        <a:pt x="201" y="636"/>
                      </a:lnTo>
                      <a:lnTo>
                        <a:pt x="200" y="636"/>
                      </a:lnTo>
                      <a:lnTo>
                        <a:pt x="198" y="636"/>
                      </a:lnTo>
                      <a:lnTo>
                        <a:pt x="196" y="636"/>
                      </a:lnTo>
                      <a:lnTo>
                        <a:pt x="196" y="634"/>
                      </a:lnTo>
                      <a:lnTo>
                        <a:pt x="195" y="634"/>
                      </a:lnTo>
                      <a:lnTo>
                        <a:pt x="193" y="634"/>
                      </a:lnTo>
                      <a:lnTo>
                        <a:pt x="191" y="634"/>
                      </a:lnTo>
                      <a:lnTo>
                        <a:pt x="191" y="636"/>
                      </a:lnTo>
                      <a:lnTo>
                        <a:pt x="190" y="634"/>
                      </a:lnTo>
                      <a:lnTo>
                        <a:pt x="188" y="634"/>
                      </a:lnTo>
                      <a:lnTo>
                        <a:pt x="188" y="632"/>
                      </a:lnTo>
                      <a:lnTo>
                        <a:pt x="186" y="632"/>
                      </a:lnTo>
                      <a:lnTo>
                        <a:pt x="185" y="632"/>
                      </a:lnTo>
                      <a:lnTo>
                        <a:pt x="185" y="631"/>
                      </a:lnTo>
                      <a:lnTo>
                        <a:pt x="186" y="631"/>
                      </a:lnTo>
                      <a:lnTo>
                        <a:pt x="185" y="631"/>
                      </a:lnTo>
                      <a:lnTo>
                        <a:pt x="183" y="631"/>
                      </a:lnTo>
                      <a:lnTo>
                        <a:pt x="181" y="629"/>
                      </a:lnTo>
                      <a:lnTo>
                        <a:pt x="181" y="631"/>
                      </a:lnTo>
                      <a:lnTo>
                        <a:pt x="179" y="631"/>
                      </a:lnTo>
                      <a:lnTo>
                        <a:pt x="179" y="629"/>
                      </a:lnTo>
                      <a:lnTo>
                        <a:pt x="179" y="628"/>
                      </a:lnTo>
                      <a:lnTo>
                        <a:pt x="178" y="628"/>
                      </a:lnTo>
                      <a:lnTo>
                        <a:pt x="176" y="628"/>
                      </a:lnTo>
                      <a:lnTo>
                        <a:pt x="176" y="626"/>
                      </a:lnTo>
                      <a:lnTo>
                        <a:pt x="174" y="626"/>
                      </a:lnTo>
                      <a:lnTo>
                        <a:pt x="173" y="626"/>
                      </a:lnTo>
                      <a:lnTo>
                        <a:pt x="173" y="624"/>
                      </a:lnTo>
                      <a:lnTo>
                        <a:pt x="171" y="624"/>
                      </a:lnTo>
                      <a:lnTo>
                        <a:pt x="171" y="626"/>
                      </a:lnTo>
                      <a:lnTo>
                        <a:pt x="171" y="624"/>
                      </a:lnTo>
                      <a:lnTo>
                        <a:pt x="169" y="624"/>
                      </a:lnTo>
                      <a:lnTo>
                        <a:pt x="168" y="624"/>
                      </a:lnTo>
                      <a:lnTo>
                        <a:pt x="166" y="624"/>
                      </a:lnTo>
                      <a:lnTo>
                        <a:pt x="168" y="624"/>
                      </a:lnTo>
                      <a:lnTo>
                        <a:pt x="166" y="624"/>
                      </a:lnTo>
                      <a:lnTo>
                        <a:pt x="164" y="623"/>
                      </a:lnTo>
                      <a:lnTo>
                        <a:pt x="163" y="623"/>
                      </a:lnTo>
                      <a:lnTo>
                        <a:pt x="161" y="623"/>
                      </a:lnTo>
                      <a:lnTo>
                        <a:pt x="159" y="623"/>
                      </a:lnTo>
                      <a:lnTo>
                        <a:pt x="159" y="621"/>
                      </a:lnTo>
                      <a:lnTo>
                        <a:pt x="159" y="623"/>
                      </a:lnTo>
                      <a:lnTo>
                        <a:pt x="159" y="621"/>
                      </a:lnTo>
                      <a:lnTo>
                        <a:pt x="158" y="621"/>
                      </a:lnTo>
                      <a:lnTo>
                        <a:pt x="158" y="623"/>
                      </a:lnTo>
                      <a:lnTo>
                        <a:pt x="156" y="623"/>
                      </a:lnTo>
                      <a:lnTo>
                        <a:pt x="154" y="621"/>
                      </a:lnTo>
                      <a:lnTo>
                        <a:pt x="154" y="623"/>
                      </a:lnTo>
                      <a:lnTo>
                        <a:pt x="152" y="623"/>
                      </a:lnTo>
                      <a:lnTo>
                        <a:pt x="151" y="623"/>
                      </a:lnTo>
                      <a:lnTo>
                        <a:pt x="151" y="621"/>
                      </a:lnTo>
                      <a:lnTo>
                        <a:pt x="149" y="621"/>
                      </a:lnTo>
                      <a:lnTo>
                        <a:pt x="147" y="621"/>
                      </a:lnTo>
                      <a:lnTo>
                        <a:pt x="147" y="619"/>
                      </a:lnTo>
                      <a:lnTo>
                        <a:pt x="146" y="619"/>
                      </a:lnTo>
                      <a:lnTo>
                        <a:pt x="144" y="619"/>
                      </a:lnTo>
                      <a:lnTo>
                        <a:pt x="144" y="618"/>
                      </a:lnTo>
                      <a:lnTo>
                        <a:pt x="142" y="618"/>
                      </a:lnTo>
                      <a:lnTo>
                        <a:pt x="141" y="618"/>
                      </a:lnTo>
                      <a:lnTo>
                        <a:pt x="139" y="618"/>
                      </a:lnTo>
                      <a:lnTo>
                        <a:pt x="139" y="616"/>
                      </a:lnTo>
                      <a:lnTo>
                        <a:pt x="137" y="616"/>
                      </a:lnTo>
                      <a:lnTo>
                        <a:pt x="137" y="614"/>
                      </a:lnTo>
                      <a:lnTo>
                        <a:pt x="136" y="614"/>
                      </a:lnTo>
                      <a:lnTo>
                        <a:pt x="134" y="614"/>
                      </a:lnTo>
                      <a:lnTo>
                        <a:pt x="136" y="614"/>
                      </a:lnTo>
                      <a:lnTo>
                        <a:pt x="134" y="614"/>
                      </a:lnTo>
                      <a:lnTo>
                        <a:pt x="132" y="614"/>
                      </a:lnTo>
                      <a:lnTo>
                        <a:pt x="132" y="613"/>
                      </a:lnTo>
                      <a:lnTo>
                        <a:pt x="131" y="613"/>
                      </a:lnTo>
                      <a:lnTo>
                        <a:pt x="131" y="611"/>
                      </a:lnTo>
                      <a:lnTo>
                        <a:pt x="129" y="609"/>
                      </a:lnTo>
                      <a:lnTo>
                        <a:pt x="127" y="609"/>
                      </a:lnTo>
                      <a:lnTo>
                        <a:pt x="127" y="608"/>
                      </a:lnTo>
                      <a:lnTo>
                        <a:pt x="125" y="608"/>
                      </a:lnTo>
                      <a:lnTo>
                        <a:pt x="125" y="606"/>
                      </a:lnTo>
                      <a:lnTo>
                        <a:pt x="125" y="608"/>
                      </a:lnTo>
                      <a:lnTo>
                        <a:pt x="124" y="608"/>
                      </a:lnTo>
                      <a:lnTo>
                        <a:pt x="124" y="606"/>
                      </a:lnTo>
                      <a:lnTo>
                        <a:pt x="122" y="606"/>
                      </a:lnTo>
                      <a:lnTo>
                        <a:pt x="122" y="608"/>
                      </a:lnTo>
                      <a:lnTo>
                        <a:pt x="122" y="606"/>
                      </a:lnTo>
                      <a:lnTo>
                        <a:pt x="122" y="608"/>
                      </a:lnTo>
                      <a:lnTo>
                        <a:pt x="120" y="608"/>
                      </a:lnTo>
                      <a:lnTo>
                        <a:pt x="120" y="606"/>
                      </a:lnTo>
                      <a:lnTo>
                        <a:pt x="119" y="608"/>
                      </a:lnTo>
                      <a:lnTo>
                        <a:pt x="117" y="608"/>
                      </a:lnTo>
                      <a:lnTo>
                        <a:pt x="119" y="608"/>
                      </a:lnTo>
                      <a:lnTo>
                        <a:pt x="117" y="606"/>
                      </a:lnTo>
                      <a:lnTo>
                        <a:pt x="115" y="606"/>
                      </a:lnTo>
                      <a:lnTo>
                        <a:pt x="115" y="605"/>
                      </a:lnTo>
                      <a:lnTo>
                        <a:pt x="115" y="606"/>
                      </a:lnTo>
                      <a:lnTo>
                        <a:pt x="114" y="605"/>
                      </a:lnTo>
                      <a:lnTo>
                        <a:pt x="114" y="606"/>
                      </a:lnTo>
                      <a:lnTo>
                        <a:pt x="112" y="606"/>
                      </a:lnTo>
                      <a:lnTo>
                        <a:pt x="112" y="605"/>
                      </a:lnTo>
                      <a:lnTo>
                        <a:pt x="112" y="606"/>
                      </a:lnTo>
                      <a:lnTo>
                        <a:pt x="112" y="605"/>
                      </a:lnTo>
                      <a:lnTo>
                        <a:pt x="110" y="605"/>
                      </a:lnTo>
                      <a:lnTo>
                        <a:pt x="112" y="605"/>
                      </a:lnTo>
                      <a:lnTo>
                        <a:pt x="110" y="605"/>
                      </a:lnTo>
                      <a:lnTo>
                        <a:pt x="110" y="603"/>
                      </a:lnTo>
                      <a:lnTo>
                        <a:pt x="109" y="603"/>
                      </a:lnTo>
                      <a:lnTo>
                        <a:pt x="110" y="603"/>
                      </a:lnTo>
                      <a:lnTo>
                        <a:pt x="110" y="601"/>
                      </a:lnTo>
                      <a:lnTo>
                        <a:pt x="109" y="601"/>
                      </a:lnTo>
                      <a:lnTo>
                        <a:pt x="109" y="600"/>
                      </a:lnTo>
                      <a:lnTo>
                        <a:pt x="107" y="600"/>
                      </a:lnTo>
                      <a:lnTo>
                        <a:pt x="107" y="601"/>
                      </a:lnTo>
                      <a:lnTo>
                        <a:pt x="107" y="600"/>
                      </a:lnTo>
                      <a:lnTo>
                        <a:pt x="107" y="601"/>
                      </a:lnTo>
                      <a:lnTo>
                        <a:pt x="107" y="600"/>
                      </a:lnTo>
                      <a:lnTo>
                        <a:pt x="105" y="600"/>
                      </a:lnTo>
                      <a:lnTo>
                        <a:pt x="105" y="598"/>
                      </a:lnTo>
                      <a:lnTo>
                        <a:pt x="103" y="598"/>
                      </a:lnTo>
                      <a:lnTo>
                        <a:pt x="105" y="598"/>
                      </a:lnTo>
                      <a:lnTo>
                        <a:pt x="103" y="598"/>
                      </a:lnTo>
                      <a:lnTo>
                        <a:pt x="103" y="596"/>
                      </a:lnTo>
                      <a:lnTo>
                        <a:pt x="102" y="596"/>
                      </a:lnTo>
                      <a:lnTo>
                        <a:pt x="100" y="596"/>
                      </a:lnTo>
                      <a:lnTo>
                        <a:pt x="98" y="595"/>
                      </a:lnTo>
                      <a:lnTo>
                        <a:pt x="97" y="595"/>
                      </a:lnTo>
                      <a:lnTo>
                        <a:pt x="95" y="595"/>
                      </a:lnTo>
                      <a:lnTo>
                        <a:pt x="93" y="595"/>
                      </a:lnTo>
                      <a:lnTo>
                        <a:pt x="92" y="595"/>
                      </a:lnTo>
                      <a:lnTo>
                        <a:pt x="90" y="595"/>
                      </a:lnTo>
                      <a:lnTo>
                        <a:pt x="88" y="595"/>
                      </a:lnTo>
                      <a:lnTo>
                        <a:pt x="88" y="593"/>
                      </a:lnTo>
                      <a:lnTo>
                        <a:pt x="87" y="593"/>
                      </a:lnTo>
                      <a:lnTo>
                        <a:pt x="87" y="591"/>
                      </a:lnTo>
                      <a:lnTo>
                        <a:pt x="85" y="591"/>
                      </a:lnTo>
                      <a:lnTo>
                        <a:pt x="83" y="591"/>
                      </a:lnTo>
                      <a:lnTo>
                        <a:pt x="83" y="590"/>
                      </a:lnTo>
                      <a:lnTo>
                        <a:pt x="82" y="588"/>
                      </a:lnTo>
                      <a:lnTo>
                        <a:pt x="82" y="586"/>
                      </a:lnTo>
                      <a:lnTo>
                        <a:pt x="80" y="586"/>
                      </a:lnTo>
                      <a:lnTo>
                        <a:pt x="80" y="585"/>
                      </a:lnTo>
                      <a:lnTo>
                        <a:pt x="78" y="585"/>
                      </a:lnTo>
                      <a:lnTo>
                        <a:pt x="78" y="583"/>
                      </a:lnTo>
                      <a:lnTo>
                        <a:pt x="78" y="582"/>
                      </a:lnTo>
                      <a:lnTo>
                        <a:pt x="76" y="582"/>
                      </a:lnTo>
                      <a:lnTo>
                        <a:pt x="75" y="582"/>
                      </a:lnTo>
                      <a:lnTo>
                        <a:pt x="73" y="580"/>
                      </a:lnTo>
                      <a:lnTo>
                        <a:pt x="71" y="580"/>
                      </a:lnTo>
                      <a:lnTo>
                        <a:pt x="70" y="580"/>
                      </a:lnTo>
                      <a:lnTo>
                        <a:pt x="70" y="578"/>
                      </a:lnTo>
                      <a:lnTo>
                        <a:pt x="68" y="578"/>
                      </a:lnTo>
                      <a:lnTo>
                        <a:pt x="66" y="578"/>
                      </a:lnTo>
                      <a:lnTo>
                        <a:pt x="65" y="580"/>
                      </a:lnTo>
                      <a:lnTo>
                        <a:pt x="63" y="582"/>
                      </a:lnTo>
                      <a:lnTo>
                        <a:pt x="61" y="582"/>
                      </a:lnTo>
                      <a:lnTo>
                        <a:pt x="60" y="582"/>
                      </a:lnTo>
                      <a:lnTo>
                        <a:pt x="58" y="582"/>
                      </a:lnTo>
                      <a:lnTo>
                        <a:pt x="56" y="580"/>
                      </a:lnTo>
                      <a:lnTo>
                        <a:pt x="55" y="580"/>
                      </a:lnTo>
                      <a:lnTo>
                        <a:pt x="53" y="580"/>
                      </a:lnTo>
                      <a:lnTo>
                        <a:pt x="53" y="582"/>
                      </a:lnTo>
                      <a:lnTo>
                        <a:pt x="51" y="582"/>
                      </a:lnTo>
                      <a:lnTo>
                        <a:pt x="49" y="582"/>
                      </a:lnTo>
                      <a:lnTo>
                        <a:pt x="48" y="582"/>
                      </a:lnTo>
                      <a:lnTo>
                        <a:pt x="48" y="580"/>
                      </a:lnTo>
                      <a:lnTo>
                        <a:pt x="46" y="580"/>
                      </a:lnTo>
                      <a:lnTo>
                        <a:pt x="44" y="580"/>
                      </a:lnTo>
                      <a:lnTo>
                        <a:pt x="43" y="580"/>
                      </a:lnTo>
                      <a:lnTo>
                        <a:pt x="41" y="580"/>
                      </a:lnTo>
                      <a:lnTo>
                        <a:pt x="39" y="580"/>
                      </a:lnTo>
                      <a:lnTo>
                        <a:pt x="39" y="578"/>
                      </a:lnTo>
                      <a:lnTo>
                        <a:pt x="38" y="578"/>
                      </a:lnTo>
                      <a:lnTo>
                        <a:pt x="36" y="577"/>
                      </a:lnTo>
                      <a:lnTo>
                        <a:pt x="34" y="577"/>
                      </a:lnTo>
                      <a:lnTo>
                        <a:pt x="33" y="577"/>
                      </a:lnTo>
                      <a:lnTo>
                        <a:pt x="33" y="575"/>
                      </a:lnTo>
                      <a:lnTo>
                        <a:pt x="31" y="575"/>
                      </a:lnTo>
                      <a:lnTo>
                        <a:pt x="31" y="573"/>
                      </a:lnTo>
                      <a:lnTo>
                        <a:pt x="31" y="572"/>
                      </a:lnTo>
                      <a:lnTo>
                        <a:pt x="29" y="572"/>
                      </a:lnTo>
                      <a:lnTo>
                        <a:pt x="29" y="570"/>
                      </a:lnTo>
                      <a:lnTo>
                        <a:pt x="27" y="568"/>
                      </a:lnTo>
                      <a:lnTo>
                        <a:pt x="27" y="567"/>
                      </a:lnTo>
                      <a:lnTo>
                        <a:pt x="29" y="567"/>
                      </a:lnTo>
                      <a:lnTo>
                        <a:pt x="29" y="565"/>
                      </a:lnTo>
                      <a:lnTo>
                        <a:pt x="31" y="565"/>
                      </a:lnTo>
                      <a:lnTo>
                        <a:pt x="33" y="565"/>
                      </a:lnTo>
                      <a:lnTo>
                        <a:pt x="33" y="563"/>
                      </a:lnTo>
                      <a:lnTo>
                        <a:pt x="34" y="562"/>
                      </a:lnTo>
                      <a:lnTo>
                        <a:pt x="36" y="560"/>
                      </a:lnTo>
                      <a:lnTo>
                        <a:pt x="36" y="559"/>
                      </a:lnTo>
                      <a:lnTo>
                        <a:pt x="36" y="557"/>
                      </a:lnTo>
                      <a:lnTo>
                        <a:pt x="38" y="557"/>
                      </a:lnTo>
                      <a:lnTo>
                        <a:pt x="39" y="557"/>
                      </a:lnTo>
                      <a:lnTo>
                        <a:pt x="41" y="557"/>
                      </a:lnTo>
                      <a:lnTo>
                        <a:pt x="43" y="557"/>
                      </a:lnTo>
                      <a:lnTo>
                        <a:pt x="44" y="555"/>
                      </a:lnTo>
                      <a:lnTo>
                        <a:pt x="44" y="554"/>
                      </a:lnTo>
                      <a:lnTo>
                        <a:pt x="46" y="554"/>
                      </a:lnTo>
                      <a:lnTo>
                        <a:pt x="46" y="552"/>
                      </a:lnTo>
                      <a:lnTo>
                        <a:pt x="48" y="552"/>
                      </a:lnTo>
                      <a:lnTo>
                        <a:pt x="48" y="550"/>
                      </a:lnTo>
                      <a:lnTo>
                        <a:pt x="46" y="549"/>
                      </a:lnTo>
                      <a:lnTo>
                        <a:pt x="44" y="547"/>
                      </a:lnTo>
                      <a:lnTo>
                        <a:pt x="43" y="547"/>
                      </a:lnTo>
                      <a:lnTo>
                        <a:pt x="41" y="547"/>
                      </a:lnTo>
                      <a:lnTo>
                        <a:pt x="39" y="547"/>
                      </a:lnTo>
                      <a:lnTo>
                        <a:pt x="38" y="547"/>
                      </a:lnTo>
                      <a:lnTo>
                        <a:pt x="33" y="545"/>
                      </a:lnTo>
                      <a:lnTo>
                        <a:pt x="31" y="545"/>
                      </a:lnTo>
                      <a:lnTo>
                        <a:pt x="29" y="545"/>
                      </a:lnTo>
                      <a:lnTo>
                        <a:pt x="27" y="545"/>
                      </a:lnTo>
                      <a:lnTo>
                        <a:pt x="26" y="545"/>
                      </a:lnTo>
                      <a:lnTo>
                        <a:pt x="24" y="547"/>
                      </a:lnTo>
                      <a:lnTo>
                        <a:pt x="22" y="549"/>
                      </a:lnTo>
                      <a:lnTo>
                        <a:pt x="22" y="550"/>
                      </a:lnTo>
                      <a:lnTo>
                        <a:pt x="21" y="550"/>
                      </a:lnTo>
                      <a:lnTo>
                        <a:pt x="21" y="549"/>
                      </a:lnTo>
                      <a:lnTo>
                        <a:pt x="19" y="549"/>
                      </a:lnTo>
                      <a:lnTo>
                        <a:pt x="17" y="549"/>
                      </a:lnTo>
                      <a:lnTo>
                        <a:pt x="17" y="547"/>
                      </a:lnTo>
                      <a:lnTo>
                        <a:pt x="16" y="547"/>
                      </a:lnTo>
                      <a:lnTo>
                        <a:pt x="16" y="545"/>
                      </a:lnTo>
                      <a:lnTo>
                        <a:pt x="16" y="544"/>
                      </a:lnTo>
                      <a:lnTo>
                        <a:pt x="16" y="542"/>
                      </a:lnTo>
                      <a:lnTo>
                        <a:pt x="14" y="542"/>
                      </a:lnTo>
                      <a:lnTo>
                        <a:pt x="14" y="540"/>
                      </a:lnTo>
                      <a:lnTo>
                        <a:pt x="14" y="539"/>
                      </a:lnTo>
                      <a:lnTo>
                        <a:pt x="14" y="537"/>
                      </a:lnTo>
                      <a:lnTo>
                        <a:pt x="12" y="532"/>
                      </a:lnTo>
                      <a:lnTo>
                        <a:pt x="12" y="531"/>
                      </a:lnTo>
                      <a:lnTo>
                        <a:pt x="12" y="529"/>
                      </a:lnTo>
                      <a:lnTo>
                        <a:pt x="11" y="526"/>
                      </a:lnTo>
                      <a:lnTo>
                        <a:pt x="11" y="524"/>
                      </a:lnTo>
                      <a:lnTo>
                        <a:pt x="12" y="524"/>
                      </a:lnTo>
                      <a:lnTo>
                        <a:pt x="12" y="522"/>
                      </a:lnTo>
                      <a:lnTo>
                        <a:pt x="14" y="522"/>
                      </a:lnTo>
                      <a:lnTo>
                        <a:pt x="16" y="522"/>
                      </a:lnTo>
                      <a:lnTo>
                        <a:pt x="17" y="522"/>
                      </a:lnTo>
                      <a:lnTo>
                        <a:pt x="17" y="521"/>
                      </a:lnTo>
                      <a:lnTo>
                        <a:pt x="17" y="519"/>
                      </a:lnTo>
                      <a:lnTo>
                        <a:pt x="17" y="517"/>
                      </a:lnTo>
                      <a:lnTo>
                        <a:pt x="17" y="516"/>
                      </a:lnTo>
                      <a:lnTo>
                        <a:pt x="17" y="514"/>
                      </a:lnTo>
                      <a:lnTo>
                        <a:pt x="16" y="513"/>
                      </a:lnTo>
                      <a:lnTo>
                        <a:pt x="16" y="511"/>
                      </a:lnTo>
                      <a:lnTo>
                        <a:pt x="14" y="511"/>
                      </a:lnTo>
                      <a:lnTo>
                        <a:pt x="12" y="511"/>
                      </a:lnTo>
                      <a:lnTo>
                        <a:pt x="12" y="509"/>
                      </a:lnTo>
                      <a:lnTo>
                        <a:pt x="12" y="508"/>
                      </a:lnTo>
                      <a:lnTo>
                        <a:pt x="12" y="506"/>
                      </a:lnTo>
                      <a:lnTo>
                        <a:pt x="11" y="506"/>
                      </a:lnTo>
                      <a:lnTo>
                        <a:pt x="12" y="504"/>
                      </a:lnTo>
                      <a:lnTo>
                        <a:pt x="11" y="504"/>
                      </a:lnTo>
                      <a:lnTo>
                        <a:pt x="12" y="504"/>
                      </a:lnTo>
                      <a:lnTo>
                        <a:pt x="12" y="503"/>
                      </a:lnTo>
                      <a:lnTo>
                        <a:pt x="11" y="503"/>
                      </a:lnTo>
                      <a:lnTo>
                        <a:pt x="11" y="501"/>
                      </a:lnTo>
                      <a:lnTo>
                        <a:pt x="11" y="499"/>
                      </a:lnTo>
                      <a:lnTo>
                        <a:pt x="9" y="499"/>
                      </a:lnTo>
                      <a:lnTo>
                        <a:pt x="9" y="498"/>
                      </a:lnTo>
                      <a:lnTo>
                        <a:pt x="9" y="496"/>
                      </a:lnTo>
                      <a:lnTo>
                        <a:pt x="7" y="496"/>
                      </a:lnTo>
                      <a:lnTo>
                        <a:pt x="7" y="494"/>
                      </a:lnTo>
                      <a:lnTo>
                        <a:pt x="6" y="494"/>
                      </a:lnTo>
                      <a:lnTo>
                        <a:pt x="6" y="493"/>
                      </a:lnTo>
                      <a:lnTo>
                        <a:pt x="4" y="493"/>
                      </a:lnTo>
                      <a:lnTo>
                        <a:pt x="4" y="491"/>
                      </a:lnTo>
                      <a:lnTo>
                        <a:pt x="4" y="493"/>
                      </a:lnTo>
                      <a:lnTo>
                        <a:pt x="4" y="491"/>
                      </a:lnTo>
                      <a:lnTo>
                        <a:pt x="2" y="491"/>
                      </a:lnTo>
                      <a:lnTo>
                        <a:pt x="2" y="490"/>
                      </a:lnTo>
                      <a:lnTo>
                        <a:pt x="2" y="488"/>
                      </a:lnTo>
                      <a:lnTo>
                        <a:pt x="2" y="486"/>
                      </a:lnTo>
                      <a:lnTo>
                        <a:pt x="0" y="486"/>
                      </a:lnTo>
                      <a:lnTo>
                        <a:pt x="2" y="486"/>
                      </a:lnTo>
                      <a:lnTo>
                        <a:pt x="0" y="486"/>
                      </a:lnTo>
                      <a:lnTo>
                        <a:pt x="0" y="485"/>
                      </a:lnTo>
                      <a:lnTo>
                        <a:pt x="0" y="483"/>
                      </a:lnTo>
                      <a:lnTo>
                        <a:pt x="2" y="483"/>
                      </a:lnTo>
                      <a:lnTo>
                        <a:pt x="0" y="483"/>
                      </a:lnTo>
                      <a:lnTo>
                        <a:pt x="2" y="483"/>
                      </a:lnTo>
                      <a:lnTo>
                        <a:pt x="0" y="483"/>
                      </a:lnTo>
                      <a:lnTo>
                        <a:pt x="2" y="483"/>
                      </a:lnTo>
                      <a:lnTo>
                        <a:pt x="2" y="481"/>
                      </a:lnTo>
                      <a:lnTo>
                        <a:pt x="0" y="481"/>
                      </a:lnTo>
                      <a:lnTo>
                        <a:pt x="2" y="481"/>
                      </a:lnTo>
                      <a:lnTo>
                        <a:pt x="2" y="480"/>
                      </a:lnTo>
                      <a:lnTo>
                        <a:pt x="2" y="478"/>
                      </a:lnTo>
                      <a:lnTo>
                        <a:pt x="0" y="478"/>
                      </a:lnTo>
                      <a:lnTo>
                        <a:pt x="2" y="476"/>
                      </a:lnTo>
                      <a:lnTo>
                        <a:pt x="0" y="476"/>
                      </a:lnTo>
                      <a:lnTo>
                        <a:pt x="2" y="476"/>
                      </a:lnTo>
                      <a:lnTo>
                        <a:pt x="2" y="475"/>
                      </a:lnTo>
                      <a:lnTo>
                        <a:pt x="2" y="473"/>
                      </a:lnTo>
                      <a:lnTo>
                        <a:pt x="2" y="471"/>
                      </a:lnTo>
                      <a:lnTo>
                        <a:pt x="2" y="470"/>
                      </a:lnTo>
                      <a:lnTo>
                        <a:pt x="4" y="468"/>
                      </a:lnTo>
                      <a:lnTo>
                        <a:pt x="4" y="467"/>
                      </a:lnTo>
                      <a:lnTo>
                        <a:pt x="2" y="467"/>
                      </a:lnTo>
                      <a:lnTo>
                        <a:pt x="4" y="467"/>
                      </a:lnTo>
                      <a:lnTo>
                        <a:pt x="2" y="467"/>
                      </a:lnTo>
                      <a:lnTo>
                        <a:pt x="2" y="465"/>
                      </a:lnTo>
                      <a:lnTo>
                        <a:pt x="4" y="465"/>
                      </a:lnTo>
                      <a:lnTo>
                        <a:pt x="2" y="465"/>
                      </a:lnTo>
                      <a:lnTo>
                        <a:pt x="4" y="465"/>
                      </a:lnTo>
                      <a:lnTo>
                        <a:pt x="4" y="463"/>
                      </a:lnTo>
                      <a:lnTo>
                        <a:pt x="6" y="463"/>
                      </a:lnTo>
                      <a:lnTo>
                        <a:pt x="6" y="462"/>
                      </a:lnTo>
                      <a:lnTo>
                        <a:pt x="4" y="462"/>
                      </a:lnTo>
                      <a:lnTo>
                        <a:pt x="6" y="462"/>
                      </a:lnTo>
                      <a:lnTo>
                        <a:pt x="6" y="460"/>
                      </a:lnTo>
                      <a:lnTo>
                        <a:pt x="6" y="462"/>
                      </a:lnTo>
                      <a:lnTo>
                        <a:pt x="6" y="460"/>
                      </a:lnTo>
                      <a:lnTo>
                        <a:pt x="6" y="458"/>
                      </a:lnTo>
                      <a:lnTo>
                        <a:pt x="6" y="457"/>
                      </a:lnTo>
                      <a:lnTo>
                        <a:pt x="4" y="455"/>
                      </a:lnTo>
                      <a:lnTo>
                        <a:pt x="6" y="455"/>
                      </a:lnTo>
                      <a:lnTo>
                        <a:pt x="4" y="455"/>
                      </a:lnTo>
                      <a:lnTo>
                        <a:pt x="4" y="453"/>
                      </a:lnTo>
                      <a:lnTo>
                        <a:pt x="6" y="455"/>
                      </a:lnTo>
                      <a:lnTo>
                        <a:pt x="6" y="453"/>
                      </a:lnTo>
                      <a:lnTo>
                        <a:pt x="4" y="453"/>
                      </a:lnTo>
                      <a:lnTo>
                        <a:pt x="4" y="452"/>
                      </a:lnTo>
                      <a:lnTo>
                        <a:pt x="6" y="452"/>
                      </a:lnTo>
                      <a:lnTo>
                        <a:pt x="6" y="450"/>
                      </a:lnTo>
                      <a:lnTo>
                        <a:pt x="7" y="448"/>
                      </a:lnTo>
                      <a:lnTo>
                        <a:pt x="7" y="450"/>
                      </a:lnTo>
                      <a:lnTo>
                        <a:pt x="7" y="448"/>
                      </a:lnTo>
                      <a:lnTo>
                        <a:pt x="9" y="448"/>
                      </a:lnTo>
                      <a:lnTo>
                        <a:pt x="9" y="447"/>
                      </a:lnTo>
                      <a:lnTo>
                        <a:pt x="9" y="445"/>
                      </a:lnTo>
                      <a:lnTo>
                        <a:pt x="9" y="444"/>
                      </a:lnTo>
                      <a:lnTo>
                        <a:pt x="11" y="444"/>
                      </a:lnTo>
                      <a:lnTo>
                        <a:pt x="11" y="442"/>
                      </a:lnTo>
                      <a:lnTo>
                        <a:pt x="9" y="442"/>
                      </a:lnTo>
                      <a:lnTo>
                        <a:pt x="11" y="442"/>
                      </a:lnTo>
                      <a:lnTo>
                        <a:pt x="11" y="440"/>
                      </a:lnTo>
                      <a:lnTo>
                        <a:pt x="11" y="442"/>
                      </a:lnTo>
                      <a:lnTo>
                        <a:pt x="11" y="440"/>
                      </a:lnTo>
                      <a:lnTo>
                        <a:pt x="12" y="440"/>
                      </a:lnTo>
                      <a:lnTo>
                        <a:pt x="12" y="439"/>
                      </a:lnTo>
                      <a:lnTo>
                        <a:pt x="14" y="439"/>
                      </a:lnTo>
                      <a:lnTo>
                        <a:pt x="14" y="437"/>
                      </a:lnTo>
                      <a:lnTo>
                        <a:pt x="14" y="435"/>
                      </a:lnTo>
                      <a:lnTo>
                        <a:pt x="16" y="435"/>
                      </a:lnTo>
                      <a:lnTo>
                        <a:pt x="16" y="434"/>
                      </a:lnTo>
                      <a:lnTo>
                        <a:pt x="16" y="435"/>
                      </a:lnTo>
                      <a:lnTo>
                        <a:pt x="16" y="434"/>
                      </a:lnTo>
                      <a:lnTo>
                        <a:pt x="17" y="434"/>
                      </a:lnTo>
                      <a:lnTo>
                        <a:pt x="16" y="434"/>
                      </a:lnTo>
                      <a:lnTo>
                        <a:pt x="17" y="434"/>
                      </a:lnTo>
                      <a:lnTo>
                        <a:pt x="17" y="432"/>
                      </a:lnTo>
                      <a:lnTo>
                        <a:pt x="17" y="434"/>
                      </a:lnTo>
                      <a:lnTo>
                        <a:pt x="17" y="432"/>
                      </a:lnTo>
                      <a:lnTo>
                        <a:pt x="19" y="432"/>
                      </a:lnTo>
                      <a:lnTo>
                        <a:pt x="19" y="430"/>
                      </a:lnTo>
                      <a:lnTo>
                        <a:pt x="17" y="430"/>
                      </a:lnTo>
                      <a:lnTo>
                        <a:pt x="17" y="429"/>
                      </a:lnTo>
                      <a:lnTo>
                        <a:pt x="19" y="429"/>
                      </a:lnTo>
                      <a:lnTo>
                        <a:pt x="17" y="429"/>
                      </a:lnTo>
                      <a:lnTo>
                        <a:pt x="19" y="429"/>
                      </a:lnTo>
                      <a:lnTo>
                        <a:pt x="19" y="427"/>
                      </a:lnTo>
                      <a:lnTo>
                        <a:pt x="19" y="426"/>
                      </a:lnTo>
                      <a:lnTo>
                        <a:pt x="21" y="426"/>
                      </a:lnTo>
                      <a:lnTo>
                        <a:pt x="19" y="424"/>
                      </a:lnTo>
                      <a:lnTo>
                        <a:pt x="19" y="422"/>
                      </a:lnTo>
                      <a:lnTo>
                        <a:pt x="21" y="422"/>
                      </a:lnTo>
                      <a:lnTo>
                        <a:pt x="21" y="421"/>
                      </a:lnTo>
                      <a:lnTo>
                        <a:pt x="21" y="419"/>
                      </a:lnTo>
                      <a:lnTo>
                        <a:pt x="22" y="419"/>
                      </a:lnTo>
                      <a:lnTo>
                        <a:pt x="21" y="419"/>
                      </a:lnTo>
                      <a:lnTo>
                        <a:pt x="21" y="417"/>
                      </a:lnTo>
                      <a:lnTo>
                        <a:pt x="22" y="417"/>
                      </a:lnTo>
                      <a:lnTo>
                        <a:pt x="22" y="416"/>
                      </a:lnTo>
                      <a:lnTo>
                        <a:pt x="24" y="414"/>
                      </a:lnTo>
                      <a:lnTo>
                        <a:pt x="22" y="414"/>
                      </a:lnTo>
                      <a:lnTo>
                        <a:pt x="24" y="414"/>
                      </a:lnTo>
                      <a:lnTo>
                        <a:pt x="24" y="412"/>
                      </a:lnTo>
                      <a:lnTo>
                        <a:pt x="26" y="412"/>
                      </a:lnTo>
                      <a:lnTo>
                        <a:pt x="26" y="414"/>
                      </a:lnTo>
                      <a:lnTo>
                        <a:pt x="26" y="412"/>
                      </a:lnTo>
                      <a:lnTo>
                        <a:pt x="27" y="412"/>
                      </a:lnTo>
                      <a:lnTo>
                        <a:pt x="27" y="414"/>
                      </a:lnTo>
                      <a:lnTo>
                        <a:pt x="29" y="412"/>
                      </a:lnTo>
                      <a:lnTo>
                        <a:pt x="27" y="412"/>
                      </a:lnTo>
                      <a:lnTo>
                        <a:pt x="29" y="412"/>
                      </a:lnTo>
                      <a:lnTo>
                        <a:pt x="31" y="412"/>
                      </a:lnTo>
                      <a:lnTo>
                        <a:pt x="29" y="411"/>
                      </a:lnTo>
                      <a:lnTo>
                        <a:pt x="31" y="411"/>
                      </a:lnTo>
                      <a:lnTo>
                        <a:pt x="31" y="409"/>
                      </a:lnTo>
                      <a:lnTo>
                        <a:pt x="31" y="407"/>
                      </a:lnTo>
                      <a:lnTo>
                        <a:pt x="33" y="407"/>
                      </a:lnTo>
                      <a:lnTo>
                        <a:pt x="33" y="409"/>
                      </a:lnTo>
                      <a:lnTo>
                        <a:pt x="31" y="409"/>
                      </a:lnTo>
                      <a:lnTo>
                        <a:pt x="33" y="409"/>
                      </a:lnTo>
                      <a:lnTo>
                        <a:pt x="33" y="407"/>
                      </a:lnTo>
                      <a:lnTo>
                        <a:pt x="34" y="407"/>
                      </a:lnTo>
                      <a:lnTo>
                        <a:pt x="34" y="406"/>
                      </a:lnTo>
                      <a:lnTo>
                        <a:pt x="36" y="406"/>
                      </a:lnTo>
                      <a:lnTo>
                        <a:pt x="34" y="406"/>
                      </a:lnTo>
                      <a:lnTo>
                        <a:pt x="36" y="406"/>
                      </a:lnTo>
                      <a:lnTo>
                        <a:pt x="36" y="404"/>
                      </a:lnTo>
                      <a:lnTo>
                        <a:pt x="36" y="406"/>
                      </a:lnTo>
                      <a:lnTo>
                        <a:pt x="38" y="406"/>
                      </a:lnTo>
                      <a:lnTo>
                        <a:pt x="38" y="404"/>
                      </a:lnTo>
                      <a:lnTo>
                        <a:pt x="39" y="404"/>
                      </a:lnTo>
                      <a:lnTo>
                        <a:pt x="41" y="404"/>
                      </a:lnTo>
                      <a:lnTo>
                        <a:pt x="41" y="403"/>
                      </a:lnTo>
                      <a:lnTo>
                        <a:pt x="43" y="403"/>
                      </a:lnTo>
                      <a:lnTo>
                        <a:pt x="43" y="401"/>
                      </a:lnTo>
                      <a:lnTo>
                        <a:pt x="43" y="403"/>
                      </a:lnTo>
                      <a:lnTo>
                        <a:pt x="44" y="403"/>
                      </a:lnTo>
                      <a:lnTo>
                        <a:pt x="44" y="401"/>
                      </a:lnTo>
                      <a:lnTo>
                        <a:pt x="44" y="399"/>
                      </a:lnTo>
                      <a:lnTo>
                        <a:pt x="46" y="399"/>
                      </a:lnTo>
                      <a:lnTo>
                        <a:pt x="46" y="398"/>
                      </a:lnTo>
                      <a:lnTo>
                        <a:pt x="48" y="399"/>
                      </a:lnTo>
                      <a:lnTo>
                        <a:pt x="48" y="398"/>
                      </a:lnTo>
                      <a:lnTo>
                        <a:pt x="48" y="396"/>
                      </a:lnTo>
                      <a:lnTo>
                        <a:pt x="48" y="394"/>
                      </a:lnTo>
                      <a:lnTo>
                        <a:pt x="46" y="396"/>
                      </a:lnTo>
                      <a:lnTo>
                        <a:pt x="46" y="394"/>
                      </a:lnTo>
                      <a:lnTo>
                        <a:pt x="48" y="394"/>
                      </a:lnTo>
                      <a:lnTo>
                        <a:pt x="49" y="394"/>
                      </a:lnTo>
                      <a:lnTo>
                        <a:pt x="49" y="393"/>
                      </a:lnTo>
                      <a:lnTo>
                        <a:pt x="49" y="391"/>
                      </a:lnTo>
                      <a:lnTo>
                        <a:pt x="51" y="393"/>
                      </a:lnTo>
                      <a:lnTo>
                        <a:pt x="51" y="391"/>
                      </a:lnTo>
                      <a:lnTo>
                        <a:pt x="51" y="389"/>
                      </a:lnTo>
                      <a:lnTo>
                        <a:pt x="49" y="389"/>
                      </a:lnTo>
                      <a:lnTo>
                        <a:pt x="49" y="388"/>
                      </a:lnTo>
                      <a:lnTo>
                        <a:pt x="51" y="388"/>
                      </a:lnTo>
                      <a:lnTo>
                        <a:pt x="53" y="388"/>
                      </a:lnTo>
                      <a:lnTo>
                        <a:pt x="53" y="386"/>
                      </a:lnTo>
                      <a:lnTo>
                        <a:pt x="55" y="386"/>
                      </a:lnTo>
                      <a:lnTo>
                        <a:pt x="55" y="388"/>
                      </a:lnTo>
                      <a:lnTo>
                        <a:pt x="56" y="388"/>
                      </a:lnTo>
                      <a:lnTo>
                        <a:pt x="56" y="386"/>
                      </a:lnTo>
                      <a:lnTo>
                        <a:pt x="56" y="384"/>
                      </a:lnTo>
                      <a:lnTo>
                        <a:pt x="58" y="384"/>
                      </a:lnTo>
                      <a:lnTo>
                        <a:pt x="58" y="383"/>
                      </a:lnTo>
                      <a:lnTo>
                        <a:pt x="58" y="384"/>
                      </a:lnTo>
                      <a:lnTo>
                        <a:pt x="60" y="384"/>
                      </a:lnTo>
                      <a:lnTo>
                        <a:pt x="60" y="383"/>
                      </a:lnTo>
                      <a:lnTo>
                        <a:pt x="60" y="381"/>
                      </a:lnTo>
                      <a:lnTo>
                        <a:pt x="60" y="380"/>
                      </a:lnTo>
                      <a:lnTo>
                        <a:pt x="61" y="380"/>
                      </a:lnTo>
                      <a:lnTo>
                        <a:pt x="63" y="378"/>
                      </a:lnTo>
                      <a:lnTo>
                        <a:pt x="61" y="378"/>
                      </a:lnTo>
                      <a:lnTo>
                        <a:pt x="63" y="378"/>
                      </a:lnTo>
                      <a:lnTo>
                        <a:pt x="61" y="378"/>
                      </a:lnTo>
                      <a:lnTo>
                        <a:pt x="61" y="376"/>
                      </a:lnTo>
                      <a:lnTo>
                        <a:pt x="63" y="376"/>
                      </a:lnTo>
                      <a:lnTo>
                        <a:pt x="61" y="376"/>
                      </a:lnTo>
                      <a:lnTo>
                        <a:pt x="61" y="375"/>
                      </a:lnTo>
                      <a:lnTo>
                        <a:pt x="60" y="375"/>
                      </a:lnTo>
                      <a:lnTo>
                        <a:pt x="60" y="373"/>
                      </a:lnTo>
                      <a:lnTo>
                        <a:pt x="58" y="373"/>
                      </a:lnTo>
                      <a:lnTo>
                        <a:pt x="60" y="371"/>
                      </a:lnTo>
                      <a:lnTo>
                        <a:pt x="58" y="371"/>
                      </a:lnTo>
                      <a:lnTo>
                        <a:pt x="56" y="371"/>
                      </a:lnTo>
                      <a:lnTo>
                        <a:pt x="55" y="370"/>
                      </a:lnTo>
                      <a:lnTo>
                        <a:pt x="55" y="368"/>
                      </a:lnTo>
                      <a:lnTo>
                        <a:pt x="55" y="366"/>
                      </a:lnTo>
                      <a:lnTo>
                        <a:pt x="55" y="365"/>
                      </a:lnTo>
                      <a:lnTo>
                        <a:pt x="55" y="363"/>
                      </a:lnTo>
                      <a:lnTo>
                        <a:pt x="55" y="361"/>
                      </a:lnTo>
                      <a:lnTo>
                        <a:pt x="56" y="361"/>
                      </a:lnTo>
                      <a:lnTo>
                        <a:pt x="56" y="360"/>
                      </a:lnTo>
                      <a:lnTo>
                        <a:pt x="58" y="360"/>
                      </a:lnTo>
                      <a:lnTo>
                        <a:pt x="60" y="360"/>
                      </a:lnTo>
                      <a:lnTo>
                        <a:pt x="61" y="360"/>
                      </a:lnTo>
                      <a:lnTo>
                        <a:pt x="61" y="358"/>
                      </a:lnTo>
                      <a:lnTo>
                        <a:pt x="63" y="358"/>
                      </a:lnTo>
                      <a:lnTo>
                        <a:pt x="65" y="358"/>
                      </a:lnTo>
                      <a:lnTo>
                        <a:pt x="65" y="357"/>
                      </a:lnTo>
                      <a:lnTo>
                        <a:pt x="66" y="358"/>
                      </a:lnTo>
                      <a:lnTo>
                        <a:pt x="68" y="358"/>
                      </a:lnTo>
                      <a:lnTo>
                        <a:pt x="68" y="357"/>
                      </a:lnTo>
                      <a:lnTo>
                        <a:pt x="66" y="357"/>
                      </a:lnTo>
                      <a:lnTo>
                        <a:pt x="66" y="355"/>
                      </a:lnTo>
                      <a:lnTo>
                        <a:pt x="66" y="353"/>
                      </a:lnTo>
                      <a:lnTo>
                        <a:pt x="68" y="355"/>
                      </a:lnTo>
                      <a:lnTo>
                        <a:pt x="68" y="353"/>
                      </a:lnTo>
                      <a:lnTo>
                        <a:pt x="68" y="352"/>
                      </a:lnTo>
                      <a:lnTo>
                        <a:pt x="68" y="350"/>
                      </a:lnTo>
                      <a:lnTo>
                        <a:pt x="68" y="348"/>
                      </a:lnTo>
                      <a:lnTo>
                        <a:pt x="70" y="348"/>
                      </a:lnTo>
                      <a:lnTo>
                        <a:pt x="70" y="347"/>
                      </a:lnTo>
                      <a:lnTo>
                        <a:pt x="70" y="345"/>
                      </a:lnTo>
                      <a:lnTo>
                        <a:pt x="71" y="345"/>
                      </a:lnTo>
                      <a:lnTo>
                        <a:pt x="71" y="347"/>
                      </a:lnTo>
                      <a:lnTo>
                        <a:pt x="73" y="347"/>
                      </a:lnTo>
                      <a:lnTo>
                        <a:pt x="73" y="345"/>
                      </a:lnTo>
                      <a:lnTo>
                        <a:pt x="75" y="345"/>
                      </a:lnTo>
                      <a:lnTo>
                        <a:pt x="76" y="345"/>
                      </a:lnTo>
                      <a:lnTo>
                        <a:pt x="76" y="343"/>
                      </a:lnTo>
                      <a:lnTo>
                        <a:pt x="78" y="343"/>
                      </a:lnTo>
                      <a:lnTo>
                        <a:pt x="80" y="343"/>
                      </a:lnTo>
                      <a:lnTo>
                        <a:pt x="80" y="342"/>
                      </a:lnTo>
                      <a:lnTo>
                        <a:pt x="82" y="342"/>
                      </a:lnTo>
                      <a:lnTo>
                        <a:pt x="83" y="342"/>
                      </a:lnTo>
                      <a:lnTo>
                        <a:pt x="85" y="342"/>
                      </a:lnTo>
                      <a:lnTo>
                        <a:pt x="85" y="340"/>
                      </a:lnTo>
                      <a:lnTo>
                        <a:pt x="87" y="342"/>
                      </a:lnTo>
                      <a:lnTo>
                        <a:pt x="87" y="340"/>
                      </a:lnTo>
                      <a:lnTo>
                        <a:pt x="88" y="340"/>
                      </a:lnTo>
                      <a:lnTo>
                        <a:pt x="88" y="338"/>
                      </a:lnTo>
                      <a:lnTo>
                        <a:pt x="90" y="337"/>
                      </a:lnTo>
                      <a:lnTo>
                        <a:pt x="88" y="337"/>
                      </a:lnTo>
                      <a:lnTo>
                        <a:pt x="90" y="337"/>
                      </a:lnTo>
                      <a:lnTo>
                        <a:pt x="90" y="335"/>
                      </a:lnTo>
                      <a:lnTo>
                        <a:pt x="90" y="334"/>
                      </a:lnTo>
                      <a:lnTo>
                        <a:pt x="92" y="334"/>
                      </a:lnTo>
                      <a:lnTo>
                        <a:pt x="92" y="332"/>
                      </a:lnTo>
                      <a:lnTo>
                        <a:pt x="92" y="330"/>
                      </a:lnTo>
                      <a:lnTo>
                        <a:pt x="93" y="329"/>
                      </a:lnTo>
                      <a:lnTo>
                        <a:pt x="95" y="329"/>
                      </a:lnTo>
                      <a:lnTo>
                        <a:pt x="95" y="327"/>
                      </a:lnTo>
                      <a:lnTo>
                        <a:pt x="95" y="325"/>
                      </a:lnTo>
                      <a:lnTo>
                        <a:pt x="95" y="324"/>
                      </a:lnTo>
                      <a:lnTo>
                        <a:pt x="97" y="324"/>
                      </a:lnTo>
                      <a:lnTo>
                        <a:pt x="98" y="324"/>
                      </a:lnTo>
                      <a:lnTo>
                        <a:pt x="100" y="324"/>
                      </a:lnTo>
                      <a:lnTo>
                        <a:pt x="100" y="322"/>
                      </a:lnTo>
                      <a:lnTo>
                        <a:pt x="102" y="322"/>
                      </a:lnTo>
                      <a:lnTo>
                        <a:pt x="103" y="324"/>
                      </a:lnTo>
                      <a:lnTo>
                        <a:pt x="105" y="324"/>
                      </a:lnTo>
                      <a:lnTo>
                        <a:pt x="107" y="324"/>
                      </a:lnTo>
                      <a:lnTo>
                        <a:pt x="109" y="322"/>
                      </a:lnTo>
                      <a:lnTo>
                        <a:pt x="110" y="322"/>
                      </a:lnTo>
                      <a:lnTo>
                        <a:pt x="110" y="324"/>
                      </a:lnTo>
                      <a:lnTo>
                        <a:pt x="110" y="322"/>
                      </a:lnTo>
                      <a:lnTo>
                        <a:pt x="112" y="322"/>
                      </a:lnTo>
                      <a:lnTo>
                        <a:pt x="114" y="322"/>
                      </a:lnTo>
                      <a:lnTo>
                        <a:pt x="114" y="324"/>
                      </a:lnTo>
                      <a:lnTo>
                        <a:pt x="115" y="324"/>
                      </a:lnTo>
                      <a:lnTo>
                        <a:pt x="117" y="322"/>
                      </a:lnTo>
                      <a:lnTo>
                        <a:pt x="117" y="324"/>
                      </a:lnTo>
                      <a:lnTo>
                        <a:pt x="119" y="322"/>
                      </a:lnTo>
                      <a:lnTo>
                        <a:pt x="120" y="322"/>
                      </a:lnTo>
                      <a:lnTo>
                        <a:pt x="120" y="320"/>
                      </a:lnTo>
                      <a:lnTo>
                        <a:pt x="120" y="319"/>
                      </a:lnTo>
                      <a:lnTo>
                        <a:pt x="122" y="319"/>
                      </a:lnTo>
                      <a:lnTo>
                        <a:pt x="124" y="319"/>
                      </a:lnTo>
                      <a:lnTo>
                        <a:pt x="124" y="317"/>
                      </a:lnTo>
                      <a:lnTo>
                        <a:pt x="124" y="315"/>
                      </a:lnTo>
                      <a:lnTo>
                        <a:pt x="125" y="315"/>
                      </a:lnTo>
                      <a:lnTo>
                        <a:pt x="127" y="315"/>
                      </a:lnTo>
                      <a:lnTo>
                        <a:pt x="129" y="317"/>
                      </a:lnTo>
                      <a:lnTo>
                        <a:pt x="131" y="317"/>
                      </a:lnTo>
                      <a:lnTo>
                        <a:pt x="131" y="315"/>
                      </a:lnTo>
                      <a:lnTo>
                        <a:pt x="132" y="315"/>
                      </a:lnTo>
                      <a:lnTo>
                        <a:pt x="132" y="314"/>
                      </a:lnTo>
                      <a:lnTo>
                        <a:pt x="134" y="312"/>
                      </a:lnTo>
                      <a:lnTo>
                        <a:pt x="136" y="311"/>
                      </a:lnTo>
                      <a:lnTo>
                        <a:pt x="137" y="309"/>
                      </a:lnTo>
                      <a:lnTo>
                        <a:pt x="139" y="307"/>
                      </a:lnTo>
                      <a:lnTo>
                        <a:pt x="137" y="307"/>
                      </a:lnTo>
                      <a:lnTo>
                        <a:pt x="139" y="307"/>
                      </a:lnTo>
                      <a:lnTo>
                        <a:pt x="139" y="306"/>
                      </a:lnTo>
                      <a:lnTo>
                        <a:pt x="142" y="301"/>
                      </a:lnTo>
                      <a:lnTo>
                        <a:pt x="142" y="299"/>
                      </a:lnTo>
                      <a:lnTo>
                        <a:pt x="142" y="297"/>
                      </a:lnTo>
                      <a:lnTo>
                        <a:pt x="141" y="292"/>
                      </a:lnTo>
                      <a:lnTo>
                        <a:pt x="141" y="291"/>
                      </a:lnTo>
                      <a:lnTo>
                        <a:pt x="142" y="291"/>
                      </a:lnTo>
                      <a:lnTo>
                        <a:pt x="142" y="292"/>
                      </a:lnTo>
                      <a:lnTo>
                        <a:pt x="144" y="292"/>
                      </a:lnTo>
                      <a:lnTo>
                        <a:pt x="146" y="292"/>
                      </a:lnTo>
                      <a:lnTo>
                        <a:pt x="146" y="291"/>
                      </a:lnTo>
                      <a:lnTo>
                        <a:pt x="144" y="289"/>
                      </a:lnTo>
                      <a:lnTo>
                        <a:pt x="144" y="288"/>
                      </a:lnTo>
                      <a:lnTo>
                        <a:pt x="146" y="288"/>
                      </a:lnTo>
                      <a:lnTo>
                        <a:pt x="147" y="288"/>
                      </a:lnTo>
                      <a:lnTo>
                        <a:pt x="147" y="286"/>
                      </a:lnTo>
                      <a:lnTo>
                        <a:pt x="147" y="284"/>
                      </a:lnTo>
                      <a:lnTo>
                        <a:pt x="147" y="283"/>
                      </a:lnTo>
                      <a:lnTo>
                        <a:pt x="149" y="281"/>
                      </a:lnTo>
                      <a:lnTo>
                        <a:pt x="147" y="279"/>
                      </a:lnTo>
                      <a:lnTo>
                        <a:pt x="149" y="279"/>
                      </a:lnTo>
                      <a:lnTo>
                        <a:pt x="149" y="278"/>
                      </a:lnTo>
                      <a:lnTo>
                        <a:pt x="151" y="276"/>
                      </a:lnTo>
                      <a:lnTo>
                        <a:pt x="151" y="274"/>
                      </a:lnTo>
                      <a:lnTo>
                        <a:pt x="149" y="273"/>
                      </a:lnTo>
                      <a:lnTo>
                        <a:pt x="149" y="271"/>
                      </a:lnTo>
                      <a:lnTo>
                        <a:pt x="149" y="269"/>
                      </a:lnTo>
                      <a:lnTo>
                        <a:pt x="149" y="268"/>
                      </a:lnTo>
                      <a:lnTo>
                        <a:pt x="151" y="268"/>
                      </a:lnTo>
                      <a:lnTo>
                        <a:pt x="152" y="266"/>
                      </a:lnTo>
                      <a:lnTo>
                        <a:pt x="152" y="265"/>
                      </a:lnTo>
                      <a:lnTo>
                        <a:pt x="151" y="265"/>
                      </a:lnTo>
                      <a:lnTo>
                        <a:pt x="151" y="263"/>
                      </a:lnTo>
                      <a:lnTo>
                        <a:pt x="152" y="261"/>
                      </a:lnTo>
                      <a:lnTo>
                        <a:pt x="152" y="260"/>
                      </a:lnTo>
                      <a:lnTo>
                        <a:pt x="152" y="258"/>
                      </a:lnTo>
                      <a:lnTo>
                        <a:pt x="154" y="256"/>
                      </a:lnTo>
                      <a:lnTo>
                        <a:pt x="156" y="256"/>
                      </a:lnTo>
                      <a:lnTo>
                        <a:pt x="158" y="256"/>
                      </a:lnTo>
                      <a:lnTo>
                        <a:pt x="158" y="255"/>
                      </a:lnTo>
                      <a:lnTo>
                        <a:pt x="159" y="255"/>
                      </a:lnTo>
                      <a:lnTo>
                        <a:pt x="159" y="253"/>
                      </a:lnTo>
                      <a:lnTo>
                        <a:pt x="159" y="251"/>
                      </a:lnTo>
                      <a:lnTo>
                        <a:pt x="161" y="251"/>
                      </a:lnTo>
                      <a:lnTo>
                        <a:pt x="163" y="251"/>
                      </a:lnTo>
                      <a:lnTo>
                        <a:pt x="163" y="250"/>
                      </a:lnTo>
                      <a:lnTo>
                        <a:pt x="163" y="248"/>
                      </a:lnTo>
                      <a:lnTo>
                        <a:pt x="164" y="248"/>
                      </a:lnTo>
                      <a:lnTo>
                        <a:pt x="164" y="246"/>
                      </a:lnTo>
                      <a:lnTo>
                        <a:pt x="166" y="246"/>
                      </a:lnTo>
                      <a:lnTo>
                        <a:pt x="168" y="246"/>
                      </a:lnTo>
                      <a:lnTo>
                        <a:pt x="169" y="246"/>
                      </a:lnTo>
                      <a:lnTo>
                        <a:pt x="171" y="245"/>
                      </a:lnTo>
                      <a:lnTo>
                        <a:pt x="173" y="243"/>
                      </a:lnTo>
                      <a:lnTo>
                        <a:pt x="173" y="242"/>
                      </a:lnTo>
                      <a:lnTo>
                        <a:pt x="174" y="242"/>
                      </a:lnTo>
                      <a:lnTo>
                        <a:pt x="176" y="242"/>
                      </a:lnTo>
                      <a:lnTo>
                        <a:pt x="178" y="242"/>
                      </a:lnTo>
                      <a:lnTo>
                        <a:pt x="179" y="242"/>
                      </a:lnTo>
                      <a:lnTo>
                        <a:pt x="181" y="242"/>
                      </a:lnTo>
                      <a:lnTo>
                        <a:pt x="181" y="240"/>
                      </a:lnTo>
                      <a:lnTo>
                        <a:pt x="183" y="238"/>
                      </a:lnTo>
                      <a:lnTo>
                        <a:pt x="185" y="238"/>
                      </a:lnTo>
                      <a:lnTo>
                        <a:pt x="185" y="240"/>
                      </a:lnTo>
                      <a:lnTo>
                        <a:pt x="186" y="240"/>
                      </a:lnTo>
                      <a:lnTo>
                        <a:pt x="186" y="242"/>
                      </a:lnTo>
                      <a:lnTo>
                        <a:pt x="186" y="243"/>
                      </a:lnTo>
                      <a:lnTo>
                        <a:pt x="186" y="245"/>
                      </a:lnTo>
                      <a:lnTo>
                        <a:pt x="188" y="245"/>
                      </a:lnTo>
                      <a:lnTo>
                        <a:pt x="191" y="245"/>
                      </a:lnTo>
                      <a:lnTo>
                        <a:pt x="193" y="243"/>
                      </a:lnTo>
                      <a:lnTo>
                        <a:pt x="195" y="242"/>
                      </a:lnTo>
                      <a:lnTo>
                        <a:pt x="196" y="242"/>
                      </a:lnTo>
                      <a:lnTo>
                        <a:pt x="198" y="240"/>
                      </a:lnTo>
                      <a:lnTo>
                        <a:pt x="200" y="240"/>
                      </a:lnTo>
                      <a:lnTo>
                        <a:pt x="200" y="238"/>
                      </a:lnTo>
                      <a:lnTo>
                        <a:pt x="200" y="237"/>
                      </a:lnTo>
                      <a:lnTo>
                        <a:pt x="201" y="235"/>
                      </a:lnTo>
                      <a:lnTo>
                        <a:pt x="203" y="235"/>
                      </a:lnTo>
                      <a:lnTo>
                        <a:pt x="205" y="235"/>
                      </a:lnTo>
                      <a:lnTo>
                        <a:pt x="205" y="233"/>
                      </a:lnTo>
                      <a:lnTo>
                        <a:pt x="207" y="233"/>
                      </a:lnTo>
                      <a:lnTo>
                        <a:pt x="207" y="232"/>
                      </a:lnTo>
                      <a:lnTo>
                        <a:pt x="207" y="230"/>
                      </a:lnTo>
                      <a:lnTo>
                        <a:pt x="207" y="228"/>
                      </a:lnTo>
                      <a:lnTo>
                        <a:pt x="207" y="227"/>
                      </a:lnTo>
                      <a:lnTo>
                        <a:pt x="207" y="225"/>
                      </a:lnTo>
                      <a:lnTo>
                        <a:pt x="208" y="224"/>
                      </a:lnTo>
                      <a:lnTo>
                        <a:pt x="210" y="222"/>
                      </a:lnTo>
                      <a:lnTo>
                        <a:pt x="210" y="220"/>
                      </a:lnTo>
                      <a:lnTo>
                        <a:pt x="210" y="219"/>
                      </a:lnTo>
                      <a:lnTo>
                        <a:pt x="210" y="217"/>
                      </a:lnTo>
                      <a:lnTo>
                        <a:pt x="210" y="215"/>
                      </a:lnTo>
                      <a:lnTo>
                        <a:pt x="212" y="215"/>
                      </a:lnTo>
                      <a:lnTo>
                        <a:pt x="212" y="214"/>
                      </a:lnTo>
                      <a:lnTo>
                        <a:pt x="212" y="212"/>
                      </a:lnTo>
                      <a:lnTo>
                        <a:pt x="212" y="210"/>
                      </a:lnTo>
                      <a:lnTo>
                        <a:pt x="213" y="210"/>
                      </a:lnTo>
                      <a:lnTo>
                        <a:pt x="213" y="209"/>
                      </a:lnTo>
                      <a:lnTo>
                        <a:pt x="213" y="207"/>
                      </a:lnTo>
                      <a:lnTo>
                        <a:pt x="215" y="207"/>
                      </a:lnTo>
                      <a:lnTo>
                        <a:pt x="215" y="205"/>
                      </a:lnTo>
                      <a:lnTo>
                        <a:pt x="215" y="204"/>
                      </a:lnTo>
                      <a:lnTo>
                        <a:pt x="215" y="202"/>
                      </a:lnTo>
                      <a:lnTo>
                        <a:pt x="215" y="201"/>
                      </a:lnTo>
                      <a:lnTo>
                        <a:pt x="217" y="199"/>
                      </a:lnTo>
                      <a:lnTo>
                        <a:pt x="218" y="197"/>
                      </a:lnTo>
                      <a:lnTo>
                        <a:pt x="217" y="196"/>
                      </a:lnTo>
                      <a:lnTo>
                        <a:pt x="217" y="194"/>
                      </a:lnTo>
                      <a:lnTo>
                        <a:pt x="217" y="192"/>
                      </a:lnTo>
                      <a:lnTo>
                        <a:pt x="217" y="191"/>
                      </a:lnTo>
                      <a:lnTo>
                        <a:pt x="215" y="191"/>
                      </a:lnTo>
                      <a:lnTo>
                        <a:pt x="215" y="189"/>
                      </a:lnTo>
                      <a:lnTo>
                        <a:pt x="215" y="187"/>
                      </a:lnTo>
                      <a:lnTo>
                        <a:pt x="215" y="186"/>
                      </a:lnTo>
                      <a:lnTo>
                        <a:pt x="215" y="184"/>
                      </a:lnTo>
                      <a:lnTo>
                        <a:pt x="215" y="182"/>
                      </a:lnTo>
                      <a:lnTo>
                        <a:pt x="217" y="182"/>
                      </a:lnTo>
                      <a:lnTo>
                        <a:pt x="217" y="181"/>
                      </a:lnTo>
                      <a:lnTo>
                        <a:pt x="217" y="179"/>
                      </a:lnTo>
                      <a:lnTo>
                        <a:pt x="217" y="178"/>
                      </a:lnTo>
                      <a:lnTo>
                        <a:pt x="217" y="176"/>
                      </a:lnTo>
                      <a:lnTo>
                        <a:pt x="217" y="174"/>
                      </a:lnTo>
                      <a:lnTo>
                        <a:pt x="218" y="173"/>
                      </a:lnTo>
                      <a:lnTo>
                        <a:pt x="218" y="171"/>
                      </a:lnTo>
                      <a:lnTo>
                        <a:pt x="220" y="169"/>
                      </a:lnTo>
                      <a:lnTo>
                        <a:pt x="220" y="168"/>
                      </a:lnTo>
                      <a:lnTo>
                        <a:pt x="222" y="168"/>
                      </a:lnTo>
                      <a:lnTo>
                        <a:pt x="220" y="166"/>
                      </a:lnTo>
                      <a:lnTo>
                        <a:pt x="222" y="166"/>
                      </a:lnTo>
                      <a:lnTo>
                        <a:pt x="222" y="164"/>
                      </a:lnTo>
                      <a:lnTo>
                        <a:pt x="223" y="164"/>
                      </a:lnTo>
                      <a:lnTo>
                        <a:pt x="223" y="163"/>
                      </a:lnTo>
                      <a:lnTo>
                        <a:pt x="222" y="161"/>
                      </a:lnTo>
                      <a:lnTo>
                        <a:pt x="222" y="159"/>
                      </a:lnTo>
                      <a:lnTo>
                        <a:pt x="223" y="159"/>
                      </a:lnTo>
                      <a:lnTo>
                        <a:pt x="225" y="161"/>
                      </a:lnTo>
                      <a:lnTo>
                        <a:pt x="227" y="161"/>
                      </a:lnTo>
                      <a:lnTo>
                        <a:pt x="228" y="159"/>
                      </a:lnTo>
                      <a:lnTo>
                        <a:pt x="230" y="158"/>
                      </a:lnTo>
                      <a:lnTo>
                        <a:pt x="230" y="156"/>
                      </a:lnTo>
                      <a:lnTo>
                        <a:pt x="230" y="155"/>
                      </a:lnTo>
                      <a:lnTo>
                        <a:pt x="228" y="153"/>
                      </a:lnTo>
                      <a:lnTo>
                        <a:pt x="228" y="151"/>
                      </a:lnTo>
                      <a:lnTo>
                        <a:pt x="228" y="150"/>
                      </a:lnTo>
                      <a:lnTo>
                        <a:pt x="228" y="148"/>
                      </a:lnTo>
                      <a:lnTo>
                        <a:pt x="227" y="148"/>
                      </a:lnTo>
                      <a:lnTo>
                        <a:pt x="227" y="146"/>
                      </a:lnTo>
                      <a:lnTo>
                        <a:pt x="227" y="145"/>
                      </a:lnTo>
                      <a:lnTo>
                        <a:pt x="228" y="145"/>
                      </a:lnTo>
                      <a:lnTo>
                        <a:pt x="228" y="143"/>
                      </a:lnTo>
                      <a:lnTo>
                        <a:pt x="230" y="141"/>
                      </a:lnTo>
                      <a:lnTo>
                        <a:pt x="228" y="140"/>
                      </a:lnTo>
                      <a:lnTo>
                        <a:pt x="230" y="138"/>
                      </a:lnTo>
                      <a:lnTo>
                        <a:pt x="230" y="136"/>
                      </a:lnTo>
                      <a:lnTo>
                        <a:pt x="228" y="135"/>
                      </a:lnTo>
                      <a:lnTo>
                        <a:pt x="228" y="133"/>
                      </a:lnTo>
                      <a:lnTo>
                        <a:pt x="228" y="132"/>
                      </a:lnTo>
                      <a:lnTo>
                        <a:pt x="228" y="130"/>
                      </a:lnTo>
                      <a:lnTo>
                        <a:pt x="228" y="128"/>
                      </a:lnTo>
                      <a:lnTo>
                        <a:pt x="228" y="127"/>
                      </a:lnTo>
                      <a:lnTo>
                        <a:pt x="227" y="127"/>
                      </a:lnTo>
                      <a:lnTo>
                        <a:pt x="227" y="125"/>
                      </a:lnTo>
                      <a:lnTo>
                        <a:pt x="227" y="123"/>
                      </a:lnTo>
                      <a:lnTo>
                        <a:pt x="228" y="123"/>
                      </a:lnTo>
                      <a:lnTo>
                        <a:pt x="230" y="122"/>
                      </a:lnTo>
                      <a:lnTo>
                        <a:pt x="232" y="122"/>
                      </a:lnTo>
                      <a:lnTo>
                        <a:pt x="234" y="120"/>
                      </a:lnTo>
                      <a:lnTo>
                        <a:pt x="234" y="118"/>
                      </a:lnTo>
                      <a:lnTo>
                        <a:pt x="235" y="117"/>
                      </a:lnTo>
                      <a:lnTo>
                        <a:pt x="235" y="113"/>
                      </a:lnTo>
                      <a:lnTo>
                        <a:pt x="237" y="112"/>
                      </a:lnTo>
                      <a:lnTo>
                        <a:pt x="237" y="110"/>
                      </a:lnTo>
                      <a:lnTo>
                        <a:pt x="237" y="109"/>
                      </a:lnTo>
                      <a:lnTo>
                        <a:pt x="237" y="107"/>
                      </a:lnTo>
                      <a:lnTo>
                        <a:pt x="237" y="105"/>
                      </a:lnTo>
                      <a:lnTo>
                        <a:pt x="239" y="104"/>
                      </a:lnTo>
                      <a:lnTo>
                        <a:pt x="240" y="104"/>
                      </a:lnTo>
                      <a:lnTo>
                        <a:pt x="240" y="102"/>
                      </a:lnTo>
                      <a:lnTo>
                        <a:pt x="242" y="102"/>
                      </a:lnTo>
                      <a:lnTo>
                        <a:pt x="242" y="100"/>
                      </a:lnTo>
                      <a:lnTo>
                        <a:pt x="244" y="100"/>
                      </a:lnTo>
                      <a:lnTo>
                        <a:pt x="244" y="99"/>
                      </a:lnTo>
                      <a:lnTo>
                        <a:pt x="244" y="97"/>
                      </a:lnTo>
                      <a:lnTo>
                        <a:pt x="245" y="97"/>
                      </a:lnTo>
                      <a:lnTo>
                        <a:pt x="247" y="97"/>
                      </a:lnTo>
                      <a:lnTo>
                        <a:pt x="247" y="95"/>
                      </a:lnTo>
                      <a:lnTo>
                        <a:pt x="245" y="94"/>
                      </a:lnTo>
                      <a:lnTo>
                        <a:pt x="245" y="92"/>
                      </a:lnTo>
                      <a:lnTo>
                        <a:pt x="247" y="90"/>
                      </a:lnTo>
                      <a:lnTo>
                        <a:pt x="249" y="89"/>
                      </a:lnTo>
                      <a:lnTo>
                        <a:pt x="250" y="87"/>
                      </a:lnTo>
                      <a:lnTo>
                        <a:pt x="250" y="86"/>
                      </a:lnTo>
                      <a:lnTo>
                        <a:pt x="252" y="86"/>
                      </a:lnTo>
                      <a:lnTo>
                        <a:pt x="252" y="84"/>
                      </a:lnTo>
                      <a:lnTo>
                        <a:pt x="252" y="82"/>
                      </a:lnTo>
                      <a:lnTo>
                        <a:pt x="252" y="81"/>
                      </a:lnTo>
                      <a:lnTo>
                        <a:pt x="254" y="81"/>
                      </a:lnTo>
                      <a:lnTo>
                        <a:pt x="254" y="79"/>
                      </a:lnTo>
                      <a:lnTo>
                        <a:pt x="254" y="77"/>
                      </a:lnTo>
                      <a:lnTo>
                        <a:pt x="254" y="76"/>
                      </a:lnTo>
                      <a:lnTo>
                        <a:pt x="252" y="76"/>
                      </a:lnTo>
                      <a:lnTo>
                        <a:pt x="252" y="74"/>
                      </a:lnTo>
                      <a:lnTo>
                        <a:pt x="252" y="72"/>
                      </a:lnTo>
                      <a:lnTo>
                        <a:pt x="252" y="71"/>
                      </a:lnTo>
                      <a:lnTo>
                        <a:pt x="252" y="69"/>
                      </a:lnTo>
                      <a:lnTo>
                        <a:pt x="254" y="67"/>
                      </a:lnTo>
                      <a:lnTo>
                        <a:pt x="252" y="66"/>
                      </a:lnTo>
                      <a:lnTo>
                        <a:pt x="252" y="64"/>
                      </a:lnTo>
                      <a:lnTo>
                        <a:pt x="252" y="63"/>
                      </a:lnTo>
                      <a:lnTo>
                        <a:pt x="250" y="63"/>
                      </a:lnTo>
                      <a:lnTo>
                        <a:pt x="252" y="63"/>
                      </a:lnTo>
                      <a:lnTo>
                        <a:pt x="252" y="61"/>
                      </a:lnTo>
                      <a:lnTo>
                        <a:pt x="254" y="61"/>
                      </a:lnTo>
                      <a:lnTo>
                        <a:pt x="255" y="61"/>
                      </a:lnTo>
                      <a:lnTo>
                        <a:pt x="255" y="59"/>
                      </a:lnTo>
                      <a:lnTo>
                        <a:pt x="254" y="59"/>
                      </a:lnTo>
                      <a:lnTo>
                        <a:pt x="254" y="58"/>
                      </a:lnTo>
                      <a:lnTo>
                        <a:pt x="254" y="56"/>
                      </a:lnTo>
                      <a:lnTo>
                        <a:pt x="255" y="56"/>
                      </a:lnTo>
                      <a:lnTo>
                        <a:pt x="255" y="58"/>
                      </a:lnTo>
                      <a:lnTo>
                        <a:pt x="257" y="58"/>
                      </a:lnTo>
                      <a:lnTo>
                        <a:pt x="257" y="56"/>
                      </a:lnTo>
                      <a:lnTo>
                        <a:pt x="257" y="54"/>
                      </a:lnTo>
                      <a:lnTo>
                        <a:pt x="259" y="54"/>
                      </a:lnTo>
                      <a:lnTo>
                        <a:pt x="259" y="51"/>
                      </a:lnTo>
                      <a:lnTo>
                        <a:pt x="261" y="49"/>
                      </a:lnTo>
                      <a:lnTo>
                        <a:pt x="261" y="48"/>
                      </a:lnTo>
                      <a:lnTo>
                        <a:pt x="261" y="46"/>
                      </a:lnTo>
                      <a:lnTo>
                        <a:pt x="262" y="46"/>
                      </a:lnTo>
                      <a:lnTo>
                        <a:pt x="262" y="44"/>
                      </a:lnTo>
                      <a:lnTo>
                        <a:pt x="261" y="44"/>
                      </a:lnTo>
                      <a:lnTo>
                        <a:pt x="261" y="43"/>
                      </a:lnTo>
                      <a:lnTo>
                        <a:pt x="262" y="43"/>
                      </a:lnTo>
                      <a:lnTo>
                        <a:pt x="262" y="41"/>
                      </a:lnTo>
                      <a:lnTo>
                        <a:pt x="262" y="40"/>
                      </a:lnTo>
                      <a:lnTo>
                        <a:pt x="264" y="40"/>
                      </a:lnTo>
                      <a:lnTo>
                        <a:pt x="262" y="38"/>
                      </a:lnTo>
                      <a:lnTo>
                        <a:pt x="262" y="36"/>
                      </a:lnTo>
                      <a:lnTo>
                        <a:pt x="264" y="36"/>
                      </a:lnTo>
                      <a:lnTo>
                        <a:pt x="264" y="35"/>
                      </a:lnTo>
                      <a:lnTo>
                        <a:pt x="266" y="35"/>
                      </a:lnTo>
                      <a:lnTo>
                        <a:pt x="264" y="33"/>
                      </a:lnTo>
                      <a:lnTo>
                        <a:pt x="264" y="35"/>
                      </a:lnTo>
                      <a:lnTo>
                        <a:pt x="264" y="33"/>
                      </a:lnTo>
                      <a:lnTo>
                        <a:pt x="266" y="33"/>
                      </a:lnTo>
                      <a:lnTo>
                        <a:pt x="266" y="31"/>
                      </a:lnTo>
                      <a:lnTo>
                        <a:pt x="264" y="30"/>
                      </a:lnTo>
                      <a:lnTo>
                        <a:pt x="266" y="30"/>
                      </a:lnTo>
                      <a:lnTo>
                        <a:pt x="266" y="28"/>
                      </a:lnTo>
                      <a:lnTo>
                        <a:pt x="267" y="28"/>
                      </a:lnTo>
                      <a:lnTo>
                        <a:pt x="269" y="28"/>
                      </a:lnTo>
                      <a:lnTo>
                        <a:pt x="267" y="28"/>
                      </a:lnTo>
                      <a:lnTo>
                        <a:pt x="267" y="26"/>
                      </a:lnTo>
                      <a:lnTo>
                        <a:pt x="269" y="26"/>
                      </a:lnTo>
                      <a:lnTo>
                        <a:pt x="267" y="26"/>
                      </a:lnTo>
                      <a:lnTo>
                        <a:pt x="267" y="25"/>
                      </a:lnTo>
                      <a:lnTo>
                        <a:pt x="269" y="25"/>
                      </a:lnTo>
                      <a:lnTo>
                        <a:pt x="267" y="25"/>
                      </a:lnTo>
                      <a:lnTo>
                        <a:pt x="269" y="23"/>
                      </a:lnTo>
                      <a:lnTo>
                        <a:pt x="269" y="25"/>
                      </a:lnTo>
                      <a:lnTo>
                        <a:pt x="271" y="25"/>
                      </a:lnTo>
                      <a:lnTo>
                        <a:pt x="269" y="23"/>
                      </a:lnTo>
                      <a:lnTo>
                        <a:pt x="269" y="22"/>
                      </a:lnTo>
                      <a:lnTo>
                        <a:pt x="271" y="22"/>
                      </a:lnTo>
                      <a:lnTo>
                        <a:pt x="272" y="22"/>
                      </a:lnTo>
                      <a:lnTo>
                        <a:pt x="272" y="20"/>
                      </a:lnTo>
                      <a:lnTo>
                        <a:pt x="271" y="20"/>
                      </a:lnTo>
                      <a:lnTo>
                        <a:pt x="272" y="18"/>
                      </a:lnTo>
                      <a:lnTo>
                        <a:pt x="274" y="18"/>
                      </a:lnTo>
                      <a:lnTo>
                        <a:pt x="274" y="17"/>
                      </a:lnTo>
                      <a:lnTo>
                        <a:pt x="274" y="15"/>
                      </a:lnTo>
                      <a:lnTo>
                        <a:pt x="276" y="15"/>
                      </a:lnTo>
                      <a:lnTo>
                        <a:pt x="274" y="15"/>
                      </a:lnTo>
                      <a:lnTo>
                        <a:pt x="276" y="15"/>
                      </a:lnTo>
                      <a:lnTo>
                        <a:pt x="276" y="13"/>
                      </a:lnTo>
                      <a:lnTo>
                        <a:pt x="277" y="13"/>
                      </a:lnTo>
                      <a:lnTo>
                        <a:pt x="277" y="12"/>
                      </a:lnTo>
                      <a:lnTo>
                        <a:pt x="279" y="12"/>
                      </a:lnTo>
                      <a:lnTo>
                        <a:pt x="279" y="13"/>
                      </a:lnTo>
                      <a:lnTo>
                        <a:pt x="279" y="12"/>
                      </a:lnTo>
                      <a:lnTo>
                        <a:pt x="279" y="10"/>
                      </a:lnTo>
                      <a:lnTo>
                        <a:pt x="281" y="10"/>
                      </a:lnTo>
                      <a:lnTo>
                        <a:pt x="283" y="10"/>
                      </a:lnTo>
                      <a:lnTo>
                        <a:pt x="283" y="8"/>
                      </a:lnTo>
                      <a:lnTo>
                        <a:pt x="284" y="8"/>
                      </a:lnTo>
                      <a:lnTo>
                        <a:pt x="286" y="7"/>
                      </a:lnTo>
                      <a:lnTo>
                        <a:pt x="288" y="7"/>
                      </a:lnTo>
                      <a:lnTo>
                        <a:pt x="288" y="5"/>
                      </a:lnTo>
                      <a:lnTo>
                        <a:pt x="289" y="7"/>
                      </a:lnTo>
                      <a:lnTo>
                        <a:pt x="289" y="5"/>
                      </a:lnTo>
                      <a:lnTo>
                        <a:pt x="291" y="5"/>
                      </a:lnTo>
                      <a:lnTo>
                        <a:pt x="293" y="3"/>
                      </a:lnTo>
                      <a:lnTo>
                        <a:pt x="291" y="3"/>
                      </a:lnTo>
                      <a:lnTo>
                        <a:pt x="291" y="2"/>
                      </a:lnTo>
                      <a:lnTo>
                        <a:pt x="291" y="3"/>
                      </a:lnTo>
                      <a:lnTo>
                        <a:pt x="293" y="3"/>
                      </a:lnTo>
                      <a:lnTo>
                        <a:pt x="293" y="2"/>
                      </a:lnTo>
                      <a:lnTo>
                        <a:pt x="294" y="2"/>
                      </a:lnTo>
                      <a:lnTo>
                        <a:pt x="296" y="0"/>
                      </a:lnTo>
                      <a:lnTo>
                        <a:pt x="294" y="2"/>
                      </a:lnTo>
                      <a:lnTo>
                        <a:pt x="294" y="3"/>
                      </a:lnTo>
                      <a:lnTo>
                        <a:pt x="294" y="5"/>
                      </a:lnTo>
                      <a:lnTo>
                        <a:pt x="293" y="5"/>
                      </a:lnTo>
                      <a:lnTo>
                        <a:pt x="293" y="7"/>
                      </a:lnTo>
                      <a:lnTo>
                        <a:pt x="291" y="7"/>
                      </a:lnTo>
                      <a:lnTo>
                        <a:pt x="289" y="7"/>
                      </a:lnTo>
                      <a:lnTo>
                        <a:pt x="289" y="8"/>
                      </a:lnTo>
                      <a:lnTo>
                        <a:pt x="289" y="10"/>
                      </a:lnTo>
                      <a:lnTo>
                        <a:pt x="289" y="12"/>
                      </a:lnTo>
                      <a:lnTo>
                        <a:pt x="288" y="12"/>
                      </a:lnTo>
                      <a:lnTo>
                        <a:pt x="288" y="13"/>
                      </a:lnTo>
                      <a:lnTo>
                        <a:pt x="288" y="15"/>
                      </a:lnTo>
                      <a:lnTo>
                        <a:pt x="289" y="15"/>
                      </a:lnTo>
                      <a:lnTo>
                        <a:pt x="289" y="17"/>
                      </a:lnTo>
                      <a:lnTo>
                        <a:pt x="289" y="15"/>
                      </a:lnTo>
                      <a:lnTo>
                        <a:pt x="291" y="15"/>
                      </a:lnTo>
                      <a:lnTo>
                        <a:pt x="291" y="17"/>
                      </a:lnTo>
                      <a:lnTo>
                        <a:pt x="289" y="17"/>
                      </a:lnTo>
                      <a:lnTo>
                        <a:pt x="289" y="18"/>
                      </a:lnTo>
                      <a:lnTo>
                        <a:pt x="288" y="18"/>
                      </a:lnTo>
                      <a:lnTo>
                        <a:pt x="286" y="18"/>
                      </a:lnTo>
                      <a:lnTo>
                        <a:pt x="286" y="20"/>
                      </a:lnTo>
                      <a:lnTo>
                        <a:pt x="286" y="22"/>
                      </a:lnTo>
                      <a:lnTo>
                        <a:pt x="288" y="22"/>
                      </a:lnTo>
                      <a:lnTo>
                        <a:pt x="286" y="22"/>
                      </a:lnTo>
                      <a:lnTo>
                        <a:pt x="286" y="23"/>
                      </a:lnTo>
                      <a:lnTo>
                        <a:pt x="286" y="22"/>
                      </a:lnTo>
                      <a:lnTo>
                        <a:pt x="284" y="22"/>
                      </a:lnTo>
                      <a:lnTo>
                        <a:pt x="284" y="23"/>
                      </a:lnTo>
                      <a:lnTo>
                        <a:pt x="284" y="25"/>
                      </a:lnTo>
                      <a:lnTo>
                        <a:pt x="284" y="26"/>
                      </a:lnTo>
                      <a:lnTo>
                        <a:pt x="284" y="28"/>
                      </a:lnTo>
                      <a:lnTo>
                        <a:pt x="283" y="28"/>
                      </a:lnTo>
                      <a:lnTo>
                        <a:pt x="283" y="26"/>
                      </a:lnTo>
                      <a:lnTo>
                        <a:pt x="283" y="28"/>
                      </a:lnTo>
                      <a:lnTo>
                        <a:pt x="281" y="28"/>
                      </a:lnTo>
                      <a:lnTo>
                        <a:pt x="281" y="26"/>
                      </a:lnTo>
                      <a:lnTo>
                        <a:pt x="281" y="28"/>
                      </a:lnTo>
                      <a:lnTo>
                        <a:pt x="281" y="30"/>
                      </a:lnTo>
                      <a:lnTo>
                        <a:pt x="283" y="30"/>
                      </a:lnTo>
                      <a:lnTo>
                        <a:pt x="283" y="31"/>
                      </a:lnTo>
                      <a:lnTo>
                        <a:pt x="283" y="33"/>
                      </a:lnTo>
                      <a:lnTo>
                        <a:pt x="281" y="33"/>
                      </a:lnTo>
                      <a:lnTo>
                        <a:pt x="281" y="35"/>
                      </a:lnTo>
                      <a:lnTo>
                        <a:pt x="281" y="36"/>
                      </a:lnTo>
                      <a:lnTo>
                        <a:pt x="279" y="38"/>
                      </a:lnTo>
                      <a:lnTo>
                        <a:pt x="281" y="38"/>
                      </a:lnTo>
                      <a:lnTo>
                        <a:pt x="281" y="40"/>
                      </a:lnTo>
                      <a:lnTo>
                        <a:pt x="281" y="41"/>
                      </a:lnTo>
                      <a:lnTo>
                        <a:pt x="283" y="41"/>
                      </a:lnTo>
                      <a:lnTo>
                        <a:pt x="283" y="43"/>
                      </a:lnTo>
                      <a:lnTo>
                        <a:pt x="283" y="41"/>
                      </a:lnTo>
                      <a:lnTo>
                        <a:pt x="283" y="43"/>
                      </a:lnTo>
                      <a:lnTo>
                        <a:pt x="284" y="41"/>
                      </a:lnTo>
                      <a:lnTo>
                        <a:pt x="284" y="43"/>
                      </a:lnTo>
                      <a:lnTo>
                        <a:pt x="286" y="43"/>
                      </a:lnTo>
                      <a:lnTo>
                        <a:pt x="288" y="43"/>
                      </a:lnTo>
                      <a:lnTo>
                        <a:pt x="288" y="44"/>
                      </a:lnTo>
                      <a:lnTo>
                        <a:pt x="289" y="44"/>
                      </a:lnTo>
                      <a:lnTo>
                        <a:pt x="289" y="46"/>
                      </a:lnTo>
                      <a:lnTo>
                        <a:pt x="289" y="44"/>
                      </a:lnTo>
                      <a:lnTo>
                        <a:pt x="289" y="46"/>
                      </a:lnTo>
                      <a:lnTo>
                        <a:pt x="291" y="46"/>
                      </a:lnTo>
                      <a:lnTo>
                        <a:pt x="293" y="48"/>
                      </a:lnTo>
                      <a:lnTo>
                        <a:pt x="293" y="46"/>
                      </a:lnTo>
                      <a:lnTo>
                        <a:pt x="293" y="48"/>
                      </a:lnTo>
                      <a:lnTo>
                        <a:pt x="293" y="46"/>
                      </a:lnTo>
                      <a:lnTo>
                        <a:pt x="294" y="46"/>
                      </a:lnTo>
                      <a:lnTo>
                        <a:pt x="294" y="48"/>
                      </a:lnTo>
                      <a:lnTo>
                        <a:pt x="296" y="48"/>
                      </a:lnTo>
                      <a:lnTo>
                        <a:pt x="298" y="48"/>
                      </a:lnTo>
                      <a:lnTo>
                        <a:pt x="299" y="48"/>
                      </a:lnTo>
                      <a:lnTo>
                        <a:pt x="301" y="48"/>
                      </a:lnTo>
                      <a:lnTo>
                        <a:pt x="303" y="48"/>
                      </a:lnTo>
                      <a:lnTo>
                        <a:pt x="303" y="49"/>
                      </a:lnTo>
                      <a:lnTo>
                        <a:pt x="304" y="49"/>
                      </a:lnTo>
                      <a:lnTo>
                        <a:pt x="304" y="51"/>
                      </a:lnTo>
                      <a:lnTo>
                        <a:pt x="306" y="51"/>
                      </a:lnTo>
                      <a:lnTo>
                        <a:pt x="308" y="49"/>
                      </a:lnTo>
                      <a:lnTo>
                        <a:pt x="308" y="51"/>
                      </a:lnTo>
                      <a:lnTo>
                        <a:pt x="310" y="51"/>
                      </a:lnTo>
                      <a:lnTo>
                        <a:pt x="311" y="51"/>
                      </a:lnTo>
                      <a:lnTo>
                        <a:pt x="313" y="53"/>
                      </a:lnTo>
                      <a:lnTo>
                        <a:pt x="315" y="53"/>
                      </a:lnTo>
                      <a:lnTo>
                        <a:pt x="316" y="53"/>
                      </a:lnTo>
                      <a:lnTo>
                        <a:pt x="318" y="53"/>
                      </a:lnTo>
                      <a:lnTo>
                        <a:pt x="318" y="54"/>
                      </a:lnTo>
                      <a:lnTo>
                        <a:pt x="357" y="76"/>
                      </a:lnTo>
                      <a:lnTo>
                        <a:pt x="369" y="82"/>
                      </a:lnTo>
                      <a:lnTo>
                        <a:pt x="370" y="81"/>
                      </a:lnTo>
                      <a:lnTo>
                        <a:pt x="372" y="81"/>
                      </a:lnTo>
                      <a:lnTo>
                        <a:pt x="372" y="79"/>
                      </a:lnTo>
                      <a:lnTo>
                        <a:pt x="372" y="77"/>
                      </a:lnTo>
                      <a:lnTo>
                        <a:pt x="370" y="76"/>
                      </a:lnTo>
                      <a:lnTo>
                        <a:pt x="372" y="76"/>
                      </a:lnTo>
                      <a:lnTo>
                        <a:pt x="370" y="74"/>
                      </a:lnTo>
                      <a:lnTo>
                        <a:pt x="372" y="74"/>
                      </a:lnTo>
                      <a:lnTo>
                        <a:pt x="372" y="72"/>
                      </a:lnTo>
                      <a:lnTo>
                        <a:pt x="370" y="72"/>
                      </a:lnTo>
                      <a:lnTo>
                        <a:pt x="370" y="71"/>
                      </a:lnTo>
                      <a:lnTo>
                        <a:pt x="370" y="69"/>
                      </a:lnTo>
                      <a:lnTo>
                        <a:pt x="372" y="69"/>
                      </a:lnTo>
                      <a:lnTo>
                        <a:pt x="372" y="67"/>
                      </a:lnTo>
                      <a:lnTo>
                        <a:pt x="370" y="67"/>
                      </a:lnTo>
                      <a:lnTo>
                        <a:pt x="370" y="66"/>
                      </a:lnTo>
                      <a:lnTo>
                        <a:pt x="370" y="64"/>
                      </a:lnTo>
                      <a:lnTo>
                        <a:pt x="372" y="64"/>
                      </a:lnTo>
                      <a:lnTo>
                        <a:pt x="372" y="63"/>
                      </a:lnTo>
                      <a:lnTo>
                        <a:pt x="374" y="63"/>
                      </a:lnTo>
                      <a:lnTo>
                        <a:pt x="374" y="61"/>
                      </a:lnTo>
                      <a:lnTo>
                        <a:pt x="374" y="59"/>
                      </a:lnTo>
                      <a:lnTo>
                        <a:pt x="375" y="59"/>
                      </a:lnTo>
                      <a:lnTo>
                        <a:pt x="375" y="58"/>
                      </a:lnTo>
                      <a:lnTo>
                        <a:pt x="377" y="58"/>
                      </a:lnTo>
                      <a:lnTo>
                        <a:pt x="377" y="56"/>
                      </a:lnTo>
                      <a:lnTo>
                        <a:pt x="377" y="54"/>
                      </a:lnTo>
                      <a:lnTo>
                        <a:pt x="379" y="53"/>
                      </a:lnTo>
                      <a:lnTo>
                        <a:pt x="379" y="51"/>
                      </a:lnTo>
                      <a:lnTo>
                        <a:pt x="380" y="51"/>
                      </a:lnTo>
                      <a:lnTo>
                        <a:pt x="380" y="49"/>
                      </a:lnTo>
                      <a:lnTo>
                        <a:pt x="380" y="48"/>
                      </a:lnTo>
                      <a:lnTo>
                        <a:pt x="382" y="46"/>
                      </a:lnTo>
                      <a:lnTo>
                        <a:pt x="382" y="44"/>
                      </a:lnTo>
                      <a:lnTo>
                        <a:pt x="384" y="46"/>
                      </a:lnTo>
                      <a:lnTo>
                        <a:pt x="384" y="44"/>
                      </a:lnTo>
                      <a:lnTo>
                        <a:pt x="386" y="44"/>
                      </a:lnTo>
                      <a:lnTo>
                        <a:pt x="386" y="43"/>
                      </a:lnTo>
                      <a:lnTo>
                        <a:pt x="387" y="43"/>
                      </a:lnTo>
                      <a:lnTo>
                        <a:pt x="389" y="41"/>
                      </a:lnTo>
                      <a:lnTo>
                        <a:pt x="389" y="40"/>
                      </a:lnTo>
                      <a:lnTo>
                        <a:pt x="391" y="40"/>
                      </a:lnTo>
                      <a:lnTo>
                        <a:pt x="391" y="38"/>
                      </a:lnTo>
                      <a:lnTo>
                        <a:pt x="392" y="38"/>
                      </a:lnTo>
                      <a:lnTo>
                        <a:pt x="394" y="41"/>
                      </a:lnTo>
                      <a:lnTo>
                        <a:pt x="396" y="41"/>
                      </a:lnTo>
                      <a:lnTo>
                        <a:pt x="396" y="43"/>
                      </a:lnTo>
                      <a:lnTo>
                        <a:pt x="397" y="43"/>
                      </a:lnTo>
                      <a:lnTo>
                        <a:pt x="397" y="44"/>
                      </a:lnTo>
                      <a:lnTo>
                        <a:pt x="396" y="44"/>
                      </a:lnTo>
                      <a:lnTo>
                        <a:pt x="396" y="46"/>
                      </a:lnTo>
                      <a:lnTo>
                        <a:pt x="396" y="48"/>
                      </a:lnTo>
                      <a:lnTo>
                        <a:pt x="397" y="48"/>
                      </a:lnTo>
                      <a:lnTo>
                        <a:pt x="399" y="48"/>
                      </a:lnTo>
                      <a:lnTo>
                        <a:pt x="399" y="49"/>
                      </a:lnTo>
                      <a:lnTo>
                        <a:pt x="399" y="48"/>
                      </a:lnTo>
                      <a:lnTo>
                        <a:pt x="401" y="48"/>
                      </a:lnTo>
                      <a:lnTo>
                        <a:pt x="402" y="48"/>
                      </a:lnTo>
                      <a:lnTo>
                        <a:pt x="402" y="49"/>
                      </a:lnTo>
                      <a:lnTo>
                        <a:pt x="404" y="49"/>
                      </a:lnTo>
                      <a:lnTo>
                        <a:pt x="404" y="51"/>
                      </a:lnTo>
                      <a:lnTo>
                        <a:pt x="406" y="51"/>
                      </a:lnTo>
                      <a:lnTo>
                        <a:pt x="406" y="53"/>
                      </a:lnTo>
                      <a:lnTo>
                        <a:pt x="416" y="40"/>
                      </a:lnTo>
                      <a:lnTo>
                        <a:pt x="416" y="38"/>
                      </a:lnTo>
                      <a:lnTo>
                        <a:pt x="416" y="40"/>
                      </a:lnTo>
                      <a:lnTo>
                        <a:pt x="418" y="40"/>
                      </a:lnTo>
                      <a:lnTo>
                        <a:pt x="418" y="38"/>
                      </a:lnTo>
                      <a:lnTo>
                        <a:pt x="418" y="40"/>
                      </a:lnTo>
                      <a:lnTo>
                        <a:pt x="418" y="38"/>
                      </a:lnTo>
                      <a:lnTo>
                        <a:pt x="418" y="40"/>
                      </a:lnTo>
                      <a:lnTo>
                        <a:pt x="419" y="40"/>
                      </a:lnTo>
                      <a:lnTo>
                        <a:pt x="419" y="41"/>
                      </a:lnTo>
                      <a:lnTo>
                        <a:pt x="419" y="43"/>
                      </a:lnTo>
                      <a:lnTo>
                        <a:pt x="421" y="43"/>
                      </a:lnTo>
                      <a:lnTo>
                        <a:pt x="423" y="43"/>
                      </a:lnTo>
                      <a:lnTo>
                        <a:pt x="423" y="44"/>
                      </a:lnTo>
                      <a:lnTo>
                        <a:pt x="421" y="44"/>
                      </a:lnTo>
                      <a:lnTo>
                        <a:pt x="423" y="44"/>
                      </a:lnTo>
                      <a:lnTo>
                        <a:pt x="423" y="46"/>
                      </a:lnTo>
                      <a:lnTo>
                        <a:pt x="423" y="44"/>
                      </a:lnTo>
                      <a:lnTo>
                        <a:pt x="424" y="46"/>
                      </a:lnTo>
                      <a:lnTo>
                        <a:pt x="426" y="46"/>
                      </a:lnTo>
                      <a:lnTo>
                        <a:pt x="426" y="48"/>
                      </a:lnTo>
                      <a:lnTo>
                        <a:pt x="428" y="48"/>
                      </a:lnTo>
                      <a:lnTo>
                        <a:pt x="428" y="49"/>
                      </a:lnTo>
                      <a:lnTo>
                        <a:pt x="429" y="49"/>
                      </a:lnTo>
                      <a:lnTo>
                        <a:pt x="429" y="51"/>
                      </a:lnTo>
                      <a:lnTo>
                        <a:pt x="429" y="53"/>
                      </a:lnTo>
                      <a:lnTo>
                        <a:pt x="429" y="54"/>
                      </a:lnTo>
                      <a:lnTo>
                        <a:pt x="429" y="56"/>
                      </a:lnTo>
                      <a:lnTo>
                        <a:pt x="431" y="56"/>
                      </a:lnTo>
                      <a:lnTo>
                        <a:pt x="431" y="58"/>
                      </a:lnTo>
                      <a:lnTo>
                        <a:pt x="431" y="56"/>
                      </a:lnTo>
                      <a:lnTo>
                        <a:pt x="431" y="58"/>
                      </a:lnTo>
                      <a:lnTo>
                        <a:pt x="433" y="56"/>
                      </a:lnTo>
                      <a:lnTo>
                        <a:pt x="433" y="58"/>
                      </a:lnTo>
                      <a:lnTo>
                        <a:pt x="435" y="58"/>
                      </a:lnTo>
                      <a:lnTo>
                        <a:pt x="435" y="56"/>
                      </a:lnTo>
                      <a:lnTo>
                        <a:pt x="436" y="56"/>
                      </a:lnTo>
                      <a:lnTo>
                        <a:pt x="436" y="58"/>
                      </a:lnTo>
                      <a:lnTo>
                        <a:pt x="436" y="56"/>
                      </a:lnTo>
                      <a:lnTo>
                        <a:pt x="436" y="58"/>
                      </a:lnTo>
                      <a:lnTo>
                        <a:pt x="438" y="58"/>
                      </a:lnTo>
                      <a:lnTo>
                        <a:pt x="438" y="59"/>
                      </a:lnTo>
                      <a:lnTo>
                        <a:pt x="438" y="61"/>
                      </a:lnTo>
                      <a:lnTo>
                        <a:pt x="440" y="61"/>
                      </a:lnTo>
                      <a:lnTo>
                        <a:pt x="438" y="61"/>
                      </a:lnTo>
                      <a:lnTo>
                        <a:pt x="440" y="61"/>
                      </a:lnTo>
                      <a:lnTo>
                        <a:pt x="441" y="63"/>
                      </a:lnTo>
                      <a:lnTo>
                        <a:pt x="441" y="64"/>
                      </a:lnTo>
                      <a:lnTo>
                        <a:pt x="443" y="64"/>
                      </a:lnTo>
                      <a:lnTo>
                        <a:pt x="441" y="64"/>
                      </a:lnTo>
                      <a:lnTo>
                        <a:pt x="443" y="64"/>
                      </a:lnTo>
                      <a:lnTo>
                        <a:pt x="443" y="66"/>
                      </a:lnTo>
                      <a:lnTo>
                        <a:pt x="443" y="67"/>
                      </a:lnTo>
                      <a:lnTo>
                        <a:pt x="445" y="67"/>
                      </a:lnTo>
                      <a:lnTo>
                        <a:pt x="445" y="69"/>
                      </a:lnTo>
                      <a:lnTo>
                        <a:pt x="443" y="69"/>
                      </a:lnTo>
                      <a:lnTo>
                        <a:pt x="443" y="71"/>
                      </a:lnTo>
                      <a:lnTo>
                        <a:pt x="443" y="72"/>
                      </a:lnTo>
                      <a:lnTo>
                        <a:pt x="445" y="72"/>
                      </a:lnTo>
                      <a:lnTo>
                        <a:pt x="443" y="72"/>
                      </a:lnTo>
                      <a:lnTo>
                        <a:pt x="443" y="74"/>
                      </a:lnTo>
                      <a:lnTo>
                        <a:pt x="445" y="74"/>
                      </a:lnTo>
                      <a:lnTo>
                        <a:pt x="443" y="76"/>
                      </a:lnTo>
                      <a:lnTo>
                        <a:pt x="445" y="76"/>
                      </a:lnTo>
                      <a:lnTo>
                        <a:pt x="443" y="76"/>
                      </a:lnTo>
                      <a:lnTo>
                        <a:pt x="443" y="77"/>
                      </a:lnTo>
                      <a:lnTo>
                        <a:pt x="443" y="79"/>
                      </a:lnTo>
                      <a:lnTo>
                        <a:pt x="441" y="79"/>
                      </a:lnTo>
                      <a:lnTo>
                        <a:pt x="443" y="79"/>
                      </a:lnTo>
                      <a:lnTo>
                        <a:pt x="443" y="81"/>
                      </a:lnTo>
                      <a:lnTo>
                        <a:pt x="443" y="82"/>
                      </a:lnTo>
                      <a:lnTo>
                        <a:pt x="441" y="84"/>
                      </a:lnTo>
                      <a:lnTo>
                        <a:pt x="443" y="84"/>
                      </a:lnTo>
                      <a:lnTo>
                        <a:pt x="443" y="86"/>
                      </a:lnTo>
                      <a:lnTo>
                        <a:pt x="445" y="86"/>
                      </a:lnTo>
                      <a:lnTo>
                        <a:pt x="446" y="84"/>
                      </a:lnTo>
                      <a:lnTo>
                        <a:pt x="446" y="82"/>
                      </a:lnTo>
                      <a:lnTo>
                        <a:pt x="446" y="81"/>
                      </a:lnTo>
                      <a:lnTo>
                        <a:pt x="446" y="79"/>
                      </a:lnTo>
                      <a:lnTo>
                        <a:pt x="446" y="77"/>
                      </a:lnTo>
                      <a:lnTo>
                        <a:pt x="446" y="76"/>
                      </a:lnTo>
                      <a:lnTo>
                        <a:pt x="446" y="74"/>
                      </a:lnTo>
                      <a:lnTo>
                        <a:pt x="448" y="74"/>
                      </a:lnTo>
                      <a:lnTo>
                        <a:pt x="450" y="72"/>
                      </a:lnTo>
                      <a:lnTo>
                        <a:pt x="450" y="71"/>
                      </a:lnTo>
                      <a:lnTo>
                        <a:pt x="450" y="69"/>
                      </a:lnTo>
                      <a:lnTo>
                        <a:pt x="451" y="69"/>
                      </a:lnTo>
                      <a:lnTo>
                        <a:pt x="453" y="69"/>
                      </a:lnTo>
                      <a:lnTo>
                        <a:pt x="455" y="69"/>
                      </a:lnTo>
                      <a:lnTo>
                        <a:pt x="455" y="71"/>
                      </a:lnTo>
                      <a:lnTo>
                        <a:pt x="455" y="72"/>
                      </a:lnTo>
                      <a:lnTo>
                        <a:pt x="453" y="72"/>
                      </a:lnTo>
                      <a:lnTo>
                        <a:pt x="453" y="74"/>
                      </a:lnTo>
                      <a:lnTo>
                        <a:pt x="453" y="76"/>
                      </a:lnTo>
                      <a:lnTo>
                        <a:pt x="455" y="76"/>
                      </a:lnTo>
                      <a:lnTo>
                        <a:pt x="453" y="76"/>
                      </a:lnTo>
                      <a:lnTo>
                        <a:pt x="455" y="76"/>
                      </a:lnTo>
                      <a:lnTo>
                        <a:pt x="453" y="76"/>
                      </a:lnTo>
                      <a:lnTo>
                        <a:pt x="453" y="77"/>
                      </a:lnTo>
                      <a:lnTo>
                        <a:pt x="455" y="77"/>
                      </a:lnTo>
                      <a:lnTo>
                        <a:pt x="453" y="77"/>
                      </a:lnTo>
                      <a:lnTo>
                        <a:pt x="453" y="79"/>
                      </a:lnTo>
                      <a:lnTo>
                        <a:pt x="455" y="79"/>
                      </a:lnTo>
                      <a:lnTo>
                        <a:pt x="455" y="81"/>
                      </a:lnTo>
                      <a:lnTo>
                        <a:pt x="455" y="82"/>
                      </a:lnTo>
                      <a:lnTo>
                        <a:pt x="456" y="82"/>
                      </a:lnTo>
                      <a:lnTo>
                        <a:pt x="456" y="84"/>
                      </a:lnTo>
                      <a:lnTo>
                        <a:pt x="458" y="84"/>
                      </a:lnTo>
                      <a:lnTo>
                        <a:pt x="458" y="82"/>
                      </a:lnTo>
                      <a:lnTo>
                        <a:pt x="460" y="82"/>
                      </a:lnTo>
                      <a:lnTo>
                        <a:pt x="460" y="81"/>
                      </a:lnTo>
                      <a:lnTo>
                        <a:pt x="462" y="81"/>
                      </a:lnTo>
                      <a:lnTo>
                        <a:pt x="462" y="82"/>
                      </a:lnTo>
                      <a:lnTo>
                        <a:pt x="462" y="81"/>
                      </a:lnTo>
                      <a:lnTo>
                        <a:pt x="463" y="81"/>
                      </a:lnTo>
                      <a:lnTo>
                        <a:pt x="463" y="79"/>
                      </a:lnTo>
                      <a:lnTo>
                        <a:pt x="465" y="79"/>
                      </a:lnTo>
                      <a:lnTo>
                        <a:pt x="467" y="79"/>
                      </a:lnTo>
                      <a:lnTo>
                        <a:pt x="465" y="79"/>
                      </a:lnTo>
                      <a:lnTo>
                        <a:pt x="467" y="79"/>
                      </a:lnTo>
                      <a:lnTo>
                        <a:pt x="467" y="77"/>
                      </a:lnTo>
                      <a:lnTo>
                        <a:pt x="468" y="77"/>
                      </a:lnTo>
                      <a:lnTo>
                        <a:pt x="468" y="79"/>
                      </a:lnTo>
                      <a:lnTo>
                        <a:pt x="470" y="79"/>
                      </a:lnTo>
                      <a:lnTo>
                        <a:pt x="470" y="77"/>
                      </a:lnTo>
                      <a:lnTo>
                        <a:pt x="472" y="77"/>
                      </a:lnTo>
                      <a:lnTo>
                        <a:pt x="472" y="76"/>
                      </a:lnTo>
                      <a:lnTo>
                        <a:pt x="472" y="77"/>
                      </a:lnTo>
                      <a:lnTo>
                        <a:pt x="472" y="76"/>
                      </a:lnTo>
                      <a:lnTo>
                        <a:pt x="473" y="76"/>
                      </a:lnTo>
                      <a:lnTo>
                        <a:pt x="472" y="76"/>
                      </a:lnTo>
                      <a:lnTo>
                        <a:pt x="473" y="76"/>
                      </a:lnTo>
                      <a:lnTo>
                        <a:pt x="473" y="74"/>
                      </a:lnTo>
                      <a:lnTo>
                        <a:pt x="473" y="76"/>
                      </a:lnTo>
                      <a:lnTo>
                        <a:pt x="475" y="74"/>
                      </a:lnTo>
                      <a:lnTo>
                        <a:pt x="477" y="74"/>
                      </a:lnTo>
                      <a:lnTo>
                        <a:pt x="477" y="72"/>
                      </a:lnTo>
                      <a:lnTo>
                        <a:pt x="478" y="72"/>
                      </a:lnTo>
                      <a:lnTo>
                        <a:pt x="480" y="72"/>
                      </a:lnTo>
                      <a:lnTo>
                        <a:pt x="480" y="71"/>
                      </a:lnTo>
                      <a:lnTo>
                        <a:pt x="482" y="71"/>
                      </a:lnTo>
                      <a:lnTo>
                        <a:pt x="480" y="71"/>
                      </a:lnTo>
                      <a:lnTo>
                        <a:pt x="482" y="71"/>
                      </a:lnTo>
                      <a:lnTo>
                        <a:pt x="483" y="71"/>
                      </a:lnTo>
                      <a:lnTo>
                        <a:pt x="485" y="71"/>
                      </a:lnTo>
                      <a:lnTo>
                        <a:pt x="483" y="72"/>
                      </a:lnTo>
                      <a:lnTo>
                        <a:pt x="483" y="74"/>
                      </a:lnTo>
                      <a:lnTo>
                        <a:pt x="483" y="76"/>
                      </a:lnTo>
                      <a:lnTo>
                        <a:pt x="483" y="77"/>
                      </a:lnTo>
                      <a:lnTo>
                        <a:pt x="483" y="79"/>
                      </a:lnTo>
                      <a:lnTo>
                        <a:pt x="483" y="81"/>
                      </a:lnTo>
                      <a:lnTo>
                        <a:pt x="483" y="82"/>
                      </a:lnTo>
                      <a:lnTo>
                        <a:pt x="483" y="84"/>
                      </a:lnTo>
                      <a:lnTo>
                        <a:pt x="483" y="86"/>
                      </a:lnTo>
                      <a:lnTo>
                        <a:pt x="483" y="84"/>
                      </a:lnTo>
                      <a:lnTo>
                        <a:pt x="483" y="86"/>
                      </a:lnTo>
                      <a:lnTo>
                        <a:pt x="483" y="84"/>
                      </a:lnTo>
                      <a:lnTo>
                        <a:pt x="485" y="86"/>
                      </a:lnTo>
                      <a:lnTo>
                        <a:pt x="485" y="84"/>
                      </a:lnTo>
                      <a:lnTo>
                        <a:pt x="487" y="84"/>
                      </a:lnTo>
                      <a:lnTo>
                        <a:pt x="489" y="84"/>
                      </a:lnTo>
                      <a:lnTo>
                        <a:pt x="490" y="84"/>
                      </a:lnTo>
                      <a:lnTo>
                        <a:pt x="490" y="82"/>
                      </a:lnTo>
                      <a:lnTo>
                        <a:pt x="490" y="84"/>
                      </a:lnTo>
                      <a:lnTo>
                        <a:pt x="490" y="82"/>
                      </a:lnTo>
                      <a:lnTo>
                        <a:pt x="490" y="84"/>
                      </a:lnTo>
                      <a:lnTo>
                        <a:pt x="490" y="82"/>
                      </a:lnTo>
                      <a:lnTo>
                        <a:pt x="492" y="82"/>
                      </a:lnTo>
                      <a:lnTo>
                        <a:pt x="492" y="81"/>
                      </a:lnTo>
                      <a:lnTo>
                        <a:pt x="492" y="79"/>
                      </a:lnTo>
                      <a:lnTo>
                        <a:pt x="494" y="79"/>
                      </a:lnTo>
                      <a:lnTo>
                        <a:pt x="494" y="81"/>
                      </a:lnTo>
                      <a:lnTo>
                        <a:pt x="495" y="81"/>
                      </a:lnTo>
                      <a:lnTo>
                        <a:pt x="495" y="82"/>
                      </a:lnTo>
                      <a:lnTo>
                        <a:pt x="497" y="82"/>
                      </a:lnTo>
                      <a:lnTo>
                        <a:pt x="499" y="82"/>
                      </a:lnTo>
                      <a:lnTo>
                        <a:pt x="500" y="82"/>
                      </a:lnTo>
                      <a:lnTo>
                        <a:pt x="500" y="84"/>
                      </a:lnTo>
                      <a:lnTo>
                        <a:pt x="502" y="84"/>
                      </a:lnTo>
                      <a:lnTo>
                        <a:pt x="502" y="86"/>
                      </a:lnTo>
                      <a:lnTo>
                        <a:pt x="504" y="86"/>
                      </a:lnTo>
                      <a:lnTo>
                        <a:pt x="504" y="84"/>
                      </a:lnTo>
                      <a:lnTo>
                        <a:pt x="505" y="84"/>
                      </a:lnTo>
                      <a:lnTo>
                        <a:pt x="504" y="84"/>
                      </a:lnTo>
                      <a:lnTo>
                        <a:pt x="505" y="84"/>
                      </a:lnTo>
                      <a:lnTo>
                        <a:pt x="507" y="84"/>
                      </a:lnTo>
                      <a:lnTo>
                        <a:pt x="509" y="84"/>
                      </a:lnTo>
                      <a:lnTo>
                        <a:pt x="507" y="86"/>
                      </a:lnTo>
                      <a:lnTo>
                        <a:pt x="509" y="86"/>
                      </a:lnTo>
                      <a:lnTo>
                        <a:pt x="511" y="86"/>
                      </a:lnTo>
                      <a:lnTo>
                        <a:pt x="512" y="86"/>
                      </a:lnTo>
                      <a:lnTo>
                        <a:pt x="514" y="86"/>
                      </a:lnTo>
                      <a:lnTo>
                        <a:pt x="516" y="86"/>
                      </a:lnTo>
                      <a:lnTo>
                        <a:pt x="517" y="86"/>
                      </a:lnTo>
                      <a:lnTo>
                        <a:pt x="517" y="87"/>
                      </a:lnTo>
                      <a:lnTo>
                        <a:pt x="529" y="100"/>
                      </a:lnTo>
                      <a:lnTo>
                        <a:pt x="529" y="99"/>
                      </a:lnTo>
                      <a:lnTo>
                        <a:pt x="531" y="97"/>
                      </a:lnTo>
                      <a:lnTo>
                        <a:pt x="531" y="95"/>
                      </a:lnTo>
                      <a:lnTo>
                        <a:pt x="532" y="94"/>
                      </a:lnTo>
                      <a:lnTo>
                        <a:pt x="532" y="92"/>
                      </a:lnTo>
                      <a:lnTo>
                        <a:pt x="534" y="92"/>
                      </a:lnTo>
                      <a:lnTo>
                        <a:pt x="534" y="90"/>
                      </a:lnTo>
                      <a:lnTo>
                        <a:pt x="532" y="90"/>
                      </a:lnTo>
                      <a:lnTo>
                        <a:pt x="532" y="89"/>
                      </a:lnTo>
                      <a:lnTo>
                        <a:pt x="532" y="87"/>
                      </a:lnTo>
                      <a:lnTo>
                        <a:pt x="531" y="86"/>
                      </a:lnTo>
                      <a:lnTo>
                        <a:pt x="532" y="86"/>
                      </a:lnTo>
                      <a:lnTo>
                        <a:pt x="531" y="86"/>
                      </a:lnTo>
                      <a:lnTo>
                        <a:pt x="531" y="84"/>
                      </a:lnTo>
                      <a:lnTo>
                        <a:pt x="531" y="82"/>
                      </a:lnTo>
                      <a:lnTo>
                        <a:pt x="532" y="82"/>
                      </a:lnTo>
                      <a:lnTo>
                        <a:pt x="532" y="81"/>
                      </a:lnTo>
                      <a:lnTo>
                        <a:pt x="532" y="79"/>
                      </a:lnTo>
                      <a:lnTo>
                        <a:pt x="531" y="79"/>
                      </a:lnTo>
                      <a:lnTo>
                        <a:pt x="531" y="77"/>
                      </a:lnTo>
                      <a:lnTo>
                        <a:pt x="532" y="77"/>
                      </a:lnTo>
                      <a:lnTo>
                        <a:pt x="531" y="77"/>
                      </a:lnTo>
                      <a:lnTo>
                        <a:pt x="531" y="76"/>
                      </a:lnTo>
                      <a:lnTo>
                        <a:pt x="531" y="74"/>
                      </a:lnTo>
                      <a:lnTo>
                        <a:pt x="531" y="72"/>
                      </a:lnTo>
                      <a:lnTo>
                        <a:pt x="531" y="71"/>
                      </a:lnTo>
                      <a:lnTo>
                        <a:pt x="532" y="71"/>
                      </a:lnTo>
                      <a:lnTo>
                        <a:pt x="532" y="69"/>
                      </a:lnTo>
                      <a:lnTo>
                        <a:pt x="532" y="67"/>
                      </a:lnTo>
                      <a:lnTo>
                        <a:pt x="534" y="67"/>
                      </a:lnTo>
                      <a:lnTo>
                        <a:pt x="534" y="66"/>
                      </a:lnTo>
                      <a:lnTo>
                        <a:pt x="534" y="67"/>
                      </a:lnTo>
                      <a:lnTo>
                        <a:pt x="534" y="66"/>
                      </a:lnTo>
                      <a:lnTo>
                        <a:pt x="536" y="66"/>
                      </a:lnTo>
                      <a:lnTo>
                        <a:pt x="536" y="67"/>
                      </a:lnTo>
                      <a:lnTo>
                        <a:pt x="538" y="67"/>
                      </a:lnTo>
                      <a:lnTo>
                        <a:pt x="539" y="67"/>
                      </a:lnTo>
                      <a:lnTo>
                        <a:pt x="541" y="67"/>
                      </a:lnTo>
                      <a:lnTo>
                        <a:pt x="541" y="69"/>
                      </a:lnTo>
                      <a:lnTo>
                        <a:pt x="539" y="69"/>
                      </a:lnTo>
                      <a:lnTo>
                        <a:pt x="539" y="71"/>
                      </a:lnTo>
                      <a:lnTo>
                        <a:pt x="541" y="71"/>
                      </a:lnTo>
                      <a:lnTo>
                        <a:pt x="539" y="72"/>
                      </a:lnTo>
                      <a:lnTo>
                        <a:pt x="541" y="74"/>
                      </a:lnTo>
                      <a:lnTo>
                        <a:pt x="543" y="74"/>
                      </a:lnTo>
                      <a:lnTo>
                        <a:pt x="544" y="74"/>
                      </a:lnTo>
                      <a:lnTo>
                        <a:pt x="546" y="74"/>
                      </a:lnTo>
                      <a:lnTo>
                        <a:pt x="548" y="74"/>
                      </a:lnTo>
                      <a:lnTo>
                        <a:pt x="548" y="76"/>
                      </a:lnTo>
                      <a:lnTo>
                        <a:pt x="548" y="77"/>
                      </a:lnTo>
                      <a:lnTo>
                        <a:pt x="549" y="77"/>
                      </a:lnTo>
                      <a:lnTo>
                        <a:pt x="551" y="77"/>
                      </a:lnTo>
                      <a:lnTo>
                        <a:pt x="553" y="77"/>
                      </a:lnTo>
                      <a:lnTo>
                        <a:pt x="553" y="79"/>
                      </a:lnTo>
                      <a:lnTo>
                        <a:pt x="551" y="79"/>
                      </a:lnTo>
                      <a:lnTo>
                        <a:pt x="551" y="81"/>
                      </a:lnTo>
                      <a:lnTo>
                        <a:pt x="553" y="81"/>
                      </a:lnTo>
                      <a:lnTo>
                        <a:pt x="553" y="82"/>
                      </a:lnTo>
                      <a:lnTo>
                        <a:pt x="553" y="84"/>
                      </a:lnTo>
                      <a:lnTo>
                        <a:pt x="554" y="84"/>
                      </a:lnTo>
                      <a:lnTo>
                        <a:pt x="554" y="82"/>
                      </a:lnTo>
                      <a:lnTo>
                        <a:pt x="556" y="81"/>
                      </a:lnTo>
                      <a:lnTo>
                        <a:pt x="556" y="79"/>
                      </a:lnTo>
                      <a:lnTo>
                        <a:pt x="558" y="79"/>
                      </a:lnTo>
                      <a:lnTo>
                        <a:pt x="558" y="77"/>
                      </a:lnTo>
                      <a:lnTo>
                        <a:pt x="559" y="79"/>
                      </a:lnTo>
                      <a:lnTo>
                        <a:pt x="561" y="79"/>
                      </a:lnTo>
                      <a:lnTo>
                        <a:pt x="563" y="79"/>
                      </a:lnTo>
                      <a:lnTo>
                        <a:pt x="563" y="81"/>
                      </a:lnTo>
                      <a:lnTo>
                        <a:pt x="565" y="79"/>
                      </a:lnTo>
                      <a:lnTo>
                        <a:pt x="566" y="79"/>
                      </a:lnTo>
                      <a:lnTo>
                        <a:pt x="566" y="81"/>
                      </a:lnTo>
                      <a:lnTo>
                        <a:pt x="568" y="81"/>
                      </a:lnTo>
                      <a:lnTo>
                        <a:pt x="568" y="79"/>
                      </a:lnTo>
                      <a:lnTo>
                        <a:pt x="570" y="79"/>
                      </a:lnTo>
                      <a:lnTo>
                        <a:pt x="570" y="77"/>
                      </a:lnTo>
                      <a:lnTo>
                        <a:pt x="570" y="76"/>
                      </a:lnTo>
                      <a:lnTo>
                        <a:pt x="571" y="76"/>
                      </a:lnTo>
                      <a:lnTo>
                        <a:pt x="571" y="74"/>
                      </a:lnTo>
                      <a:lnTo>
                        <a:pt x="573" y="74"/>
                      </a:lnTo>
                      <a:lnTo>
                        <a:pt x="575" y="74"/>
                      </a:lnTo>
                      <a:lnTo>
                        <a:pt x="576" y="74"/>
                      </a:lnTo>
                      <a:lnTo>
                        <a:pt x="576" y="76"/>
                      </a:lnTo>
                      <a:lnTo>
                        <a:pt x="578" y="76"/>
                      </a:lnTo>
                      <a:lnTo>
                        <a:pt x="580" y="76"/>
                      </a:lnTo>
                      <a:lnTo>
                        <a:pt x="581" y="76"/>
                      </a:lnTo>
                      <a:lnTo>
                        <a:pt x="581" y="74"/>
                      </a:lnTo>
                      <a:lnTo>
                        <a:pt x="580" y="74"/>
                      </a:lnTo>
                      <a:lnTo>
                        <a:pt x="581" y="72"/>
                      </a:lnTo>
                      <a:lnTo>
                        <a:pt x="583" y="72"/>
                      </a:lnTo>
                      <a:lnTo>
                        <a:pt x="583" y="74"/>
                      </a:lnTo>
                      <a:lnTo>
                        <a:pt x="583" y="72"/>
                      </a:lnTo>
                      <a:lnTo>
                        <a:pt x="585" y="72"/>
                      </a:lnTo>
                      <a:lnTo>
                        <a:pt x="585" y="74"/>
                      </a:lnTo>
                      <a:lnTo>
                        <a:pt x="585" y="72"/>
                      </a:lnTo>
                      <a:lnTo>
                        <a:pt x="587" y="72"/>
                      </a:lnTo>
                      <a:lnTo>
                        <a:pt x="585" y="72"/>
                      </a:lnTo>
                      <a:lnTo>
                        <a:pt x="587" y="72"/>
                      </a:lnTo>
                      <a:lnTo>
                        <a:pt x="587" y="71"/>
                      </a:lnTo>
                      <a:lnTo>
                        <a:pt x="588" y="71"/>
                      </a:lnTo>
                      <a:lnTo>
                        <a:pt x="590" y="71"/>
                      </a:lnTo>
                      <a:lnTo>
                        <a:pt x="592" y="71"/>
                      </a:lnTo>
                      <a:lnTo>
                        <a:pt x="592" y="69"/>
                      </a:lnTo>
                      <a:lnTo>
                        <a:pt x="592" y="71"/>
                      </a:lnTo>
                      <a:lnTo>
                        <a:pt x="592" y="69"/>
                      </a:lnTo>
                      <a:lnTo>
                        <a:pt x="593" y="69"/>
                      </a:lnTo>
                      <a:lnTo>
                        <a:pt x="593" y="67"/>
                      </a:lnTo>
                      <a:lnTo>
                        <a:pt x="595" y="67"/>
                      </a:lnTo>
                      <a:lnTo>
                        <a:pt x="595" y="69"/>
                      </a:lnTo>
                      <a:lnTo>
                        <a:pt x="597" y="67"/>
                      </a:lnTo>
                      <a:lnTo>
                        <a:pt x="595" y="67"/>
                      </a:lnTo>
                      <a:lnTo>
                        <a:pt x="597" y="67"/>
                      </a:lnTo>
                      <a:lnTo>
                        <a:pt x="598" y="67"/>
                      </a:lnTo>
                      <a:lnTo>
                        <a:pt x="598" y="66"/>
                      </a:lnTo>
                      <a:lnTo>
                        <a:pt x="600" y="66"/>
                      </a:lnTo>
                      <a:lnTo>
                        <a:pt x="600" y="64"/>
                      </a:lnTo>
                      <a:lnTo>
                        <a:pt x="602" y="64"/>
                      </a:lnTo>
                      <a:lnTo>
                        <a:pt x="602" y="63"/>
                      </a:lnTo>
                      <a:lnTo>
                        <a:pt x="603" y="63"/>
                      </a:lnTo>
                      <a:lnTo>
                        <a:pt x="603" y="61"/>
                      </a:lnTo>
                      <a:lnTo>
                        <a:pt x="605" y="61"/>
                      </a:lnTo>
                      <a:lnTo>
                        <a:pt x="605" y="63"/>
                      </a:lnTo>
                      <a:lnTo>
                        <a:pt x="607" y="63"/>
                      </a:lnTo>
                      <a:lnTo>
                        <a:pt x="605" y="63"/>
                      </a:lnTo>
                      <a:lnTo>
                        <a:pt x="607" y="63"/>
                      </a:lnTo>
                      <a:lnTo>
                        <a:pt x="608" y="61"/>
                      </a:lnTo>
                      <a:lnTo>
                        <a:pt x="608" y="59"/>
                      </a:lnTo>
                      <a:lnTo>
                        <a:pt x="610" y="59"/>
                      </a:lnTo>
                      <a:lnTo>
                        <a:pt x="610" y="58"/>
                      </a:lnTo>
                      <a:lnTo>
                        <a:pt x="612" y="56"/>
                      </a:lnTo>
                      <a:lnTo>
                        <a:pt x="630" y="51"/>
                      </a:lnTo>
                      <a:lnTo>
                        <a:pt x="632" y="53"/>
                      </a:lnTo>
                      <a:lnTo>
                        <a:pt x="644" y="53"/>
                      </a:lnTo>
                      <a:lnTo>
                        <a:pt x="646" y="49"/>
                      </a:lnTo>
                      <a:lnTo>
                        <a:pt x="649" y="40"/>
                      </a:lnTo>
                      <a:lnTo>
                        <a:pt x="649" y="41"/>
                      </a:lnTo>
                      <a:lnTo>
                        <a:pt x="651" y="41"/>
                      </a:lnTo>
                      <a:lnTo>
                        <a:pt x="649" y="43"/>
                      </a:lnTo>
                      <a:lnTo>
                        <a:pt x="651" y="43"/>
                      </a:lnTo>
                      <a:lnTo>
                        <a:pt x="652" y="43"/>
                      </a:lnTo>
                      <a:lnTo>
                        <a:pt x="652" y="44"/>
                      </a:lnTo>
                      <a:lnTo>
                        <a:pt x="654" y="44"/>
                      </a:lnTo>
                      <a:lnTo>
                        <a:pt x="654" y="46"/>
                      </a:lnTo>
                      <a:lnTo>
                        <a:pt x="654" y="48"/>
                      </a:lnTo>
                      <a:lnTo>
                        <a:pt x="654" y="49"/>
                      </a:lnTo>
                      <a:lnTo>
                        <a:pt x="654" y="51"/>
                      </a:lnTo>
                      <a:lnTo>
                        <a:pt x="652" y="51"/>
                      </a:lnTo>
                      <a:lnTo>
                        <a:pt x="654" y="53"/>
                      </a:lnTo>
                      <a:lnTo>
                        <a:pt x="652" y="53"/>
                      </a:lnTo>
                      <a:lnTo>
                        <a:pt x="654" y="54"/>
                      </a:lnTo>
                      <a:lnTo>
                        <a:pt x="652" y="54"/>
                      </a:lnTo>
                      <a:lnTo>
                        <a:pt x="654" y="54"/>
                      </a:lnTo>
                      <a:lnTo>
                        <a:pt x="652" y="56"/>
                      </a:lnTo>
                      <a:lnTo>
                        <a:pt x="654" y="56"/>
                      </a:lnTo>
                      <a:lnTo>
                        <a:pt x="656" y="56"/>
                      </a:lnTo>
                      <a:lnTo>
                        <a:pt x="656" y="54"/>
                      </a:lnTo>
                      <a:lnTo>
                        <a:pt x="657" y="54"/>
                      </a:lnTo>
                      <a:lnTo>
                        <a:pt x="659" y="54"/>
                      </a:lnTo>
                      <a:lnTo>
                        <a:pt x="661" y="54"/>
                      </a:lnTo>
                      <a:lnTo>
                        <a:pt x="663" y="54"/>
                      </a:lnTo>
                      <a:lnTo>
                        <a:pt x="664" y="53"/>
                      </a:lnTo>
                      <a:lnTo>
                        <a:pt x="666" y="53"/>
                      </a:lnTo>
                      <a:lnTo>
                        <a:pt x="668" y="53"/>
                      </a:lnTo>
                      <a:lnTo>
                        <a:pt x="669" y="53"/>
                      </a:lnTo>
                      <a:lnTo>
                        <a:pt x="671" y="53"/>
                      </a:lnTo>
                      <a:lnTo>
                        <a:pt x="671" y="51"/>
                      </a:lnTo>
                      <a:lnTo>
                        <a:pt x="673" y="51"/>
                      </a:lnTo>
                      <a:lnTo>
                        <a:pt x="674" y="51"/>
                      </a:lnTo>
                      <a:lnTo>
                        <a:pt x="676" y="51"/>
                      </a:lnTo>
                      <a:lnTo>
                        <a:pt x="676" y="49"/>
                      </a:lnTo>
                      <a:lnTo>
                        <a:pt x="678" y="49"/>
                      </a:lnTo>
                      <a:lnTo>
                        <a:pt x="678" y="51"/>
                      </a:lnTo>
                      <a:lnTo>
                        <a:pt x="676" y="53"/>
                      </a:lnTo>
                      <a:lnTo>
                        <a:pt x="678" y="53"/>
                      </a:lnTo>
                      <a:lnTo>
                        <a:pt x="676" y="53"/>
                      </a:lnTo>
                      <a:lnTo>
                        <a:pt x="674" y="54"/>
                      </a:lnTo>
                      <a:lnTo>
                        <a:pt x="673" y="54"/>
                      </a:lnTo>
                      <a:lnTo>
                        <a:pt x="671" y="56"/>
                      </a:lnTo>
                      <a:lnTo>
                        <a:pt x="669" y="56"/>
                      </a:lnTo>
                      <a:lnTo>
                        <a:pt x="668" y="58"/>
                      </a:lnTo>
                      <a:lnTo>
                        <a:pt x="668" y="56"/>
                      </a:lnTo>
                      <a:lnTo>
                        <a:pt x="666" y="56"/>
                      </a:lnTo>
                      <a:lnTo>
                        <a:pt x="664" y="56"/>
                      </a:lnTo>
                      <a:lnTo>
                        <a:pt x="664" y="58"/>
                      </a:lnTo>
                      <a:lnTo>
                        <a:pt x="663" y="58"/>
                      </a:lnTo>
                      <a:lnTo>
                        <a:pt x="663" y="59"/>
                      </a:lnTo>
                      <a:lnTo>
                        <a:pt x="663" y="61"/>
                      </a:lnTo>
                      <a:lnTo>
                        <a:pt x="661" y="61"/>
                      </a:lnTo>
                      <a:lnTo>
                        <a:pt x="661" y="63"/>
                      </a:lnTo>
                      <a:lnTo>
                        <a:pt x="659" y="64"/>
                      </a:lnTo>
                      <a:lnTo>
                        <a:pt x="659" y="66"/>
                      </a:lnTo>
                      <a:lnTo>
                        <a:pt x="657" y="66"/>
                      </a:lnTo>
                      <a:lnTo>
                        <a:pt x="659" y="66"/>
                      </a:lnTo>
                      <a:lnTo>
                        <a:pt x="659" y="67"/>
                      </a:lnTo>
                      <a:lnTo>
                        <a:pt x="661" y="67"/>
                      </a:lnTo>
                      <a:lnTo>
                        <a:pt x="661" y="69"/>
                      </a:lnTo>
                      <a:lnTo>
                        <a:pt x="661" y="71"/>
                      </a:lnTo>
                      <a:lnTo>
                        <a:pt x="659" y="71"/>
                      </a:lnTo>
                      <a:lnTo>
                        <a:pt x="659" y="72"/>
                      </a:lnTo>
                      <a:lnTo>
                        <a:pt x="659" y="74"/>
                      </a:lnTo>
                      <a:lnTo>
                        <a:pt x="659" y="76"/>
                      </a:lnTo>
                      <a:lnTo>
                        <a:pt x="659" y="77"/>
                      </a:lnTo>
                      <a:lnTo>
                        <a:pt x="657" y="77"/>
                      </a:lnTo>
                      <a:lnTo>
                        <a:pt x="657" y="79"/>
                      </a:lnTo>
                      <a:lnTo>
                        <a:pt x="657" y="81"/>
                      </a:lnTo>
                      <a:lnTo>
                        <a:pt x="659" y="81"/>
                      </a:lnTo>
                      <a:lnTo>
                        <a:pt x="661" y="81"/>
                      </a:lnTo>
                      <a:lnTo>
                        <a:pt x="659" y="81"/>
                      </a:lnTo>
                      <a:lnTo>
                        <a:pt x="661" y="82"/>
                      </a:lnTo>
                      <a:lnTo>
                        <a:pt x="659" y="84"/>
                      </a:lnTo>
                      <a:lnTo>
                        <a:pt x="659" y="86"/>
                      </a:lnTo>
                      <a:lnTo>
                        <a:pt x="661" y="86"/>
                      </a:lnTo>
                      <a:lnTo>
                        <a:pt x="661" y="87"/>
                      </a:lnTo>
                      <a:lnTo>
                        <a:pt x="663" y="87"/>
                      </a:lnTo>
                      <a:lnTo>
                        <a:pt x="663" y="89"/>
                      </a:lnTo>
                      <a:lnTo>
                        <a:pt x="664" y="89"/>
                      </a:lnTo>
                      <a:lnTo>
                        <a:pt x="666" y="87"/>
                      </a:lnTo>
                      <a:lnTo>
                        <a:pt x="668" y="86"/>
                      </a:lnTo>
                      <a:lnTo>
                        <a:pt x="669" y="86"/>
                      </a:lnTo>
                      <a:lnTo>
                        <a:pt x="671" y="86"/>
                      </a:lnTo>
                      <a:lnTo>
                        <a:pt x="673" y="86"/>
                      </a:lnTo>
                      <a:lnTo>
                        <a:pt x="674" y="84"/>
                      </a:lnTo>
                      <a:lnTo>
                        <a:pt x="676" y="84"/>
                      </a:lnTo>
                      <a:lnTo>
                        <a:pt x="676" y="82"/>
                      </a:lnTo>
                      <a:lnTo>
                        <a:pt x="678" y="82"/>
                      </a:lnTo>
                      <a:lnTo>
                        <a:pt x="679" y="82"/>
                      </a:lnTo>
                      <a:lnTo>
                        <a:pt x="681" y="82"/>
                      </a:lnTo>
                      <a:lnTo>
                        <a:pt x="681" y="81"/>
                      </a:lnTo>
                      <a:lnTo>
                        <a:pt x="683" y="81"/>
                      </a:lnTo>
                      <a:lnTo>
                        <a:pt x="684" y="82"/>
                      </a:lnTo>
                      <a:lnTo>
                        <a:pt x="684" y="84"/>
                      </a:lnTo>
                      <a:lnTo>
                        <a:pt x="684" y="86"/>
                      </a:lnTo>
                      <a:lnTo>
                        <a:pt x="683" y="86"/>
                      </a:lnTo>
                      <a:lnTo>
                        <a:pt x="681" y="87"/>
                      </a:lnTo>
                      <a:lnTo>
                        <a:pt x="679" y="87"/>
                      </a:lnTo>
                      <a:lnTo>
                        <a:pt x="679" y="89"/>
                      </a:lnTo>
                      <a:lnTo>
                        <a:pt x="678" y="90"/>
                      </a:lnTo>
                      <a:lnTo>
                        <a:pt x="676" y="90"/>
                      </a:lnTo>
                      <a:lnTo>
                        <a:pt x="676" y="92"/>
                      </a:lnTo>
                      <a:lnTo>
                        <a:pt x="674" y="92"/>
                      </a:lnTo>
                      <a:lnTo>
                        <a:pt x="673" y="92"/>
                      </a:lnTo>
                      <a:lnTo>
                        <a:pt x="671" y="92"/>
                      </a:lnTo>
                      <a:lnTo>
                        <a:pt x="669" y="94"/>
                      </a:lnTo>
                      <a:lnTo>
                        <a:pt x="668" y="94"/>
                      </a:lnTo>
                      <a:lnTo>
                        <a:pt x="668" y="95"/>
                      </a:lnTo>
                      <a:lnTo>
                        <a:pt x="666" y="95"/>
                      </a:lnTo>
                      <a:lnTo>
                        <a:pt x="666" y="97"/>
                      </a:lnTo>
                      <a:lnTo>
                        <a:pt x="668" y="97"/>
                      </a:lnTo>
                      <a:lnTo>
                        <a:pt x="668" y="99"/>
                      </a:lnTo>
                      <a:lnTo>
                        <a:pt x="669" y="99"/>
                      </a:lnTo>
                      <a:lnTo>
                        <a:pt x="669" y="100"/>
                      </a:lnTo>
                      <a:lnTo>
                        <a:pt x="668" y="100"/>
                      </a:lnTo>
                      <a:lnTo>
                        <a:pt x="666" y="100"/>
                      </a:lnTo>
                      <a:lnTo>
                        <a:pt x="668" y="102"/>
                      </a:lnTo>
                      <a:lnTo>
                        <a:pt x="668" y="104"/>
                      </a:lnTo>
                      <a:lnTo>
                        <a:pt x="666" y="105"/>
                      </a:lnTo>
                      <a:lnTo>
                        <a:pt x="666" y="107"/>
                      </a:lnTo>
                      <a:lnTo>
                        <a:pt x="666" y="109"/>
                      </a:lnTo>
                      <a:lnTo>
                        <a:pt x="668" y="109"/>
                      </a:lnTo>
                      <a:lnTo>
                        <a:pt x="668" y="110"/>
                      </a:lnTo>
                      <a:lnTo>
                        <a:pt x="669" y="109"/>
                      </a:lnTo>
                      <a:lnTo>
                        <a:pt x="671" y="109"/>
                      </a:lnTo>
                      <a:lnTo>
                        <a:pt x="673" y="110"/>
                      </a:lnTo>
                      <a:lnTo>
                        <a:pt x="673" y="112"/>
                      </a:lnTo>
                      <a:lnTo>
                        <a:pt x="671" y="113"/>
                      </a:lnTo>
                      <a:lnTo>
                        <a:pt x="669" y="113"/>
                      </a:lnTo>
                      <a:lnTo>
                        <a:pt x="668" y="115"/>
                      </a:lnTo>
                      <a:lnTo>
                        <a:pt x="668" y="117"/>
                      </a:lnTo>
                      <a:lnTo>
                        <a:pt x="666" y="117"/>
                      </a:lnTo>
                      <a:lnTo>
                        <a:pt x="666" y="118"/>
                      </a:lnTo>
                      <a:lnTo>
                        <a:pt x="664" y="118"/>
                      </a:lnTo>
                      <a:lnTo>
                        <a:pt x="664" y="120"/>
                      </a:lnTo>
                      <a:lnTo>
                        <a:pt x="666" y="122"/>
                      </a:lnTo>
                      <a:lnTo>
                        <a:pt x="666" y="123"/>
                      </a:lnTo>
                      <a:lnTo>
                        <a:pt x="664" y="123"/>
                      </a:lnTo>
                      <a:lnTo>
                        <a:pt x="664" y="125"/>
                      </a:lnTo>
                      <a:lnTo>
                        <a:pt x="663" y="125"/>
                      </a:lnTo>
                      <a:lnTo>
                        <a:pt x="664" y="125"/>
                      </a:lnTo>
                      <a:lnTo>
                        <a:pt x="666" y="125"/>
                      </a:lnTo>
                      <a:lnTo>
                        <a:pt x="666" y="127"/>
                      </a:lnTo>
                      <a:lnTo>
                        <a:pt x="668" y="127"/>
                      </a:lnTo>
                      <a:lnTo>
                        <a:pt x="668" y="128"/>
                      </a:lnTo>
                      <a:lnTo>
                        <a:pt x="666" y="128"/>
                      </a:lnTo>
                      <a:lnTo>
                        <a:pt x="664" y="128"/>
                      </a:lnTo>
                      <a:lnTo>
                        <a:pt x="663" y="130"/>
                      </a:lnTo>
                      <a:lnTo>
                        <a:pt x="664" y="132"/>
                      </a:lnTo>
                      <a:lnTo>
                        <a:pt x="663" y="132"/>
                      </a:lnTo>
                      <a:lnTo>
                        <a:pt x="663" y="133"/>
                      </a:lnTo>
                      <a:lnTo>
                        <a:pt x="664" y="133"/>
                      </a:lnTo>
                      <a:lnTo>
                        <a:pt x="666" y="133"/>
                      </a:lnTo>
                      <a:lnTo>
                        <a:pt x="666" y="135"/>
                      </a:lnTo>
                      <a:lnTo>
                        <a:pt x="666" y="136"/>
                      </a:lnTo>
                      <a:lnTo>
                        <a:pt x="664" y="138"/>
                      </a:lnTo>
                      <a:lnTo>
                        <a:pt x="664" y="140"/>
                      </a:lnTo>
                      <a:lnTo>
                        <a:pt x="664" y="143"/>
                      </a:lnTo>
                      <a:lnTo>
                        <a:pt x="663" y="143"/>
                      </a:lnTo>
                      <a:lnTo>
                        <a:pt x="663" y="145"/>
                      </a:lnTo>
                      <a:lnTo>
                        <a:pt x="664" y="145"/>
                      </a:lnTo>
                      <a:lnTo>
                        <a:pt x="666" y="146"/>
                      </a:lnTo>
                      <a:lnTo>
                        <a:pt x="668" y="146"/>
                      </a:lnTo>
                      <a:lnTo>
                        <a:pt x="668" y="148"/>
                      </a:lnTo>
                      <a:lnTo>
                        <a:pt x="668" y="150"/>
                      </a:lnTo>
                      <a:lnTo>
                        <a:pt x="669" y="150"/>
                      </a:lnTo>
                      <a:lnTo>
                        <a:pt x="669" y="151"/>
                      </a:lnTo>
                      <a:lnTo>
                        <a:pt x="668" y="151"/>
                      </a:lnTo>
                      <a:lnTo>
                        <a:pt x="668" y="153"/>
                      </a:lnTo>
                      <a:lnTo>
                        <a:pt x="666" y="153"/>
                      </a:lnTo>
                      <a:lnTo>
                        <a:pt x="664" y="155"/>
                      </a:lnTo>
                      <a:lnTo>
                        <a:pt x="666" y="155"/>
                      </a:lnTo>
                      <a:lnTo>
                        <a:pt x="668" y="155"/>
                      </a:lnTo>
                      <a:lnTo>
                        <a:pt x="668" y="156"/>
                      </a:lnTo>
                      <a:lnTo>
                        <a:pt x="666" y="156"/>
                      </a:lnTo>
                      <a:lnTo>
                        <a:pt x="666" y="158"/>
                      </a:lnTo>
                      <a:lnTo>
                        <a:pt x="664" y="158"/>
                      </a:lnTo>
                      <a:lnTo>
                        <a:pt x="664" y="156"/>
                      </a:lnTo>
                      <a:lnTo>
                        <a:pt x="664" y="158"/>
                      </a:lnTo>
                      <a:lnTo>
                        <a:pt x="663" y="158"/>
                      </a:lnTo>
                      <a:lnTo>
                        <a:pt x="664" y="158"/>
                      </a:lnTo>
                      <a:lnTo>
                        <a:pt x="666" y="159"/>
                      </a:lnTo>
                      <a:lnTo>
                        <a:pt x="668" y="159"/>
                      </a:lnTo>
                      <a:lnTo>
                        <a:pt x="669" y="159"/>
                      </a:lnTo>
                      <a:lnTo>
                        <a:pt x="669" y="161"/>
                      </a:lnTo>
                      <a:lnTo>
                        <a:pt x="669" y="163"/>
                      </a:lnTo>
                      <a:lnTo>
                        <a:pt x="671" y="163"/>
                      </a:lnTo>
                      <a:lnTo>
                        <a:pt x="674" y="164"/>
                      </a:lnTo>
                      <a:lnTo>
                        <a:pt x="674" y="163"/>
                      </a:lnTo>
                      <a:lnTo>
                        <a:pt x="676" y="163"/>
                      </a:lnTo>
                      <a:lnTo>
                        <a:pt x="678" y="164"/>
                      </a:lnTo>
                      <a:lnTo>
                        <a:pt x="678" y="166"/>
                      </a:lnTo>
                      <a:lnTo>
                        <a:pt x="679" y="166"/>
                      </a:lnTo>
                      <a:lnTo>
                        <a:pt x="679" y="168"/>
                      </a:lnTo>
                      <a:lnTo>
                        <a:pt x="681" y="168"/>
                      </a:lnTo>
                      <a:lnTo>
                        <a:pt x="683" y="166"/>
                      </a:lnTo>
                      <a:lnTo>
                        <a:pt x="683" y="168"/>
                      </a:lnTo>
                      <a:lnTo>
                        <a:pt x="683" y="169"/>
                      </a:lnTo>
                      <a:lnTo>
                        <a:pt x="683" y="171"/>
                      </a:lnTo>
                      <a:lnTo>
                        <a:pt x="684" y="171"/>
                      </a:lnTo>
                      <a:lnTo>
                        <a:pt x="686" y="171"/>
                      </a:lnTo>
                      <a:lnTo>
                        <a:pt x="686" y="173"/>
                      </a:lnTo>
                      <a:lnTo>
                        <a:pt x="688" y="173"/>
                      </a:lnTo>
                      <a:lnTo>
                        <a:pt x="690" y="173"/>
                      </a:lnTo>
                      <a:lnTo>
                        <a:pt x="690" y="174"/>
                      </a:lnTo>
                      <a:lnTo>
                        <a:pt x="691" y="174"/>
                      </a:lnTo>
                      <a:lnTo>
                        <a:pt x="691" y="176"/>
                      </a:lnTo>
                      <a:lnTo>
                        <a:pt x="693" y="176"/>
                      </a:lnTo>
                      <a:lnTo>
                        <a:pt x="693" y="178"/>
                      </a:lnTo>
                      <a:lnTo>
                        <a:pt x="693" y="179"/>
                      </a:lnTo>
                      <a:lnTo>
                        <a:pt x="693" y="181"/>
                      </a:lnTo>
                      <a:lnTo>
                        <a:pt x="695" y="181"/>
                      </a:lnTo>
                      <a:lnTo>
                        <a:pt x="696" y="181"/>
                      </a:lnTo>
                      <a:lnTo>
                        <a:pt x="698" y="181"/>
                      </a:lnTo>
                      <a:lnTo>
                        <a:pt x="698" y="182"/>
                      </a:lnTo>
                      <a:lnTo>
                        <a:pt x="696" y="182"/>
                      </a:lnTo>
                      <a:lnTo>
                        <a:pt x="696" y="184"/>
                      </a:lnTo>
                      <a:lnTo>
                        <a:pt x="696" y="186"/>
                      </a:lnTo>
                      <a:lnTo>
                        <a:pt x="695" y="187"/>
                      </a:lnTo>
                      <a:lnTo>
                        <a:pt x="693" y="187"/>
                      </a:lnTo>
                      <a:lnTo>
                        <a:pt x="693" y="189"/>
                      </a:lnTo>
                      <a:lnTo>
                        <a:pt x="691" y="189"/>
                      </a:lnTo>
                      <a:lnTo>
                        <a:pt x="690" y="189"/>
                      </a:lnTo>
                      <a:lnTo>
                        <a:pt x="688" y="189"/>
                      </a:lnTo>
                      <a:lnTo>
                        <a:pt x="688" y="187"/>
                      </a:lnTo>
                      <a:lnTo>
                        <a:pt x="688" y="186"/>
                      </a:lnTo>
                      <a:lnTo>
                        <a:pt x="688" y="187"/>
                      </a:lnTo>
                      <a:lnTo>
                        <a:pt x="686" y="187"/>
                      </a:lnTo>
                      <a:lnTo>
                        <a:pt x="688" y="187"/>
                      </a:lnTo>
                      <a:lnTo>
                        <a:pt x="688" y="189"/>
                      </a:lnTo>
                      <a:lnTo>
                        <a:pt x="688" y="191"/>
                      </a:lnTo>
                      <a:lnTo>
                        <a:pt x="686" y="192"/>
                      </a:lnTo>
                      <a:lnTo>
                        <a:pt x="688" y="192"/>
                      </a:lnTo>
                      <a:lnTo>
                        <a:pt x="688" y="194"/>
                      </a:lnTo>
                      <a:lnTo>
                        <a:pt x="690" y="194"/>
                      </a:lnTo>
                      <a:lnTo>
                        <a:pt x="690" y="196"/>
                      </a:lnTo>
                      <a:lnTo>
                        <a:pt x="688" y="196"/>
                      </a:lnTo>
                      <a:lnTo>
                        <a:pt x="688" y="197"/>
                      </a:lnTo>
                      <a:lnTo>
                        <a:pt x="690" y="197"/>
                      </a:lnTo>
                      <a:lnTo>
                        <a:pt x="691" y="199"/>
                      </a:lnTo>
                      <a:lnTo>
                        <a:pt x="690" y="199"/>
                      </a:lnTo>
                      <a:lnTo>
                        <a:pt x="690" y="201"/>
                      </a:lnTo>
                      <a:lnTo>
                        <a:pt x="690" y="202"/>
                      </a:lnTo>
                      <a:lnTo>
                        <a:pt x="690" y="204"/>
                      </a:lnTo>
                      <a:lnTo>
                        <a:pt x="688" y="204"/>
                      </a:lnTo>
                      <a:lnTo>
                        <a:pt x="688" y="205"/>
                      </a:lnTo>
                      <a:lnTo>
                        <a:pt x="690" y="205"/>
                      </a:lnTo>
                      <a:lnTo>
                        <a:pt x="690" y="207"/>
                      </a:lnTo>
                      <a:lnTo>
                        <a:pt x="690" y="209"/>
                      </a:lnTo>
                      <a:lnTo>
                        <a:pt x="690" y="210"/>
                      </a:lnTo>
                      <a:lnTo>
                        <a:pt x="688" y="210"/>
                      </a:lnTo>
                      <a:lnTo>
                        <a:pt x="688" y="209"/>
                      </a:lnTo>
                      <a:lnTo>
                        <a:pt x="688" y="210"/>
                      </a:lnTo>
                      <a:lnTo>
                        <a:pt x="686" y="210"/>
                      </a:lnTo>
                      <a:lnTo>
                        <a:pt x="686" y="212"/>
                      </a:lnTo>
                      <a:lnTo>
                        <a:pt x="688" y="214"/>
                      </a:lnTo>
                      <a:lnTo>
                        <a:pt x="688" y="215"/>
                      </a:lnTo>
                      <a:lnTo>
                        <a:pt x="688" y="217"/>
                      </a:lnTo>
                      <a:lnTo>
                        <a:pt x="688" y="219"/>
                      </a:lnTo>
                      <a:lnTo>
                        <a:pt x="688" y="220"/>
                      </a:lnTo>
                      <a:lnTo>
                        <a:pt x="688" y="222"/>
                      </a:lnTo>
                      <a:lnTo>
                        <a:pt x="686" y="224"/>
                      </a:lnTo>
                      <a:close/>
                    </a:path>
                  </a:pathLst>
                </a:custGeom>
                <a:solidFill>
                  <a:srgbClr val="FFFFE1"/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black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85" name="Freeform 29"/>
                <p:cNvSpPr>
                  <a:spLocks noChangeAspect="1"/>
                </p:cNvSpPr>
                <p:nvPr/>
              </p:nvSpPr>
              <p:spPr bwMode="auto">
                <a:xfrm>
                  <a:off x="4713709" y="2070962"/>
                  <a:ext cx="746081" cy="1281211"/>
                </a:xfrm>
                <a:custGeom>
                  <a:avLst/>
                  <a:gdLst>
                    <a:gd name="T0" fmla="*/ 2147483647 w 478"/>
                    <a:gd name="T1" fmla="*/ 2147483647 h 765"/>
                    <a:gd name="T2" fmla="*/ 2147483647 w 478"/>
                    <a:gd name="T3" fmla="*/ 2147483647 h 765"/>
                    <a:gd name="T4" fmla="*/ 2147483647 w 478"/>
                    <a:gd name="T5" fmla="*/ 2147483647 h 765"/>
                    <a:gd name="T6" fmla="*/ 2147483647 w 478"/>
                    <a:gd name="T7" fmla="*/ 2147483647 h 765"/>
                    <a:gd name="T8" fmla="*/ 2147483647 w 478"/>
                    <a:gd name="T9" fmla="*/ 2147483647 h 765"/>
                    <a:gd name="T10" fmla="*/ 2147483647 w 478"/>
                    <a:gd name="T11" fmla="*/ 2147483647 h 765"/>
                    <a:gd name="T12" fmla="*/ 2147483647 w 478"/>
                    <a:gd name="T13" fmla="*/ 2147483647 h 765"/>
                    <a:gd name="T14" fmla="*/ 2147483647 w 478"/>
                    <a:gd name="T15" fmla="*/ 2147483647 h 765"/>
                    <a:gd name="T16" fmla="*/ 2147483647 w 478"/>
                    <a:gd name="T17" fmla="*/ 2147483647 h 765"/>
                    <a:gd name="T18" fmla="*/ 2147483647 w 478"/>
                    <a:gd name="T19" fmla="*/ 2147483647 h 765"/>
                    <a:gd name="T20" fmla="*/ 2147483647 w 478"/>
                    <a:gd name="T21" fmla="*/ 2147483647 h 765"/>
                    <a:gd name="T22" fmla="*/ 2147483647 w 478"/>
                    <a:gd name="T23" fmla="*/ 2147483647 h 765"/>
                    <a:gd name="T24" fmla="*/ 2147483647 w 478"/>
                    <a:gd name="T25" fmla="*/ 2147483647 h 765"/>
                    <a:gd name="T26" fmla="*/ 2147483647 w 478"/>
                    <a:gd name="T27" fmla="*/ 2147483647 h 765"/>
                    <a:gd name="T28" fmla="*/ 2147483647 w 478"/>
                    <a:gd name="T29" fmla="*/ 2147483647 h 765"/>
                    <a:gd name="T30" fmla="*/ 2147483647 w 478"/>
                    <a:gd name="T31" fmla="*/ 2147483647 h 765"/>
                    <a:gd name="T32" fmla="*/ 2147483647 w 478"/>
                    <a:gd name="T33" fmla="*/ 2147483647 h 765"/>
                    <a:gd name="T34" fmla="*/ 2147483647 w 478"/>
                    <a:gd name="T35" fmla="*/ 2147483647 h 765"/>
                    <a:gd name="T36" fmla="*/ 2147483647 w 478"/>
                    <a:gd name="T37" fmla="*/ 2147483647 h 765"/>
                    <a:gd name="T38" fmla="*/ 2147483647 w 478"/>
                    <a:gd name="T39" fmla="*/ 2147483647 h 765"/>
                    <a:gd name="T40" fmla="*/ 2147483647 w 478"/>
                    <a:gd name="T41" fmla="*/ 2147483647 h 765"/>
                    <a:gd name="T42" fmla="*/ 2147483647 w 478"/>
                    <a:gd name="T43" fmla="*/ 2147483647 h 765"/>
                    <a:gd name="T44" fmla="*/ 2147483647 w 478"/>
                    <a:gd name="T45" fmla="*/ 2147483647 h 765"/>
                    <a:gd name="T46" fmla="*/ 2147483647 w 478"/>
                    <a:gd name="T47" fmla="*/ 2147483647 h 765"/>
                    <a:gd name="T48" fmla="*/ 2147483647 w 478"/>
                    <a:gd name="T49" fmla="*/ 2147483647 h 765"/>
                    <a:gd name="T50" fmla="*/ 2147483647 w 478"/>
                    <a:gd name="T51" fmla="*/ 2147483647 h 765"/>
                    <a:gd name="T52" fmla="*/ 2147483647 w 478"/>
                    <a:gd name="T53" fmla="*/ 2147483647 h 765"/>
                    <a:gd name="T54" fmla="*/ 2147483647 w 478"/>
                    <a:gd name="T55" fmla="*/ 2147483647 h 765"/>
                    <a:gd name="T56" fmla="*/ 2147483647 w 478"/>
                    <a:gd name="T57" fmla="*/ 2147483647 h 765"/>
                    <a:gd name="T58" fmla="*/ 2147483647 w 478"/>
                    <a:gd name="T59" fmla="*/ 2147483647 h 765"/>
                    <a:gd name="T60" fmla="*/ 2147483647 w 478"/>
                    <a:gd name="T61" fmla="*/ 2147483647 h 765"/>
                    <a:gd name="T62" fmla="*/ 2147483647 w 478"/>
                    <a:gd name="T63" fmla="*/ 2147483647 h 765"/>
                    <a:gd name="T64" fmla="*/ 2147483647 w 478"/>
                    <a:gd name="T65" fmla="*/ 2147483647 h 765"/>
                    <a:gd name="T66" fmla="*/ 2147483647 w 478"/>
                    <a:gd name="T67" fmla="*/ 2147483647 h 765"/>
                    <a:gd name="T68" fmla="*/ 2147483647 w 478"/>
                    <a:gd name="T69" fmla="*/ 2147483647 h 765"/>
                    <a:gd name="T70" fmla="*/ 2147483647 w 478"/>
                    <a:gd name="T71" fmla="*/ 2147483647 h 765"/>
                    <a:gd name="T72" fmla="*/ 2147483647 w 478"/>
                    <a:gd name="T73" fmla="*/ 2147483647 h 765"/>
                    <a:gd name="T74" fmla="*/ 2147483647 w 478"/>
                    <a:gd name="T75" fmla="*/ 2147483647 h 765"/>
                    <a:gd name="T76" fmla="*/ 2147483647 w 478"/>
                    <a:gd name="T77" fmla="*/ 2147483647 h 765"/>
                    <a:gd name="T78" fmla="*/ 2147483647 w 478"/>
                    <a:gd name="T79" fmla="*/ 2147483647 h 765"/>
                    <a:gd name="T80" fmla="*/ 2147483647 w 478"/>
                    <a:gd name="T81" fmla="*/ 2147483647 h 765"/>
                    <a:gd name="T82" fmla="*/ 2147483647 w 478"/>
                    <a:gd name="T83" fmla="*/ 2147483647 h 765"/>
                    <a:gd name="T84" fmla="*/ 2147483647 w 478"/>
                    <a:gd name="T85" fmla="*/ 2147483647 h 765"/>
                    <a:gd name="T86" fmla="*/ 2147483647 w 478"/>
                    <a:gd name="T87" fmla="*/ 2147483647 h 765"/>
                    <a:gd name="T88" fmla="*/ 2147483647 w 478"/>
                    <a:gd name="T89" fmla="*/ 2147483647 h 765"/>
                    <a:gd name="T90" fmla="*/ 2147483647 w 478"/>
                    <a:gd name="T91" fmla="*/ 2147483647 h 765"/>
                    <a:gd name="T92" fmla="*/ 2147483647 w 478"/>
                    <a:gd name="T93" fmla="*/ 2147483647 h 765"/>
                    <a:gd name="T94" fmla="*/ 2147483647 w 478"/>
                    <a:gd name="T95" fmla="*/ 2147483647 h 765"/>
                    <a:gd name="T96" fmla="*/ 2147483647 w 478"/>
                    <a:gd name="T97" fmla="*/ 2147483647 h 765"/>
                    <a:gd name="T98" fmla="*/ 2147483647 w 478"/>
                    <a:gd name="T99" fmla="*/ 2147483647 h 765"/>
                    <a:gd name="T100" fmla="*/ 2147483647 w 478"/>
                    <a:gd name="T101" fmla="*/ 2147483647 h 765"/>
                    <a:gd name="T102" fmla="*/ 2147483647 w 478"/>
                    <a:gd name="T103" fmla="*/ 2147483647 h 765"/>
                    <a:gd name="T104" fmla="*/ 2147483647 w 478"/>
                    <a:gd name="T105" fmla="*/ 2147483647 h 765"/>
                    <a:gd name="T106" fmla="*/ 2147483647 w 478"/>
                    <a:gd name="T107" fmla="*/ 2147483647 h 765"/>
                    <a:gd name="T108" fmla="*/ 2147483647 w 478"/>
                    <a:gd name="T109" fmla="*/ 2147483647 h 765"/>
                    <a:gd name="T110" fmla="*/ 2147483647 w 478"/>
                    <a:gd name="T111" fmla="*/ 2147483647 h 765"/>
                    <a:gd name="T112" fmla="*/ 2147483647 w 478"/>
                    <a:gd name="T113" fmla="*/ 2147483647 h 765"/>
                    <a:gd name="T114" fmla="*/ 2147483647 w 478"/>
                    <a:gd name="T115" fmla="*/ 2147483647 h 765"/>
                    <a:gd name="T116" fmla="*/ 2147483647 w 478"/>
                    <a:gd name="T117" fmla="*/ 2147483647 h 765"/>
                    <a:gd name="T118" fmla="*/ 2147483647 w 478"/>
                    <a:gd name="T119" fmla="*/ 2147483647 h 765"/>
                    <a:gd name="T120" fmla="*/ 2147483647 w 478"/>
                    <a:gd name="T121" fmla="*/ 2147483647 h 765"/>
                    <a:gd name="T122" fmla="*/ 2147483647 w 478"/>
                    <a:gd name="T123" fmla="*/ 2147483647 h 765"/>
                    <a:gd name="T124" fmla="*/ 2147483647 w 478"/>
                    <a:gd name="T125" fmla="*/ 2147483647 h 76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478"/>
                    <a:gd name="T190" fmla="*/ 0 h 765"/>
                    <a:gd name="T191" fmla="*/ 478 w 478"/>
                    <a:gd name="T192" fmla="*/ 765 h 76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478" h="765">
                      <a:moveTo>
                        <a:pt x="425" y="680"/>
                      </a:moveTo>
                      <a:lnTo>
                        <a:pt x="425" y="682"/>
                      </a:lnTo>
                      <a:lnTo>
                        <a:pt x="424" y="682"/>
                      </a:lnTo>
                      <a:lnTo>
                        <a:pt x="424" y="683"/>
                      </a:lnTo>
                      <a:lnTo>
                        <a:pt x="424" y="685"/>
                      </a:lnTo>
                      <a:lnTo>
                        <a:pt x="424" y="687"/>
                      </a:lnTo>
                      <a:lnTo>
                        <a:pt x="422" y="687"/>
                      </a:lnTo>
                      <a:lnTo>
                        <a:pt x="422" y="688"/>
                      </a:lnTo>
                      <a:lnTo>
                        <a:pt x="424" y="688"/>
                      </a:lnTo>
                      <a:lnTo>
                        <a:pt x="425" y="690"/>
                      </a:lnTo>
                      <a:lnTo>
                        <a:pt x="424" y="691"/>
                      </a:lnTo>
                      <a:lnTo>
                        <a:pt x="422" y="691"/>
                      </a:lnTo>
                      <a:lnTo>
                        <a:pt x="422" y="693"/>
                      </a:lnTo>
                      <a:lnTo>
                        <a:pt x="422" y="695"/>
                      </a:lnTo>
                      <a:lnTo>
                        <a:pt x="424" y="695"/>
                      </a:lnTo>
                      <a:lnTo>
                        <a:pt x="425" y="696"/>
                      </a:lnTo>
                      <a:lnTo>
                        <a:pt x="424" y="698"/>
                      </a:lnTo>
                      <a:lnTo>
                        <a:pt x="424" y="700"/>
                      </a:lnTo>
                      <a:lnTo>
                        <a:pt x="424" y="701"/>
                      </a:lnTo>
                      <a:lnTo>
                        <a:pt x="422" y="701"/>
                      </a:lnTo>
                      <a:lnTo>
                        <a:pt x="424" y="703"/>
                      </a:lnTo>
                      <a:lnTo>
                        <a:pt x="424" y="705"/>
                      </a:lnTo>
                      <a:lnTo>
                        <a:pt x="425" y="706"/>
                      </a:lnTo>
                      <a:lnTo>
                        <a:pt x="424" y="708"/>
                      </a:lnTo>
                      <a:lnTo>
                        <a:pt x="422" y="708"/>
                      </a:lnTo>
                      <a:lnTo>
                        <a:pt x="422" y="709"/>
                      </a:lnTo>
                      <a:lnTo>
                        <a:pt x="422" y="711"/>
                      </a:lnTo>
                      <a:lnTo>
                        <a:pt x="422" y="713"/>
                      </a:lnTo>
                      <a:lnTo>
                        <a:pt x="422" y="714"/>
                      </a:lnTo>
                      <a:lnTo>
                        <a:pt x="422" y="716"/>
                      </a:lnTo>
                      <a:lnTo>
                        <a:pt x="420" y="716"/>
                      </a:lnTo>
                      <a:lnTo>
                        <a:pt x="420" y="718"/>
                      </a:lnTo>
                      <a:lnTo>
                        <a:pt x="422" y="716"/>
                      </a:lnTo>
                      <a:lnTo>
                        <a:pt x="424" y="716"/>
                      </a:lnTo>
                      <a:lnTo>
                        <a:pt x="425" y="716"/>
                      </a:lnTo>
                      <a:lnTo>
                        <a:pt x="427" y="716"/>
                      </a:lnTo>
                      <a:lnTo>
                        <a:pt x="429" y="716"/>
                      </a:lnTo>
                      <a:lnTo>
                        <a:pt x="430" y="714"/>
                      </a:lnTo>
                      <a:lnTo>
                        <a:pt x="432" y="714"/>
                      </a:lnTo>
                      <a:lnTo>
                        <a:pt x="434" y="714"/>
                      </a:lnTo>
                      <a:lnTo>
                        <a:pt x="435" y="714"/>
                      </a:lnTo>
                      <a:lnTo>
                        <a:pt x="437" y="713"/>
                      </a:lnTo>
                      <a:lnTo>
                        <a:pt x="439" y="714"/>
                      </a:lnTo>
                      <a:lnTo>
                        <a:pt x="437" y="714"/>
                      </a:lnTo>
                      <a:lnTo>
                        <a:pt x="437" y="716"/>
                      </a:lnTo>
                      <a:lnTo>
                        <a:pt x="435" y="716"/>
                      </a:lnTo>
                      <a:lnTo>
                        <a:pt x="434" y="716"/>
                      </a:lnTo>
                      <a:lnTo>
                        <a:pt x="432" y="716"/>
                      </a:lnTo>
                      <a:lnTo>
                        <a:pt x="432" y="718"/>
                      </a:lnTo>
                      <a:lnTo>
                        <a:pt x="430" y="718"/>
                      </a:lnTo>
                      <a:lnTo>
                        <a:pt x="429" y="718"/>
                      </a:lnTo>
                      <a:lnTo>
                        <a:pt x="427" y="718"/>
                      </a:lnTo>
                      <a:lnTo>
                        <a:pt x="425" y="718"/>
                      </a:lnTo>
                      <a:lnTo>
                        <a:pt x="424" y="719"/>
                      </a:lnTo>
                      <a:lnTo>
                        <a:pt x="422" y="719"/>
                      </a:lnTo>
                      <a:lnTo>
                        <a:pt x="420" y="719"/>
                      </a:lnTo>
                      <a:lnTo>
                        <a:pt x="418" y="719"/>
                      </a:lnTo>
                      <a:lnTo>
                        <a:pt x="417" y="719"/>
                      </a:lnTo>
                      <a:lnTo>
                        <a:pt x="417" y="721"/>
                      </a:lnTo>
                      <a:lnTo>
                        <a:pt x="415" y="721"/>
                      </a:lnTo>
                      <a:lnTo>
                        <a:pt x="413" y="721"/>
                      </a:lnTo>
                      <a:lnTo>
                        <a:pt x="415" y="719"/>
                      </a:lnTo>
                      <a:lnTo>
                        <a:pt x="413" y="719"/>
                      </a:lnTo>
                      <a:lnTo>
                        <a:pt x="415" y="719"/>
                      </a:lnTo>
                      <a:lnTo>
                        <a:pt x="413" y="718"/>
                      </a:lnTo>
                      <a:lnTo>
                        <a:pt x="415" y="718"/>
                      </a:lnTo>
                      <a:lnTo>
                        <a:pt x="413" y="716"/>
                      </a:lnTo>
                      <a:lnTo>
                        <a:pt x="415" y="716"/>
                      </a:lnTo>
                      <a:lnTo>
                        <a:pt x="415" y="714"/>
                      </a:lnTo>
                      <a:lnTo>
                        <a:pt x="415" y="713"/>
                      </a:lnTo>
                      <a:lnTo>
                        <a:pt x="415" y="711"/>
                      </a:lnTo>
                      <a:lnTo>
                        <a:pt x="415" y="709"/>
                      </a:lnTo>
                      <a:lnTo>
                        <a:pt x="413" y="709"/>
                      </a:lnTo>
                      <a:lnTo>
                        <a:pt x="413" y="708"/>
                      </a:lnTo>
                      <a:lnTo>
                        <a:pt x="412" y="708"/>
                      </a:lnTo>
                      <a:lnTo>
                        <a:pt x="410" y="708"/>
                      </a:lnTo>
                      <a:lnTo>
                        <a:pt x="412" y="706"/>
                      </a:lnTo>
                      <a:lnTo>
                        <a:pt x="410" y="706"/>
                      </a:lnTo>
                      <a:lnTo>
                        <a:pt x="410" y="705"/>
                      </a:lnTo>
                      <a:lnTo>
                        <a:pt x="407" y="714"/>
                      </a:lnTo>
                      <a:lnTo>
                        <a:pt x="405" y="718"/>
                      </a:lnTo>
                      <a:lnTo>
                        <a:pt x="393" y="718"/>
                      </a:lnTo>
                      <a:lnTo>
                        <a:pt x="391" y="716"/>
                      </a:lnTo>
                      <a:lnTo>
                        <a:pt x="373" y="721"/>
                      </a:lnTo>
                      <a:lnTo>
                        <a:pt x="371" y="723"/>
                      </a:lnTo>
                      <a:lnTo>
                        <a:pt x="371" y="724"/>
                      </a:lnTo>
                      <a:lnTo>
                        <a:pt x="369" y="724"/>
                      </a:lnTo>
                      <a:lnTo>
                        <a:pt x="369" y="726"/>
                      </a:lnTo>
                      <a:lnTo>
                        <a:pt x="368" y="728"/>
                      </a:lnTo>
                      <a:lnTo>
                        <a:pt x="366" y="728"/>
                      </a:lnTo>
                      <a:lnTo>
                        <a:pt x="368" y="728"/>
                      </a:lnTo>
                      <a:lnTo>
                        <a:pt x="366" y="728"/>
                      </a:lnTo>
                      <a:lnTo>
                        <a:pt x="366" y="726"/>
                      </a:lnTo>
                      <a:lnTo>
                        <a:pt x="364" y="726"/>
                      </a:lnTo>
                      <a:lnTo>
                        <a:pt x="364" y="728"/>
                      </a:lnTo>
                      <a:lnTo>
                        <a:pt x="363" y="728"/>
                      </a:lnTo>
                      <a:lnTo>
                        <a:pt x="363" y="729"/>
                      </a:lnTo>
                      <a:lnTo>
                        <a:pt x="361" y="729"/>
                      </a:lnTo>
                      <a:lnTo>
                        <a:pt x="361" y="731"/>
                      </a:lnTo>
                      <a:lnTo>
                        <a:pt x="359" y="731"/>
                      </a:lnTo>
                      <a:lnTo>
                        <a:pt x="359" y="732"/>
                      </a:lnTo>
                      <a:lnTo>
                        <a:pt x="358" y="732"/>
                      </a:lnTo>
                      <a:lnTo>
                        <a:pt x="356" y="732"/>
                      </a:lnTo>
                      <a:lnTo>
                        <a:pt x="358" y="732"/>
                      </a:lnTo>
                      <a:lnTo>
                        <a:pt x="356" y="734"/>
                      </a:lnTo>
                      <a:lnTo>
                        <a:pt x="356" y="732"/>
                      </a:lnTo>
                      <a:lnTo>
                        <a:pt x="354" y="732"/>
                      </a:lnTo>
                      <a:lnTo>
                        <a:pt x="354" y="734"/>
                      </a:lnTo>
                      <a:lnTo>
                        <a:pt x="353" y="734"/>
                      </a:lnTo>
                      <a:lnTo>
                        <a:pt x="353" y="736"/>
                      </a:lnTo>
                      <a:lnTo>
                        <a:pt x="353" y="734"/>
                      </a:lnTo>
                      <a:lnTo>
                        <a:pt x="353" y="736"/>
                      </a:lnTo>
                      <a:lnTo>
                        <a:pt x="351" y="736"/>
                      </a:lnTo>
                      <a:lnTo>
                        <a:pt x="349" y="736"/>
                      </a:lnTo>
                      <a:lnTo>
                        <a:pt x="348" y="736"/>
                      </a:lnTo>
                      <a:lnTo>
                        <a:pt x="348" y="737"/>
                      </a:lnTo>
                      <a:lnTo>
                        <a:pt x="346" y="737"/>
                      </a:lnTo>
                      <a:lnTo>
                        <a:pt x="348" y="737"/>
                      </a:lnTo>
                      <a:lnTo>
                        <a:pt x="346" y="737"/>
                      </a:lnTo>
                      <a:lnTo>
                        <a:pt x="346" y="739"/>
                      </a:lnTo>
                      <a:lnTo>
                        <a:pt x="346" y="737"/>
                      </a:lnTo>
                      <a:lnTo>
                        <a:pt x="344" y="737"/>
                      </a:lnTo>
                      <a:lnTo>
                        <a:pt x="344" y="739"/>
                      </a:lnTo>
                      <a:lnTo>
                        <a:pt x="344" y="737"/>
                      </a:lnTo>
                      <a:lnTo>
                        <a:pt x="342" y="737"/>
                      </a:lnTo>
                      <a:lnTo>
                        <a:pt x="341" y="739"/>
                      </a:lnTo>
                      <a:lnTo>
                        <a:pt x="342" y="739"/>
                      </a:lnTo>
                      <a:lnTo>
                        <a:pt x="342" y="741"/>
                      </a:lnTo>
                      <a:lnTo>
                        <a:pt x="341" y="741"/>
                      </a:lnTo>
                      <a:lnTo>
                        <a:pt x="339" y="741"/>
                      </a:lnTo>
                      <a:lnTo>
                        <a:pt x="337" y="741"/>
                      </a:lnTo>
                      <a:lnTo>
                        <a:pt x="337" y="739"/>
                      </a:lnTo>
                      <a:lnTo>
                        <a:pt x="336" y="739"/>
                      </a:lnTo>
                      <a:lnTo>
                        <a:pt x="334" y="739"/>
                      </a:lnTo>
                      <a:lnTo>
                        <a:pt x="332" y="739"/>
                      </a:lnTo>
                      <a:lnTo>
                        <a:pt x="332" y="741"/>
                      </a:lnTo>
                      <a:lnTo>
                        <a:pt x="331" y="741"/>
                      </a:lnTo>
                      <a:lnTo>
                        <a:pt x="331" y="742"/>
                      </a:lnTo>
                      <a:lnTo>
                        <a:pt x="331" y="744"/>
                      </a:lnTo>
                      <a:lnTo>
                        <a:pt x="329" y="744"/>
                      </a:lnTo>
                      <a:lnTo>
                        <a:pt x="329" y="746"/>
                      </a:lnTo>
                      <a:lnTo>
                        <a:pt x="327" y="746"/>
                      </a:lnTo>
                      <a:lnTo>
                        <a:pt x="327" y="744"/>
                      </a:lnTo>
                      <a:lnTo>
                        <a:pt x="326" y="744"/>
                      </a:lnTo>
                      <a:lnTo>
                        <a:pt x="324" y="746"/>
                      </a:lnTo>
                      <a:lnTo>
                        <a:pt x="324" y="744"/>
                      </a:lnTo>
                      <a:lnTo>
                        <a:pt x="322" y="744"/>
                      </a:lnTo>
                      <a:lnTo>
                        <a:pt x="320" y="744"/>
                      </a:lnTo>
                      <a:lnTo>
                        <a:pt x="319" y="742"/>
                      </a:lnTo>
                      <a:lnTo>
                        <a:pt x="319" y="744"/>
                      </a:lnTo>
                      <a:lnTo>
                        <a:pt x="317" y="744"/>
                      </a:lnTo>
                      <a:lnTo>
                        <a:pt x="317" y="746"/>
                      </a:lnTo>
                      <a:lnTo>
                        <a:pt x="315" y="747"/>
                      </a:lnTo>
                      <a:lnTo>
                        <a:pt x="315" y="749"/>
                      </a:lnTo>
                      <a:lnTo>
                        <a:pt x="314" y="749"/>
                      </a:lnTo>
                      <a:lnTo>
                        <a:pt x="314" y="747"/>
                      </a:lnTo>
                      <a:lnTo>
                        <a:pt x="314" y="746"/>
                      </a:lnTo>
                      <a:lnTo>
                        <a:pt x="312" y="746"/>
                      </a:lnTo>
                      <a:lnTo>
                        <a:pt x="312" y="744"/>
                      </a:lnTo>
                      <a:lnTo>
                        <a:pt x="314" y="744"/>
                      </a:lnTo>
                      <a:lnTo>
                        <a:pt x="314" y="742"/>
                      </a:lnTo>
                      <a:lnTo>
                        <a:pt x="312" y="742"/>
                      </a:lnTo>
                      <a:lnTo>
                        <a:pt x="310" y="742"/>
                      </a:lnTo>
                      <a:lnTo>
                        <a:pt x="309" y="742"/>
                      </a:lnTo>
                      <a:lnTo>
                        <a:pt x="309" y="741"/>
                      </a:lnTo>
                      <a:lnTo>
                        <a:pt x="309" y="739"/>
                      </a:lnTo>
                      <a:lnTo>
                        <a:pt x="307" y="739"/>
                      </a:lnTo>
                      <a:lnTo>
                        <a:pt x="305" y="739"/>
                      </a:lnTo>
                      <a:lnTo>
                        <a:pt x="304" y="739"/>
                      </a:lnTo>
                      <a:lnTo>
                        <a:pt x="302" y="739"/>
                      </a:lnTo>
                      <a:lnTo>
                        <a:pt x="300" y="737"/>
                      </a:lnTo>
                      <a:lnTo>
                        <a:pt x="302" y="736"/>
                      </a:lnTo>
                      <a:lnTo>
                        <a:pt x="300" y="736"/>
                      </a:lnTo>
                      <a:lnTo>
                        <a:pt x="300" y="734"/>
                      </a:lnTo>
                      <a:lnTo>
                        <a:pt x="302" y="734"/>
                      </a:lnTo>
                      <a:lnTo>
                        <a:pt x="302" y="732"/>
                      </a:lnTo>
                      <a:lnTo>
                        <a:pt x="300" y="732"/>
                      </a:lnTo>
                      <a:lnTo>
                        <a:pt x="299" y="732"/>
                      </a:lnTo>
                      <a:lnTo>
                        <a:pt x="297" y="732"/>
                      </a:lnTo>
                      <a:lnTo>
                        <a:pt x="297" y="731"/>
                      </a:lnTo>
                      <a:lnTo>
                        <a:pt x="295" y="731"/>
                      </a:lnTo>
                      <a:lnTo>
                        <a:pt x="295" y="732"/>
                      </a:lnTo>
                      <a:lnTo>
                        <a:pt x="295" y="731"/>
                      </a:lnTo>
                      <a:lnTo>
                        <a:pt x="295" y="732"/>
                      </a:lnTo>
                      <a:lnTo>
                        <a:pt x="293" y="732"/>
                      </a:lnTo>
                      <a:lnTo>
                        <a:pt x="293" y="734"/>
                      </a:lnTo>
                      <a:lnTo>
                        <a:pt x="293" y="736"/>
                      </a:lnTo>
                      <a:lnTo>
                        <a:pt x="292" y="736"/>
                      </a:lnTo>
                      <a:lnTo>
                        <a:pt x="292" y="737"/>
                      </a:lnTo>
                      <a:lnTo>
                        <a:pt x="292" y="739"/>
                      </a:lnTo>
                      <a:lnTo>
                        <a:pt x="292" y="741"/>
                      </a:lnTo>
                      <a:lnTo>
                        <a:pt x="292" y="742"/>
                      </a:lnTo>
                      <a:lnTo>
                        <a:pt x="293" y="742"/>
                      </a:lnTo>
                      <a:lnTo>
                        <a:pt x="292" y="742"/>
                      </a:lnTo>
                      <a:lnTo>
                        <a:pt x="292" y="744"/>
                      </a:lnTo>
                      <a:lnTo>
                        <a:pt x="293" y="744"/>
                      </a:lnTo>
                      <a:lnTo>
                        <a:pt x="293" y="746"/>
                      </a:lnTo>
                      <a:lnTo>
                        <a:pt x="293" y="747"/>
                      </a:lnTo>
                      <a:lnTo>
                        <a:pt x="292" y="747"/>
                      </a:lnTo>
                      <a:lnTo>
                        <a:pt x="292" y="749"/>
                      </a:lnTo>
                      <a:lnTo>
                        <a:pt x="292" y="751"/>
                      </a:lnTo>
                      <a:lnTo>
                        <a:pt x="293" y="751"/>
                      </a:lnTo>
                      <a:lnTo>
                        <a:pt x="292" y="751"/>
                      </a:lnTo>
                      <a:lnTo>
                        <a:pt x="293" y="752"/>
                      </a:lnTo>
                      <a:lnTo>
                        <a:pt x="293" y="754"/>
                      </a:lnTo>
                      <a:lnTo>
                        <a:pt x="293" y="755"/>
                      </a:lnTo>
                      <a:lnTo>
                        <a:pt x="295" y="755"/>
                      </a:lnTo>
                      <a:lnTo>
                        <a:pt x="295" y="757"/>
                      </a:lnTo>
                      <a:lnTo>
                        <a:pt x="293" y="757"/>
                      </a:lnTo>
                      <a:lnTo>
                        <a:pt x="293" y="759"/>
                      </a:lnTo>
                      <a:lnTo>
                        <a:pt x="292" y="760"/>
                      </a:lnTo>
                      <a:lnTo>
                        <a:pt x="292" y="762"/>
                      </a:lnTo>
                      <a:lnTo>
                        <a:pt x="290" y="764"/>
                      </a:lnTo>
                      <a:lnTo>
                        <a:pt x="290" y="765"/>
                      </a:lnTo>
                      <a:lnTo>
                        <a:pt x="278" y="752"/>
                      </a:lnTo>
                      <a:lnTo>
                        <a:pt x="278" y="751"/>
                      </a:lnTo>
                      <a:lnTo>
                        <a:pt x="277" y="751"/>
                      </a:lnTo>
                      <a:lnTo>
                        <a:pt x="275" y="751"/>
                      </a:lnTo>
                      <a:lnTo>
                        <a:pt x="273" y="751"/>
                      </a:lnTo>
                      <a:lnTo>
                        <a:pt x="272" y="751"/>
                      </a:lnTo>
                      <a:lnTo>
                        <a:pt x="270" y="751"/>
                      </a:lnTo>
                      <a:lnTo>
                        <a:pt x="268" y="751"/>
                      </a:lnTo>
                      <a:lnTo>
                        <a:pt x="270" y="749"/>
                      </a:lnTo>
                      <a:lnTo>
                        <a:pt x="268" y="749"/>
                      </a:lnTo>
                      <a:lnTo>
                        <a:pt x="266" y="749"/>
                      </a:lnTo>
                      <a:lnTo>
                        <a:pt x="265" y="749"/>
                      </a:lnTo>
                      <a:lnTo>
                        <a:pt x="266" y="749"/>
                      </a:lnTo>
                      <a:lnTo>
                        <a:pt x="265" y="749"/>
                      </a:lnTo>
                      <a:lnTo>
                        <a:pt x="265" y="751"/>
                      </a:lnTo>
                      <a:lnTo>
                        <a:pt x="263" y="751"/>
                      </a:lnTo>
                      <a:lnTo>
                        <a:pt x="263" y="749"/>
                      </a:lnTo>
                      <a:lnTo>
                        <a:pt x="261" y="749"/>
                      </a:lnTo>
                      <a:lnTo>
                        <a:pt x="261" y="747"/>
                      </a:lnTo>
                      <a:lnTo>
                        <a:pt x="260" y="747"/>
                      </a:lnTo>
                      <a:lnTo>
                        <a:pt x="258" y="747"/>
                      </a:lnTo>
                      <a:lnTo>
                        <a:pt x="256" y="747"/>
                      </a:lnTo>
                      <a:lnTo>
                        <a:pt x="256" y="746"/>
                      </a:lnTo>
                      <a:lnTo>
                        <a:pt x="255" y="746"/>
                      </a:lnTo>
                      <a:lnTo>
                        <a:pt x="255" y="744"/>
                      </a:lnTo>
                      <a:lnTo>
                        <a:pt x="253" y="744"/>
                      </a:lnTo>
                      <a:lnTo>
                        <a:pt x="253" y="746"/>
                      </a:lnTo>
                      <a:lnTo>
                        <a:pt x="253" y="747"/>
                      </a:lnTo>
                      <a:lnTo>
                        <a:pt x="251" y="747"/>
                      </a:lnTo>
                      <a:lnTo>
                        <a:pt x="251" y="749"/>
                      </a:lnTo>
                      <a:lnTo>
                        <a:pt x="251" y="747"/>
                      </a:lnTo>
                      <a:lnTo>
                        <a:pt x="251" y="749"/>
                      </a:lnTo>
                      <a:lnTo>
                        <a:pt x="251" y="747"/>
                      </a:lnTo>
                      <a:lnTo>
                        <a:pt x="251" y="749"/>
                      </a:lnTo>
                      <a:lnTo>
                        <a:pt x="250" y="749"/>
                      </a:lnTo>
                      <a:lnTo>
                        <a:pt x="248" y="749"/>
                      </a:lnTo>
                      <a:lnTo>
                        <a:pt x="246" y="749"/>
                      </a:lnTo>
                      <a:lnTo>
                        <a:pt x="246" y="751"/>
                      </a:lnTo>
                      <a:lnTo>
                        <a:pt x="244" y="749"/>
                      </a:lnTo>
                      <a:lnTo>
                        <a:pt x="244" y="751"/>
                      </a:lnTo>
                      <a:lnTo>
                        <a:pt x="244" y="749"/>
                      </a:lnTo>
                      <a:lnTo>
                        <a:pt x="244" y="751"/>
                      </a:lnTo>
                      <a:lnTo>
                        <a:pt x="244" y="749"/>
                      </a:lnTo>
                      <a:lnTo>
                        <a:pt x="244" y="747"/>
                      </a:lnTo>
                      <a:lnTo>
                        <a:pt x="244" y="746"/>
                      </a:lnTo>
                      <a:lnTo>
                        <a:pt x="244" y="744"/>
                      </a:lnTo>
                      <a:lnTo>
                        <a:pt x="244" y="742"/>
                      </a:lnTo>
                      <a:lnTo>
                        <a:pt x="244" y="741"/>
                      </a:lnTo>
                      <a:lnTo>
                        <a:pt x="244" y="739"/>
                      </a:lnTo>
                      <a:lnTo>
                        <a:pt x="244" y="737"/>
                      </a:lnTo>
                      <a:lnTo>
                        <a:pt x="246" y="736"/>
                      </a:lnTo>
                      <a:lnTo>
                        <a:pt x="244" y="736"/>
                      </a:lnTo>
                      <a:lnTo>
                        <a:pt x="243" y="736"/>
                      </a:lnTo>
                      <a:lnTo>
                        <a:pt x="241" y="736"/>
                      </a:lnTo>
                      <a:lnTo>
                        <a:pt x="243" y="736"/>
                      </a:lnTo>
                      <a:lnTo>
                        <a:pt x="241" y="736"/>
                      </a:lnTo>
                      <a:lnTo>
                        <a:pt x="241" y="737"/>
                      </a:lnTo>
                      <a:lnTo>
                        <a:pt x="239" y="737"/>
                      </a:lnTo>
                      <a:lnTo>
                        <a:pt x="238" y="737"/>
                      </a:lnTo>
                      <a:lnTo>
                        <a:pt x="238" y="739"/>
                      </a:lnTo>
                      <a:lnTo>
                        <a:pt x="236" y="739"/>
                      </a:lnTo>
                      <a:lnTo>
                        <a:pt x="234" y="741"/>
                      </a:lnTo>
                      <a:lnTo>
                        <a:pt x="234" y="739"/>
                      </a:lnTo>
                      <a:lnTo>
                        <a:pt x="234" y="741"/>
                      </a:lnTo>
                      <a:lnTo>
                        <a:pt x="233" y="741"/>
                      </a:lnTo>
                      <a:lnTo>
                        <a:pt x="234" y="741"/>
                      </a:lnTo>
                      <a:lnTo>
                        <a:pt x="233" y="741"/>
                      </a:lnTo>
                      <a:lnTo>
                        <a:pt x="233" y="742"/>
                      </a:lnTo>
                      <a:lnTo>
                        <a:pt x="233" y="741"/>
                      </a:lnTo>
                      <a:lnTo>
                        <a:pt x="233" y="742"/>
                      </a:lnTo>
                      <a:lnTo>
                        <a:pt x="231" y="742"/>
                      </a:lnTo>
                      <a:lnTo>
                        <a:pt x="231" y="744"/>
                      </a:lnTo>
                      <a:lnTo>
                        <a:pt x="229" y="744"/>
                      </a:lnTo>
                      <a:lnTo>
                        <a:pt x="229" y="742"/>
                      </a:lnTo>
                      <a:lnTo>
                        <a:pt x="228" y="742"/>
                      </a:lnTo>
                      <a:lnTo>
                        <a:pt x="228" y="744"/>
                      </a:lnTo>
                      <a:lnTo>
                        <a:pt x="226" y="744"/>
                      </a:lnTo>
                      <a:lnTo>
                        <a:pt x="228" y="744"/>
                      </a:lnTo>
                      <a:lnTo>
                        <a:pt x="226" y="744"/>
                      </a:lnTo>
                      <a:lnTo>
                        <a:pt x="224" y="744"/>
                      </a:lnTo>
                      <a:lnTo>
                        <a:pt x="224" y="746"/>
                      </a:lnTo>
                      <a:lnTo>
                        <a:pt x="223" y="746"/>
                      </a:lnTo>
                      <a:lnTo>
                        <a:pt x="223" y="747"/>
                      </a:lnTo>
                      <a:lnTo>
                        <a:pt x="223" y="746"/>
                      </a:lnTo>
                      <a:lnTo>
                        <a:pt x="221" y="746"/>
                      </a:lnTo>
                      <a:lnTo>
                        <a:pt x="221" y="747"/>
                      </a:lnTo>
                      <a:lnTo>
                        <a:pt x="219" y="747"/>
                      </a:lnTo>
                      <a:lnTo>
                        <a:pt x="219" y="749"/>
                      </a:lnTo>
                      <a:lnTo>
                        <a:pt x="217" y="749"/>
                      </a:lnTo>
                      <a:lnTo>
                        <a:pt x="217" y="747"/>
                      </a:lnTo>
                      <a:lnTo>
                        <a:pt x="216" y="747"/>
                      </a:lnTo>
                      <a:lnTo>
                        <a:pt x="216" y="746"/>
                      </a:lnTo>
                      <a:lnTo>
                        <a:pt x="216" y="744"/>
                      </a:lnTo>
                      <a:lnTo>
                        <a:pt x="214" y="744"/>
                      </a:lnTo>
                      <a:lnTo>
                        <a:pt x="214" y="742"/>
                      </a:lnTo>
                      <a:lnTo>
                        <a:pt x="216" y="742"/>
                      </a:lnTo>
                      <a:lnTo>
                        <a:pt x="214" y="742"/>
                      </a:lnTo>
                      <a:lnTo>
                        <a:pt x="214" y="741"/>
                      </a:lnTo>
                      <a:lnTo>
                        <a:pt x="216" y="741"/>
                      </a:lnTo>
                      <a:lnTo>
                        <a:pt x="214" y="741"/>
                      </a:lnTo>
                      <a:lnTo>
                        <a:pt x="216" y="741"/>
                      </a:lnTo>
                      <a:lnTo>
                        <a:pt x="214" y="741"/>
                      </a:lnTo>
                      <a:lnTo>
                        <a:pt x="214" y="739"/>
                      </a:lnTo>
                      <a:lnTo>
                        <a:pt x="214" y="737"/>
                      </a:lnTo>
                      <a:lnTo>
                        <a:pt x="216" y="737"/>
                      </a:lnTo>
                      <a:lnTo>
                        <a:pt x="216" y="736"/>
                      </a:lnTo>
                      <a:lnTo>
                        <a:pt x="216" y="734"/>
                      </a:lnTo>
                      <a:lnTo>
                        <a:pt x="214" y="734"/>
                      </a:lnTo>
                      <a:lnTo>
                        <a:pt x="212" y="734"/>
                      </a:lnTo>
                      <a:lnTo>
                        <a:pt x="211" y="734"/>
                      </a:lnTo>
                      <a:lnTo>
                        <a:pt x="211" y="736"/>
                      </a:lnTo>
                      <a:lnTo>
                        <a:pt x="211" y="737"/>
                      </a:lnTo>
                      <a:lnTo>
                        <a:pt x="209" y="739"/>
                      </a:lnTo>
                      <a:lnTo>
                        <a:pt x="207" y="739"/>
                      </a:lnTo>
                      <a:lnTo>
                        <a:pt x="207" y="741"/>
                      </a:lnTo>
                      <a:lnTo>
                        <a:pt x="207" y="742"/>
                      </a:lnTo>
                      <a:lnTo>
                        <a:pt x="207" y="744"/>
                      </a:lnTo>
                      <a:lnTo>
                        <a:pt x="207" y="746"/>
                      </a:lnTo>
                      <a:lnTo>
                        <a:pt x="207" y="747"/>
                      </a:lnTo>
                      <a:lnTo>
                        <a:pt x="207" y="749"/>
                      </a:lnTo>
                      <a:lnTo>
                        <a:pt x="206" y="751"/>
                      </a:lnTo>
                      <a:lnTo>
                        <a:pt x="204" y="751"/>
                      </a:lnTo>
                      <a:lnTo>
                        <a:pt x="204" y="749"/>
                      </a:lnTo>
                      <a:lnTo>
                        <a:pt x="202" y="749"/>
                      </a:lnTo>
                      <a:lnTo>
                        <a:pt x="204" y="747"/>
                      </a:lnTo>
                      <a:lnTo>
                        <a:pt x="204" y="746"/>
                      </a:lnTo>
                      <a:lnTo>
                        <a:pt x="204" y="744"/>
                      </a:lnTo>
                      <a:lnTo>
                        <a:pt x="202" y="744"/>
                      </a:lnTo>
                      <a:lnTo>
                        <a:pt x="204" y="744"/>
                      </a:lnTo>
                      <a:lnTo>
                        <a:pt x="204" y="742"/>
                      </a:lnTo>
                      <a:lnTo>
                        <a:pt x="204" y="741"/>
                      </a:lnTo>
                      <a:lnTo>
                        <a:pt x="206" y="741"/>
                      </a:lnTo>
                      <a:lnTo>
                        <a:pt x="204" y="741"/>
                      </a:lnTo>
                      <a:lnTo>
                        <a:pt x="206" y="739"/>
                      </a:lnTo>
                      <a:lnTo>
                        <a:pt x="204" y="739"/>
                      </a:lnTo>
                      <a:lnTo>
                        <a:pt x="204" y="737"/>
                      </a:lnTo>
                      <a:lnTo>
                        <a:pt x="206" y="737"/>
                      </a:lnTo>
                      <a:lnTo>
                        <a:pt x="204" y="737"/>
                      </a:lnTo>
                      <a:lnTo>
                        <a:pt x="204" y="736"/>
                      </a:lnTo>
                      <a:lnTo>
                        <a:pt x="204" y="734"/>
                      </a:lnTo>
                      <a:lnTo>
                        <a:pt x="206" y="734"/>
                      </a:lnTo>
                      <a:lnTo>
                        <a:pt x="206" y="732"/>
                      </a:lnTo>
                      <a:lnTo>
                        <a:pt x="204" y="732"/>
                      </a:lnTo>
                      <a:lnTo>
                        <a:pt x="204" y="731"/>
                      </a:lnTo>
                      <a:lnTo>
                        <a:pt x="204" y="729"/>
                      </a:lnTo>
                      <a:lnTo>
                        <a:pt x="202" y="729"/>
                      </a:lnTo>
                      <a:lnTo>
                        <a:pt x="204" y="729"/>
                      </a:lnTo>
                      <a:lnTo>
                        <a:pt x="202" y="729"/>
                      </a:lnTo>
                      <a:lnTo>
                        <a:pt x="202" y="728"/>
                      </a:lnTo>
                      <a:lnTo>
                        <a:pt x="201" y="726"/>
                      </a:lnTo>
                      <a:lnTo>
                        <a:pt x="199" y="726"/>
                      </a:lnTo>
                      <a:lnTo>
                        <a:pt x="201" y="726"/>
                      </a:lnTo>
                      <a:lnTo>
                        <a:pt x="199" y="726"/>
                      </a:lnTo>
                      <a:lnTo>
                        <a:pt x="199" y="724"/>
                      </a:lnTo>
                      <a:lnTo>
                        <a:pt x="199" y="723"/>
                      </a:lnTo>
                      <a:lnTo>
                        <a:pt x="197" y="723"/>
                      </a:lnTo>
                      <a:lnTo>
                        <a:pt x="197" y="721"/>
                      </a:lnTo>
                      <a:lnTo>
                        <a:pt x="197" y="723"/>
                      </a:lnTo>
                      <a:lnTo>
                        <a:pt x="197" y="721"/>
                      </a:lnTo>
                      <a:lnTo>
                        <a:pt x="196" y="721"/>
                      </a:lnTo>
                      <a:lnTo>
                        <a:pt x="196" y="723"/>
                      </a:lnTo>
                      <a:lnTo>
                        <a:pt x="194" y="723"/>
                      </a:lnTo>
                      <a:lnTo>
                        <a:pt x="194" y="721"/>
                      </a:lnTo>
                      <a:lnTo>
                        <a:pt x="192" y="723"/>
                      </a:lnTo>
                      <a:lnTo>
                        <a:pt x="192" y="721"/>
                      </a:lnTo>
                      <a:lnTo>
                        <a:pt x="192" y="723"/>
                      </a:lnTo>
                      <a:lnTo>
                        <a:pt x="192" y="721"/>
                      </a:lnTo>
                      <a:lnTo>
                        <a:pt x="190" y="721"/>
                      </a:lnTo>
                      <a:lnTo>
                        <a:pt x="190" y="719"/>
                      </a:lnTo>
                      <a:lnTo>
                        <a:pt x="190" y="718"/>
                      </a:lnTo>
                      <a:lnTo>
                        <a:pt x="190" y="716"/>
                      </a:lnTo>
                      <a:lnTo>
                        <a:pt x="190" y="714"/>
                      </a:lnTo>
                      <a:lnTo>
                        <a:pt x="189" y="714"/>
                      </a:lnTo>
                      <a:lnTo>
                        <a:pt x="189" y="713"/>
                      </a:lnTo>
                      <a:lnTo>
                        <a:pt x="187" y="713"/>
                      </a:lnTo>
                      <a:lnTo>
                        <a:pt x="187" y="711"/>
                      </a:lnTo>
                      <a:lnTo>
                        <a:pt x="185" y="711"/>
                      </a:lnTo>
                      <a:lnTo>
                        <a:pt x="184" y="709"/>
                      </a:lnTo>
                      <a:lnTo>
                        <a:pt x="184" y="711"/>
                      </a:lnTo>
                      <a:lnTo>
                        <a:pt x="184" y="709"/>
                      </a:lnTo>
                      <a:lnTo>
                        <a:pt x="182" y="709"/>
                      </a:lnTo>
                      <a:lnTo>
                        <a:pt x="184" y="709"/>
                      </a:lnTo>
                      <a:lnTo>
                        <a:pt x="184" y="708"/>
                      </a:lnTo>
                      <a:lnTo>
                        <a:pt x="182" y="708"/>
                      </a:lnTo>
                      <a:lnTo>
                        <a:pt x="180" y="708"/>
                      </a:lnTo>
                      <a:lnTo>
                        <a:pt x="180" y="706"/>
                      </a:lnTo>
                      <a:lnTo>
                        <a:pt x="180" y="705"/>
                      </a:lnTo>
                      <a:lnTo>
                        <a:pt x="179" y="705"/>
                      </a:lnTo>
                      <a:lnTo>
                        <a:pt x="179" y="703"/>
                      </a:lnTo>
                      <a:lnTo>
                        <a:pt x="179" y="705"/>
                      </a:lnTo>
                      <a:lnTo>
                        <a:pt x="179" y="703"/>
                      </a:lnTo>
                      <a:lnTo>
                        <a:pt x="179" y="705"/>
                      </a:lnTo>
                      <a:lnTo>
                        <a:pt x="177" y="705"/>
                      </a:lnTo>
                      <a:lnTo>
                        <a:pt x="177" y="703"/>
                      </a:lnTo>
                      <a:lnTo>
                        <a:pt x="177" y="705"/>
                      </a:lnTo>
                      <a:lnTo>
                        <a:pt x="167" y="718"/>
                      </a:lnTo>
                      <a:lnTo>
                        <a:pt x="167" y="716"/>
                      </a:lnTo>
                      <a:lnTo>
                        <a:pt x="165" y="716"/>
                      </a:lnTo>
                      <a:lnTo>
                        <a:pt x="165" y="714"/>
                      </a:lnTo>
                      <a:lnTo>
                        <a:pt x="163" y="714"/>
                      </a:lnTo>
                      <a:lnTo>
                        <a:pt x="163" y="713"/>
                      </a:lnTo>
                      <a:lnTo>
                        <a:pt x="162" y="713"/>
                      </a:lnTo>
                      <a:lnTo>
                        <a:pt x="160" y="713"/>
                      </a:lnTo>
                      <a:lnTo>
                        <a:pt x="160" y="714"/>
                      </a:lnTo>
                      <a:lnTo>
                        <a:pt x="160" y="713"/>
                      </a:lnTo>
                      <a:lnTo>
                        <a:pt x="158" y="713"/>
                      </a:lnTo>
                      <a:lnTo>
                        <a:pt x="157" y="713"/>
                      </a:lnTo>
                      <a:lnTo>
                        <a:pt x="157" y="711"/>
                      </a:lnTo>
                      <a:lnTo>
                        <a:pt x="157" y="709"/>
                      </a:lnTo>
                      <a:lnTo>
                        <a:pt x="158" y="709"/>
                      </a:lnTo>
                      <a:lnTo>
                        <a:pt x="158" y="708"/>
                      </a:lnTo>
                      <a:lnTo>
                        <a:pt x="157" y="708"/>
                      </a:lnTo>
                      <a:lnTo>
                        <a:pt x="157" y="706"/>
                      </a:lnTo>
                      <a:lnTo>
                        <a:pt x="155" y="706"/>
                      </a:lnTo>
                      <a:lnTo>
                        <a:pt x="153" y="703"/>
                      </a:lnTo>
                      <a:lnTo>
                        <a:pt x="152" y="703"/>
                      </a:lnTo>
                      <a:lnTo>
                        <a:pt x="152" y="705"/>
                      </a:lnTo>
                      <a:lnTo>
                        <a:pt x="150" y="705"/>
                      </a:lnTo>
                      <a:lnTo>
                        <a:pt x="150" y="706"/>
                      </a:lnTo>
                      <a:lnTo>
                        <a:pt x="148" y="708"/>
                      </a:lnTo>
                      <a:lnTo>
                        <a:pt x="147" y="708"/>
                      </a:lnTo>
                      <a:lnTo>
                        <a:pt x="147" y="709"/>
                      </a:lnTo>
                      <a:lnTo>
                        <a:pt x="145" y="709"/>
                      </a:lnTo>
                      <a:lnTo>
                        <a:pt x="145" y="711"/>
                      </a:lnTo>
                      <a:lnTo>
                        <a:pt x="143" y="709"/>
                      </a:lnTo>
                      <a:lnTo>
                        <a:pt x="143" y="711"/>
                      </a:lnTo>
                      <a:lnTo>
                        <a:pt x="141" y="713"/>
                      </a:lnTo>
                      <a:lnTo>
                        <a:pt x="141" y="714"/>
                      </a:lnTo>
                      <a:lnTo>
                        <a:pt x="141" y="716"/>
                      </a:lnTo>
                      <a:lnTo>
                        <a:pt x="140" y="716"/>
                      </a:lnTo>
                      <a:lnTo>
                        <a:pt x="140" y="718"/>
                      </a:lnTo>
                      <a:lnTo>
                        <a:pt x="138" y="719"/>
                      </a:lnTo>
                      <a:lnTo>
                        <a:pt x="138" y="721"/>
                      </a:lnTo>
                      <a:lnTo>
                        <a:pt x="138" y="723"/>
                      </a:lnTo>
                      <a:lnTo>
                        <a:pt x="136" y="723"/>
                      </a:lnTo>
                      <a:lnTo>
                        <a:pt x="136" y="724"/>
                      </a:lnTo>
                      <a:lnTo>
                        <a:pt x="135" y="724"/>
                      </a:lnTo>
                      <a:lnTo>
                        <a:pt x="135" y="726"/>
                      </a:lnTo>
                      <a:lnTo>
                        <a:pt x="135" y="728"/>
                      </a:lnTo>
                      <a:lnTo>
                        <a:pt x="133" y="728"/>
                      </a:lnTo>
                      <a:lnTo>
                        <a:pt x="133" y="729"/>
                      </a:lnTo>
                      <a:lnTo>
                        <a:pt x="131" y="729"/>
                      </a:lnTo>
                      <a:lnTo>
                        <a:pt x="131" y="731"/>
                      </a:lnTo>
                      <a:lnTo>
                        <a:pt x="131" y="732"/>
                      </a:lnTo>
                      <a:lnTo>
                        <a:pt x="133" y="732"/>
                      </a:lnTo>
                      <a:lnTo>
                        <a:pt x="133" y="734"/>
                      </a:lnTo>
                      <a:lnTo>
                        <a:pt x="131" y="734"/>
                      </a:lnTo>
                      <a:lnTo>
                        <a:pt x="131" y="736"/>
                      </a:lnTo>
                      <a:lnTo>
                        <a:pt x="131" y="737"/>
                      </a:lnTo>
                      <a:lnTo>
                        <a:pt x="133" y="737"/>
                      </a:lnTo>
                      <a:lnTo>
                        <a:pt x="133" y="739"/>
                      </a:lnTo>
                      <a:lnTo>
                        <a:pt x="131" y="739"/>
                      </a:lnTo>
                      <a:lnTo>
                        <a:pt x="133" y="741"/>
                      </a:lnTo>
                      <a:lnTo>
                        <a:pt x="131" y="741"/>
                      </a:lnTo>
                      <a:lnTo>
                        <a:pt x="133" y="742"/>
                      </a:lnTo>
                      <a:lnTo>
                        <a:pt x="133" y="744"/>
                      </a:lnTo>
                      <a:lnTo>
                        <a:pt x="133" y="746"/>
                      </a:lnTo>
                      <a:lnTo>
                        <a:pt x="131" y="746"/>
                      </a:lnTo>
                      <a:lnTo>
                        <a:pt x="130" y="747"/>
                      </a:lnTo>
                      <a:lnTo>
                        <a:pt x="118" y="741"/>
                      </a:lnTo>
                      <a:lnTo>
                        <a:pt x="79" y="719"/>
                      </a:lnTo>
                      <a:lnTo>
                        <a:pt x="79" y="718"/>
                      </a:lnTo>
                      <a:lnTo>
                        <a:pt x="77" y="718"/>
                      </a:lnTo>
                      <a:lnTo>
                        <a:pt x="76" y="718"/>
                      </a:lnTo>
                      <a:lnTo>
                        <a:pt x="74" y="718"/>
                      </a:lnTo>
                      <a:lnTo>
                        <a:pt x="72" y="716"/>
                      </a:lnTo>
                      <a:lnTo>
                        <a:pt x="71" y="716"/>
                      </a:lnTo>
                      <a:lnTo>
                        <a:pt x="69" y="716"/>
                      </a:lnTo>
                      <a:lnTo>
                        <a:pt x="69" y="714"/>
                      </a:lnTo>
                      <a:lnTo>
                        <a:pt x="67" y="716"/>
                      </a:lnTo>
                      <a:lnTo>
                        <a:pt x="65" y="716"/>
                      </a:lnTo>
                      <a:lnTo>
                        <a:pt x="65" y="714"/>
                      </a:lnTo>
                      <a:lnTo>
                        <a:pt x="64" y="714"/>
                      </a:lnTo>
                      <a:lnTo>
                        <a:pt x="64" y="713"/>
                      </a:lnTo>
                      <a:lnTo>
                        <a:pt x="62" y="713"/>
                      </a:lnTo>
                      <a:lnTo>
                        <a:pt x="60" y="713"/>
                      </a:lnTo>
                      <a:lnTo>
                        <a:pt x="59" y="713"/>
                      </a:lnTo>
                      <a:lnTo>
                        <a:pt x="57" y="713"/>
                      </a:lnTo>
                      <a:lnTo>
                        <a:pt x="55" y="713"/>
                      </a:lnTo>
                      <a:lnTo>
                        <a:pt x="55" y="711"/>
                      </a:lnTo>
                      <a:lnTo>
                        <a:pt x="54" y="711"/>
                      </a:lnTo>
                      <a:lnTo>
                        <a:pt x="54" y="713"/>
                      </a:lnTo>
                      <a:lnTo>
                        <a:pt x="54" y="711"/>
                      </a:lnTo>
                      <a:lnTo>
                        <a:pt x="54" y="713"/>
                      </a:lnTo>
                      <a:lnTo>
                        <a:pt x="52" y="711"/>
                      </a:lnTo>
                      <a:lnTo>
                        <a:pt x="50" y="711"/>
                      </a:lnTo>
                      <a:lnTo>
                        <a:pt x="50" y="709"/>
                      </a:lnTo>
                      <a:lnTo>
                        <a:pt x="50" y="711"/>
                      </a:lnTo>
                      <a:lnTo>
                        <a:pt x="50" y="709"/>
                      </a:lnTo>
                      <a:lnTo>
                        <a:pt x="49" y="709"/>
                      </a:lnTo>
                      <a:lnTo>
                        <a:pt x="49" y="708"/>
                      </a:lnTo>
                      <a:lnTo>
                        <a:pt x="47" y="708"/>
                      </a:lnTo>
                      <a:lnTo>
                        <a:pt x="45" y="708"/>
                      </a:lnTo>
                      <a:lnTo>
                        <a:pt x="45" y="706"/>
                      </a:lnTo>
                      <a:lnTo>
                        <a:pt x="44" y="708"/>
                      </a:lnTo>
                      <a:lnTo>
                        <a:pt x="44" y="706"/>
                      </a:lnTo>
                      <a:lnTo>
                        <a:pt x="44" y="708"/>
                      </a:lnTo>
                      <a:lnTo>
                        <a:pt x="44" y="706"/>
                      </a:lnTo>
                      <a:lnTo>
                        <a:pt x="42" y="706"/>
                      </a:lnTo>
                      <a:lnTo>
                        <a:pt x="42" y="705"/>
                      </a:lnTo>
                      <a:lnTo>
                        <a:pt x="42" y="703"/>
                      </a:lnTo>
                      <a:lnTo>
                        <a:pt x="40" y="703"/>
                      </a:lnTo>
                      <a:lnTo>
                        <a:pt x="42" y="701"/>
                      </a:lnTo>
                      <a:lnTo>
                        <a:pt x="42" y="700"/>
                      </a:lnTo>
                      <a:lnTo>
                        <a:pt x="42" y="698"/>
                      </a:lnTo>
                      <a:lnTo>
                        <a:pt x="44" y="698"/>
                      </a:lnTo>
                      <a:lnTo>
                        <a:pt x="44" y="696"/>
                      </a:lnTo>
                      <a:lnTo>
                        <a:pt x="44" y="695"/>
                      </a:lnTo>
                      <a:lnTo>
                        <a:pt x="42" y="695"/>
                      </a:lnTo>
                      <a:lnTo>
                        <a:pt x="42" y="693"/>
                      </a:lnTo>
                      <a:lnTo>
                        <a:pt x="42" y="691"/>
                      </a:lnTo>
                      <a:lnTo>
                        <a:pt x="42" y="693"/>
                      </a:lnTo>
                      <a:lnTo>
                        <a:pt x="44" y="693"/>
                      </a:lnTo>
                      <a:lnTo>
                        <a:pt x="44" y="691"/>
                      </a:lnTo>
                      <a:lnTo>
                        <a:pt x="44" y="693"/>
                      </a:lnTo>
                      <a:lnTo>
                        <a:pt x="45" y="693"/>
                      </a:lnTo>
                      <a:lnTo>
                        <a:pt x="45" y="691"/>
                      </a:lnTo>
                      <a:lnTo>
                        <a:pt x="45" y="690"/>
                      </a:lnTo>
                      <a:lnTo>
                        <a:pt x="45" y="688"/>
                      </a:lnTo>
                      <a:lnTo>
                        <a:pt x="45" y="687"/>
                      </a:lnTo>
                      <a:lnTo>
                        <a:pt x="47" y="687"/>
                      </a:lnTo>
                      <a:lnTo>
                        <a:pt x="47" y="688"/>
                      </a:lnTo>
                      <a:lnTo>
                        <a:pt x="47" y="687"/>
                      </a:lnTo>
                      <a:lnTo>
                        <a:pt x="49" y="687"/>
                      </a:lnTo>
                      <a:lnTo>
                        <a:pt x="47" y="687"/>
                      </a:lnTo>
                      <a:lnTo>
                        <a:pt x="47" y="685"/>
                      </a:lnTo>
                      <a:lnTo>
                        <a:pt x="47" y="683"/>
                      </a:lnTo>
                      <a:lnTo>
                        <a:pt x="49" y="683"/>
                      </a:lnTo>
                      <a:lnTo>
                        <a:pt x="50" y="683"/>
                      </a:lnTo>
                      <a:lnTo>
                        <a:pt x="50" y="682"/>
                      </a:lnTo>
                      <a:lnTo>
                        <a:pt x="52" y="682"/>
                      </a:lnTo>
                      <a:lnTo>
                        <a:pt x="52" y="680"/>
                      </a:lnTo>
                      <a:lnTo>
                        <a:pt x="50" y="680"/>
                      </a:lnTo>
                      <a:lnTo>
                        <a:pt x="50" y="682"/>
                      </a:lnTo>
                      <a:lnTo>
                        <a:pt x="50" y="680"/>
                      </a:lnTo>
                      <a:lnTo>
                        <a:pt x="49" y="680"/>
                      </a:lnTo>
                      <a:lnTo>
                        <a:pt x="49" y="678"/>
                      </a:lnTo>
                      <a:lnTo>
                        <a:pt x="49" y="677"/>
                      </a:lnTo>
                      <a:lnTo>
                        <a:pt x="50" y="677"/>
                      </a:lnTo>
                      <a:lnTo>
                        <a:pt x="50" y="675"/>
                      </a:lnTo>
                      <a:lnTo>
                        <a:pt x="50" y="673"/>
                      </a:lnTo>
                      <a:lnTo>
                        <a:pt x="50" y="672"/>
                      </a:lnTo>
                      <a:lnTo>
                        <a:pt x="52" y="672"/>
                      </a:lnTo>
                      <a:lnTo>
                        <a:pt x="54" y="672"/>
                      </a:lnTo>
                      <a:lnTo>
                        <a:pt x="54" y="670"/>
                      </a:lnTo>
                      <a:lnTo>
                        <a:pt x="55" y="670"/>
                      </a:lnTo>
                      <a:lnTo>
                        <a:pt x="55" y="668"/>
                      </a:lnTo>
                      <a:lnTo>
                        <a:pt x="55" y="667"/>
                      </a:lnTo>
                      <a:lnTo>
                        <a:pt x="57" y="665"/>
                      </a:lnTo>
                      <a:lnTo>
                        <a:pt x="55" y="667"/>
                      </a:lnTo>
                      <a:lnTo>
                        <a:pt x="54" y="667"/>
                      </a:lnTo>
                      <a:lnTo>
                        <a:pt x="54" y="668"/>
                      </a:lnTo>
                      <a:lnTo>
                        <a:pt x="52" y="668"/>
                      </a:lnTo>
                      <a:lnTo>
                        <a:pt x="52" y="667"/>
                      </a:lnTo>
                      <a:lnTo>
                        <a:pt x="52" y="668"/>
                      </a:lnTo>
                      <a:lnTo>
                        <a:pt x="54" y="668"/>
                      </a:lnTo>
                      <a:lnTo>
                        <a:pt x="52" y="670"/>
                      </a:lnTo>
                      <a:lnTo>
                        <a:pt x="50" y="670"/>
                      </a:lnTo>
                      <a:lnTo>
                        <a:pt x="50" y="672"/>
                      </a:lnTo>
                      <a:lnTo>
                        <a:pt x="49" y="670"/>
                      </a:lnTo>
                      <a:lnTo>
                        <a:pt x="49" y="672"/>
                      </a:lnTo>
                      <a:lnTo>
                        <a:pt x="47" y="672"/>
                      </a:lnTo>
                      <a:lnTo>
                        <a:pt x="45" y="673"/>
                      </a:lnTo>
                      <a:lnTo>
                        <a:pt x="44" y="673"/>
                      </a:lnTo>
                      <a:lnTo>
                        <a:pt x="44" y="675"/>
                      </a:lnTo>
                      <a:lnTo>
                        <a:pt x="42" y="675"/>
                      </a:lnTo>
                      <a:lnTo>
                        <a:pt x="40" y="675"/>
                      </a:lnTo>
                      <a:lnTo>
                        <a:pt x="40" y="677"/>
                      </a:lnTo>
                      <a:lnTo>
                        <a:pt x="40" y="678"/>
                      </a:lnTo>
                      <a:lnTo>
                        <a:pt x="40" y="677"/>
                      </a:lnTo>
                      <a:lnTo>
                        <a:pt x="38" y="677"/>
                      </a:lnTo>
                      <a:lnTo>
                        <a:pt x="38" y="678"/>
                      </a:lnTo>
                      <a:lnTo>
                        <a:pt x="37" y="678"/>
                      </a:lnTo>
                      <a:lnTo>
                        <a:pt x="37" y="680"/>
                      </a:lnTo>
                      <a:lnTo>
                        <a:pt x="35" y="680"/>
                      </a:lnTo>
                      <a:lnTo>
                        <a:pt x="37" y="680"/>
                      </a:lnTo>
                      <a:lnTo>
                        <a:pt x="35" y="680"/>
                      </a:lnTo>
                      <a:lnTo>
                        <a:pt x="35" y="682"/>
                      </a:lnTo>
                      <a:lnTo>
                        <a:pt x="35" y="683"/>
                      </a:lnTo>
                      <a:lnTo>
                        <a:pt x="33" y="683"/>
                      </a:lnTo>
                      <a:lnTo>
                        <a:pt x="32" y="685"/>
                      </a:lnTo>
                      <a:lnTo>
                        <a:pt x="33" y="685"/>
                      </a:lnTo>
                      <a:lnTo>
                        <a:pt x="33" y="687"/>
                      </a:lnTo>
                      <a:lnTo>
                        <a:pt x="32" y="687"/>
                      </a:lnTo>
                      <a:lnTo>
                        <a:pt x="30" y="687"/>
                      </a:lnTo>
                      <a:lnTo>
                        <a:pt x="30" y="688"/>
                      </a:lnTo>
                      <a:lnTo>
                        <a:pt x="32" y="690"/>
                      </a:lnTo>
                      <a:lnTo>
                        <a:pt x="30" y="690"/>
                      </a:lnTo>
                      <a:lnTo>
                        <a:pt x="30" y="688"/>
                      </a:lnTo>
                      <a:lnTo>
                        <a:pt x="28" y="690"/>
                      </a:lnTo>
                      <a:lnTo>
                        <a:pt x="30" y="690"/>
                      </a:lnTo>
                      <a:lnTo>
                        <a:pt x="28" y="690"/>
                      </a:lnTo>
                      <a:lnTo>
                        <a:pt x="28" y="691"/>
                      </a:lnTo>
                      <a:lnTo>
                        <a:pt x="30" y="691"/>
                      </a:lnTo>
                      <a:lnTo>
                        <a:pt x="28" y="691"/>
                      </a:lnTo>
                      <a:lnTo>
                        <a:pt x="28" y="693"/>
                      </a:lnTo>
                      <a:lnTo>
                        <a:pt x="30" y="693"/>
                      </a:lnTo>
                      <a:lnTo>
                        <a:pt x="28" y="693"/>
                      </a:lnTo>
                      <a:lnTo>
                        <a:pt x="27" y="693"/>
                      </a:lnTo>
                      <a:lnTo>
                        <a:pt x="27" y="695"/>
                      </a:lnTo>
                      <a:lnTo>
                        <a:pt x="25" y="695"/>
                      </a:lnTo>
                      <a:lnTo>
                        <a:pt x="27" y="696"/>
                      </a:lnTo>
                      <a:lnTo>
                        <a:pt x="27" y="698"/>
                      </a:lnTo>
                      <a:lnTo>
                        <a:pt x="25" y="698"/>
                      </a:lnTo>
                      <a:lnTo>
                        <a:pt x="25" y="700"/>
                      </a:lnTo>
                      <a:lnTo>
                        <a:pt x="25" y="698"/>
                      </a:lnTo>
                      <a:lnTo>
                        <a:pt x="27" y="700"/>
                      </a:lnTo>
                      <a:lnTo>
                        <a:pt x="25" y="700"/>
                      </a:lnTo>
                      <a:lnTo>
                        <a:pt x="25" y="701"/>
                      </a:lnTo>
                      <a:lnTo>
                        <a:pt x="23" y="701"/>
                      </a:lnTo>
                      <a:lnTo>
                        <a:pt x="23" y="703"/>
                      </a:lnTo>
                      <a:lnTo>
                        <a:pt x="25" y="705"/>
                      </a:lnTo>
                      <a:lnTo>
                        <a:pt x="23" y="705"/>
                      </a:lnTo>
                      <a:lnTo>
                        <a:pt x="23" y="706"/>
                      </a:lnTo>
                      <a:lnTo>
                        <a:pt x="23" y="708"/>
                      </a:lnTo>
                      <a:lnTo>
                        <a:pt x="22" y="708"/>
                      </a:lnTo>
                      <a:lnTo>
                        <a:pt x="22" y="709"/>
                      </a:lnTo>
                      <a:lnTo>
                        <a:pt x="22" y="708"/>
                      </a:lnTo>
                      <a:lnTo>
                        <a:pt x="22" y="706"/>
                      </a:lnTo>
                      <a:lnTo>
                        <a:pt x="20" y="708"/>
                      </a:lnTo>
                      <a:lnTo>
                        <a:pt x="18" y="708"/>
                      </a:lnTo>
                      <a:lnTo>
                        <a:pt x="16" y="708"/>
                      </a:lnTo>
                      <a:lnTo>
                        <a:pt x="15" y="706"/>
                      </a:lnTo>
                      <a:lnTo>
                        <a:pt x="13" y="706"/>
                      </a:lnTo>
                      <a:lnTo>
                        <a:pt x="13" y="705"/>
                      </a:lnTo>
                      <a:lnTo>
                        <a:pt x="15" y="705"/>
                      </a:lnTo>
                      <a:lnTo>
                        <a:pt x="15" y="703"/>
                      </a:lnTo>
                      <a:lnTo>
                        <a:pt x="13" y="703"/>
                      </a:lnTo>
                      <a:lnTo>
                        <a:pt x="13" y="705"/>
                      </a:lnTo>
                      <a:lnTo>
                        <a:pt x="11" y="705"/>
                      </a:lnTo>
                      <a:lnTo>
                        <a:pt x="11" y="703"/>
                      </a:lnTo>
                      <a:lnTo>
                        <a:pt x="11" y="701"/>
                      </a:lnTo>
                      <a:lnTo>
                        <a:pt x="10" y="701"/>
                      </a:lnTo>
                      <a:lnTo>
                        <a:pt x="10" y="700"/>
                      </a:lnTo>
                      <a:lnTo>
                        <a:pt x="11" y="700"/>
                      </a:lnTo>
                      <a:lnTo>
                        <a:pt x="11" y="698"/>
                      </a:lnTo>
                      <a:lnTo>
                        <a:pt x="11" y="696"/>
                      </a:lnTo>
                      <a:lnTo>
                        <a:pt x="10" y="696"/>
                      </a:lnTo>
                      <a:lnTo>
                        <a:pt x="10" y="695"/>
                      </a:lnTo>
                      <a:lnTo>
                        <a:pt x="8" y="693"/>
                      </a:lnTo>
                      <a:lnTo>
                        <a:pt x="8" y="691"/>
                      </a:lnTo>
                      <a:lnTo>
                        <a:pt x="10" y="691"/>
                      </a:lnTo>
                      <a:lnTo>
                        <a:pt x="10" y="690"/>
                      </a:lnTo>
                      <a:lnTo>
                        <a:pt x="8" y="690"/>
                      </a:lnTo>
                      <a:lnTo>
                        <a:pt x="6" y="690"/>
                      </a:lnTo>
                      <a:lnTo>
                        <a:pt x="5" y="690"/>
                      </a:lnTo>
                      <a:lnTo>
                        <a:pt x="3" y="688"/>
                      </a:lnTo>
                      <a:lnTo>
                        <a:pt x="3" y="687"/>
                      </a:lnTo>
                      <a:lnTo>
                        <a:pt x="3" y="685"/>
                      </a:lnTo>
                      <a:lnTo>
                        <a:pt x="5" y="685"/>
                      </a:lnTo>
                      <a:lnTo>
                        <a:pt x="6" y="685"/>
                      </a:lnTo>
                      <a:lnTo>
                        <a:pt x="6" y="683"/>
                      </a:lnTo>
                      <a:lnTo>
                        <a:pt x="5" y="682"/>
                      </a:lnTo>
                      <a:lnTo>
                        <a:pt x="6" y="680"/>
                      </a:lnTo>
                      <a:lnTo>
                        <a:pt x="8" y="678"/>
                      </a:lnTo>
                      <a:lnTo>
                        <a:pt x="8" y="677"/>
                      </a:lnTo>
                      <a:lnTo>
                        <a:pt x="8" y="675"/>
                      </a:lnTo>
                      <a:lnTo>
                        <a:pt x="10" y="673"/>
                      </a:lnTo>
                      <a:lnTo>
                        <a:pt x="8" y="672"/>
                      </a:lnTo>
                      <a:lnTo>
                        <a:pt x="10" y="672"/>
                      </a:lnTo>
                      <a:lnTo>
                        <a:pt x="11" y="672"/>
                      </a:lnTo>
                      <a:lnTo>
                        <a:pt x="11" y="670"/>
                      </a:lnTo>
                      <a:lnTo>
                        <a:pt x="11" y="668"/>
                      </a:lnTo>
                      <a:lnTo>
                        <a:pt x="10" y="668"/>
                      </a:lnTo>
                      <a:lnTo>
                        <a:pt x="10" y="667"/>
                      </a:lnTo>
                      <a:lnTo>
                        <a:pt x="11" y="667"/>
                      </a:lnTo>
                      <a:lnTo>
                        <a:pt x="11" y="665"/>
                      </a:lnTo>
                      <a:lnTo>
                        <a:pt x="10" y="664"/>
                      </a:lnTo>
                      <a:lnTo>
                        <a:pt x="10" y="662"/>
                      </a:lnTo>
                      <a:lnTo>
                        <a:pt x="10" y="660"/>
                      </a:lnTo>
                      <a:lnTo>
                        <a:pt x="10" y="659"/>
                      </a:lnTo>
                      <a:lnTo>
                        <a:pt x="10" y="657"/>
                      </a:lnTo>
                      <a:lnTo>
                        <a:pt x="8" y="657"/>
                      </a:lnTo>
                      <a:lnTo>
                        <a:pt x="10" y="657"/>
                      </a:lnTo>
                      <a:lnTo>
                        <a:pt x="10" y="655"/>
                      </a:lnTo>
                      <a:lnTo>
                        <a:pt x="10" y="654"/>
                      </a:lnTo>
                      <a:lnTo>
                        <a:pt x="8" y="652"/>
                      </a:lnTo>
                      <a:lnTo>
                        <a:pt x="8" y="650"/>
                      </a:lnTo>
                      <a:lnTo>
                        <a:pt x="10" y="650"/>
                      </a:lnTo>
                      <a:lnTo>
                        <a:pt x="8" y="650"/>
                      </a:lnTo>
                      <a:lnTo>
                        <a:pt x="6" y="650"/>
                      </a:lnTo>
                      <a:lnTo>
                        <a:pt x="6" y="649"/>
                      </a:lnTo>
                      <a:lnTo>
                        <a:pt x="5" y="649"/>
                      </a:lnTo>
                      <a:lnTo>
                        <a:pt x="6" y="647"/>
                      </a:lnTo>
                      <a:lnTo>
                        <a:pt x="6" y="645"/>
                      </a:lnTo>
                      <a:lnTo>
                        <a:pt x="6" y="644"/>
                      </a:lnTo>
                      <a:lnTo>
                        <a:pt x="6" y="642"/>
                      </a:lnTo>
                      <a:lnTo>
                        <a:pt x="6" y="641"/>
                      </a:lnTo>
                      <a:lnTo>
                        <a:pt x="6" y="639"/>
                      </a:lnTo>
                      <a:lnTo>
                        <a:pt x="6" y="637"/>
                      </a:lnTo>
                      <a:lnTo>
                        <a:pt x="6" y="636"/>
                      </a:lnTo>
                      <a:lnTo>
                        <a:pt x="6" y="634"/>
                      </a:lnTo>
                      <a:lnTo>
                        <a:pt x="5" y="634"/>
                      </a:lnTo>
                      <a:lnTo>
                        <a:pt x="5" y="632"/>
                      </a:lnTo>
                      <a:lnTo>
                        <a:pt x="6" y="632"/>
                      </a:lnTo>
                      <a:lnTo>
                        <a:pt x="6" y="631"/>
                      </a:lnTo>
                      <a:lnTo>
                        <a:pt x="5" y="631"/>
                      </a:lnTo>
                      <a:lnTo>
                        <a:pt x="5" y="629"/>
                      </a:lnTo>
                      <a:lnTo>
                        <a:pt x="6" y="629"/>
                      </a:lnTo>
                      <a:lnTo>
                        <a:pt x="6" y="627"/>
                      </a:lnTo>
                      <a:lnTo>
                        <a:pt x="8" y="627"/>
                      </a:lnTo>
                      <a:lnTo>
                        <a:pt x="8" y="626"/>
                      </a:lnTo>
                      <a:lnTo>
                        <a:pt x="8" y="624"/>
                      </a:lnTo>
                      <a:lnTo>
                        <a:pt x="6" y="622"/>
                      </a:lnTo>
                      <a:lnTo>
                        <a:pt x="8" y="621"/>
                      </a:lnTo>
                      <a:lnTo>
                        <a:pt x="10" y="621"/>
                      </a:lnTo>
                      <a:lnTo>
                        <a:pt x="10" y="619"/>
                      </a:lnTo>
                      <a:lnTo>
                        <a:pt x="10" y="618"/>
                      </a:lnTo>
                      <a:lnTo>
                        <a:pt x="8" y="618"/>
                      </a:lnTo>
                      <a:lnTo>
                        <a:pt x="6" y="618"/>
                      </a:lnTo>
                      <a:lnTo>
                        <a:pt x="5" y="618"/>
                      </a:lnTo>
                      <a:lnTo>
                        <a:pt x="5" y="616"/>
                      </a:lnTo>
                      <a:lnTo>
                        <a:pt x="5" y="614"/>
                      </a:lnTo>
                      <a:lnTo>
                        <a:pt x="5" y="613"/>
                      </a:lnTo>
                      <a:lnTo>
                        <a:pt x="3" y="611"/>
                      </a:lnTo>
                      <a:lnTo>
                        <a:pt x="3" y="608"/>
                      </a:lnTo>
                      <a:lnTo>
                        <a:pt x="3" y="606"/>
                      </a:lnTo>
                      <a:lnTo>
                        <a:pt x="1" y="606"/>
                      </a:lnTo>
                      <a:lnTo>
                        <a:pt x="1" y="604"/>
                      </a:lnTo>
                      <a:lnTo>
                        <a:pt x="3" y="604"/>
                      </a:lnTo>
                      <a:lnTo>
                        <a:pt x="3" y="603"/>
                      </a:lnTo>
                      <a:lnTo>
                        <a:pt x="5" y="603"/>
                      </a:lnTo>
                      <a:lnTo>
                        <a:pt x="5" y="601"/>
                      </a:lnTo>
                      <a:lnTo>
                        <a:pt x="6" y="601"/>
                      </a:lnTo>
                      <a:lnTo>
                        <a:pt x="8" y="599"/>
                      </a:lnTo>
                      <a:lnTo>
                        <a:pt x="8" y="598"/>
                      </a:lnTo>
                      <a:lnTo>
                        <a:pt x="8" y="596"/>
                      </a:lnTo>
                      <a:lnTo>
                        <a:pt x="8" y="595"/>
                      </a:lnTo>
                      <a:lnTo>
                        <a:pt x="6" y="595"/>
                      </a:lnTo>
                      <a:lnTo>
                        <a:pt x="8" y="595"/>
                      </a:lnTo>
                      <a:lnTo>
                        <a:pt x="8" y="593"/>
                      </a:lnTo>
                      <a:lnTo>
                        <a:pt x="8" y="591"/>
                      </a:lnTo>
                      <a:lnTo>
                        <a:pt x="6" y="591"/>
                      </a:lnTo>
                      <a:lnTo>
                        <a:pt x="5" y="591"/>
                      </a:lnTo>
                      <a:lnTo>
                        <a:pt x="3" y="591"/>
                      </a:lnTo>
                      <a:lnTo>
                        <a:pt x="1" y="590"/>
                      </a:lnTo>
                      <a:lnTo>
                        <a:pt x="1" y="588"/>
                      </a:lnTo>
                      <a:lnTo>
                        <a:pt x="0" y="588"/>
                      </a:lnTo>
                      <a:lnTo>
                        <a:pt x="0" y="586"/>
                      </a:lnTo>
                      <a:lnTo>
                        <a:pt x="1" y="585"/>
                      </a:lnTo>
                      <a:lnTo>
                        <a:pt x="0" y="583"/>
                      </a:lnTo>
                      <a:lnTo>
                        <a:pt x="0" y="581"/>
                      </a:lnTo>
                      <a:lnTo>
                        <a:pt x="0" y="580"/>
                      </a:lnTo>
                      <a:lnTo>
                        <a:pt x="0" y="578"/>
                      </a:lnTo>
                      <a:lnTo>
                        <a:pt x="1" y="576"/>
                      </a:lnTo>
                      <a:lnTo>
                        <a:pt x="1" y="575"/>
                      </a:lnTo>
                      <a:lnTo>
                        <a:pt x="1" y="573"/>
                      </a:lnTo>
                      <a:lnTo>
                        <a:pt x="3" y="572"/>
                      </a:lnTo>
                      <a:lnTo>
                        <a:pt x="3" y="570"/>
                      </a:lnTo>
                      <a:lnTo>
                        <a:pt x="3" y="568"/>
                      </a:lnTo>
                      <a:lnTo>
                        <a:pt x="5" y="567"/>
                      </a:lnTo>
                      <a:lnTo>
                        <a:pt x="5" y="565"/>
                      </a:lnTo>
                      <a:lnTo>
                        <a:pt x="6" y="565"/>
                      </a:lnTo>
                      <a:lnTo>
                        <a:pt x="6" y="563"/>
                      </a:lnTo>
                      <a:lnTo>
                        <a:pt x="6" y="562"/>
                      </a:lnTo>
                      <a:lnTo>
                        <a:pt x="8" y="560"/>
                      </a:lnTo>
                      <a:lnTo>
                        <a:pt x="8" y="557"/>
                      </a:lnTo>
                      <a:lnTo>
                        <a:pt x="8" y="555"/>
                      </a:lnTo>
                      <a:lnTo>
                        <a:pt x="6" y="552"/>
                      </a:lnTo>
                      <a:lnTo>
                        <a:pt x="8" y="552"/>
                      </a:lnTo>
                      <a:lnTo>
                        <a:pt x="8" y="550"/>
                      </a:lnTo>
                      <a:lnTo>
                        <a:pt x="8" y="549"/>
                      </a:lnTo>
                      <a:lnTo>
                        <a:pt x="10" y="549"/>
                      </a:lnTo>
                      <a:lnTo>
                        <a:pt x="10" y="547"/>
                      </a:lnTo>
                      <a:lnTo>
                        <a:pt x="10" y="545"/>
                      </a:lnTo>
                      <a:lnTo>
                        <a:pt x="11" y="545"/>
                      </a:lnTo>
                      <a:lnTo>
                        <a:pt x="11" y="544"/>
                      </a:lnTo>
                      <a:lnTo>
                        <a:pt x="13" y="544"/>
                      </a:lnTo>
                      <a:lnTo>
                        <a:pt x="11" y="542"/>
                      </a:lnTo>
                      <a:lnTo>
                        <a:pt x="11" y="540"/>
                      </a:lnTo>
                      <a:lnTo>
                        <a:pt x="11" y="539"/>
                      </a:lnTo>
                      <a:lnTo>
                        <a:pt x="11" y="537"/>
                      </a:lnTo>
                      <a:lnTo>
                        <a:pt x="11" y="535"/>
                      </a:lnTo>
                      <a:lnTo>
                        <a:pt x="11" y="534"/>
                      </a:lnTo>
                      <a:lnTo>
                        <a:pt x="11" y="532"/>
                      </a:lnTo>
                      <a:lnTo>
                        <a:pt x="10" y="532"/>
                      </a:lnTo>
                      <a:lnTo>
                        <a:pt x="10" y="530"/>
                      </a:lnTo>
                      <a:lnTo>
                        <a:pt x="11" y="529"/>
                      </a:lnTo>
                      <a:lnTo>
                        <a:pt x="13" y="529"/>
                      </a:lnTo>
                      <a:lnTo>
                        <a:pt x="13" y="527"/>
                      </a:lnTo>
                      <a:lnTo>
                        <a:pt x="13" y="526"/>
                      </a:lnTo>
                      <a:lnTo>
                        <a:pt x="11" y="526"/>
                      </a:lnTo>
                      <a:lnTo>
                        <a:pt x="11" y="524"/>
                      </a:lnTo>
                      <a:lnTo>
                        <a:pt x="11" y="522"/>
                      </a:lnTo>
                      <a:lnTo>
                        <a:pt x="11" y="521"/>
                      </a:lnTo>
                      <a:lnTo>
                        <a:pt x="11" y="519"/>
                      </a:lnTo>
                      <a:lnTo>
                        <a:pt x="13" y="519"/>
                      </a:lnTo>
                      <a:lnTo>
                        <a:pt x="15" y="519"/>
                      </a:lnTo>
                      <a:lnTo>
                        <a:pt x="15" y="517"/>
                      </a:lnTo>
                      <a:lnTo>
                        <a:pt x="15" y="516"/>
                      </a:lnTo>
                      <a:lnTo>
                        <a:pt x="16" y="516"/>
                      </a:lnTo>
                      <a:lnTo>
                        <a:pt x="16" y="514"/>
                      </a:lnTo>
                      <a:lnTo>
                        <a:pt x="15" y="512"/>
                      </a:lnTo>
                      <a:lnTo>
                        <a:pt x="15" y="511"/>
                      </a:lnTo>
                      <a:lnTo>
                        <a:pt x="15" y="509"/>
                      </a:lnTo>
                      <a:lnTo>
                        <a:pt x="15" y="507"/>
                      </a:lnTo>
                      <a:lnTo>
                        <a:pt x="13" y="507"/>
                      </a:lnTo>
                      <a:lnTo>
                        <a:pt x="13" y="506"/>
                      </a:lnTo>
                      <a:lnTo>
                        <a:pt x="15" y="504"/>
                      </a:lnTo>
                      <a:lnTo>
                        <a:pt x="15" y="503"/>
                      </a:lnTo>
                      <a:lnTo>
                        <a:pt x="16" y="503"/>
                      </a:lnTo>
                      <a:lnTo>
                        <a:pt x="16" y="501"/>
                      </a:lnTo>
                      <a:lnTo>
                        <a:pt x="18" y="501"/>
                      </a:lnTo>
                      <a:lnTo>
                        <a:pt x="20" y="501"/>
                      </a:lnTo>
                      <a:lnTo>
                        <a:pt x="20" y="499"/>
                      </a:lnTo>
                      <a:lnTo>
                        <a:pt x="20" y="498"/>
                      </a:lnTo>
                      <a:lnTo>
                        <a:pt x="22" y="498"/>
                      </a:lnTo>
                      <a:lnTo>
                        <a:pt x="22" y="496"/>
                      </a:lnTo>
                      <a:lnTo>
                        <a:pt x="20" y="494"/>
                      </a:lnTo>
                      <a:lnTo>
                        <a:pt x="22" y="493"/>
                      </a:lnTo>
                      <a:lnTo>
                        <a:pt x="22" y="491"/>
                      </a:lnTo>
                      <a:lnTo>
                        <a:pt x="23" y="491"/>
                      </a:lnTo>
                      <a:lnTo>
                        <a:pt x="25" y="489"/>
                      </a:lnTo>
                      <a:lnTo>
                        <a:pt x="23" y="489"/>
                      </a:lnTo>
                      <a:lnTo>
                        <a:pt x="23" y="488"/>
                      </a:lnTo>
                      <a:lnTo>
                        <a:pt x="25" y="485"/>
                      </a:lnTo>
                      <a:lnTo>
                        <a:pt x="25" y="483"/>
                      </a:lnTo>
                      <a:lnTo>
                        <a:pt x="27" y="481"/>
                      </a:lnTo>
                      <a:lnTo>
                        <a:pt x="28" y="481"/>
                      </a:lnTo>
                      <a:lnTo>
                        <a:pt x="28" y="480"/>
                      </a:lnTo>
                      <a:lnTo>
                        <a:pt x="30" y="478"/>
                      </a:lnTo>
                      <a:lnTo>
                        <a:pt x="30" y="476"/>
                      </a:lnTo>
                      <a:lnTo>
                        <a:pt x="32" y="473"/>
                      </a:lnTo>
                      <a:lnTo>
                        <a:pt x="32" y="471"/>
                      </a:lnTo>
                      <a:lnTo>
                        <a:pt x="32" y="470"/>
                      </a:lnTo>
                      <a:lnTo>
                        <a:pt x="32" y="468"/>
                      </a:lnTo>
                      <a:lnTo>
                        <a:pt x="33" y="468"/>
                      </a:lnTo>
                      <a:lnTo>
                        <a:pt x="33" y="466"/>
                      </a:lnTo>
                      <a:lnTo>
                        <a:pt x="33" y="465"/>
                      </a:lnTo>
                      <a:lnTo>
                        <a:pt x="33" y="462"/>
                      </a:lnTo>
                      <a:lnTo>
                        <a:pt x="32" y="460"/>
                      </a:lnTo>
                      <a:lnTo>
                        <a:pt x="33" y="457"/>
                      </a:lnTo>
                      <a:lnTo>
                        <a:pt x="35" y="455"/>
                      </a:lnTo>
                      <a:lnTo>
                        <a:pt x="37" y="453"/>
                      </a:lnTo>
                      <a:lnTo>
                        <a:pt x="37" y="452"/>
                      </a:lnTo>
                      <a:lnTo>
                        <a:pt x="38" y="450"/>
                      </a:lnTo>
                      <a:lnTo>
                        <a:pt x="40" y="450"/>
                      </a:lnTo>
                      <a:lnTo>
                        <a:pt x="42" y="448"/>
                      </a:lnTo>
                      <a:lnTo>
                        <a:pt x="42" y="447"/>
                      </a:lnTo>
                      <a:lnTo>
                        <a:pt x="42" y="445"/>
                      </a:lnTo>
                      <a:lnTo>
                        <a:pt x="42" y="443"/>
                      </a:lnTo>
                      <a:lnTo>
                        <a:pt x="44" y="443"/>
                      </a:lnTo>
                      <a:lnTo>
                        <a:pt x="44" y="442"/>
                      </a:lnTo>
                      <a:lnTo>
                        <a:pt x="44" y="440"/>
                      </a:lnTo>
                      <a:lnTo>
                        <a:pt x="45" y="440"/>
                      </a:lnTo>
                      <a:lnTo>
                        <a:pt x="45" y="439"/>
                      </a:lnTo>
                      <a:lnTo>
                        <a:pt x="45" y="437"/>
                      </a:lnTo>
                      <a:lnTo>
                        <a:pt x="45" y="435"/>
                      </a:lnTo>
                      <a:lnTo>
                        <a:pt x="47" y="434"/>
                      </a:lnTo>
                      <a:lnTo>
                        <a:pt x="47" y="432"/>
                      </a:lnTo>
                      <a:lnTo>
                        <a:pt x="49" y="432"/>
                      </a:lnTo>
                      <a:lnTo>
                        <a:pt x="49" y="430"/>
                      </a:lnTo>
                      <a:lnTo>
                        <a:pt x="50" y="430"/>
                      </a:lnTo>
                      <a:lnTo>
                        <a:pt x="50" y="429"/>
                      </a:lnTo>
                      <a:lnTo>
                        <a:pt x="50" y="427"/>
                      </a:lnTo>
                      <a:lnTo>
                        <a:pt x="50" y="425"/>
                      </a:lnTo>
                      <a:lnTo>
                        <a:pt x="52" y="424"/>
                      </a:lnTo>
                      <a:lnTo>
                        <a:pt x="52" y="422"/>
                      </a:lnTo>
                      <a:lnTo>
                        <a:pt x="54" y="420"/>
                      </a:lnTo>
                      <a:lnTo>
                        <a:pt x="55" y="419"/>
                      </a:lnTo>
                      <a:lnTo>
                        <a:pt x="55" y="417"/>
                      </a:lnTo>
                      <a:lnTo>
                        <a:pt x="55" y="416"/>
                      </a:lnTo>
                      <a:lnTo>
                        <a:pt x="57" y="414"/>
                      </a:lnTo>
                      <a:lnTo>
                        <a:pt x="57" y="412"/>
                      </a:lnTo>
                      <a:lnTo>
                        <a:pt x="57" y="411"/>
                      </a:lnTo>
                      <a:lnTo>
                        <a:pt x="59" y="411"/>
                      </a:lnTo>
                      <a:lnTo>
                        <a:pt x="59" y="409"/>
                      </a:lnTo>
                      <a:lnTo>
                        <a:pt x="60" y="407"/>
                      </a:lnTo>
                      <a:lnTo>
                        <a:pt x="60" y="406"/>
                      </a:lnTo>
                      <a:lnTo>
                        <a:pt x="60" y="404"/>
                      </a:lnTo>
                      <a:lnTo>
                        <a:pt x="62" y="404"/>
                      </a:lnTo>
                      <a:lnTo>
                        <a:pt x="62" y="402"/>
                      </a:lnTo>
                      <a:lnTo>
                        <a:pt x="62" y="401"/>
                      </a:lnTo>
                      <a:lnTo>
                        <a:pt x="60" y="399"/>
                      </a:lnTo>
                      <a:lnTo>
                        <a:pt x="60" y="397"/>
                      </a:lnTo>
                      <a:lnTo>
                        <a:pt x="60" y="394"/>
                      </a:lnTo>
                      <a:lnTo>
                        <a:pt x="62" y="394"/>
                      </a:lnTo>
                      <a:lnTo>
                        <a:pt x="62" y="393"/>
                      </a:lnTo>
                      <a:lnTo>
                        <a:pt x="62" y="391"/>
                      </a:lnTo>
                      <a:lnTo>
                        <a:pt x="64" y="391"/>
                      </a:lnTo>
                      <a:lnTo>
                        <a:pt x="64" y="389"/>
                      </a:lnTo>
                      <a:lnTo>
                        <a:pt x="65" y="388"/>
                      </a:lnTo>
                      <a:lnTo>
                        <a:pt x="65" y="386"/>
                      </a:lnTo>
                      <a:lnTo>
                        <a:pt x="65" y="384"/>
                      </a:lnTo>
                      <a:lnTo>
                        <a:pt x="65" y="381"/>
                      </a:lnTo>
                      <a:lnTo>
                        <a:pt x="67" y="379"/>
                      </a:lnTo>
                      <a:lnTo>
                        <a:pt x="69" y="379"/>
                      </a:lnTo>
                      <a:lnTo>
                        <a:pt x="69" y="378"/>
                      </a:lnTo>
                      <a:lnTo>
                        <a:pt x="71" y="378"/>
                      </a:lnTo>
                      <a:lnTo>
                        <a:pt x="71" y="376"/>
                      </a:lnTo>
                      <a:lnTo>
                        <a:pt x="71" y="374"/>
                      </a:lnTo>
                      <a:lnTo>
                        <a:pt x="72" y="374"/>
                      </a:lnTo>
                      <a:lnTo>
                        <a:pt x="74" y="374"/>
                      </a:lnTo>
                      <a:lnTo>
                        <a:pt x="74" y="373"/>
                      </a:lnTo>
                      <a:lnTo>
                        <a:pt x="76" y="371"/>
                      </a:lnTo>
                      <a:lnTo>
                        <a:pt x="77" y="370"/>
                      </a:lnTo>
                      <a:lnTo>
                        <a:pt x="79" y="370"/>
                      </a:lnTo>
                      <a:lnTo>
                        <a:pt x="79" y="368"/>
                      </a:lnTo>
                      <a:lnTo>
                        <a:pt x="79" y="366"/>
                      </a:lnTo>
                      <a:lnTo>
                        <a:pt x="81" y="366"/>
                      </a:lnTo>
                      <a:lnTo>
                        <a:pt x="81" y="365"/>
                      </a:lnTo>
                      <a:lnTo>
                        <a:pt x="82" y="363"/>
                      </a:lnTo>
                      <a:lnTo>
                        <a:pt x="82" y="361"/>
                      </a:lnTo>
                      <a:lnTo>
                        <a:pt x="84" y="361"/>
                      </a:lnTo>
                      <a:lnTo>
                        <a:pt x="84" y="360"/>
                      </a:lnTo>
                      <a:lnTo>
                        <a:pt x="84" y="358"/>
                      </a:lnTo>
                      <a:lnTo>
                        <a:pt x="84" y="356"/>
                      </a:lnTo>
                      <a:lnTo>
                        <a:pt x="86" y="355"/>
                      </a:lnTo>
                      <a:lnTo>
                        <a:pt x="87" y="353"/>
                      </a:lnTo>
                      <a:lnTo>
                        <a:pt x="89" y="351"/>
                      </a:lnTo>
                      <a:lnTo>
                        <a:pt x="91" y="350"/>
                      </a:lnTo>
                      <a:lnTo>
                        <a:pt x="92" y="348"/>
                      </a:lnTo>
                      <a:lnTo>
                        <a:pt x="92" y="347"/>
                      </a:lnTo>
                      <a:lnTo>
                        <a:pt x="94" y="345"/>
                      </a:lnTo>
                      <a:lnTo>
                        <a:pt x="96" y="343"/>
                      </a:lnTo>
                      <a:lnTo>
                        <a:pt x="98" y="342"/>
                      </a:lnTo>
                      <a:lnTo>
                        <a:pt x="99" y="342"/>
                      </a:lnTo>
                      <a:lnTo>
                        <a:pt x="101" y="340"/>
                      </a:lnTo>
                      <a:lnTo>
                        <a:pt x="104" y="338"/>
                      </a:lnTo>
                      <a:lnTo>
                        <a:pt x="106" y="338"/>
                      </a:lnTo>
                      <a:lnTo>
                        <a:pt x="108" y="338"/>
                      </a:lnTo>
                      <a:lnTo>
                        <a:pt x="109" y="338"/>
                      </a:lnTo>
                      <a:lnTo>
                        <a:pt x="109" y="337"/>
                      </a:lnTo>
                      <a:lnTo>
                        <a:pt x="111" y="335"/>
                      </a:lnTo>
                      <a:lnTo>
                        <a:pt x="111" y="333"/>
                      </a:lnTo>
                      <a:lnTo>
                        <a:pt x="113" y="332"/>
                      </a:lnTo>
                      <a:lnTo>
                        <a:pt x="113" y="330"/>
                      </a:lnTo>
                      <a:lnTo>
                        <a:pt x="114" y="330"/>
                      </a:lnTo>
                      <a:lnTo>
                        <a:pt x="116" y="327"/>
                      </a:lnTo>
                      <a:lnTo>
                        <a:pt x="118" y="325"/>
                      </a:lnTo>
                      <a:lnTo>
                        <a:pt x="120" y="324"/>
                      </a:lnTo>
                      <a:lnTo>
                        <a:pt x="120" y="322"/>
                      </a:lnTo>
                      <a:lnTo>
                        <a:pt x="120" y="320"/>
                      </a:lnTo>
                      <a:lnTo>
                        <a:pt x="121" y="320"/>
                      </a:lnTo>
                      <a:lnTo>
                        <a:pt x="121" y="319"/>
                      </a:lnTo>
                      <a:lnTo>
                        <a:pt x="121" y="317"/>
                      </a:lnTo>
                      <a:lnTo>
                        <a:pt x="125" y="315"/>
                      </a:lnTo>
                      <a:lnTo>
                        <a:pt x="126" y="314"/>
                      </a:lnTo>
                      <a:lnTo>
                        <a:pt x="126" y="312"/>
                      </a:lnTo>
                      <a:lnTo>
                        <a:pt x="128" y="312"/>
                      </a:lnTo>
                      <a:lnTo>
                        <a:pt x="128" y="310"/>
                      </a:lnTo>
                      <a:lnTo>
                        <a:pt x="128" y="309"/>
                      </a:lnTo>
                      <a:lnTo>
                        <a:pt x="128" y="307"/>
                      </a:lnTo>
                      <a:lnTo>
                        <a:pt x="128" y="305"/>
                      </a:lnTo>
                      <a:lnTo>
                        <a:pt x="130" y="302"/>
                      </a:lnTo>
                      <a:lnTo>
                        <a:pt x="131" y="299"/>
                      </a:lnTo>
                      <a:lnTo>
                        <a:pt x="133" y="299"/>
                      </a:lnTo>
                      <a:lnTo>
                        <a:pt x="135" y="297"/>
                      </a:lnTo>
                      <a:lnTo>
                        <a:pt x="136" y="297"/>
                      </a:lnTo>
                      <a:lnTo>
                        <a:pt x="138" y="296"/>
                      </a:lnTo>
                      <a:lnTo>
                        <a:pt x="138" y="294"/>
                      </a:lnTo>
                      <a:lnTo>
                        <a:pt x="140" y="291"/>
                      </a:lnTo>
                      <a:lnTo>
                        <a:pt x="140" y="289"/>
                      </a:lnTo>
                      <a:lnTo>
                        <a:pt x="141" y="287"/>
                      </a:lnTo>
                      <a:lnTo>
                        <a:pt x="141" y="286"/>
                      </a:lnTo>
                      <a:lnTo>
                        <a:pt x="141" y="284"/>
                      </a:lnTo>
                      <a:lnTo>
                        <a:pt x="143" y="282"/>
                      </a:lnTo>
                      <a:lnTo>
                        <a:pt x="143" y="281"/>
                      </a:lnTo>
                      <a:lnTo>
                        <a:pt x="143" y="279"/>
                      </a:lnTo>
                      <a:lnTo>
                        <a:pt x="145" y="279"/>
                      </a:lnTo>
                      <a:lnTo>
                        <a:pt x="145" y="278"/>
                      </a:lnTo>
                      <a:lnTo>
                        <a:pt x="147" y="274"/>
                      </a:lnTo>
                      <a:lnTo>
                        <a:pt x="145" y="273"/>
                      </a:lnTo>
                      <a:lnTo>
                        <a:pt x="147" y="271"/>
                      </a:lnTo>
                      <a:lnTo>
                        <a:pt x="147" y="269"/>
                      </a:lnTo>
                      <a:lnTo>
                        <a:pt x="147" y="268"/>
                      </a:lnTo>
                      <a:lnTo>
                        <a:pt x="148" y="268"/>
                      </a:lnTo>
                      <a:lnTo>
                        <a:pt x="148" y="266"/>
                      </a:lnTo>
                      <a:lnTo>
                        <a:pt x="148" y="264"/>
                      </a:lnTo>
                      <a:lnTo>
                        <a:pt x="148" y="263"/>
                      </a:lnTo>
                      <a:lnTo>
                        <a:pt x="148" y="261"/>
                      </a:lnTo>
                      <a:lnTo>
                        <a:pt x="148" y="260"/>
                      </a:lnTo>
                      <a:lnTo>
                        <a:pt x="148" y="258"/>
                      </a:lnTo>
                      <a:lnTo>
                        <a:pt x="148" y="256"/>
                      </a:lnTo>
                      <a:lnTo>
                        <a:pt x="150" y="256"/>
                      </a:lnTo>
                      <a:lnTo>
                        <a:pt x="150" y="253"/>
                      </a:lnTo>
                      <a:lnTo>
                        <a:pt x="150" y="251"/>
                      </a:lnTo>
                      <a:lnTo>
                        <a:pt x="150" y="250"/>
                      </a:lnTo>
                      <a:lnTo>
                        <a:pt x="150" y="248"/>
                      </a:lnTo>
                      <a:lnTo>
                        <a:pt x="150" y="246"/>
                      </a:lnTo>
                      <a:lnTo>
                        <a:pt x="150" y="245"/>
                      </a:lnTo>
                      <a:lnTo>
                        <a:pt x="152" y="243"/>
                      </a:lnTo>
                      <a:lnTo>
                        <a:pt x="150" y="241"/>
                      </a:lnTo>
                      <a:lnTo>
                        <a:pt x="148" y="241"/>
                      </a:lnTo>
                      <a:lnTo>
                        <a:pt x="147" y="240"/>
                      </a:lnTo>
                      <a:lnTo>
                        <a:pt x="145" y="238"/>
                      </a:lnTo>
                      <a:lnTo>
                        <a:pt x="143" y="238"/>
                      </a:lnTo>
                      <a:lnTo>
                        <a:pt x="143" y="237"/>
                      </a:lnTo>
                      <a:lnTo>
                        <a:pt x="141" y="237"/>
                      </a:lnTo>
                      <a:lnTo>
                        <a:pt x="140" y="235"/>
                      </a:lnTo>
                      <a:lnTo>
                        <a:pt x="138" y="233"/>
                      </a:lnTo>
                      <a:lnTo>
                        <a:pt x="136" y="233"/>
                      </a:lnTo>
                      <a:lnTo>
                        <a:pt x="135" y="232"/>
                      </a:lnTo>
                      <a:lnTo>
                        <a:pt x="133" y="230"/>
                      </a:lnTo>
                      <a:lnTo>
                        <a:pt x="133" y="228"/>
                      </a:lnTo>
                      <a:lnTo>
                        <a:pt x="131" y="227"/>
                      </a:lnTo>
                      <a:lnTo>
                        <a:pt x="131" y="225"/>
                      </a:lnTo>
                      <a:lnTo>
                        <a:pt x="130" y="223"/>
                      </a:lnTo>
                      <a:lnTo>
                        <a:pt x="130" y="220"/>
                      </a:lnTo>
                      <a:lnTo>
                        <a:pt x="128" y="220"/>
                      </a:lnTo>
                      <a:lnTo>
                        <a:pt x="128" y="218"/>
                      </a:lnTo>
                      <a:lnTo>
                        <a:pt x="130" y="215"/>
                      </a:lnTo>
                      <a:lnTo>
                        <a:pt x="130" y="214"/>
                      </a:lnTo>
                      <a:lnTo>
                        <a:pt x="133" y="209"/>
                      </a:lnTo>
                      <a:lnTo>
                        <a:pt x="135" y="209"/>
                      </a:lnTo>
                      <a:lnTo>
                        <a:pt x="135" y="207"/>
                      </a:lnTo>
                      <a:lnTo>
                        <a:pt x="136" y="207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40" y="204"/>
                      </a:lnTo>
                      <a:lnTo>
                        <a:pt x="140" y="202"/>
                      </a:lnTo>
                      <a:lnTo>
                        <a:pt x="141" y="200"/>
                      </a:lnTo>
                      <a:lnTo>
                        <a:pt x="141" y="199"/>
                      </a:lnTo>
                      <a:lnTo>
                        <a:pt x="143" y="199"/>
                      </a:lnTo>
                      <a:lnTo>
                        <a:pt x="145" y="195"/>
                      </a:lnTo>
                      <a:lnTo>
                        <a:pt x="145" y="194"/>
                      </a:lnTo>
                      <a:lnTo>
                        <a:pt x="147" y="191"/>
                      </a:lnTo>
                      <a:lnTo>
                        <a:pt x="148" y="191"/>
                      </a:lnTo>
                      <a:lnTo>
                        <a:pt x="148" y="189"/>
                      </a:lnTo>
                      <a:lnTo>
                        <a:pt x="147" y="186"/>
                      </a:lnTo>
                      <a:lnTo>
                        <a:pt x="147" y="181"/>
                      </a:lnTo>
                      <a:lnTo>
                        <a:pt x="147" y="177"/>
                      </a:lnTo>
                      <a:lnTo>
                        <a:pt x="147" y="176"/>
                      </a:lnTo>
                      <a:lnTo>
                        <a:pt x="147" y="174"/>
                      </a:lnTo>
                      <a:lnTo>
                        <a:pt x="147" y="172"/>
                      </a:lnTo>
                      <a:lnTo>
                        <a:pt x="147" y="171"/>
                      </a:lnTo>
                      <a:lnTo>
                        <a:pt x="147" y="169"/>
                      </a:lnTo>
                      <a:lnTo>
                        <a:pt x="145" y="168"/>
                      </a:lnTo>
                      <a:lnTo>
                        <a:pt x="145" y="166"/>
                      </a:lnTo>
                      <a:lnTo>
                        <a:pt x="145" y="164"/>
                      </a:lnTo>
                      <a:lnTo>
                        <a:pt x="145" y="163"/>
                      </a:lnTo>
                      <a:lnTo>
                        <a:pt x="145" y="161"/>
                      </a:lnTo>
                      <a:lnTo>
                        <a:pt x="147" y="161"/>
                      </a:lnTo>
                      <a:lnTo>
                        <a:pt x="148" y="159"/>
                      </a:lnTo>
                      <a:lnTo>
                        <a:pt x="150" y="158"/>
                      </a:lnTo>
                      <a:lnTo>
                        <a:pt x="152" y="158"/>
                      </a:lnTo>
                      <a:lnTo>
                        <a:pt x="153" y="156"/>
                      </a:lnTo>
                      <a:lnTo>
                        <a:pt x="155" y="156"/>
                      </a:lnTo>
                      <a:lnTo>
                        <a:pt x="157" y="154"/>
                      </a:lnTo>
                      <a:lnTo>
                        <a:pt x="158" y="153"/>
                      </a:lnTo>
                      <a:lnTo>
                        <a:pt x="160" y="151"/>
                      </a:lnTo>
                      <a:lnTo>
                        <a:pt x="162" y="149"/>
                      </a:lnTo>
                      <a:lnTo>
                        <a:pt x="163" y="149"/>
                      </a:lnTo>
                      <a:lnTo>
                        <a:pt x="163" y="148"/>
                      </a:lnTo>
                      <a:lnTo>
                        <a:pt x="165" y="148"/>
                      </a:lnTo>
                      <a:lnTo>
                        <a:pt x="167" y="148"/>
                      </a:lnTo>
                      <a:lnTo>
                        <a:pt x="168" y="148"/>
                      </a:lnTo>
                      <a:lnTo>
                        <a:pt x="170" y="148"/>
                      </a:lnTo>
                      <a:lnTo>
                        <a:pt x="170" y="146"/>
                      </a:lnTo>
                      <a:lnTo>
                        <a:pt x="172" y="146"/>
                      </a:lnTo>
                      <a:lnTo>
                        <a:pt x="174" y="146"/>
                      </a:lnTo>
                      <a:lnTo>
                        <a:pt x="175" y="146"/>
                      </a:lnTo>
                      <a:lnTo>
                        <a:pt x="179" y="145"/>
                      </a:lnTo>
                      <a:lnTo>
                        <a:pt x="180" y="145"/>
                      </a:lnTo>
                      <a:lnTo>
                        <a:pt x="180" y="146"/>
                      </a:lnTo>
                      <a:lnTo>
                        <a:pt x="182" y="146"/>
                      </a:lnTo>
                      <a:lnTo>
                        <a:pt x="185" y="145"/>
                      </a:lnTo>
                      <a:lnTo>
                        <a:pt x="187" y="145"/>
                      </a:lnTo>
                      <a:lnTo>
                        <a:pt x="187" y="143"/>
                      </a:lnTo>
                      <a:lnTo>
                        <a:pt x="189" y="143"/>
                      </a:lnTo>
                      <a:lnTo>
                        <a:pt x="189" y="141"/>
                      </a:lnTo>
                      <a:lnTo>
                        <a:pt x="190" y="140"/>
                      </a:lnTo>
                      <a:lnTo>
                        <a:pt x="194" y="140"/>
                      </a:lnTo>
                      <a:lnTo>
                        <a:pt x="196" y="140"/>
                      </a:lnTo>
                      <a:lnTo>
                        <a:pt x="196" y="138"/>
                      </a:lnTo>
                      <a:lnTo>
                        <a:pt x="197" y="138"/>
                      </a:lnTo>
                      <a:lnTo>
                        <a:pt x="197" y="136"/>
                      </a:lnTo>
                      <a:lnTo>
                        <a:pt x="197" y="135"/>
                      </a:lnTo>
                      <a:lnTo>
                        <a:pt x="197" y="133"/>
                      </a:lnTo>
                      <a:lnTo>
                        <a:pt x="197" y="131"/>
                      </a:lnTo>
                      <a:lnTo>
                        <a:pt x="197" y="130"/>
                      </a:lnTo>
                      <a:lnTo>
                        <a:pt x="197" y="128"/>
                      </a:lnTo>
                      <a:lnTo>
                        <a:pt x="197" y="126"/>
                      </a:lnTo>
                      <a:lnTo>
                        <a:pt x="199" y="125"/>
                      </a:lnTo>
                      <a:lnTo>
                        <a:pt x="199" y="123"/>
                      </a:lnTo>
                      <a:lnTo>
                        <a:pt x="199" y="122"/>
                      </a:lnTo>
                      <a:lnTo>
                        <a:pt x="201" y="122"/>
                      </a:lnTo>
                      <a:lnTo>
                        <a:pt x="201" y="120"/>
                      </a:lnTo>
                      <a:lnTo>
                        <a:pt x="201" y="118"/>
                      </a:lnTo>
                      <a:lnTo>
                        <a:pt x="202" y="118"/>
                      </a:lnTo>
                      <a:lnTo>
                        <a:pt x="202" y="117"/>
                      </a:lnTo>
                      <a:lnTo>
                        <a:pt x="204" y="117"/>
                      </a:lnTo>
                      <a:lnTo>
                        <a:pt x="206" y="115"/>
                      </a:lnTo>
                      <a:lnTo>
                        <a:pt x="207" y="113"/>
                      </a:lnTo>
                      <a:lnTo>
                        <a:pt x="209" y="113"/>
                      </a:lnTo>
                      <a:lnTo>
                        <a:pt x="209" y="112"/>
                      </a:lnTo>
                      <a:lnTo>
                        <a:pt x="211" y="110"/>
                      </a:lnTo>
                      <a:lnTo>
                        <a:pt x="211" y="108"/>
                      </a:lnTo>
                      <a:lnTo>
                        <a:pt x="212" y="108"/>
                      </a:lnTo>
                      <a:lnTo>
                        <a:pt x="216" y="108"/>
                      </a:lnTo>
                      <a:lnTo>
                        <a:pt x="217" y="108"/>
                      </a:lnTo>
                      <a:lnTo>
                        <a:pt x="219" y="108"/>
                      </a:lnTo>
                      <a:lnTo>
                        <a:pt x="223" y="110"/>
                      </a:lnTo>
                      <a:lnTo>
                        <a:pt x="223" y="112"/>
                      </a:lnTo>
                      <a:lnTo>
                        <a:pt x="224" y="112"/>
                      </a:lnTo>
                      <a:lnTo>
                        <a:pt x="224" y="110"/>
                      </a:lnTo>
                      <a:lnTo>
                        <a:pt x="224" y="108"/>
                      </a:lnTo>
                      <a:lnTo>
                        <a:pt x="224" y="107"/>
                      </a:lnTo>
                      <a:lnTo>
                        <a:pt x="223" y="105"/>
                      </a:lnTo>
                      <a:lnTo>
                        <a:pt x="221" y="105"/>
                      </a:lnTo>
                      <a:lnTo>
                        <a:pt x="221" y="103"/>
                      </a:lnTo>
                      <a:lnTo>
                        <a:pt x="221" y="102"/>
                      </a:lnTo>
                      <a:lnTo>
                        <a:pt x="221" y="100"/>
                      </a:lnTo>
                      <a:lnTo>
                        <a:pt x="219" y="99"/>
                      </a:lnTo>
                      <a:lnTo>
                        <a:pt x="219" y="95"/>
                      </a:lnTo>
                      <a:lnTo>
                        <a:pt x="219" y="94"/>
                      </a:lnTo>
                      <a:lnTo>
                        <a:pt x="219" y="92"/>
                      </a:lnTo>
                      <a:lnTo>
                        <a:pt x="221" y="92"/>
                      </a:lnTo>
                      <a:lnTo>
                        <a:pt x="221" y="90"/>
                      </a:lnTo>
                      <a:lnTo>
                        <a:pt x="223" y="90"/>
                      </a:lnTo>
                      <a:lnTo>
                        <a:pt x="224" y="90"/>
                      </a:lnTo>
                      <a:lnTo>
                        <a:pt x="226" y="90"/>
                      </a:lnTo>
                      <a:lnTo>
                        <a:pt x="228" y="89"/>
                      </a:lnTo>
                      <a:lnTo>
                        <a:pt x="229" y="89"/>
                      </a:lnTo>
                      <a:lnTo>
                        <a:pt x="231" y="87"/>
                      </a:lnTo>
                      <a:lnTo>
                        <a:pt x="233" y="85"/>
                      </a:lnTo>
                      <a:lnTo>
                        <a:pt x="233" y="84"/>
                      </a:lnTo>
                      <a:lnTo>
                        <a:pt x="233" y="82"/>
                      </a:lnTo>
                      <a:lnTo>
                        <a:pt x="231" y="80"/>
                      </a:lnTo>
                      <a:lnTo>
                        <a:pt x="229" y="80"/>
                      </a:lnTo>
                      <a:lnTo>
                        <a:pt x="228" y="80"/>
                      </a:lnTo>
                      <a:lnTo>
                        <a:pt x="228" y="79"/>
                      </a:lnTo>
                      <a:lnTo>
                        <a:pt x="228" y="77"/>
                      </a:lnTo>
                      <a:lnTo>
                        <a:pt x="229" y="76"/>
                      </a:lnTo>
                      <a:lnTo>
                        <a:pt x="231" y="74"/>
                      </a:lnTo>
                      <a:lnTo>
                        <a:pt x="233" y="74"/>
                      </a:lnTo>
                      <a:lnTo>
                        <a:pt x="234" y="72"/>
                      </a:lnTo>
                      <a:lnTo>
                        <a:pt x="236" y="72"/>
                      </a:lnTo>
                      <a:lnTo>
                        <a:pt x="238" y="72"/>
                      </a:lnTo>
                      <a:lnTo>
                        <a:pt x="238" y="71"/>
                      </a:lnTo>
                      <a:lnTo>
                        <a:pt x="238" y="69"/>
                      </a:lnTo>
                      <a:lnTo>
                        <a:pt x="238" y="67"/>
                      </a:lnTo>
                      <a:lnTo>
                        <a:pt x="236" y="66"/>
                      </a:lnTo>
                      <a:lnTo>
                        <a:pt x="234" y="64"/>
                      </a:lnTo>
                      <a:lnTo>
                        <a:pt x="233" y="64"/>
                      </a:lnTo>
                      <a:lnTo>
                        <a:pt x="233" y="62"/>
                      </a:lnTo>
                      <a:lnTo>
                        <a:pt x="233" y="61"/>
                      </a:lnTo>
                      <a:lnTo>
                        <a:pt x="231" y="59"/>
                      </a:lnTo>
                      <a:lnTo>
                        <a:pt x="231" y="58"/>
                      </a:lnTo>
                      <a:lnTo>
                        <a:pt x="231" y="56"/>
                      </a:lnTo>
                      <a:lnTo>
                        <a:pt x="231" y="54"/>
                      </a:lnTo>
                      <a:lnTo>
                        <a:pt x="233" y="53"/>
                      </a:lnTo>
                      <a:lnTo>
                        <a:pt x="233" y="51"/>
                      </a:lnTo>
                      <a:lnTo>
                        <a:pt x="234" y="51"/>
                      </a:lnTo>
                      <a:lnTo>
                        <a:pt x="236" y="51"/>
                      </a:lnTo>
                      <a:lnTo>
                        <a:pt x="238" y="51"/>
                      </a:lnTo>
                      <a:lnTo>
                        <a:pt x="239" y="51"/>
                      </a:lnTo>
                      <a:lnTo>
                        <a:pt x="241" y="51"/>
                      </a:lnTo>
                      <a:lnTo>
                        <a:pt x="243" y="49"/>
                      </a:lnTo>
                      <a:lnTo>
                        <a:pt x="244" y="49"/>
                      </a:lnTo>
                      <a:lnTo>
                        <a:pt x="244" y="48"/>
                      </a:lnTo>
                      <a:lnTo>
                        <a:pt x="244" y="46"/>
                      </a:lnTo>
                      <a:lnTo>
                        <a:pt x="246" y="44"/>
                      </a:lnTo>
                      <a:lnTo>
                        <a:pt x="246" y="43"/>
                      </a:lnTo>
                      <a:lnTo>
                        <a:pt x="246" y="41"/>
                      </a:lnTo>
                      <a:lnTo>
                        <a:pt x="244" y="39"/>
                      </a:lnTo>
                      <a:lnTo>
                        <a:pt x="243" y="38"/>
                      </a:lnTo>
                      <a:lnTo>
                        <a:pt x="241" y="36"/>
                      </a:lnTo>
                      <a:lnTo>
                        <a:pt x="239" y="36"/>
                      </a:lnTo>
                      <a:lnTo>
                        <a:pt x="238" y="35"/>
                      </a:lnTo>
                      <a:lnTo>
                        <a:pt x="234" y="35"/>
                      </a:lnTo>
                      <a:lnTo>
                        <a:pt x="233" y="35"/>
                      </a:lnTo>
                      <a:lnTo>
                        <a:pt x="231" y="33"/>
                      </a:lnTo>
                      <a:lnTo>
                        <a:pt x="229" y="30"/>
                      </a:lnTo>
                      <a:lnTo>
                        <a:pt x="229" y="28"/>
                      </a:lnTo>
                      <a:lnTo>
                        <a:pt x="228" y="28"/>
                      </a:lnTo>
                      <a:lnTo>
                        <a:pt x="228" y="26"/>
                      </a:lnTo>
                      <a:lnTo>
                        <a:pt x="228" y="25"/>
                      </a:lnTo>
                      <a:lnTo>
                        <a:pt x="226" y="23"/>
                      </a:lnTo>
                      <a:lnTo>
                        <a:pt x="224" y="23"/>
                      </a:lnTo>
                      <a:lnTo>
                        <a:pt x="223" y="23"/>
                      </a:lnTo>
                      <a:lnTo>
                        <a:pt x="223" y="21"/>
                      </a:lnTo>
                      <a:lnTo>
                        <a:pt x="219" y="21"/>
                      </a:lnTo>
                      <a:lnTo>
                        <a:pt x="217" y="21"/>
                      </a:lnTo>
                      <a:lnTo>
                        <a:pt x="217" y="20"/>
                      </a:lnTo>
                      <a:lnTo>
                        <a:pt x="216" y="21"/>
                      </a:lnTo>
                      <a:lnTo>
                        <a:pt x="212" y="21"/>
                      </a:lnTo>
                      <a:lnTo>
                        <a:pt x="206" y="23"/>
                      </a:lnTo>
                      <a:lnTo>
                        <a:pt x="204" y="23"/>
                      </a:lnTo>
                      <a:lnTo>
                        <a:pt x="202" y="23"/>
                      </a:lnTo>
                      <a:lnTo>
                        <a:pt x="201" y="21"/>
                      </a:lnTo>
                      <a:lnTo>
                        <a:pt x="199" y="20"/>
                      </a:lnTo>
                      <a:lnTo>
                        <a:pt x="196" y="20"/>
                      </a:lnTo>
                      <a:lnTo>
                        <a:pt x="194" y="20"/>
                      </a:lnTo>
                      <a:lnTo>
                        <a:pt x="194" y="18"/>
                      </a:lnTo>
                      <a:lnTo>
                        <a:pt x="192" y="18"/>
                      </a:lnTo>
                      <a:lnTo>
                        <a:pt x="190" y="18"/>
                      </a:lnTo>
                      <a:lnTo>
                        <a:pt x="189" y="18"/>
                      </a:lnTo>
                      <a:lnTo>
                        <a:pt x="189" y="16"/>
                      </a:lnTo>
                      <a:lnTo>
                        <a:pt x="190" y="16"/>
                      </a:lnTo>
                      <a:lnTo>
                        <a:pt x="192" y="16"/>
                      </a:lnTo>
                      <a:lnTo>
                        <a:pt x="194" y="16"/>
                      </a:lnTo>
                      <a:lnTo>
                        <a:pt x="194" y="15"/>
                      </a:lnTo>
                      <a:lnTo>
                        <a:pt x="194" y="13"/>
                      </a:lnTo>
                      <a:lnTo>
                        <a:pt x="196" y="12"/>
                      </a:lnTo>
                      <a:lnTo>
                        <a:pt x="197" y="12"/>
                      </a:lnTo>
                      <a:lnTo>
                        <a:pt x="199" y="13"/>
                      </a:lnTo>
                      <a:lnTo>
                        <a:pt x="201" y="15"/>
                      </a:lnTo>
                      <a:lnTo>
                        <a:pt x="202" y="15"/>
                      </a:lnTo>
                      <a:lnTo>
                        <a:pt x="204" y="13"/>
                      </a:lnTo>
                      <a:lnTo>
                        <a:pt x="206" y="10"/>
                      </a:lnTo>
                      <a:lnTo>
                        <a:pt x="206" y="8"/>
                      </a:lnTo>
                      <a:lnTo>
                        <a:pt x="207" y="7"/>
                      </a:lnTo>
                      <a:lnTo>
                        <a:pt x="207" y="5"/>
                      </a:lnTo>
                      <a:lnTo>
                        <a:pt x="207" y="3"/>
                      </a:lnTo>
                      <a:lnTo>
                        <a:pt x="209" y="3"/>
                      </a:lnTo>
                      <a:lnTo>
                        <a:pt x="209" y="2"/>
                      </a:lnTo>
                      <a:lnTo>
                        <a:pt x="211" y="2"/>
                      </a:lnTo>
                      <a:lnTo>
                        <a:pt x="212" y="2"/>
                      </a:lnTo>
                      <a:lnTo>
                        <a:pt x="214" y="2"/>
                      </a:lnTo>
                      <a:lnTo>
                        <a:pt x="216" y="2"/>
                      </a:lnTo>
                      <a:lnTo>
                        <a:pt x="217" y="2"/>
                      </a:lnTo>
                      <a:lnTo>
                        <a:pt x="221" y="0"/>
                      </a:lnTo>
                      <a:lnTo>
                        <a:pt x="223" y="0"/>
                      </a:lnTo>
                      <a:lnTo>
                        <a:pt x="224" y="0"/>
                      </a:lnTo>
                      <a:lnTo>
                        <a:pt x="226" y="0"/>
                      </a:lnTo>
                      <a:lnTo>
                        <a:pt x="228" y="2"/>
                      </a:lnTo>
                      <a:lnTo>
                        <a:pt x="229" y="2"/>
                      </a:lnTo>
                      <a:lnTo>
                        <a:pt x="229" y="3"/>
                      </a:lnTo>
                      <a:lnTo>
                        <a:pt x="231" y="3"/>
                      </a:lnTo>
                      <a:lnTo>
                        <a:pt x="233" y="3"/>
                      </a:lnTo>
                      <a:lnTo>
                        <a:pt x="234" y="3"/>
                      </a:lnTo>
                      <a:lnTo>
                        <a:pt x="236" y="5"/>
                      </a:lnTo>
                      <a:lnTo>
                        <a:pt x="238" y="5"/>
                      </a:lnTo>
                      <a:lnTo>
                        <a:pt x="239" y="7"/>
                      </a:lnTo>
                      <a:lnTo>
                        <a:pt x="241" y="7"/>
                      </a:lnTo>
                      <a:lnTo>
                        <a:pt x="243" y="8"/>
                      </a:lnTo>
                      <a:lnTo>
                        <a:pt x="246" y="8"/>
                      </a:lnTo>
                      <a:lnTo>
                        <a:pt x="250" y="8"/>
                      </a:lnTo>
                      <a:lnTo>
                        <a:pt x="251" y="10"/>
                      </a:lnTo>
                      <a:lnTo>
                        <a:pt x="253" y="10"/>
                      </a:lnTo>
                      <a:lnTo>
                        <a:pt x="255" y="8"/>
                      </a:lnTo>
                      <a:lnTo>
                        <a:pt x="256" y="8"/>
                      </a:lnTo>
                      <a:lnTo>
                        <a:pt x="256" y="7"/>
                      </a:lnTo>
                      <a:lnTo>
                        <a:pt x="258" y="7"/>
                      </a:lnTo>
                      <a:lnTo>
                        <a:pt x="260" y="5"/>
                      </a:lnTo>
                      <a:lnTo>
                        <a:pt x="261" y="5"/>
                      </a:lnTo>
                      <a:lnTo>
                        <a:pt x="263" y="7"/>
                      </a:lnTo>
                      <a:lnTo>
                        <a:pt x="265" y="7"/>
                      </a:lnTo>
                      <a:lnTo>
                        <a:pt x="266" y="7"/>
                      </a:lnTo>
                      <a:lnTo>
                        <a:pt x="268" y="7"/>
                      </a:lnTo>
                      <a:lnTo>
                        <a:pt x="272" y="8"/>
                      </a:lnTo>
                      <a:lnTo>
                        <a:pt x="272" y="10"/>
                      </a:lnTo>
                      <a:lnTo>
                        <a:pt x="273" y="12"/>
                      </a:lnTo>
                      <a:lnTo>
                        <a:pt x="273" y="13"/>
                      </a:lnTo>
                      <a:lnTo>
                        <a:pt x="272" y="15"/>
                      </a:lnTo>
                      <a:lnTo>
                        <a:pt x="273" y="15"/>
                      </a:lnTo>
                      <a:lnTo>
                        <a:pt x="273" y="16"/>
                      </a:lnTo>
                      <a:lnTo>
                        <a:pt x="275" y="18"/>
                      </a:lnTo>
                      <a:lnTo>
                        <a:pt x="275" y="20"/>
                      </a:lnTo>
                      <a:lnTo>
                        <a:pt x="277" y="20"/>
                      </a:lnTo>
                      <a:lnTo>
                        <a:pt x="278" y="20"/>
                      </a:lnTo>
                      <a:lnTo>
                        <a:pt x="280" y="20"/>
                      </a:lnTo>
                      <a:lnTo>
                        <a:pt x="282" y="20"/>
                      </a:lnTo>
                      <a:lnTo>
                        <a:pt x="282" y="18"/>
                      </a:lnTo>
                      <a:lnTo>
                        <a:pt x="283" y="18"/>
                      </a:lnTo>
                      <a:lnTo>
                        <a:pt x="283" y="20"/>
                      </a:lnTo>
                      <a:lnTo>
                        <a:pt x="285" y="20"/>
                      </a:lnTo>
                      <a:lnTo>
                        <a:pt x="287" y="20"/>
                      </a:lnTo>
                      <a:lnTo>
                        <a:pt x="290" y="21"/>
                      </a:lnTo>
                      <a:lnTo>
                        <a:pt x="290" y="23"/>
                      </a:lnTo>
                      <a:lnTo>
                        <a:pt x="292" y="23"/>
                      </a:lnTo>
                      <a:lnTo>
                        <a:pt x="293" y="25"/>
                      </a:lnTo>
                      <a:lnTo>
                        <a:pt x="295" y="26"/>
                      </a:lnTo>
                      <a:lnTo>
                        <a:pt x="297" y="26"/>
                      </a:lnTo>
                      <a:lnTo>
                        <a:pt x="299" y="26"/>
                      </a:lnTo>
                      <a:lnTo>
                        <a:pt x="300" y="28"/>
                      </a:lnTo>
                      <a:lnTo>
                        <a:pt x="300" y="26"/>
                      </a:lnTo>
                      <a:lnTo>
                        <a:pt x="302" y="26"/>
                      </a:lnTo>
                      <a:lnTo>
                        <a:pt x="302" y="28"/>
                      </a:lnTo>
                      <a:lnTo>
                        <a:pt x="304" y="28"/>
                      </a:lnTo>
                      <a:lnTo>
                        <a:pt x="305" y="30"/>
                      </a:lnTo>
                      <a:lnTo>
                        <a:pt x="305" y="31"/>
                      </a:lnTo>
                      <a:lnTo>
                        <a:pt x="307" y="33"/>
                      </a:lnTo>
                      <a:lnTo>
                        <a:pt x="309" y="35"/>
                      </a:lnTo>
                      <a:lnTo>
                        <a:pt x="309" y="36"/>
                      </a:lnTo>
                      <a:lnTo>
                        <a:pt x="309" y="38"/>
                      </a:lnTo>
                      <a:lnTo>
                        <a:pt x="309" y="39"/>
                      </a:lnTo>
                      <a:lnTo>
                        <a:pt x="309" y="41"/>
                      </a:lnTo>
                      <a:lnTo>
                        <a:pt x="309" y="43"/>
                      </a:lnTo>
                      <a:lnTo>
                        <a:pt x="310" y="44"/>
                      </a:lnTo>
                      <a:lnTo>
                        <a:pt x="309" y="48"/>
                      </a:lnTo>
                      <a:lnTo>
                        <a:pt x="309" y="49"/>
                      </a:lnTo>
                      <a:lnTo>
                        <a:pt x="307" y="51"/>
                      </a:lnTo>
                      <a:lnTo>
                        <a:pt x="307" y="53"/>
                      </a:lnTo>
                      <a:lnTo>
                        <a:pt x="309" y="53"/>
                      </a:lnTo>
                      <a:lnTo>
                        <a:pt x="309" y="54"/>
                      </a:lnTo>
                      <a:lnTo>
                        <a:pt x="310" y="54"/>
                      </a:lnTo>
                      <a:lnTo>
                        <a:pt x="310" y="56"/>
                      </a:lnTo>
                      <a:lnTo>
                        <a:pt x="312" y="58"/>
                      </a:lnTo>
                      <a:lnTo>
                        <a:pt x="312" y="59"/>
                      </a:lnTo>
                      <a:lnTo>
                        <a:pt x="312" y="61"/>
                      </a:lnTo>
                      <a:lnTo>
                        <a:pt x="314" y="62"/>
                      </a:lnTo>
                      <a:lnTo>
                        <a:pt x="314" y="64"/>
                      </a:lnTo>
                      <a:lnTo>
                        <a:pt x="314" y="66"/>
                      </a:lnTo>
                      <a:lnTo>
                        <a:pt x="314" y="69"/>
                      </a:lnTo>
                      <a:lnTo>
                        <a:pt x="314" y="71"/>
                      </a:lnTo>
                      <a:lnTo>
                        <a:pt x="314" y="72"/>
                      </a:lnTo>
                      <a:lnTo>
                        <a:pt x="314" y="74"/>
                      </a:lnTo>
                      <a:lnTo>
                        <a:pt x="312" y="74"/>
                      </a:lnTo>
                      <a:lnTo>
                        <a:pt x="312" y="76"/>
                      </a:lnTo>
                      <a:lnTo>
                        <a:pt x="314" y="77"/>
                      </a:lnTo>
                      <a:lnTo>
                        <a:pt x="314" y="79"/>
                      </a:lnTo>
                      <a:lnTo>
                        <a:pt x="314" y="80"/>
                      </a:lnTo>
                      <a:lnTo>
                        <a:pt x="314" y="82"/>
                      </a:lnTo>
                      <a:lnTo>
                        <a:pt x="314" y="84"/>
                      </a:lnTo>
                      <a:lnTo>
                        <a:pt x="314" y="85"/>
                      </a:lnTo>
                      <a:lnTo>
                        <a:pt x="314" y="89"/>
                      </a:lnTo>
                      <a:lnTo>
                        <a:pt x="314" y="90"/>
                      </a:lnTo>
                      <a:lnTo>
                        <a:pt x="315" y="92"/>
                      </a:lnTo>
                      <a:lnTo>
                        <a:pt x="317" y="95"/>
                      </a:lnTo>
                      <a:lnTo>
                        <a:pt x="317" y="97"/>
                      </a:lnTo>
                      <a:lnTo>
                        <a:pt x="319" y="97"/>
                      </a:lnTo>
                      <a:lnTo>
                        <a:pt x="319" y="99"/>
                      </a:lnTo>
                      <a:lnTo>
                        <a:pt x="319" y="100"/>
                      </a:lnTo>
                      <a:lnTo>
                        <a:pt x="319" y="102"/>
                      </a:lnTo>
                      <a:lnTo>
                        <a:pt x="317" y="105"/>
                      </a:lnTo>
                      <a:lnTo>
                        <a:pt x="315" y="107"/>
                      </a:lnTo>
                      <a:lnTo>
                        <a:pt x="315" y="108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5" y="113"/>
                      </a:lnTo>
                      <a:lnTo>
                        <a:pt x="314" y="117"/>
                      </a:lnTo>
                      <a:lnTo>
                        <a:pt x="315" y="120"/>
                      </a:lnTo>
                      <a:lnTo>
                        <a:pt x="315" y="122"/>
                      </a:lnTo>
                      <a:lnTo>
                        <a:pt x="314" y="122"/>
                      </a:lnTo>
                      <a:lnTo>
                        <a:pt x="314" y="123"/>
                      </a:lnTo>
                      <a:lnTo>
                        <a:pt x="312" y="123"/>
                      </a:lnTo>
                      <a:lnTo>
                        <a:pt x="312" y="126"/>
                      </a:lnTo>
                      <a:lnTo>
                        <a:pt x="312" y="128"/>
                      </a:lnTo>
                      <a:lnTo>
                        <a:pt x="310" y="128"/>
                      </a:lnTo>
                      <a:lnTo>
                        <a:pt x="310" y="130"/>
                      </a:lnTo>
                      <a:lnTo>
                        <a:pt x="310" y="131"/>
                      </a:lnTo>
                      <a:lnTo>
                        <a:pt x="310" y="133"/>
                      </a:lnTo>
                      <a:lnTo>
                        <a:pt x="310" y="135"/>
                      </a:lnTo>
                      <a:lnTo>
                        <a:pt x="309" y="136"/>
                      </a:lnTo>
                      <a:lnTo>
                        <a:pt x="307" y="138"/>
                      </a:lnTo>
                      <a:lnTo>
                        <a:pt x="309" y="140"/>
                      </a:lnTo>
                      <a:lnTo>
                        <a:pt x="307" y="141"/>
                      </a:lnTo>
                      <a:lnTo>
                        <a:pt x="307" y="143"/>
                      </a:lnTo>
                      <a:lnTo>
                        <a:pt x="307" y="145"/>
                      </a:lnTo>
                      <a:lnTo>
                        <a:pt x="309" y="145"/>
                      </a:lnTo>
                      <a:lnTo>
                        <a:pt x="309" y="146"/>
                      </a:lnTo>
                      <a:lnTo>
                        <a:pt x="307" y="146"/>
                      </a:lnTo>
                      <a:lnTo>
                        <a:pt x="305" y="149"/>
                      </a:lnTo>
                      <a:lnTo>
                        <a:pt x="305" y="151"/>
                      </a:lnTo>
                      <a:lnTo>
                        <a:pt x="305" y="153"/>
                      </a:lnTo>
                      <a:lnTo>
                        <a:pt x="305" y="154"/>
                      </a:lnTo>
                      <a:lnTo>
                        <a:pt x="307" y="156"/>
                      </a:lnTo>
                      <a:lnTo>
                        <a:pt x="307" y="158"/>
                      </a:lnTo>
                      <a:lnTo>
                        <a:pt x="307" y="159"/>
                      </a:lnTo>
                      <a:lnTo>
                        <a:pt x="305" y="161"/>
                      </a:lnTo>
                      <a:lnTo>
                        <a:pt x="305" y="163"/>
                      </a:lnTo>
                      <a:lnTo>
                        <a:pt x="305" y="164"/>
                      </a:lnTo>
                      <a:lnTo>
                        <a:pt x="304" y="164"/>
                      </a:lnTo>
                      <a:lnTo>
                        <a:pt x="305" y="166"/>
                      </a:lnTo>
                      <a:lnTo>
                        <a:pt x="304" y="166"/>
                      </a:lnTo>
                      <a:lnTo>
                        <a:pt x="304" y="168"/>
                      </a:lnTo>
                      <a:lnTo>
                        <a:pt x="302" y="169"/>
                      </a:lnTo>
                      <a:lnTo>
                        <a:pt x="300" y="169"/>
                      </a:lnTo>
                      <a:lnTo>
                        <a:pt x="300" y="171"/>
                      </a:lnTo>
                      <a:lnTo>
                        <a:pt x="299" y="171"/>
                      </a:lnTo>
                      <a:lnTo>
                        <a:pt x="299" y="172"/>
                      </a:lnTo>
                      <a:lnTo>
                        <a:pt x="299" y="174"/>
                      </a:lnTo>
                      <a:lnTo>
                        <a:pt x="297" y="176"/>
                      </a:lnTo>
                      <a:lnTo>
                        <a:pt x="297" y="177"/>
                      </a:lnTo>
                      <a:lnTo>
                        <a:pt x="295" y="179"/>
                      </a:lnTo>
                      <a:lnTo>
                        <a:pt x="295" y="181"/>
                      </a:lnTo>
                      <a:lnTo>
                        <a:pt x="293" y="181"/>
                      </a:lnTo>
                      <a:lnTo>
                        <a:pt x="293" y="182"/>
                      </a:lnTo>
                      <a:lnTo>
                        <a:pt x="292" y="182"/>
                      </a:lnTo>
                      <a:lnTo>
                        <a:pt x="290" y="182"/>
                      </a:lnTo>
                      <a:lnTo>
                        <a:pt x="288" y="181"/>
                      </a:lnTo>
                      <a:lnTo>
                        <a:pt x="287" y="181"/>
                      </a:lnTo>
                      <a:lnTo>
                        <a:pt x="285" y="182"/>
                      </a:lnTo>
                      <a:lnTo>
                        <a:pt x="283" y="184"/>
                      </a:lnTo>
                      <a:lnTo>
                        <a:pt x="283" y="186"/>
                      </a:lnTo>
                      <a:lnTo>
                        <a:pt x="283" y="187"/>
                      </a:lnTo>
                      <a:lnTo>
                        <a:pt x="285" y="189"/>
                      </a:lnTo>
                      <a:lnTo>
                        <a:pt x="287" y="189"/>
                      </a:lnTo>
                      <a:lnTo>
                        <a:pt x="288" y="191"/>
                      </a:lnTo>
                      <a:lnTo>
                        <a:pt x="290" y="192"/>
                      </a:lnTo>
                      <a:lnTo>
                        <a:pt x="292" y="194"/>
                      </a:lnTo>
                      <a:lnTo>
                        <a:pt x="292" y="195"/>
                      </a:lnTo>
                      <a:lnTo>
                        <a:pt x="293" y="195"/>
                      </a:lnTo>
                      <a:lnTo>
                        <a:pt x="293" y="197"/>
                      </a:lnTo>
                      <a:lnTo>
                        <a:pt x="295" y="197"/>
                      </a:lnTo>
                      <a:lnTo>
                        <a:pt x="295" y="195"/>
                      </a:lnTo>
                      <a:lnTo>
                        <a:pt x="297" y="195"/>
                      </a:lnTo>
                      <a:lnTo>
                        <a:pt x="297" y="194"/>
                      </a:lnTo>
                      <a:lnTo>
                        <a:pt x="299" y="194"/>
                      </a:lnTo>
                      <a:lnTo>
                        <a:pt x="299" y="192"/>
                      </a:lnTo>
                      <a:lnTo>
                        <a:pt x="300" y="192"/>
                      </a:lnTo>
                      <a:lnTo>
                        <a:pt x="302" y="192"/>
                      </a:lnTo>
                      <a:lnTo>
                        <a:pt x="304" y="192"/>
                      </a:lnTo>
                      <a:lnTo>
                        <a:pt x="304" y="194"/>
                      </a:lnTo>
                      <a:lnTo>
                        <a:pt x="305" y="194"/>
                      </a:lnTo>
                      <a:lnTo>
                        <a:pt x="307" y="195"/>
                      </a:lnTo>
                      <a:lnTo>
                        <a:pt x="309" y="197"/>
                      </a:lnTo>
                      <a:lnTo>
                        <a:pt x="309" y="199"/>
                      </a:lnTo>
                      <a:lnTo>
                        <a:pt x="309" y="200"/>
                      </a:lnTo>
                      <a:lnTo>
                        <a:pt x="309" y="202"/>
                      </a:lnTo>
                      <a:lnTo>
                        <a:pt x="307" y="204"/>
                      </a:lnTo>
                      <a:lnTo>
                        <a:pt x="305" y="205"/>
                      </a:lnTo>
                      <a:lnTo>
                        <a:pt x="304" y="205"/>
                      </a:lnTo>
                      <a:lnTo>
                        <a:pt x="302" y="205"/>
                      </a:lnTo>
                      <a:lnTo>
                        <a:pt x="300" y="207"/>
                      </a:lnTo>
                      <a:lnTo>
                        <a:pt x="299" y="207"/>
                      </a:lnTo>
                      <a:lnTo>
                        <a:pt x="299" y="209"/>
                      </a:lnTo>
                      <a:lnTo>
                        <a:pt x="300" y="209"/>
                      </a:lnTo>
                      <a:lnTo>
                        <a:pt x="300" y="210"/>
                      </a:lnTo>
                      <a:lnTo>
                        <a:pt x="302" y="210"/>
                      </a:lnTo>
                      <a:lnTo>
                        <a:pt x="302" y="209"/>
                      </a:lnTo>
                      <a:lnTo>
                        <a:pt x="304" y="209"/>
                      </a:lnTo>
                      <a:lnTo>
                        <a:pt x="305" y="209"/>
                      </a:lnTo>
                      <a:lnTo>
                        <a:pt x="307" y="209"/>
                      </a:lnTo>
                      <a:lnTo>
                        <a:pt x="307" y="210"/>
                      </a:lnTo>
                      <a:lnTo>
                        <a:pt x="307" y="212"/>
                      </a:lnTo>
                      <a:lnTo>
                        <a:pt x="307" y="214"/>
                      </a:lnTo>
                      <a:lnTo>
                        <a:pt x="309" y="214"/>
                      </a:lnTo>
                      <a:lnTo>
                        <a:pt x="309" y="215"/>
                      </a:lnTo>
                      <a:lnTo>
                        <a:pt x="309" y="217"/>
                      </a:lnTo>
                      <a:lnTo>
                        <a:pt x="310" y="217"/>
                      </a:lnTo>
                      <a:lnTo>
                        <a:pt x="310" y="218"/>
                      </a:lnTo>
                      <a:lnTo>
                        <a:pt x="310" y="217"/>
                      </a:lnTo>
                      <a:lnTo>
                        <a:pt x="312" y="217"/>
                      </a:lnTo>
                      <a:lnTo>
                        <a:pt x="314" y="217"/>
                      </a:lnTo>
                      <a:lnTo>
                        <a:pt x="314" y="218"/>
                      </a:lnTo>
                      <a:lnTo>
                        <a:pt x="314" y="220"/>
                      </a:lnTo>
                      <a:lnTo>
                        <a:pt x="315" y="220"/>
                      </a:lnTo>
                      <a:lnTo>
                        <a:pt x="317" y="220"/>
                      </a:lnTo>
                      <a:lnTo>
                        <a:pt x="317" y="222"/>
                      </a:lnTo>
                      <a:lnTo>
                        <a:pt x="317" y="223"/>
                      </a:lnTo>
                      <a:lnTo>
                        <a:pt x="319" y="223"/>
                      </a:lnTo>
                      <a:lnTo>
                        <a:pt x="319" y="225"/>
                      </a:lnTo>
                      <a:lnTo>
                        <a:pt x="319" y="227"/>
                      </a:lnTo>
                      <a:lnTo>
                        <a:pt x="319" y="228"/>
                      </a:lnTo>
                      <a:lnTo>
                        <a:pt x="320" y="228"/>
                      </a:lnTo>
                      <a:lnTo>
                        <a:pt x="322" y="228"/>
                      </a:lnTo>
                      <a:lnTo>
                        <a:pt x="320" y="228"/>
                      </a:lnTo>
                      <a:lnTo>
                        <a:pt x="320" y="227"/>
                      </a:lnTo>
                      <a:lnTo>
                        <a:pt x="319" y="227"/>
                      </a:lnTo>
                      <a:lnTo>
                        <a:pt x="319" y="225"/>
                      </a:lnTo>
                      <a:lnTo>
                        <a:pt x="320" y="225"/>
                      </a:lnTo>
                      <a:lnTo>
                        <a:pt x="322" y="225"/>
                      </a:lnTo>
                      <a:lnTo>
                        <a:pt x="322" y="227"/>
                      </a:lnTo>
                      <a:lnTo>
                        <a:pt x="324" y="228"/>
                      </a:lnTo>
                      <a:lnTo>
                        <a:pt x="324" y="230"/>
                      </a:lnTo>
                      <a:lnTo>
                        <a:pt x="326" y="230"/>
                      </a:lnTo>
                      <a:lnTo>
                        <a:pt x="324" y="230"/>
                      </a:lnTo>
                      <a:lnTo>
                        <a:pt x="322" y="230"/>
                      </a:lnTo>
                      <a:lnTo>
                        <a:pt x="324" y="230"/>
                      </a:lnTo>
                      <a:lnTo>
                        <a:pt x="324" y="232"/>
                      </a:lnTo>
                      <a:lnTo>
                        <a:pt x="326" y="232"/>
                      </a:lnTo>
                      <a:lnTo>
                        <a:pt x="326" y="233"/>
                      </a:lnTo>
                      <a:lnTo>
                        <a:pt x="326" y="235"/>
                      </a:lnTo>
                      <a:lnTo>
                        <a:pt x="326" y="237"/>
                      </a:lnTo>
                      <a:lnTo>
                        <a:pt x="327" y="237"/>
                      </a:lnTo>
                      <a:lnTo>
                        <a:pt x="327" y="235"/>
                      </a:lnTo>
                      <a:lnTo>
                        <a:pt x="327" y="237"/>
                      </a:lnTo>
                      <a:lnTo>
                        <a:pt x="329" y="237"/>
                      </a:lnTo>
                      <a:lnTo>
                        <a:pt x="331" y="237"/>
                      </a:lnTo>
                      <a:lnTo>
                        <a:pt x="331" y="238"/>
                      </a:lnTo>
                      <a:lnTo>
                        <a:pt x="329" y="238"/>
                      </a:lnTo>
                      <a:lnTo>
                        <a:pt x="331" y="238"/>
                      </a:lnTo>
                      <a:lnTo>
                        <a:pt x="331" y="240"/>
                      </a:lnTo>
                      <a:lnTo>
                        <a:pt x="331" y="241"/>
                      </a:lnTo>
                      <a:lnTo>
                        <a:pt x="332" y="241"/>
                      </a:lnTo>
                      <a:lnTo>
                        <a:pt x="331" y="241"/>
                      </a:lnTo>
                      <a:lnTo>
                        <a:pt x="331" y="243"/>
                      </a:lnTo>
                      <a:lnTo>
                        <a:pt x="332" y="243"/>
                      </a:lnTo>
                      <a:lnTo>
                        <a:pt x="331" y="243"/>
                      </a:lnTo>
                      <a:lnTo>
                        <a:pt x="332" y="243"/>
                      </a:lnTo>
                      <a:lnTo>
                        <a:pt x="332" y="245"/>
                      </a:lnTo>
                      <a:lnTo>
                        <a:pt x="332" y="243"/>
                      </a:lnTo>
                      <a:lnTo>
                        <a:pt x="332" y="245"/>
                      </a:lnTo>
                      <a:lnTo>
                        <a:pt x="334" y="245"/>
                      </a:lnTo>
                      <a:lnTo>
                        <a:pt x="336" y="245"/>
                      </a:lnTo>
                      <a:lnTo>
                        <a:pt x="336" y="246"/>
                      </a:lnTo>
                      <a:lnTo>
                        <a:pt x="337" y="246"/>
                      </a:lnTo>
                      <a:lnTo>
                        <a:pt x="337" y="248"/>
                      </a:lnTo>
                      <a:lnTo>
                        <a:pt x="339" y="250"/>
                      </a:lnTo>
                      <a:lnTo>
                        <a:pt x="339" y="251"/>
                      </a:lnTo>
                      <a:lnTo>
                        <a:pt x="341" y="251"/>
                      </a:lnTo>
                      <a:lnTo>
                        <a:pt x="341" y="253"/>
                      </a:lnTo>
                      <a:lnTo>
                        <a:pt x="342" y="253"/>
                      </a:lnTo>
                      <a:lnTo>
                        <a:pt x="342" y="255"/>
                      </a:lnTo>
                      <a:lnTo>
                        <a:pt x="344" y="255"/>
                      </a:lnTo>
                      <a:lnTo>
                        <a:pt x="344" y="256"/>
                      </a:lnTo>
                      <a:lnTo>
                        <a:pt x="346" y="256"/>
                      </a:lnTo>
                      <a:lnTo>
                        <a:pt x="344" y="256"/>
                      </a:lnTo>
                      <a:lnTo>
                        <a:pt x="344" y="258"/>
                      </a:lnTo>
                      <a:lnTo>
                        <a:pt x="346" y="258"/>
                      </a:lnTo>
                      <a:lnTo>
                        <a:pt x="344" y="258"/>
                      </a:lnTo>
                      <a:lnTo>
                        <a:pt x="346" y="258"/>
                      </a:lnTo>
                      <a:lnTo>
                        <a:pt x="346" y="260"/>
                      </a:lnTo>
                      <a:lnTo>
                        <a:pt x="344" y="260"/>
                      </a:lnTo>
                      <a:lnTo>
                        <a:pt x="346" y="260"/>
                      </a:lnTo>
                      <a:lnTo>
                        <a:pt x="348" y="260"/>
                      </a:lnTo>
                      <a:lnTo>
                        <a:pt x="348" y="261"/>
                      </a:lnTo>
                      <a:lnTo>
                        <a:pt x="349" y="261"/>
                      </a:lnTo>
                      <a:lnTo>
                        <a:pt x="349" y="263"/>
                      </a:lnTo>
                      <a:lnTo>
                        <a:pt x="349" y="264"/>
                      </a:lnTo>
                      <a:lnTo>
                        <a:pt x="351" y="264"/>
                      </a:lnTo>
                      <a:lnTo>
                        <a:pt x="351" y="266"/>
                      </a:lnTo>
                      <a:lnTo>
                        <a:pt x="353" y="266"/>
                      </a:lnTo>
                      <a:lnTo>
                        <a:pt x="354" y="266"/>
                      </a:lnTo>
                      <a:lnTo>
                        <a:pt x="356" y="266"/>
                      </a:lnTo>
                      <a:lnTo>
                        <a:pt x="354" y="266"/>
                      </a:lnTo>
                      <a:lnTo>
                        <a:pt x="356" y="266"/>
                      </a:lnTo>
                      <a:lnTo>
                        <a:pt x="356" y="264"/>
                      </a:lnTo>
                      <a:lnTo>
                        <a:pt x="356" y="266"/>
                      </a:lnTo>
                      <a:lnTo>
                        <a:pt x="356" y="264"/>
                      </a:lnTo>
                      <a:lnTo>
                        <a:pt x="358" y="264"/>
                      </a:lnTo>
                      <a:lnTo>
                        <a:pt x="358" y="263"/>
                      </a:lnTo>
                      <a:lnTo>
                        <a:pt x="359" y="263"/>
                      </a:lnTo>
                      <a:lnTo>
                        <a:pt x="359" y="261"/>
                      </a:lnTo>
                      <a:lnTo>
                        <a:pt x="361" y="261"/>
                      </a:lnTo>
                      <a:lnTo>
                        <a:pt x="361" y="260"/>
                      </a:lnTo>
                      <a:lnTo>
                        <a:pt x="363" y="260"/>
                      </a:lnTo>
                      <a:lnTo>
                        <a:pt x="364" y="260"/>
                      </a:lnTo>
                      <a:lnTo>
                        <a:pt x="364" y="258"/>
                      </a:lnTo>
                      <a:lnTo>
                        <a:pt x="366" y="258"/>
                      </a:lnTo>
                      <a:lnTo>
                        <a:pt x="366" y="256"/>
                      </a:lnTo>
                      <a:lnTo>
                        <a:pt x="368" y="256"/>
                      </a:lnTo>
                      <a:lnTo>
                        <a:pt x="366" y="258"/>
                      </a:lnTo>
                      <a:lnTo>
                        <a:pt x="368" y="258"/>
                      </a:lnTo>
                      <a:lnTo>
                        <a:pt x="368" y="256"/>
                      </a:lnTo>
                      <a:lnTo>
                        <a:pt x="369" y="256"/>
                      </a:lnTo>
                      <a:lnTo>
                        <a:pt x="369" y="258"/>
                      </a:lnTo>
                      <a:lnTo>
                        <a:pt x="369" y="256"/>
                      </a:lnTo>
                      <a:lnTo>
                        <a:pt x="371" y="258"/>
                      </a:lnTo>
                      <a:lnTo>
                        <a:pt x="371" y="256"/>
                      </a:lnTo>
                      <a:lnTo>
                        <a:pt x="373" y="256"/>
                      </a:lnTo>
                      <a:lnTo>
                        <a:pt x="375" y="256"/>
                      </a:lnTo>
                      <a:lnTo>
                        <a:pt x="376" y="256"/>
                      </a:lnTo>
                      <a:lnTo>
                        <a:pt x="376" y="255"/>
                      </a:lnTo>
                      <a:lnTo>
                        <a:pt x="378" y="255"/>
                      </a:lnTo>
                      <a:lnTo>
                        <a:pt x="378" y="253"/>
                      </a:lnTo>
                      <a:lnTo>
                        <a:pt x="378" y="255"/>
                      </a:lnTo>
                      <a:lnTo>
                        <a:pt x="380" y="255"/>
                      </a:lnTo>
                      <a:lnTo>
                        <a:pt x="380" y="253"/>
                      </a:lnTo>
                      <a:lnTo>
                        <a:pt x="381" y="253"/>
                      </a:lnTo>
                      <a:lnTo>
                        <a:pt x="383" y="253"/>
                      </a:lnTo>
                      <a:lnTo>
                        <a:pt x="385" y="253"/>
                      </a:lnTo>
                      <a:lnTo>
                        <a:pt x="386" y="253"/>
                      </a:lnTo>
                      <a:lnTo>
                        <a:pt x="386" y="251"/>
                      </a:lnTo>
                      <a:lnTo>
                        <a:pt x="388" y="251"/>
                      </a:lnTo>
                      <a:lnTo>
                        <a:pt x="388" y="253"/>
                      </a:lnTo>
                      <a:lnTo>
                        <a:pt x="388" y="251"/>
                      </a:lnTo>
                      <a:lnTo>
                        <a:pt x="390" y="251"/>
                      </a:lnTo>
                      <a:lnTo>
                        <a:pt x="391" y="251"/>
                      </a:lnTo>
                      <a:lnTo>
                        <a:pt x="393" y="251"/>
                      </a:lnTo>
                      <a:lnTo>
                        <a:pt x="395" y="251"/>
                      </a:lnTo>
                      <a:lnTo>
                        <a:pt x="395" y="253"/>
                      </a:lnTo>
                      <a:lnTo>
                        <a:pt x="396" y="253"/>
                      </a:lnTo>
                      <a:lnTo>
                        <a:pt x="396" y="255"/>
                      </a:lnTo>
                      <a:lnTo>
                        <a:pt x="398" y="256"/>
                      </a:lnTo>
                      <a:lnTo>
                        <a:pt x="400" y="256"/>
                      </a:lnTo>
                      <a:lnTo>
                        <a:pt x="400" y="258"/>
                      </a:lnTo>
                      <a:lnTo>
                        <a:pt x="402" y="258"/>
                      </a:lnTo>
                      <a:lnTo>
                        <a:pt x="403" y="260"/>
                      </a:lnTo>
                      <a:lnTo>
                        <a:pt x="403" y="261"/>
                      </a:lnTo>
                      <a:lnTo>
                        <a:pt x="405" y="261"/>
                      </a:lnTo>
                      <a:lnTo>
                        <a:pt x="405" y="263"/>
                      </a:lnTo>
                      <a:lnTo>
                        <a:pt x="405" y="264"/>
                      </a:lnTo>
                      <a:lnTo>
                        <a:pt x="403" y="264"/>
                      </a:lnTo>
                      <a:lnTo>
                        <a:pt x="405" y="264"/>
                      </a:lnTo>
                      <a:lnTo>
                        <a:pt x="405" y="266"/>
                      </a:lnTo>
                      <a:lnTo>
                        <a:pt x="405" y="268"/>
                      </a:lnTo>
                      <a:lnTo>
                        <a:pt x="405" y="269"/>
                      </a:lnTo>
                      <a:lnTo>
                        <a:pt x="403" y="269"/>
                      </a:lnTo>
                      <a:lnTo>
                        <a:pt x="403" y="271"/>
                      </a:lnTo>
                      <a:lnTo>
                        <a:pt x="403" y="273"/>
                      </a:lnTo>
                      <a:lnTo>
                        <a:pt x="402" y="273"/>
                      </a:lnTo>
                      <a:lnTo>
                        <a:pt x="402" y="274"/>
                      </a:lnTo>
                      <a:lnTo>
                        <a:pt x="402" y="276"/>
                      </a:lnTo>
                      <a:lnTo>
                        <a:pt x="400" y="276"/>
                      </a:lnTo>
                      <a:lnTo>
                        <a:pt x="400" y="278"/>
                      </a:lnTo>
                      <a:lnTo>
                        <a:pt x="402" y="278"/>
                      </a:lnTo>
                      <a:lnTo>
                        <a:pt x="403" y="279"/>
                      </a:lnTo>
                      <a:lnTo>
                        <a:pt x="402" y="281"/>
                      </a:lnTo>
                      <a:lnTo>
                        <a:pt x="402" y="282"/>
                      </a:lnTo>
                      <a:lnTo>
                        <a:pt x="402" y="284"/>
                      </a:lnTo>
                      <a:lnTo>
                        <a:pt x="402" y="286"/>
                      </a:lnTo>
                      <a:lnTo>
                        <a:pt x="402" y="287"/>
                      </a:lnTo>
                      <a:lnTo>
                        <a:pt x="400" y="287"/>
                      </a:lnTo>
                      <a:lnTo>
                        <a:pt x="398" y="289"/>
                      </a:lnTo>
                      <a:lnTo>
                        <a:pt x="398" y="291"/>
                      </a:lnTo>
                      <a:lnTo>
                        <a:pt x="396" y="291"/>
                      </a:lnTo>
                      <a:lnTo>
                        <a:pt x="395" y="291"/>
                      </a:lnTo>
                      <a:lnTo>
                        <a:pt x="393" y="291"/>
                      </a:lnTo>
                      <a:lnTo>
                        <a:pt x="391" y="291"/>
                      </a:lnTo>
                      <a:lnTo>
                        <a:pt x="390" y="291"/>
                      </a:lnTo>
                      <a:lnTo>
                        <a:pt x="388" y="291"/>
                      </a:lnTo>
                      <a:lnTo>
                        <a:pt x="386" y="291"/>
                      </a:lnTo>
                      <a:lnTo>
                        <a:pt x="385" y="292"/>
                      </a:lnTo>
                      <a:lnTo>
                        <a:pt x="383" y="292"/>
                      </a:lnTo>
                      <a:lnTo>
                        <a:pt x="381" y="294"/>
                      </a:lnTo>
                      <a:lnTo>
                        <a:pt x="381" y="296"/>
                      </a:lnTo>
                      <a:lnTo>
                        <a:pt x="380" y="296"/>
                      </a:lnTo>
                      <a:lnTo>
                        <a:pt x="378" y="296"/>
                      </a:lnTo>
                      <a:lnTo>
                        <a:pt x="376" y="296"/>
                      </a:lnTo>
                      <a:lnTo>
                        <a:pt x="376" y="294"/>
                      </a:lnTo>
                      <a:lnTo>
                        <a:pt x="375" y="294"/>
                      </a:lnTo>
                      <a:lnTo>
                        <a:pt x="375" y="296"/>
                      </a:lnTo>
                      <a:lnTo>
                        <a:pt x="375" y="297"/>
                      </a:lnTo>
                      <a:lnTo>
                        <a:pt x="373" y="297"/>
                      </a:lnTo>
                      <a:lnTo>
                        <a:pt x="373" y="299"/>
                      </a:lnTo>
                      <a:lnTo>
                        <a:pt x="375" y="299"/>
                      </a:lnTo>
                      <a:lnTo>
                        <a:pt x="373" y="299"/>
                      </a:lnTo>
                      <a:lnTo>
                        <a:pt x="375" y="301"/>
                      </a:lnTo>
                      <a:lnTo>
                        <a:pt x="373" y="301"/>
                      </a:lnTo>
                      <a:lnTo>
                        <a:pt x="373" y="302"/>
                      </a:lnTo>
                      <a:lnTo>
                        <a:pt x="375" y="302"/>
                      </a:lnTo>
                      <a:lnTo>
                        <a:pt x="373" y="302"/>
                      </a:lnTo>
                      <a:lnTo>
                        <a:pt x="373" y="304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69" y="307"/>
                      </a:lnTo>
                      <a:lnTo>
                        <a:pt x="369" y="309"/>
                      </a:lnTo>
                      <a:lnTo>
                        <a:pt x="369" y="310"/>
                      </a:lnTo>
                      <a:lnTo>
                        <a:pt x="368" y="310"/>
                      </a:lnTo>
                      <a:lnTo>
                        <a:pt x="368" y="312"/>
                      </a:lnTo>
                      <a:lnTo>
                        <a:pt x="366" y="312"/>
                      </a:lnTo>
                      <a:lnTo>
                        <a:pt x="366" y="314"/>
                      </a:lnTo>
                      <a:lnTo>
                        <a:pt x="366" y="312"/>
                      </a:lnTo>
                      <a:lnTo>
                        <a:pt x="366" y="314"/>
                      </a:lnTo>
                      <a:lnTo>
                        <a:pt x="364" y="314"/>
                      </a:lnTo>
                      <a:lnTo>
                        <a:pt x="364" y="315"/>
                      </a:lnTo>
                      <a:lnTo>
                        <a:pt x="363" y="315"/>
                      </a:lnTo>
                      <a:lnTo>
                        <a:pt x="364" y="315"/>
                      </a:lnTo>
                      <a:lnTo>
                        <a:pt x="364" y="317"/>
                      </a:lnTo>
                      <a:lnTo>
                        <a:pt x="363" y="317"/>
                      </a:lnTo>
                      <a:lnTo>
                        <a:pt x="363" y="319"/>
                      </a:lnTo>
                      <a:lnTo>
                        <a:pt x="363" y="317"/>
                      </a:lnTo>
                      <a:lnTo>
                        <a:pt x="363" y="319"/>
                      </a:lnTo>
                      <a:lnTo>
                        <a:pt x="363" y="320"/>
                      </a:lnTo>
                      <a:lnTo>
                        <a:pt x="364" y="320"/>
                      </a:lnTo>
                      <a:lnTo>
                        <a:pt x="364" y="322"/>
                      </a:lnTo>
                      <a:lnTo>
                        <a:pt x="364" y="324"/>
                      </a:lnTo>
                      <a:lnTo>
                        <a:pt x="366" y="324"/>
                      </a:lnTo>
                      <a:lnTo>
                        <a:pt x="364" y="324"/>
                      </a:lnTo>
                      <a:lnTo>
                        <a:pt x="364" y="325"/>
                      </a:lnTo>
                      <a:lnTo>
                        <a:pt x="363" y="325"/>
                      </a:lnTo>
                      <a:lnTo>
                        <a:pt x="363" y="327"/>
                      </a:lnTo>
                      <a:lnTo>
                        <a:pt x="363" y="328"/>
                      </a:lnTo>
                      <a:lnTo>
                        <a:pt x="361" y="327"/>
                      </a:lnTo>
                      <a:lnTo>
                        <a:pt x="361" y="328"/>
                      </a:lnTo>
                      <a:lnTo>
                        <a:pt x="363" y="330"/>
                      </a:lnTo>
                      <a:lnTo>
                        <a:pt x="363" y="332"/>
                      </a:lnTo>
                      <a:lnTo>
                        <a:pt x="364" y="332"/>
                      </a:lnTo>
                      <a:lnTo>
                        <a:pt x="364" y="333"/>
                      </a:lnTo>
                      <a:lnTo>
                        <a:pt x="363" y="333"/>
                      </a:lnTo>
                      <a:lnTo>
                        <a:pt x="364" y="333"/>
                      </a:lnTo>
                      <a:lnTo>
                        <a:pt x="364" y="335"/>
                      </a:lnTo>
                      <a:lnTo>
                        <a:pt x="364" y="337"/>
                      </a:lnTo>
                      <a:lnTo>
                        <a:pt x="363" y="337"/>
                      </a:lnTo>
                      <a:lnTo>
                        <a:pt x="363" y="338"/>
                      </a:lnTo>
                      <a:lnTo>
                        <a:pt x="363" y="340"/>
                      </a:lnTo>
                      <a:lnTo>
                        <a:pt x="361" y="340"/>
                      </a:lnTo>
                      <a:lnTo>
                        <a:pt x="359" y="340"/>
                      </a:lnTo>
                      <a:lnTo>
                        <a:pt x="359" y="342"/>
                      </a:lnTo>
                      <a:lnTo>
                        <a:pt x="358" y="340"/>
                      </a:lnTo>
                      <a:lnTo>
                        <a:pt x="356" y="340"/>
                      </a:lnTo>
                      <a:lnTo>
                        <a:pt x="356" y="342"/>
                      </a:lnTo>
                      <a:lnTo>
                        <a:pt x="356" y="343"/>
                      </a:lnTo>
                      <a:lnTo>
                        <a:pt x="358" y="343"/>
                      </a:lnTo>
                      <a:lnTo>
                        <a:pt x="358" y="345"/>
                      </a:lnTo>
                      <a:lnTo>
                        <a:pt x="356" y="345"/>
                      </a:lnTo>
                      <a:lnTo>
                        <a:pt x="356" y="347"/>
                      </a:lnTo>
                      <a:lnTo>
                        <a:pt x="354" y="347"/>
                      </a:lnTo>
                      <a:lnTo>
                        <a:pt x="356" y="348"/>
                      </a:lnTo>
                      <a:lnTo>
                        <a:pt x="354" y="348"/>
                      </a:lnTo>
                      <a:lnTo>
                        <a:pt x="353" y="348"/>
                      </a:lnTo>
                      <a:lnTo>
                        <a:pt x="354" y="348"/>
                      </a:lnTo>
                      <a:lnTo>
                        <a:pt x="353" y="348"/>
                      </a:lnTo>
                      <a:lnTo>
                        <a:pt x="353" y="350"/>
                      </a:lnTo>
                      <a:lnTo>
                        <a:pt x="354" y="350"/>
                      </a:lnTo>
                      <a:lnTo>
                        <a:pt x="353" y="350"/>
                      </a:lnTo>
                      <a:lnTo>
                        <a:pt x="353" y="351"/>
                      </a:lnTo>
                      <a:lnTo>
                        <a:pt x="351" y="351"/>
                      </a:lnTo>
                      <a:lnTo>
                        <a:pt x="353" y="351"/>
                      </a:lnTo>
                      <a:lnTo>
                        <a:pt x="351" y="351"/>
                      </a:lnTo>
                      <a:lnTo>
                        <a:pt x="351" y="353"/>
                      </a:lnTo>
                      <a:lnTo>
                        <a:pt x="349" y="353"/>
                      </a:lnTo>
                      <a:lnTo>
                        <a:pt x="348" y="353"/>
                      </a:lnTo>
                      <a:lnTo>
                        <a:pt x="348" y="355"/>
                      </a:lnTo>
                      <a:lnTo>
                        <a:pt x="349" y="355"/>
                      </a:lnTo>
                      <a:lnTo>
                        <a:pt x="351" y="355"/>
                      </a:lnTo>
                      <a:lnTo>
                        <a:pt x="351" y="356"/>
                      </a:lnTo>
                      <a:lnTo>
                        <a:pt x="349" y="356"/>
                      </a:lnTo>
                      <a:lnTo>
                        <a:pt x="349" y="358"/>
                      </a:lnTo>
                      <a:lnTo>
                        <a:pt x="349" y="356"/>
                      </a:lnTo>
                      <a:lnTo>
                        <a:pt x="349" y="358"/>
                      </a:lnTo>
                      <a:lnTo>
                        <a:pt x="348" y="358"/>
                      </a:lnTo>
                      <a:lnTo>
                        <a:pt x="349" y="358"/>
                      </a:lnTo>
                      <a:lnTo>
                        <a:pt x="349" y="360"/>
                      </a:lnTo>
                      <a:lnTo>
                        <a:pt x="351" y="360"/>
                      </a:lnTo>
                      <a:lnTo>
                        <a:pt x="353" y="360"/>
                      </a:lnTo>
                      <a:lnTo>
                        <a:pt x="354" y="360"/>
                      </a:lnTo>
                      <a:lnTo>
                        <a:pt x="353" y="360"/>
                      </a:lnTo>
                      <a:lnTo>
                        <a:pt x="354" y="360"/>
                      </a:lnTo>
                      <a:lnTo>
                        <a:pt x="356" y="360"/>
                      </a:lnTo>
                      <a:lnTo>
                        <a:pt x="358" y="360"/>
                      </a:lnTo>
                      <a:lnTo>
                        <a:pt x="359" y="360"/>
                      </a:lnTo>
                      <a:lnTo>
                        <a:pt x="359" y="358"/>
                      </a:lnTo>
                      <a:lnTo>
                        <a:pt x="361" y="358"/>
                      </a:lnTo>
                      <a:lnTo>
                        <a:pt x="361" y="360"/>
                      </a:lnTo>
                      <a:lnTo>
                        <a:pt x="361" y="358"/>
                      </a:lnTo>
                      <a:lnTo>
                        <a:pt x="363" y="360"/>
                      </a:lnTo>
                      <a:lnTo>
                        <a:pt x="363" y="361"/>
                      </a:lnTo>
                      <a:lnTo>
                        <a:pt x="361" y="361"/>
                      </a:lnTo>
                      <a:lnTo>
                        <a:pt x="363" y="361"/>
                      </a:lnTo>
                      <a:lnTo>
                        <a:pt x="361" y="361"/>
                      </a:lnTo>
                      <a:lnTo>
                        <a:pt x="361" y="363"/>
                      </a:lnTo>
                      <a:lnTo>
                        <a:pt x="361" y="365"/>
                      </a:lnTo>
                      <a:lnTo>
                        <a:pt x="363" y="365"/>
                      </a:lnTo>
                      <a:lnTo>
                        <a:pt x="364" y="365"/>
                      </a:lnTo>
                      <a:lnTo>
                        <a:pt x="364" y="366"/>
                      </a:lnTo>
                      <a:lnTo>
                        <a:pt x="366" y="366"/>
                      </a:lnTo>
                      <a:lnTo>
                        <a:pt x="368" y="366"/>
                      </a:lnTo>
                      <a:lnTo>
                        <a:pt x="369" y="366"/>
                      </a:lnTo>
                      <a:lnTo>
                        <a:pt x="369" y="368"/>
                      </a:lnTo>
                      <a:lnTo>
                        <a:pt x="369" y="370"/>
                      </a:lnTo>
                      <a:lnTo>
                        <a:pt x="369" y="371"/>
                      </a:lnTo>
                      <a:lnTo>
                        <a:pt x="371" y="371"/>
                      </a:lnTo>
                      <a:lnTo>
                        <a:pt x="371" y="373"/>
                      </a:lnTo>
                      <a:lnTo>
                        <a:pt x="371" y="374"/>
                      </a:lnTo>
                      <a:lnTo>
                        <a:pt x="371" y="376"/>
                      </a:lnTo>
                      <a:lnTo>
                        <a:pt x="371" y="378"/>
                      </a:lnTo>
                      <a:lnTo>
                        <a:pt x="371" y="379"/>
                      </a:lnTo>
                      <a:lnTo>
                        <a:pt x="369" y="379"/>
                      </a:lnTo>
                      <a:lnTo>
                        <a:pt x="369" y="381"/>
                      </a:lnTo>
                      <a:lnTo>
                        <a:pt x="371" y="381"/>
                      </a:lnTo>
                      <a:lnTo>
                        <a:pt x="373" y="381"/>
                      </a:lnTo>
                      <a:lnTo>
                        <a:pt x="373" y="383"/>
                      </a:lnTo>
                      <a:lnTo>
                        <a:pt x="375" y="384"/>
                      </a:lnTo>
                      <a:lnTo>
                        <a:pt x="375" y="386"/>
                      </a:lnTo>
                      <a:lnTo>
                        <a:pt x="376" y="386"/>
                      </a:lnTo>
                      <a:lnTo>
                        <a:pt x="378" y="388"/>
                      </a:lnTo>
                      <a:lnTo>
                        <a:pt x="378" y="389"/>
                      </a:lnTo>
                      <a:lnTo>
                        <a:pt x="376" y="389"/>
                      </a:lnTo>
                      <a:lnTo>
                        <a:pt x="376" y="391"/>
                      </a:lnTo>
                      <a:lnTo>
                        <a:pt x="378" y="391"/>
                      </a:lnTo>
                      <a:lnTo>
                        <a:pt x="380" y="391"/>
                      </a:lnTo>
                      <a:lnTo>
                        <a:pt x="380" y="389"/>
                      </a:lnTo>
                      <a:lnTo>
                        <a:pt x="381" y="389"/>
                      </a:lnTo>
                      <a:lnTo>
                        <a:pt x="383" y="389"/>
                      </a:lnTo>
                      <a:lnTo>
                        <a:pt x="385" y="389"/>
                      </a:lnTo>
                      <a:lnTo>
                        <a:pt x="386" y="389"/>
                      </a:lnTo>
                      <a:lnTo>
                        <a:pt x="388" y="391"/>
                      </a:lnTo>
                      <a:lnTo>
                        <a:pt x="390" y="391"/>
                      </a:lnTo>
                      <a:lnTo>
                        <a:pt x="388" y="391"/>
                      </a:lnTo>
                      <a:lnTo>
                        <a:pt x="388" y="393"/>
                      </a:lnTo>
                      <a:lnTo>
                        <a:pt x="388" y="394"/>
                      </a:lnTo>
                      <a:lnTo>
                        <a:pt x="388" y="396"/>
                      </a:lnTo>
                      <a:lnTo>
                        <a:pt x="390" y="396"/>
                      </a:lnTo>
                      <a:lnTo>
                        <a:pt x="391" y="396"/>
                      </a:lnTo>
                      <a:lnTo>
                        <a:pt x="393" y="396"/>
                      </a:lnTo>
                      <a:lnTo>
                        <a:pt x="393" y="397"/>
                      </a:lnTo>
                      <a:lnTo>
                        <a:pt x="395" y="397"/>
                      </a:lnTo>
                      <a:lnTo>
                        <a:pt x="396" y="397"/>
                      </a:lnTo>
                      <a:lnTo>
                        <a:pt x="396" y="399"/>
                      </a:lnTo>
                      <a:lnTo>
                        <a:pt x="395" y="399"/>
                      </a:lnTo>
                      <a:lnTo>
                        <a:pt x="395" y="401"/>
                      </a:lnTo>
                      <a:lnTo>
                        <a:pt x="396" y="402"/>
                      </a:lnTo>
                      <a:lnTo>
                        <a:pt x="398" y="404"/>
                      </a:lnTo>
                      <a:lnTo>
                        <a:pt x="396" y="406"/>
                      </a:lnTo>
                      <a:lnTo>
                        <a:pt x="395" y="406"/>
                      </a:lnTo>
                      <a:lnTo>
                        <a:pt x="395" y="407"/>
                      </a:lnTo>
                      <a:lnTo>
                        <a:pt x="393" y="407"/>
                      </a:lnTo>
                      <a:lnTo>
                        <a:pt x="393" y="409"/>
                      </a:lnTo>
                      <a:lnTo>
                        <a:pt x="391" y="411"/>
                      </a:lnTo>
                      <a:lnTo>
                        <a:pt x="391" y="412"/>
                      </a:lnTo>
                      <a:lnTo>
                        <a:pt x="391" y="414"/>
                      </a:lnTo>
                      <a:lnTo>
                        <a:pt x="390" y="416"/>
                      </a:lnTo>
                      <a:lnTo>
                        <a:pt x="388" y="417"/>
                      </a:lnTo>
                      <a:lnTo>
                        <a:pt x="388" y="419"/>
                      </a:lnTo>
                      <a:lnTo>
                        <a:pt x="388" y="420"/>
                      </a:lnTo>
                      <a:lnTo>
                        <a:pt x="388" y="422"/>
                      </a:lnTo>
                      <a:lnTo>
                        <a:pt x="390" y="422"/>
                      </a:lnTo>
                      <a:lnTo>
                        <a:pt x="391" y="422"/>
                      </a:lnTo>
                      <a:lnTo>
                        <a:pt x="393" y="422"/>
                      </a:lnTo>
                      <a:lnTo>
                        <a:pt x="395" y="422"/>
                      </a:lnTo>
                      <a:lnTo>
                        <a:pt x="395" y="424"/>
                      </a:lnTo>
                      <a:lnTo>
                        <a:pt x="395" y="425"/>
                      </a:lnTo>
                      <a:lnTo>
                        <a:pt x="395" y="427"/>
                      </a:lnTo>
                      <a:lnTo>
                        <a:pt x="396" y="427"/>
                      </a:lnTo>
                      <a:lnTo>
                        <a:pt x="398" y="427"/>
                      </a:lnTo>
                      <a:lnTo>
                        <a:pt x="400" y="427"/>
                      </a:lnTo>
                      <a:lnTo>
                        <a:pt x="402" y="427"/>
                      </a:lnTo>
                      <a:lnTo>
                        <a:pt x="402" y="429"/>
                      </a:lnTo>
                      <a:lnTo>
                        <a:pt x="403" y="429"/>
                      </a:lnTo>
                      <a:lnTo>
                        <a:pt x="403" y="430"/>
                      </a:lnTo>
                      <a:lnTo>
                        <a:pt x="402" y="430"/>
                      </a:lnTo>
                      <a:lnTo>
                        <a:pt x="403" y="430"/>
                      </a:lnTo>
                      <a:lnTo>
                        <a:pt x="403" y="432"/>
                      </a:lnTo>
                      <a:lnTo>
                        <a:pt x="403" y="434"/>
                      </a:lnTo>
                      <a:lnTo>
                        <a:pt x="405" y="434"/>
                      </a:lnTo>
                      <a:lnTo>
                        <a:pt x="405" y="435"/>
                      </a:lnTo>
                      <a:lnTo>
                        <a:pt x="405" y="437"/>
                      </a:lnTo>
                      <a:lnTo>
                        <a:pt x="405" y="439"/>
                      </a:lnTo>
                      <a:lnTo>
                        <a:pt x="405" y="440"/>
                      </a:lnTo>
                      <a:lnTo>
                        <a:pt x="405" y="442"/>
                      </a:lnTo>
                      <a:lnTo>
                        <a:pt x="405" y="443"/>
                      </a:lnTo>
                      <a:lnTo>
                        <a:pt x="405" y="445"/>
                      </a:lnTo>
                      <a:lnTo>
                        <a:pt x="405" y="447"/>
                      </a:lnTo>
                      <a:lnTo>
                        <a:pt x="407" y="447"/>
                      </a:lnTo>
                      <a:lnTo>
                        <a:pt x="407" y="448"/>
                      </a:lnTo>
                      <a:lnTo>
                        <a:pt x="407" y="450"/>
                      </a:lnTo>
                      <a:lnTo>
                        <a:pt x="407" y="452"/>
                      </a:lnTo>
                      <a:lnTo>
                        <a:pt x="408" y="452"/>
                      </a:lnTo>
                      <a:lnTo>
                        <a:pt x="410" y="453"/>
                      </a:lnTo>
                      <a:lnTo>
                        <a:pt x="412" y="455"/>
                      </a:lnTo>
                      <a:lnTo>
                        <a:pt x="413" y="457"/>
                      </a:lnTo>
                      <a:lnTo>
                        <a:pt x="413" y="458"/>
                      </a:lnTo>
                      <a:lnTo>
                        <a:pt x="415" y="460"/>
                      </a:lnTo>
                      <a:lnTo>
                        <a:pt x="415" y="462"/>
                      </a:lnTo>
                      <a:lnTo>
                        <a:pt x="417" y="462"/>
                      </a:lnTo>
                      <a:lnTo>
                        <a:pt x="418" y="462"/>
                      </a:lnTo>
                      <a:lnTo>
                        <a:pt x="420" y="462"/>
                      </a:lnTo>
                      <a:lnTo>
                        <a:pt x="422" y="462"/>
                      </a:lnTo>
                      <a:lnTo>
                        <a:pt x="424" y="462"/>
                      </a:lnTo>
                      <a:lnTo>
                        <a:pt x="427" y="462"/>
                      </a:lnTo>
                      <a:lnTo>
                        <a:pt x="430" y="460"/>
                      </a:lnTo>
                      <a:lnTo>
                        <a:pt x="430" y="462"/>
                      </a:lnTo>
                      <a:lnTo>
                        <a:pt x="432" y="463"/>
                      </a:lnTo>
                      <a:lnTo>
                        <a:pt x="434" y="465"/>
                      </a:lnTo>
                      <a:lnTo>
                        <a:pt x="435" y="465"/>
                      </a:lnTo>
                      <a:lnTo>
                        <a:pt x="437" y="465"/>
                      </a:lnTo>
                      <a:lnTo>
                        <a:pt x="439" y="465"/>
                      </a:lnTo>
                      <a:lnTo>
                        <a:pt x="440" y="465"/>
                      </a:lnTo>
                      <a:lnTo>
                        <a:pt x="442" y="463"/>
                      </a:lnTo>
                      <a:lnTo>
                        <a:pt x="444" y="462"/>
                      </a:lnTo>
                      <a:lnTo>
                        <a:pt x="445" y="462"/>
                      </a:lnTo>
                      <a:lnTo>
                        <a:pt x="447" y="462"/>
                      </a:lnTo>
                      <a:lnTo>
                        <a:pt x="447" y="463"/>
                      </a:lnTo>
                      <a:lnTo>
                        <a:pt x="447" y="465"/>
                      </a:lnTo>
                      <a:lnTo>
                        <a:pt x="447" y="466"/>
                      </a:lnTo>
                      <a:lnTo>
                        <a:pt x="449" y="468"/>
                      </a:lnTo>
                      <a:lnTo>
                        <a:pt x="449" y="470"/>
                      </a:lnTo>
                      <a:lnTo>
                        <a:pt x="449" y="468"/>
                      </a:lnTo>
                      <a:lnTo>
                        <a:pt x="451" y="468"/>
                      </a:lnTo>
                      <a:lnTo>
                        <a:pt x="452" y="468"/>
                      </a:lnTo>
                      <a:lnTo>
                        <a:pt x="454" y="468"/>
                      </a:lnTo>
                      <a:lnTo>
                        <a:pt x="456" y="468"/>
                      </a:lnTo>
                      <a:lnTo>
                        <a:pt x="457" y="468"/>
                      </a:lnTo>
                      <a:lnTo>
                        <a:pt x="459" y="468"/>
                      </a:lnTo>
                      <a:lnTo>
                        <a:pt x="461" y="466"/>
                      </a:lnTo>
                      <a:lnTo>
                        <a:pt x="462" y="468"/>
                      </a:lnTo>
                      <a:lnTo>
                        <a:pt x="464" y="468"/>
                      </a:lnTo>
                      <a:lnTo>
                        <a:pt x="464" y="470"/>
                      </a:lnTo>
                      <a:lnTo>
                        <a:pt x="469" y="470"/>
                      </a:lnTo>
                      <a:lnTo>
                        <a:pt x="473" y="468"/>
                      </a:lnTo>
                      <a:lnTo>
                        <a:pt x="474" y="468"/>
                      </a:lnTo>
                      <a:lnTo>
                        <a:pt x="474" y="466"/>
                      </a:lnTo>
                      <a:lnTo>
                        <a:pt x="476" y="465"/>
                      </a:lnTo>
                      <a:lnTo>
                        <a:pt x="476" y="463"/>
                      </a:lnTo>
                      <a:lnTo>
                        <a:pt x="474" y="463"/>
                      </a:lnTo>
                      <a:lnTo>
                        <a:pt x="474" y="462"/>
                      </a:lnTo>
                      <a:lnTo>
                        <a:pt x="476" y="460"/>
                      </a:lnTo>
                      <a:lnTo>
                        <a:pt x="478" y="460"/>
                      </a:lnTo>
                      <a:lnTo>
                        <a:pt x="478" y="462"/>
                      </a:lnTo>
                      <a:lnTo>
                        <a:pt x="478" y="463"/>
                      </a:lnTo>
                      <a:lnTo>
                        <a:pt x="478" y="465"/>
                      </a:lnTo>
                      <a:lnTo>
                        <a:pt x="478" y="466"/>
                      </a:lnTo>
                      <a:lnTo>
                        <a:pt x="478" y="468"/>
                      </a:lnTo>
                      <a:lnTo>
                        <a:pt x="478" y="470"/>
                      </a:lnTo>
                      <a:lnTo>
                        <a:pt x="476" y="471"/>
                      </a:lnTo>
                      <a:lnTo>
                        <a:pt x="476" y="473"/>
                      </a:lnTo>
                      <a:lnTo>
                        <a:pt x="476" y="475"/>
                      </a:lnTo>
                      <a:lnTo>
                        <a:pt x="474" y="476"/>
                      </a:lnTo>
                      <a:lnTo>
                        <a:pt x="473" y="478"/>
                      </a:lnTo>
                      <a:lnTo>
                        <a:pt x="471" y="478"/>
                      </a:lnTo>
                      <a:lnTo>
                        <a:pt x="469" y="478"/>
                      </a:lnTo>
                      <a:lnTo>
                        <a:pt x="467" y="478"/>
                      </a:lnTo>
                      <a:lnTo>
                        <a:pt x="466" y="478"/>
                      </a:lnTo>
                      <a:lnTo>
                        <a:pt x="466" y="480"/>
                      </a:lnTo>
                      <a:lnTo>
                        <a:pt x="466" y="481"/>
                      </a:lnTo>
                      <a:lnTo>
                        <a:pt x="466" y="483"/>
                      </a:lnTo>
                      <a:lnTo>
                        <a:pt x="467" y="483"/>
                      </a:lnTo>
                      <a:lnTo>
                        <a:pt x="466" y="483"/>
                      </a:lnTo>
                      <a:lnTo>
                        <a:pt x="466" y="485"/>
                      </a:lnTo>
                      <a:lnTo>
                        <a:pt x="466" y="486"/>
                      </a:lnTo>
                      <a:lnTo>
                        <a:pt x="464" y="486"/>
                      </a:lnTo>
                      <a:lnTo>
                        <a:pt x="462" y="486"/>
                      </a:lnTo>
                      <a:lnTo>
                        <a:pt x="461" y="486"/>
                      </a:lnTo>
                      <a:lnTo>
                        <a:pt x="459" y="488"/>
                      </a:lnTo>
                      <a:lnTo>
                        <a:pt x="459" y="489"/>
                      </a:lnTo>
                      <a:lnTo>
                        <a:pt x="456" y="491"/>
                      </a:lnTo>
                      <a:lnTo>
                        <a:pt x="454" y="491"/>
                      </a:lnTo>
                      <a:lnTo>
                        <a:pt x="454" y="493"/>
                      </a:lnTo>
                      <a:lnTo>
                        <a:pt x="452" y="493"/>
                      </a:lnTo>
                      <a:lnTo>
                        <a:pt x="452" y="494"/>
                      </a:lnTo>
                      <a:lnTo>
                        <a:pt x="451" y="494"/>
                      </a:lnTo>
                      <a:lnTo>
                        <a:pt x="449" y="494"/>
                      </a:lnTo>
                      <a:lnTo>
                        <a:pt x="447" y="494"/>
                      </a:lnTo>
                      <a:lnTo>
                        <a:pt x="447" y="496"/>
                      </a:lnTo>
                      <a:lnTo>
                        <a:pt x="447" y="498"/>
                      </a:lnTo>
                      <a:lnTo>
                        <a:pt x="445" y="498"/>
                      </a:lnTo>
                      <a:lnTo>
                        <a:pt x="444" y="498"/>
                      </a:lnTo>
                      <a:lnTo>
                        <a:pt x="444" y="499"/>
                      </a:lnTo>
                      <a:lnTo>
                        <a:pt x="444" y="501"/>
                      </a:lnTo>
                      <a:lnTo>
                        <a:pt x="442" y="501"/>
                      </a:lnTo>
                      <a:lnTo>
                        <a:pt x="440" y="501"/>
                      </a:lnTo>
                      <a:lnTo>
                        <a:pt x="439" y="501"/>
                      </a:lnTo>
                      <a:lnTo>
                        <a:pt x="439" y="503"/>
                      </a:lnTo>
                      <a:lnTo>
                        <a:pt x="437" y="503"/>
                      </a:lnTo>
                      <a:lnTo>
                        <a:pt x="435" y="503"/>
                      </a:lnTo>
                      <a:lnTo>
                        <a:pt x="434" y="503"/>
                      </a:lnTo>
                      <a:lnTo>
                        <a:pt x="432" y="503"/>
                      </a:lnTo>
                      <a:lnTo>
                        <a:pt x="430" y="504"/>
                      </a:lnTo>
                      <a:lnTo>
                        <a:pt x="429" y="506"/>
                      </a:lnTo>
                      <a:lnTo>
                        <a:pt x="430" y="506"/>
                      </a:lnTo>
                      <a:lnTo>
                        <a:pt x="430" y="507"/>
                      </a:lnTo>
                      <a:lnTo>
                        <a:pt x="432" y="507"/>
                      </a:lnTo>
                      <a:lnTo>
                        <a:pt x="432" y="509"/>
                      </a:lnTo>
                      <a:lnTo>
                        <a:pt x="430" y="511"/>
                      </a:lnTo>
                      <a:lnTo>
                        <a:pt x="429" y="512"/>
                      </a:lnTo>
                      <a:lnTo>
                        <a:pt x="427" y="512"/>
                      </a:lnTo>
                      <a:lnTo>
                        <a:pt x="425" y="514"/>
                      </a:lnTo>
                      <a:lnTo>
                        <a:pt x="424" y="514"/>
                      </a:lnTo>
                      <a:lnTo>
                        <a:pt x="424" y="516"/>
                      </a:lnTo>
                      <a:lnTo>
                        <a:pt x="425" y="516"/>
                      </a:lnTo>
                      <a:lnTo>
                        <a:pt x="425" y="517"/>
                      </a:lnTo>
                      <a:lnTo>
                        <a:pt x="427" y="517"/>
                      </a:lnTo>
                      <a:lnTo>
                        <a:pt x="429" y="517"/>
                      </a:lnTo>
                      <a:lnTo>
                        <a:pt x="427" y="519"/>
                      </a:lnTo>
                      <a:lnTo>
                        <a:pt x="425" y="521"/>
                      </a:lnTo>
                      <a:lnTo>
                        <a:pt x="424" y="521"/>
                      </a:lnTo>
                      <a:lnTo>
                        <a:pt x="422" y="521"/>
                      </a:lnTo>
                      <a:lnTo>
                        <a:pt x="422" y="522"/>
                      </a:lnTo>
                      <a:lnTo>
                        <a:pt x="420" y="524"/>
                      </a:lnTo>
                      <a:lnTo>
                        <a:pt x="420" y="526"/>
                      </a:lnTo>
                      <a:lnTo>
                        <a:pt x="420" y="527"/>
                      </a:lnTo>
                      <a:lnTo>
                        <a:pt x="422" y="527"/>
                      </a:lnTo>
                      <a:lnTo>
                        <a:pt x="422" y="529"/>
                      </a:lnTo>
                      <a:lnTo>
                        <a:pt x="420" y="529"/>
                      </a:lnTo>
                      <a:lnTo>
                        <a:pt x="420" y="530"/>
                      </a:lnTo>
                      <a:lnTo>
                        <a:pt x="418" y="530"/>
                      </a:lnTo>
                      <a:lnTo>
                        <a:pt x="417" y="530"/>
                      </a:lnTo>
                      <a:lnTo>
                        <a:pt x="415" y="530"/>
                      </a:lnTo>
                      <a:lnTo>
                        <a:pt x="413" y="532"/>
                      </a:lnTo>
                      <a:lnTo>
                        <a:pt x="412" y="532"/>
                      </a:lnTo>
                      <a:lnTo>
                        <a:pt x="412" y="534"/>
                      </a:lnTo>
                      <a:lnTo>
                        <a:pt x="410" y="534"/>
                      </a:lnTo>
                      <a:lnTo>
                        <a:pt x="410" y="535"/>
                      </a:lnTo>
                      <a:lnTo>
                        <a:pt x="408" y="535"/>
                      </a:lnTo>
                      <a:lnTo>
                        <a:pt x="407" y="535"/>
                      </a:lnTo>
                      <a:lnTo>
                        <a:pt x="407" y="537"/>
                      </a:lnTo>
                      <a:lnTo>
                        <a:pt x="407" y="535"/>
                      </a:lnTo>
                      <a:lnTo>
                        <a:pt x="407" y="537"/>
                      </a:lnTo>
                      <a:lnTo>
                        <a:pt x="405" y="537"/>
                      </a:lnTo>
                      <a:lnTo>
                        <a:pt x="405" y="539"/>
                      </a:lnTo>
                      <a:lnTo>
                        <a:pt x="403" y="539"/>
                      </a:lnTo>
                      <a:lnTo>
                        <a:pt x="403" y="540"/>
                      </a:lnTo>
                      <a:lnTo>
                        <a:pt x="402" y="540"/>
                      </a:lnTo>
                      <a:lnTo>
                        <a:pt x="402" y="542"/>
                      </a:lnTo>
                      <a:lnTo>
                        <a:pt x="402" y="544"/>
                      </a:lnTo>
                      <a:lnTo>
                        <a:pt x="402" y="545"/>
                      </a:lnTo>
                      <a:lnTo>
                        <a:pt x="403" y="545"/>
                      </a:lnTo>
                      <a:lnTo>
                        <a:pt x="403" y="547"/>
                      </a:lnTo>
                      <a:lnTo>
                        <a:pt x="403" y="549"/>
                      </a:lnTo>
                      <a:lnTo>
                        <a:pt x="403" y="550"/>
                      </a:lnTo>
                      <a:lnTo>
                        <a:pt x="402" y="552"/>
                      </a:lnTo>
                      <a:lnTo>
                        <a:pt x="400" y="553"/>
                      </a:lnTo>
                      <a:lnTo>
                        <a:pt x="398" y="553"/>
                      </a:lnTo>
                      <a:lnTo>
                        <a:pt x="398" y="555"/>
                      </a:lnTo>
                      <a:lnTo>
                        <a:pt x="396" y="555"/>
                      </a:lnTo>
                      <a:lnTo>
                        <a:pt x="396" y="557"/>
                      </a:lnTo>
                      <a:lnTo>
                        <a:pt x="395" y="558"/>
                      </a:lnTo>
                      <a:lnTo>
                        <a:pt x="393" y="558"/>
                      </a:lnTo>
                      <a:lnTo>
                        <a:pt x="393" y="560"/>
                      </a:lnTo>
                      <a:lnTo>
                        <a:pt x="391" y="560"/>
                      </a:lnTo>
                      <a:lnTo>
                        <a:pt x="391" y="562"/>
                      </a:lnTo>
                      <a:lnTo>
                        <a:pt x="391" y="563"/>
                      </a:lnTo>
                      <a:lnTo>
                        <a:pt x="390" y="563"/>
                      </a:lnTo>
                      <a:lnTo>
                        <a:pt x="390" y="565"/>
                      </a:lnTo>
                      <a:lnTo>
                        <a:pt x="391" y="567"/>
                      </a:lnTo>
                      <a:lnTo>
                        <a:pt x="391" y="568"/>
                      </a:lnTo>
                      <a:lnTo>
                        <a:pt x="393" y="570"/>
                      </a:lnTo>
                      <a:lnTo>
                        <a:pt x="395" y="572"/>
                      </a:lnTo>
                      <a:lnTo>
                        <a:pt x="396" y="572"/>
                      </a:lnTo>
                      <a:lnTo>
                        <a:pt x="398" y="572"/>
                      </a:lnTo>
                      <a:lnTo>
                        <a:pt x="398" y="573"/>
                      </a:lnTo>
                      <a:lnTo>
                        <a:pt x="398" y="575"/>
                      </a:lnTo>
                      <a:lnTo>
                        <a:pt x="398" y="576"/>
                      </a:lnTo>
                      <a:lnTo>
                        <a:pt x="400" y="576"/>
                      </a:lnTo>
                      <a:lnTo>
                        <a:pt x="400" y="578"/>
                      </a:lnTo>
                      <a:lnTo>
                        <a:pt x="400" y="580"/>
                      </a:lnTo>
                      <a:lnTo>
                        <a:pt x="400" y="581"/>
                      </a:lnTo>
                      <a:lnTo>
                        <a:pt x="402" y="583"/>
                      </a:lnTo>
                      <a:lnTo>
                        <a:pt x="403" y="583"/>
                      </a:lnTo>
                      <a:lnTo>
                        <a:pt x="403" y="585"/>
                      </a:lnTo>
                      <a:lnTo>
                        <a:pt x="405" y="585"/>
                      </a:lnTo>
                      <a:lnTo>
                        <a:pt x="407" y="585"/>
                      </a:lnTo>
                      <a:lnTo>
                        <a:pt x="408" y="585"/>
                      </a:lnTo>
                      <a:lnTo>
                        <a:pt x="408" y="586"/>
                      </a:lnTo>
                      <a:lnTo>
                        <a:pt x="410" y="586"/>
                      </a:lnTo>
                      <a:lnTo>
                        <a:pt x="410" y="588"/>
                      </a:lnTo>
                      <a:lnTo>
                        <a:pt x="412" y="588"/>
                      </a:lnTo>
                      <a:lnTo>
                        <a:pt x="412" y="586"/>
                      </a:lnTo>
                      <a:lnTo>
                        <a:pt x="413" y="586"/>
                      </a:lnTo>
                      <a:lnTo>
                        <a:pt x="415" y="586"/>
                      </a:lnTo>
                      <a:lnTo>
                        <a:pt x="417" y="588"/>
                      </a:lnTo>
                      <a:lnTo>
                        <a:pt x="418" y="586"/>
                      </a:lnTo>
                      <a:lnTo>
                        <a:pt x="420" y="586"/>
                      </a:lnTo>
                      <a:lnTo>
                        <a:pt x="420" y="588"/>
                      </a:lnTo>
                      <a:lnTo>
                        <a:pt x="422" y="588"/>
                      </a:lnTo>
                      <a:lnTo>
                        <a:pt x="424" y="588"/>
                      </a:lnTo>
                      <a:lnTo>
                        <a:pt x="425" y="588"/>
                      </a:lnTo>
                      <a:lnTo>
                        <a:pt x="427" y="590"/>
                      </a:lnTo>
                      <a:lnTo>
                        <a:pt x="429" y="590"/>
                      </a:lnTo>
                      <a:lnTo>
                        <a:pt x="429" y="591"/>
                      </a:lnTo>
                      <a:lnTo>
                        <a:pt x="429" y="593"/>
                      </a:lnTo>
                      <a:lnTo>
                        <a:pt x="430" y="593"/>
                      </a:lnTo>
                      <a:lnTo>
                        <a:pt x="432" y="593"/>
                      </a:lnTo>
                      <a:lnTo>
                        <a:pt x="434" y="593"/>
                      </a:lnTo>
                      <a:lnTo>
                        <a:pt x="435" y="593"/>
                      </a:lnTo>
                      <a:lnTo>
                        <a:pt x="437" y="593"/>
                      </a:lnTo>
                      <a:lnTo>
                        <a:pt x="439" y="593"/>
                      </a:lnTo>
                      <a:lnTo>
                        <a:pt x="440" y="593"/>
                      </a:lnTo>
                      <a:lnTo>
                        <a:pt x="440" y="595"/>
                      </a:lnTo>
                      <a:lnTo>
                        <a:pt x="442" y="595"/>
                      </a:lnTo>
                      <a:lnTo>
                        <a:pt x="440" y="595"/>
                      </a:lnTo>
                      <a:lnTo>
                        <a:pt x="442" y="596"/>
                      </a:lnTo>
                      <a:lnTo>
                        <a:pt x="440" y="596"/>
                      </a:lnTo>
                      <a:lnTo>
                        <a:pt x="439" y="596"/>
                      </a:lnTo>
                      <a:lnTo>
                        <a:pt x="437" y="596"/>
                      </a:lnTo>
                      <a:lnTo>
                        <a:pt x="435" y="598"/>
                      </a:lnTo>
                      <a:lnTo>
                        <a:pt x="434" y="598"/>
                      </a:lnTo>
                      <a:lnTo>
                        <a:pt x="432" y="598"/>
                      </a:lnTo>
                      <a:lnTo>
                        <a:pt x="430" y="598"/>
                      </a:lnTo>
                      <a:lnTo>
                        <a:pt x="429" y="596"/>
                      </a:lnTo>
                      <a:lnTo>
                        <a:pt x="425" y="595"/>
                      </a:lnTo>
                      <a:lnTo>
                        <a:pt x="424" y="595"/>
                      </a:lnTo>
                      <a:lnTo>
                        <a:pt x="422" y="595"/>
                      </a:lnTo>
                      <a:lnTo>
                        <a:pt x="420" y="595"/>
                      </a:lnTo>
                      <a:lnTo>
                        <a:pt x="420" y="596"/>
                      </a:lnTo>
                      <a:lnTo>
                        <a:pt x="420" y="598"/>
                      </a:lnTo>
                      <a:lnTo>
                        <a:pt x="422" y="599"/>
                      </a:lnTo>
                      <a:lnTo>
                        <a:pt x="422" y="601"/>
                      </a:lnTo>
                      <a:lnTo>
                        <a:pt x="420" y="603"/>
                      </a:lnTo>
                      <a:lnTo>
                        <a:pt x="418" y="604"/>
                      </a:lnTo>
                      <a:lnTo>
                        <a:pt x="418" y="606"/>
                      </a:lnTo>
                      <a:lnTo>
                        <a:pt x="415" y="606"/>
                      </a:lnTo>
                      <a:lnTo>
                        <a:pt x="413" y="606"/>
                      </a:lnTo>
                      <a:lnTo>
                        <a:pt x="415" y="608"/>
                      </a:lnTo>
                      <a:lnTo>
                        <a:pt x="417" y="606"/>
                      </a:lnTo>
                      <a:lnTo>
                        <a:pt x="417" y="608"/>
                      </a:lnTo>
                      <a:lnTo>
                        <a:pt x="418" y="608"/>
                      </a:lnTo>
                      <a:lnTo>
                        <a:pt x="418" y="609"/>
                      </a:lnTo>
                      <a:lnTo>
                        <a:pt x="418" y="611"/>
                      </a:lnTo>
                      <a:lnTo>
                        <a:pt x="418" y="613"/>
                      </a:lnTo>
                      <a:lnTo>
                        <a:pt x="417" y="613"/>
                      </a:lnTo>
                      <a:lnTo>
                        <a:pt x="417" y="614"/>
                      </a:lnTo>
                      <a:lnTo>
                        <a:pt x="415" y="614"/>
                      </a:lnTo>
                      <a:lnTo>
                        <a:pt x="413" y="614"/>
                      </a:lnTo>
                      <a:lnTo>
                        <a:pt x="415" y="616"/>
                      </a:lnTo>
                      <a:lnTo>
                        <a:pt x="413" y="618"/>
                      </a:lnTo>
                      <a:lnTo>
                        <a:pt x="415" y="619"/>
                      </a:lnTo>
                      <a:lnTo>
                        <a:pt x="417" y="619"/>
                      </a:lnTo>
                      <a:lnTo>
                        <a:pt x="418" y="619"/>
                      </a:lnTo>
                      <a:lnTo>
                        <a:pt x="418" y="621"/>
                      </a:lnTo>
                      <a:lnTo>
                        <a:pt x="420" y="621"/>
                      </a:lnTo>
                      <a:lnTo>
                        <a:pt x="420" y="619"/>
                      </a:lnTo>
                      <a:lnTo>
                        <a:pt x="422" y="619"/>
                      </a:lnTo>
                      <a:lnTo>
                        <a:pt x="424" y="619"/>
                      </a:lnTo>
                      <a:lnTo>
                        <a:pt x="425" y="621"/>
                      </a:lnTo>
                      <a:lnTo>
                        <a:pt x="427" y="621"/>
                      </a:lnTo>
                      <a:lnTo>
                        <a:pt x="429" y="621"/>
                      </a:lnTo>
                      <a:lnTo>
                        <a:pt x="430" y="619"/>
                      </a:lnTo>
                      <a:lnTo>
                        <a:pt x="432" y="619"/>
                      </a:lnTo>
                      <a:lnTo>
                        <a:pt x="434" y="619"/>
                      </a:lnTo>
                      <a:lnTo>
                        <a:pt x="434" y="621"/>
                      </a:lnTo>
                      <a:lnTo>
                        <a:pt x="432" y="621"/>
                      </a:lnTo>
                      <a:lnTo>
                        <a:pt x="432" y="622"/>
                      </a:lnTo>
                      <a:lnTo>
                        <a:pt x="430" y="622"/>
                      </a:lnTo>
                      <a:lnTo>
                        <a:pt x="429" y="624"/>
                      </a:lnTo>
                      <a:lnTo>
                        <a:pt x="427" y="624"/>
                      </a:lnTo>
                      <a:lnTo>
                        <a:pt x="425" y="624"/>
                      </a:lnTo>
                      <a:lnTo>
                        <a:pt x="424" y="624"/>
                      </a:lnTo>
                      <a:lnTo>
                        <a:pt x="422" y="624"/>
                      </a:lnTo>
                      <a:lnTo>
                        <a:pt x="420" y="626"/>
                      </a:lnTo>
                      <a:lnTo>
                        <a:pt x="418" y="626"/>
                      </a:lnTo>
                      <a:lnTo>
                        <a:pt x="417" y="627"/>
                      </a:lnTo>
                      <a:lnTo>
                        <a:pt x="415" y="627"/>
                      </a:lnTo>
                      <a:lnTo>
                        <a:pt x="415" y="629"/>
                      </a:lnTo>
                      <a:lnTo>
                        <a:pt x="413" y="631"/>
                      </a:lnTo>
                      <a:lnTo>
                        <a:pt x="412" y="632"/>
                      </a:lnTo>
                      <a:lnTo>
                        <a:pt x="412" y="634"/>
                      </a:lnTo>
                      <a:lnTo>
                        <a:pt x="413" y="634"/>
                      </a:lnTo>
                      <a:lnTo>
                        <a:pt x="413" y="636"/>
                      </a:lnTo>
                      <a:lnTo>
                        <a:pt x="413" y="637"/>
                      </a:lnTo>
                      <a:lnTo>
                        <a:pt x="413" y="639"/>
                      </a:lnTo>
                      <a:lnTo>
                        <a:pt x="415" y="639"/>
                      </a:lnTo>
                      <a:lnTo>
                        <a:pt x="415" y="641"/>
                      </a:lnTo>
                      <a:lnTo>
                        <a:pt x="415" y="642"/>
                      </a:lnTo>
                      <a:lnTo>
                        <a:pt x="413" y="642"/>
                      </a:lnTo>
                      <a:lnTo>
                        <a:pt x="413" y="644"/>
                      </a:lnTo>
                      <a:lnTo>
                        <a:pt x="413" y="645"/>
                      </a:lnTo>
                      <a:lnTo>
                        <a:pt x="412" y="645"/>
                      </a:lnTo>
                      <a:lnTo>
                        <a:pt x="413" y="645"/>
                      </a:lnTo>
                      <a:lnTo>
                        <a:pt x="413" y="647"/>
                      </a:lnTo>
                      <a:lnTo>
                        <a:pt x="412" y="647"/>
                      </a:lnTo>
                      <a:lnTo>
                        <a:pt x="413" y="647"/>
                      </a:lnTo>
                      <a:lnTo>
                        <a:pt x="415" y="647"/>
                      </a:lnTo>
                      <a:lnTo>
                        <a:pt x="415" y="649"/>
                      </a:lnTo>
                      <a:lnTo>
                        <a:pt x="415" y="650"/>
                      </a:lnTo>
                      <a:lnTo>
                        <a:pt x="415" y="652"/>
                      </a:lnTo>
                      <a:lnTo>
                        <a:pt x="413" y="652"/>
                      </a:lnTo>
                      <a:lnTo>
                        <a:pt x="413" y="654"/>
                      </a:lnTo>
                      <a:lnTo>
                        <a:pt x="415" y="654"/>
                      </a:lnTo>
                      <a:lnTo>
                        <a:pt x="415" y="655"/>
                      </a:lnTo>
                      <a:lnTo>
                        <a:pt x="413" y="655"/>
                      </a:lnTo>
                      <a:lnTo>
                        <a:pt x="413" y="657"/>
                      </a:lnTo>
                      <a:lnTo>
                        <a:pt x="415" y="657"/>
                      </a:lnTo>
                      <a:lnTo>
                        <a:pt x="417" y="657"/>
                      </a:lnTo>
                      <a:lnTo>
                        <a:pt x="418" y="657"/>
                      </a:lnTo>
                      <a:lnTo>
                        <a:pt x="418" y="659"/>
                      </a:lnTo>
                      <a:lnTo>
                        <a:pt x="417" y="659"/>
                      </a:lnTo>
                      <a:lnTo>
                        <a:pt x="417" y="660"/>
                      </a:lnTo>
                      <a:lnTo>
                        <a:pt x="418" y="660"/>
                      </a:lnTo>
                      <a:lnTo>
                        <a:pt x="418" y="662"/>
                      </a:lnTo>
                      <a:lnTo>
                        <a:pt x="420" y="662"/>
                      </a:lnTo>
                      <a:lnTo>
                        <a:pt x="422" y="664"/>
                      </a:lnTo>
                      <a:lnTo>
                        <a:pt x="422" y="665"/>
                      </a:lnTo>
                      <a:lnTo>
                        <a:pt x="422" y="667"/>
                      </a:lnTo>
                      <a:lnTo>
                        <a:pt x="420" y="667"/>
                      </a:lnTo>
                      <a:lnTo>
                        <a:pt x="420" y="668"/>
                      </a:lnTo>
                      <a:lnTo>
                        <a:pt x="422" y="668"/>
                      </a:lnTo>
                      <a:lnTo>
                        <a:pt x="422" y="667"/>
                      </a:lnTo>
                      <a:lnTo>
                        <a:pt x="424" y="668"/>
                      </a:lnTo>
                      <a:lnTo>
                        <a:pt x="425" y="667"/>
                      </a:lnTo>
                      <a:lnTo>
                        <a:pt x="425" y="668"/>
                      </a:lnTo>
                      <a:lnTo>
                        <a:pt x="425" y="670"/>
                      </a:lnTo>
                      <a:lnTo>
                        <a:pt x="425" y="672"/>
                      </a:lnTo>
                      <a:lnTo>
                        <a:pt x="425" y="673"/>
                      </a:lnTo>
                      <a:lnTo>
                        <a:pt x="425" y="675"/>
                      </a:lnTo>
                      <a:lnTo>
                        <a:pt x="427" y="675"/>
                      </a:lnTo>
                      <a:lnTo>
                        <a:pt x="429" y="675"/>
                      </a:lnTo>
                      <a:lnTo>
                        <a:pt x="430" y="675"/>
                      </a:lnTo>
                      <a:lnTo>
                        <a:pt x="430" y="673"/>
                      </a:lnTo>
                      <a:lnTo>
                        <a:pt x="432" y="673"/>
                      </a:lnTo>
                      <a:lnTo>
                        <a:pt x="434" y="673"/>
                      </a:lnTo>
                      <a:lnTo>
                        <a:pt x="435" y="673"/>
                      </a:lnTo>
                      <a:lnTo>
                        <a:pt x="435" y="675"/>
                      </a:lnTo>
                      <a:lnTo>
                        <a:pt x="434" y="675"/>
                      </a:lnTo>
                      <a:lnTo>
                        <a:pt x="435" y="675"/>
                      </a:lnTo>
                      <a:lnTo>
                        <a:pt x="435" y="677"/>
                      </a:lnTo>
                      <a:lnTo>
                        <a:pt x="435" y="678"/>
                      </a:lnTo>
                      <a:lnTo>
                        <a:pt x="434" y="678"/>
                      </a:lnTo>
                      <a:lnTo>
                        <a:pt x="432" y="678"/>
                      </a:lnTo>
                      <a:lnTo>
                        <a:pt x="430" y="678"/>
                      </a:lnTo>
                      <a:lnTo>
                        <a:pt x="429" y="678"/>
                      </a:lnTo>
                      <a:lnTo>
                        <a:pt x="427" y="680"/>
                      </a:lnTo>
                      <a:lnTo>
                        <a:pt x="425" y="680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86" name="Freeform 10"/>
                <p:cNvSpPr>
                  <a:spLocks noChangeAspect="1" noEditPoints="1"/>
                </p:cNvSpPr>
                <p:nvPr/>
              </p:nvSpPr>
              <p:spPr bwMode="auto">
                <a:xfrm>
                  <a:off x="6028552" y="4034592"/>
                  <a:ext cx="327874" cy="528541"/>
                </a:xfrm>
                <a:custGeom>
                  <a:avLst/>
                  <a:gdLst>
                    <a:gd name="T0" fmla="*/ 2147483647 w 209"/>
                    <a:gd name="T1" fmla="*/ 2147483647 h 315"/>
                    <a:gd name="T2" fmla="*/ 2147483647 w 209"/>
                    <a:gd name="T3" fmla="*/ 2147483647 h 315"/>
                    <a:gd name="T4" fmla="*/ 2147483647 w 209"/>
                    <a:gd name="T5" fmla="*/ 2147483647 h 315"/>
                    <a:gd name="T6" fmla="*/ 2147483647 w 209"/>
                    <a:gd name="T7" fmla="*/ 2147483647 h 315"/>
                    <a:gd name="T8" fmla="*/ 2147483647 w 209"/>
                    <a:gd name="T9" fmla="*/ 2147483647 h 315"/>
                    <a:gd name="T10" fmla="*/ 2147483647 w 209"/>
                    <a:gd name="T11" fmla="*/ 2147483647 h 315"/>
                    <a:gd name="T12" fmla="*/ 2147483647 w 209"/>
                    <a:gd name="T13" fmla="*/ 2147483647 h 315"/>
                    <a:gd name="T14" fmla="*/ 2147483647 w 209"/>
                    <a:gd name="T15" fmla="*/ 2147483647 h 315"/>
                    <a:gd name="T16" fmla="*/ 2147483647 w 209"/>
                    <a:gd name="T17" fmla="*/ 2147483647 h 315"/>
                    <a:gd name="T18" fmla="*/ 2147483647 w 209"/>
                    <a:gd name="T19" fmla="*/ 2147483647 h 315"/>
                    <a:gd name="T20" fmla="*/ 2147483647 w 209"/>
                    <a:gd name="T21" fmla="*/ 2147483647 h 315"/>
                    <a:gd name="T22" fmla="*/ 2147483647 w 209"/>
                    <a:gd name="T23" fmla="*/ 2147483647 h 315"/>
                    <a:gd name="T24" fmla="*/ 2147483647 w 209"/>
                    <a:gd name="T25" fmla="*/ 2147483647 h 315"/>
                    <a:gd name="T26" fmla="*/ 2147483647 w 209"/>
                    <a:gd name="T27" fmla="*/ 2147483647 h 315"/>
                    <a:gd name="T28" fmla="*/ 2147483647 w 209"/>
                    <a:gd name="T29" fmla="*/ 2147483647 h 315"/>
                    <a:gd name="T30" fmla="*/ 2147483647 w 209"/>
                    <a:gd name="T31" fmla="*/ 2147483647 h 315"/>
                    <a:gd name="T32" fmla="*/ 2147483647 w 209"/>
                    <a:gd name="T33" fmla="*/ 2147483647 h 315"/>
                    <a:gd name="T34" fmla="*/ 2147483647 w 209"/>
                    <a:gd name="T35" fmla="*/ 2147483647 h 315"/>
                    <a:gd name="T36" fmla="*/ 2147483647 w 209"/>
                    <a:gd name="T37" fmla="*/ 2147483647 h 315"/>
                    <a:gd name="T38" fmla="*/ 2147483647 w 209"/>
                    <a:gd name="T39" fmla="*/ 2147483647 h 315"/>
                    <a:gd name="T40" fmla="*/ 2147483647 w 209"/>
                    <a:gd name="T41" fmla="*/ 2147483647 h 315"/>
                    <a:gd name="T42" fmla="*/ 2147483647 w 209"/>
                    <a:gd name="T43" fmla="*/ 2147483647 h 315"/>
                    <a:gd name="T44" fmla="*/ 2147483647 w 209"/>
                    <a:gd name="T45" fmla="*/ 2147483647 h 315"/>
                    <a:gd name="T46" fmla="*/ 2147483647 w 209"/>
                    <a:gd name="T47" fmla="*/ 2147483647 h 315"/>
                    <a:gd name="T48" fmla="*/ 2147483647 w 209"/>
                    <a:gd name="T49" fmla="*/ 2147483647 h 315"/>
                    <a:gd name="T50" fmla="*/ 2147483647 w 209"/>
                    <a:gd name="T51" fmla="*/ 2147483647 h 315"/>
                    <a:gd name="T52" fmla="*/ 2147483647 w 209"/>
                    <a:gd name="T53" fmla="*/ 2147483647 h 315"/>
                    <a:gd name="T54" fmla="*/ 2147483647 w 209"/>
                    <a:gd name="T55" fmla="*/ 2147483647 h 315"/>
                    <a:gd name="T56" fmla="*/ 2147483647 w 209"/>
                    <a:gd name="T57" fmla="*/ 2147483647 h 315"/>
                    <a:gd name="T58" fmla="*/ 0 w 209"/>
                    <a:gd name="T59" fmla="*/ 2147483647 h 315"/>
                    <a:gd name="T60" fmla="*/ 2147483647 w 209"/>
                    <a:gd name="T61" fmla="*/ 2147483647 h 315"/>
                    <a:gd name="T62" fmla="*/ 2147483647 w 209"/>
                    <a:gd name="T63" fmla="*/ 2147483647 h 315"/>
                    <a:gd name="T64" fmla="*/ 2147483647 w 209"/>
                    <a:gd name="T65" fmla="*/ 2147483647 h 315"/>
                    <a:gd name="T66" fmla="*/ 2147483647 w 209"/>
                    <a:gd name="T67" fmla="*/ 2147483647 h 315"/>
                    <a:gd name="T68" fmla="*/ 2147483647 w 209"/>
                    <a:gd name="T69" fmla="*/ 2147483647 h 315"/>
                    <a:gd name="T70" fmla="*/ 2147483647 w 209"/>
                    <a:gd name="T71" fmla="*/ 2147483647 h 315"/>
                    <a:gd name="T72" fmla="*/ 2147483647 w 209"/>
                    <a:gd name="T73" fmla="*/ 2147483647 h 315"/>
                    <a:gd name="T74" fmla="*/ 2147483647 w 209"/>
                    <a:gd name="T75" fmla="*/ 2147483647 h 315"/>
                    <a:gd name="T76" fmla="*/ 2147483647 w 209"/>
                    <a:gd name="T77" fmla="*/ 2147483647 h 315"/>
                    <a:gd name="T78" fmla="*/ 2147483647 w 209"/>
                    <a:gd name="T79" fmla="*/ 2147483647 h 315"/>
                    <a:gd name="T80" fmla="*/ 2147483647 w 209"/>
                    <a:gd name="T81" fmla="*/ 2147483647 h 315"/>
                    <a:gd name="T82" fmla="*/ 2147483647 w 209"/>
                    <a:gd name="T83" fmla="*/ 2147483647 h 315"/>
                    <a:gd name="T84" fmla="*/ 2147483647 w 209"/>
                    <a:gd name="T85" fmla="*/ 2147483647 h 315"/>
                    <a:gd name="T86" fmla="*/ 2147483647 w 209"/>
                    <a:gd name="T87" fmla="*/ 2147483647 h 315"/>
                    <a:gd name="T88" fmla="*/ 2147483647 w 209"/>
                    <a:gd name="T89" fmla="*/ 2147483647 h 315"/>
                    <a:gd name="T90" fmla="*/ 2147483647 w 209"/>
                    <a:gd name="T91" fmla="*/ 2147483647 h 315"/>
                    <a:gd name="T92" fmla="*/ 2147483647 w 209"/>
                    <a:gd name="T93" fmla="*/ 2147483647 h 315"/>
                    <a:gd name="T94" fmla="*/ 2147483647 w 209"/>
                    <a:gd name="T95" fmla="*/ 2147483647 h 315"/>
                    <a:gd name="T96" fmla="*/ 2147483647 w 209"/>
                    <a:gd name="T97" fmla="*/ 2147483647 h 315"/>
                    <a:gd name="T98" fmla="*/ 2147483647 w 209"/>
                    <a:gd name="T99" fmla="*/ 2147483647 h 315"/>
                    <a:gd name="T100" fmla="*/ 2147483647 w 209"/>
                    <a:gd name="T101" fmla="*/ 2147483647 h 315"/>
                    <a:gd name="T102" fmla="*/ 2147483647 w 209"/>
                    <a:gd name="T103" fmla="*/ 2147483647 h 315"/>
                    <a:gd name="T104" fmla="*/ 2147483647 w 209"/>
                    <a:gd name="T105" fmla="*/ 2147483647 h 315"/>
                    <a:gd name="T106" fmla="*/ 2147483647 w 209"/>
                    <a:gd name="T107" fmla="*/ 2147483647 h 315"/>
                    <a:gd name="T108" fmla="*/ 2147483647 w 209"/>
                    <a:gd name="T109" fmla="*/ 2147483647 h 315"/>
                    <a:gd name="T110" fmla="*/ 2147483647 w 209"/>
                    <a:gd name="T111" fmla="*/ 2147483647 h 315"/>
                    <a:gd name="T112" fmla="*/ 2147483647 w 209"/>
                    <a:gd name="T113" fmla="*/ 2147483647 h 315"/>
                    <a:gd name="T114" fmla="*/ 2147483647 w 209"/>
                    <a:gd name="T115" fmla="*/ 2147483647 h 315"/>
                    <a:gd name="T116" fmla="*/ 2147483647 w 209"/>
                    <a:gd name="T117" fmla="*/ 2147483647 h 315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9"/>
                    <a:gd name="T178" fmla="*/ 0 h 315"/>
                    <a:gd name="T179" fmla="*/ 209 w 209"/>
                    <a:gd name="T180" fmla="*/ 315 h 315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9" h="315">
                      <a:moveTo>
                        <a:pt x="157" y="8"/>
                      </a:moveTo>
                      <a:lnTo>
                        <a:pt x="194" y="31"/>
                      </a:lnTo>
                      <a:lnTo>
                        <a:pt x="207" y="39"/>
                      </a:lnTo>
                      <a:lnTo>
                        <a:pt x="209" y="39"/>
                      </a:lnTo>
                      <a:lnTo>
                        <a:pt x="209" y="41"/>
                      </a:lnTo>
                      <a:lnTo>
                        <a:pt x="209" y="42"/>
                      </a:lnTo>
                      <a:lnTo>
                        <a:pt x="207" y="44"/>
                      </a:lnTo>
                      <a:lnTo>
                        <a:pt x="207" y="46"/>
                      </a:lnTo>
                      <a:lnTo>
                        <a:pt x="206" y="47"/>
                      </a:lnTo>
                      <a:lnTo>
                        <a:pt x="206" y="49"/>
                      </a:lnTo>
                      <a:lnTo>
                        <a:pt x="204" y="52"/>
                      </a:lnTo>
                      <a:lnTo>
                        <a:pt x="204" y="54"/>
                      </a:lnTo>
                      <a:lnTo>
                        <a:pt x="204" y="55"/>
                      </a:lnTo>
                      <a:lnTo>
                        <a:pt x="202" y="55"/>
                      </a:lnTo>
                      <a:lnTo>
                        <a:pt x="202" y="59"/>
                      </a:lnTo>
                      <a:lnTo>
                        <a:pt x="202" y="60"/>
                      </a:lnTo>
                      <a:lnTo>
                        <a:pt x="202" y="62"/>
                      </a:lnTo>
                      <a:lnTo>
                        <a:pt x="202" y="64"/>
                      </a:lnTo>
                      <a:lnTo>
                        <a:pt x="204" y="65"/>
                      </a:lnTo>
                      <a:lnTo>
                        <a:pt x="202" y="65"/>
                      </a:lnTo>
                      <a:lnTo>
                        <a:pt x="202" y="64"/>
                      </a:lnTo>
                      <a:lnTo>
                        <a:pt x="201" y="64"/>
                      </a:lnTo>
                      <a:lnTo>
                        <a:pt x="201" y="65"/>
                      </a:lnTo>
                      <a:lnTo>
                        <a:pt x="202" y="65"/>
                      </a:lnTo>
                      <a:lnTo>
                        <a:pt x="202" y="67"/>
                      </a:lnTo>
                      <a:lnTo>
                        <a:pt x="202" y="69"/>
                      </a:lnTo>
                      <a:lnTo>
                        <a:pt x="202" y="70"/>
                      </a:lnTo>
                      <a:lnTo>
                        <a:pt x="201" y="75"/>
                      </a:lnTo>
                      <a:lnTo>
                        <a:pt x="201" y="77"/>
                      </a:lnTo>
                      <a:lnTo>
                        <a:pt x="201" y="78"/>
                      </a:lnTo>
                      <a:lnTo>
                        <a:pt x="201" y="82"/>
                      </a:lnTo>
                      <a:lnTo>
                        <a:pt x="201" y="83"/>
                      </a:lnTo>
                      <a:lnTo>
                        <a:pt x="201" y="85"/>
                      </a:lnTo>
                      <a:lnTo>
                        <a:pt x="201" y="87"/>
                      </a:lnTo>
                      <a:lnTo>
                        <a:pt x="201" y="88"/>
                      </a:lnTo>
                      <a:lnTo>
                        <a:pt x="202" y="92"/>
                      </a:lnTo>
                      <a:lnTo>
                        <a:pt x="202" y="97"/>
                      </a:lnTo>
                      <a:lnTo>
                        <a:pt x="202" y="98"/>
                      </a:lnTo>
                      <a:lnTo>
                        <a:pt x="202" y="97"/>
                      </a:lnTo>
                      <a:lnTo>
                        <a:pt x="202" y="98"/>
                      </a:lnTo>
                      <a:lnTo>
                        <a:pt x="202" y="100"/>
                      </a:lnTo>
                      <a:lnTo>
                        <a:pt x="202" y="101"/>
                      </a:lnTo>
                      <a:lnTo>
                        <a:pt x="202" y="103"/>
                      </a:lnTo>
                      <a:lnTo>
                        <a:pt x="204" y="105"/>
                      </a:lnTo>
                      <a:lnTo>
                        <a:pt x="204" y="106"/>
                      </a:lnTo>
                      <a:lnTo>
                        <a:pt x="204" y="108"/>
                      </a:lnTo>
                      <a:lnTo>
                        <a:pt x="204" y="110"/>
                      </a:lnTo>
                      <a:lnTo>
                        <a:pt x="204" y="111"/>
                      </a:lnTo>
                      <a:lnTo>
                        <a:pt x="204" y="113"/>
                      </a:lnTo>
                      <a:lnTo>
                        <a:pt x="204" y="115"/>
                      </a:lnTo>
                      <a:lnTo>
                        <a:pt x="206" y="120"/>
                      </a:lnTo>
                      <a:lnTo>
                        <a:pt x="206" y="123"/>
                      </a:lnTo>
                      <a:lnTo>
                        <a:pt x="207" y="126"/>
                      </a:lnTo>
                      <a:lnTo>
                        <a:pt x="206" y="126"/>
                      </a:lnTo>
                      <a:lnTo>
                        <a:pt x="207" y="128"/>
                      </a:lnTo>
                      <a:lnTo>
                        <a:pt x="207" y="131"/>
                      </a:lnTo>
                      <a:lnTo>
                        <a:pt x="206" y="134"/>
                      </a:lnTo>
                      <a:lnTo>
                        <a:pt x="206" y="138"/>
                      </a:lnTo>
                      <a:lnTo>
                        <a:pt x="206" y="139"/>
                      </a:lnTo>
                      <a:lnTo>
                        <a:pt x="204" y="141"/>
                      </a:lnTo>
                      <a:lnTo>
                        <a:pt x="204" y="142"/>
                      </a:lnTo>
                      <a:lnTo>
                        <a:pt x="202" y="146"/>
                      </a:lnTo>
                      <a:lnTo>
                        <a:pt x="201" y="149"/>
                      </a:lnTo>
                      <a:lnTo>
                        <a:pt x="199" y="154"/>
                      </a:lnTo>
                      <a:lnTo>
                        <a:pt x="197" y="157"/>
                      </a:lnTo>
                      <a:lnTo>
                        <a:pt x="196" y="159"/>
                      </a:lnTo>
                      <a:lnTo>
                        <a:pt x="196" y="161"/>
                      </a:lnTo>
                      <a:lnTo>
                        <a:pt x="196" y="162"/>
                      </a:lnTo>
                      <a:lnTo>
                        <a:pt x="196" y="161"/>
                      </a:lnTo>
                      <a:lnTo>
                        <a:pt x="196" y="159"/>
                      </a:lnTo>
                      <a:lnTo>
                        <a:pt x="196" y="157"/>
                      </a:lnTo>
                      <a:lnTo>
                        <a:pt x="197" y="157"/>
                      </a:lnTo>
                      <a:lnTo>
                        <a:pt x="197" y="156"/>
                      </a:lnTo>
                      <a:lnTo>
                        <a:pt x="196" y="157"/>
                      </a:lnTo>
                      <a:lnTo>
                        <a:pt x="196" y="159"/>
                      </a:lnTo>
                      <a:lnTo>
                        <a:pt x="194" y="159"/>
                      </a:lnTo>
                      <a:lnTo>
                        <a:pt x="194" y="161"/>
                      </a:lnTo>
                      <a:lnTo>
                        <a:pt x="194" y="162"/>
                      </a:lnTo>
                      <a:lnTo>
                        <a:pt x="196" y="162"/>
                      </a:lnTo>
                      <a:lnTo>
                        <a:pt x="194" y="162"/>
                      </a:lnTo>
                      <a:lnTo>
                        <a:pt x="192" y="162"/>
                      </a:lnTo>
                      <a:lnTo>
                        <a:pt x="189" y="164"/>
                      </a:lnTo>
                      <a:lnTo>
                        <a:pt x="187" y="164"/>
                      </a:lnTo>
                      <a:lnTo>
                        <a:pt x="185" y="165"/>
                      </a:lnTo>
                      <a:lnTo>
                        <a:pt x="182" y="167"/>
                      </a:lnTo>
                      <a:lnTo>
                        <a:pt x="177" y="172"/>
                      </a:lnTo>
                      <a:lnTo>
                        <a:pt x="174" y="175"/>
                      </a:lnTo>
                      <a:lnTo>
                        <a:pt x="172" y="177"/>
                      </a:lnTo>
                      <a:lnTo>
                        <a:pt x="172" y="179"/>
                      </a:lnTo>
                      <a:lnTo>
                        <a:pt x="172" y="180"/>
                      </a:lnTo>
                      <a:lnTo>
                        <a:pt x="170" y="182"/>
                      </a:lnTo>
                      <a:lnTo>
                        <a:pt x="170" y="184"/>
                      </a:lnTo>
                      <a:lnTo>
                        <a:pt x="169" y="184"/>
                      </a:lnTo>
                      <a:lnTo>
                        <a:pt x="169" y="185"/>
                      </a:lnTo>
                      <a:lnTo>
                        <a:pt x="169" y="187"/>
                      </a:lnTo>
                      <a:lnTo>
                        <a:pt x="167" y="187"/>
                      </a:lnTo>
                      <a:lnTo>
                        <a:pt x="167" y="188"/>
                      </a:lnTo>
                      <a:lnTo>
                        <a:pt x="165" y="188"/>
                      </a:lnTo>
                      <a:lnTo>
                        <a:pt x="164" y="188"/>
                      </a:lnTo>
                      <a:lnTo>
                        <a:pt x="164" y="190"/>
                      </a:lnTo>
                      <a:lnTo>
                        <a:pt x="162" y="190"/>
                      </a:lnTo>
                      <a:lnTo>
                        <a:pt x="162" y="188"/>
                      </a:lnTo>
                      <a:lnTo>
                        <a:pt x="160" y="188"/>
                      </a:lnTo>
                      <a:lnTo>
                        <a:pt x="160" y="190"/>
                      </a:lnTo>
                      <a:lnTo>
                        <a:pt x="162" y="190"/>
                      </a:lnTo>
                      <a:lnTo>
                        <a:pt x="164" y="190"/>
                      </a:lnTo>
                      <a:lnTo>
                        <a:pt x="165" y="190"/>
                      </a:lnTo>
                      <a:lnTo>
                        <a:pt x="165" y="192"/>
                      </a:lnTo>
                      <a:lnTo>
                        <a:pt x="164" y="192"/>
                      </a:lnTo>
                      <a:lnTo>
                        <a:pt x="164" y="193"/>
                      </a:lnTo>
                      <a:lnTo>
                        <a:pt x="164" y="195"/>
                      </a:lnTo>
                      <a:lnTo>
                        <a:pt x="162" y="195"/>
                      </a:lnTo>
                      <a:lnTo>
                        <a:pt x="162" y="197"/>
                      </a:lnTo>
                      <a:lnTo>
                        <a:pt x="162" y="198"/>
                      </a:lnTo>
                      <a:lnTo>
                        <a:pt x="162" y="197"/>
                      </a:lnTo>
                      <a:lnTo>
                        <a:pt x="162" y="198"/>
                      </a:lnTo>
                      <a:lnTo>
                        <a:pt x="160" y="197"/>
                      </a:lnTo>
                      <a:lnTo>
                        <a:pt x="160" y="198"/>
                      </a:lnTo>
                      <a:lnTo>
                        <a:pt x="160" y="200"/>
                      </a:lnTo>
                      <a:lnTo>
                        <a:pt x="162" y="202"/>
                      </a:lnTo>
                      <a:lnTo>
                        <a:pt x="160" y="202"/>
                      </a:lnTo>
                      <a:lnTo>
                        <a:pt x="162" y="203"/>
                      </a:lnTo>
                      <a:lnTo>
                        <a:pt x="162" y="205"/>
                      </a:lnTo>
                      <a:lnTo>
                        <a:pt x="160" y="205"/>
                      </a:lnTo>
                      <a:lnTo>
                        <a:pt x="160" y="207"/>
                      </a:lnTo>
                      <a:lnTo>
                        <a:pt x="160" y="208"/>
                      </a:lnTo>
                      <a:lnTo>
                        <a:pt x="160" y="210"/>
                      </a:lnTo>
                      <a:lnTo>
                        <a:pt x="160" y="211"/>
                      </a:lnTo>
                      <a:lnTo>
                        <a:pt x="158" y="213"/>
                      </a:lnTo>
                      <a:lnTo>
                        <a:pt x="158" y="215"/>
                      </a:lnTo>
                      <a:lnTo>
                        <a:pt x="157" y="215"/>
                      </a:lnTo>
                      <a:lnTo>
                        <a:pt x="157" y="216"/>
                      </a:lnTo>
                      <a:lnTo>
                        <a:pt x="157" y="218"/>
                      </a:lnTo>
                      <a:lnTo>
                        <a:pt x="155" y="218"/>
                      </a:lnTo>
                      <a:lnTo>
                        <a:pt x="155" y="220"/>
                      </a:lnTo>
                      <a:lnTo>
                        <a:pt x="155" y="221"/>
                      </a:lnTo>
                      <a:lnTo>
                        <a:pt x="153" y="220"/>
                      </a:lnTo>
                      <a:lnTo>
                        <a:pt x="153" y="218"/>
                      </a:lnTo>
                      <a:lnTo>
                        <a:pt x="152" y="218"/>
                      </a:lnTo>
                      <a:lnTo>
                        <a:pt x="152" y="220"/>
                      </a:lnTo>
                      <a:lnTo>
                        <a:pt x="150" y="220"/>
                      </a:lnTo>
                      <a:lnTo>
                        <a:pt x="150" y="221"/>
                      </a:lnTo>
                      <a:lnTo>
                        <a:pt x="150" y="223"/>
                      </a:lnTo>
                      <a:lnTo>
                        <a:pt x="152" y="223"/>
                      </a:lnTo>
                      <a:lnTo>
                        <a:pt x="150" y="223"/>
                      </a:lnTo>
                      <a:lnTo>
                        <a:pt x="148" y="223"/>
                      </a:lnTo>
                      <a:lnTo>
                        <a:pt x="150" y="223"/>
                      </a:lnTo>
                      <a:lnTo>
                        <a:pt x="152" y="223"/>
                      </a:lnTo>
                      <a:lnTo>
                        <a:pt x="150" y="223"/>
                      </a:lnTo>
                      <a:lnTo>
                        <a:pt x="150" y="221"/>
                      </a:lnTo>
                      <a:lnTo>
                        <a:pt x="150" y="220"/>
                      </a:lnTo>
                      <a:lnTo>
                        <a:pt x="152" y="220"/>
                      </a:lnTo>
                      <a:lnTo>
                        <a:pt x="152" y="221"/>
                      </a:lnTo>
                      <a:lnTo>
                        <a:pt x="152" y="223"/>
                      </a:lnTo>
                      <a:lnTo>
                        <a:pt x="150" y="225"/>
                      </a:lnTo>
                      <a:lnTo>
                        <a:pt x="148" y="225"/>
                      </a:lnTo>
                      <a:lnTo>
                        <a:pt x="147" y="225"/>
                      </a:lnTo>
                      <a:lnTo>
                        <a:pt x="145" y="225"/>
                      </a:lnTo>
                      <a:lnTo>
                        <a:pt x="143" y="225"/>
                      </a:lnTo>
                      <a:lnTo>
                        <a:pt x="143" y="223"/>
                      </a:lnTo>
                      <a:lnTo>
                        <a:pt x="143" y="221"/>
                      </a:lnTo>
                      <a:lnTo>
                        <a:pt x="143" y="220"/>
                      </a:lnTo>
                      <a:lnTo>
                        <a:pt x="142" y="220"/>
                      </a:lnTo>
                      <a:lnTo>
                        <a:pt x="143" y="220"/>
                      </a:lnTo>
                      <a:lnTo>
                        <a:pt x="145" y="220"/>
                      </a:lnTo>
                      <a:lnTo>
                        <a:pt x="145" y="218"/>
                      </a:lnTo>
                      <a:lnTo>
                        <a:pt x="145" y="220"/>
                      </a:lnTo>
                      <a:lnTo>
                        <a:pt x="143" y="220"/>
                      </a:lnTo>
                      <a:lnTo>
                        <a:pt x="142" y="220"/>
                      </a:lnTo>
                      <a:lnTo>
                        <a:pt x="143" y="220"/>
                      </a:lnTo>
                      <a:lnTo>
                        <a:pt x="143" y="221"/>
                      </a:lnTo>
                      <a:lnTo>
                        <a:pt x="143" y="223"/>
                      </a:lnTo>
                      <a:lnTo>
                        <a:pt x="143" y="225"/>
                      </a:lnTo>
                      <a:lnTo>
                        <a:pt x="145" y="225"/>
                      </a:lnTo>
                      <a:lnTo>
                        <a:pt x="147" y="225"/>
                      </a:lnTo>
                      <a:lnTo>
                        <a:pt x="148" y="225"/>
                      </a:lnTo>
                      <a:lnTo>
                        <a:pt x="150" y="225"/>
                      </a:lnTo>
                      <a:lnTo>
                        <a:pt x="152" y="223"/>
                      </a:lnTo>
                      <a:lnTo>
                        <a:pt x="152" y="225"/>
                      </a:lnTo>
                      <a:lnTo>
                        <a:pt x="150" y="225"/>
                      </a:lnTo>
                      <a:lnTo>
                        <a:pt x="150" y="226"/>
                      </a:lnTo>
                      <a:lnTo>
                        <a:pt x="150" y="228"/>
                      </a:lnTo>
                      <a:lnTo>
                        <a:pt x="148" y="228"/>
                      </a:lnTo>
                      <a:lnTo>
                        <a:pt x="148" y="230"/>
                      </a:lnTo>
                      <a:lnTo>
                        <a:pt x="148" y="231"/>
                      </a:lnTo>
                      <a:lnTo>
                        <a:pt x="147" y="233"/>
                      </a:lnTo>
                      <a:lnTo>
                        <a:pt x="147" y="234"/>
                      </a:lnTo>
                      <a:lnTo>
                        <a:pt x="147" y="236"/>
                      </a:lnTo>
                      <a:lnTo>
                        <a:pt x="145" y="236"/>
                      </a:lnTo>
                      <a:lnTo>
                        <a:pt x="145" y="238"/>
                      </a:lnTo>
                      <a:lnTo>
                        <a:pt x="145" y="239"/>
                      </a:lnTo>
                      <a:lnTo>
                        <a:pt x="143" y="239"/>
                      </a:lnTo>
                      <a:lnTo>
                        <a:pt x="145" y="239"/>
                      </a:lnTo>
                      <a:lnTo>
                        <a:pt x="143" y="239"/>
                      </a:lnTo>
                      <a:lnTo>
                        <a:pt x="143" y="241"/>
                      </a:lnTo>
                      <a:lnTo>
                        <a:pt x="143" y="243"/>
                      </a:lnTo>
                      <a:lnTo>
                        <a:pt x="142" y="243"/>
                      </a:lnTo>
                      <a:lnTo>
                        <a:pt x="142" y="244"/>
                      </a:lnTo>
                      <a:lnTo>
                        <a:pt x="140" y="246"/>
                      </a:lnTo>
                      <a:lnTo>
                        <a:pt x="140" y="248"/>
                      </a:lnTo>
                      <a:lnTo>
                        <a:pt x="140" y="249"/>
                      </a:lnTo>
                      <a:lnTo>
                        <a:pt x="138" y="249"/>
                      </a:lnTo>
                      <a:lnTo>
                        <a:pt x="138" y="251"/>
                      </a:lnTo>
                      <a:lnTo>
                        <a:pt x="136" y="253"/>
                      </a:lnTo>
                      <a:lnTo>
                        <a:pt x="135" y="253"/>
                      </a:lnTo>
                      <a:lnTo>
                        <a:pt x="135" y="251"/>
                      </a:lnTo>
                      <a:lnTo>
                        <a:pt x="133" y="251"/>
                      </a:lnTo>
                      <a:lnTo>
                        <a:pt x="133" y="253"/>
                      </a:lnTo>
                      <a:lnTo>
                        <a:pt x="133" y="251"/>
                      </a:lnTo>
                      <a:lnTo>
                        <a:pt x="133" y="253"/>
                      </a:lnTo>
                      <a:lnTo>
                        <a:pt x="133" y="251"/>
                      </a:lnTo>
                      <a:lnTo>
                        <a:pt x="133" y="253"/>
                      </a:lnTo>
                      <a:lnTo>
                        <a:pt x="133" y="254"/>
                      </a:lnTo>
                      <a:lnTo>
                        <a:pt x="133" y="256"/>
                      </a:lnTo>
                      <a:lnTo>
                        <a:pt x="133" y="254"/>
                      </a:lnTo>
                      <a:lnTo>
                        <a:pt x="133" y="256"/>
                      </a:lnTo>
                      <a:lnTo>
                        <a:pt x="133" y="254"/>
                      </a:lnTo>
                      <a:lnTo>
                        <a:pt x="131" y="254"/>
                      </a:lnTo>
                      <a:lnTo>
                        <a:pt x="130" y="256"/>
                      </a:lnTo>
                      <a:lnTo>
                        <a:pt x="128" y="256"/>
                      </a:lnTo>
                      <a:lnTo>
                        <a:pt x="128" y="254"/>
                      </a:lnTo>
                      <a:lnTo>
                        <a:pt x="128" y="256"/>
                      </a:lnTo>
                      <a:lnTo>
                        <a:pt x="126" y="256"/>
                      </a:lnTo>
                      <a:lnTo>
                        <a:pt x="128" y="256"/>
                      </a:lnTo>
                      <a:lnTo>
                        <a:pt x="126" y="256"/>
                      </a:lnTo>
                      <a:lnTo>
                        <a:pt x="126" y="257"/>
                      </a:lnTo>
                      <a:lnTo>
                        <a:pt x="126" y="256"/>
                      </a:lnTo>
                      <a:lnTo>
                        <a:pt x="128" y="256"/>
                      </a:lnTo>
                      <a:lnTo>
                        <a:pt x="126" y="257"/>
                      </a:lnTo>
                      <a:lnTo>
                        <a:pt x="128" y="257"/>
                      </a:lnTo>
                      <a:lnTo>
                        <a:pt x="126" y="257"/>
                      </a:lnTo>
                      <a:lnTo>
                        <a:pt x="128" y="257"/>
                      </a:lnTo>
                      <a:lnTo>
                        <a:pt x="128" y="256"/>
                      </a:lnTo>
                      <a:lnTo>
                        <a:pt x="130" y="256"/>
                      </a:lnTo>
                      <a:lnTo>
                        <a:pt x="131" y="256"/>
                      </a:lnTo>
                      <a:lnTo>
                        <a:pt x="130" y="256"/>
                      </a:lnTo>
                      <a:lnTo>
                        <a:pt x="130" y="257"/>
                      </a:lnTo>
                      <a:lnTo>
                        <a:pt x="128" y="259"/>
                      </a:lnTo>
                      <a:lnTo>
                        <a:pt x="128" y="261"/>
                      </a:lnTo>
                      <a:lnTo>
                        <a:pt x="128" y="262"/>
                      </a:lnTo>
                      <a:lnTo>
                        <a:pt x="126" y="262"/>
                      </a:lnTo>
                      <a:lnTo>
                        <a:pt x="125" y="262"/>
                      </a:lnTo>
                      <a:lnTo>
                        <a:pt x="125" y="264"/>
                      </a:lnTo>
                      <a:lnTo>
                        <a:pt x="123" y="264"/>
                      </a:lnTo>
                      <a:lnTo>
                        <a:pt x="123" y="266"/>
                      </a:lnTo>
                      <a:lnTo>
                        <a:pt x="123" y="267"/>
                      </a:lnTo>
                      <a:lnTo>
                        <a:pt x="123" y="269"/>
                      </a:lnTo>
                      <a:lnTo>
                        <a:pt x="123" y="267"/>
                      </a:lnTo>
                      <a:lnTo>
                        <a:pt x="121" y="267"/>
                      </a:lnTo>
                      <a:lnTo>
                        <a:pt x="121" y="269"/>
                      </a:lnTo>
                      <a:lnTo>
                        <a:pt x="121" y="267"/>
                      </a:lnTo>
                      <a:lnTo>
                        <a:pt x="121" y="269"/>
                      </a:lnTo>
                      <a:lnTo>
                        <a:pt x="120" y="269"/>
                      </a:lnTo>
                      <a:lnTo>
                        <a:pt x="120" y="271"/>
                      </a:lnTo>
                      <a:lnTo>
                        <a:pt x="118" y="271"/>
                      </a:lnTo>
                      <a:lnTo>
                        <a:pt x="118" y="272"/>
                      </a:lnTo>
                      <a:lnTo>
                        <a:pt x="118" y="271"/>
                      </a:lnTo>
                      <a:lnTo>
                        <a:pt x="118" y="269"/>
                      </a:lnTo>
                      <a:lnTo>
                        <a:pt x="116" y="269"/>
                      </a:lnTo>
                      <a:lnTo>
                        <a:pt x="115" y="269"/>
                      </a:lnTo>
                      <a:lnTo>
                        <a:pt x="116" y="267"/>
                      </a:lnTo>
                      <a:lnTo>
                        <a:pt x="116" y="266"/>
                      </a:lnTo>
                      <a:lnTo>
                        <a:pt x="116" y="267"/>
                      </a:lnTo>
                      <a:lnTo>
                        <a:pt x="115" y="267"/>
                      </a:lnTo>
                      <a:lnTo>
                        <a:pt x="115" y="269"/>
                      </a:lnTo>
                      <a:lnTo>
                        <a:pt x="113" y="271"/>
                      </a:lnTo>
                      <a:lnTo>
                        <a:pt x="113" y="269"/>
                      </a:lnTo>
                      <a:lnTo>
                        <a:pt x="113" y="271"/>
                      </a:lnTo>
                      <a:lnTo>
                        <a:pt x="111" y="271"/>
                      </a:lnTo>
                      <a:lnTo>
                        <a:pt x="109" y="272"/>
                      </a:lnTo>
                      <a:lnTo>
                        <a:pt x="109" y="271"/>
                      </a:lnTo>
                      <a:lnTo>
                        <a:pt x="108" y="271"/>
                      </a:lnTo>
                      <a:lnTo>
                        <a:pt x="109" y="271"/>
                      </a:lnTo>
                      <a:lnTo>
                        <a:pt x="109" y="272"/>
                      </a:lnTo>
                      <a:lnTo>
                        <a:pt x="108" y="272"/>
                      </a:lnTo>
                      <a:lnTo>
                        <a:pt x="106" y="272"/>
                      </a:lnTo>
                      <a:lnTo>
                        <a:pt x="106" y="274"/>
                      </a:lnTo>
                      <a:lnTo>
                        <a:pt x="104" y="276"/>
                      </a:lnTo>
                      <a:lnTo>
                        <a:pt x="106" y="276"/>
                      </a:lnTo>
                      <a:lnTo>
                        <a:pt x="104" y="276"/>
                      </a:lnTo>
                      <a:lnTo>
                        <a:pt x="104" y="277"/>
                      </a:lnTo>
                      <a:lnTo>
                        <a:pt x="104" y="276"/>
                      </a:lnTo>
                      <a:lnTo>
                        <a:pt x="104" y="277"/>
                      </a:lnTo>
                      <a:lnTo>
                        <a:pt x="103" y="277"/>
                      </a:lnTo>
                      <a:lnTo>
                        <a:pt x="103" y="279"/>
                      </a:lnTo>
                      <a:lnTo>
                        <a:pt x="101" y="280"/>
                      </a:lnTo>
                      <a:lnTo>
                        <a:pt x="101" y="284"/>
                      </a:lnTo>
                      <a:lnTo>
                        <a:pt x="101" y="285"/>
                      </a:lnTo>
                      <a:lnTo>
                        <a:pt x="101" y="287"/>
                      </a:lnTo>
                      <a:lnTo>
                        <a:pt x="101" y="289"/>
                      </a:lnTo>
                      <a:lnTo>
                        <a:pt x="99" y="290"/>
                      </a:lnTo>
                      <a:lnTo>
                        <a:pt x="98" y="292"/>
                      </a:lnTo>
                      <a:lnTo>
                        <a:pt x="98" y="294"/>
                      </a:lnTo>
                      <a:lnTo>
                        <a:pt x="96" y="297"/>
                      </a:lnTo>
                      <a:lnTo>
                        <a:pt x="96" y="299"/>
                      </a:lnTo>
                      <a:lnTo>
                        <a:pt x="94" y="300"/>
                      </a:lnTo>
                      <a:lnTo>
                        <a:pt x="93" y="300"/>
                      </a:lnTo>
                      <a:lnTo>
                        <a:pt x="91" y="302"/>
                      </a:lnTo>
                      <a:lnTo>
                        <a:pt x="91" y="303"/>
                      </a:lnTo>
                      <a:lnTo>
                        <a:pt x="89" y="303"/>
                      </a:lnTo>
                      <a:lnTo>
                        <a:pt x="89" y="305"/>
                      </a:lnTo>
                      <a:lnTo>
                        <a:pt x="88" y="307"/>
                      </a:lnTo>
                      <a:lnTo>
                        <a:pt x="88" y="308"/>
                      </a:lnTo>
                      <a:lnTo>
                        <a:pt x="86" y="310"/>
                      </a:lnTo>
                      <a:lnTo>
                        <a:pt x="86" y="312"/>
                      </a:lnTo>
                      <a:lnTo>
                        <a:pt x="86" y="313"/>
                      </a:lnTo>
                      <a:lnTo>
                        <a:pt x="84" y="313"/>
                      </a:lnTo>
                      <a:lnTo>
                        <a:pt x="84" y="312"/>
                      </a:lnTo>
                      <a:lnTo>
                        <a:pt x="84" y="313"/>
                      </a:lnTo>
                      <a:lnTo>
                        <a:pt x="82" y="313"/>
                      </a:lnTo>
                      <a:lnTo>
                        <a:pt x="82" y="312"/>
                      </a:lnTo>
                      <a:lnTo>
                        <a:pt x="82" y="310"/>
                      </a:lnTo>
                      <a:lnTo>
                        <a:pt x="81" y="310"/>
                      </a:lnTo>
                      <a:lnTo>
                        <a:pt x="81" y="308"/>
                      </a:lnTo>
                      <a:lnTo>
                        <a:pt x="81" y="310"/>
                      </a:lnTo>
                      <a:lnTo>
                        <a:pt x="81" y="308"/>
                      </a:lnTo>
                      <a:lnTo>
                        <a:pt x="79" y="310"/>
                      </a:lnTo>
                      <a:lnTo>
                        <a:pt x="77" y="310"/>
                      </a:lnTo>
                      <a:lnTo>
                        <a:pt x="79" y="308"/>
                      </a:lnTo>
                      <a:lnTo>
                        <a:pt x="77" y="308"/>
                      </a:lnTo>
                      <a:lnTo>
                        <a:pt x="76" y="307"/>
                      </a:lnTo>
                      <a:lnTo>
                        <a:pt x="76" y="308"/>
                      </a:lnTo>
                      <a:lnTo>
                        <a:pt x="76" y="307"/>
                      </a:lnTo>
                      <a:lnTo>
                        <a:pt x="74" y="307"/>
                      </a:lnTo>
                      <a:lnTo>
                        <a:pt x="72" y="307"/>
                      </a:lnTo>
                      <a:lnTo>
                        <a:pt x="71" y="307"/>
                      </a:lnTo>
                      <a:lnTo>
                        <a:pt x="69" y="307"/>
                      </a:lnTo>
                      <a:lnTo>
                        <a:pt x="69" y="308"/>
                      </a:lnTo>
                      <a:lnTo>
                        <a:pt x="67" y="308"/>
                      </a:lnTo>
                      <a:lnTo>
                        <a:pt x="66" y="308"/>
                      </a:lnTo>
                      <a:lnTo>
                        <a:pt x="64" y="310"/>
                      </a:lnTo>
                      <a:lnTo>
                        <a:pt x="64" y="308"/>
                      </a:lnTo>
                      <a:lnTo>
                        <a:pt x="62" y="308"/>
                      </a:lnTo>
                      <a:lnTo>
                        <a:pt x="62" y="307"/>
                      </a:lnTo>
                      <a:lnTo>
                        <a:pt x="60" y="308"/>
                      </a:lnTo>
                      <a:lnTo>
                        <a:pt x="62" y="307"/>
                      </a:lnTo>
                      <a:lnTo>
                        <a:pt x="60" y="307"/>
                      </a:lnTo>
                      <a:lnTo>
                        <a:pt x="60" y="308"/>
                      </a:lnTo>
                      <a:lnTo>
                        <a:pt x="60" y="307"/>
                      </a:lnTo>
                      <a:lnTo>
                        <a:pt x="59" y="307"/>
                      </a:lnTo>
                      <a:lnTo>
                        <a:pt x="57" y="308"/>
                      </a:lnTo>
                      <a:lnTo>
                        <a:pt x="55" y="308"/>
                      </a:lnTo>
                      <a:lnTo>
                        <a:pt x="54" y="308"/>
                      </a:lnTo>
                      <a:lnTo>
                        <a:pt x="54" y="307"/>
                      </a:lnTo>
                      <a:lnTo>
                        <a:pt x="52" y="307"/>
                      </a:lnTo>
                      <a:lnTo>
                        <a:pt x="50" y="307"/>
                      </a:lnTo>
                      <a:lnTo>
                        <a:pt x="50" y="305"/>
                      </a:lnTo>
                      <a:lnTo>
                        <a:pt x="49" y="305"/>
                      </a:lnTo>
                      <a:lnTo>
                        <a:pt x="47" y="305"/>
                      </a:lnTo>
                      <a:lnTo>
                        <a:pt x="45" y="305"/>
                      </a:lnTo>
                      <a:lnTo>
                        <a:pt x="44" y="305"/>
                      </a:lnTo>
                      <a:lnTo>
                        <a:pt x="42" y="305"/>
                      </a:lnTo>
                      <a:lnTo>
                        <a:pt x="42" y="307"/>
                      </a:lnTo>
                      <a:lnTo>
                        <a:pt x="40" y="307"/>
                      </a:lnTo>
                      <a:lnTo>
                        <a:pt x="40" y="305"/>
                      </a:lnTo>
                      <a:lnTo>
                        <a:pt x="39" y="305"/>
                      </a:lnTo>
                      <a:lnTo>
                        <a:pt x="39" y="307"/>
                      </a:lnTo>
                      <a:lnTo>
                        <a:pt x="37" y="308"/>
                      </a:lnTo>
                      <a:lnTo>
                        <a:pt x="35" y="308"/>
                      </a:lnTo>
                      <a:lnTo>
                        <a:pt x="35" y="310"/>
                      </a:lnTo>
                      <a:lnTo>
                        <a:pt x="33" y="310"/>
                      </a:lnTo>
                      <a:lnTo>
                        <a:pt x="33" y="312"/>
                      </a:lnTo>
                      <a:lnTo>
                        <a:pt x="32" y="312"/>
                      </a:lnTo>
                      <a:lnTo>
                        <a:pt x="30" y="313"/>
                      </a:lnTo>
                      <a:lnTo>
                        <a:pt x="28" y="315"/>
                      </a:lnTo>
                      <a:lnTo>
                        <a:pt x="27" y="315"/>
                      </a:lnTo>
                      <a:lnTo>
                        <a:pt x="25" y="313"/>
                      </a:lnTo>
                      <a:lnTo>
                        <a:pt x="25" y="312"/>
                      </a:lnTo>
                      <a:lnTo>
                        <a:pt x="23" y="312"/>
                      </a:lnTo>
                      <a:lnTo>
                        <a:pt x="23" y="310"/>
                      </a:lnTo>
                      <a:lnTo>
                        <a:pt x="22" y="310"/>
                      </a:lnTo>
                      <a:lnTo>
                        <a:pt x="23" y="310"/>
                      </a:lnTo>
                      <a:lnTo>
                        <a:pt x="22" y="310"/>
                      </a:lnTo>
                      <a:lnTo>
                        <a:pt x="22" y="308"/>
                      </a:lnTo>
                      <a:lnTo>
                        <a:pt x="20" y="308"/>
                      </a:lnTo>
                      <a:lnTo>
                        <a:pt x="18" y="310"/>
                      </a:lnTo>
                      <a:lnTo>
                        <a:pt x="17" y="308"/>
                      </a:lnTo>
                      <a:lnTo>
                        <a:pt x="17" y="307"/>
                      </a:lnTo>
                      <a:lnTo>
                        <a:pt x="15" y="307"/>
                      </a:lnTo>
                      <a:lnTo>
                        <a:pt x="13" y="307"/>
                      </a:lnTo>
                      <a:lnTo>
                        <a:pt x="15" y="305"/>
                      </a:lnTo>
                      <a:lnTo>
                        <a:pt x="13" y="305"/>
                      </a:lnTo>
                      <a:lnTo>
                        <a:pt x="15" y="303"/>
                      </a:lnTo>
                      <a:lnTo>
                        <a:pt x="13" y="303"/>
                      </a:lnTo>
                      <a:lnTo>
                        <a:pt x="13" y="302"/>
                      </a:lnTo>
                      <a:lnTo>
                        <a:pt x="12" y="302"/>
                      </a:lnTo>
                      <a:lnTo>
                        <a:pt x="10" y="303"/>
                      </a:lnTo>
                      <a:lnTo>
                        <a:pt x="10" y="302"/>
                      </a:lnTo>
                      <a:lnTo>
                        <a:pt x="10" y="300"/>
                      </a:lnTo>
                      <a:lnTo>
                        <a:pt x="8" y="300"/>
                      </a:lnTo>
                      <a:lnTo>
                        <a:pt x="6" y="300"/>
                      </a:lnTo>
                      <a:lnTo>
                        <a:pt x="6" y="299"/>
                      </a:lnTo>
                      <a:lnTo>
                        <a:pt x="6" y="297"/>
                      </a:lnTo>
                      <a:lnTo>
                        <a:pt x="5" y="297"/>
                      </a:lnTo>
                      <a:lnTo>
                        <a:pt x="3" y="297"/>
                      </a:lnTo>
                      <a:lnTo>
                        <a:pt x="5" y="297"/>
                      </a:lnTo>
                      <a:lnTo>
                        <a:pt x="5" y="295"/>
                      </a:lnTo>
                      <a:lnTo>
                        <a:pt x="3" y="295"/>
                      </a:lnTo>
                      <a:lnTo>
                        <a:pt x="3" y="294"/>
                      </a:lnTo>
                      <a:lnTo>
                        <a:pt x="3" y="292"/>
                      </a:lnTo>
                      <a:lnTo>
                        <a:pt x="1" y="294"/>
                      </a:lnTo>
                      <a:lnTo>
                        <a:pt x="1" y="292"/>
                      </a:lnTo>
                      <a:lnTo>
                        <a:pt x="3" y="292"/>
                      </a:lnTo>
                      <a:lnTo>
                        <a:pt x="1" y="292"/>
                      </a:lnTo>
                      <a:lnTo>
                        <a:pt x="3" y="292"/>
                      </a:lnTo>
                      <a:lnTo>
                        <a:pt x="3" y="290"/>
                      </a:lnTo>
                      <a:lnTo>
                        <a:pt x="5" y="290"/>
                      </a:lnTo>
                      <a:lnTo>
                        <a:pt x="5" y="289"/>
                      </a:lnTo>
                      <a:lnTo>
                        <a:pt x="5" y="287"/>
                      </a:lnTo>
                      <a:lnTo>
                        <a:pt x="6" y="287"/>
                      </a:lnTo>
                      <a:lnTo>
                        <a:pt x="6" y="285"/>
                      </a:lnTo>
                      <a:lnTo>
                        <a:pt x="6" y="284"/>
                      </a:lnTo>
                      <a:lnTo>
                        <a:pt x="8" y="284"/>
                      </a:lnTo>
                      <a:lnTo>
                        <a:pt x="8" y="282"/>
                      </a:lnTo>
                      <a:lnTo>
                        <a:pt x="6" y="282"/>
                      </a:lnTo>
                      <a:lnTo>
                        <a:pt x="5" y="280"/>
                      </a:lnTo>
                      <a:lnTo>
                        <a:pt x="6" y="280"/>
                      </a:lnTo>
                      <a:lnTo>
                        <a:pt x="6" y="279"/>
                      </a:lnTo>
                      <a:lnTo>
                        <a:pt x="8" y="279"/>
                      </a:lnTo>
                      <a:lnTo>
                        <a:pt x="8" y="277"/>
                      </a:lnTo>
                      <a:lnTo>
                        <a:pt x="10" y="277"/>
                      </a:lnTo>
                      <a:lnTo>
                        <a:pt x="10" y="276"/>
                      </a:lnTo>
                      <a:lnTo>
                        <a:pt x="12" y="276"/>
                      </a:lnTo>
                      <a:lnTo>
                        <a:pt x="12" y="274"/>
                      </a:lnTo>
                      <a:lnTo>
                        <a:pt x="13" y="274"/>
                      </a:lnTo>
                      <a:lnTo>
                        <a:pt x="12" y="274"/>
                      </a:lnTo>
                      <a:lnTo>
                        <a:pt x="13" y="274"/>
                      </a:lnTo>
                      <a:lnTo>
                        <a:pt x="12" y="274"/>
                      </a:lnTo>
                      <a:lnTo>
                        <a:pt x="12" y="272"/>
                      </a:lnTo>
                      <a:lnTo>
                        <a:pt x="13" y="272"/>
                      </a:lnTo>
                      <a:lnTo>
                        <a:pt x="12" y="272"/>
                      </a:lnTo>
                      <a:lnTo>
                        <a:pt x="13" y="271"/>
                      </a:lnTo>
                      <a:lnTo>
                        <a:pt x="12" y="271"/>
                      </a:lnTo>
                      <a:lnTo>
                        <a:pt x="13" y="271"/>
                      </a:lnTo>
                      <a:lnTo>
                        <a:pt x="12" y="271"/>
                      </a:lnTo>
                      <a:lnTo>
                        <a:pt x="13" y="269"/>
                      </a:lnTo>
                      <a:lnTo>
                        <a:pt x="12" y="269"/>
                      </a:lnTo>
                      <a:lnTo>
                        <a:pt x="10" y="269"/>
                      </a:lnTo>
                      <a:lnTo>
                        <a:pt x="10" y="267"/>
                      </a:lnTo>
                      <a:lnTo>
                        <a:pt x="8" y="267"/>
                      </a:lnTo>
                      <a:lnTo>
                        <a:pt x="6" y="269"/>
                      </a:lnTo>
                      <a:lnTo>
                        <a:pt x="6" y="267"/>
                      </a:lnTo>
                      <a:lnTo>
                        <a:pt x="5" y="269"/>
                      </a:lnTo>
                      <a:lnTo>
                        <a:pt x="5" y="267"/>
                      </a:lnTo>
                      <a:lnTo>
                        <a:pt x="6" y="267"/>
                      </a:lnTo>
                      <a:lnTo>
                        <a:pt x="5" y="267"/>
                      </a:lnTo>
                      <a:lnTo>
                        <a:pt x="3" y="266"/>
                      </a:lnTo>
                      <a:lnTo>
                        <a:pt x="1" y="266"/>
                      </a:lnTo>
                      <a:lnTo>
                        <a:pt x="1" y="264"/>
                      </a:lnTo>
                      <a:lnTo>
                        <a:pt x="0" y="264"/>
                      </a:lnTo>
                      <a:lnTo>
                        <a:pt x="0" y="262"/>
                      </a:lnTo>
                      <a:lnTo>
                        <a:pt x="1" y="262"/>
                      </a:lnTo>
                      <a:lnTo>
                        <a:pt x="1" y="261"/>
                      </a:lnTo>
                      <a:lnTo>
                        <a:pt x="1" y="259"/>
                      </a:lnTo>
                      <a:lnTo>
                        <a:pt x="1" y="257"/>
                      </a:lnTo>
                      <a:lnTo>
                        <a:pt x="3" y="257"/>
                      </a:lnTo>
                      <a:lnTo>
                        <a:pt x="3" y="256"/>
                      </a:lnTo>
                      <a:lnTo>
                        <a:pt x="5" y="256"/>
                      </a:lnTo>
                      <a:lnTo>
                        <a:pt x="5" y="254"/>
                      </a:lnTo>
                      <a:lnTo>
                        <a:pt x="6" y="254"/>
                      </a:lnTo>
                      <a:lnTo>
                        <a:pt x="6" y="253"/>
                      </a:lnTo>
                      <a:lnTo>
                        <a:pt x="5" y="253"/>
                      </a:lnTo>
                      <a:lnTo>
                        <a:pt x="5" y="251"/>
                      </a:lnTo>
                      <a:lnTo>
                        <a:pt x="3" y="251"/>
                      </a:lnTo>
                      <a:lnTo>
                        <a:pt x="1" y="251"/>
                      </a:lnTo>
                      <a:lnTo>
                        <a:pt x="3" y="249"/>
                      </a:lnTo>
                      <a:lnTo>
                        <a:pt x="3" y="248"/>
                      </a:lnTo>
                      <a:lnTo>
                        <a:pt x="3" y="246"/>
                      </a:lnTo>
                      <a:lnTo>
                        <a:pt x="5" y="246"/>
                      </a:lnTo>
                      <a:lnTo>
                        <a:pt x="5" y="244"/>
                      </a:lnTo>
                      <a:lnTo>
                        <a:pt x="5" y="246"/>
                      </a:lnTo>
                      <a:lnTo>
                        <a:pt x="5" y="244"/>
                      </a:lnTo>
                      <a:lnTo>
                        <a:pt x="6" y="244"/>
                      </a:lnTo>
                      <a:lnTo>
                        <a:pt x="6" y="243"/>
                      </a:lnTo>
                      <a:lnTo>
                        <a:pt x="6" y="241"/>
                      </a:lnTo>
                      <a:lnTo>
                        <a:pt x="6" y="239"/>
                      </a:lnTo>
                      <a:lnTo>
                        <a:pt x="6" y="238"/>
                      </a:lnTo>
                      <a:lnTo>
                        <a:pt x="6" y="236"/>
                      </a:lnTo>
                      <a:lnTo>
                        <a:pt x="6" y="234"/>
                      </a:lnTo>
                      <a:lnTo>
                        <a:pt x="6" y="233"/>
                      </a:lnTo>
                      <a:lnTo>
                        <a:pt x="5" y="233"/>
                      </a:lnTo>
                      <a:lnTo>
                        <a:pt x="3" y="233"/>
                      </a:lnTo>
                      <a:lnTo>
                        <a:pt x="3" y="231"/>
                      </a:lnTo>
                      <a:lnTo>
                        <a:pt x="3" y="230"/>
                      </a:lnTo>
                      <a:lnTo>
                        <a:pt x="1" y="228"/>
                      </a:lnTo>
                      <a:lnTo>
                        <a:pt x="1" y="226"/>
                      </a:lnTo>
                      <a:lnTo>
                        <a:pt x="3" y="226"/>
                      </a:lnTo>
                      <a:lnTo>
                        <a:pt x="3" y="225"/>
                      </a:lnTo>
                      <a:lnTo>
                        <a:pt x="1" y="225"/>
                      </a:lnTo>
                      <a:lnTo>
                        <a:pt x="3" y="225"/>
                      </a:lnTo>
                      <a:lnTo>
                        <a:pt x="5" y="225"/>
                      </a:lnTo>
                      <a:lnTo>
                        <a:pt x="5" y="223"/>
                      </a:lnTo>
                      <a:lnTo>
                        <a:pt x="6" y="223"/>
                      </a:lnTo>
                      <a:lnTo>
                        <a:pt x="6" y="221"/>
                      </a:lnTo>
                      <a:lnTo>
                        <a:pt x="8" y="221"/>
                      </a:lnTo>
                      <a:lnTo>
                        <a:pt x="10" y="220"/>
                      </a:lnTo>
                      <a:lnTo>
                        <a:pt x="8" y="220"/>
                      </a:lnTo>
                      <a:lnTo>
                        <a:pt x="10" y="218"/>
                      </a:lnTo>
                      <a:lnTo>
                        <a:pt x="10" y="216"/>
                      </a:lnTo>
                      <a:lnTo>
                        <a:pt x="10" y="215"/>
                      </a:lnTo>
                      <a:lnTo>
                        <a:pt x="10" y="213"/>
                      </a:lnTo>
                      <a:lnTo>
                        <a:pt x="12" y="213"/>
                      </a:lnTo>
                      <a:lnTo>
                        <a:pt x="20" y="213"/>
                      </a:lnTo>
                      <a:lnTo>
                        <a:pt x="44" y="213"/>
                      </a:lnTo>
                      <a:lnTo>
                        <a:pt x="44" y="211"/>
                      </a:lnTo>
                      <a:lnTo>
                        <a:pt x="45" y="213"/>
                      </a:lnTo>
                      <a:lnTo>
                        <a:pt x="45" y="211"/>
                      </a:lnTo>
                      <a:lnTo>
                        <a:pt x="47" y="211"/>
                      </a:lnTo>
                      <a:lnTo>
                        <a:pt x="47" y="210"/>
                      </a:lnTo>
                      <a:lnTo>
                        <a:pt x="47" y="208"/>
                      </a:lnTo>
                      <a:lnTo>
                        <a:pt x="49" y="208"/>
                      </a:lnTo>
                      <a:lnTo>
                        <a:pt x="49" y="207"/>
                      </a:lnTo>
                      <a:lnTo>
                        <a:pt x="49" y="205"/>
                      </a:lnTo>
                      <a:lnTo>
                        <a:pt x="50" y="205"/>
                      </a:lnTo>
                      <a:lnTo>
                        <a:pt x="49" y="205"/>
                      </a:lnTo>
                      <a:lnTo>
                        <a:pt x="50" y="205"/>
                      </a:lnTo>
                      <a:lnTo>
                        <a:pt x="50" y="203"/>
                      </a:lnTo>
                      <a:lnTo>
                        <a:pt x="50" y="202"/>
                      </a:lnTo>
                      <a:lnTo>
                        <a:pt x="50" y="200"/>
                      </a:lnTo>
                      <a:lnTo>
                        <a:pt x="52" y="198"/>
                      </a:lnTo>
                      <a:lnTo>
                        <a:pt x="52" y="197"/>
                      </a:lnTo>
                      <a:lnTo>
                        <a:pt x="54" y="197"/>
                      </a:lnTo>
                      <a:lnTo>
                        <a:pt x="52" y="197"/>
                      </a:lnTo>
                      <a:lnTo>
                        <a:pt x="54" y="195"/>
                      </a:lnTo>
                      <a:lnTo>
                        <a:pt x="54" y="193"/>
                      </a:lnTo>
                      <a:lnTo>
                        <a:pt x="52" y="192"/>
                      </a:lnTo>
                      <a:lnTo>
                        <a:pt x="54" y="192"/>
                      </a:lnTo>
                      <a:lnTo>
                        <a:pt x="54" y="190"/>
                      </a:lnTo>
                      <a:lnTo>
                        <a:pt x="54" y="188"/>
                      </a:lnTo>
                      <a:lnTo>
                        <a:pt x="55" y="188"/>
                      </a:lnTo>
                      <a:lnTo>
                        <a:pt x="57" y="188"/>
                      </a:lnTo>
                      <a:lnTo>
                        <a:pt x="59" y="188"/>
                      </a:lnTo>
                      <a:lnTo>
                        <a:pt x="60" y="188"/>
                      </a:lnTo>
                      <a:lnTo>
                        <a:pt x="60" y="187"/>
                      </a:lnTo>
                      <a:lnTo>
                        <a:pt x="60" y="185"/>
                      </a:lnTo>
                      <a:lnTo>
                        <a:pt x="62" y="185"/>
                      </a:lnTo>
                      <a:lnTo>
                        <a:pt x="64" y="185"/>
                      </a:lnTo>
                      <a:lnTo>
                        <a:pt x="64" y="184"/>
                      </a:lnTo>
                      <a:lnTo>
                        <a:pt x="66" y="184"/>
                      </a:lnTo>
                      <a:lnTo>
                        <a:pt x="66" y="182"/>
                      </a:lnTo>
                      <a:lnTo>
                        <a:pt x="66" y="180"/>
                      </a:lnTo>
                      <a:lnTo>
                        <a:pt x="66" y="179"/>
                      </a:lnTo>
                      <a:lnTo>
                        <a:pt x="66" y="177"/>
                      </a:lnTo>
                      <a:lnTo>
                        <a:pt x="67" y="177"/>
                      </a:lnTo>
                      <a:lnTo>
                        <a:pt x="67" y="175"/>
                      </a:lnTo>
                      <a:lnTo>
                        <a:pt x="66" y="174"/>
                      </a:lnTo>
                      <a:lnTo>
                        <a:pt x="66" y="172"/>
                      </a:lnTo>
                      <a:lnTo>
                        <a:pt x="64" y="170"/>
                      </a:lnTo>
                      <a:lnTo>
                        <a:pt x="66" y="170"/>
                      </a:lnTo>
                      <a:lnTo>
                        <a:pt x="66" y="169"/>
                      </a:lnTo>
                      <a:lnTo>
                        <a:pt x="66" y="167"/>
                      </a:lnTo>
                      <a:lnTo>
                        <a:pt x="66" y="165"/>
                      </a:lnTo>
                      <a:lnTo>
                        <a:pt x="67" y="164"/>
                      </a:lnTo>
                      <a:lnTo>
                        <a:pt x="67" y="162"/>
                      </a:lnTo>
                      <a:lnTo>
                        <a:pt x="69" y="164"/>
                      </a:lnTo>
                      <a:lnTo>
                        <a:pt x="69" y="162"/>
                      </a:lnTo>
                      <a:lnTo>
                        <a:pt x="71" y="162"/>
                      </a:lnTo>
                      <a:lnTo>
                        <a:pt x="71" y="161"/>
                      </a:lnTo>
                      <a:lnTo>
                        <a:pt x="72" y="161"/>
                      </a:lnTo>
                      <a:lnTo>
                        <a:pt x="72" y="159"/>
                      </a:lnTo>
                      <a:lnTo>
                        <a:pt x="72" y="157"/>
                      </a:lnTo>
                      <a:lnTo>
                        <a:pt x="74" y="157"/>
                      </a:lnTo>
                      <a:lnTo>
                        <a:pt x="76" y="157"/>
                      </a:lnTo>
                      <a:lnTo>
                        <a:pt x="76" y="156"/>
                      </a:lnTo>
                      <a:lnTo>
                        <a:pt x="77" y="156"/>
                      </a:lnTo>
                      <a:lnTo>
                        <a:pt x="79" y="154"/>
                      </a:lnTo>
                      <a:lnTo>
                        <a:pt x="79" y="152"/>
                      </a:lnTo>
                      <a:lnTo>
                        <a:pt x="79" y="151"/>
                      </a:lnTo>
                      <a:lnTo>
                        <a:pt x="79" y="149"/>
                      </a:lnTo>
                      <a:lnTo>
                        <a:pt x="77" y="149"/>
                      </a:lnTo>
                      <a:lnTo>
                        <a:pt x="77" y="147"/>
                      </a:lnTo>
                      <a:lnTo>
                        <a:pt x="79" y="147"/>
                      </a:lnTo>
                      <a:lnTo>
                        <a:pt x="81" y="149"/>
                      </a:lnTo>
                      <a:lnTo>
                        <a:pt x="82" y="149"/>
                      </a:lnTo>
                      <a:lnTo>
                        <a:pt x="84" y="149"/>
                      </a:lnTo>
                      <a:lnTo>
                        <a:pt x="86" y="147"/>
                      </a:lnTo>
                      <a:lnTo>
                        <a:pt x="86" y="146"/>
                      </a:lnTo>
                      <a:lnTo>
                        <a:pt x="88" y="146"/>
                      </a:lnTo>
                      <a:lnTo>
                        <a:pt x="88" y="144"/>
                      </a:lnTo>
                      <a:lnTo>
                        <a:pt x="86" y="144"/>
                      </a:lnTo>
                      <a:lnTo>
                        <a:pt x="86" y="142"/>
                      </a:lnTo>
                      <a:lnTo>
                        <a:pt x="86" y="141"/>
                      </a:lnTo>
                      <a:lnTo>
                        <a:pt x="86" y="139"/>
                      </a:lnTo>
                      <a:lnTo>
                        <a:pt x="88" y="138"/>
                      </a:lnTo>
                      <a:lnTo>
                        <a:pt x="89" y="138"/>
                      </a:lnTo>
                      <a:lnTo>
                        <a:pt x="89" y="136"/>
                      </a:lnTo>
                      <a:lnTo>
                        <a:pt x="89" y="134"/>
                      </a:lnTo>
                      <a:lnTo>
                        <a:pt x="88" y="134"/>
                      </a:lnTo>
                      <a:lnTo>
                        <a:pt x="89" y="134"/>
                      </a:lnTo>
                      <a:lnTo>
                        <a:pt x="89" y="133"/>
                      </a:lnTo>
                      <a:lnTo>
                        <a:pt x="91" y="133"/>
                      </a:lnTo>
                      <a:lnTo>
                        <a:pt x="89" y="131"/>
                      </a:lnTo>
                      <a:lnTo>
                        <a:pt x="91" y="131"/>
                      </a:lnTo>
                      <a:lnTo>
                        <a:pt x="91" y="129"/>
                      </a:lnTo>
                      <a:lnTo>
                        <a:pt x="89" y="129"/>
                      </a:lnTo>
                      <a:lnTo>
                        <a:pt x="89" y="128"/>
                      </a:lnTo>
                      <a:lnTo>
                        <a:pt x="88" y="128"/>
                      </a:lnTo>
                      <a:lnTo>
                        <a:pt x="89" y="128"/>
                      </a:lnTo>
                      <a:lnTo>
                        <a:pt x="89" y="126"/>
                      </a:lnTo>
                      <a:lnTo>
                        <a:pt x="89" y="128"/>
                      </a:lnTo>
                      <a:lnTo>
                        <a:pt x="91" y="128"/>
                      </a:lnTo>
                      <a:lnTo>
                        <a:pt x="89" y="126"/>
                      </a:lnTo>
                      <a:lnTo>
                        <a:pt x="91" y="126"/>
                      </a:lnTo>
                      <a:lnTo>
                        <a:pt x="91" y="124"/>
                      </a:lnTo>
                      <a:lnTo>
                        <a:pt x="89" y="124"/>
                      </a:lnTo>
                      <a:lnTo>
                        <a:pt x="88" y="124"/>
                      </a:lnTo>
                      <a:lnTo>
                        <a:pt x="88" y="123"/>
                      </a:lnTo>
                      <a:lnTo>
                        <a:pt x="89" y="123"/>
                      </a:lnTo>
                      <a:lnTo>
                        <a:pt x="89" y="121"/>
                      </a:lnTo>
                      <a:lnTo>
                        <a:pt x="89" y="120"/>
                      </a:lnTo>
                      <a:lnTo>
                        <a:pt x="89" y="118"/>
                      </a:lnTo>
                      <a:lnTo>
                        <a:pt x="89" y="120"/>
                      </a:lnTo>
                      <a:lnTo>
                        <a:pt x="88" y="118"/>
                      </a:lnTo>
                      <a:lnTo>
                        <a:pt x="88" y="116"/>
                      </a:lnTo>
                      <a:lnTo>
                        <a:pt x="88" y="115"/>
                      </a:lnTo>
                      <a:lnTo>
                        <a:pt x="86" y="115"/>
                      </a:lnTo>
                      <a:lnTo>
                        <a:pt x="88" y="115"/>
                      </a:lnTo>
                      <a:lnTo>
                        <a:pt x="86" y="113"/>
                      </a:lnTo>
                      <a:lnTo>
                        <a:pt x="84" y="113"/>
                      </a:lnTo>
                      <a:lnTo>
                        <a:pt x="84" y="111"/>
                      </a:lnTo>
                      <a:lnTo>
                        <a:pt x="82" y="111"/>
                      </a:lnTo>
                      <a:lnTo>
                        <a:pt x="82" y="110"/>
                      </a:lnTo>
                      <a:lnTo>
                        <a:pt x="81" y="110"/>
                      </a:lnTo>
                      <a:lnTo>
                        <a:pt x="81" y="108"/>
                      </a:lnTo>
                      <a:lnTo>
                        <a:pt x="81" y="110"/>
                      </a:lnTo>
                      <a:lnTo>
                        <a:pt x="81" y="108"/>
                      </a:lnTo>
                      <a:lnTo>
                        <a:pt x="79" y="108"/>
                      </a:lnTo>
                      <a:lnTo>
                        <a:pt x="77" y="108"/>
                      </a:lnTo>
                      <a:lnTo>
                        <a:pt x="77" y="106"/>
                      </a:lnTo>
                      <a:lnTo>
                        <a:pt x="76" y="106"/>
                      </a:lnTo>
                      <a:lnTo>
                        <a:pt x="77" y="106"/>
                      </a:lnTo>
                      <a:lnTo>
                        <a:pt x="77" y="105"/>
                      </a:lnTo>
                      <a:lnTo>
                        <a:pt x="76" y="105"/>
                      </a:lnTo>
                      <a:lnTo>
                        <a:pt x="76" y="103"/>
                      </a:lnTo>
                      <a:lnTo>
                        <a:pt x="77" y="103"/>
                      </a:lnTo>
                      <a:lnTo>
                        <a:pt x="77" y="101"/>
                      </a:lnTo>
                      <a:lnTo>
                        <a:pt x="79" y="101"/>
                      </a:lnTo>
                      <a:lnTo>
                        <a:pt x="81" y="100"/>
                      </a:lnTo>
                      <a:lnTo>
                        <a:pt x="79" y="100"/>
                      </a:lnTo>
                      <a:lnTo>
                        <a:pt x="77" y="100"/>
                      </a:lnTo>
                      <a:lnTo>
                        <a:pt x="77" y="98"/>
                      </a:lnTo>
                      <a:lnTo>
                        <a:pt x="76" y="98"/>
                      </a:lnTo>
                      <a:lnTo>
                        <a:pt x="76" y="97"/>
                      </a:lnTo>
                      <a:lnTo>
                        <a:pt x="74" y="97"/>
                      </a:lnTo>
                      <a:lnTo>
                        <a:pt x="72" y="97"/>
                      </a:lnTo>
                      <a:lnTo>
                        <a:pt x="72" y="95"/>
                      </a:lnTo>
                      <a:lnTo>
                        <a:pt x="71" y="95"/>
                      </a:lnTo>
                      <a:lnTo>
                        <a:pt x="72" y="95"/>
                      </a:lnTo>
                      <a:lnTo>
                        <a:pt x="72" y="93"/>
                      </a:lnTo>
                      <a:lnTo>
                        <a:pt x="71" y="93"/>
                      </a:lnTo>
                      <a:lnTo>
                        <a:pt x="71" y="92"/>
                      </a:lnTo>
                      <a:lnTo>
                        <a:pt x="69" y="92"/>
                      </a:lnTo>
                      <a:lnTo>
                        <a:pt x="67" y="92"/>
                      </a:lnTo>
                      <a:lnTo>
                        <a:pt x="67" y="90"/>
                      </a:lnTo>
                      <a:lnTo>
                        <a:pt x="67" y="88"/>
                      </a:lnTo>
                      <a:lnTo>
                        <a:pt x="66" y="90"/>
                      </a:lnTo>
                      <a:lnTo>
                        <a:pt x="66" y="88"/>
                      </a:lnTo>
                      <a:lnTo>
                        <a:pt x="66" y="90"/>
                      </a:lnTo>
                      <a:lnTo>
                        <a:pt x="64" y="90"/>
                      </a:lnTo>
                      <a:lnTo>
                        <a:pt x="64" y="88"/>
                      </a:lnTo>
                      <a:lnTo>
                        <a:pt x="62" y="88"/>
                      </a:lnTo>
                      <a:lnTo>
                        <a:pt x="62" y="90"/>
                      </a:lnTo>
                      <a:lnTo>
                        <a:pt x="60" y="90"/>
                      </a:lnTo>
                      <a:lnTo>
                        <a:pt x="60" y="88"/>
                      </a:lnTo>
                      <a:lnTo>
                        <a:pt x="59" y="88"/>
                      </a:lnTo>
                      <a:lnTo>
                        <a:pt x="60" y="88"/>
                      </a:lnTo>
                      <a:lnTo>
                        <a:pt x="59" y="88"/>
                      </a:lnTo>
                      <a:lnTo>
                        <a:pt x="59" y="87"/>
                      </a:lnTo>
                      <a:lnTo>
                        <a:pt x="60" y="87"/>
                      </a:lnTo>
                      <a:lnTo>
                        <a:pt x="59" y="85"/>
                      </a:lnTo>
                      <a:lnTo>
                        <a:pt x="60" y="85"/>
                      </a:lnTo>
                      <a:lnTo>
                        <a:pt x="60" y="83"/>
                      </a:lnTo>
                      <a:lnTo>
                        <a:pt x="69" y="83"/>
                      </a:lnTo>
                      <a:lnTo>
                        <a:pt x="71" y="83"/>
                      </a:lnTo>
                      <a:lnTo>
                        <a:pt x="71" y="85"/>
                      </a:lnTo>
                      <a:lnTo>
                        <a:pt x="72" y="85"/>
                      </a:lnTo>
                      <a:lnTo>
                        <a:pt x="72" y="87"/>
                      </a:lnTo>
                      <a:lnTo>
                        <a:pt x="74" y="87"/>
                      </a:lnTo>
                      <a:lnTo>
                        <a:pt x="81" y="87"/>
                      </a:lnTo>
                      <a:lnTo>
                        <a:pt x="82" y="87"/>
                      </a:lnTo>
                      <a:lnTo>
                        <a:pt x="86" y="87"/>
                      </a:lnTo>
                      <a:lnTo>
                        <a:pt x="88" y="87"/>
                      </a:lnTo>
                      <a:lnTo>
                        <a:pt x="88" y="85"/>
                      </a:lnTo>
                      <a:lnTo>
                        <a:pt x="88" y="87"/>
                      </a:lnTo>
                      <a:lnTo>
                        <a:pt x="89" y="87"/>
                      </a:lnTo>
                      <a:lnTo>
                        <a:pt x="89" y="85"/>
                      </a:lnTo>
                      <a:lnTo>
                        <a:pt x="91" y="85"/>
                      </a:lnTo>
                      <a:lnTo>
                        <a:pt x="91" y="83"/>
                      </a:lnTo>
                      <a:lnTo>
                        <a:pt x="89" y="83"/>
                      </a:lnTo>
                      <a:lnTo>
                        <a:pt x="89" y="82"/>
                      </a:lnTo>
                      <a:lnTo>
                        <a:pt x="88" y="80"/>
                      </a:lnTo>
                      <a:lnTo>
                        <a:pt x="88" y="77"/>
                      </a:lnTo>
                      <a:lnTo>
                        <a:pt x="88" y="74"/>
                      </a:lnTo>
                      <a:lnTo>
                        <a:pt x="88" y="72"/>
                      </a:lnTo>
                      <a:lnTo>
                        <a:pt x="86" y="72"/>
                      </a:lnTo>
                      <a:lnTo>
                        <a:pt x="84" y="72"/>
                      </a:lnTo>
                      <a:lnTo>
                        <a:pt x="82" y="70"/>
                      </a:lnTo>
                      <a:lnTo>
                        <a:pt x="81" y="70"/>
                      </a:lnTo>
                      <a:lnTo>
                        <a:pt x="79" y="70"/>
                      </a:lnTo>
                      <a:lnTo>
                        <a:pt x="79" y="69"/>
                      </a:lnTo>
                      <a:lnTo>
                        <a:pt x="79" y="70"/>
                      </a:lnTo>
                      <a:lnTo>
                        <a:pt x="79" y="69"/>
                      </a:lnTo>
                      <a:lnTo>
                        <a:pt x="77" y="69"/>
                      </a:lnTo>
                      <a:lnTo>
                        <a:pt x="77" y="67"/>
                      </a:lnTo>
                      <a:lnTo>
                        <a:pt x="79" y="67"/>
                      </a:lnTo>
                      <a:lnTo>
                        <a:pt x="79" y="65"/>
                      </a:lnTo>
                      <a:lnTo>
                        <a:pt x="81" y="54"/>
                      </a:lnTo>
                      <a:lnTo>
                        <a:pt x="81" y="52"/>
                      </a:lnTo>
                      <a:lnTo>
                        <a:pt x="66" y="51"/>
                      </a:lnTo>
                      <a:lnTo>
                        <a:pt x="66" y="49"/>
                      </a:lnTo>
                      <a:lnTo>
                        <a:pt x="67" y="47"/>
                      </a:lnTo>
                      <a:lnTo>
                        <a:pt x="69" y="47"/>
                      </a:lnTo>
                      <a:lnTo>
                        <a:pt x="67" y="47"/>
                      </a:lnTo>
                      <a:lnTo>
                        <a:pt x="67" y="46"/>
                      </a:lnTo>
                      <a:lnTo>
                        <a:pt x="67" y="44"/>
                      </a:lnTo>
                      <a:lnTo>
                        <a:pt x="67" y="46"/>
                      </a:lnTo>
                      <a:lnTo>
                        <a:pt x="69" y="44"/>
                      </a:lnTo>
                      <a:lnTo>
                        <a:pt x="69" y="42"/>
                      </a:lnTo>
                      <a:lnTo>
                        <a:pt x="69" y="41"/>
                      </a:lnTo>
                      <a:lnTo>
                        <a:pt x="67" y="41"/>
                      </a:lnTo>
                      <a:lnTo>
                        <a:pt x="67" y="39"/>
                      </a:lnTo>
                      <a:lnTo>
                        <a:pt x="67" y="37"/>
                      </a:lnTo>
                      <a:lnTo>
                        <a:pt x="69" y="37"/>
                      </a:lnTo>
                      <a:lnTo>
                        <a:pt x="69" y="36"/>
                      </a:lnTo>
                      <a:lnTo>
                        <a:pt x="71" y="36"/>
                      </a:lnTo>
                      <a:lnTo>
                        <a:pt x="72" y="34"/>
                      </a:lnTo>
                      <a:lnTo>
                        <a:pt x="74" y="32"/>
                      </a:lnTo>
                      <a:lnTo>
                        <a:pt x="72" y="32"/>
                      </a:lnTo>
                      <a:lnTo>
                        <a:pt x="74" y="32"/>
                      </a:lnTo>
                      <a:lnTo>
                        <a:pt x="72" y="31"/>
                      </a:lnTo>
                      <a:lnTo>
                        <a:pt x="74" y="31"/>
                      </a:lnTo>
                      <a:lnTo>
                        <a:pt x="72" y="29"/>
                      </a:lnTo>
                      <a:lnTo>
                        <a:pt x="74" y="29"/>
                      </a:lnTo>
                      <a:lnTo>
                        <a:pt x="74" y="28"/>
                      </a:lnTo>
                      <a:lnTo>
                        <a:pt x="76" y="26"/>
                      </a:lnTo>
                      <a:lnTo>
                        <a:pt x="77" y="26"/>
                      </a:lnTo>
                      <a:lnTo>
                        <a:pt x="77" y="24"/>
                      </a:lnTo>
                      <a:lnTo>
                        <a:pt x="77" y="26"/>
                      </a:lnTo>
                      <a:lnTo>
                        <a:pt x="77" y="24"/>
                      </a:lnTo>
                      <a:lnTo>
                        <a:pt x="79" y="24"/>
                      </a:lnTo>
                      <a:lnTo>
                        <a:pt x="79" y="26"/>
                      </a:lnTo>
                      <a:lnTo>
                        <a:pt x="81" y="24"/>
                      </a:lnTo>
                      <a:lnTo>
                        <a:pt x="82" y="26"/>
                      </a:lnTo>
                      <a:lnTo>
                        <a:pt x="82" y="24"/>
                      </a:lnTo>
                      <a:lnTo>
                        <a:pt x="84" y="26"/>
                      </a:lnTo>
                      <a:lnTo>
                        <a:pt x="84" y="24"/>
                      </a:lnTo>
                      <a:lnTo>
                        <a:pt x="84" y="23"/>
                      </a:lnTo>
                      <a:lnTo>
                        <a:pt x="86" y="23"/>
                      </a:lnTo>
                      <a:lnTo>
                        <a:pt x="86" y="24"/>
                      </a:lnTo>
                      <a:lnTo>
                        <a:pt x="88" y="24"/>
                      </a:lnTo>
                      <a:lnTo>
                        <a:pt x="88" y="23"/>
                      </a:lnTo>
                      <a:lnTo>
                        <a:pt x="88" y="21"/>
                      </a:lnTo>
                      <a:lnTo>
                        <a:pt x="88" y="23"/>
                      </a:lnTo>
                      <a:lnTo>
                        <a:pt x="89" y="23"/>
                      </a:lnTo>
                      <a:lnTo>
                        <a:pt x="89" y="21"/>
                      </a:lnTo>
                      <a:lnTo>
                        <a:pt x="91" y="21"/>
                      </a:lnTo>
                      <a:lnTo>
                        <a:pt x="93" y="21"/>
                      </a:lnTo>
                      <a:lnTo>
                        <a:pt x="93" y="19"/>
                      </a:lnTo>
                      <a:lnTo>
                        <a:pt x="93" y="21"/>
                      </a:lnTo>
                      <a:lnTo>
                        <a:pt x="94" y="21"/>
                      </a:lnTo>
                      <a:lnTo>
                        <a:pt x="96" y="21"/>
                      </a:lnTo>
                      <a:lnTo>
                        <a:pt x="96" y="23"/>
                      </a:lnTo>
                      <a:lnTo>
                        <a:pt x="98" y="23"/>
                      </a:lnTo>
                      <a:lnTo>
                        <a:pt x="98" y="24"/>
                      </a:lnTo>
                      <a:lnTo>
                        <a:pt x="98" y="23"/>
                      </a:lnTo>
                      <a:lnTo>
                        <a:pt x="99" y="24"/>
                      </a:lnTo>
                      <a:lnTo>
                        <a:pt x="101" y="24"/>
                      </a:lnTo>
                      <a:lnTo>
                        <a:pt x="103" y="24"/>
                      </a:lnTo>
                      <a:lnTo>
                        <a:pt x="104" y="24"/>
                      </a:lnTo>
                      <a:lnTo>
                        <a:pt x="104" y="23"/>
                      </a:lnTo>
                      <a:lnTo>
                        <a:pt x="104" y="21"/>
                      </a:lnTo>
                      <a:lnTo>
                        <a:pt x="104" y="19"/>
                      </a:lnTo>
                      <a:lnTo>
                        <a:pt x="93" y="9"/>
                      </a:lnTo>
                      <a:lnTo>
                        <a:pt x="93" y="8"/>
                      </a:lnTo>
                      <a:lnTo>
                        <a:pt x="94" y="6"/>
                      </a:lnTo>
                      <a:lnTo>
                        <a:pt x="94" y="8"/>
                      </a:lnTo>
                      <a:lnTo>
                        <a:pt x="96" y="8"/>
                      </a:lnTo>
                      <a:lnTo>
                        <a:pt x="98" y="8"/>
                      </a:lnTo>
                      <a:lnTo>
                        <a:pt x="98" y="6"/>
                      </a:lnTo>
                      <a:lnTo>
                        <a:pt x="99" y="6"/>
                      </a:lnTo>
                      <a:lnTo>
                        <a:pt x="101" y="6"/>
                      </a:lnTo>
                      <a:lnTo>
                        <a:pt x="101" y="5"/>
                      </a:lnTo>
                      <a:lnTo>
                        <a:pt x="101" y="6"/>
                      </a:lnTo>
                      <a:lnTo>
                        <a:pt x="103" y="6"/>
                      </a:lnTo>
                      <a:lnTo>
                        <a:pt x="103" y="8"/>
                      </a:lnTo>
                      <a:lnTo>
                        <a:pt x="104" y="8"/>
                      </a:lnTo>
                      <a:lnTo>
                        <a:pt x="106" y="8"/>
                      </a:lnTo>
                      <a:lnTo>
                        <a:pt x="104" y="9"/>
                      </a:lnTo>
                      <a:lnTo>
                        <a:pt x="106" y="9"/>
                      </a:lnTo>
                      <a:lnTo>
                        <a:pt x="106" y="11"/>
                      </a:lnTo>
                      <a:lnTo>
                        <a:pt x="106" y="9"/>
                      </a:lnTo>
                      <a:lnTo>
                        <a:pt x="108" y="9"/>
                      </a:lnTo>
                      <a:lnTo>
                        <a:pt x="109" y="9"/>
                      </a:lnTo>
                      <a:lnTo>
                        <a:pt x="109" y="11"/>
                      </a:lnTo>
                      <a:lnTo>
                        <a:pt x="111" y="11"/>
                      </a:lnTo>
                      <a:lnTo>
                        <a:pt x="109" y="11"/>
                      </a:lnTo>
                      <a:lnTo>
                        <a:pt x="111" y="11"/>
                      </a:lnTo>
                      <a:lnTo>
                        <a:pt x="113" y="11"/>
                      </a:lnTo>
                      <a:lnTo>
                        <a:pt x="115" y="11"/>
                      </a:lnTo>
                      <a:lnTo>
                        <a:pt x="116" y="11"/>
                      </a:lnTo>
                      <a:lnTo>
                        <a:pt x="116" y="9"/>
                      </a:lnTo>
                      <a:lnTo>
                        <a:pt x="118" y="9"/>
                      </a:lnTo>
                      <a:lnTo>
                        <a:pt x="118" y="8"/>
                      </a:lnTo>
                      <a:lnTo>
                        <a:pt x="118" y="6"/>
                      </a:lnTo>
                      <a:lnTo>
                        <a:pt x="120" y="6"/>
                      </a:lnTo>
                      <a:lnTo>
                        <a:pt x="118" y="6"/>
                      </a:lnTo>
                      <a:lnTo>
                        <a:pt x="120" y="6"/>
                      </a:lnTo>
                      <a:lnTo>
                        <a:pt x="120" y="5"/>
                      </a:lnTo>
                      <a:lnTo>
                        <a:pt x="121" y="3"/>
                      </a:lnTo>
                      <a:lnTo>
                        <a:pt x="121" y="5"/>
                      </a:lnTo>
                      <a:lnTo>
                        <a:pt x="121" y="3"/>
                      </a:lnTo>
                      <a:lnTo>
                        <a:pt x="121" y="1"/>
                      </a:lnTo>
                      <a:lnTo>
                        <a:pt x="123" y="1"/>
                      </a:lnTo>
                      <a:lnTo>
                        <a:pt x="125" y="1"/>
                      </a:lnTo>
                      <a:lnTo>
                        <a:pt x="126" y="1"/>
                      </a:lnTo>
                      <a:lnTo>
                        <a:pt x="126" y="0"/>
                      </a:lnTo>
                      <a:lnTo>
                        <a:pt x="128" y="0"/>
                      </a:lnTo>
                      <a:lnTo>
                        <a:pt x="130" y="1"/>
                      </a:lnTo>
                      <a:lnTo>
                        <a:pt x="131" y="1"/>
                      </a:lnTo>
                      <a:lnTo>
                        <a:pt x="131" y="3"/>
                      </a:lnTo>
                      <a:lnTo>
                        <a:pt x="133" y="3"/>
                      </a:lnTo>
                      <a:lnTo>
                        <a:pt x="135" y="3"/>
                      </a:lnTo>
                      <a:lnTo>
                        <a:pt x="136" y="3"/>
                      </a:lnTo>
                      <a:lnTo>
                        <a:pt x="138" y="3"/>
                      </a:lnTo>
                      <a:lnTo>
                        <a:pt x="140" y="3"/>
                      </a:lnTo>
                      <a:lnTo>
                        <a:pt x="142" y="3"/>
                      </a:lnTo>
                      <a:lnTo>
                        <a:pt x="143" y="3"/>
                      </a:lnTo>
                      <a:lnTo>
                        <a:pt x="145" y="3"/>
                      </a:lnTo>
                      <a:lnTo>
                        <a:pt x="147" y="3"/>
                      </a:lnTo>
                      <a:lnTo>
                        <a:pt x="147" y="5"/>
                      </a:lnTo>
                      <a:lnTo>
                        <a:pt x="148" y="5"/>
                      </a:lnTo>
                      <a:lnTo>
                        <a:pt x="150" y="5"/>
                      </a:lnTo>
                      <a:lnTo>
                        <a:pt x="150" y="6"/>
                      </a:lnTo>
                      <a:lnTo>
                        <a:pt x="152" y="6"/>
                      </a:lnTo>
                      <a:lnTo>
                        <a:pt x="153" y="6"/>
                      </a:lnTo>
                      <a:lnTo>
                        <a:pt x="153" y="8"/>
                      </a:lnTo>
                      <a:lnTo>
                        <a:pt x="155" y="8"/>
                      </a:lnTo>
                      <a:lnTo>
                        <a:pt x="157" y="8"/>
                      </a:lnTo>
                      <a:close/>
                      <a:moveTo>
                        <a:pt x="106" y="280"/>
                      </a:moveTo>
                      <a:lnTo>
                        <a:pt x="106" y="279"/>
                      </a:lnTo>
                      <a:lnTo>
                        <a:pt x="106" y="280"/>
                      </a:lnTo>
                      <a:close/>
                      <a:moveTo>
                        <a:pt x="108" y="272"/>
                      </a:moveTo>
                      <a:lnTo>
                        <a:pt x="109" y="272"/>
                      </a:lnTo>
                      <a:lnTo>
                        <a:pt x="108" y="272"/>
                      </a:lnTo>
                      <a:close/>
                      <a:moveTo>
                        <a:pt x="135" y="253"/>
                      </a:moveTo>
                      <a:lnTo>
                        <a:pt x="136" y="253"/>
                      </a:lnTo>
                      <a:lnTo>
                        <a:pt x="135" y="253"/>
                      </a:lnTo>
                      <a:close/>
                      <a:moveTo>
                        <a:pt x="135" y="253"/>
                      </a:moveTo>
                      <a:lnTo>
                        <a:pt x="136" y="253"/>
                      </a:lnTo>
                      <a:lnTo>
                        <a:pt x="135" y="253"/>
                      </a:lnTo>
                      <a:close/>
                      <a:moveTo>
                        <a:pt x="152" y="225"/>
                      </a:moveTo>
                      <a:lnTo>
                        <a:pt x="152" y="223"/>
                      </a:lnTo>
                      <a:lnTo>
                        <a:pt x="152" y="225"/>
                      </a:lnTo>
                      <a:close/>
                      <a:moveTo>
                        <a:pt x="150" y="228"/>
                      </a:moveTo>
                      <a:lnTo>
                        <a:pt x="152" y="228"/>
                      </a:lnTo>
                      <a:lnTo>
                        <a:pt x="150" y="228"/>
                      </a:lnTo>
                      <a:close/>
                      <a:moveTo>
                        <a:pt x="150" y="230"/>
                      </a:moveTo>
                      <a:lnTo>
                        <a:pt x="148" y="230"/>
                      </a:lnTo>
                      <a:lnTo>
                        <a:pt x="150" y="230"/>
                      </a:lnTo>
                      <a:close/>
                      <a:moveTo>
                        <a:pt x="147" y="216"/>
                      </a:moveTo>
                      <a:lnTo>
                        <a:pt x="148" y="216"/>
                      </a:lnTo>
                      <a:lnTo>
                        <a:pt x="147" y="216"/>
                      </a:lnTo>
                      <a:lnTo>
                        <a:pt x="147" y="218"/>
                      </a:lnTo>
                      <a:lnTo>
                        <a:pt x="147" y="220"/>
                      </a:lnTo>
                      <a:lnTo>
                        <a:pt x="145" y="220"/>
                      </a:lnTo>
                      <a:lnTo>
                        <a:pt x="145" y="221"/>
                      </a:lnTo>
                      <a:lnTo>
                        <a:pt x="143" y="223"/>
                      </a:lnTo>
                      <a:lnTo>
                        <a:pt x="145" y="221"/>
                      </a:lnTo>
                      <a:lnTo>
                        <a:pt x="145" y="220"/>
                      </a:lnTo>
                      <a:lnTo>
                        <a:pt x="147" y="220"/>
                      </a:lnTo>
                      <a:lnTo>
                        <a:pt x="147" y="218"/>
                      </a:lnTo>
                      <a:lnTo>
                        <a:pt x="147" y="216"/>
                      </a:lnTo>
                      <a:lnTo>
                        <a:pt x="148" y="216"/>
                      </a:lnTo>
                      <a:lnTo>
                        <a:pt x="147" y="216"/>
                      </a:lnTo>
                      <a:close/>
                      <a:moveTo>
                        <a:pt x="147" y="216"/>
                      </a:moveTo>
                      <a:lnTo>
                        <a:pt x="145" y="216"/>
                      </a:lnTo>
                      <a:lnTo>
                        <a:pt x="147" y="216"/>
                      </a:lnTo>
                      <a:lnTo>
                        <a:pt x="147" y="218"/>
                      </a:lnTo>
                      <a:lnTo>
                        <a:pt x="145" y="218"/>
                      </a:lnTo>
                      <a:lnTo>
                        <a:pt x="147" y="218"/>
                      </a:lnTo>
                      <a:lnTo>
                        <a:pt x="147" y="216"/>
                      </a:lnTo>
                      <a:lnTo>
                        <a:pt x="145" y="216"/>
                      </a:lnTo>
                      <a:lnTo>
                        <a:pt x="147" y="216"/>
                      </a:lnTo>
                      <a:close/>
                      <a:moveTo>
                        <a:pt x="148" y="223"/>
                      </a:moveTo>
                      <a:lnTo>
                        <a:pt x="147" y="223"/>
                      </a:lnTo>
                      <a:lnTo>
                        <a:pt x="145" y="223"/>
                      </a:lnTo>
                      <a:lnTo>
                        <a:pt x="145" y="225"/>
                      </a:lnTo>
                      <a:lnTo>
                        <a:pt x="143" y="223"/>
                      </a:lnTo>
                      <a:lnTo>
                        <a:pt x="145" y="225"/>
                      </a:lnTo>
                      <a:lnTo>
                        <a:pt x="145" y="223"/>
                      </a:lnTo>
                      <a:lnTo>
                        <a:pt x="147" y="223"/>
                      </a:lnTo>
                      <a:lnTo>
                        <a:pt x="148" y="223"/>
                      </a:lnTo>
                      <a:close/>
                      <a:moveTo>
                        <a:pt x="143" y="223"/>
                      </a:moveTo>
                      <a:lnTo>
                        <a:pt x="143" y="221"/>
                      </a:lnTo>
                      <a:lnTo>
                        <a:pt x="143" y="223"/>
                      </a:lnTo>
                      <a:close/>
                      <a:moveTo>
                        <a:pt x="143" y="223"/>
                      </a:moveTo>
                      <a:lnTo>
                        <a:pt x="143" y="221"/>
                      </a:lnTo>
                      <a:lnTo>
                        <a:pt x="143" y="223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87" name="Freeform 11"/>
                <p:cNvSpPr>
                  <a:spLocks noChangeAspect="1" noEditPoints="1"/>
                </p:cNvSpPr>
                <p:nvPr/>
              </p:nvSpPr>
              <p:spPr bwMode="auto">
                <a:xfrm>
                  <a:off x="5576888" y="4479502"/>
                  <a:ext cx="585490" cy="404770"/>
                </a:xfrm>
                <a:custGeom>
                  <a:avLst/>
                  <a:gdLst>
                    <a:gd name="T0" fmla="*/ 2147483647 w 374"/>
                    <a:gd name="T1" fmla="*/ 2147483647 h 241"/>
                    <a:gd name="T2" fmla="*/ 2147483647 w 374"/>
                    <a:gd name="T3" fmla="*/ 2147483647 h 241"/>
                    <a:gd name="T4" fmla="*/ 2147483647 w 374"/>
                    <a:gd name="T5" fmla="*/ 2147483647 h 241"/>
                    <a:gd name="T6" fmla="*/ 2147483647 w 374"/>
                    <a:gd name="T7" fmla="*/ 2147483647 h 241"/>
                    <a:gd name="T8" fmla="*/ 2147483647 w 374"/>
                    <a:gd name="T9" fmla="*/ 2147483647 h 241"/>
                    <a:gd name="T10" fmla="*/ 2147483647 w 374"/>
                    <a:gd name="T11" fmla="*/ 2147483647 h 241"/>
                    <a:gd name="T12" fmla="*/ 2147483647 w 374"/>
                    <a:gd name="T13" fmla="*/ 2147483647 h 241"/>
                    <a:gd name="T14" fmla="*/ 2147483647 w 374"/>
                    <a:gd name="T15" fmla="*/ 2147483647 h 241"/>
                    <a:gd name="T16" fmla="*/ 2147483647 w 374"/>
                    <a:gd name="T17" fmla="*/ 2147483647 h 241"/>
                    <a:gd name="T18" fmla="*/ 2147483647 w 374"/>
                    <a:gd name="T19" fmla="*/ 2147483647 h 241"/>
                    <a:gd name="T20" fmla="*/ 2147483647 w 374"/>
                    <a:gd name="T21" fmla="*/ 2147483647 h 241"/>
                    <a:gd name="T22" fmla="*/ 2147483647 w 374"/>
                    <a:gd name="T23" fmla="*/ 2147483647 h 241"/>
                    <a:gd name="T24" fmla="*/ 2147483647 w 374"/>
                    <a:gd name="T25" fmla="*/ 2147483647 h 241"/>
                    <a:gd name="T26" fmla="*/ 2147483647 w 374"/>
                    <a:gd name="T27" fmla="*/ 2147483647 h 241"/>
                    <a:gd name="T28" fmla="*/ 2147483647 w 374"/>
                    <a:gd name="T29" fmla="*/ 2147483647 h 241"/>
                    <a:gd name="T30" fmla="*/ 2147483647 w 374"/>
                    <a:gd name="T31" fmla="*/ 2147483647 h 241"/>
                    <a:gd name="T32" fmla="*/ 2147483647 w 374"/>
                    <a:gd name="T33" fmla="*/ 2147483647 h 241"/>
                    <a:gd name="T34" fmla="*/ 2147483647 w 374"/>
                    <a:gd name="T35" fmla="*/ 2147483647 h 241"/>
                    <a:gd name="T36" fmla="*/ 2147483647 w 374"/>
                    <a:gd name="T37" fmla="*/ 2147483647 h 241"/>
                    <a:gd name="T38" fmla="*/ 2147483647 w 374"/>
                    <a:gd name="T39" fmla="*/ 2147483647 h 241"/>
                    <a:gd name="T40" fmla="*/ 2147483647 w 374"/>
                    <a:gd name="T41" fmla="*/ 2147483647 h 241"/>
                    <a:gd name="T42" fmla="*/ 2147483647 w 374"/>
                    <a:gd name="T43" fmla="*/ 2147483647 h 241"/>
                    <a:gd name="T44" fmla="*/ 2147483647 w 374"/>
                    <a:gd name="T45" fmla="*/ 2147483647 h 241"/>
                    <a:gd name="T46" fmla="*/ 2147483647 w 374"/>
                    <a:gd name="T47" fmla="*/ 2147483647 h 241"/>
                    <a:gd name="T48" fmla="*/ 2147483647 w 374"/>
                    <a:gd name="T49" fmla="*/ 2147483647 h 241"/>
                    <a:gd name="T50" fmla="*/ 2147483647 w 374"/>
                    <a:gd name="T51" fmla="*/ 2147483647 h 241"/>
                    <a:gd name="T52" fmla="*/ 2147483647 w 374"/>
                    <a:gd name="T53" fmla="*/ 2147483647 h 241"/>
                    <a:gd name="T54" fmla="*/ 2147483647 w 374"/>
                    <a:gd name="T55" fmla="*/ 2147483647 h 241"/>
                    <a:gd name="T56" fmla="*/ 2147483647 w 374"/>
                    <a:gd name="T57" fmla="*/ 2147483647 h 241"/>
                    <a:gd name="T58" fmla="*/ 2147483647 w 374"/>
                    <a:gd name="T59" fmla="*/ 2147483647 h 241"/>
                    <a:gd name="T60" fmla="*/ 2147483647 w 374"/>
                    <a:gd name="T61" fmla="*/ 2147483647 h 241"/>
                    <a:gd name="T62" fmla="*/ 2147483647 w 374"/>
                    <a:gd name="T63" fmla="*/ 2147483647 h 241"/>
                    <a:gd name="T64" fmla="*/ 2147483647 w 374"/>
                    <a:gd name="T65" fmla="*/ 2147483647 h 241"/>
                    <a:gd name="T66" fmla="*/ 2147483647 w 374"/>
                    <a:gd name="T67" fmla="*/ 2147483647 h 241"/>
                    <a:gd name="T68" fmla="*/ 2147483647 w 374"/>
                    <a:gd name="T69" fmla="*/ 2147483647 h 241"/>
                    <a:gd name="T70" fmla="*/ 2147483647 w 374"/>
                    <a:gd name="T71" fmla="*/ 2147483647 h 241"/>
                    <a:gd name="T72" fmla="*/ 2147483647 w 374"/>
                    <a:gd name="T73" fmla="*/ 2147483647 h 241"/>
                    <a:gd name="T74" fmla="*/ 2147483647 w 374"/>
                    <a:gd name="T75" fmla="*/ 2147483647 h 241"/>
                    <a:gd name="T76" fmla="*/ 2147483647 w 374"/>
                    <a:gd name="T77" fmla="*/ 2147483647 h 241"/>
                    <a:gd name="T78" fmla="*/ 2147483647 w 374"/>
                    <a:gd name="T79" fmla="*/ 2147483647 h 241"/>
                    <a:gd name="T80" fmla="*/ 2147483647 w 374"/>
                    <a:gd name="T81" fmla="*/ 2147483647 h 241"/>
                    <a:gd name="T82" fmla="*/ 2147483647 w 374"/>
                    <a:gd name="T83" fmla="*/ 2147483647 h 241"/>
                    <a:gd name="T84" fmla="*/ 2147483647 w 374"/>
                    <a:gd name="T85" fmla="*/ 2147483647 h 241"/>
                    <a:gd name="T86" fmla="*/ 2147483647 w 374"/>
                    <a:gd name="T87" fmla="*/ 2147483647 h 241"/>
                    <a:gd name="T88" fmla="*/ 2147483647 w 374"/>
                    <a:gd name="T89" fmla="*/ 2147483647 h 241"/>
                    <a:gd name="T90" fmla="*/ 2147483647 w 374"/>
                    <a:gd name="T91" fmla="*/ 2147483647 h 241"/>
                    <a:gd name="T92" fmla="*/ 2147483647 w 374"/>
                    <a:gd name="T93" fmla="*/ 2147483647 h 241"/>
                    <a:gd name="T94" fmla="*/ 2147483647 w 374"/>
                    <a:gd name="T95" fmla="*/ 2147483647 h 241"/>
                    <a:gd name="T96" fmla="*/ 2147483647 w 374"/>
                    <a:gd name="T97" fmla="*/ 2147483647 h 241"/>
                    <a:gd name="T98" fmla="*/ 2147483647 w 374"/>
                    <a:gd name="T99" fmla="*/ 2147483647 h 241"/>
                    <a:gd name="T100" fmla="*/ 2147483647 w 374"/>
                    <a:gd name="T101" fmla="*/ 2147483647 h 241"/>
                    <a:gd name="T102" fmla="*/ 2147483647 w 374"/>
                    <a:gd name="T103" fmla="*/ 2147483647 h 241"/>
                    <a:gd name="T104" fmla="*/ 2147483647 w 374"/>
                    <a:gd name="T105" fmla="*/ 2147483647 h 241"/>
                    <a:gd name="T106" fmla="*/ 2147483647 w 374"/>
                    <a:gd name="T107" fmla="*/ 2147483647 h 241"/>
                    <a:gd name="T108" fmla="*/ 2147483647 w 374"/>
                    <a:gd name="T109" fmla="*/ 2147483647 h 241"/>
                    <a:gd name="T110" fmla="*/ 2147483647 w 374"/>
                    <a:gd name="T111" fmla="*/ 2147483647 h 241"/>
                    <a:gd name="T112" fmla="*/ 2147483647 w 374"/>
                    <a:gd name="T113" fmla="*/ 2147483647 h 241"/>
                    <a:gd name="T114" fmla="*/ 2147483647 w 374"/>
                    <a:gd name="T115" fmla="*/ 2147483647 h 241"/>
                    <a:gd name="T116" fmla="*/ 2147483647 w 374"/>
                    <a:gd name="T117" fmla="*/ 2147483647 h 241"/>
                    <a:gd name="T118" fmla="*/ 2147483647 w 374"/>
                    <a:gd name="T119" fmla="*/ 2147483647 h 241"/>
                    <a:gd name="T120" fmla="*/ 2147483647 w 374"/>
                    <a:gd name="T121" fmla="*/ 2147483647 h 241"/>
                    <a:gd name="T122" fmla="*/ 2147483647 w 374"/>
                    <a:gd name="T123" fmla="*/ 2147483647 h 24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74"/>
                    <a:gd name="T187" fmla="*/ 0 h 241"/>
                    <a:gd name="T188" fmla="*/ 374 w 374"/>
                    <a:gd name="T189" fmla="*/ 241 h 24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74" h="241">
                      <a:moveTo>
                        <a:pt x="325" y="41"/>
                      </a:moveTo>
                      <a:lnTo>
                        <a:pt x="326" y="41"/>
                      </a:lnTo>
                      <a:lnTo>
                        <a:pt x="326" y="43"/>
                      </a:lnTo>
                      <a:lnTo>
                        <a:pt x="328" y="43"/>
                      </a:lnTo>
                      <a:lnTo>
                        <a:pt x="328" y="41"/>
                      </a:lnTo>
                      <a:lnTo>
                        <a:pt x="330" y="41"/>
                      </a:lnTo>
                      <a:lnTo>
                        <a:pt x="331" y="41"/>
                      </a:lnTo>
                      <a:lnTo>
                        <a:pt x="333" y="41"/>
                      </a:lnTo>
                      <a:lnTo>
                        <a:pt x="335" y="41"/>
                      </a:lnTo>
                      <a:lnTo>
                        <a:pt x="336" y="41"/>
                      </a:lnTo>
                      <a:lnTo>
                        <a:pt x="336" y="43"/>
                      </a:lnTo>
                      <a:lnTo>
                        <a:pt x="338" y="43"/>
                      </a:lnTo>
                      <a:lnTo>
                        <a:pt x="340" y="43"/>
                      </a:lnTo>
                      <a:lnTo>
                        <a:pt x="340" y="44"/>
                      </a:lnTo>
                      <a:lnTo>
                        <a:pt x="341" y="44"/>
                      </a:lnTo>
                      <a:lnTo>
                        <a:pt x="343" y="44"/>
                      </a:lnTo>
                      <a:lnTo>
                        <a:pt x="345" y="43"/>
                      </a:lnTo>
                      <a:lnTo>
                        <a:pt x="346" y="43"/>
                      </a:lnTo>
                      <a:lnTo>
                        <a:pt x="346" y="44"/>
                      </a:lnTo>
                      <a:lnTo>
                        <a:pt x="346" y="43"/>
                      </a:lnTo>
                      <a:lnTo>
                        <a:pt x="348" y="43"/>
                      </a:lnTo>
                      <a:lnTo>
                        <a:pt x="346" y="44"/>
                      </a:lnTo>
                      <a:lnTo>
                        <a:pt x="348" y="43"/>
                      </a:lnTo>
                      <a:lnTo>
                        <a:pt x="348" y="44"/>
                      </a:lnTo>
                      <a:lnTo>
                        <a:pt x="350" y="44"/>
                      </a:lnTo>
                      <a:lnTo>
                        <a:pt x="350" y="46"/>
                      </a:lnTo>
                      <a:lnTo>
                        <a:pt x="352" y="44"/>
                      </a:lnTo>
                      <a:lnTo>
                        <a:pt x="353" y="44"/>
                      </a:lnTo>
                      <a:lnTo>
                        <a:pt x="355" y="44"/>
                      </a:lnTo>
                      <a:lnTo>
                        <a:pt x="355" y="43"/>
                      </a:lnTo>
                      <a:lnTo>
                        <a:pt x="357" y="43"/>
                      </a:lnTo>
                      <a:lnTo>
                        <a:pt x="358" y="43"/>
                      </a:lnTo>
                      <a:lnTo>
                        <a:pt x="360" y="43"/>
                      </a:lnTo>
                      <a:lnTo>
                        <a:pt x="362" y="43"/>
                      </a:lnTo>
                      <a:lnTo>
                        <a:pt x="362" y="44"/>
                      </a:lnTo>
                      <a:lnTo>
                        <a:pt x="362" y="43"/>
                      </a:lnTo>
                      <a:lnTo>
                        <a:pt x="363" y="44"/>
                      </a:lnTo>
                      <a:lnTo>
                        <a:pt x="365" y="44"/>
                      </a:lnTo>
                      <a:lnTo>
                        <a:pt x="363" y="46"/>
                      </a:lnTo>
                      <a:lnTo>
                        <a:pt x="365" y="46"/>
                      </a:lnTo>
                      <a:lnTo>
                        <a:pt x="367" y="44"/>
                      </a:lnTo>
                      <a:lnTo>
                        <a:pt x="367" y="46"/>
                      </a:lnTo>
                      <a:lnTo>
                        <a:pt x="367" y="44"/>
                      </a:lnTo>
                      <a:lnTo>
                        <a:pt x="367" y="46"/>
                      </a:lnTo>
                      <a:lnTo>
                        <a:pt x="368" y="46"/>
                      </a:lnTo>
                      <a:lnTo>
                        <a:pt x="368" y="48"/>
                      </a:lnTo>
                      <a:lnTo>
                        <a:pt x="368" y="49"/>
                      </a:lnTo>
                      <a:lnTo>
                        <a:pt x="370" y="49"/>
                      </a:lnTo>
                      <a:lnTo>
                        <a:pt x="370" y="48"/>
                      </a:lnTo>
                      <a:lnTo>
                        <a:pt x="370" y="49"/>
                      </a:lnTo>
                      <a:lnTo>
                        <a:pt x="372" y="49"/>
                      </a:lnTo>
                      <a:lnTo>
                        <a:pt x="374" y="51"/>
                      </a:lnTo>
                      <a:lnTo>
                        <a:pt x="372" y="51"/>
                      </a:lnTo>
                      <a:lnTo>
                        <a:pt x="372" y="53"/>
                      </a:lnTo>
                      <a:lnTo>
                        <a:pt x="372" y="54"/>
                      </a:lnTo>
                      <a:lnTo>
                        <a:pt x="372" y="56"/>
                      </a:lnTo>
                      <a:lnTo>
                        <a:pt x="372" y="58"/>
                      </a:lnTo>
                      <a:lnTo>
                        <a:pt x="370" y="58"/>
                      </a:lnTo>
                      <a:lnTo>
                        <a:pt x="370" y="59"/>
                      </a:lnTo>
                      <a:lnTo>
                        <a:pt x="368" y="59"/>
                      </a:lnTo>
                      <a:lnTo>
                        <a:pt x="368" y="61"/>
                      </a:lnTo>
                      <a:lnTo>
                        <a:pt x="367" y="62"/>
                      </a:lnTo>
                      <a:lnTo>
                        <a:pt x="367" y="64"/>
                      </a:lnTo>
                      <a:lnTo>
                        <a:pt x="365" y="64"/>
                      </a:lnTo>
                      <a:lnTo>
                        <a:pt x="365" y="66"/>
                      </a:lnTo>
                      <a:lnTo>
                        <a:pt x="363" y="66"/>
                      </a:lnTo>
                      <a:lnTo>
                        <a:pt x="363" y="67"/>
                      </a:lnTo>
                      <a:lnTo>
                        <a:pt x="362" y="67"/>
                      </a:lnTo>
                      <a:lnTo>
                        <a:pt x="362" y="69"/>
                      </a:lnTo>
                      <a:lnTo>
                        <a:pt x="362" y="71"/>
                      </a:lnTo>
                      <a:lnTo>
                        <a:pt x="362" y="72"/>
                      </a:lnTo>
                      <a:lnTo>
                        <a:pt x="362" y="74"/>
                      </a:lnTo>
                      <a:lnTo>
                        <a:pt x="363" y="74"/>
                      </a:lnTo>
                      <a:lnTo>
                        <a:pt x="363" y="76"/>
                      </a:lnTo>
                      <a:lnTo>
                        <a:pt x="363" y="77"/>
                      </a:lnTo>
                      <a:lnTo>
                        <a:pt x="365" y="77"/>
                      </a:lnTo>
                      <a:lnTo>
                        <a:pt x="365" y="79"/>
                      </a:lnTo>
                      <a:lnTo>
                        <a:pt x="367" y="79"/>
                      </a:lnTo>
                      <a:lnTo>
                        <a:pt x="367" y="77"/>
                      </a:lnTo>
                      <a:lnTo>
                        <a:pt x="367" y="79"/>
                      </a:lnTo>
                      <a:lnTo>
                        <a:pt x="368" y="79"/>
                      </a:lnTo>
                      <a:lnTo>
                        <a:pt x="367" y="80"/>
                      </a:lnTo>
                      <a:lnTo>
                        <a:pt x="367" y="82"/>
                      </a:lnTo>
                      <a:lnTo>
                        <a:pt x="367" y="85"/>
                      </a:lnTo>
                      <a:lnTo>
                        <a:pt x="367" y="89"/>
                      </a:lnTo>
                      <a:lnTo>
                        <a:pt x="367" y="90"/>
                      </a:lnTo>
                      <a:lnTo>
                        <a:pt x="367" y="92"/>
                      </a:lnTo>
                      <a:lnTo>
                        <a:pt x="367" y="94"/>
                      </a:lnTo>
                      <a:lnTo>
                        <a:pt x="367" y="95"/>
                      </a:lnTo>
                      <a:lnTo>
                        <a:pt x="368" y="95"/>
                      </a:lnTo>
                      <a:lnTo>
                        <a:pt x="368" y="100"/>
                      </a:lnTo>
                      <a:lnTo>
                        <a:pt x="368" y="102"/>
                      </a:lnTo>
                      <a:lnTo>
                        <a:pt x="370" y="103"/>
                      </a:lnTo>
                      <a:lnTo>
                        <a:pt x="370" y="105"/>
                      </a:lnTo>
                      <a:lnTo>
                        <a:pt x="370" y="107"/>
                      </a:lnTo>
                      <a:lnTo>
                        <a:pt x="370" y="108"/>
                      </a:lnTo>
                      <a:lnTo>
                        <a:pt x="372" y="110"/>
                      </a:lnTo>
                      <a:lnTo>
                        <a:pt x="372" y="112"/>
                      </a:lnTo>
                      <a:lnTo>
                        <a:pt x="370" y="113"/>
                      </a:lnTo>
                      <a:lnTo>
                        <a:pt x="370" y="115"/>
                      </a:lnTo>
                      <a:lnTo>
                        <a:pt x="368" y="117"/>
                      </a:lnTo>
                      <a:lnTo>
                        <a:pt x="367" y="117"/>
                      </a:lnTo>
                      <a:lnTo>
                        <a:pt x="362" y="120"/>
                      </a:lnTo>
                      <a:lnTo>
                        <a:pt x="358" y="122"/>
                      </a:lnTo>
                      <a:lnTo>
                        <a:pt x="357" y="123"/>
                      </a:lnTo>
                      <a:lnTo>
                        <a:pt x="353" y="125"/>
                      </a:lnTo>
                      <a:lnTo>
                        <a:pt x="350" y="126"/>
                      </a:lnTo>
                      <a:lnTo>
                        <a:pt x="346" y="128"/>
                      </a:lnTo>
                      <a:lnTo>
                        <a:pt x="345" y="128"/>
                      </a:lnTo>
                      <a:lnTo>
                        <a:pt x="343" y="128"/>
                      </a:lnTo>
                      <a:lnTo>
                        <a:pt x="341" y="130"/>
                      </a:lnTo>
                      <a:lnTo>
                        <a:pt x="340" y="130"/>
                      </a:lnTo>
                      <a:lnTo>
                        <a:pt x="338" y="130"/>
                      </a:lnTo>
                      <a:lnTo>
                        <a:pt x="335" y="131"/>
                      </a:lnTo>
                      <a:lnTo>
                        <a:pt x="333" y="131"/>
                      </a:lnTo>
                      <a:lnTo>
                        <a:pt x="331" y="131"/>
                      </a:lnTo>
                      <a:lnTo>
                        <a:pt x="330" y="133"/>
                      </a:lnTo>
                      <a:lnTo>
                        <a:pt x="328" y="133"/>
                      </a:lnTo>
                      <a:lnTo>
                        <a:pt x="326" y="133"/>
                      </a:lnTo>
                      <a:lnTo>
                        <a:pt x="325" y="133"/>
                      </a:lnTo>
                      <a:lnTo>
                        <a:pt x="321" y="135"/>
                      </a:lnTo>
                      <a:lnTo>
                        <a:pt x="318" y="136"/>
                      </a:lnTo>
                      <a:lnTo>
                        <a:pt x="316" y="136"/>
                      </a:lnTo>
                      <a:lnTo>
                        <a:pt x="314" y="138"/>
                      </a:lnTo>
                      <a:lnTo>
                        <a:pt x="313" y="138"/>
                      </a:lnTo>
                      <a:lnTo>
                        <a:pt x="309" y="140"/>
                      </a:lnTo>
                      <a:lnTo>
                        <a:pt x="304" y="141"/>
                      </a:lnTo>
                      <a:lnTo>
                        <a:pt x="303" y="143"/>
                      </a:lnTo>
                      <a:lnTo>
                        <a:pt x="301" y="143"/>
                      </a:lnTo>
                      <a:lnTo>
                        <a:pt x="299" y="145"/>
                      </a:lnTo>
                      <a:lnTo>
                        <a:pt x="299" y="146"/>
                      </a:lnTo>
                      <a:lnTo>
                        <a:pt x="298" y="146"/>
                      </a:lnTo>
                      <a:lnTo>
                        <a:pt x="296" y="146"/>
                      </a:lnTo>
                      <a:lnTo>
                        <a:pt x="296" y="148"/>
                      </a:lnTo>
                      <a:lnTo>
                        <a:pt x="296" y="149"/>
                      </a:lnTo>
                      <a:lnTo>
                        <a:pt x="296" y="151"/>
                      </a:lnTo>
                      <a:lnTo>
                        <a:pt x="294" y="151"/>
                      </a:lnTo>
                      <a:lnTo>
                        <a:pt x="292" y="151"/>
                      </a:lnTo>
                      <a:lnTo>
                        <a:pt x="291" y="153"/>
                      </a:lnTo>
                      <a:lnTo>
                        <a:pt x="291" y="154"/>
                      </a:lnTo>
                      <a:lnTo>
                        <a:pt x="289" y="154"/>
                      </a:lnTo>
                      <a:lnTo>
                        <a:pt x="287" y="156"/>
                      </a:lnTo>
                      <a:lnTo>
                        <a:pt x="287" y="158"/>
                      </a:lnTo>
                      <a:lnTo>
                        <a:pt x="287" y="159"/>
                      </a:lnTo>
                      <a:lnTo>
                        <a:pt x="287" y="158"/>
                      </a:lnTo>
                      <a:lnTo>
                        <a:pt x="287" y="159"/>
                      </a:lnTo>
                      <a:lnTo>
                        <a:pt x="286" y="159"/>
                      </a:lnTo>
                      <a:lnTo>
                        <a:pt x="284" y="159"/>
                      </a:lnTo>
                      <a:lnTo>
                        <a:pt x="284" y="161"/>
                      </a:lnTo>
                      <a:lnTo>
                        <a:pt x="282" y="161"/>
                      </a:lnTo>
                      <a:lnTo>
                        <a:pt x="282" y="163"/>
                      </a:lnTo>
                      <a:lnTo>
                        <a:pt x="281" y="163"/>
                      </a:lnTo>
                      <a:lnTo>
                        <a:pt x="281" y="164"/>
                      </a:lnTo>
                      <a:lnTo>
                        <a:pt x="279" y="164"/>
                      </a:lnTo>
                      <a:lnTo>
                        <a:pt x="279" y="163"/>
                      </a:lnTo>
                      <a:lnTo>
                        <a:pt x="277" y="164"/>
                      </a:lnTo>
                      <a:lnTo>
                        <a:pt x="276" y="166"/>
                      </a:lnTo>
                      <a:lnTo>
                        <a:pt x="276" y="168"/>
                      </a:lnTo>
                      <a:lnTo>
                        <a:pt x="276" y="169"/>
                      </a:lnTo>
                      <a:lnTo>
                        <a:pt x="274" y="169"/>
                      </a:lnTo>
                      <a:lnTo>
                        <a:pt x="274" y="171"/>
                      </a:lnTo>
                      <a:lnTo>
                        <a:pt x="274" y="174"/>
                      </a:lnTo>
                      <a:lnTo>
                        <a:pt x="274" y="176"/>
                      </a:lnTo>
                      <a:lnTo>
                        <a:pt x="274" y="177"/>
                      </a:lnTo>
                      <a:lnTo>
                        <a:pt x="276" y="179"/>
                      </a:lnTo>
                      <a:lnTo>
                        <a:pt x="276" y="181"/>
                      </a:lnTo>
                      <a:lnTo>
                        <a:pt x="276" y="182"/>
                      </a:lnTo>
                      <a:lnTo>
                        <a:pt x="277" y="182"/>
                      </a:lnTo>
                      <a:lnTo>
                        <a:pt x="279" y="182"/>
                      </a:lnTo>
                      <a:lnTo>
                        <a:pt x="279" y="184"/>
                      </a:lnTo>
                      <a:lnTo>
                        <a:pt x="281" y="186"/>
                      </a:lnTo>
                      <a:lnTo>
                        <a:pt x="282" y="186"/>
                      </a:lnTo>
                      <a:lnTo>
                        <a:pt x="282" y="184"/>
                      </a:lnTo>
                      <a:lnTo>
                        <a:pt x="284" y="184"/>
                      </a:lnTo>
                      <a:lnTo>
                        <a:pt x="286" y="184"/>
                      </a:lnTo>
                      <a:lnTo>
                        <a:pt x="284" y="182"/>
                      </a:lnTo>
                      <a:lnTo>
                        <a:pt x="286" y="182"/>
                      </a:lnTo>
                      <a:lnTo>
                        <a:pt x="286" y="184"/>
                      </a:lnTo>
                      <a:lnTo>
                        <a:pt x="287" y="184"/>
                      </a:lnTo>
                      <a:lnTo>
                        <a:pt x="286" y="184"/>
                      </a:lnTo>
                      <a:lnTo>
                        <a:pt x="286" y="186"/>
                      </a:lnTo>
                      <a:lnTo>
                        <a:pt x="286" y="184"/>
                      </a:lnTo>
                      <a:lnTo>
                        <a:pt x="286" y="186"/>
                      </a:lnTo>
                      <a:lnTo>
                        <a:pt x="286" y="184"/>
                      </a:lnTo>
                      <a:lnTo>
                        <a:pt x="286" y="186"/>
                      </a:lnTo>
                      <a:lnTo>
                        <a:pt x="284" y="186"/>
                      </a:lnTo>
                      <a:lnTo>
                        <a:pt x="286" y="186"/>
                      </a:lnTo>
                      <a:lnTo>
                        <a:pt x="286" y="187"/>
                      </a:lnTo>
                      <a:lnTo>
                        <a:pt x="284" y="187"/>
                      </a:lnTo>
                      <a:lnTo>
                        <a:pt x="284" y="186"/>
                      </a:lnTo>
                      <a:lnTo>
                        <a:pt x="284" y="187"/>
                      </a:lnTo>
                      <a:lnTo>
                        <a:pt x="282" y="187"/>
                      </a:lnTo>
                      <a:lnTo>
                        <a:pt x="282" y="186"/>
                      </a:lnTo>
                      <a:lnTo>
                        <a:pt x="282" y="187"/>
                      </a:lnTo>
                      <a:lnTo>
                        <a:pt x="281" y="187"/>
                      </a:lnTo>
                      <a:lnTo>
                        <a:pt x="281" y="189"/>
                      </a:lnTo>
                      <a:lnTo>
                        <a:pt x="279" y="189"/>
                      </a:lnTo>
                      <a:lnTo>
                        <a:pt x="277" y="189"/>
                      </a:lnTo>
                      <a:lnTo>
                        <a:pt x="277" y="191"/>
                      </a:lnTo>
                      <a:lnTo>
                        <a:pt x="276" y="191"/>
                      </a:lnTo>
                      <a:lnTo>
                        <a:pt x="276" y="192"/>
                      </a:lnTo>
                      <a:lnTo>
                        <a:pt x="276" y="194"/>
                      </a:lnTo>
                      <a:lnTo>
                        <a:pt x="276" y="195"/>
                      </a:lnTo>
                      <a:lnTo>
                        <a:pt x="274" y="195"/>
                      </a:lnTo>
                      <a:lnTo>
                        <a:pt x="274" y="197"/>
                      </a:lnTo>
                      <a:lnTo>
                        <a:pt x="274" y="195"/>
                      </a:lnTo>
                      <a:lnTo>
                        <a:pt x="272" y="195"/>
                      </a:lnTo>
                      <a:lnTo>
                        <a:pt x="272" y="197"/>
                      </a:lnTo>
                      <a:lnTo>
                        <a:pt x="270" y="197"/>
                      </a:lnTo>
                      <a:lnTo>
                        <a:pt x="270" y="199"/>
                      </a:lnTo>
                      <a:lnTo>
                        <a:pt x="270" y="200"/>
                      </a:lnTo>
                      <a:lnTo>
                        <a:pt x="270" y="202"/>
                      </a:lnTo>
                      <a:lnTo>
                        <a:pt x="272" y="202"/>
                      </a:lnTo>
                      <a:lnTo>
                        <a:pt x="272" y="204"/>
                      </a:lnTo>
                      <a:lnTo>
                        <a:pt x="272" y="202"/>
                      </a:lnTo>
                      <a:lnTo>
                        <a:pt x="274" y="202"/>
                      </a:lnTo>
                      <a:lnTo>
                        <a:pt x="274" y="204"/>
                      </a:lnTo>
                      <a:lnTo>
                        <a:pt x="272" y="204"/>
                      </a:lnTo>
                      <a:lnTo>
                        <a:pt x="274" y="204"/>
                      </a:lnTo>
                      <a:lnTo>
                        <a:pt x="272" y="204"/>
                      </a:lnTo>
                      <a:lnTo>
                        <a:pt x="272" y="205"/>
                      </a:lnTo>
                      <a:lnTo>
                        <a:pt x="274" y="205"/>
                      </a:lnTo>
                      <a:lnTo>
                        <a:pt x="272" y="205"/>
                      </a:lnTo>
                      <a:lnTo>
                        <a:pt x="272" y="207"/>
                      </a:lnTo>
                      <a:lnTo>
                        <a:pt x="272" y="205"/>
                      </a:lnTo>
                      <a:lnTo>
                        <a:pt x="270" y="205"/>
                      </a:lnTo>
                      <a:lnTo>
                        <a:pt x="270" y="204"/>
                      </a:lnTo>
                      <a:lnTo>
                        <a:pt x="269" y="204"/>
                      </a:lnTo>
                      <a:lnTo>
                        <a:pt x="267" y="202"/>
                      </a:lnTo>
                      <a:lnTo>
                        <a:pt x="262" y="202"/>
                      </a:lnTo>
                      <a:lnTo>
                        <a:pt x="260" y="202"/>
                      </a:lnTo>
                      <a:lnTo>
                        <a:pt x="259" y="202"/>
                      </a:lnTo>
                      <a:lnTo>
                        <a:pt x="255" y="202"/>
                      </a:lnTo>
                      <a:lnTo>
                        <a:pt x="252" y="202"/>
                      </a:lnTo>
                      <a:lnTo>
                        <a:pt x="250" y="202"/>
                      </a:lnTo>
                      <a:lnTo>
                        <a:pt x="247" y="200"/>
                      </a:lnTo>
                      <a:lnTo>
                        <a:pt x="242" y="200"/>
                      </a:lnTo>
                      <a:lnTo>
                        <a:pt x="238" y="200"/>
                      </a:lnTo>
                      <a:lnTo>
                        <a:pt x="237" y="200"/>
                      </a:lnTo>
                      <a:lnTo>
                        <a:pt x="235" y="200"/>
                      </a:lnTo>
                      <a:lnTo>
                        <a:pt x="230" y="200"/>
                      </a:lnTo>
                      <a:lnTo>
                        <a:pt x="228" y="200"/>
                      </a:lnTo>
                      <a:lnTo>
                        <a:pt x="227" y="200"/>
                      </a:lnTo>
                      <a:lnTo>
                        <a:pt x="225" y="200"/>
                      </a:lnTo>
                      <a:lnTo>
                        <a:pt x="220" y="200"/>
                      </a:lnTo>
                      <a:lnTo>
                        <a:pt x="216" y="200"/>
                      </a:lnTo>
                      <a:lnTo>
                        <a:pt x="213" y="200"/>
                      </a:lnTo>
                      <a:lnTo>
                        <a:pt x="210" y="202"/>
                      </a:lnTo>
                      <a:lnTo>
                        <a:pt x="208" y="204"/>
                      </a:lnTo>
                      <a:lnTo>
                        <a:pt x="208" y="202"/>
                      </a:lnTo>
                      <a:lnTo>
                        <a:pt x="206" y="202"/>
                      </a:lnTo>
                      <a:lnTo>
                        <a:pt x="205" y="202"/>
                      </a:lnTo>
                      <a:lnTo>
                        <a:pt x="203" y="202"/>
                      </a:lnTo>
                      <a:lnTo>
                        <a:pt x="203" y="204"/>
                      </a:lnTo>
                      <a:lnTo>
                        <a:pt x="201" y="204"/>
                      </a:lnTo>
                      <a:lnTo>
                        <a:pt x="200" y="204"/>
                      </a:lnTo>
                      <a:lnTo>
                        <a:pt x="194" y="204"/>
                      </a:lnTo>
                      <a:lnTo>
                        <a:pt x="193" y="204"/>
                      </a:lnTo>
                      <a:lnTo>
                        <a:pt x="189" y="204"/>
                      </a:lnTo>
                      <a:lnTo>
                        <a:pt x="188" y="204"/>
                      </a:lnTo>
                      <a:lnTo>
                        <a:pt x="186" y="204"/>
                      </a:lnTo>
                      <a:lnTo>
                        <a:pt x="183" y="204"/>
                      </a:lnTo>
                      <a:lnTo>
                        <a:pt x="179" y="204"/>
                      </a:lnTo>
                      <a:lnTo>
                        <a:pt x="178" y="204"/>
                      </a:lnTo>
                      <a:lnTo>
                        <a:pt x="178" y="205"/>
                      </a:lnTo>
                      <a:lnTo>
                        <a:pt x="176" y="204"/>
                      </a:lnTo>
                      <a:lnTo>
                        <a:pt x="176" y="205"/>
                      </a:lnTo>
                      <a:lnTo>
                        <a:pt x="176" y="204"/>
                      </a:lnTo>
                      <a:lnTo>
                        <a:pt x="176" y="205"/>
                      </a:lnTo>
                      <a:lnTo>
                        <a:pt x="176" y="204"/>
                      </a:lnTo>
                      <a:lnTo>
                        <a:pt x="174" y="205"/>
                      </a:lnTo>
                      <a:lnTo>
                        <a:pt x="174" y="204"/>
                      </a:lnTo>
                      <a:lnTo>
                        <a:pt x="173" y="204"/>
                      </a:lnTo>
                      <a:lnTo>
                        <a:pt x="173" y="202"/>
                      </a:lnTo>
                      <a:lnTo>
                        <a:pt x="173" y="204"/>
                      </a:lnTo>
                      <a:lnTo>
                        <a:pt x="173" y="202"/>
                      </a:lnTo>
                      <a:lnTo>
                        <a:pt x="171" y="202"/>
                      </a:lnTo>
                      <a:lnTo>
                        <a:pt x="169" y="202"/>
                      </a:lnTo>
                      <a:lnTo>
                        <a:pt x="167" y="202"/>
                      </a:lnTo>
                      <a:lnTo>
                        <a:pt x="167" y="200"/>
                      </a:lnTo>
                      <a:lnTo>
                        <a:pt x="166" y="200"/>
                      </a:lnTo>
                      <a:lnTo>
                        <a:pt x="167" y="200"/>
                      </a:lnTo>
                      <a:lnTo>
                        <a:pt x="169" y="200"/>
                      </a:lnTo>
                      <a:lnTo>
                        <a:pt x="171" y="199"/>
                      </a:lnTo>
                      <a:lnTo>
                        <a:pt x="169" y="199"/>
                      </a:lnTo>
                      <a:lnTo>
                        <a:pt x="167" y="199"/>
                      </a:lnTo>
                      <a:lnTo>
                        <a:pt x="166" y="199"/>
                      </a:lnTo>
                      <a:lnTo>
                        <a:pt x="166" y="197"/>
                      </a:lnTo>
                      <a:lnTo>
                        <a:pt x="167" y="197"/>
                      </a:lnTo>
                      <a:lnTo>
                        <a:pt x="167" y="195"/>
                      </a:lnTo>
                      <a:lnTo>
                        <a:pt x="166" y="195"/>
                      </a:lnTo>
                      <a:lnTo>
                        <a:pt x="167" y="195"/>
                      </a:lnTo>
                      <a:lnTo>
                        <a:pt x="169" y="195"/>
                      </a:lnTo>
                      <a:lnTo>
                        <a:pt x="169" y="194"/>
                      </a:lnTo>
                      <a:lnTo>
                        <a:pt x="169" y="192"/>
                      </a:lnTo>
                      <a:lnTo>
                        <a:pt x="171" y="192"/>
                      </a:lnTo>
                      <a:lnTo>
                        <a:pt x="169" y="192"/>
                      </a:lnTo>
                      <a:lnTo>
                        <a:pt x="169" y="191"/>
                      </a:lnTo>
                      <a:lnTo>
                        <a:pt x="171" y="191"/>
                      </a:lnTo>
                      <a:lnTo>
                        <a:pt x="171" y="189"/>
                      </a:lnTo>
                      <a:lnTo>
                        <a:pt x="173" y="189"/>
                      </a:lnTo>
                      <a:lnTo>
                        <a:pt x="171" y="189"/>
                      </a:lnTo>
                      <a:lnTo>
                        <a:pt x="171" y="187"/>
                      </a:lnTo>
                      <a:lnTo>
                        <a:pt x="173" y="186"/>
                      </a:lnTo>
                      <a:lnTo>
                        <a:pt x="174" y="184"/>
                      </a:lnTo>
                      <a:lnTo>
                        <a:pt x="176" y="184"/>
                      </a:lnTo>
                      <a:lnTo>
                        <a:pt x="176" y="182"/>
                      </a:lnTo>
                      <a:lnTo>
                        <a:pt x="176" y="181"/>
                      </a:lnTo>
                      <a:lnTo>
                        <a:pt x="176" y="179"/>
                      </a:lnTo>
                      <a:lnTo>
                        <a:pt x="176" y="177"/>
                      </a:lnTo>
                      <a:lnTo>
                        <a:pt x="176" y="179"/>
                      </a:lnTo>
                      <a:lnTo>
                        <a:pt x="176" y="177"/>
                      </a:lnTo>
                      <a:lnTo>
                        <a:pt x="176" y="179"/>
                      </a:lnTo>
                      <a:lnTo>
                        <a:pt x="174" y="177"/>
                      </a:lnTo>
                      <a:lnTo>
                        <a:pt x="173" y="177"/>
                      </a:lnTo>
                      <a:lnTo>
                        <a:pt x="171" y="177"/>
                      </a:lnTo>
                      <a:lnTo>
                        <a:pt x="169" y="177"/>
                      </a:lnTo>
                      <a:lnTo>
                        <a:pt x="169" y="179"/>
                      </a:lnTo>
                      <a:lnTo>
                        <a:pt x="167" y="177"/>
                      </a:lnTo>
                      <a:lnTo>
                        <a:pt x="169" y="179"/>
                      </a:lnTo>
                      <a:lnTo>
                        <a:pt x="167" y="179"/>
                      </a:lnTo>
                      <a:lnTo>
                        <a:pt x="167" y="181"/>
                      </a:lnTo>
                      <a:lnTo>
                        <a:pt x="166" y="181"/>
                      </a:lnTo>
                      <a:lnTo>
                        <a:pt x="166" y="179"/>
                      </a:lnTo>
                      <a:lnTo>
                        <a:pt x="164" y="179"/>
                      </a:lnTo>
                      <a:lnTo>
                        <a:pt x="164" y="181"/>
                      </a:lnTo>
                      <a:lnTo>
                        <a:pt x="162" y="181"/>
                      </a:lnTo>
                      <a:lnTo>
                        <a:pt x="161" y="181"/>
                      </a:lnTo>
                      <a:lnTo>
                        <a:pt x="159" y="181"/>
                      </a:lnTo>
                      <a:lnTo>
                        <a:pt x="159" y="182"/>
                      </a:lnTo>
                      <a:lnTo>
                        <a:pt x="157" y="182"/>
                      </a:lnTo>
                      <a:lnTo>
                        <a:pt x="156" y="182"/>
                      </a:lnTo>
                      <a:lnTo>
                        <a:pt x="156" y="184"/>
                      </a:lnTo>
                      <a:lnTo>
                        <a:pt x="154" y="184"/>
                      </a:lnTo>
                      <a:lnTo>
                        <a:pt x="156" y="184"/>
                      </a:lnTo>
                      <a:lnTo>
                        <a:pt x="154" y="184"/>
                      </a:lnTo>
                      <a:lnTo>
                        <a:pt x="154" y="186"/>
                      </a:lnTo>
                      <a:lnTo>
                        <a:pt x="152" y="186"/>
                      </a:lnTo>
                      <a:lnTo>
                        <a:pt x="152" y="187"/>
                      </a:lnTo>
                      <a:lnTo>
                        <a:pt x="152" y="189"/>
                      </a:lnTo>
                      <a:lnTo>
                        <a:pt x="152" y="191"/>
                      </a:lnTo>
                      <a:lnTo>
                        <a:pt x="152" y="189"/>
                      </a:lnTo>
                      <a:lnTo>
                        <a:pt x="152" y="191"/>
                      </a:lnTo>
                      <a:lnTo>
                        <a:pt x="154" y="191"/>
                      </a:lnTo>
                      <a:lnTo>
                        <a:pt x="154" y="192"/>
                      </a:lnTo>
                      <a:lnTo>
                        <a:pt x="156" y="192"/>
                      </a:lnTo>
                      <a:lnTo>
                        <a:pt x="156" y="194"/>
                      </a:lnTo>
                      <a:lnTo>
                        <a:pt x="156" y="195"/>
                      </a:lnTo>
                      <a:lnTo>
                        <a:pt x="157" y="195"/>
                      </a:lnTo>
                      <a:lnTo>
                        <a:pt x="159" y="195"/>
                      </a:lnTo>
                      <a:lnTo>
                        <a:pt x="159" y="194"/>
                      </a:lnTo>
                      <a:lnTo>
                        <a:pt x="159" y="195"/>
                      </a:lnTo>
                      <a:lnTo>
                        <a:pt x="159" y="197"/>
                      </a:lnTo>
                      <a:lnTo>
                        <a:pt x="161" y="197"/>
                      </a:lnTo>
                      <a:lnTo>
                        <a:pt x="162" y="197"/>
                      </a:lnTo>
                      <a:lnTo>
                        <a:pt x="162" y="199"/>
                      </a:lnTo>
                      <a:lnTo>
                        <a:pt x="164" y="197"/>
                      </a:lnTo>
                      <a:lnTo>
                        <a:pt x="164" y="199"/>
                      </a:lnTo>
                      <a:lnTo>
                        <a:pt x="162" y="199"/>
                      </a:lnTo>
                      <a:lnTo>
                        <a:pt x="162" y="200"/>
                      </a:lnTo>
                      <a:lnTo>
                        <a:pt x="162" y="202"/>
                      </a:lnTo>
                      <a:lnTo>
                        <a:pt x="164" y="202"/>
                      </a:lnTo>
                      <a:lnTo>
                        <a:pt x="164" y="200"/>
                      </a:lnTo>
                      <a:lnTo>
                        <a:pt x="164" y="202"/>
                      </a:lnTo>
                      <a:lnTo>
                        <a:pt x="164" y="204"/>
                      </a:lnTo>
                      <a:lnTo>
                        <a:pt x="162" y="204"/>
                      </a:lnTo>
                      <a:lnTo>
                        <a:pt x="161" y="204"/>
                      </a:lnTo>
                      <a:lnTo>
                        <a:pt x="161" y="205"/>
                      </a:lnTo>
                      <a:lnTo>
                        <a:pt x="159" y="205"/>
                      </a:lnTo>
                      <a:lnTo>
                        <a:pt x="157" y="205"/>
                      </a:lnTo>
                      <a:lnTo>
                        <a:pt x="157" y="207"/>
                      </a:lnTo>
                      <a:lnTo>
                        <a:pt x="156" y="207"/>
                      </a:lnTo>
                      <a:lnTo>
                        <a:pt x="154" y="207"/>
                      </a:lnTo>
                      <a:lnTo>
                        <a:pt x="152" y="207"/>
                      </a:lnTo>
                      <a:lnTo>
                        <a:pt x="152" y="209"/>
                      </a:lnTo>
                      <a:lnTo>
                        <a:pt x="151" y="209"/>
                      </a:lnTo>
                      <a:lnTo>
                        <a:pt x="151" y="207"/>
                      </a:lnTo>
                      <a:lnTo>
                        <a:pt x="149" y="207"/>
                      </a:lnTo>
                      <a:lnTo>
                        <a:pt x="149" y="205"/>
                      </a:lnTo>
                      <a:lnTo>
                        <a:pt x="147" y="205"/>
                      </a:lnTo>
                      <a:lnTo>
                        <a:pt x="146" y="205"/>
                      </a:lnTo>
                      <a:lnTo>
                        <a:pt x="146" y="204"/>
                      </a:lnTo>
                      <a:lnTo>
                        <a:pt x="144" y="204"/>
                      </a:lnTo>
                      <a:lnTo>
                        <a:pt x="144" y="205"/>
                      </a:lnTo>
                      <a:lnTo>
                        <a:pt x="144" y="204"/>
                      </a:lnTo>
                      <a:lnTo>
                        <a:pt x="144" y="205"/>
                      </a:lnTo>
                      <a:lnTo>
                        <a:pt x="142" y="204"/>
                      </a:lnTo>
                      <a:lnTo>
                        <a:pt x="142" y="205"/>
                      </a:lnTo>
                      <a:lnTo>
                        <a:pt x="140" y="205"/>
                      </a:lnTo>
                      <a:lnTo>
                        <a:pt x="140" y="204"/>
                      </a:lnTo>
                      <a:lnTo>
                        <a:pt x="140" y="205"/>
                      </a:lnTo>
                      <a:lnTo>
                        <a:pt x="139" y="205"/>
                      </a:lnTo>
                      <a:lnTo>
                        <a:pt x="140" y="205"/>
                      </a:lnTo>
                      <a:lnTo>
                        <a:pt x="142" y="205"/>
                      </a:lnTo>
                      <a:lnTo>
                        <a:pt x="142" y="207"/>
                      </a:lnTo>
                      <a:lnTo>
                        <a:pt x="142" y="205"/>
                      </a:lnTo>
                      <a:lnTo>
                        <a:pt x="144" y="205"/>
                      </a:lnTo>
                      <a:lnTo>
                        <a:pt x="146" y="205"/>
                      </a:lnTo>
                      <a:lnTo>
                        <a:pt x="146" y="207"/>
                      </a:lnTo>
                      <a:lnTo>
                        <a:pt x="146" y="205"/>
                      </a:lnTo>
                      <a:lnTo>
                        <a:pt x="146" y="207"/>
                      </a:lnTo>
                      <a:lnTo>
                        <a:pt x="147" y="207"/>
                      </a:lnTo>
                      <a:lnTo>
                        <a:pt x="149" y="207"/>
                      </a:lnTo>
                      <a:lnTo>
                        <a:pt x="151" y="207"/>
                      </a:lnTo>
                      <a:lnTo>
                        <a:pt x="151" y="209"/>
                      </a:lnTo>
                      <a:lnTo>
                        <a:pt x="149" y="209"/>
                      </a:lnTo>
                      <a:lnTo>
                        <a:pt x="147" y="207"/>
                      </a:lnTo>
                      <a:lnTo>
                        <a:pt x="144" y="207"/>
                      </a:lnTo>
                      <a:lnTo>
                        <a:pt x="140" y="209"/>
                      </a:lnTo>
                      <a:lnTo>
                        <a:pt x="139" y="209"/>
                      </a:lnTo>
                      <a:lnTo>
                        <a:pt x="135" y="209"/>
                      </a:lnTo>
                      <a:lnTo>
                        <a:pt x="134" y="210"/>
                      </a:lnTo>
                      <a:lnTo>
                        <a:pt x="135" y="210"/>
                      </a:lnTo>
                      <a:lnTo>
                        <a:pt x="134" y="210"/>
                      </a:lnTo>
                      <a:lnTo>
                        <a:pt x="132" y="210"/>
                      </a:lnTo>
                      <a:lnTo>
                        <a:pt x="130" y="210"/>
                      </a:lnTo>
                      <a:lnTo>
                        <a:pt x="130" y="212"/>
                      </a:lnTo>
                      <a:lnTo>
                        <a:pt x="129" y="212"/>
                      </a:lnTo>
                      <a:lnTo>
                        <a:pt x="127" y="212"/>
                      </a:lnTo>
                      <a:lnTo>
                        <a:pt x="127" y="214"/>
                      </a:lnTo>
                      <a:lnTo>
                        <a:pt x="125" y="214"/>
                      </a:lnTo>
                      <a:lnTo>
                        <a:pt x="125" y="212"/>
                      </a:lnTo>
                      <a:lnTo>
                        <a:pt x="127" y="212"/>
                      </a:lnTo>
                      <a:lnTo>
                        <a:pt x="125" y="212"/>
                      </a:lnTo>
                      <a:lnTo>
                        <a:pt x="125" y="210"/>
                      </a:lnTo>
                      <a:lnTo>
                        <a:pt x="125" y="212"/>
                      </a:lnTo>
                      <a:lnTo>
                        <a:pt x="124" y="210"/>
                      </a:lnTo>
                      <a:lnTo>
                        <a:pt x="122" y="210"/>
                      </a:lnTo>
                      <a:lnTo>
                        <a:pt x="122" y="209"/>
                      </a:lnTo>
                      <a:lnTo>
                        <a:pt x="120" y="209"/>
                      </a:lnTo>
                      <a:lnTo>
                        <a:pt x="120" y="207"/>
                      </a:lnTo>
                      <a:lnTo>
                        <a:pt x="118" y="207"/>
                      </a:lnTo>
                      <a:lnTo>
                        <a:pt x="117" y="207"/>
                      </a:lnTo>
                      <a:lnTo>
                        <a:pt x="117" y="205"/>
                      </a:lnTo>
                      <a:lnTo>
                        <a:pt x="115" y="205"/>
                      </a:lnTo>
                      <a:lnTo>
                        <a:pt x="113" y="205"/>
                      </a:lnTo>
                      <a:lnTo>
                        <a:pt x="112" y="205"/>
                      </a:lnTo>
                      <a:lnTo>
                        <a:pt x="112" y="204"/>
                      </a:lnTo>
                      <a:lnTo>
                        <a:pt x="110" y="204"/>
                      </a:lnTo>
                      <a:lnTo>
                        <a:pt x="110" y="202"/>
                      </a:lnTo>
                      <a:lnTo>
                        <a:pt x="108" y="202"/>
                      </a:lnTo>
                      <a:lnTo>
                        <a:pt x="107" y="200"/>
                      </a:lnTo>
                      <a:lnTo>
                        <a:pt x="105" y="200"/>
                      </a:lnTo>
                      <a:lnTo>
                        <a:pt x="105" y="199"/>
                      </a:lnTo>
                      <a:lnTo>
                        <a:pt x="105" y="200"/>
                      </a:lnTo>
                      <a:lnTo>
                        <a:pt x="103" y="199"/>
                      </a:lnTo>
                      <a:lnTo>
                        <a:pt x="102" y="199"/>
                      </a:lnTo>
                      <a:lnTo>
                        <a:pt x="102" y="200"/>
                      </a:lnTo>
                      <a:lnTo>
                        <a:pt x="100" y="200"/>
                      </a:lnTo>
                      <a:lnTo>
                        <a:pt x="98" y="200"/>
                      </a:lnTo>
                      <a:lnTo>
                        <a:pt x="98" y="199"/>
                      </a:lnTo>
                      <a:lnTo>
                        <a:pt x="100" y="199"/>
                      </a:lnTo>
                      <a:lnTo>
                        <a:pt x="100" y="197"/>
                      </a:lnTo>
                      <a:lnTo>
                        <a:pt x="98" y="197"/>
                      </a:lnTo>
                      <a:lnTo>
                        <a:pt x="97" y="197"/>
                      </a:lnTo>
                      <a:lnTo>
                        <a:pt x="97" y="199"/>
                      </a:lnTo>
                      <a:lnTo>
                        <a:pt x="95" y="199"/>
                      </a:lnTo>
                      <a:lnTo>
                        <a:pt x="93" y="200"/>
                      </a:lnTo>
                      <a:lnTo>
                        <a:pt x="91" y="200"/>
                      </a:lnTo>
                      <a:lnTo>
                        <a:pt x="90" y="200"/>
                      </a:lnTo>
                      <a:lnTo>
                        <a:pt x="88" y="200"/>
                      </a:lnTo>
                      <a:lnTo>
                        <a:pt x="86" y="200"/>
                      </a:lnTo>
                      <a:lnTo>
                        <a:pt x="85" y="200"/>
                      </a:lnTo>
                      <a:lnTo>
                        <a:pt x="85" y="202"/>
                      </a:lnTo>
                      <a:lnTo>
                        <a:pt x="83" y="200"/>
                      </a:lnTo>
                      <a:lnTo>
                        <a:pt x="85" y="202"/>
                      </a:lnTo>
                      <a:lnTo>
                        <a:pt x="83" y="202"/>
                      </a:lnTo>
                      <a:lnTo>
                        <a:pt x="81" y="202"/>
                      </a:lnTo>
                      <a:lnTo>
                        <a:pt x="81" y="204"/>
                      </a:lnTo>
                      <a:lnTo>
                        <a:pt x="83" y="204"/>
                      </a:lnTo>
                      <a:lnTo>
                        <a:pt x="81" y="204"/>
                      </a:lnTo>
                      <a:lnTo>
                        <a:pt x="81" y="205"/>
                      </a:lnTo>
                      <a:lnTo>
                        <a:pt x="80" y="205"/>
                      </a:lnTo>
                      <a:lnTo>
                        <a:pt x="80" y="204"/>
                      </a:lnTo>
                      <a:lnTo>
                        <a:pt x="80" y="202"/>
                      </a:lnTo>
                      <a:lnTo>
                        <a:pt x="80" y="200"/>
                      </a:lnTo>
                      <a:lnTo>
                        <a:pt x="80" y="202"/>
                      </a:lnTo>
                      <a:lnTo>
                        <a:pt x="78" y="202"/>
                      </a:lnTo>
                      <a:lnTo>
                        <a:pt x="76" y="202"/>
                      </a:lnTo>
                      <a:lnTo>
                        <a:pt x="76" y="204"/>
                      </a:lnTo>
                      <a:lnTo>
                        <a:pt x="76" y="202"/>
                      </a:lnTo>
                      <a:lnTo>
                        <a:pt x="76" y="204"/>
                      </a:lnTo>
                      <a:lnTo>
                        <a:pt x="76" y="205"/>
                      </a:lnTo>
                      <a:lnTo>
                        <a:pt x="76" y="207"/>
                      </a:lnTo>
                      <a:lnTo>
                        <a:pt x="75" y="207"/>
                      </a:lnTo>
                      <a:lnTo>
                        <a:pt x="75" y="209"/>
                      </a:lnTo>
                      <a:lnTo>
                        <a:pt x="73" y="209"/>
                      </a:lnTo>
                      <a:lnTo>
                        <a:pt x="73" y="210"/>
                      </a:lnTo>
                      <a:lnTo>
                        <a:pt x="71" y="210"/>
                      </a:lnTo>
                      <a:lnTo>
                        <a:pt x="70" y="210"/>
                      </a:lnTo>
                      <a:lnTo>
                        <a:pt x="68" y="210"/>
                      </a:lnTo>
                      <a:lnTo>
                        <a:pt x="68" y="212"/>
                      </a:lnTo>
                      <a:lnTo>
                        <a:pt x="66" y="210"/>
                      </a:lnTo>
                      <a:lnTo>
                        <a:pt x="66" y="212"/>
                      </a:lnTo>
                      <a:lnTo>
                        <a:pt x="66" y="210"/>
                      </a:lnTo>
                      <a:lnTo>
                        <a:pt x="64" y="210"/>
                      </a:lnTo>
                      <a:lnTo>
                        <a:pt x="63" y="212"/>
                      </a:lnTo>
                      <a:lnTo>
                        <a:pt x="61" y="212"/>
                      </a:lnTo>
                      <a:lnTo>
                        <a:pt x="61" y="210"/>
                      </a:lnTo>
                      <a:lnTo>
                        <a:pt x="61" y="209"/>
                      </a:lnTo>
                      <a:lnTo>
                        <a:pt x="63" y="209"/>
                      </a:lnTo>
                      <a:lnTo>
                        <a:pt x="63" y="207"/>
                      </a:lnTo>
                      <a:lnTo>
                        <a:pt x="63" y="209"/>
                      </a:lnTo>
                      <a:lnTo>
                        <a:pt x="61" y="207"/>
                      </a:lnTo>
                      <a:lnTo>
                        <a:pt x="59" y="207"/>
                      </a:lnTo>
                      <a:lnTo>
                        <a:pt x="58" y="207"/>
                      </a:lnTo>
                      <a:lnTo>
                        <a:pt x="58" y="209"/>
                      </a:lnTo>
                      <a:lnTo>
                        <a:pt x="56" y="209"/>
                      </a:lnTo>
                      <a:lnTo>
                        <a:pt x="54" y="209"/>
                      </a:lnTo>
                      <a:lnTo>
                        <a:pt x="56" y="209"/>
                      </a:lnTo>
                      <a:lnTo>
                        <a:pt x="56" y="207"/>
                      </a:lnTo>
                      <a:lnTo>
                        <a:pt x="54" y="207"/>
                      </a:lnTo>
                      <a:lnTo>
                        <a:pt x="54" y="209"/>
                      </a:lnTo>
                      <a:lnTo>
                        <a:pt x="54" y="207"/>
                      </a:lnTo>
                      <a:lnTo>
                        <a:pt x="54" y="209"/>
                      </a:lnTo>
                      <a:lnTo>
                        <a:pt x="53" y="209"/>
                      </a:lnTo>
                      <a:lnTo>
                        <a:pt x="51" y="209"/>
                      </a:lnTo>
                      <a:lnTo>
                        <a:pt x="51" y="210"/>
                      </a:lnTo>
                      <a:lnTo>
                        <a:pt x="51" y="209"/>
                      </a:lnTo>
                      <a:lnTo>
                        <a:pt x="49" y="209"/>
                      </a:lnTo>
                      <a:lnTo>
                        <a:pt x="49" y="207"/>
                      </a:lnTo>
                      <a:lnTo>
                        <a:pt x="51" y="207"/>
                      </a:lnTo>
                      <a:lnTo>
                        <a:pt x="51" y="205"/>
                      </a:lnTo>
                      <a:lnTo>
                        <a:pt x="53" y="205"/>
                      </a:lnTo>
                      <a:lnTo>
                        <a:pt x="53" y="207"/>
                      </a:lnTo>
                      <a:lnTo>
                        <a:pt x="53" y="205"/>
                      </a:lnTo>
                      <a:lnTo>
                        <a:pt x="54" y="205"/>
                      </a:lnTo>
                      <a:lnTo>
                        <a:pt x="54" y="204"/>
                      </a:lnTo>
                      <a:lnTo>
                        <a:pt x="56" y="204"/>
                      </a:lnTo>
                      <a:lnTo>
                        <a:pt x="56" y="202"/>
                      </a:lnTo>
                      <a:lnTo>
                        <a:pt x="54" y="202"/>
                      </a:lnTo>
                      <a:lnTo>
                        <a:pt x="54" y="204"/>
                      </a:lnTo>
                      <a:lnTo>
                        <a:pt x="54" y="202"/>
                      </a:lnTo>
                      <a:lnTo>
                        <a:pt x="53" y="204"/>
                      </a:lnTo>
                      <a:lnTo>
                        <a:pt x="53" y="202"/>
                      </a:lnTo>
                      <a:lnTo>
                        <a:pt x="54" y="202"/>
                      </a:lnTo>
                      <a:lnTo>
                        <a:pt x="54" y="200"/>
                      </a:lnTo>
                      <a:lnTo>
                        <a:pt x="53" y="200"/>
                      </a:lnTo>
                      <a:lnTo>
                        <a:pt x="54" y="200"/>
                      </a:lnTo>
                      <a:lnTo>
                        <a:pt x="53" y="200"/>
                      </a:lnTo>
                      <a:lnTo>
                        <a:pt x="53" y="199"/>
                      </a:lnTo>
                      <a:lnTo>
                        <a:pt x="51" y="200"/>
                      </a:lnTo>
                      <a:lnTo>
                        <a:pt x="51" y="199"/>
                      </a:lnTo>
                      <a:lnTo>
                        <a:pt x="51" y="200"/>
                      </a:lnTo>
                      <a:lnTo>
                        <a:pt x="51" y="199"/>
                      </a:lnTo>
                      <a:lnTo>
                        <a:pt x="51" y="200"/>
                      </a:lnTo>
                      <a:lnTo>
                        <a:pt x="49" y="200"/>
                      </a:lnTo>
                      <a:lnTo>
                        <a:pt x="49" y="202"/>
                      </a:lnTo>
                      <a:lnTo>
                        <a:pt x="49" y="200"/>
                      </a:lnTo>
                      <a:lnTo>
                        <a:pt x="49" y="202"/>
                      </a:lnTo>
                      <a:lnTo>
                        <a:pt x="51" y="202"/>
                      </a:lnTo>
                      <a:lnTo>
                        <a:pt x="49" y="202"/>
                      </a:lnTo>
                      <a:lnTo>
                        <a:pt x="49" y="204"/>
                      </a:lnTo>
                      <a:lnTo>
                        <a:pt x="49" y="202"/>
                      </a:lnTo>
                      <a:lnTo>
                        <a:pt x="49" y="204"/>
                      </a:lnTo>
                      <a:lnTo>
                        <a:pt x="48" y="204"/>
                      </a:lnTo>
                      <a:lnTo>
                        <a:pt x="48" y="202"/>
                      </a:lnTo>
                      <a:lnTo>
                        <a:pt x="46" y="202"/>
                      </a:lnTo>
                      <a:lnTo>
                        <a:pt x="44" y="202"/>
                      </a:lnTo>
                      <a:lnTo>
                        <a:pt x="44" y="204"/>
                      </a:lnTo>
                      <a:lnTo>
                        <a:pt x="44" y="202"/>
                      </a:lnTo>
                      <a:lnTo>
                        <a:pt x="44" y="204"/>
                      </a:lnTo>
                      <a:lnTo>
                        <a:pt x="42" y="204"/>
                      </a:lnTo>
                      <a:lnTo>
                        <a:pt x="42" y="205"/>
                      </a:lnTo>
                      <a:lnTo>
                        <a:pt x="42" y="207"/>
                      </a:lnTo>
                      <a:lnTo>
                        <a:pt x="44" y="205"/>
                      </a:lnTo>
                      <a:lnTo>
                        <a:pt x="44" y="207"/>
                      </a:lnTo>
                      <a:lnTo>
                        <a:pt x="42" y="207"/>
                      </a:lnTo>
                      <a:lnTo>
                        <a:pt x="42" y="209"/>
                      </a:lnTo>
                      <a:lnTo>
                        <a:pt x="41" y="209"/>
                      </a:lnTo>
                      <a:lnTo>
                        <a:pt x="41" y="207"/>
                      </a:lnTo>
                      <a:lnTo>
                        <a:pt x="39" y="207"/>
                      </a:lnTo>
                      <a:lnTo>
                        <a:pt x="37" y="207"/>
                      </a:lnTo>
                      <a:lnTo>
                        <a:pt x="37" y="209"/>
                      </a:lnTo>
                      <a:lnTo>
                        <a:pt x="36" y="210"/>
                      </a:lnTo>
                      <a:lnTo>
                        <a:pt x="36" y="209"/>
                      </a:lnTo>
                      <a:lnTo>
                        <a:pt x="34" y="209"/>
                      </a:lnTo>
                      <a:lnTo>
                        <a:pt x="32" y="210"/>
                      </a:lnTo>
                      <a:lnTo>
                        <a:pt x="31" y="210"/>
                      </a:lnTo>
                      <a:lnTo>
                        <a:pt x="31" y="212"/>
                      </a:lnTo>
                      <a:lnTo>
                        <a:pt x="29" y="212"/>
                      </a:lnTo>
                      <a:lnTo>
                        <a:pt x="27" y="212"/>
                      </a:lnTo>
                      <a:lnTo>
                        <a:pt x="27" y="210"/>
                      </a:lnTo>
                      <a:lnTo>
                        <a:pt x="27" y="212"/>
                      </a:lnTo>
                      <a:lnTo>
                        <a:pt x="26" y="212"/>
                      </a:lnTo>
                      <a:lnTo>
                        <a:pt x="26" y="210"/>
                      </a:lnTo>
                      <a:lnTo>
                        <a:pt x="24" y="212"/>
                      </a:lnTo>
                      <a:lnTo>
                        <a:pt x="22" y="210"/>
                      </a:lnTo>
                      <a:lnTo>
                        <a:pt x="22" y="212"/>
                      </a:lnTo>
                      <a:lnTo>
                        <a:pt x="21" y="212"/>
                      </a:lnTo>
                      <a:lnTo>
                        <a:pt x="21" y="214"/>
                      </a:lnTo>
                      <a:lnTo>
                        <a:pt x="19" y="214"/>
                      </a:lnTo>
                      <a:lnTo>
                        <a:pt x="19" y="215"/>
                      </a:lnTo>
                      <a:lnTo>
                        <a:pt x="19" y="217"/>
                      </a:lnTo>
                      <a:lnTo>
                        <a:pt x="17" y="218"/>
                      </a:lnTo>
                      <a:lnTo>
                        <a:pt x="19" y="218"/>
                      </a:lnTo>
                      <a:lnTo>
                        <a:pt x="17" y="218"/>
                      </a:lnTo>
                      <a:lnTo>
                        <a:pt x="17" y="220"/>
                      </a:lnTo>
                      <a:lnTo>
                        <a:pt x="19" y="220"/>
                      </a:lnTo>
                      <a:lnTo>
                        <a:pt x="17" y="220"/>
                      </a:lnTo>
                      <a:lnTo>
                        <a:pt x="19" y="222"/>
                      </a:lnTo>
                      <a:lnTo>
                        <a:pt x="17" y="222"/>
                      </a:lnTo>
                      <a:lnTo>
                        <a:pt x="17" y="223"/>
                      </a:lnTo>
                      <a:lnTo>
                        <a:pt x="15" y="223"/>
                      </a:lnTo>
                      <a:lnTo>
                        <a:pt x="17" y="223"/>
                      </a:lnTo>
                      <a:lnTo>
                        <a:pt x="17" y="225"/>
                      </a:lnTo>
                      <a:lnTo>
                        <a:pt x="15" y="225"/>
                      </a:lnTo>
                      <a:lnTo>
                        <a:pt x="15" y="227"/>
                      </a:lnTo>
                      <a:lnTo>
                        <a:pt x="17" y="227"/>
                      </a:lnTo>
                      <a:lnTo>
                        <a:pt x="17" y="228"/>
                      </a:lnTo>
                      <a:lnTo>
                        <a:pt x="19" y="228"/>
                      </a:lnTo>
                      <a:lnTo>
                        <a:pt x="19" y="227"/>
                      </a:lnTo>
                      <a:lnTo>
                        <a:pt x="21" y="227"/>
                      </a:lnTo>
                      <a:lnTo>
                        <a:pt x="21" y="225"/>
                      </a:lnTo>
                      <a:lnTo>
                        <a:pt x="21" y="227"/>
                      </a:lnTo>
                      <a:lnTo>
                        <a:pt x="21" y="225"/>
                      </a:lnTo>
                      <a:lnTo>
                        <a:pt x="22" y="227"/>
                      </a:lnTo>
                      <a:lnTo>
                        <a:pt x="22" y="225"/>
                      </a:lnTo>
                      <a:lnTo>
                        <a:pt x="22" y="223"/>
                      </a:lnTo>
                      <a:lnTo>
                        <a:pt x="24" y="223"/>
                      </a:lnTo>
                      <a:lnTo>
                        <a:pt x="22" y="225"/>
                      </a:lnTo>
                      <a:lnTo>
                        <a:pt x="24" y="225"/>
                      </a:lnTo>
                      <a:lnTo>
                        <a:pt x="26" y="225"/>
                      </a:lnTo>
                      <a:lnTo>
                        <a:pt x="24" y="225"/>
                      </a:lnTo>
                      <a:lnTo>
                        <a:pt x="26" y="225"/>
                      </a:lnTo>
                      <a:lnTo>
                        <a:pt x="26" y="227"/>
                      </a:lnTo>
                      <a:lnTo>
                        <a:pt x="24" y="227"/>
                      </a:lnTo>
                      <a:lnTo>
                        <a:pt x="26" y="227"/>
                      </a:lnTo>
                      <a:lnTo>
                        <a:pt x="24" y="227"/>
                      </a:lnTo>
                      <a:lnTo>
                        <a:pt x="22" y="227"/>
                      </a:lnTo>
                      <a:lnTo>
                        <a:pt x="21" y="227"/>
                      </a:lnTo>
                      <a:lnTo>
                        <a:pt x="22" y="227"/>
                      </a:lnTo>
                      <a:lnTo>
                        <a:pt x="21" y="227"/>
                      </a:lnTo>
                      <a:lnTo>
                        <a:pt x="21" y="228"/>
                      </a:lnTo>
                      <a:lnTo>
                        <a:pt x="22" y="228"/>
                      </a:lnTo>
                      <a:lnTo>
                        <a:pt x="22" y="227"/>
                      </a:lnTo>
                      <a:lnTo>
                        <a:pt x="22" y="228"/>
                      </a:lnTo>
                      <a:lnTo>
                        <a:pt x="21" y="228"/>
                      </a:lnTo>
                      <a:lnTo>
                        <a:pt x="19" y="228"/>
                      </a:lnTo>
                      <a:lnTo>
                        <a:pt x="21" y="230"/>
                      </a:lnTo>
                      <a:lnTo>
                        <a:pt x="19" y="230"/>
                      </a:lnTo>
                      <a:lnTo>
                        <a:pt x="21" y="230"/>
                      </a:lnTo>
                      <a:lnTo>
                        <a:pt x="22" y="228"/>
                      </a:lnTo>
                      <a:lnTo>
                        <a:pt x="24" y="228"/>
                      </a:lnTo>
                      <a:lnTo>
                        <a:pt x="26" y="228"/>
                      </a:lnTo>
                      <a:lnTo>
                        <a:pt x="26" y="230"/>
                      </a:lnTo>
                      <a:lnTo>
                        <a:pt x="24" y="230"/>
                      </a:lnTo>
                      <a:lnTo>
                        <a:pt x="24" y="232"/>
                      </a:lnTo>
                      <a:lnTo>
                        <a:pt x="22" y="233"/>
                      </a:lnTo>
                      <a:lnTo>
                        <a:pt x="22" y="235"/>
                      </a:lnTo>
                      <a:lnTo>
                        <a:pt x="24" y="235"/>
                      </a:lnTo>
                      <a:lnTo>
                        <a:pt x="22" y="233"/>
                      </a:lnTo>
                      <a:lnTo>
                        <a:pt x="24" y="233"/>
                      </a:lnTo>
                      <a:lnTo>
                        <a:pt x="26" y="232"/>
                      </a:lnTo>
                      <a:lnTo>
                        <a:pt x="26" y="230"/>
                      </a:lnTo>
                      <a:lnTo>
                        <a:pt x="27" y="230"/>
                      </a:lnTo>
                      <a:lnTo>
                        <a:pt x="27" y="228"/>
                      </a:lnTo>
                      <a:lnTo>
                        <a:pt x="29" y="228"/>
                      </a:lnTo>
                      <a:lnTo>
                        <a:pt x="31" y="228"/>
                      </a:lnTo>
                      <a:lnTo>
                        <a:pt x="29" y="230"/>
                      </a:lnTo>
                      <a:lnTo>
                        <a:pt x="29" y="232"/>
                      </a:lnTo>
                      <a:lnTo>
                        <a:pt x="31" y="232"/>
                      </a:lnTo>
                      <a:lnTo>
                        <a:pt x="32" y="232"/>
                      </a:lnTo>
                      <a:lnTo>
                        <a:pt x="34" y="232"/>
                      </a:lnTo>
                      <a:lnTo>
                        <a:pt x="34" y="233"/>
                      </a:lnTo>
                      <a:lnTo>
                        <a:pt x="36" y="233"/>
                      </a:lnTo>
                      <a:lnTo>
                        <a:pt x="34" y="233"/>
                      </a:lnTo>
                      <a:lnTo>
                        <a:pt x="36" y="233"/>
                      </a:lnTo>
                      <a:lnTo>
                        <a:pt x="36" y="235"/>
                      </a:lnTo>
                      <a:lnTo>
                        <a:pt x="36" y="233"/>
                      </a:lnTo>
                      <a:lnTo>
                        <a:pt x="36" y="235"/>
                      </a:lnTo>
                      <a:lnTo>
                        <a:pt x="36" y="233"/>
                      </a:lnTo>
                      <a:lnTo>
                        <a:pt x="34" y="233"/>
                      </a:lnTo>
                      <a:lnTo>
                        <a:pt x="32" y="235"/>
                      </a:lnTo>
                      <a:lnTo>
                        <a:pt x="31" y="235"/>
                      </a:lnTo>
                      <a:lnTo>
                        <a:pt x="31" y="237"/>
                      </a:lnTo>
                      <a:lnTo>
                        <a:pt x="31" y="238"/>
                      </a:lnTo>
                      <a:lnTo>
                        <a:pt x="29" y="238"/>
                      </a:lnTo>
                      <a:lnTo>
                        <a:pt x="29" y="240"/>
                      </a:lnTo>
                      <a:lnTo>
                        <a:pt x="27" y="240"/>
                      </a:lnTo>
                      <a:lnTo>
                        <a:pt x="26" y="240"/>
                      </a:lnTo>
                      <a:lnTo>
                        <a:pt x="27" y="238"/>
                      </a:lnTo>
                      <a:lnTo>
                        <a:pt x="26" y="238"/>
                      </a:lnTo>
                      <a:lnTo>
                        <a:pt x="26" y="240"/>
                      </a:lnTo>
                      <a:lnTo>
                        <a:pt x="26" y="238"/>
                      </a:lnTo>
                      <a:lnTo>
                        <a:pt x="24" y="240"/>
                      </a:lnTo>
                      <a:lnTo>
                        <a:pt x="24" y="238"/>
                      </a:lnTo>
                      <a:lnTo>
                        <a:pt x="22" y="238"/>
                      </a:lnTo>
                      <a:lnTo>
                        <a:pt x="21" y="238"/>
                      </a:lnTo>
                      <a:lnTo>
                        <a:pt x="22" y="238"/>
                      </a:lnTo>
                      <a:lnTo>
                        <a:pt x="21" y="238"/>
                      </a:lnTo>
                      <a:lnTo>
                        <a:pt x="19" y="238"/>
                      </a:lnTo>
                      <a:lnTo>
                        <a:pt x="19" y="240"/>
                      </a:lnTo>
                      <a:lnTo>
                        <a:pt x="19" y="238"/>
                      </a:lnTo>
                      <a:lnTo>
                        <a:pt x="17" y="238"/>
                      </a:lnTo>
                      <a:lnTo>
                        <a:pt x="15" y="238"/>
                      </a:lnTo>
                      <a:lnTo>
                        <a:pt x="15" y="240"/>
                      </a:lnTo>
                      <a:lnTo>
                        <a:pt x="15" y="241"/>
                      </a:lnTo>
                      <a:lnTo>
                        <a:pt x="14" y="240"/>
                      </a:lnTo>
                      <a:lnTo>
                        <a:pt x="12" y="240"/>
                      </a:lnTo>
                      <a:lnTo>
                        <a:pt x="12" y="238"/>
                      </a:lnTo>
                      <a:lnTo>
                        <a:pt x="10" y="238"/>
                      </a:lnTo>
                      <a:lnTo>
                        <a:pt x="10" y="237"/>
                      </a:lnTo>
                      <a:lnTo>
                        <a:pt x="10" y="235"/>
                      </a:lnTo>
                      <a:lnTo>
                        <a:pt x="9" y="235"/>
                      </a:lnTo>
                      <a:lnTo>
                        <a:pt x="10" y="235"/>
                      </a:lnTo>
                      <a:lnTo>
                        <a:pt x="7" y="233"/>
                      </a:lnTo>
                      <a:lnTo>
                        <a:pt x="5" y="233"/>
                      </a:lnTo>
                      <a:lnTo>
                        <a:pt x="5" y="232"/>
                      </a:lnTo>
                      <a:lnTo>
                        <a:pt x="5" y="230"/>
                      </a:lnTo>
                      <a:lnTo>
                        <a:pt x="4" y="230"/>
                      </a:lnTo>
                      <a:lnTo>
                        <a:pt x="2" y="230"/>
                      </a:lnTo>
                      <a:lnTo>
                        <a:pt x="0" y="230"/>
                      </a:lnTo>
                      <a:lnTo>
                        <a:pt x="0" y="228"/>
                      </a:lnTo>
                      <a:lnTo>
                        <a:pt x="0" y="227"/>
                      </a:lnTo>
                      <a:lnTo>
                        <a:pt x="0" y="225"/>
                      </a:lnTo>
                      <a:lnTo>
                        <a:pt x="2" y="223"/>
                      </a:lnTo>
                      <a:lnTo>
                        <a:pt x="4" y="223"/>
                      </a:lnTo>
                      <a:lnTo>
                        <a:pt x="4" y="222"/>
                      </a:lnTo>
                      <a:lnTo>
                        <a:pt x="5" y="222"/>
                      </a:lnTo>
                      <a:lnTo>
                        <a:pt x="5" y="220"/>
                      </a:lnTo>
                      <a:lnTo>
                        <a:pt x="7" y="220"/>
                      </a:lnTo>
                      <a:lnTo>
                        <a:pt x="7" y="218"/>
                      </a:lnTo>
                      <a:lnTo>
                        <a:pt x="7" y="217"/>
                      </a:lnTo>
                      <a:lnTo>
                        <a:pt x="7" y="215"/>
                      </a:lnTo>
                      <a:lnTo>
                        <a:pt x="7" y="214"/>
                      </a:lnTo>
                      <a:lnTo>
                        <a:pt x="7" y="212"/>
                      </a:lnTo>
                      <a:lnTo>
                        <a:pt x="9" y="212"/>
                      </a:lnTo>
                      <a:lnTo>
                        <a:pt x="9" y="210"/>
                      </a:lnTo>
                      <a:lnTo>
                        <a:pt x="9" y="209"/>
                      </a:lnTo>
                      <a:lnTo>
                        <a:pt x="9" y="207"/>
                      </a:lnTo>
                      <a:lnTo>
                        <a:pt x="9" y="205"/>
                      </a:lnTo>
                      <a:lnTo>
                        <a:pt x="10" y="205"/>
                      </a:lnTo>
                      <a:lnTo>
                        <a:pt x="12" y="205"/>
                      </a:lnTo>
                      <a:lnTo>
                        <a:pt x="12" y="204"/>
                      </a:lnTo>
                      <a:lnTo>
                        <a:pt x="14" y="204"/>
                      </a:lnTo>
                      <a:lnTo>
                        <a:pt x="12" y="204"/>
                      </a:lnTo>
                      <a:lnTo>
                        <a:pt x="14" y="204"/>
                      </a:lnTo>
                      <a:lnTo>
                        <a:pt x="14" y="202"/>
                      </a:lnTo>
                      <a:lnTo>
                        <a:pt x="15" y="202"/>
                      </a:lnTo>
                      <a:lnTo>
                        <a:pt x="15" y="200"/>
                      </a:lnTo>
                      <a:lnTo>
                        <a:pt x="17" y="200"/>
                      </a:lnTo>
                      <a:lnTo>
                        <a:pt x="19" y="200"/>
                      </a:lnTo>
                      <a:lnTo>
                        <a:pt x="21" y="200"/>
                      </a:lnTo>
                      <a:lnTo>
                        <a:pt x="21" y="199"/>
                      </a:lnTo>
                      <a:lnTo>
                        <a:pt x="21" y="200"/>
                      </a:lnTo>
                      <a:lnTo>
                        <a:pt x="22" y="200"/>
                      </a:lnTo>
                      <a:lnTo>
                        <a:pt x="22" y="199"/>
                      </a:lnTo>
                      <a:lnTo>
                        <a:pt x="24" y="199"/>
                      </a:lnTo>
                      <a:lnTo>
                        <a:pt x="24" y="197"/>
                      </a:lnTo>
                      <a:lnTo>
                        <a:pt x="26" y="197"/>
                      </a:lnTo>
                      <a:lnTo>
                        <a:pt x="27" y="195"/>
                      </a:lnTo>
                      <a:lnTo>
                        <a:pt x="27" y="197"/>
                      </a:lnTo>
                      <a:lnTo>
                        <a:pt x="27" y="195"/>
                      </a:lnTo>
                      <a:lnTo>
                        <a:pt x="29" y="195"/>
                      </a:lnTo>
                      <a:lnTo>
                        <a:pt x="31" y="195"/>
                      </a:lnTo>
                      <a:lnTo>
                        <a:pt x="31" y="197"/>
                      </a:lnTo>
                      <a:lnTo>
                        <a:pt x="32" y="197"/>
                      </a:lnTo>
                      <a:lnTo>
                        <a:pt x="32" y="195"/>
                      </a:lnTo>
                      <a:lnTo>
                        <a:pt x="34" y="194"/>
                      </a:lnTo>
                      <a:lnTo>
                        <a:pt x="36" y="194"/>
                      </a:lnTo>
                      <a:lnTo>
                        <a:pt x="37" y="192"/>
                      </a:lnTo>
                      <a:lnTo>
                        <a:pt x="39" y="192"/>
                      </a:lnTo>
                      <a:lnTo>
                        <a:pt x="39" y="194"/>
                      </a:lnTo>
                      <a:lnTo>
                        <a:pt x="39" y="195"/>
                      </a:lnTo>
                      <a:lnTo>
                        <a:pt x="41" y="195"/>
                      </a:lnTo>
                      <a:lnTo>
                        <a:pt x="42" y="195"/>
                      </a:lnTo>
                      <a:lnTo>
                        <a:pt x="42" y="194"/>
                      </a:lnTo>
                      <a:lnTo>
                        <a:pt x="44" y="194"/>
                      </a:lnTo>
                      <a:lnTo>
                        <a:pt x="44" y="192"/>
                      </a:lnTo>
                      <a:lnTo>
                        <a:pt x="46" y="192"/>
                      </a:lnTo>
                      <a:lnTo>
                        <a:pt x="46" y="194"/>
                      </a:lnTo>
                      <a:lnTo>
                        <a:pt x="48" y="194"/>
                      </a:lnTo>
                      <a:lnTo>
                        <a:pt x="49" y="194"/>
                      </a:lnTo>
                      <a:lnTo>
                        <a:pt x="51" y="192"/>
                      </a:lnTo>
                      <a:lnTo>
                        <a:pt x="53" y="192"/>
                      </a:lnTo>
                      <a:lnTo>
                        <a:pt x="54" y="192"/>
                      </a:lnTo>
                      <a:lnTo>
                        <a:pt x="53" y="192"/>
                      </a:lnTo>
                      <a:lnTo>
                        <a:pt x="54" y="192"/>
                      </a:lnTo>
                      <a:lnTo>
                        <a:pt x="54" y="191"/>
                      </a:lnTo>
                      <a:lnTo>
                        <a:pt x="56" y="191"/>
                      </a:lnTo>
                      <a:lnTo>
                        <a:pt x="58" y="191"/>
                      </a:lnTo>
                      <a:lnTo>
                        <a:pt x="58" y="192"/>
                      </a:lnTo>
                      <a:lnTo>
                        <a:pt x="59" y="191"/>
                      </a:lnTo>
                      <a:lnTo>
                        <a:pt x="59" y="189"/>
                      </a:lnTo>
                      <a:lnTo>
                        <a:pt x="61" y="189"/>
                      </a:lnTo>
                      <a:lnTo>
                        <a:pt x="61" y="187"/>
                      </a:lnTo>
                      <a:lnTo>
                        <a:pt x="59" y="187"/>
                      </a:lnTo>
                      <a:lnTo>
                        <a:pt x="59" y="186"/>
                      </a:lnTo>
                      <a:lnTo>
                        <a:pt x="61" y="184"/>
                      </a:lnTo>
                      <a:lnTo>
                        <a:pt x="63" y="182"/>
                      </a:lnTo>
                      <a:lnTo>
                        <a:pt x="64" y="182"/>
                      </a:lnTo>
                      <a:lnTo>
                        <a:pt x="66" y="181"/>
                      </a:lnTo>
                      <a:lnTo>
                        <a:pt x="64" y="181"/>
                      </a:lnTo>
                      <a:lnTo>
                        <a:pt x="66" y="181"/>
                      </a:lnTo>
                      <a:lnTo>
                        <a:pt x="68" y="179"/>
                      </a:lnTo>
                      <a:lnTo>
                        <a:pt x="68" y="177"/>
                      </a:lnTo>
                      <a:lnTo>
                        <a:pt x="70" y="177"/>
                      </a:lnTo>
                      <a:lnTo>
                        <a:pt x="68" y="177"/>
                      </a:lnTo>
                      <a:lnTo>
                        <a:pt x="68" y="176"/>
                      </a:lnTo>
                      <a:lnTo>
                        <a:pt x="66" y="174"/>
                      </a:lnTo>
                      <a:lnTo>
                        <a:pt x="66" y="172"/>
                      </a:lnTo>
                      <a:lnTo>
                        <a:pt x="64" y="172"/>
                      </a:lnTo>
                      <a:lnTo>
                        <a:pt x="64" y="171"/>
                      </a:lnTo>
                      <a:lnTo>
                        <a:pt x="63" y="171"/>
                      </a:lnTo>
                      <a:lnTo>
                        <a:pt x="61" y="171"/>
                      </a:lnTo>
                      <a:lnTo>
                        <a:pt x="59" y="171"/>
                      </a:lnTo>
                      <a:lnTo>
                        <a:pt x="59" y="169"/>
                      </a:lnTo>
                      <a:lnTo>
                        <a:pt x="58" y="169"/>
                      </a:lnTo>
                      <a:lnTo>
                        <a:pt x="58" y="171"/>
                      </a:lnTo>
                      <a:lnTo>
                        <a:pt x="56" y="171"/>
                      </a:lnTo>
                      <a:lnTo>
                        <a:pt x="56" y="169"/>
                      </a:lnTo>
                      <a:lnTo>
                        <a:pt x="54" y="169"/>
                      </a:lnTo>
                      <a:lnTo>
                        <a:pt x="53" y="169"/>
                      </a:lnTo>
                      <a:lnTo>
                        <a:pt x="51" y="169"/>
                      </a:lnTo>
                      <a:lnTo>
                        <a:pt x="51" y="171"/>
                      </a:lnTo>
                      <a:lnTo>
                        <a:pt x="49" y="171"/>
                      </a:lnTo>
                      <a:lnTo>
                        <a:pt x="49" y="169"/>
                      </a:lnTo>
                      <a:lnTo>
                        <a:pt x="49" y="168"/>
                      </a:lnTo>
                      <a:lnTo>
                        <a:pt x="48" y="168"/>
                      </a:lnTo>
                      <a:lnTo>
                        <a:pt x="46" y="168"/>
                      </a:lnTo>
                      <a:lnTo>
                        <a:pt x="46" y="169"/>
                      </a:lnTo>
                      <a:lnTo>
                        <a:pt x="46" y="171"/>
                      </a:lnTo>
                      <a:lnTo>
                        <a:pt x="44" y="169"/>
                      </a:lnTo>
                      <a:lnTo>
                        <a:pt x="42" y="169"/>
                      </a:lnTo>
                      <a:lnTo>
                        <a:pt x="42" y="171"/>
                      </a:lnTo>
                      <a:lnTo>
                        <a:pt x="41" y="171"/>
                      </a:lnTo>
                      <a:lnTo>
                        <a:pt x="39" y="171"/>
                      </a:lnTo>
                      <a:lnTo>
                        <a:pt x="37" y="171"/>
                      </a:lnTo>
                      <a:lnTo>
                        <a:pt x="37" y="172"/>
                      </a:lnTo>
                      <a:lnTo>
                        <a:pt x="36" y="174"/>
                      </a:lnTo>
                      <a:lnTo>
                        <a:pt x="36" y="172"/>
                      </a:lnTo>
                      <a:lnTo>
                        <a:pt x="34" y="172"/>
                      </a:lnTo>
                      <a:lnTo>
                        <a:pt x="34" y="174"/>
                      </a:lnTo>
                      <a:lnTo>
                        <a:pt x="34" y="172"/>
                      </a:lnTo>
                      <a:lnTo>
                        <a:pt x="34" y="171"/>
                      </a:lnTo>
                      <a:lnTo>
                        <a:pt x="32" y="171"/>
                      </a:lnTo>
                      <a:lnTo>
                        <a:pt x="31" y="171"/>
                      </a:lnTo>
                      <a:lnTo>
                        <a:pt x="31" y="169"/>
                      </a:lnTo>
                      <a:lnTo>
                        <a:pt x="29" y="171"/>
                      </a:lnTo>
                      <a:lnTo>
                        <a:pt x="29" y="172"/>
                      </a:lnTo>
                      <a:lnTo>
                        <a:pt x="27" y="172"/>
                      </a:lnTo>
                      <a:lnTo>
                        <a:pt x="27" y="171"/>
                      </a:lnTo>
                      <a:lnTo>
                        <a:pt x="26" y="171"/>
                      </a:lnTo>
                      <a:lnTo>
                        <a:pt x="24" y="171"/>
                      </a:lnTo>
                      <a:lnTo>
                        <a:pt x="22" y="171"/>
                      </a:lnTo>
                      <a:lnTo>
                        <a:pt x="22" y="169"/>
                      </a:lnTo>
                      <a:lnTo>
                        <a:pt x="24" y="169"/>
                      </a:lnTo>
                      <a:lnTo>
                        <a:pt x="22" y="169"/>
                      </a:lnTo>
                      <a:lnTo>
                        <a:pt x="22" y="168"/>
                      </a:lnTo>
                      <a:lnTo>
                        <a:pt x="24" y="168"/>
                      </a:lnTo>
                      <a:lnTo>
                        <a:pt x="24" y="166"/>
                      </a:lnTo>
                      <a:lnTo>
                        <a:pt x="22" y="166"/>
                      </a:lnTo>
                      <a:lnTo>
                        <a:pt x="21" y="166"/>
                      </a:lnTo>
                      <a:lnTo>
                        <a:pt x="21" y="164"/>
                      </a:lnTo>
                      <a:lnTo>
                        <a:pt x="19" y="163"/>
                      </a:lnTo>
                      <a:lnTo>
                        <a:pt x="17" y="161"/>
                      </a:lnTo>
                      <a:lnTo>
                        <a:pt x="17" y="163"/>
                      </a:lnTo>
                      <a:lnTo>
                        <a:pt x="15" y="161"/>
                      </a:lnTo>
                      <a:lnTo>
                        <a:pt x="17" y="161"/>
                      </a:lnTo>
                      <a:lnTo>
                        <a:pt x="17" y="159"/>
                      </a:lnTo>
                      <a:lnTo>
                        <a:pt x="15" y="159"/>
                      </a:lnTo>
                      <a:lnTo>
                        <a:pt x="15" y="158"/>
                      </a:lnTo>
                      <a:lnTo>
                        <a:pt x="15" y="156"/>
                      </a:lnTo>
                      <a:lnTo>
                        <a:pt x="15" y="154"/>
                      </a:lnTo>
                      <a:lnTo>
                        <a:pt x="14" y="154"/>
                      </a:lnTo>
                      <a:lnTo>
                        <a:pt x="15" y="154"/>
                      </a:lnTo>
                      <a:lnTo>
                        <a:pt x="14" y="154"/>
                      </a:lnTo>
                      <a:lnTo>
                        <a:pt x="14" y="153"/>
                      </a:lnTo>
                      <a:lnTo>
                        <a:pt x="12" y="153"/>
                      </a:lnTo>
                      <a:lnTo>
                        <a:pt x="10" y="153"/>
                      </a:lnTo>
                      <a:lnTo>
                        <a:pt x="9" y="153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9" y="151"/>
                      </a:lnTo>
                      <a:lnTo>
                        <a:pt x="9" y="149"/>
                      </a:lnTo>
                      <a:lnTo>
                        <a:pt x="10" y="149"/>
                      </a:lnTo>
                      <a:lnTo>
                        <a:pt x="12" y="149"/>
                      </a:lnTo>
                      <a:lnTo>
                        <a:pt x="14" y="149"/>
                      </a:lnTo>
                      <a:lnTo>
                        <a:pt x="15" y="148"/>
                      </a:lnTo>
                      <a:lnTo>
                        <a:pt x="17" y="148"/>
                      </a:lnTo>
                      <a:lnTo>
                        <a:pt x="17" y="149"/>
                      </a:lnTo>
                      <a:lnTo>
                        <a:pt x="17" y="148"/>
                      </a:lnTo>
                      <a:lnTo>
                        <a:pt x="19" y="149"/>
                      </a:lnTo>
                      <a:lnTo>
                        <a:pt x="19" y="148"/>
                      </a:lnTo>
                      <a:lnTo>
                        <a:pt x="19" y="149"/>
                      </a:lnTo>
                      <a:lnTo>
                        <a:pt x="21" y="149"/>
                      </a:lnTo>
                      <a:lnTo>
                        <a:pt x="22" y="149"/>
                      </a:lnTo>
                      <a:lnTo>
                        <a:pt x="22" y="148"/>
                      </a:lnTo>
                      <a:lnTo>
                        <a:pt x="24" y="148"/>
                      </a:lnTo>
                      <a:lnTo>
                        <a:pt x="24" y="146"/>
                      </a:lnTo>
                      <a:lnTo>
                        <a:pt x="26" y="146"/>
                      </a:lnTo>
                      <a:lnTo>
                        <a:pt x="26" y="145"/>
                      </a:lnTo>
                      <a:lnTo>
                        <a:pt x="27" y="145"/>
                      </a:lnTo>
                      <a:lnTo>
                        <a:pt x="29" y="145"/>
                      </a:lnTo>
                      <a:lnTo>
                        <a:pt x="31" y="145"/>
                      </a:lnTo>
                      <a:lnTo>
                        <a:pt x="32" y="145"/>
                      </a:lnTo>
                      <a:lnTo>
                        <a:pt x="34" y="145"/>
                      </a:lnTo>
                      <a:lnTo>
                        <a:pt x="36" y="143"/>
                      </a:lnTo>
                      <a:lnTo>
                        <a:pt x="37" y="143"/>
                      </a:lnTo>
                      <a:lnTo>
                        <a:pt x="37" y="141"/>
                      </a:lnTo>
                      <a:lnTo>
                        <a:pt x="39" y="141"/>
                      </a:lnTo>
                      <a:lnTo>
                        <a:pt x="39" y="140"/>
                      </a:lnTo>
                      <a:lnTo>
                        <a:pt x="41" y="140"/>
                      </a:lnTo>
                      <a:lnTo>
                        <a:pt x="41" y="138"/>
                      </a:lnTo>
                      <a:lnTo>
                        <a:pt x="42" y="138"/>
                      </a:lnTo>
                      <a:lnTo>
                        <a:pt x="44" y="138"/>
                      </a:lnTo>
                      <a:lnTo>
                        <a:pt x="46" y="138"/>
                      </a:lnTo>
                      <a:lnTo>
                        <a:pt x="48" y="138"/>
                      </a:lnTo>
                      <a:lnTo>
                        <a:pt x="48" y="140"/>
                      </a:lnTo>
                      <a:lnTo>
                        <a:pt x="49" y="140"/>
                      </a:lnTo>
                      <a:lnTo>
                        <a:pt x="49" y="138"/>
                      </a:lnTo>
                      <a:lnTo>
                        <a:pt x="51" y="138"/>
                      </a:lnTo>
                      <a:lnTo>
                        <a:pt x="53" y="138"/>
                      </a:lnTo>
                      <a:lnTo>
                        <a:pt x="54" y="138"/>
                      </a:lnTo>
                      <a:lnTo>
                        <a:pt x="56" y="138"/>
                      </a:lnTo>
                      <a:lnTo>
                        <a:pt x="56" y="136"/>
                      </a:lnTo>
                      <a:lnTo>
                        <a:pt x="56" y="138"/>
                      </a:lnTo>
                      <a:lnTo>
                        <a:pt x="58" y="136"/>
                      </a:lnTo>
                      <a:lnTo>
                        <a:pt x="59" y="136"/>
                      </a:lnTo>
                      <a:lnTo>
                        <a:pt x="59" y="138"/>
                      </a:lnTo>
                      <a:lnTo>
                        <a:pt x="59" y="136"/>
                      </a:lnTo>
                      <a:lnTo>
                        <a:pt x="59" y="138"/>
                      </a:lnTo>
                      <a:lnTo>
                        <a:pt x="59" y="140"/>
                      </a:lnTo>
                      <a:lnTo>
                        <a:pt x="61" y="138"/>
                      </a:lnTo>
                      <a:lnTo>
                        <a:pt x="61" y="140"/>
                      </a:lnTo>
                      <a:lnTo>
                        <a:pt x="61" y="138"/>
                      </a:lnTo>
                      <a:lnTo>
                        <a:pt x="61" y="140"/>
                      </a:lnTo>
                      <a:lnTo>
                        <a:pt x="63" y="138"/>
                      </a:lnTo>
                      <a:lnTo>
                        <a:pt x="64" y="138"/>
                      </a:lnTo>
                      <a:lnTo>
                        <a:pt x="66" y="136"/>
                      </a:lnTo>
                      <a:lnTo>
                        <a:pt x="68" y="136"/>
                      </a:lnTo>
                      <a:lnTo>
                        <a:pt x="66" y="136"/>
                      </a:lnTo>
                      <a:lnTo>
                        <a:pt x="68" y="135"/>
                      </a:lnTo>
                      <a:lnTo>
                        <a:pt x="68" y="136"/>
                      </a:lnTo>
                      <a:lnTo>
                        <a:pt x="68" y="135"/>
                      </a:lnTo>
                      <a:lnTo>
                        <a:pt x="68" y="136"/>
                      </a:lnTo>
                      <a:lnTo>
                        <a:pt x="70" y="136"/>
                      </a:lnTo>
                      <a:lnTo>
                        <a:pt x="70" y="135"/>
                      </a:lnTo>
                      <a:lnTo>
                        <a:pt x="71" y="135"/>
                      </a:lnTo>
                      <a:lnTo>
                        <a:pt x="71" y="133"/>
                      </a:lnTo>
                      <a:lnTo>
                        <a:pt x="73" y="135"/>
                      </a:lnTo>
                      <a:lnTo>
                        <a:pt x="73" y="133"/>
                      </a:lnTo>
                      <a:lnTo>
                        <a:pt x="73" y="131"/>
                      </a:lnTo>
                      <a:lnTo>
                        <a:pt x="75" y="131"/>
                      </a:lnTo>
                      <a:lnTo>
                        <a:pt x="75" y="130"/>
                      </a:lnTo>
                      <a:lnTo>
                        <a:pt x="75" y="131"/>
                      </a:lnTo>
                      <a:lnTo>
                        <a:pt x="76" y="131"/>
                      </a:lnTo>
                      <a:lnTo>
                        <a:pt x="76" y="130"/>
                      </a:lnTo>
                      <a:lnTo>
                        <a:pt x="78" y="130"/>
                      </a:lnTo>
                      <a:lnTo>
                        <a:pt x="80" y="130"/>
                      </a:lnTo>
                      <a:lnTo>
                        <a:pt x="80" y="128"/>
                      </a:lnTo>
                      <a:lnTo>
                        <a:pt x="81" y="128"/>
                      </a:lnTo>
                      <a:lnTo>
                        <a:pt x="83" y="128"/>
                      </a:lnTo>
                      <a:lnTo>
                        <a:pt x="83" y="130"/>
                      </a:lnTo>
                      <a:lnTo>
                        <a:pt x="85" y="130"/>
                      </a:lnTo>
                      <a:lnTo>
                        <a:pt x="85" y="128"/>
                      </a:lnTo>
                      <a:lnTo>
                        <a:pt x="85" y="130"/>
                      </a:lnTo>
                      <a:lnTo>
                        <a:pt x="85" y="128"/>
                      </a:lnTo>
                      <a:lnTo>
                        <a:pt x="86" y="128"/>
                      </a:lnTo>
                      <a:lnTo>
                        <a:pt x="88" y="128"/>
                      </a:lnTo>
                      <a:lnTo>
                        <a:pt x="90" y="126"/>
                      </a:lnTo>
                      <a:lnTo>
                        <a:pt x="91" y="126"/>
                      </a:lnTo>
                      <a:lnTo>
                        <a:pt x="93" y="125"/>
                      </a:lnTo>
                      <a:lnTo>
                        <a:pt x="95" y="125"/>
                      </a:lnTo>
                      <a:lnTo>
                        <a:pt x="95" y="123"/>
                      </a:lnTo>
                      <a:lnTo>
                        <a:pt x="97" y="123"/>
                      </a:lnTo>
                      <a:lnTo>
                        <a:pt x="97" y="125"/>
                      </a:lnTo>
                      <a:lnTo>
                        <a:pt x="97" y="123"/>
                      </a:lnTo>
                      <a:lnTo>
                        <a:pt x="98" y="123"/>
                      </a:lnTo>
                      <a:lnTo>
                        <a:pt x="100" y="123"/>
                      </a:lnTo>
                      <a:lnTo>
                        <a:pt x="102" y="123"/>
                      </a:lnTo>
                      <a:lnTo>
                        <a:pt x="102" y="122"/>
                      </a:lnTo>
                      <a:lnTo>
                        <a:pt x="103" y="122"/>
                      </a:lnTo>
                      <a:lnTo>
                        <a:pt x="105" y="122"/>
                      </a:lnTo>
                      <a:lnTo>
                        <a:pt x="105" y="120"/>
                      </a:lnTo>
                      <a:lnTo>
                        <a:pt x="107" y="122"/>
                      </a:lnTo>
                      <a:lnTo>
                        <a:pt x="107" y="120"/>
                      </a:lnTo>
                      <a:lnTo>
                        <a:pt x="107" y="122"/>
                      </a:lnTo>
                      <a:lnTo>
                        <a:pt x="108" y="123"/>
                      </a:lnTo>
                      <a:lnTo>
                        <a:pt x="110" y="123"/>
                      </a:lnTo>
                      <a:lnTo>
                        <a:pt x="110" y="122"/>
                      </a:lnTo>
                      <a:lnTo>
                        <a:pt x="112" y="122"/>
                      </a:lnTo>
                      <a:lnTo>
                        <a:pt x="113" y="122"/>
                      </a:lnTo>
                      <a:lnTo>
                        <a:pt x="115" y="122"/>
                      </a:lnTo>
                      <a:lnTo>
                        <a:pt x="115" y="123"/>
                      </a:lnTo>
                      <a:lnTo>
                        <a:pt x="115" y="122"/>
                      </a:lnTo>
                      <a:lnTo>
                        <a:pt x="117" y="122"/>
                      </a:lnTo>
                      <a:lnTo>
                        <a:pt x="117" y="120"/>
                      </a:lnTo>
                      <a:lnTo>
                        <a:pt x="118" y="120"/>
                      </a:lnTo>
                      <a:lnTo>
                        <a:pt x="118" y="122"/>
                      </a:lnTo>
                      <a:lnTo>
                        <a:pt x="120" y="122"/>
                      </a:lnTo>
                      <a:lnTo>
                        <a:pt x="122" y="122"/>
                      </a:lnTo>
                      <a:lnTo>
                        <a:pt x="122" y="120"/>
                      </a:lnTo>
                      <a:lnTo>
                        <a:pt x="124" y="120"/>
                      </a:lnTo>
                      <a:lnTo>
                        <a:pt x="124" y="122"/>
                      </a:lnTo>
                      <a:lnTo>
                        <a:pt x="125" y="122"/>
                      </a:lnTo>
                      <a:lnTo>
                        <a:pt x="125" y="123"/>
                      </a:lnTo>
                      <a:lnTo>
                        <a:pt x="125" y="122"/>
                      </a:lnTo>
                      <a:lnTo>
                        <a:pt x="127" y="122"/>
                      </a:lnTo>
                      <a:lnTo>
                        <a:pt x="129" y="122"/>
                      </a:lnTo>
                      <a:lnTo>
                        <a:pt x="130" y="120"/>
                      </a:lnTo>
                      <a:lnTo>
                        <a:pt x="130" y="122"/>
                      </a:lnTo>
                      <a:lnTo>
                        <a:pt x="132" y="122"/>
                      </a:lnTo>
                      <a:lnTo>
                        <a:pt x="134" y="122"/>
                      </a:lnTo>
                      <a:lnTo>
                        <a:pt x="135" y="122"/>
                      </a:lnTo>
                      <a:lnTo>
                        <a:pt x="135" y="120"/>
                      </a:lnTo>
                      <a:lnTo>
                        <a:pt x="137" y="120"/>
                      </a:lnTo>
                      <a:lnTo>
                        <a:pt x="139" y="120"/>
                      </a:lnTo>
                      <a:lnTo>
                        <a:pt x="139" y="118"/>
                      </a:lnTo>
                      <a:lnTo>
                        <a:pt x="140" y="118"/>
                      </a:lnTo>
                      <a:lnTo>
                        <a:pt x="142" y="118"/>
                      </a:lnTo>
                      <a:lnTo>
                        <a:pt x="144" y="117"/>
                      </a:lnTo>
                      <a:lnTo>
                        <a:pt x="144" y="115"/>
                      </a:lnTo>
                      <a:lnTo>
                        <a:pt x="146" y="115"/>
                      </a:lnTo>
                      <a:lnTo>
                        <a:pt x="147" y="115"/>
                      </a:lnTo>
                      <a:lnTo>
                        <a:pt x="149" y="115"/>
                      </a:lnTo>
                      <a:lnTo>
                        <a:pt x="149" y="117"/>
                      </a:lnTo>
                      <a:lnTo>
                        <a:pt x="151" y="117"/>
                      </a:lnTo>
                      <a:lnTo>
                        <a:pt x="152" y="115"/>
                      </a:lnTo>
                      <a:lnTo>
                        <a:pt x="154" y="115"/>
                      </a:lnTo>
                      <a:lnTo>
                        <a:pt x="156" y="115"/>
                      </a:lnTo>
                      <a:lnTo>
                        <a:pt x="157" y="115"/>
                      </a:lnTo>
                      <a:lnTo>
                        <a:pt x="157" y="117"/>
                      </a:lnTo>
                      <a:lnTo>
                        <a:pt x="157" y="118"/>
                      </a:lnTo>
                      <a:lnTo>
                        <a:pt x="159" y="117"/>
                      </a:lnTo>
                      <a:lnTo>
                        <a:pt x="159" y="118"/>
                      </a:lnTo>
                      <a:lnTo>
                        <a:pt x="161" y="118"/>
                      </a:lnTo>
                      <a:lnTo>
                        <a:pt x="161" y="117"/>
                      </a:lnTo>
                      <a:lnTo>
                        <a:pt x="162" y="117"/>
                      </a:lnTo>
                      <a:lnTo>
                        <a:pt x="164" y="117"/>
                      </a:lnTo>
                      <a:lnTo>
                        <a:pt x="164" y="118"/>
                      </a:lnTo>
                      <a:lnTo>
                        <a:pt x="166" y="117"/>
                      </a:lnTo>
                      <a:lnTo>
                        <a:pt x="166" y="118"/>
                      </a:lnTo>
                      <a:lnTo>
                        <a:pt x="166" y="117"/>
                      </a:lnTo>
                      <a:lnTo>
                        <a:pt x="167" y="117"/>
                      </a:lnTo>
                      <a:lnTo>
                        <a:pt x="166" y="118"/>
                      </a:lnTo>
                      <a:lnTo>
                        <a:pt x="167" y="118"/>
                      </a:lnTo>
                      <a:lnTo>
                        <a:pt x="166" y="118"/>
                      </a:lnTo>
                      <a:lnTo>
                        <a:pt x="166" y="120"/>
                      </a:lnTo>
                      <a:lnTo>
                        <a:pt x="166" y="122"/>
                      </a:lnTo>
                      <a:lnTo>
                        <a:pt x="164" y="122"/>
                      </a:lnTo>
                      <a:lnTo>
                        <a:pt x="164" y="123"/>
                      </a:lnTo>
                      <a:lnTo>
                        <a:pt x="166" y="123"/>
                      </a:lnTo>
                      <a:lnTo>
                        <a:pt x="166" y="125"/>
                      </a:lnTo>
                      <a:lnTo>
                        <a:pt x="167" y="125"/>
                      </a:lnTo>
                      <a:lnTo>
                        <a:pt x="167" y="123"/>
                      </a:lnTo>
                      <a:lnTo>
                        <a:pt x="169" y="122"/>
                      </a:lnTo>
                      <a:lnTo>
                        <a:pt x="171" y="123"/>
                      </a:lnTo>
                      <a:lnTo>
                        <a:pt x="171" y="122"/>
                      </a:lnTo>
                      <a:lnTo>
                        <a:pt x="173" y="123"/>
                      </a:lnTo>
                      <a:lnTo>
                        <a:pt x="173" y="122"/>
                      </a:lnTo>
                      <a:lnTo>
                        <a:pt x="174" y="122"/>
                      </a:lnTo>
                      <a:lnTo>
                        <a:pt x="176" y="122"/>
                      </a:lnTo>
                      <a:lnTo>
                        <a:pt x="176" y="120"/>
                      </a:lnTo>
                      <a:lnTo>
                        <a:pt x="176" y="118"/>
                      </a:lnTo>
                      <a:lnTo>
                        <a:pt x="178" y="118"/>
                      </a:lnTo>
                      <a:lnTo>
                        <a:pt x="179" y="117"/>
                      </a:lnTo>
                      <a:lnTo>
                        <a:pt x="179" y="118"/>
                      </a:lnTo>
                      <a:lnTo>
                        <a:pt x="181" y="117"/>
                      </a:lnTo>
                      <a:lnTo>
                        <a:pt x="183" y="117"/>
                      </a:lnTo>
                      <a:lnTo>
                        <a:pt x="183" y="115"/>
                      </a:lnTo>
                      <a:lnTo>
                        <a:pt x="183" y="117"/>
                      </a:lnTo>
                      <a:lnTo>
                        <a:pt x="184" y="115"/>
                      </a:lnTo>
                      <a:lnTo>
                        <a:pt x="186" y="115"/>
                      </a:lnTo>
                      <a:lnTo>
                        <a:pt x="188" y="113"/>
                      </a:lnTo>
                      <a:lnTo>
                        <a:pt x="189" y="113"/>
                      </a:lnTo>
                      <a:lnTo>
                        <a:pt x="189" y="112"/>
                      </a:lnTo>
                      <a:lnTo>
                        <a:pt x="191" y="110"/>
                      </a:lnTo>
                      <a:lnTo>
                        <a:pt x="193" y="110"/>
                      </a:lnTo>
                      <a:lnTo>
                        <a:pt x="194" y="110"/>
                      </a:lnTo>
                      <a:lnTo>
                        <a:pt x="194" y="108"/>
                      </a:lnTo>
                      <a:lnTo>
                        <a:pt x="198" y="108"/>
                      </a:lnTo>
                      <a:lnTo>
                        <a:pt x="200" y="107"/>
                      </a:lnTo>
                      <a:lnTo>
                        <a:pt x="201" y="107"/>
                      </a:lnTo>
                      <a:lnTo>
                        <a:pt x="203" y="107"/>
                      </a:lnTo>
                      <a:lnTo>
                        <a:pt x="206" y="105"/>
                      </a:lnTo>
                      <a:lnTo>
                        <a:pt x="210" y="103"/>
                      </a:lnTo>
                      <a:lnTo>
                        <a:pt x="211" y="102"/>
                      </a:lnTo>
                      <a:lnTo>
                        <a:pt x="213" y="102"/>
                      </a:lnTo>
                      <a:lnTo>
                        <a:pt x="215" y="102"/>
                      </a:lnTo>
                      <a:lnTo>
                        <a:pt x="216" y="102"/>
                      </a:lnTo>
                      <a:lnTo>
                        <a:pt x="216" y="100"/>
                      </a:lnTo>
                      <a:lnTo>
                        <a:pt x="216" y="102"/>
                      </a:lnTo>
                      <a:lnTo>
                        <a:pt x="218" y="100"/>
                      </a:lnTo>
                      <a:lnTo>
                        <a:pt x="223" y="97"/>
                      </a:lnTo>
                      <a:lnTo>
                        <a:pt x="227" y="97"/>
                      </a:lnTo>
                      <a:lnTo>
                        <a:pt x="228" y="95"/>
                      </a:lnTo>
                      <a:lnTo>
                        <a:pt x="230" y="95"/>
                      </a:lnTo>
                      <a:lnTo>
                        <a:pt x="232" y="94"/>
                      </a:lnTo>
                      <a:lnTo>
                        <a:pt x="233" y="94"/>
                      </a:lnTo>
                      <a:lnTo>
                        <a:pt x="237" y="92"/>
                      </a:lnTo>
                      <a:lnTo>
                        <a:pt x="238" y="92"/>
                      </a:lnTo>
                      <a:lnTo>
                        <a:pt x="238" y="90"/>
                      </a:lnTo>
                      <a:lnTo>
                        <a:pt x="240" y="90"/>
                      </a:lnTo>
                      <a:lnTo>
                        <a:pt x="242" y="90"/>
                      </a:lnTo>
                      <a:lnTo>
                        <a:pt x="243" y="90"/>
                      </a:lnTo>
                      <a:lnTo>
                        <a:pt x="245" y="89"/>
                      </a:lnTo>
                      <a:lnTo>
                        <a:pt x="247" y="89"/>
                      </a:lnTo>
                      <a:lnTo>
                        <a:pt x="249" y="89"/>
                      </a:lnTo>
                      <a:lnTo>
                        <a:pt x="249" y="87"/>
                      </a:lnTo>
                      <a:lnTo>
                        <a:pt x="249" y="85"/>
                      </a:lnTo>
                      <a:lnTo>
                        <a:pt x="247" y="85"/>
                      </a:lnTo>
                      <a:lnTo>
                        <a:pt x="247" y="84"/>
                      </a:lnTo>
                      <a:lnTo>
                        <a:pt x="245" y="82"/>
                      </a:lnTo>
                      <a:lnTo>
                        <a:pt x="245" y="84"/>
                      </a:lnTo>
                      <a:lnTo>
                        <a:pt x="245" y="82"/>
                      </a:lnTo>
                      <a:lnTo>
                        <a:pt x="245" y="84"/>
                      </a:lnTo>
                      <a:lnTo>
                        <a:pt x="243" y="82"/>
                      </a:lnTo>
                      <a:lnTo>
                        <a:pt x="243" y="84"/>
                      </a:lnTo>
                      <a:lnTo>
                        <a:pt x="243" y="82"/>
                      </a:lnTo>
                      <a:lnTo>
                        <a:pt x="242" y="84"/>
                      </a:lnTo>
                      <a:lnTo>
                        <a:pt x="242" y="82"/>
                      </a:lnTo>
                      <a:lnTo>
                        <a:pt x="240" y="82"/>
                      </a:lnTo>
                      <a:lnTo>
                        <a:pt x="238" y="82"/>
                      </a:lnTo>
                      <a:lnTo>
                        <a:pt x="238" y="80"/>
                      </a:lnTo>
                      <a:lnTo>
                        <a:pt x="240" y="80"/>
                      </a:lnTo>
                      <a:lnTo>
                        <a:pt x="240" y="79"/>
                      </a:lnTo>
                      <a:lnTo>
                        <a:pt x="238" y="80"/>
                      </a:lnTo>
                      <a:lnTo>
                        <a:pt x="238" y="79"/>
                      </a:lnTo>
                      <a:lnTo>
                        <a:pt x="240" y="79"/>
                      </a:lnTo>
                      <a:lnTo>
                        <a:pt x="240" y="77"/>
                      </a:lnTo>
                      <a:lnTo>
                        <a:pt x="242" y="76"/>
                      </a:lnTo>
                      <a:lnTo>
                        <a:pt x="243" y="76"/>
                      </a:lnTo>
                      <a:lnTo>
                        <a:pt x="243" y="74"/>
                      </a:lnTo>
                      <a:lnTo>
                        <a:pt x="242" y="74"/>
                      </a:lnTo>
                      <a:lnTo>
                        <a:pt x="243" y="74"/>
                      </a:lnTo>
                      <a:lnTo>
                        <a:pt x="245" y="74"/>
                      </a:lnTo>
                      <a:lnTo>
                        <a:pt x="245" y="72"/>
                      </a:lnTo>
                      <a:lnTo>
                        <a:pt x="245" y="71"/>
                      </a:lnTo>
                      <a:lnTo>
                        <a:pt x="247" y="71"/>
                      </a:lnTo>
                      <a:lnTo>
                        <a:pt x="247" y="69"/>
                      </a:lnTo>
                      <a:lnTo>
                        <a:pt x="249" y="69"/>
                      </a:lnTo>
                      <a:lnTo>
                        <a:pt x="249" y="67"/>
                      </a:lnTo>
                      <a:lnTo>
                        <a:pt x="250" y="67"/>
                      </a:lnTo>
                      <a:lnTo>
                        <a:pt x="249" y="67"/>
                      </a:lnTo>
                      <a:lnTo>
                        <a:pt x="249" y="66"/>
                      </a:lnTo>
                      <a:lnTo>
                        <a:pt x="247" y="66"/>
                      </a:lnTo>
                      <a:lnTo>
                        <a:pt x="247" y="64"/>
                      </a:lnTo>
                      <a:lnTo>
                        <a:pt x="247" y="62"/>
                      </a:lnTo>
                      <a:lnTo>
                        <a:pt x="247" y="61"/>
                      </a:lnTo>
                      <a:lnTo>
                        <a:pt x="249" y="61"/>
                      </a:lnTo>
                      <a:lnTo>
                        <a:pt x="247" y="61"/>
                      </a:lnTo>
                      <a:lnTo>
                        <a:pt x="247" y="59"/>
                      </a:lnTo>
                      <a:lnTo>
                        <a:pt x="249" y="59"/>
                      </a:lnTo>
                      <a:lnTo>
                        <a:pt x="249" y="61"/>
                      </a:lnTo>
                      <a:lnTo>
                        <a:pt x="250" y="61"/>
                      </a:lnTo>
                      <a:lnTo>
                        <a:pt x="250" y="59"/>
                      </a:lnTo>
                      <a:lnTo>
                        <a:pt x="252" y="59"/>
                      </a:lnTo>
                      <a:lnTo>
                        <a:pt x="250" y="59"/>
                      </a:lnTo>
                      <a:lnTo>
                        <a:pt x="250" y="58"/>
                      </a:lnTo>
                      <a:lnTo>
                        <a:pt x="250" y="56"/>
                      </a:lnTo>
                      <a:lnTo>
                        <a:pt x="252" y="56"/>
                      </a:lnTo>
                      <a:lnTo>
                        <a:pt x="252" y="54"/>
                      </a:lnTo>
                      <a:lnTo>
                        <a:pt x="252" y="53"/>
                      </a:lnTo>
                      <a:lnTo>
                        <a:pt x="252" y="51"/>
                      </a:lnTo>
                      <a:lnTo>
                        <a:pt x="252" y="49"/>
                      </a:lnTo>
                      <a:lnTo>
                        <a:pt x="252" y="48"/>
                      </a:lnTo>
                      <a:lnTo>
                        <a:pt x="254" y="48"/>
                      </a:lnTo>
                      <a:lnTo>
                        <a:pt x="254" y="46"/>
                      </a:lnTo>
                      <a:lnTo>
                        <a:pt x="255" y="46"/>
                      </a:lnTo>
                      <a:lnTo>
                        <a:pt x="255" y="44"/>
                      </a:lnTo>
                      <a:lnTo>
                        <a:pt x="255" y="43"/>
                      </a:lnTo>
                      <a:lnTo>
                        <a:pt x="255" y="41"/>
                      </a:lnTo>
                      <a:lnTo>
                        <a:pt x="255" y="39"/>
                      </a:lnTo>
                      <a:lnTo>
                        <a:pt x="254" y="39"/>
                      </a:lnTo>
                      <a:lnTo>
                        <a:pt x="255" y="38"/>
                      </a:lnTo>
                      <a:lnTo>
                        <a:pt x="255" y="36"/>
                      </a:lnTo>
                      <a:lnTo>
                        <a:pt x="257" y="36"/>
                      </a:lnTo>
                      <a:lnTo>
                        <a:pt x="257" y="35"/>
                      </a:lnTo>
                      <a:lnTo>
                        <a:pt x="257" y="33"/>
                      </a:lnTo>
                      <a:lnTo>
                        <a:pt x="259" y="31"/>
                      </a:lnTo>
                      <a:lnTo>
                        <a:pt x="260" y="31"/>
                      </a:lnTo>
                      <a:lnTo>
                        <a:pt x="262" y="31"/>
                      </a:lnTo>
                      <a:lnTo>
                        <a:pt x="262" y="30"/>
                      </a:lnTo>
                      <a:lnTo>
                        <a:pt x="260" y="30"/>
                      </a:lnTo>
                      <a:lnTo>
                        <a:pt x="262" y="30"/>
                      </a:lnTo>
                      <a:lnTo>
                        <a:pt x="262" y="28"/>
                      </a:lnTo>
                      <a:lnTo>
                        <a:pt x="264" y="28"/>
                      </a:lnTo>
                      <a:lnTo>
                        <a:pt x="264" y="26"/>
                      </a:lnTo>
                      <a:lnTo>
                        <a:pt x="264" y="25"/>
                      </a:lnTo>
                      <a:lnTo>
                        <a:pt x="265" y="26"/>
                      </a:lnTo>
                      <a:lnTo>
                        <a:pt x="265" y="25"/>
                      </a:lnTo>
                      <a:lnTo>
                        <a:pt x="264" y="23"/>
                      </a:lnTo>
                      <a:lnTo>
                        <a:pt x="262" y="23"/>
                      </a:lnTo>
                      <a:lnTo>
                        <a:pt x="262" y="21"/>
                      </a:lnTo>
                      <a:lnTo>
                        <a:pt x="260" y="21"/>
                      </a:lnTo>
                      <a:lnTo>
                        <a:pt x="259" y="20"/>
                      </a:lnTo>
                      <a:lnTo>
                        <a:pt x="260" y="20"/>
                      </a:lnTo>
                      <a:lnTo>
                        <a:pt x="259" y="20"/>
                      </a:lnTo>
                      <a:lnTo>
                        <a:pt x="260" y="20"/>
                      </a:lnTo>
                      <a:lnTo>
                        <a:pt x="260" y="18"/>
                      </a:lnTo>
                      <a:lnTo>
                        <a:pt x="262" y="18"/>
                      </a:lnTo>
                      <a:lnTo>
                        <a:pt x="264" y="18"/>
                      </a:lnTo>
                      <a:lnTo>
                        <a:pt x="262" y="18"/>
                      </a:lnTo>
                      <a:lnTo>
                        <a:pt x="264" y="18"/>
                      </a:lnTo>
                      <a:lnTo>
                        <a:pt x="264" y="16"/>
                      </a:lnTo>
                      <a:lnTo>
                        <a:pt x="265" y="16"/>
                      </a:lnTo>
                      <a:lnTo>
                        <a:pt x="267" y="16"/>
                      </a:lnTo>
                      <a:lnTo>
                        <a:pt x="269" y="16"/>
                      </a:lnTo>
                      <a:lnTo>
                        <a:pt x="270" y="15"/>
                      </a:lnTo>
                      <a:lnTo>
                        <a:pt x="270" y="16"/>
                      </a:lnTo>
                      <a:lnTo>
                        <a:pt x="272" y="15"/>
                      </a:lnTo>
                      <a:lnTo>
                        <a:pt x="272" y="16"/>
                      </a:lnTo>
                      <a:lnTo>
                        <a:pt x="274" y="16"/>
                      </a:lnTo>
                      <a:lnTo>
                        <a:pt x="274" y="15"/>
                      </a:lnTo>
                      <a:lnTo>
                        <a:pt x="274" y="16"/>
                      </a:lnTo>
                      <a:lnTo>
                        <a:pt x="276" y="16"/>
                      </a:lnTo>
                      <a:lnTo>
                        <a:pt x="276" y="15"/>
                      </a:lnTo>
                      <a:lnTo>
                        <a:pt x="277" y="15"/>
                      </a:lnTo>
                      <a:lnTo>
                        <a:pt x="277" y="13"/>
                      </a:lnTo>
                      <a:lnTo>
                        <a:pt x="277" y="12"/>
                      </a:lnTo>
                      <a:lnTo>
                        <a:pt x="279" y="12"/>
                      </a:lnTo>
                      <a:lnTo>
                        <a:pt x="279" y="10"/>
                      </a:lnTo>
                      <a:lnTo>
                        <a:pt x="279" y="8"/>
                      </a:lnTo>
                      <a:lnTo>
                        <a:pt x="281" y="8"/>
                      </a:lnTo>
                      <a:lnTo>
                        <a:pt x="281" y="7"/>
                      </a:lnTo>
                      <a:lnTo>
                        <a:pt x="281" y="5"/>
                      </a:lnTo>
                      <a:lnTo>
                        <a:pt x="281" y="3"/>
                      </a:lnTo>
                      <a:lnTo>
                        <a:pt x="282" y="3"/>
                      </a:lnTo>
                      <a:lnTo>
                        <a:pt x="284" y="3"/>
                      </a:lnTo>
                      <a:lnTo>
                        <a:pt x="284" y="2"/>
                      </a:lnTo>
                      <a:lnTo>
                        <a:pt x="286" y="2"/>
                      </a:lnTo>
                      <a:lnTo>
                        <a:pt x="286" y="0"/>
                      </a:lnTo>
                      <a:lnTo>
                        <a:pt x="287" y="0"/>
                      </a:lnTo>
                      <a:lnTo>
                        <a:pt x="287" y="2"/>
                      </a:lnTo>
                      <a:lnTo>
                        <a:pt x="289" y="2"/>
                      </a:lnTo>
                      <a:lnTo>
                        <a:pt x="291" y="3"/>
                      </a:lnTo>
                      <a:lnTo>
                        <a:pt x="292" y="3"/>
                      </a:lnTo>
                      <a:lnTo>
                        <a:pt x="291" y="3"/>
                      </a:lnTo>
                      <a:lnTo>
                        <a:pt x="291" y="5"/>
                      </a:lnTo>
                      <a:lnTo>
                        <a:pt x="292" y="3"/>
                      </a:lnTo>
                      <a:lnTo>
                        <a:pt x="292" y="5"/>
                      </a:lnTo>
                      <a:lnTo>
                        <a:pt x="294" y="3"/>
                      </a:lnTo>
                      <a:lnTo>
                        <a:pt x="296" y="3"/>
                      </a:lnTo>
                      <a:lnTo>
                        <a:pt x="296" y="5"/>
                      </a:lnTo>
                      <a:lnTo>
                        <a:pt x="298" y="5"/>
                      </a:lnTo>
                      <a:lnTo>
                        <a:pt x="299" y="5"/>
                      </a:lnTo>
                      <a:lnTo>
                        <a:pt x="298" y="7"/>
                      </a:lnTo>
                      <a:lnTo>
                        <a:pt x="299" y="7"/>
                      </a:lnTo>
                      <a:lnTo>
                        <a:pt x="298" y="7"/>
                      </a:lnTo>
                      <a:lnTo>
                        <a:pt x="299" y="7"/>
                      </a:lnTo>
                      <a:lnTo>
                        <a:pt x="298" y="8"/>
                      </a:lnTo>
                      <a:lnTo>
                        <a:pt x="299" y="8"/>
                      </a:lnTo>
                      <a:lnTo>
                        <a:pt x="298" y="8"/>
                      </a:lnTo>
                      <a:lnTo>
                        <a:pt x="298" y="10"/>
                      </a:lnTo>
                      <a:lnTo>
                        <a:pt x="299" y="10"/>
                      </a:lnTo>
                      <a:lnTo>
                        <a:pt x="298" y="10"/>
                      </a:lnTo>
                      <a:lnTo>
                        <a:pt x="299" y="10"/>
                      </a:lnTo>
                      <a:lnTo>
                        <a:pt x="298" y="10"/>
                      </a:lnTo>
                      <a:lnTo>
                        <a:pt x="298" y="12"/>
                      </a:lnTo>
                      <a:lnTo>
                        <a:pt x="296" y="12"/>
                      </a:lnTo>
                      <a:lnTo>
                        <a:pt x="296" y="13"/>
                      </a:lnTo>
                      <a:lnTo>
                        <a:pt x="294" y="13"/>
                      </a:lnTo>
                      <a:lnTo>
                        <a:pt x="294" y="15"/>
                      </a:lnTo>
                      <a:lnTo>
                        <a:pt x="292" y="15"/>
                      </a:lnTo>
                      <a:lnTo>
                        <a:pt x="292" y="16"/>
                      </a:lnTo>
                      <a:lnTo>
                        <a:pt x="291" y="16"/>
                      </a:lnTo>
                      <a:lnTo>
                        <a:pt x="292" y="18"/>
                      </a:lnTo>
                      <a:lnTo>
                        <a:pt x="294" y="18"/>
                      </a:lnTo>
                      <a:lnTo>
                        <a:pt x="294" y="20"/>
                      </a:lnTo>
                      <a:lnTo>
                        <a:pt x="292" y="20"/>
                      </a:lnTo>
                      <a:lnTo>
                        <a:pt x="292" y="21"/>
                      </a:lnTo>
                      <a:lnTo>
                        <a:pt x="292" y="23"/>
                      </a:lnTo>
                      <a:lnTo>
                        <a:pt x="291" y="23"/>
                      </a:lnTo>
                      <a:lnTo>
                        <a:pt x="291" y="25"/>
                      </a:lnTo>
                      <a:lnTo>
                        <a:pt x="291" y="26"/>
                      </a:lnTo>
                      <a:lnTo>
                        <a:pt x="289" y="26"/>
                      </a:lnTo>
                      <a:lnTo>
                        <a:pt x="289" y="28"/>
                      </a:lnTo>
                      <a:lnTo>
                        <a:pt x="287" y="28"/>
                      </a:lnTo>
                      <a:lnTo>
                        <a:pt x="289" y="28"/>
                      </a:lnTo>
                      <a:lnTo>
                        <a:pt x="287" y="28"/>
                      </a:lnTo>
                      <a:lnTo>
                        <a:pt x="287" y="30"/>
                      </a:lnTo>
                      <a:lnTo>
                        <a:pt x="289" y="28"/>
                      </a:lnTo>
                      <a:lnTo>
                        <a:pt x="289" y="30"/>
                      </a:lnTo>
                      <a:lnTo>
                        <a:pt x="289" y="31"/>
                      </a:lnTo>
                      <a:lnTo>
                        <a:pt x="291" y="31"/>
                      </a:lnTo>
                      <a:lnTo>
                        <a:pt x="291" y="33"/>
                      </a:lnTo>
                      <a:lnTo>
                        <a:pt x="289" y="33"/>
                      </a:lnTo>
                      <a:lnTo>
                        <a:pt x="291" y="33"/>
                      </a:lnTo>
                      <a:lnTo>
                        <a:pt x="292" y="33"/>
                      </a:lnTo>
                      <a:lnTo>
                        <a:pt x="292" y="35"/>
                      </a:lnTo>
                      <a:lnTo>
                        <a:pt x="292" y="36"/>
                      </a:lnTo>
                      <a:lnTo>
                        <a:pt x="294" y="36"/>
                      </a:lnTo>
                      <a:lnTo>
                        <a:pt x="296" y="36"/>
                      </a:lnTo>
                      <a:lnTo>
                        <a:pt x="296" y="38"/>
                      </a:lnTo>
                      <a:lnTo>
                        <a:pt x="296" y="39"/>
                      </a:lnTo>
                      <a:lnTo>
                        <a:pt x="298" y="38"/>
                      </a:lnTo>
                      <a:lnTo>
                        <a:pt x="299" y="38"/>
                      </a:lnTo>
                      <a:lnTo>
                        <a:pt x="299" y="39"/>
                      </a:lnTo>
                      <a:lnTo>
                        <a:pt x="301" y="39"/>
                      </a:lnTo>
                      <a:lnTo>
                        <a:pt x="299" y="41"/>
                      </a:lnTo>
                      <a:lnTo>
                        <a:pt x="301" y="41"/>
                      </a:lnTo>
                      <a:lnTo>
                        <a:pt x="299" y="43"/>
                      </a:lnTo>
                      <a:lnTo>
                        <a:pt x="301" y="43"/>
                      </a:lnTo>
                      <a:lnTo>
                        <a:pt x="303" y="43"/>
                      </a:lnTo>
                      <a:lnTo>
                        <a:pt x="303" y="44"/>
                      </a:lnTo>
                      <a:lnTo>
                        <a:pt x="304" y="46"/>
                      </a:lnTo>
                      <a:lnTo>
                        <a:pt x="306" y="44"/>
                      </a:lnTo>
                      <a:lnTo>
                        <a:pt x="308" y="44"/>
                      </a:lnTo>
                      <a:lnTo>
                        <a:pt x="308" y="46"/>
                      </a:lnTo>
                      <a:lnTo>
                        <a:pt x="309" y="46"/>
                      </a:lnTo>
                      <a:lnTo>
                        <a:pt x="308" y="46"/>
                      </a:lnTo>
                      <a:lnTo>
                        <a:pt x="309" y="46"/>
                      </a:lnTo>
                      <a:lnTo>
                        <a:pt x="309" y="48"/>
                      </a:lnTo>
                      <a:lnTo>
                        <a:pt x="311" y="48"/>
                      </a:lnTo>
                      <a:lnTo>
                        <a:pt x="311" y="49"/>
                      </a:lnTo>
                      <a:lnTo>
                        <a:pt x="313" y="51"/>
                      </a:lnTo>
                      <a:lnTo>
                        <a:pt x="314" y="51"/>
                      </a:lnTo>
                      <a:lnTo>
                        <a:pt x="316" y="49"/>
                      </a:lnTo>
                      <a:lnTo>
                        <a:pt x="318" y="48"/>
                      </a:lnTo>
                      <a:lnTo>
                        <a:pt x="319" y="48"/>
                      </a:lnTo>
                      <a:lnTo>
                        <a:pt x="319" y="46"/>
                      </a:lnTo>
                      <a:lnTo>
                        <a:pt x="321" y="46"/>
                      </a:lnTo>
                      <a:lnTo>
                        <a:pt x="321" y="44"/>
                      </a:lnTo>
                      <a:lnTo>
                        <a:pt x="323" y="44"/>
                      </a:lnTo>
                      <a:lnTo>
                        <a:pt x="325" y="43"/>
                      </a:lnTo>
                      <a:lnTo>
                        <a:pt x="325" y="41"/>
                      </a:lnTo>
                      <a:close/>
                      <a:moveTo>
                        <a:pt x="34" y="210"/>
                      </a:moveTo>
                      <a:lnTo>
                        <a:pt x="36" y="210"/>
                      </a:lnTo>
                      <a:lnTo>
                        <a:pt x="34" y="210"/>
                      </a:lnTo>
                      <a:close/>
                      <a:moveTo>
                        <a:pt x="31" y="214"/>
                      </a:moveTo>
                      <a:lnTo>
                        <a:pt x="31" y="212"/>
                      </a:lnTo>
                      <a:lnTo>
                        <a:pt x="32" y="212"/>
                      </a:lnTo>
                      <a:lnTo>
                        <a:pt x="31" y="212"/>
                      </a:lnTo>
                      <a:lnTo>
                        <a:pt x="31" y="214"/>
                      </a:lnTo>
                      <a:close/>
                      <a:moveTo>
                        <a:pt x="26" y="212"/>
                      </a:moveTo>
                      <a:lnTo>
                        <a:pt x="27" y="212"/>
                      </a:lnTo>
                      <a:lnTo>
                        <a:pt x="26" y="212"/>
                      </a:lnTo>
                      <a:close/>
                      <a:moveTo>
                        <a:pt x="22" y="214"/>
                      </a:moveTo>
                      <a:lnTo>
                        <a:pt x="24" y="214"/>
                      </a:lnTo>
                      <a:lnTo>
                        <a:pt x="22" y="214"/>
                      </a:lnTo>
                      <a:close/>
                      <a:moveTo>
                        <a:pt x="21" y="217"/>
                      </a:moveTo>
                      <a:lnTo>
                        <a:pt x="19" y="217"/>
                      </a:lnTo>
                      <a:lnTo>
                        <a:pt x="21" y="217"/>
                      </a:lnTo>
                      <a:close/>
                      <a:moveTo>
                        <a:pt x="21" y="218"/>
                      </a:moveTo>
                      <a:lnTo>
                        <a:pt x="19" y="218"/>
                      </a:lnTo>
                      <a:lnTo>
                        <a:pt x="21" y="218"/>
                      </a:lnTo>
                      <a:close/>
                      <a:moveTo>
                        <a:pt x="19" y="222"/>
                      </a:moveTo>
                      <a:lnTo>
                        <a:pt x="19" y="220"/>
                      </a:lnTo>
                      <a:lnTo>
                        <a:pt x="19" y="222"/>
                      </a:lnTo>
                      <a:close/>
                      <a:moveTo>
                        <a:pt x="29" y="225"/>
                      </a:moveTo>
                      <a:lnTo>
                        <a:pt x="29" y="223"/>
                      </a:lnTo>
                      <a:lnTo>
                        <a:pt x="31" y="223"/>
                      </a:lnTo>
                      <a:lnTo>
                        <a:pt x="29" y="225"/>
                      </a:lnTo>
                      <a:close/>
                      <a:moveTo>
                        <a:pt x="26" y="227"/>
                      </a:moveTo>
                      <a:lnTo>
                        <a:pt x="27" y="227"/>
                      </a:lnTo>
                      <a:lnTo>
                        <a:pt x="27" y="225"/>
                      </a:lnTo>
                      <a:lnTo>
                        <a:pt x="29" y="225"/>
                      </a:lnTo>
                      <a:lnTo>
                        <a:pt x="29" y="227"/>
                      </a:lnTo>
                      <a:lnTo>
                        <a:pt x="27" y="227"/>
                      </a:lnTo>
                      <a:lnTo>
                        <a:pt x="26" y="227"/>
                      </a:lnTo>
                      <a:close/>
                      <a:moveTo>
                        <a:pt x="31" y="227"/>
                      </a:moveTo>
                      <a:lnTo>
                        <a:pt x="32" y="227"/>
                      </a:lnTo>
                      <a:lnTo>
                        <a:pt x="31" y="227"/>
                      </a:lnTo>
                      <a:close/>
                      <a:moveTo>
                        <a:pt x="22" y="228"/>
                      </a:moveTo>
                      <a:lnTo>
                        <a:pt x="24" y="228"/>
                      </a:lnTo>
                      <a:lnTo>
                        <a:pt x="24" y="227"/>
                      </a:lnTo>
                      <a:lnTo>
                        <a:pt x="24" y="228"/>
                      </a:lnTo>
                      <a:lnTo>
                        <a:pt x="22" y="228"/>
                      </a:lnTo>
                      <a:close/>
                      <a:moveTo>
                        <a:pt x="31" y="240"/>
                      </a:moveTo>
                      <a:lnTo>
                        <a:pt x="31" y="238"/>
                      </a:lnTo>
                      <a:lnTo>
                        <a:pt x="31" y="240"/>
                      </a:lnTo>
                      <a:close/>
                      <a:moveTo>
                        <a:pt x="53" y="200"/>
                      </a:moveTo>
                      <a:lnTo>
                        <a:pt x="54" y="200"/>
                      </a:lnTo>
                      <a:lnTo>
                        <a:pt x="53" y="200"/>
                      </a:lnTo>
                      <a:close/>
                      <a:moveTo>
                        <a:pt x="51" y="202"/>
                      </a:moveTo>
                      <a:lnTo>
                        <a:pt x="51" y="200"/>
                      </a:lnTo>
                      <a:lnTo>
                        <a:pt x="53" y="200"/>
                      </a:lnTo>
                      <a:lnTo>
                        <a:pt x="51" y="202"/>
                      </a:lnTo>
                      <a:close/>
                      <a:moveTo>
                        <a:pt x="49" y="202"/>
                      </a:moveTo>
                      <a:lnTo>
                        <a:pt x="49" y="200"/>
                      </a:lnTo>
                      <a:lnTo>
                        <a:pt x="49" y="202"/>
                      </a:lnTo>
                      <a:close/>
                      <a:moveTo>
                        <a:pt x="46" y="202"/>
                      </a:moveTo>
                      <a:lnTo>
                        <a:pt x="44" y="202"/>
                      </a:lnTo>
                      <a:lnTo>
                        <a:pt x="46" y="202"/>
                      </a:lnTo>
                      <a:close/>
                      <a:moveTo>
                        <a:pt x="46" y="204"/>
                      </a:moveTo>
                      <a:lnTo>
                        <a:pt x="46" y="202"/>
                      </a:lnTo>
                      <a:lnTo>
                        <a:pt x="46" y="204"/>
                      </a:lnTo>
                      <a:close/>
                      <a:moveTo>
                        <a:pt x="54" y="202"/>
                      </a:moveTo>
                      <a:lnTo>
                        <a:pt x="54" y="204"/>
                      </a:lnTo>
                      <a:lnTo>
                        <a:pt x="54" y="202"/>
                      </a:lnTo>
                      <a:close/>
                      <a:moveTo>
                        <a:pt x="51" y="205"/>
                      </a:moveTo>
                      <a:lnTo>
                        <a:pt x="51" y="204"/>
                      </a:lnTo>
                      <a:lnTo>
                        <a:pt x="51" y="205"/>
                      </a:lnTo>
                      <a:close/>
                      <a:moveTo>
                        <a:pt x="53" y="205"/>
                      </a:moveTo>
                      <a:lnTo>
                        <a:pt x="51" y="205"/>
                      </a:lnTo>
                      <a:lnTo>
                        <a:pt x="53" y="204"/>
                      </a:lnTo>
                      <a:lnTo>
                        <a:pt x="53" y="205"/>
                      </a:lnTo>
                      <a:close/>
                      <a:moveTo>
                        <a:pt x="46" y="205"/>
                      </a:moveTo>
                      <a:lnTo>
                        <a:pt x="46" y="204"/>
                      </a:lnTo>
                      <a:lnTo>
                        <a:pt x="46" y="205"/>
                      </a:lnTo>
                      <a:close/>
                      <a:moveTo>
                        <a:pt x="44" y="205"/>
                      </a:moveTo>
                      <a:lnTo>
                        <a:pt x="46" y="205"/>
                      </a:lnTo>
                      <a:lnTo>
                        <a:pt x="44" y="205"/>
                      </a:lnTo>
                      <a:close/>
                      <a:moveTo>
                        <a:pt x="46" y="207"/>
                      </a:moveTo>
                      <a:lnTo>
                        <a:pt x="46" y="205"/>
                      </a:lnTo>
                      <a:lnTo>
                        <a:pt x="46" y="207"/>
                      </a:lnTo>
                      <a:close/>
                      <a:moveTo>
                        <a:pt x="58" y="209"/>
                      </a:moveTo>
                      <a:lnTo>
                        <a:pt x="56" y="209"/>
                      </a:lnTo>
                      <a:lnTo>
                        <a:pt x="58" y="209"/>
                      </a:lnTo>
                      <a:close/>
                      <a:moveTo>
                        <a:pt x="46" y="210"/>
                      </a:moveTo>
                      <a:lnTo>
                        <a:pt x="46" y="209"/>
                      </a:lnTo>
                      <a:lnTo>
                        <a:pt x="46" y="210"/>
                      </a:lnTo>
                      <a:close/>
                      <a:moveTo>
                        <a:pt x="41" y="210"/>
                      </a:moveTo>
                      <a:lnTo>
                        <a:pt x="42" y="210"/>
                      </a:lnTo>
                      <a:lnTo>
                        <a:pt x="42" y="209"/>
                      </a:lnTo>
                      <a:lnTo>
                        <a:pt x="42" y="210"/>
                      </a:lnTo>
                      <a:lnTo>
                        <a:pt x="41" y="210"/>
                      </a:lnTo>
                      <a:close/>
                      <a:moveTo>
                        <a:pt x="49" y="214"/>
                      </a:moveTo>
                      <a:lnTo>
                        <a:pt x="51" y="214"/>
                      </a:lnTo>
                      <a:lnTo>
                        <a:pt x="51" y="212"/>
                      </a:lnTo>
                      <a:lnTo>
                        <a:pt x="49" y="212"/>
                      </a:lnTo>
                      <a:lnTo>
                        <a:pt x="49" y="210"/>
                      </a:lnTo>
                      <a:lnTo>
                        <a:pt x="48" y="210"/>
                      </a:lnTo>
                      <a:lnTo>
                        <a:pt x="49" y="210"/>
                      </a:lnTo>
                      <a:lnTo>
                        <a:pt x="51" y="210"/>
                      </a:lnTo>
                      <a:lnTo>
                        <a:pt x="51" y="212"/>
                      </a:lnTo>
                      <a:lnTo>
                        <a:pt x="51" y="214"/>
                      </a:lnTo>
                      <a:lnTo>
                        <a:pt x="51" y="212"/>
                      </a:lnTo>
                      <a:lnTo>
                        <a:pt x="51" y="214"/>
                      </a:lnTo>
                      <a:lnTo>
                        <a:pt x="49" y="214"/>
                      </a:lnTo>
                      <a:close/>
                      <a:moveTo>
                        <a:pt x="46" y="210"/>
                      </a:moveTo>
                      <a:lnTo>
                        <a:pt x="44" y="210"/>
                      </a:lnTo>
                      <a:lnTo>
                        <a:pt x="46" y="210"/>
                      </a:lnTo>
                      <a:close/>
                      <a:moveTo>
                        <a:pt x="51" y="210"/>
                      </a:moveTo>
                      <a:lnTo>
                        <a:pt x="53" y="210"/>
                      </a:lnTo>
                      <a:lnTo>
                        <a:pt x="51" y="210"/>
                      </a:lnTo>
                      <a:close/>
                      <a:moveTo>
                        <a:pt x="46" y="210"/>
                      </a:moveTo>
                      <a:lnTo>
                        <a:pt x="48" y="210"/>
                      </a:lnTo>
                      <a:lnTo>
                        <a:pt x="46" y="210"/>
                      </a:lnTo>
                      <a:close/>
                      <a:moveTo>
                        <a:pt x="37" y="212"/>
                      </a:moveTo>
                      <a:lnTo>
                        <a:pt x="37" y="210"/>
                      </a:lnTo>
                      <a:lnTo>
                        <a:pt x="37" y="212"/>
                      </a:lnTo>
                      <a:lnTo>
                        <a:pt x="37" y="210"/>
                      </a:lnTo>
                      <a:lnTo>
                        <a:pt x="39" y="210"/>
                      </a:lnTo>
                      <a:lnTo>
                        <a:pt x="37" y="210"/>
                      </a:lnTo>
                      <a:lnTo>
                        <a:pt x="37" y="212"/>
                      </a:lnTo>
                      <a:lnTo>
                        <a:pt x="36" y="212"/>
                      </a:lnTo>
                      <a:lnTo>
                        <a:pt x="37" y="212"/>
                      </a:lnTo>
                      <a:lnTo>
                        <a:pt x="36" y="212"/>
                      </a:lnTo>
                      <a:lnTo>
                        <a:pt x="37" y="212"/>
                      </a:lnTo>
                      <a:close/>
                      <a:moveTo>
                        <a:pt x="44" y="212"/>
                      </a:moveTo>
                      <a:lnTo>
                        <a:pt x="46" y="212"/>
                      </a:lnTo>
                      <a:lnTo>
                        <a:pt x="44" y="212"/>
                      </a:lnTo>
                      <a:close/>
                      <a:moveTo>
                        <a:pt x="48" y="214"/>
                      </a:moveTo>
                      <a:lnTo>
                        <a:pt x="46" y="214"/>
                      </a:lnTo>
                      <a:lnTo>
                        <a:pt x="48" y="214"/>
                      </a:lnTo>
                      <a:close/>
                      <a:moveTo>
                        <a:pt x="61" y="214"/>
                      </a:moveTo>
                      <a:lnTo>
                        <a:pt x="59" y="214"/>
                      </a:lnTo>
                      <a:lnTo>
                        <a:pt x="61" y="214"/>
                      </a:lnTo>
                      <a:close/>
                      <a:moveTo>
                        <a:pt x="61" y="215"/>
                      </a:moveTo>
                      <a:lnTo>
                        <a:pt x="61" y="214"/>
                      </a:lnTo>
                      <a:lnTo>
                        <a:pt x="63" y="214"/>
                      </a:lnTo>
                      <a:lnTo>
                        <a:pt x="61" y="215"/>
                      </a:lnTo>
                      <a:close/>
                      <a:moveTo>
                        <a:pt x="53" y="215"/>
                      </a:moveTo>
                      <a:lnTo>
                        <a:pt x="53" y="214"/>
                      </a:lnTo>
                      <a:lnTo>
                        <a:pt x="53" y="215"/>
                      </a:lnTo>
                      <a:close/>
                      <a:moveTo>
                        <a:pt x="61" y="217"/>
                      </a:moveTo>
                      <a:lnTo>
                        <a:pt x="61" y="215"/>
                      </a:lnTo>
                      <a:lnTo>
                        <a:pt x="59" y="217"/>
                      </a:lnTo>
                      <a:lnTo>
                        <a:pt x="59" y="215"/>
                      </a:lnTo>
                      <a:lnTo>
                        <a:pt x="61" y="215"/>
                      </a:lnTo>
                      <a:lnTo>
                        <a:pt x="63" y="215"/>
                      </a:lnTo>
                      <a:lnTo>
                        <a:pt x="61" y="215"/>
                      </a:lnTo>
                      <a:lnTo>
                        <a:pt x="63" y="215"/>
                      </a:lnTo>
                      <a:lnTo>
                        <a:pt x="64" y="215"/>
                      </a:lnTo>
                      <a:lnTo>
                        <a:pt x="66" y="215"/>
                      </a:lnTo>
                      <a:lnTo>
                        <a:pt x="66" y="217"/>
                      </a:lnTo>
                      <a:lnTo>
                        <a:pt x="64" y="217"/>
                      </a:lnTo>
                      <a:lnTo>
                        <a:pt x="63" y="217"/>
                      </a:lnTo>
                      <a:lnTo>
                        <a:pt x="64" y="217"/>
                      </a:lnTo>
                      <a:lnTo>
                        <a:pt x="64" y="218"/>
                      </a:lnTo>
                      <a:lnTo>
                        <a:pt x="66" y="218"/>
                      </a:lnTo>
                      <a:lnTo>
                        <a:pt x="68" y="217"/>
                      </a:lnTo>
                      <a:lnTo>
                        <a:pt x="68" y="218"/>
                      </a:lnTo>
                      <a:lnTo>
                        <a:pt x="68" y="220"/>
                      </a:lnTo>
                      <a:lnTo>
                        <a:pt x="70" y="220"/>
                      </a:lnTo>
                      <a:lnTo>
                        <a:pt x="70" y="218"/>
                      </a:lnTo>
                      <a:lnTo>
                        <a:pt x="71" y="218"/>
                      </a:lnTo>
                      <a:lnTo>
                        <a:pt x="73" y="218"/>
                      </a:lnTo>
                      <a:lnTo>
                        <a:pt x="71" y="218"/>
                      </a:lnTo>
                      <a:lnTo>
                        <a:pt x="71" y="220"/>
                      </a:lnTo>
                      <a:lnTo>
                        <a:pt x="71" y="222"/>
                      </a:lnTo>
                      <a:lnTo>
                        <a:pt x="73" y="222"/>
                      </a:lnTo>
                      <a:lnTo>
                        <a:pt x="73" y="220"/>
                      </a:lnTo>
                      <a:lnTo>
                        <a:pt x="73" y="222"/>
                      </a:lnTo>
                      <a:lnTo>
                        <a:pt x="75" y="222"/>
                      </a:lnTo>
                      <a:lnTo>
                        <a:pt x="76" y="222"/>
                      </a:lnTo>
                      <a:lnTo>
                        <a:pt x="75" y="222"/>
                      </a:lnTo>
                      <a:lnTo>
                        <a:pt x="75" y="223"/>
                      </a:lnTo>
                      <a:lnTo>
                        <a:pt x="73" y="223"/>
                      </a:lnTo>
                      <a:lnTo>
                        <a:pt x="71" y="223"/>
                      </a:lnTo>
                      <a:lnTo>
                        <a:pt x="73" y="223"/>
                      </a:lnTo>
                      <a:lnTo>
                        <a:pt x="71" y="222"/>
                      </a:lnTo>
                      <a:lnTo>
                        <a:pt x="70" y="222"/>
                      </a:lnTo>
                      <a:lnTo>
                        <a:pt x="70" y="223"/>
                      </a:lnTo>
                      <a:lnTo>
                        <a:pt x="68" y="223"/>
                      </a:lnTo>
                      <a:lnTo>
                        <a:pt x="66" y="223"/>
                      </a:lnTo>
                      <a:lnTo>
                        <a:pt x="66" y="225"/>
                      </a:lnTo>
                      <a:lnTo>
                        <a:pt x="64" y="225"/>
                      </a:lnTo>
                      <a:lnTo>
                        <a:pt x="63" y="225"/>
                      </a:lnTo>
                      <a:lnTo>
                        <a:pt x="61" y="225"/>
                      </a:lnTo>
                      <a:lnTo>
                        <a:pt x="59" y="225"/>
                      </a:lnTo>
                      <a:lnTo>
                        <a:pt x="61" y="225"/>
                      </a:lnTo>
                      <a:lnTo>
                        <a:pt x="59" y="225"/>
                      </a:lnTo>
                      <a:lnTo>
                        <a:pt x="59" y="223"/>
                      </a:lnTo>
                      <a:lnTo>
                        <a:pt x="59" y="225"/>
                      </a:lnTo>
                      <a:lnTo>
                        <a:pt x="58" y="225"/>
                      </a:lnTo>
                      <a:lnTo>
                        <a:pt x="59" y="225"/>
                      </a:lnTo>
                      <a:lnTo>
                        <a:pt x="59" y="223"/>
                      </a:lnTo>
                      <a:lnTo>
                        <a:pt x="58" y="223"/>
                      </a:lnTo>
                      <a:lnTo>
                        <a:pt x="56" y="223"/>
                      </a:lnTo>
                      <a:lnTo>
                        <a:pt x="54" y="223"/>
                      </a:lnTo>
                      <a:lnTo>
                        <a:pt x="54" y="225"/>
                      </a:lnTo>
                      <a:lnTo>
                        <a:pt x="53" y="225"/>
                      </a:lnTo>
                      <a:lnTo>
                        <a:pt x="53" y="227"/>
                      </a:lnTo>
                      <a:lnTo>
                        <a:pt x="51" y="228"/>
                      </a:lnTo>
                      <a:lnTo>
                        <a:pt x="51" y="227"/>
                      </a:lnTo>
                      <a:lnTo>
                        <a:pt x="53" y="227"/>
                      </a:lnTo>
                      <a:lnTo>
                        <a:pt x="51" y="227"/>
                      </a:lnTo>
                      <a:lnTo>
                        <a:pt x="51" y="225"/>
                      </a:lnTo>
                      <a:lnTo>
                        <a:pt x="53" y="225"/>
                      </a:lnTo>
                      <a:lnTo>
                        <a:pt x="53" y="223"/>
                      </a:lnTo>
                      <a:lnTo>
                        <a:pt x="51" y="223"/>
                      </a:lnTo>
                      <a:lnTo>
                        <a:pt x="53" y="223"/>
                      </a:lnTo>
                      <a:lnTo>
                        <a:pt x="51" y="223"/>
                      </a:lnTo>
                      <a:lnTo>
                        <a:pt x="51" y="225"/>
                      </a:lnTo>
                      <a:lnTo>
                        <a:pt x="49" y="223"/>
                      </a:lnTo>
                      <a:lnTo>
                        <a:pt x="48" y="223"/>
                      </a:lnTo>
                      <a:lnTo>
                        <a:pt x="48" y="222"/>
                      </a:lnTo>
                      <a:lnTo>
                        <a:pt x="49" y="222"/>
                      </a:lnTo>
                      <a:lnTo>
                        <a:pt x="51" y="222"/>
                      </a:lnTo>
                      <a:lnTo>
                        <a:pt x="53" y="220"/>
                      </a:lnTo>
                      <a:lnTo>
                        <a:pt x="53" y="222"/>
                      </a:lnTo>
                      <a:lnTo>
                        <a:pt x="54" y="220"/>
                      </a:lnTo>
                      <a:lnTo>
                        <a:pt x="53" y="220"/>
                      </a:lnTo>
                      <a:lnTo>
                        <a:pt x="54" y="220"/>
                      </a:lnTo>
                      <a:lnTo>
                        <a:pt x="54" y="218"/>
                      </a:lnTo>
                      <a:lnTo>
                        <a:pt x="54" y="220"/>
                      </a:lnTo>
                      <a:lnTo>
                        <a:pt x="54" y="218"/>
                      </a:lnTo>
                      <a:lnTo>
                        <a:pt x="56" y="217"/>
                      </a:lnTo>
                      <a:lnTo>
                        <a:pt x="56" y="218"/>
                      </a:lnTo>
                      <a:lnTo>
                        <a:pt x="56" y="220"/>
                      </a:lnTo>
                      <a:lnTo>
                        <a:pt x="58" y="218"/>
                      </a:lnTo>
                      <a:lnTo>
                        <a:pt x="58" y="220"/>
                      </a:lnTo>
                      <a:lnTo>
                        <a:pt x="58" y="218"/>
                      </a:lnTo>
                      <a:lnTo>
                        <a:pt x="58" y="217"/>
                      </a:lnTo>
                      <a:lnTo>
                        <a:pt x="59" y="217"/>
                      </a:lnTo>
                      <a:lnTo>
                        <a:pt x="61" y="217"/>
                      </a:lnTo>
                      <a:close/>
                      <a:moveTo>
                        <a:pt x="73" y="220"/>
                      </a:moveTo>
                      <a:lnTo>
                        <a:pt x="75" y="220"/>
                      </a:lnTo>
                      <a:lnTo>
                        <a:pt x="73" y="220"/>
                      </a:lnTo>
                      <a:close/>
                      <a:moveTo>
                        <a:pt x="49" y="227"/>
                      </a:moveTo>
                      <a:lnTo>
                        <a:pt x="51" y="227"/>
                      </a:lnTo>
                      <a:lnTo>
                        <a:pt x="49" y="227"/>
                      </a:lnTo>
                      <a:close/>
                      <a:moveTo>
                        <a:pt x="70" y="228"/>
                      </a:moveTo>
                      <a:lnTo>
                        <a:pt x="68" y="227"/>
                      </a:lnTo>
                      <a:lnTo>
                        <a:pt x="70" y="227"/>
                      </a:lnTo>
                      <a:lnTo>
                        <a:pt x="70" y="228"/>
                      </a:lnTo>
                      <a:close/>
                      <a:moveTo>
                        <a:pt x="282" y="194"/>
                      </a:moveTo>
                      <a:lnTo>
                        <a:pt x="282" y="192"/>
                      </a:lnTo>
                      <a:lnTo>
                        <a:pt x="282" y="194"/>
                      </a:lnTo>
                      <a:close/>
                      <a:moveTo>
                        <a:pt x="279" y="195"/>
                      </a:moveTo>
                      <a:lnTo>
                        <a:pt x="277" y="195"/>
                      </a:lnTo>
                      <a:lnTo>
                        <a:pt x="279" y="194"/>
                      </a:lnTo>
                      <a:lnTo>
                        <a:pt x="279" y="195"/>
                      </a:lnTo>
                      <a:close/>
                      <a:moveTo>
                        <a:pt x="115" y="212"/>
                      </a:moveTo>
                      <a:lnTo>
                        <a:pt x="113" y="212"/>
                      </a:lnTo>
                      <a:lnTo>
                        <a:pt x="108" y="212"/>
                      </a:lnTo>
                      <a:lnTo>
                        <a:pt x="105" y="212"/>
                      </a:lnTo>
                      <a:lnTo>
                        <a:pt x="102" y="214"/>
                      </a:lnTo>
                      <a:lnTo>
                        <a:pt x="98" y="214"/>
                      </a:lnTo>
                      <a:lnTo>
                        <a:pt x="95" y="214"/>
                      </a:lnTo>
                      <a:lnTo>
                        <a:pt x="88" y="215"/>
                      </a:lnTo>
                      <a:lnTo>
                        <a:pt x="86" y="215"/>
                      </a:lnTo>
                      <a:lnTo>
                        <a:pt x="85" y="217"/>
                      </a:lnTo>
                      <a:lnTo>
                        <a:pt x="85" y="215"/>
                      </a:lnTo>
                      <a:lnTo>
                        <a:pt x="83" y="215"/>
                      </a:lnTo>
                      <a:lnTo>
                        <a:pt x="83" y="214"/>
                      </a:lnTo>
                      <a:lnTo>
                        <a:pt x="85" y="214"/>
                      </a:lnTo>
                      <a:lnTo>
                        <a:pt x="85" y="212"/>
                      </a:lnTo>
                      <a:lnTo>
                        <a:pt x="86" y="212"/>
                      </a:lnTo>
                      <a:lnTo>
                        <a:pt x="86" y="210"/>
                      </a:lnTo>
                      <a:lnTo>
                        <a:pt x="88" y="210"/>
                      </a:lnTo>
                      <a:lnTo>
                        <a:pt x="90" y="212"/>
                      </a:lnTo>
                      <a:lnTo>
                        <a:pt x="91" y="212"/>
                      </a:lnTo>
                      <a:lnTo>
                        <a:pt x="93" y="212"/>
                      </a:lnTo>
                      <a:lnTo>
                        <a:pt x="93" y="214"/>
                      </a:lnTo>
                      <a:lnTo>
                        <a:pt x="95" y="214"/>
                      </a:lnTo>
                      <a:lnTo>
                        <a:pt x="95" y="212"/>
                      </a:lnTo>
                      <a:lnTo>
                        <a:pt x="97" y="212"/>
                      </a:lnTo>
                      <a:lnTo>
                        <a:pt x="95" y="210"/>
                      </a:lnTo>
                      <a:lnTo>
                        <a:pt x="93" y="209"/>
                      </a:lnTo>
                      <a:lnTo>
                        <a:pt x="95" y="210"/>
                      </a:lnTo>
                      <a:lnTo>
                        <a:pt x="98" y="212"/>
                      </a:lnTo>
                      <a:lnTo>
                        <a:pt x="100" y="212"/>
                      </a:lnTo>
                      <a:lnTo>
                        <a:pt x="102" y="212"/>
                      </a:lnTo>
                      <a:lnTo>
                        <a:pt x="103" y="212"/>
                      </a:lnTo>
                      <a:lnTo>
                        <a:pt x="110" y="212"/>
                      </a:lnTo>
                      <a:lnTo>
                        <a:pt x="112" y="212"/>
                      </a:lnTo>
                      <a:lnTo>
                        <a:pt x="115" y="210"/>
                      </a:lnTo>
                      <a:lnTo>
                        <a:pt x="115" y="209"/>
                      </a:lnTo>
                      <a:lnTo>
                        <a:pt x="113" y="209"/>
                      </a:lnTo>
                      <a:lnTo>
                        <a:pt x="110" y="207"/>
                      </a:lnTo>
                      <a:lnTo>
                        <a:pt x="108" y="207"/>
                      </a:lnTo>
                      <a:lnTo>
                        <a:pt x="108" y="205"/>
                      </a:lnTo>
                      <a:lnTo>
                        <a:pt x="107" y="204"/>
                      </a:lnTo>
                      <a:lnTo>
                        <a:pt x="105" y="202"/>
                      </a:lnTo>
                      <a:lnTo>
                        <a:pt x="103" y="200"/>
                      </a:lnTo>
                      <a:lnTo>
                        <a:pt x="103" y="199"/>
                      </a:lnTo>
                      <a:lnTo>
                        <a:pt x="105" y="200"/>
                      </a:lnTo>
                      <a:lnTo>
                        <a:pt x="105" y="199"/>
                      </a:lnTo>
                      <a:lnTo>
                        <a:pt x="105" y="200"/>
                      </a:lnTo>
                      <a:lnTo>
                        <a:pt x="107" y="200"/>
                      </a:lnTo>
                      <a:lnTo>
                        <a:pt x="108" y="202"/>
                      </a:lnTo>
                      <a:lnTo>
                        <a:pt x="110" y="202"/>
                      </a:lnTo>
                      <a:lnTo>
                        <a:pt x="110" y="204"/>
                      </a:lnTo>
                      <a:lnTo>
                        <a:pt x="112" y="204"/>
                      </a:lnTo>
                      <a:lnTo>
                        <a:pt x="112" y="205"/>
                      </a:lnTo>
                      <a:lnTo>
                        <a:pt x="113" y="205"/>
                      </a:lnTo>
                      <a:lnTo>
                        <a:pt x="115" y="205"/>
                      </a:lnTo>
                      <a:lnTo>
                        <a:pt x="117" y="205"/>
                      </a:lnTo>
                      <a:lnTo>
                        <a:pt x="117" y="207"/>
                      </a:lnTo>
                      <a:lnTo>
                        <a:pt x="118" y="207"/>
                      </a:lnTo>
                      <a:lnTo>
                        <a:pt x="120" y="207"/>
                      </a:lnTo>
                      <a:lnTo>
                        <a:pt x="120" y="209"/>
                      </a:lnTo>
                      <a:lnTo>
                        <a:pt x="122" y="209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lnTo>
                        <a:pt x="125" y="212"/>
                      </a:lnTo>
                      <a:lnTo>
                        <a:pt x="125" y="210"/>
                      </a:lnTo>
                      <a:lnTo>
                        <a:pt x="125" y="212"/>
                      </a:lnTo>
                      <a:lnTo>
                        <a:pt x="125" y="210"/>
                      </a:lnTo>
                      <a:lnTo>
                        <a:pt x="125" y="212"/>
                      </a:lnTo>
                      <a:lnTo>
                        <a:pt x="127" y="212"/>
                      </a:lnTo>
                      <a:lnTo>
                        <a:pt x="125" y="212"/>
                      </a:lnTo>
                      <a:lnTo>
                        <a:pt x="124" y="212"/>
                      </a:lnTo>
                      <a:lnTo>
                        <a:pt x="124" y="210"/>
                      </a:lnTo>
                      <a:lnTo>
                        <a:pt x="122" y="210"/>
                      </a:lnTo>
                      <a:lnTo>
                        <a:pt x="120" y="210"/>
                      </a:lnTo>
                      <a:lnTo>
                        <a:pt x="118" y="210"/>
                      </a:lnTo>
                      <a:lnTo>
                        <a:pt x="117" y="210"/>
                      </a:lnTo>
                      <a:lnTo>
                        <a:pt x="115" y="210"/>
                      </a:lnTo>
                      <a:lnTo>
                        <a:pt x="117" y="210"/>
                      </a:lnTo>
                      <a:lnTo>
                        <a:pt x="118" y="210"/>
                      </a:lnTo>
                      <a:lnTo>
                        <a:pt x="120" y="210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lnTo>
                        <a:pt x="124" y="212"/>
                      </a:lnTo>
                      <a:lnTo>
                        <a:pt x="125" y="212"/>
                      </a:lnTo>
                      <a:lnTo>
                        <a:pt x="124" y="212"/>
                      </a:lnTo>
                      <a:lnTo>
                        <a:pt x="122" y="212"/>
                      </a:lnTo>
                      <a:lnTo>
                        <a:pt x="120" y="212"/>
                      </a:lnTo>
                      <a:lnTo>
                        <a:pt x="115" y="212"/>
                      </a:lnTo>
                      <a:close/>
                      <a:moveTo>
                        <a:pt x="95" y="200"/>
                      </a:moveTo>
                      <a:lnTo>
                        <a:pt x="97" y="200"/>
                      </a:lnTo>
                      <a:lnTo>
                        <a:pt x="97" y="202"/>
                      </a:lnTo>
                      <a:lnTo>
                        <a:pt x="95" y="202"/>
                      </a:lnTo>
                      <a:lnTo>
                        <a:pt x="93" y="204"/>
                      </a:lnTo>
                      <a:lnTo>
                        <a:pt x="93" y="202"/>
                      </a:lnTo>
                      <a:lnTo>
                        <a:pt x="93" y="200"/>
                      </a:lnTo>
                      <a:lnTo>
                        <a:pt x="95" y="200"/>
                      </a:lnTo>
                      <a:close/>
                      <a:moveTo>
                        <a:pt x="98" y="202"/>
                      </a:moveTo>
                      <a:lnTo>
                        <a:pt x="97" y="202"/>
                      </a:lnTo>
                      <a:lnTo>
                        <a:pt x="98" y="202"/>
                      </a:lnTo>
                      <a:close/>
                      <a:moveTo>
                        <a:pt x="91" y="202"/>
                      </a:moveTo>
                      <a:lnTo>
                        <a:pt x="91" y="200"/>
                      </a:lnTo>
                      <a:lnTo>
                        <a:pt x="91" y="202"/>
                      </a:lnTo>
                      <a:close/>
                      <a:moveTo>
                        <a:pt x="86" y="202"/>
                      </a:moveTo>
                      <a:lnTo>
                        <a:pt x="88" y="202"/>
                      </a:lnTo>
                      <a:lnTo>
                        <a:pt x="86" y="202"/>
                      </a:lnTo>
                      <a:close/>
                      <a:moveTo>
                        <a:pt x="90" y="204"/>
                      </a:moveTo>
                      <a:lnTo>
                        <a:pt x="88" y="204"/>
                      </a:lnTo>
                      <a:lnTo>
                        <a:pt x="90" y="204"/>
                      </a:lnTo>
                      <a:close/>
                      <a:moveTo>
                        <a:pt x="93" y="205"/>
                      </a:moveTo>
                      <a:lnTo>
                        <a:pt x="91" y="205"/>
                      </a:lnTo>
                      <a:lnTo>
                        <a:pt x="93" y="205"/>
                      </a:lnTo>
                      <a:close/>
                      <a:moveTo>
                        <a:pt x="91" y="207"/>
                      </a:moveTo>
                      <a:lnTo>
                        <a:pt x="90" y="209"/>
                      </a:lnTo>
                      <a:lnTo>
                        <a:pt x="90" y="207"/>
                      </a:lnTo>
                      <a:lnTo>
                        <a:pt x="91" y="207"/>
                      </a:lnTo>
                      <a:lnTo>
                        <a:pt x="91" y="205"/>
                      </a:lnTo>
                      <a:lnTo>
                        <a:pt x="91" y="207"/>
                      </a:lnTo>
                      <a:close/>
                      <a:moveTo>
                        <a:pt x="93" y="207"/>
                      </a:moveTo>
                      <a:lnTo>
                        <a:pt x="93" y="205"/>
                      </a:lnTo>
                      <a:lnTo>
                        <a:pt x="93" y="207"/>
                      </a:lnTo>
                      <a:close/>
                      <a:moveTo>
                        <a:pt x="81" y="207"/>
                      </a:moveTo>
                      <a:lnTo>
                        <a:pt x="80" y="207"/>
                      </a:lnTo>
                      <a:lnTo>
                        <a:pt x="81" y="207"/>
                      </a:lnTo>
                      <a:close/>
                      <a:moveTo>
                        <a:pt x="88" y="207"/>
                      </a:moveTo>
                      <a:lnTo>
                        <a:pt x="90" y="207"/>
                      </a:lnTo>
                      <a:lnTo>
                        <a:pt x="88" y="207"/>
                      </a:lnTo>
                      <a:close/>
                      <a:moveTo>
                        <a:pt x="73" y="209"/>
                      </a:moveTo>
                      <a:lnTo>
                        <a:pt x="75" y="209"/>
                      </a:lnTo>
                      <a:lnTo>
                        <a:pt x="73" y="209"/>
                      </a:lnTo>
                      <a:close/>
                      <a:moveTo>
                        <a:pt x="71" y="210"/>
                      </a:moveTo>
                      <a:lnTo>
                        <a:pt x="73" y="210"/>
                      </a:lnTo>
                      <a:lnTo>
                        <a:pt x="71" y="210"/>
                      </a:lnTo>
                      <a:close/>
                      <a:moveTo>
                        <a:pt x="156" y="189"/>
                      </a:moveTo>
                      <a:lnTo>
                        <a:pt x="156" y="187"/>
                      </a:lnTo>
                      <a:lnTo>
                        <a:pt x="157" y="187"/>
                      </a:lnTo>
                      <a:lnTo>
                        <a:pt x="159" y="187"/>
                      </a:lnTo>
                      <a:lnTo>
                        <a:pt x="161" y="187"/>
                      </a:lnTo>
                      <a:lnTo>
                        <a:pt x="162" y="187"/>
                      </a:lnTo>
                      <a:lnTo>
                        <a:pt x="162" y="186"/>
                      </a:lnTo>
                      <a:lnTo>
                        <a:pt x="162" y="187"/>
                      </a:lnTo>
                      <a:lnTo>
                        <a:pt x="164" y="186"/>
                      </a:lnTo>
                      <a:lnTo>
                        <a:pt x="164" y="187"/>
                      </a:lnTo>
                      <a:lnTo>
                        <a:pt x="162" y="187"/>
                      </a:lnTo>
                      <a:lnTo>
                        <a:pt x="162" y="189"/>
                      </a:lnTo>
                      <a:lnTo>
                        <a:pt x="162" y="191"/>
                      </a:lnTo>
                      <a:lnTo>
                        <a:pt x="164" y="191"/>
                      </a:lnTo>
                      <a:lnTo>
                        <a:pt x="162" y="191"/>
                      </a:lnTo>
                      <a:lnTo>
                        <a:pt x="161" y="191"/>
                      </a:lnTo>
                      <a:lnTo>
                        <a:pt x="159" y="191"/>
                      </a:lnTo>
                      <a:lnTo>
                        <a:pt x="159" y="189"/>
                      </a:lnTo>
                      <a:lnTo>
                        <a:pt x="159" y="191"/>
                      </a:lnTo>
                      <a:lnTo>
                        <a:pt x="157" y="191"/>
                      </a:lnTo>
                      <a:lnTo>
                        <a:pt x="156" y="191"/>
                      </a:lnTo>
                      <a:lnTo>
                        <a:pt x="154" y="191"/>
                      </a:lnTo>
                      <a:lnTo>
                        <a:pt x="154" y="189"/>
                      </a:lnTo>
                      <a:lnTo>
                        <a:pt x="156" y="189"/>
                      </a:lnTo>
                      <a:close/>
                      <a:moveTo>
                        <a:pt x="159" y="195"/>
                      </a:moveTo>
                      <a:lnTo>
                        <a:pt x="157" y="195"/>
                      </a:lnTo>
                      <a:lnTo>
                        <a:pt x="157" y="194"/>
                      </a:lnTo>
                      <a:lnTo>
                        <a:pt x="156" y="194"/>
                      </a:lnTo>
                      <a:lnTo>
                        <a:pt x="157" y="194"/>
                      </a:lnTo>
                      <a:lnTo>
                        <a:pt x="156" y="192"/>
                      </a:lnTo>
                      <a:lnTo>
                        <a:pt x="157" y="192"/>
                      </a:lnTo>
                      <a:lnTo>
                        <a:pt x="157" y="194"/>
                      </a:lnTo>
                      <a:lnTo>
                        <a:pt x="159" y="194"/>
                      </a:lnTo>
                      <a:lnTo>
                        <a:pt x="157" y="194"/>
                      </a:lnTo>
                      <a:lnTo>
                        <a:pt x="159" y="194"/>
                      </a:lnTo>
                      <a:lnTo>
                        <a:pt x="159" y="195"/>
                      </a:lnTo>
                      <a:close/>
                      <a:moveTo>
                        <a:pt x="157" y="194"/>
                      </a:moveTo>
                      <a:lnTo>
                        <a:pt x="156" y="194"/>
                      </a:lnTo>
                      <a:lnTo>
                        <a:pt x="157" y="194"/>
                      </a:lnTo>
                      <a:close/>
                      <a:moveTo>
                        <a:pt x="122" y="210"/>
                      </a:moveTo>
                      <a:lnTo>
                        <a:pt x="120" y="210"/>
                      </a:lnTo>
                      <a:lnTo>
                        <a:pt x="122" y="210"/>
                      </a:lnTo>
                      <a:close/>
                      <a:moveTo>
                        <a:pt x="122" y="210"/>
                      </a:moveTo>
                      <a:lnTo>
                        <a:pt x="120" y="210"/>
                      </a:lnTo>
                      <a:lnTo>
                        <a:pt x="122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2" y="209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2" y="209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61" y="210"/>
                      </a:moveTo>
                      <a:lnTo>
                        <a:pt x="161" y="209"/>
                      </a:lnTo>
                      <a:lnTo>
                        <a:pt x="161" y="210"/>
                      </a:lnTo>
                      <a:close/>
                      <a:moveTo>
                        <a:pt x="152" y="210"/>
                      </a:moveTo>
                      <a:lnTo>
                        <a:pt x="152" y="209"/>
                      </a:lnTo>
                      <a:lnTo>
                        <a:pt x="152" y="210"/>
                      </a:lnTo>
                      <a:close/>
                      <a:moveTo>
                        <a:pt x="159" y="210"/>
                      </a:moveTo>
                      <a:lnTo>
                        <a:pt x="161" y="210"/>
                      </a:lnTo>
                      <a:lnTo>
                        <a:pt x="159" y="210"/>
                      </a:lnTo>
                      <a:close/>
                      <a:moveTo>
                        <a:pt x="125" y="212"/>
                      </a:moveTo>
                      <a:lnTo>
                        <a:pt x="125" y="210"/>
                      </a:lnTo>
                      <a:lnTo>
                        <a:pt x="125" y="212"/>
                      </a:lnTo>
                      <a:close/>
                      <a:moveTo>
                        <a:pt x="166" y="214"/>
                      </a:moveTo>
                      <a:lnTo>
                        <a:pt x="166" y="212"/>
                      </a:lnTo>
                      <a:lnTo>
                        <a:pt x="164" y="212"/>
                      </a:lnTo>
                      <a:lnTo>
                        <a:pt x="166" y="212"/>
                      </a:lnTo>
                      <a:lnTo>
                        <a:pt x="166" y="214"/>
                      </a:lnTo>
                      <a:close/>
                      <a:moveTo>
                        <a:pt x="130" y="214"/>
                      </a:moveTo>
                      <a:lnTo>
                        <a:pt x="130" y="212"/>
                      </a:lnTo>
                      <a:lnTo>
                        <a:pt x="130" y="214"/>
                      </a:lnTo>
                      <a:close/>
                      <a:moveTo>
                        <a:pt x="166" y="194"/>
                      </a:moveTo>
                      <a:lnTo>
                        <a:pt x="167" y="194"/>
                      </a:lnTo>
                      <a:lnTo>
                        <a:pt x="166" y="194"/>
                      </a:lnTo>
                      <a:close/>
                      <a:moveTo>
                        <a:pt x="167" y="195"/>
                      </a:moveTo>
                      <a:lnTo>
                        <a:pt x="167" y="194"/>
                      </a:lnTo>
                      <a:lnTo>
                        <a:pt x="167" y="195"/>
                      </a:lnTo>
                      <a:close/>
                      <a:moveTo>
                        <a:pt x="166" y="195"/>
                      </a:moveTo>
                      <a:lnTo>
                        <a:pt x="166" y="194"/>
                      </a:lnTo>
                      <a:lnTo>
                        <a:pt x="166" y="195"/>
                      </a:lnTo>
                      <a:close/>
                      <a:moveTo>
                        <a:pt x="186" y="209"/>
                      </a:moveTo>
                      <a:lnTo>
                        <a:pt x="188" y="207"/>
                      </a:lnTo>
                      <a:lnTo>
                        <a:pt x="186" y="209"/>
                      </a:lnTo>
                      <a:close/>
                      <a:moveTo>
                        <a:pt x="274" y="204"/>
                      </a:moveTo>
                      <a:lnTo>
                        <a:pt x="276" y="204"/>
                      </a:lnTo>
                      <a:lnTo>
                        <a:pt x="274" y="204"/>
                      </a:lnTo>
                      <a:close/>
                      <a:moveTo>
                        <a:pt x="274" y="205"/>
                      </a:moveTo>
                      <a:lnTo>
                        <a:pt x="276" y="205"/>
                      </a:lnTo>
                      <a:lnTo>
                        <a:pt x="276" y="207"/>
                      </a:lnTo>
                      <a:lnTo>
                        <a:pt x="274" y="207"/>
                      </a:lnTo>
                      <a:lnTo>
                        <a:pt x="272" y="207"/>
                      </a:lnTo>
                      <a:lnTo>
                        <a:pt x="274" y="207"/>
                      </a:lnTo>
                      <a:lnTo>
                        <a:pt x="274" y="205"/>
                      </a:lnTo>
                      <a:close/>
                      <a:moveTo>
                        <a:pt x="169" y="184"/>
                      </a:moveTo>
                      <a:lnTo>
                        <a:pt x="169" y="186"/>
                      </a:lnTo>
                      <a:lnTo>
                        <a:pt x="167" y="186"/>
                      </a:lnTo>
                      <a:lnTo>
                        <a:pt x="169" y="186"/>
                      </a:lnTo>
                      <a:lnTo>
                        <a:pt x="169" y="184"/>
                      </a:lnTo>
                      <a:close/>
                      <a:moveTo>
                        <a:pt x="169" y="191"/>
                      </a:moveTo>
                      <a:lnTo>
                        <a:pt x="171" y="191"/>
                      </a:lnTo>
                      <a:lnTo>
                        <a:pt x="169" y="191"/>
                      </a:lnTo>
                      <a:close/>
                      <a:moveTo>
                        <a:pt x="169" y="192"/>
                      </a:moveTo>
                      <a:lnTo>
                        <a:pt x="167" y="192"/>
                      </a:lnTo>
                      <a:lnTo>
                        <a:pt x="167" y="191"/>
                      </a:lnTo>
                      <a:lnTo>
                        <a:pt x="169" y="191"/>
                      </a:lnTo>
                      <a:lnTo>
                        <a:pt x="169" y="192"/>
                      </a:lnTo>
                      <a:close/>
                      <a:moveTo>
                        <a:pt x="169" y="194"/>
                      </a:moveTo>
                      <a:lnTo>
                        <a:pt x="169" y="192"/>
                      </a:lnTo>
                      <a:lnTo>
                        <a:pt x="169" y="194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  <p:grpSp>
            <p:nvGrpSpPr>
              <p:cNvPr id="146" name="Grupo 293"/>
              <p:cNvGrpSpPr/>
              <p:nvPr/>
            </p:nvGrpSpPr>
            <p:grpSpPr bwMode="auto">
              <a:xfrm>
                <a:off x="3514516" y="1815634"/>
                <a:ext cx="2347242" cy="2411255"/>
                <a:chOff x="2123736" y="1203576"/>
                <a:chExt cx="4946808" cy="5081019"/>
              </a:xfrm>
              <a:solidFill>
                <a:srgbClr val="006600"/>
              </a:solidFill>
            </p:grpSpPr>
            <p:sp>
              <p:nvSpPr>
                <p:cNvPr id="258" name="Fluxograma: Conector 257"/>
                <p:cNvSpPr/>
                <p:nvPr/>
              </p:nvSpPr>
              <p:spPr>
                <a:xfrm>
                  <a:off x="2123736" y="26952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9" name="Fluxograma: Conector 258"/>
                <p:cNvSpPr/>
                <p:nvPr/>
              </p:nvSpPr>
              <p:spPr>
                <a:xfrm>
                  <a:off x="2548960" y="28067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0" name="Fluxograma: Conector 259"/>
                <p:cNvSpPr/>
                <p:nvPr/>
              </p:nvSpPr>
              <p:spPr>
                <a:xfrm>
                  <a:off x="2690768" y="24928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1" name="Fluxograma: Conector 260"/>
                <p:cNvSpPr/>
                <p:nvPr/>
              </p:nvSpPr>
              <p:spPr>
                <a:xfrm>
                  <a:off x="2822040" y="27038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2" name="Fluxograma: Conector 261"/>
                <p:cNvSpPr/>
                <p:nvPr/>
              </p:nvSpPr>
              <p:spPr>
                <a:xfrm>
                  <a:off x="2994536" y="296681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3" name="Fluxograma: Conector 262"/>
                <p:cNvSpPr/>
                <p:nvPr/>
              </p:nvSpPr>
              <p:spPr>
                <a:xfrm>
                  <a:off x="2994520" y="284288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4" name="Fluxograma: Conector 263"/>
                <p:cNvSpPr/>
                <p:nvPr/>
              </p:nvSpPr>
              <p:spPr>
                <a:xfrm>
                  <a:off x="3165216" y="172593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5" name="Fluxograma: Conector 264"/>
                <p:cNvSpPr/>
                <p:nvPr/>
              </p:nvSpPr>
              <p:spPr>
                <a:xfrm>
                  <a:off x="3269032" y="177282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6" name="Fluxograma: Conector 265"/>
                <p:cNvSpPr/>
                <p:nvPr/>
              </p:nvSpPr>
              <p:spPr>
                <a:xfrm>
                  <a:off x="4057904" y="16036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7" name="Fluxograma: Conector 266"/>
                <p:cNvSpPr/>
                <p:nvPr/>
              </p:nvSpPr>
              <p:spPr>
                <a:xfrm>
                  <a:off x="4422968" y="171588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8" name="Fluxograma: Conector 267"/>
                <p:cNvSpPr/>
                <p:nvPr/>
              </p:nvSpPr>
              <p:spPr>
                <a:xfrm>
                  <a:off x="4501424" y="135094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69" name="Fluxograma: Conector 268"/>
                <p:cNvSpPr/>
                <p:nvPr/>
              </p:nvSpPr>
              <p:spPr>
                <a:xfrm>
                  <a:off x="4630368" y="120357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0" name="Fluxograma: Conector 269"/>
                <p:cNvSpPr/>
                <p:nvPr/>
              </p:nvSpPr>
              <p:spPr>
                <a:xfrm>
                  <a:off x="4654056" y="142785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1" name="Fluxograma: Conector 270"/>
                <p:cNvSpPr/>
                <p:nvPr/>
              </p:nvSpPr>
              <p:spPr>
                <a:xfrm>
                  <a:off x="4823192" y="155679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2" name="Fluxograma: Conector 271"/>
                <p:cNvSpPr/>
                <p:nvPr/>
              </p:nvSpPr>
              <p:spPr>
                <a:xfrm>
                  <a:off x="4875104" y="202066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3" name="Fluxograma: Conector 272"/>
                <p:cNvSpPr/>
                <p:nvPr/>
              </p:nvSpPr>
              <p:spPr>
                <a:xfrm>
                  <a:off x="5156463" y="20435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4" name="Fluxograma: Conector 273"/>
                <p:cNvSpPr/>
                <p:nvPr/>
              </p:nvSpPr>
              <p:spPr>
                <a:xfrm>
                  <a:off x="4942633" y="147066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5" name="Fluxograma: Conector 274"/>
                <p:cNvSpPr/>
                <p:nvPr/>
              </p:nvSpPr>
              <p:spPr>
                <a:xfrm>
                  <a:off x="5058401" y="142336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6" name="Fluxograma: Conector 275"/>
                <p:cNvSpPr/>
                <p:nvPr/>
              </p:nvSpPr>
              <p:spPr>
                <a:xfrm>
                  <a:off x="4986393" y="143043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7" name="Fluxograma: Conector 276"/>
                <p:cNvSpPr/>
                <p:nvPr/>
              </p:nvSpPr>
              <p:spPr>
                <a:xfrm>
                  <a:off x="5223611" y="140924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8" name="Fluxograma: Conector 277"/>
                <p:cNvSpPr/>
                <p:nvPr/>
              </p:nvSpPr>
              <p:spPr>
                <a:xfrm>
                  <a:off x="5469271" y="161821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79" name="Fluxograma: Conector 278"/>
                <p:cNvSpPr/>
                <p:nvPr/>
              </p:nvSpPr>
              <p:spPr>
                <a:xfrm>
                  <a:off x="5597767" y="161467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0" name="Fluxograma: Conector 279"/>
                <p:cNvSpPr/>
                <p:nvPr/>
              </p:nvSpPr>
              <p:spPr>
                <a:xfrm>
                  <a:off x="5518697" y="18589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1" name="Fluxograma: Conector 280"/>
                <p:cNvSpPr/>
                <p:nvPr/>
              </p:nvSpPr>
              <p:spPr>
                <a:xfrm>
                  <a:off x="5652128" y="188858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2" name="Fluxograma: Conector 281"/>
                <p:cNvSpPr/>
                <p:nvPr/>
              </p:nvSpPr>
              <p:spPr>
                <a:xfrm>
                  <a:off x="5818652" y="199237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3" name="Fluxograma: Conector 282"/>
                <p:cNvSpPr/>
                <p:nvPr/>
              </p:nvSpPr>
              <p:spPr>
                <a:xfrm>
                  <a:off x="5978114" y="167609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4" name="Fluxograma: Conector 283"/>
                <p:cNvSpPr/>
                <p:nvPr/>
              </p:nvSpPr>
              <p:spPr>
                <a:xfrm>
                  <a:off x="6170300" y="178340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5" name="Fluxograma: Conector 284"/>
                <p:cNvSpPr/>
                <p:nvPr/>
              </p:nvSpPr>
              <p:spPr>
                <a:xfrm>
                  <a:off x="6444208" y="180951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6" name="Fluxograma: Conector 285"/>
                <p:cNvSpPr/>
                <p:nvPr/>
              </p:nvSpPr>
              <p:spPr>
                <a:xfrm>
                  <a:off x="6644006" y="199237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7" name="Fluxograma: Conector 286"/>
                <p:cNvSpPr/>
                <p:nvPr/>
              </p:nvSpPr>
              <p:spPr>
                <a:xfrm>
                  <a:off x="6495277" y="226981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8" name="Fluxograma: Conector 287"/>
                <p:cNvSpPr/>
                <p:nvPr/>
              </p:nvSpPr>
              <p:spPr>
                <a:xfrm>
                  <a:off x="6553153" y="223096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89" name="Fluxograma: Conector 288"/>
                <p:cNvSpPr/>
                <p:nvPr/>
              </p:nvSpPr>
              <p:spPr>
                <a:xfrm>
                  <a:off x="6667533" y="22627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0" name="Fluxograma: Conector 289"/>
                <p:cNvSpPr/>
                <p:nvPr/>
              </p:nvSpPr>
              <p:spPr>
                <a:xfrm>
                  <a:off x="6886857" y="20749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1" name="Fluxograma: Conector 290"/>
                <p:cNvSpPr/>
                <p:nvPr/>
              </p:nvSpPr>
              <p:spPr>
                <a:xfrm>
                  <a:off x="6937671" y="209401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2" name="Fluxograma: Conector 291"/>
                <p:cNvSpPr/>
                <p:nvPr/>
              </p:nvSpPr>
              <p:spPr>
                <a:xfrm>
                  <a:off x="6869194" y="222169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3" name="Fluxograma: Conector 292"/>
                <p:cNvSpPr/>
                <p:nvPr/>
              </p:nvSpPr>
              <p:spPr>
                <a:xfrm>
                  <a:off x="6828965" y="22945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4" name="Fluxograma: Conector 293"/>
                <p:cNvSpPr/>
                <p:nvPr/>
              </p:nvSpPr>
              <p:spPr>
                <a:xfrm>
                  <a:off x="6998544" y="23011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5" name="Fluxograma: Conector 294"/>
                <p:cNvSpPr/>
                <p:nvPr/>
              </p:nvSpPr>
              <p:spPr>
                <a:xfrm>
                  <a:off x="6988017" y="24929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6" name="Fluxograma: Conector 295"/>
                <p:cNvSpPr/>
                <p:nvPr/>
              </p:nvSpPr>
              <p:spPr>
                <a:xfrm>
                  <a:off x="6874154" y="275364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7" name="Fluxograma: Conector 296"/>
                <p:cNvSpPr/>
                <p:nvPr/>
              </p:nvSpPr>
              <p:spPr>
                <a:xfrm>
                  <a:off x="6711531" y="289908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8" name="Fluxograma: Conector 297"/>
                <p:cNvSpPr/>
                <p:nvPr/>
              </p:nvSpPr>
              <p:spPr>
                <a:xfrm>
                  <a:off x="6671302" y="29181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99" name="Fluxograma: Conector 298"/>
                <p:cNvSpPr/>
                <p:nvPr/>
              </p:nvSpPr>
              <p:spPr>
                <a:xfrm>
                  <a:off x="6854356" y="272186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0" name="Fluxograma: Conector 299"/>
                <p:cNvSpPr/>
                <p:nvPr/>
              </p:nvSpPr>
              <p:spPr>
                <a:xfrm>
                  <a:off x="6471512" y="32539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1" name="Fluxograma: Conector 300"/>
                <p:cNvSpPr/>
                <p:nvPr/>
              </p:nvSpPr>
              <p:spPr>
                <a:xfrm>
                  <a:off x="6344429" y="382999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2" name="Fluxograma: Conector 301"/>
                <p:cNvSpPr/>
                <p:nvPr/>
              </p:nvSpPr>
              <p:spPr>
                <a:xfrm>
                  <a:off x="5666244" y="373468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3" name="Fluxograma: Conector 302"/>
                <p:cNvSpPr/>
                <p:nvPr/>
              </p:nvSpPr>
              <p:spPr>
                <a:xfrm>
                  <a:off x="5690961" y="392239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4" name="Fluxograma: Conector 303"/>
                <p:cNvSpPr/>
                <p:nvPr/>
              </p:nvSpPr>
              <p:spPr>
                <a:xfrm>
                  <a:off x="5110184" y="36655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5" name="Fluxograma: Conector 304"/>
                <p:cNvSpPr/>
                <p:nvPr/>
              </p:nvSpPr>
              <p:spPr>
                <a:xfrm>
                  <a:off x="4856501" y="373954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6" name="Fluxograma: Conector 305"/>
                <p:cNvSpPr/>
                <p:nvPr/>
              </p:nvSpPr>
              <p:spPr>
                <a:xfrm>
                  <a:off x="4917916" y="36873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7" name="Fluxograma: Conector 306"/>
                <p:cNvSpPr/>
                <p:nvPr/>
              </p:nvSpPr>
              <p:spPr>
                <a:xfrm>
                  <a:off x="4849439" y="357301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8" name="Fluxograma: Conector 307"/>
                <p:cNvSpPr/>
                <p:nvPr/>
              </p:nvSpPr>
              <p:spPr>
                <a:xfrm>
                  <a:off x="4496461" y="391540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09" name="Fluxograma: Conector 308"/>
                <p:cNvSpPr/>
                <p:nvPr/>
              </p:nvSpPr>
              <p:spPr>
                <a:xfrm>
                  <a:off x="4370100" y="356242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0" name="Fluxograma: Conector 309"/>
                <p:cNvSpPr/>
                <p:nvPr/>
              </p:nvSpPr>
              <p:spPr>
                <a:xfrm>
                  <a:off x="3941583" y="299695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1" name="Fluxograma: Conector 310"/>
                <p:cNvSpPr/>
                <p:nvPr/>
              </p:nvSpPr>
              <p:spPr>
                <a:xfrm>
                  <a:off x="3862513" y="354477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2" name="Fluxograma: Conector 311"/>
                <p:cNvSpPr/>
                <p:nvPr/>
              </p:nvSpPr>
              <p:spPr>
                <a:xfrm>
                  <a:off x="4067952" y="368879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3" name="Fluxograma: Conector 312"/>
                <p:cNvSpPr/>
                <p:nvPr/>
              </p:nvSpPr>
              <p:spPr>
                <a:xfrm>
                  <a:off x="3687651" y="409826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4" name="Fluxograma: Conector 313"/>
                <p:cNvSpPr/>
                <p:nvPr/>
              </p:nvSpPr>
              <p:spPr>
                <a:xfrm>
                  <a:off x="3902750" y="428957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5" name="Fluxograma: Conector 314"/>
                <p:cNvSpPr/>
                <p:nvPr/>
              </p:nvSpPr>
              <p:spPr>
                <a:xfrm>
                  <a:off x="4067952" y="431781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6" name="Fluxograma: Conector 315"/>
                <p:cNvSpPr/>
                <p:nvPr/>
              </p:nvSpPr>
              <p:spPr>
                <a:xfrm>
                  <a:off x="4536698" y="414693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7" name="Fluxograma: Conector 316"/>
                <p:cNvSpPr/>
                <p:nvPr/>
              </p:nvSpPr>
              <p:spPr>
                <a:xfrm>
                  <a:off x="4496461" y="43651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8" name="Fluxograma: Conector 317"/>
                <p:cNvSpPr/>
                <p:nvPr/>
              </p:nvSpPr>
              <p:spPr>
                <a:xfrm>
                  <a:off x="5058409" y="394364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19" name="Fluxograma: Conector 318"/>
                <p:cNvSpPr/>
                <p:nvPr/>
              </p:nvSpPr>
              <p:spPr>
                <a:xfrm>
                  <a:off x="5004048" y="406780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0" name="Fluxograma: Conector 319"/>
                <p:cNvSpPr/>
                <p:nvPr/>
              </p:nvSpPr>
              <p:spPr>
                <a:xfrm>
                  <a:off x="5058401" y="418930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1" name="Fluxograma: Conector 320"/>
                <p:cNvSpPr/>
                <p:nvPr/>
              </p:nvSpPr>
              <p:spPr>
                <a:xfrm>
                  <a:off x="3913343" y="46390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2" name="Fluxograma: Conector 321"/>
                <p:cNvSpPr/>
                <p:nvPr/>
              </p:nvSpPr>
              <p:spPr>
                <a:xfrm>
                  <a:off x="4044557" y="45670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3" name="Fluxograma: Conector 322"/>
                <p:cNvSpPr/>
                <p:nvPr/>
              </p:nvSpPr>
              <p:spPr>
                <a:xfrm>
                  <a:off x="4654609" y="479716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4" name="Fluxograma: Conector 323"/>
                <p:cNvSpPr/>
                <p:nvPr/>
              </p:nvSpPr>
              <p:spPr>
                <a:xfrm>
                  <a:off x="4394817" y="48859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5" name="Fluxograma: Conector 324"/>
                <p:cNvSpPr/>
                <p:nvPr/>
              </p:nvSpPr>
              <p:spPr>
                <a:xfrm>
                  <a:off x="4239264" y="490892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6" name="Fluxograma: Conector 325"/>
                <p:cNvSpPr/>
                <p:nvPr/>
              </p:nvSpPr>
              <p:spPr>
                <a:xfrm>
                  <a:off x="4165589" y="50574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7" name="Fluxograma: Conector 326"/>
                <p:cNvSpPr/>
                <p:nvPr/>
              </p:nvSpPr>
              <p:spPr>
                <a:xfrm>
                  <a:off x="4359515" y="523406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8" name="Fluxograma: Conector 327"/>
                <p:cNvSpPr/>
                <p:nvPr/>
              </p:nvSpPr>
              <p:spPr>
                <a:xfrm>
                  <a:off x="4308685" y="514659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29" name="Fluxograma: Conector 328"/>
                <p:cNvSpPr/>
                <p:nvPr/>
              </p:nvSpPr>
              <p:spPr>
                <a:xfrm>
                  <a:off x="4733679" y="504495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0" name="Fluxograma: Conector 329"/>
                <p:cNvSpPr/>
                <p:nvPr/>
              </p:nvSpPr>
              <p:spPr>
                <a:xfrm>
                  <a:off x="4849439" y="511128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1" name="Fluxograma: Conector 330"/>
                <p:cNvSpPr/>
                <p:nvPr/>
              </p:nvSpPr>
              <p:spPr>
                <a:xfrm>
                  <a:off x="4868482" y="508871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2" name="Fluxograma: Conector 331"/>
                <p:cNvSpPr/>
                <p:nvPr/>
              </p:nvSpPr>
              <p:spPr>
                <a:xfrm>
                  <a:off x="4998415" y="51769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3" name="Fluxograma: Conector 332"/>
                <p:cNvSpPr/>
                <p:nvPr/>
              </p:nvSpPr>
              <p:spPr>
                <a:xfrm>
                  <a:off x="4254340" y="542404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4" name="Fluxograma: Conector 333"/>
                <p:cNvSpPr/>
                <p:nvPr/>
              </p:nvSpPr>
              <p:spPr>
                <a:xfrm>
                  <a:off x="5011825" y="547462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5" name="Fluxograma: Conector 334"/>
                <p:cNvSpPr/>
                <p:nvPr/>
              </p:nvSpPr>
              <p:spPr>
                <a:xfrm>
                  <a:off x="4187243" y="581938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6" name="Fluxograma: Conector 335"/>
                <p:cNvSpPr/>
                <p:nvPr/>
              </p:nvSpPr>
              <p:spPr>
                <a:xfrm>
                  <a:off x="4548243" y="58914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7" name="Fluxograma: Conector 336"/>
                <p:cNvSpPr/>
                <p:nvPr/>
              </p:nvSpPr>
              <p:spPr>
                <a:xfrm>
                  <a:off x="4417391" y="610036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8" name="Fluxograma: Conector 337"/>
                <p:cNvSpPr/>
                <p:nvPr/>
              </p:nvSpPr>
              <p:spPr>
                <a:xfrm>
                  <a:off x="4403275" y="61794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39" name="Fluxograma: Conector 338"/>
                <p:cNvSpPr/>
                <p:nvPr/>
              </p:nvSpPr>
              <p:spPr>
                <a:xfrm>
                  <a:off x="4435046" y="621259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0" name="Fluxograma: Conector 339"/>
                <p:cNvSpPr/>
                <p:nvPr/>
              </p:nvSpPr>
              <p:spPr>
                <a:xfrm>
                  <a:off x="5067606" y="45670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1" name="Fluxograma: Conector 340"/>
                <p:cNvSpPr/>
                <p:nvPr/>
              </p:nvSpPr>
              <p:spPr>
                <a:xfrm>
                  <a:off x="5133940" y="461290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2" name="Fluxograma: Conector 341"/>
                <p:cNvSpPr/>
                <p:nvPr/>
              </p:nvSpPr>
              <p:spPr>
                <a:xfrm>
                  <a:off x="5248320" y="481620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3" name="Fluxograma: Conector 342"/>
                <p:cNvSpPr/>
                <p:nvPr/>
              </p:nvSpPr>
              <p:spPr>
                <a:xfrm>
                  <a:off x="5418375" y="46284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4" name="Fluxograma: Conector 343"/>
                <p:cNvSpPr/>
                <p:nvPr/>
              </p:nvSpPr>
              <p:spPr>
                <a:xfrm>
                  <a:off x="5353495" y="44371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5" name="Fluxograma: Conector 344"/>
                <p:cNvSpPr/>
                <p:nvPr/>
              </p:nvSpPr>
              <p:spPr>
                <a:xfrm>
                  <a:off x="5495302" y="441945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6" name="Fluxograma: Conector 345"/>
                <p:cNvSpPr/>
                <p:nvPr/>
              </p:nvSpPr>
              <p:spPr>
                <a:xfrm>
                  <a:off x="5625777" y="47835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7" name="Fluxograma: Conector 346"/>
                <p:cNvSpPr/>
                <p:nvPr/>
              </p:nvSpPr>
              <p:spPr>
                <a:xfrm>
                  <a:off x="5713305" y="47150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8" name="Fluxograma: Conector 347"/>
                <p:cNvSpPr/>
                <p:nvPr/>
              </p:nvSpPr>
              <p:spPr>
                <a:xfrm>
                  <a:off x="5766262" y="47256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49" name="Fluxograma: Conector 348"/>
                <p:cNvSpPr/>
                <p:nvPr/>
              </p:nvSpPr>
              <p:spPr>
                <a:xfrm>
                  <a:off x="5802968" y="47693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0" name="Fluxograma: Conector 349"/>
                <p:cNvSpPr/>
                <p:nvPr/>
              </p:nvSpPr>
              <p:spPr>
                <a:xfrm>
                  <a:off x="5727659" y="450558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1" name="Fluxograma: Conector 350"/>
                <p:cNvSpPr/>
                <p:nvPr/>
              </p:nvSpPr>
              <p:spPr>
                <a:xfrm>
                  <a:off x="5597767" y="441100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2" name="Fluxograma: Conector 351"/>
                <p:cNvSpPr/>
                <p:nvPr/>
              </p:nvSpPr>
              <p:spPr>
                <a:xfrm>
                  <a:off x="5673306" y="430015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3" name="Fluxograma: Conector 352"/>
                <p:cNvSpPr/>
                <p:nvPr/>
              </p:nvSpPr>
              <p:spPr>
                <a:xfrm>
                  <a:off x="5637996" y="418439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4" name="Fluxograma: Conector 353"/>
                <p:cNvSpPr/>
                <p:nvPr/>
              </p:nvSpPr>
              <p:spPr>
                <a:xfrm>
                  <a:off x="5724136" y="42930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5" name="Fluxograma: Conector 354"/>
                <p:cNvSpPr/>
                <p:nvPr/>
              </p:nvSpPr>
              <p:spPr>
                <a:xfrm>
                  <a:off x="5803198" y="434744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6" name="Fluxograma: Conector 355"/>
                <p:cNvSpPr/>
                <p:nvPr/>
              </p:nvSpPr>
              <p:spPr>
                <a:xfrm>
                  <a:off x="6185820" y="42930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7" name="Fluxograma: Conector 356"/>
                <p:cNvSpPr/>
                <p:nvPr/>
              </p:nvSpPr>
              <p:spPr>
                <a:xfrm>
                  <a:off x="5943683" y="438982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8" name="Fluxograma: Conector 357"/>
                <p:cNvSpPr/>
                <p:nvPr/>
              </p:nvSpPr>
              <p:spPr>
                <a:xfrm>
                  <a:off x="5908373" y="446182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59" name="Fluxograma: Conector 358"/>
                <p:cNvSpPr/>
                <p:nvPr/>
              </p:nvSpPr>
              <p:spPr>
                <a:xfrm>
                  <a:off x="6029815" y="446182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0" name="Fluxograma: Conector 359"/>
                <p:cNvSpPr/>
                <p:nvPr/>
              </p:nvSpPr>
              <p:spPr>
                <a:xfrm>
                  <a:off x="6055921" y="460856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61" name="Fluxograma: Conector 360"/>
                <p:cNvSpPr/>
                <p:nvPr/>
              </p:nvSpPr>
              <p:spPr>
                <a:xfrm>
                  <a:off x="6001568" y="465314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  <p:grpSp>
            <p:nvGrpSpPr>
              <p:cNvPr id="147" name="Grupo 398"/>
              <p:cNvGrpSpPr/>
              <p:nvPr/>
            </p:nvGrpSpPr>
            <p:grpSpPr bwMode="auto">
              <a:xfrm>
                <a:off x="3172838" y="1949085"/>
                <a:ext cx="2691699" cy="2394315"/>
                <a:chOff x="1645072" y="1484784"/>
                <a:chExt cx="5672750" cy="5045323"/>
              </a:xfrm>
              <a:solidFill>
                <a:srgbClr val="0070C0"/>
              </a:solidFill>
            </p:grpSpPr>
            <p:sp>
              <p:nvSpPr>
                <p:cNvPr id="148" name="Fluxograma: Conector 147"/>
                <p:cNvSpPr/>
                <p:nvPr/>
              </p:nvSpPr>
              <p:spPr>
                <a:xfrm>
                  <a:off x="3059832" y="184483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49" name="Fluxograma: Conector 148"/>
                <p:cNvSpPr/>
                <p:nvPr/>
              </p:nvSpPr>
              <p:spPr>
                <a:xfrm>
                  <a:off x="3426230" y="166905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0" name="Fluxograma: Conector 149"/>
                <p:cNvSpPr/>
                <p:nvPr/>
              </p:nvSpPr>
              <p:spPr>
                <a:xfrm>
                  <a:off x="3529980" y="169445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1" name="Fluxograma: Conector 150"/>
                <p:cNvSpPr/>
                <p:nvPr/>
              </p:nvSpPr>
              <p:spPr>
                <a:xfrm>
                  <a:off x="3767220" y="172620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2" name="Fluxograma: Conector 151"/>
                <p:cNvSpPr/>
                <p:nvPr/>
              </p:nvSpPr>
              <p:spPr>
                <a:xfrm>
                  <a:off x="4014986" y="162880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3" name="Fluxograma: Conector 152"/>
                <p:cNvSpPr/>
                <p:nvPr/>
              </p:nvSpPr>
              <p:spPr>
                <a:xfrm>
                  <a:off x="1645072" y="236158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4" name="Fluxograma: Conector 153"/>
                <p:cNvSpPr/>
                <p:nvPr/>
              </p:nvSpPr>
              <p:spPr>
                <a:xfrm>
                  <a:off x="3072540" y="27004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5" name="Fluxograma: Conector 154"/>
                <p:cNvSpPr/>
                <p:nvPr/>
              </p:nvSpPr>
              <p:spPr>
                <a:xfrm>
                  <a:off x="4120910" y="355613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6" name="Fluxograma: Conector 155"/>
                <p:cNvSpPr/>
                <p:nvPr/>
              </p:nvSpPr>
              <p:spPr>
                <a:xfrm>
                  <a:off x="4637666" y="356666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7" name="Fluxograma: Conector 156"/>
                <p:cNvSpPr/>
                <p:nvPr/>
              </p:nvSpPr>
              <p:spPr>
                <a:xfrm>
                  <a:off x="5035764" y="21381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8" name="Fluxograma: Conector 157"/>
                <p:cNvSpPr/>
                <p:nvPr/>
              </p:nvSpPr>
              <p:spPr>
                <a:xfrm>
                  <a:off x="5065484" y="180253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59" name="Fluxograma: Conector 158"/>
                <p:cNvSpPr/>
                <p:nvPr/>
              </p:nvSpPr>
              <p:spPr>
                <a:xfrm>
                  <a:off x="5455252" y="148478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0" name="Fluxograma: Conector 159"/>
                <p:cNvSpPr/>
                <p:nvPr/>
              </p:nvSpPr>
              <p:spPr>
                <a:xfrm>
                  <a:off x="5414952" y="16796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1" name="Fluxograma: Conector 160"/>
                <p:cNvSpPr/>
                <p:nvPr/>
              </p:nvSpPr>
              <p:spPr>
                <a:xfrm>
                  <a:off x="6002642" y="179720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2" name="Fluxograma: Conector 161"/>
                <p:cNvSpPr/>
                <p:nvPr/>
              </p:nvSpPr>
              <p:spPr>
                <a:xfrm>
                  <a:off x="6151413" y="172938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3" name="Fluxograma: Conector 162"/>
                <p:cNvSpPr/>
                <p:nvPr/>
              </p:nvSpPr>
              <p:spPr>
                <a:xfrm>
                  <a:off x="5599172" y="208467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4" name="Fluxograma: Conector 163"/>
                <p:cNvSpPr/>
                <p:nvPr/>
              </p:nvSpPr>
              <p:spPr>
                <a:xfrm>
                  <a:off x="6099028" y="198407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5" name="Fluxograma: Conector 164"/>
                <p:cNvSpPr/>
                <p:nvPr/>
              </p:nvSpPr>
              <p:spPr>
                <a:xfrm>
                  <a:off x="6055590" y="22334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6" name="Fluxograma: Conector 165"/>
                <p:cNvSpPr/>
                <p:nvPr/>
              </p:nvSpPr>
              <p:spPr>
                <a:xfrm>
                  <a:off x="6295437" y="23012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7" name="Fluxograma: Conector 166"/>
                <p:cNvSpPr/>
                <p:nvPr/>
              </p:nvSpPr>
              <p:spPr>
                <a:xfrm>
                  <a:off x="5287325" y="231077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8" name="Fluxograma: Conector 167"/>
                <p:cNvSpPr/>
                <p:nvPr/>
              </p:nvSpPr>
              <p:spPr>
                <a:xfrm>
                  <a:off x="5484297" y="316955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69" name="Fluxograma: Conector 168"/>
                <p:cNvSpPr/>
                <p:nvPr/>
              </p:nvSpPr>
              <p:spPr>
                <a:xfrm>
                  <a:off x="5157590" y="298742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0" name="Fluxograma: Conector 169"/>
                <p:cNvSpPr/>
                <p:nvPr/>
              </p:nvSpPr>
              <p:spPr>
                <a:xfrm>
                  <a:off x="5277791" y="27279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1" name="Fluxograma: Conector 170"/>
                <p:cNvSpPr/>
                <p:nvPr/>
              </p:nvSpPr>
              <p:spPr>
                <a:xfrm>
                  <a:off x="5253976" y="281006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2" name="Fluxograma: Conector 171"/>
                <p:cNvSpPr/>
                <p:nvPr/>
              </p:nvSpPr>
              <p:spPr>
                <a:xfrm>
                  <a:off x="5181405" y="27523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3" name="Fluxograma: Conector 172"/>
                <p:cNvSpPr/>
                <p:nvPr/>
              </p:nvSpPr>
              <p:spPr>
                <a:xfrm>
                  <a:off x="5758040" y="304991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4" name="Fluxograma: Conector 173"/>
                <p:cNvSpPr/>
                <p:nvPr/>
              </p:nvSpPr>
              <p:spPr>
                <a:xfrm>
                  <a:off x="5863381" y="354864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5" name="Fluxograma: Conector 174"/>
                <p:cNvSpPr/>
                <p:nvPr/>
              </p:nvSpPr>
              <p:spPr>
                <a:xfrm>
                  <a:off x="6386497" y="345757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6" name="Fluxograma: Conector 175"/>
                <p:cNvSpPr/>
                <p:nvPr/>
              </p:nvSpPr>
              <p:spPr>
                <a:xfrm>
                  <a:off x="6602521" y="315049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7" name="Fluxograma: Conector 176"/>
                <p:cNvSpPr/>
                <p:nvPr/>
              </p:nvSpPr>
              <p:spPr>
                <a:xfrm>
                  <a:off x="6660232" y="310286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8" name="Fluxograma: Conector 177"/>
                <p:cNvSpPr/>
                <p:nvPr/>
              </p:nvSpPr>
              <p:spPr>
                <a:xfrm>
                  <a:off x="6737003" y="31748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79" name="Fluxograma: Conector 178"/>
                <p:cNvSpPr/>
                <p:nvPr/>
              </p:nvSpPr>
              <p:spPr>
                <a:xfrm>
                  <a:off x="6492401" y="27809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0" name="Fluxograma: Conector 179"/>
                <p:cNvSpPr/>
                <p:nvPr/>
              </p:nvSpPr>
              <p:spPr>
                <a:xfrm>
                  <a:off x="6444208" y="26369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1" name="Fluxograma: Conector 180"/>
                <p:cNvSpPr/>
                <p:nvPr/>
              </p:nvSpPr>
              <p:spPr>
                <a:xfrm>
                  <a:off x="6828063" y="223820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2" name="Fluxograma: Conector 181"/>
                <p:cNvSpPr/>
                <p:nvPr/>
              </p:nvSpPr>
              <p:spPr>
                <a:xfrm>
                  <a:off x="6876256" y="207990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3" name="Fluxograma: Conector 182"/>
                <p:cNvSpPr/>
                <p:nvPr/>
              </p:nvSpPr>
              <p:spPr>
                <a:xfrm>
                  <a:off x="6660240" y="195549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4" name="Fluxograma: Conector 183"/>
                <p:cNvSpPr/>
                <p:nvPr/>
              </p:nvSpPr>
              <p:spPr>
                <a:xfrm>
                  <a:off x="6592987" y="229592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5" name="Fluxograma: Conector 184"/>
                <p:cNvSpPr/>
                <p:nvPr/>
              </p:nvSpPr>
              <p:spPr>
                <a:xfrm>
                  <a:off x="6626899" y="22768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6" name="Fluxograma: Conector 185"/>
                <p:cNvSpPr/>
                <p:nvPr/>
              </p:nvSpPr>
              <p:spPr>
                <a:xfrm>
                  <a:off x="7164296" y="211856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7" name="Fluxograma: Conector 186"/>
                <p:cNvSpPr/>
                <p:nvPr/>
              </p:nvSpPr>
              <p:spPr>
                <a:xfrm>
                  <a:off x="7183340" y="20608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8" name="Fluxograma: Conector 187"/>
                <p:cNvSpPr/>
                <p:nvPr/>
              </p:nvSpPr>
              <p:spPr>
                <a:xfrm>
                  <a:off x="7222007" y="22132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89" name="Fluxograma: Conector 188"/>
                <p:cNvSpPr/>
                <p:nvPr/>
              </p:nvSpPr>
              <p:spPr>
                <a:xfrm>
                  <a:off x="7192874" y="244947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0" name="Fluxograma: Conector 189"/>
                <p:cNvSpPr/>
                <p:nvPr/>
              </p:nvSpPr>
              <p:spPr>
                <a:xfrm>
                  <a:off x="7245822" y="236316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1" name="Fluxograma: Conector 190"/>
                <p:cNvSpPr/>
                <p:nvPr/>
              </p:nvSpPr>
              <p:spPr>
                <a:xfrm>
                  <a:off x="7154762" y="267978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2" name="Fluxograma: Conector 191"/>
                <p:cNvSpPr/>
                <p:nvPr/>
              </p:nvSpPr>
              <p:spPr>
                <a:xfrm>
                  <a:off x="6943501" y="284171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3" name="Fluxograma: Conector 192"/>
                <p:cNvSpPr/>
                <p:nvPr/>
              </p:nvSpPr>
              <p:spPr>
                <a:xfrm>
                  <a:off x="6890545" y="281903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4" name="Fluxograma: Conector 193"/>
                <p:cNvSpPr/>
                <p:nvPr/>
              </p:nvSpPr>
              <p:spPr>
                <a:xfrm>
                  <a:off x="7020272" y="274702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5" name="Fluxograma: Conector 194"/>
                <p:cNvSpPr/>
                <p:nvPr/>
              </p:nvSpPr>
              <p:spPr>
                <a:xfrm>
                  <a:off x="7106006" y="24928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6" name="Fluxograma: Conector 195"/>
                <p:cNvSpPr/>
                <p:nvPr/>
              </p:nvSpPr>
              <p:spPr>
                <a:xfrm>
                  <a:off x="7049421" y="254108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7" name="Fluxograma: Conector 196"/>
                <p:cNvSpPr/>
                <p:nvPr/>
              </p:nvSpPr>
              <p:spPr>
                <a:xfrm>
                  <a:off x="7020272" y="260357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8" name="Fluxograma: Conector 197"/>
                <p:cNvSpPr/>
                <p:nvPr/>
              </p:nvSpPr>
              <p:spPr>
                <a:xfrm>
                  <a:off x="7010746" y="26607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199" name="Fluxograma: Conector 198"/>
                <p:cNvSpPr/>
                <p:nvPr/>
              </p:nvSpPr>
              <p:spPr>
                <a:xfrm>
                  <a:off x="5378377" y="353435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0" name="Fluxograma: Conector 199"/>
                <p:cNvSpPr/>
                <p:nvPr/>
              </p:nvSpPr>
              <p:spPr>
                <a:xfrm>
                  <a:off x="5296843" y="35587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1" name="Fluxograma: Conector 200"/>
                <p:cNvSpPr/>
                <p:nvPr/>
              </p:nvSpPr>
              <p:spPr>
                <a:xfrm>
                  <a:off x="5321221" y="361168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2" name="Fluxograma: Conector 201"/>
                <p:cNvSpPr/>
                <p:nvPr/>
              </p:nvSpPr>
              <p:spPr>
                <a:xfrm>
                  <a:off x="4620201" y="399554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3" name="Fluxograma: Conector 202"/>
                <p:cNvSpPr/>
                <p:nvPr/>
              </p:nvSpPr>
              <p:spPr>
                <a:xfrm>
                  <a:off x="5099879" y="408659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4" name="Fluxograma: Conector 203"/>
                <p:cNvSpPr/>
                <p:nvPr/>
              </p:nvSpPr>
              <p:spPr>
                <a:xfrm>
                  <a:off x="4058426" y="441522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5" name="Fluxograma: Conector 204"/>
                <p:cNvSpPr/>
                <p:nvPr/>
              </p:nvSpPr>
              <p:spPr>
                <a:xfrm>
                  <a:off x="4398851" y="47442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6" name="Fluxograma: Conector 205"/>
                <p:cNvSpPr/>
                <p:nvPr/>
              </p:nvSpPr>
              <p:spPr>
                <a:xfrm>
                  <a:off x="4527436" y="460970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7" name="Fluxograma: Conector 206"/>
                <p:cNvSpPr/>
                <p:nvPr/>
              </p:nvSpPr>
              <p:spPr>
                <a:xfrm>
                  <a:off x="4855277" y="48120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8" name="Fluxograma: Conector 207"/>
                <p:cNvSpPr/>
                <p:nvPr/>
              </p:nvSpPr>
              <p:spPr>
                <a:xfrm>
                  <a:off x="4802313" y="483581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09" name="Fluxograma: Conector 208"/>
                <p:cNvSpPr/>
                <p:nvPr/>
              </p:nvSpPr>
              <p:spPr>
                <a:xfrm>
                  <a:off x="4365502" y="510899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0" name="Fluxograma: Conector 209"/>
                <p:cNvSpPr/>
                <p:nvPr/>
              </p:nvSpPr>
              <p:spPr>
                <a:xfrm>
                  <a:off x="4461333" y="499832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1" name="Fluxograma: Conector 210"/>
                <p:cNvSpPr/>
                <p:nvPr/>
              </p:nvSpPr>
              <p:spPr>
                <a:xfrm>
                  <a:off x="4485148" y="515548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2" name="Fluxograma: Conector 211"/>
                <p:cNvSpPr/>
                <p:nvPr/>
              </p:nvSpPr>
              <p:spPr>
                <a:xfrm>
                  <a:off x="4656600" y="51126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3" name="Fluxograma: Conector 212"/>
                <p:cNvSpPr/>
                <p:nvPr/>
              </p:nvSpPr>
              <p:spPr>
                <a:xfrm>
                  <a:off x="4567237" y="522690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4" name="Fluxograma: Conector 213"/>
                <p:cNvSpPr/>
                <p:nvPr/>
              </p:nvSpPr>
              <p:spPr>
                <a:xfrm>
                  <a:off x="5229606" y="517148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5" name="Fluxograma: Conector 214"/>
                <p:cNvSpPr/>
                <p:nvPr/>
              </p:nvSpPr>
              <p:spPr>
                <a:xfrm>
                  <a:off x="5186731" y="524405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6" name="Fluxograma: Conector 215"/>
                <p:cNvSpPr/>
                <p:nvPr/>
              </p:nvSpPr>
              <p:spPr>
                <a:xfrm>
                  <a:off x="5215872" y="537263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7" name="Fluxograma: Conector 216"/>
                <p:cNvSpPr/>
                <p:nvPr/>
              </p:nvSpPr>
              <p:spPr>
                <a:xfrm>
                  <a:off x="4937366" y="541720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8" name="Fluxograma: Conector 217"/>
                <p:cNvSpPr/>
                <p:nvPr/>
              </p:nvSpPr>
              <p:spPr>
                <a:xfrm>
                  <a:off x="4673149" y="547380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19" name="Fluxograma: Conector 218"/>
                <p:cNvSpPr/>
                <p:nvPr/>
              </p:nvSpPr>
              <p:spPr>
                <a:xfrm>
                  <a:off x="4629719" y="538330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0" name="Fluxograma: Conector 219"/>
                <p:cNvSpPr/>
                <p:nvPr/>
              </p:nvSpPr>
              <p:spPr>
                <a:xfrm>
                  <a:off x="4701735" y="566069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1" name="Fluxograma: Conector 220"/>
                <p:cNvSpPr/>
                <p:nvPr/>
              </p:nvSpPr>
              <p:spPr>
                <a:xfrm>
                  <a:off x="4946900" y="586299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2" name="Fluxograma: Conector 221"/>
                <p:cNvSpPr/>
                <p:nvPr/>
              </p:nvSpPr>
              <p:spPr>
                <a:xfrm>
                  <a:off x="4322635" y="557551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3" name="Fluxograma: Conector 222"/>
                <p:cNvSpPr/>
                <p:nvPr/>
              </p:nvSpPr>
              <p:spPr>
                <a:xfrm>
                  <a:off x="4159567" y="565648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4" name="Fluxograma: Conector 223"/>
                <p:cNvSpPr/>
                <p:nvPr/>
              </p:nvSpPr>
              <p:spPr>
                <a:xfrm>
                  <a:off x="4101848" y="573801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5" name="Fluxograma: Conector 224"/>
                <p:cNvSpPr/>
                <p:nvPr/>
              </p:nvSpPr>
              <p:spPr>
                <a:xfrm>
                  <a:off x="3972121" y="586184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6" name="Fluxograma: Conector 225"/>
                <p:cNvSpPr/>
                <p:nvPr/>
              </p:nvSpPr>
              <p:spPr>
                <a:xfrm>
                  <a:off x="4157862" y="584449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7" name="Fluxograma: Conector 226"/>
                <p:cNvSpPr/>
                <p:nvPr/>
              </p:nvSpPr>
              <p:spPr>
                <a:xfrm>
                  <a:off x="4490474" y="581479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8" name="Fluxograma: Conector 227"/>
                <p:cNvSpPr/>
                <p:nvPr/>
              </p:nvSpPr>
              <p:spPr>
                <a:xfrm>
                  <a:off x="4490474" y="600053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29" name="Fluxograma: Conector 228"/>
                <p:cNvSpPr/>
                <p:nvPr/>
              </p:nvSpPr>
              <p:spPr>
                <a:xfrm>
                  <a:off x="4355976" y="591593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0" name="Fluxograma: Conector 229"/>
                <p:cNvSpPr/>
                <p:nvPr/>
              </p:nvSpPr>
              <p:spPr>
                <a:xfrm>
                  <a:off x="4222049" y="59450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1" name="Fluxograma: Conector 230"/>
                <p:cNvSpPr/>
                <p:nvPr/>
              </p:nvSpPr>
              <p:spPr>
                <a:xfrm>
                  <a:off x="4322072" y="605882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2" name="Fluxograma: Conector 231"/>
                <p:cNvSpPr/>
                <p:nvPr/>
              </p:nvSpPr>
              <p:spPr>
                <a:xfrm>
                  <a:off x="4408932" y="609385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3" name="Fluxograma: Conector 232"/>
                <p:cNvSpPr/>
                <p:nvPr/>
              </p:nvSpPr>
              <p:spPr>
                <a:xfrm>
                  <a:off x="4547043" y="645810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4" name="Fluxograma: Conector 233"/>
                <p:cNvSpPr/>
                <p:nvPr/>
              </p:nvSpPr>
              <p:spPr>
                <a:xfrm>
                  <a:off x="4519607" y="628663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5" name="Fluxograma: Conector 234"/>
                <p:cNvSpPr/>
                <p:nvPr/>
              </p:nvSpPr>
              <p:spPr>
                <a:xfrm>
                  <a:off x="4672007" y="617006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6" name="Fluxograma: Conector 235"/>
                <p:cNvSpPr/>
                <p:nvPr/>
              </p:nvSpPr>
              <p:spPr>
                <a:xfrm>
                  <a:off x="4697527" y="607480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7" name="Fluxograma: Conector 236"/>
                <p:cNvSpPr/>
                <p:nvPr/>
              </p:nvSpPr>
              <p:spPr>
                <a:xfrm>
                  <a:off x="6530505" y="40580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8" name="Fluxograma: Conector 237"/>
                <p:cNvSpPr/>
                <p:nvPr/>
              </p:nvSpPr>
              <p:spPr>
                <a:xfrm>
                  <a:off x="6281703" y="391456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39" name="Fluxograma: Conector 238"/>
                <p:cNvSpPr/>
                <p:nvPr/>
              </p:nvSpPr>
              <p:spPr>
                <a:xfrm>
                  <a:off x="6213895" y="406696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0" name="Fluxograma: Conector 239"/>
                <p:cNvSpPr/>
                <p:nvPr/>
              </p:nvSpPr>
              <p:spPr>
                <a:xfrm>
                  <a:off x="5584883" y="410029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1" name="Fluxograma: Conector 240"/>
                <p:cNvSpPr/>
                <p:nvPr/>
              </p:nvSpPr>
              <p:spPr>
                <a:xfrm>
                  <a:off x="5772329" y="425745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2" name="Fluxograma: Conector 241"/>
                <p:cNvSpPr/>
                <p:nvPr/>
              </p:nvSpPr>
              <p:spPr>
                <a:xfrm>
                  <a:off x="5853855" y="421632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3" name="Fluxograma: Conector 242"/>
                <p:cNvSpPr/>
                <p:nvPr/>
              </p:nvSpPr>
              <p:spPr>
                <a:xfrm>
                  <a:off x="6030070" y="418718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4" name="Fluxograma: Conector 243"/>
                <p:cNvSpPr/>
                <p:nvPr/>
              </p:nvSpPr>
              <p:spPr>
                <a:xfrm>
                  <a:off x="6084168" y="435863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5" name="Fluxograma: Conector 244"/>
                <p:cNvSpPr/>
                <p:nvPr/>
              </p:nvSpPr>
              <p:spPr>
                <a:xfrm>
                  <a:off x="5954441" y="432700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6" name="Fluxograma: Conector 245"/>
                <p:cNvSpPr/>
                <p:nvPr/>
              </p:nvSpPr>
              <p:spPr>
                <a:xfrm>
                  <a:off x="5695550" y="448892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7" name="Fluxograma: Conector 246"/>
                <p:cNvSpPr/>
                <p:nvPr/>
              </p:nvSpPr>
              <p:spPr>
                <a:xfrm>
                  <a:off x="5537245" y="451444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8" name="Fluxograma: Conector 247"/>
                <p:cNvSpPr/>
                <p:nvPr/>
              </p:nvSpPr>
              <p:spPr>
                <a:xfrm>
                  <a:off x="5392666" y="479068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49" name="Fluxograma: Conector 248"/>
                <p:cNvSpPr/>
                <p:nvPr/>
              </p:nvSpPr>
              <p:spPr>
                <a:xfrm>
                  <a:off x="5526014" y="483581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0" name="Fluxograma: Conector 249"/>
                <p:cNvSpPr/>
                <p:nvPr/>
              </p:nvSpPr>
              <p:spPr>
                <a:xfrm>
                  <a:off x="5575349" y="487448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1" name="Fluxograma: Conector 250"/>
                <p:cNvSpPr/>
                <p:nvPr/>
              </p:nvSpPr>
              <p:spPr>
                <a:xfrm>
                  <a:off x="5633068" y="474532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2" name="Fluxograma: Conector 251"/>
                <p:cNvSpPr/>
                <p:nvPr/>
              </p:nvSpPr>
              <p:spPr>
                <a:xfrm>
                  <a:off x="5561060" y="47548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3" name="Fluxograma: Conector 252"/>
                <p:cNvSpPr/>
                <p:nvPr/>
              </p:nvSpPr>
              <p:spPr>
                <a:xfrm>
                  <a:off x="6243036" y="468760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4" name="Fluxograma: Conector 253"/>
                <p:cNvSpPr/>
                <p:nvPr/>
              </p:nvSpPr>
              <p:spPr>
                <a:xfrm>
                  <a:off x="6175228" y="461979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5" name="Fluxograma: Conector 254"/>
                <p:cNvSpPr/>
                <p:nvPr/>
              </p:nvSpPr>
              <p:spPr>
                <a:xfrm>
                  <a:off x="5963967" y="477277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6" name="Fluxograma: Conector 255"/>
                <p:cNvSpPr/>
                <p:nvPr/>
              </p:nvSpPr>
              <p:spPr>
                <a:xfrm>
                  <a:off x="6007397" y="475372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257" name="Fluxograma: Conector 256"/>
                <p:cNvSpPr/>
                <p:nvPr/>
              </p:nvSpPr>
              <p:spPr>
                <a:xfrm>
                  <a:off x="6055011" y="473465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44" name="Fluxograma: Conector 143"/>
            <p:cNvSpPr/>
            <p:nvPr/>
          </p:nvSpPr>
          <p:spPr bwMode="auto">
            <a:xfrm>
              <a:off x="3995738" y="1736774"/>
              <a:ext cx="34925" cy="34925"/>
            </a:xfrm>
            <a:prstGeom prst="flowChartConnector">
              <a:avLst/>
            </a:prstGeom>
            <a:solidFill>
              <a:srgbClr val="006600"/>
            </a:solidFill>
            <a:ln w="158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prstClr val="white"/>
                </a:solidFill>
                <a:latin typeface="Calibri"/>
                <a:cs typeface="Arial" pitchFamily="34" charset="0"/>
              </a:endParaRPr>
            </a:p>
          </p:txBody>
        </p:sp>
      </p:grpSp>
      <p:grpSp>
        <p:nvGrpSpPr>
          <p:cNvPr id="388" name="Grupo 1055"/>
          <p:cNvGrpSpPr>
            <a:grpSpLocks/>
          </p:cNvGrpSpPr>
          <p:nvPr/>
        </p:nvGrpSpPr>
        <p:grpSpPr bwMode="auto">
          <a:xfrm>
            <a:off x="6084888" y="1557338"/>
            <a:ext cx="2921000" cy="2879725"/>
            <a:chOff x="6084888" y="1557387"/>
            <a:chExt cx="2921000" cy="2879725"/>
          </a:xfrm>
        </p:grpSpPr>
        <p:grpSp>
          <p:nvGrpSpPr>
            <p:cNvPr id="389" name="Grupo 682"/>
            <p:cNvGrpSpPr>
              <a:grpSpLocks/>
            </p:cNvGrpSpPr>
            <p:nvPr/>
          </p:nvGrpSpPr>
          <p:grpSpPr bwMode="auto">
            <a:xfrm>
              <a:off x="6084888" y="1557387"/>
              <a:ext cx="2921000" cy="2879725"/>
              <a:chOff x="6084888" y="1466850"/>
              <a:chExt cx="2921000" cy="2879725"/>
            </a:xfrm>
          </p:grpSpPr>
          <p:grpSp>
            <p:nvGrpSpPr>
              <p:cNvPr id="391" name="Grupo 292"/>
              <p:cNvGrpSpPr>
                <a:grpSpLocks/>
              </p:cNvGrpSpPr>
              <p:nvPr/>
            </p:nvGrpSpPr>
            <p:grpSpPr bwMode="auto">
              <a:xfrm>
                <a:off x="6084888" y="1466850"/>
                <a:ext cx="2921000" cy="2856468"/>
                <a:chOff x="1274379" y="461924"/>
                <a:chExt cx="6156000" cy="6019176"/>
              </a:xfrm>
            </p:grpSpPr>
            <p:sp>
              <p:nvSpPr>
                <p:cNvPr id="654" name="Freeform 26"/>
                <p:cNvSpPr>
                  <a:spLocks noChangeAspect="1"/>
                </p:cNvSpPr>
                <p:nvPr/>
              </p:nvSpPr>
              <p:spPr bwMode="auto">
                <a:xfrm>
                  <a:off x="3612989" y="3920855"/>
                  <a:ext cx="1073955" cy="1067116"/>
                </a:xfrm>
                <a:custGeom>
                  <a:avLst/>
                  <a:gdLst>
                    <a:gd name="T0" fmla="*/ 2147483647 w 688"/>
                    <a:gd name="T1" fmla="*/ 2147483647 h 637"/>
                    <a:gd name="T2" fmla="*/ 2147483647 w 688"/>
                    <a:gd name="T3" fmla="*/ 2147483647 h 637"/>
                    <a:gd name="T4" fmla="*/ 2147483647 w 688"/>
                    <a:gd name="T5" fmla="*/ 2147483647 h 637"/>
                    <a:gd name="T6" fmla="*/ 2147483647 w 688"/>
                    <a:gd name="T7" fmla="*/ 2147483647 h 637"/>
                    <a:gd name="T8" fmla="*/ 2147483647 w 688"/>
                    <a:gd name="T9" fmla="*/ 2147483647 h 637"/>
                    <a:gd name="T10" fmla="*/ 2147483647 w 688"/>
                    <a:gd name="T11" fmla="*/ 2147483647 h 637"/>
                    <a:gd name="T12" fmla="*/ 2147483647 w 688"/>
                    <a:gd name="T13" fmla="*/ 2147483647 h 637"/>
                    <a:gd name="T14" fmla="*/ 2147483647 w 688"/>
                    <a:gd name="T15" fmla="*/ 2147483647 h 637"/>
                    <a:gd name="T16" fmla="*/ 2147483647 w 688"/>
                    <a:gd name="T17" fmla="*/ 2147483647 h 637"/>
                    <a:gd name="T18" fmla="*/ 2147483647 w 688"/>
                    <a:gd name="T19" fmla="*/ 2147483647 h 637"/>
                    <a:gd name="T20" fmla="*/ 2147483647 w 688"/>
                    <a:gd name="T21" fmla="*/ 2147483647 h 637"/>
                    <a:gd name="T22" fmla="*/ 2147483647 w 688"/>
                    <a:gd name="T23" fmla="*/ 2147483647 h 637"/>
                    <a:gd name="T24" fmla="*/ 2147483647 w 688"/>
                    <a:gd name="T25" fmla="*/ 2147483647 h 637"/>
                    <a:gd name="T26" fmla="*/ 2147483647 w 688"/>
                    <a:gd name="T27" fmla="*/ 2147483647 h 637"/>
                    <a:gd name="T28" fmla="*/ 2147483647 w 688"/>
                    <a:gd name="T29" fmla="*/ 2147483647 h 637"/>
                    <a:gd name="T30" fmla="*/ 2147483647 w 688"/>
                    <a:gd name="T31" fmla="*/ 2147483647 h 637"/>
                    <a:gd name="T32" fmla="*/ 2147483647 w 688"/>
                    <a:gd name="T33" fmla="*/ 2147483647 h 637"/>
                    <a:gd name="T34" fmla="*/ 2147483647 w 688"/>
                    <a:gd name="T35" fmla="*/ 2147483647 h 637"/>
                    <a:gd name="T36" fmla="*/ 2147483647 w 688"/>
                    <a:gd name="T37" fmla="*/ 2147483647 h 637"/>
                    <a:gd name="T38" fmla="*/ 2147483647 w 688"/>
                    <a:gd name="T39" fmla="*/ 2147483647 h 637"/>
                    <a:gd name="T40" fmla="*/ 2147483647 w 688"/>
                    <a:gd name="T41" fmla="*/ 2147483647 h 637"/>
                    <a:gd name="T42" fmla="*/ 2147483647 w 688"/>
                    <a:gd name="T43" fmla="*/ 2147483647 h 637"/>
                    <a:gd name="T44" fmla="*/ 2147483647 w 688"/>
                    <a:gd name="T45" fmla="*/ 2147483647 h 637"/>
                    <a:gd name="T46" fmla="*/ 2147483647 w 688"/>
                    <a:gd name="T47" fmla="*/ 2147483647 h 637"/>
                    <a:gd name="T48" fmla="*/ 2147483647 w 688"/>
                    <a:gd name="T49" fmla="*/ 2147483647 h 637"/>
                    <a:gd name="T50" fmla="*/ 2147483647 w 688"/>
                    <a:gd name="T51" fmla="*/ 2147483647 h 637"/>
                    <a:gd name="T52" fmla="*/ 2147483647 w 688"/>
                    <a:gd name="T53" fmla="*/ 2147483647 h 637"/>
                    <a:gd name="T54" fmla="*/ 2147483647 w 688"/>
                    <a:gd name="T55" fmla="*/ 2147483647 h 637"/>
                    <a:gd name="T56" fmla="*/ 2147483647 w 688"/>
                    <a:gd name="T57" fmla="*/ 2147483647 h 637"/>
                    <a:gd name="T58" fmla="*/ 2147483647 w 688"/>
                    <a:gd name="T59" fmla="*/ 2147483647 h 637"/>
                    <a:gd name="T60" fmla="*/ 2147483647 w 688"/>
                    <a:gd name="T61" fmla="*/ 2147483647 h 637"/>
                    <a:gd name="T62" fmla="*/ 2147483647 w 688"/>
                    <a:gd name="T63" fmla="*/ 2147483647 h 637"/>
                    <a:gd name="T64" fmla="*/ 2147483647 w 688"/>
                    <a:gd name="T65" fmla="*/ 2147483647 h 637"/>
                    <a:gd name="T66" fmla="*/ 2147483647 w 688"/>
                    <a:gd name="T67" fmla="*/ 2147483647 h 637"/>
                    <a:gd name="T68" fmla="*/ 2147483647 w 688"/>
                    <a:gd name="T69" fmla="*/ 2147483647 h 637"/>
                    <a:gd name="T70" fmla="*/ 2147483647 w 688"/>
                    <a:gd name="T71" fmla="*/ 2147483647 h 637"/>
                    <a:gd name="T72" fmla="*/ 2147483647 w 688"/>
                    <a:gd name="T73" fmla="*/ 2147483647 h 637"/>
                    <a:gd name="T74" fmla="*/ 2147483647 w 688"/>
                    <a:gd name="T75" fmla="*/ 2147483647 h 637"/>
                    <a:gd name="T76" fmla="*/ 2147483647 w 688"/>
                    <a:gd name="T77" fmla="*/ 2147483647 h 637"/>
                    <a:gd name="T78" fmla="*/ 2147483647 w 688"/>
                    <a:gd name="T79" fmla="*/ 2147483647 h 637"/>
                    <a:gd name="T80" fmla="*/ 2147483647 w 688"/>
                    <a:gd name="T81" fmla="*/ 2147483647 h 637"/>
                    <a:gd name="T82" fmla="*/ 2147483647 w 688"/>
                    <a:gd name="T83" fmla="*/ 2147483647 h 637"/>
                    <a:gd name="T84" fmla="*/ 2147483647 w 688"/>
                    <a:gd name="T85" fmla="*/ 2147483647 h 637"/>
                    <a:gd name="T86" fmla="*/ 2147483647 w 688"/>
                    <a:gd name="T87" fmla="*/ 2147483647 h 637"/>
                    <a:gd name="T88" fmla="*/ 2147483647 w 688"/>
                    <a:gd name="T89" fmla="*/ 2147483647 h 637"/>
                    <a:gd name="T90" fmla="*/ 2147483647 w 688"/>
                    <a:gd name="T91" fmla="*/ 2147483647 h 637"/>
                    <a:gd name="T92" fmla="*/ 2147483647 w 688"/>
                    <a:gd name="T93" fmla="*/ 2147483647 h 637"/>
                    <a:gd name="T94" fmla="*/ 2147483647 w 688"/>
                    <a:gd name="T95" fmla="*/ 2147483647 h 637"/>
                    <a:gd name="T96" fmla="*/ 2147483647 w 688"/>
                    <a:gd name="T97" fmla="*/ 2147483647 h 637"/>
                    <a:gd name="T98" fmla="*/ 2147483647 w 688"/>
                    <a:gd name="T99" fmla="*/ 2147483647 h 637"/>
                    <a:gd name="T100" fmla="*/ 2147483647 w 688"/>
                    <a:gd name="T101" fmla="*/ 2147483647 h 637"/>
                    <a:gd name="T102" fmla="*/ 2147483647 w 688"/>
                    <a:gd name="T103" fmla="*/ 2147483647 h 637"/>
                    <a:gd name="T104" fmla="*/ 2147483647 w 688"/>
                    <a:gd name="T105" fmla="*/ 2147483647 h 637"/>
                    <a:gd name="T106" fmla="*/ 2147483647 w 688"/>
                    <a:gd name="T107" fmla="*/ 2147483647 h 637"/>
                    <a:gd name="T108" fmla="*/ 2147483647 w 688"/>
                    <a:gd name="T109" fmla="*/ 2147483647 h 637"/>
                    <a:gd name="T110" fmla="*/ 2147483647 w 688"/>
                    <a:gd name="T111" fmla="*/ 2147483647 h 637"/>
                    <a:gd name="T112" fmla="*/ 2147483647 w 688"/>
                    <a:gd name="T113" fmla="*/ 2147483647 h 637"/>
                    <a:gd name="T114" fmla="*/ 2147483647 w 688"/>
                    <a:gd name="T115" fmla="*/ 2147483647 h 637"/>
                    <a:gd name="T116" fmla="*/ 2147483647 w 688"/>
                    <a:gd name="T117" fmla="*/ 2147483647 h 637"/>
                    <a:gd name="T118" fmla="*/ 2147483647 w 688"/>
                    <a:gd name="T119" fmla="*/ 2147483647 h 637"/>
                    <a:gd name="T120" fmla="*/ 2147483647 w 688"/>
                    <a:gd name="T121" fmla="*/ 2147483647 h 637"/>
                    <a:gd name="T122" fmla="*/ 2147483647 w 688"/>
                    <a:gd name="T123" fmla="*/ 2147483647 h 637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688"/>
                    <a:gd name="T187" fmla="*/ 0 h 637"/>
                    <a:gd name="T188" fmla="*/ 688 w 688"/>
                    <a:gd name="T189" fmla="*/ 637 h 637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688" h="637">
                      <a:moveTo>
                        <a:pt x="629" y="183"/>
                      </a:moveTo>
                      <a:lnTo>
                        <a:pt x="630" y="183"/>
                      </a:lnTo>
                      <a:lnTo>
                        <a:pt x="632" y="184"/>
                      </a:lnTo>
                      <a:lnTo>
                        <a:pt x="634" y="184"/>
                      </a:lnTo>
                      <a:lnTo>
                        <a:pt x="632" y="184"/>
                      </a:lnTo>
                      <a:lnTo>
                        <a:pt x="634" y="184"/>
                      </a:lnTo>
                      <a:lnTo>
                        <a:pt x="635" y="184"/>
                      </a:lnTo>
                      <a:lnTo>
                        <a:pt x="637" y="184"/>
                      </a:lnTo>
                      <a:lnTo>
                        <a:pt x="637" y="186"/>
                      </a:lnTo>
                      <a:lnTo>
                        <a:pt x="637" y="184"/>
                      </a:lnTo>
                      <a:lnTo>
                        <a:pt x="639" y="184"/>
                      </a:lnTo>
                      <a:lnTo>
                        <a:pt x="639" y="186"/>
                      </a:lnTo>
                      <a:lnTo>
                        <a:pt x="640" y="186"/>
                      </a:lnTo>
                      <a:lnTo>
                        <a:pt x="642" y="186"/>
                      </a:lnTo>
                      <a:lnTo>
                        <a:pt x="642" y="188"/>
                      </a:lnTo>
                      <a:lnTo>
                        <a:pt x="644" y="188"/>
                      </a:lnTo>
                      <a:lnTo>
                        <a:pt x="645" y="188"/>
                      </a:lnTo>
                      <a:lnTo>
                        <a:pt x="645" y="189"/>
                      </a:lnTo>
                      <a:lnTo>
                        <a:pt x="645" y="191"/>
                      </a:lnTo>
                      <a:lnTo>
                        <a:pt x="647" y="191"/>
                      </a:lnTo>
                      <a:lnTo>
                        <a:pt x="647" y="189"/>
                      </a:lnTo>
                      <a:lnTo>
                        <a:pt x="649" y="191"/>
                      </a:lnTo>
                      <a:lnTo>
                        <a:pt x="651" y="191"/>
                      </a:lnTo>
                      <a:lnTo>
                        <a:pt x="652" y="191"/>
                      </a:lnTo>
                      <a:lnTo>
                        <a:pt x="651" y="191"/>
                      </a:lnTo>
                      <a:lnTo>
                        <a:pt x="651" y="192"/>
                      </a:lnTo>
                      <a:lnTo>
                        <a:pt x="652" y="192"/>
                      </a:lnTo>
                      <a:lnTo>
                        <a:pt x="654" y="192"/>
                      </a:lnTo>
                      <a:lnTo>
                        <a:pt x="654" y="194"/>
                      </a:lnTo>
                      <a:lnTo>
                        <a:pt x="656" y="194"/>
                      </a:lnTo>
                      <a:lnTo>
                        <a:pt x="657" y="196"/>
                      </a:lnTo>
                      <a:lnTo>
                        <a:pt x="657" y="194"/>
                      </a:lnTo>
                      <a:lnTo>
                        <a:pt x="659" y="194"/>
                      </a:lnTo>
                      <a:lnTo>
                        <a:pt x="661" y="194"/>
                      </a:lnTo>
                      <a:lnTo>
                        <a:pt x="662" y="194"/>
                      </a:lnTo>
                      <a:lnTo>
                        <a:pt x="662" y="196"/>
                      </a:lnTo>
                      <a:lnTo>
                        <a:pt x="664" y="196"/>
                      </a:lnTo>
                      <a:lnTo>
                        <a:pt x="666" y="196"/>
                      </a:lnTo>
                      <a:lnTo>
                        <a:pt x="667" y="196"/>
                      </a:lnTo>
                      <a:lnTo>
                        <a:pt x="667" y="197"/>
                      </a:lnTo>
                      <a:lnTo>
                        <a:pt x="669" y="197"/>
                      </a:lnTo>
                      <a:lnTo>
                        <a:pt x="671" y="199"/>
                      </a:lnTo>
                      <a:lnTo>
                        <a:pt x="671" y="197"/>
                      </a:lnTo>
                      <a:lnTo>
                        <a:pt x="673" y="199"/>
                      </a:lnTo>
                      <a:lnTo>
                        <a:pt x="674" y="199"/>
                      </a:lnTo>
                      <a:lnTo>
                        <a:pt x="674" y="201"/>
                      </a:lnTo>
                      <a:lnTo>
                        <a:pt x="676" y="201"/>
                      </a:lnTo>
                      <a:lnTo>
                        <a:pt x="676" y="202"/>
                      </a:lnTo>
                      <a:lnTo>
                        <a:pt x="676" y="204"/>
                      </a:lnTo>
                      <a:lnTo>
                        <a:pt x="678" y="202"/>
                      </a:lnTo>
                      <a:lnTo>
                        <a:pt x="678" y="204"/>
                      </a:lnTo>
                      <a:lnTo>
                        <a:pt x="678" y="206"/>
                      </a:lnTo>
                      <a:lnTo>
                        <a:pt x="679" y="206"/>
                      </a:lnTo>
                      <a:lnTo>
                        <a:pt x="678" y="206"/>
                      </a:lnTo>
                      <a:lnTo>
                        <a:pt x="678" y="207"/>
                      </a:lnTo>
                      <a:lnTo>
                        <a:pt x="679" y="207"/>
                      </a:lnTo>
                      <a:lnTo>
                        <a:pt x="681" y="207"/>
                      </a:lnTo>
                      <a:lnTo>
                        <a:pt x="679" y="207"/>
                      </a:lnTo>
                      <a:lnTo>
                        <a:pt x="681" y="207"/>
                      </a:lnTo>
                      <a:lnTo>
                        <a:pt x="683" y="207"/>
                      </a:lnTo>
                      <a:lnTo>
                        <a:pt x="683" y="209"/>
                      </a:lnTo>
                      <a:lnTo>
                        <a:pt x="681" y="209"/>
                      </a:lnTo>
                      <a:lnTo>
                        <a:pt x="683" y="210"/>
                      </a:lnTo>
                      <a:lnTo>
                        <a:pt x="684" y="210"/>
                      </a:lnTo>
                      <a:lnTo>
                        <a:pt x="686" y="212"/>
                      </a:lnTo>
                      <a:lnTo>
                        <a:pt x="686" y="214"/>
                      </a:lnTo>
                      <a:lnTo>
                        <a:pt x="684" y="214"/>
                      </a:lnTo>
                      <a:lnTo>
                        <a:pt x="684" y="215"/>
                      </a:lnTo>
                      <a:lnTo>
                        <a:pt x="686" y="219"/>
                      </a:lnTo>
                      <a:lnTo>
                        <a:pt x="688" y="220"/>
                      </a:lnTo>
                      <a:lnTo>
                        <a:pt x="688" y="222"/>
                      </a:lnTo>
                      <a:lnTo>
                        <a:pt x="688" y="224"/>
                      </a:lnTo>
                      <a:lnTo>
                        <a:pt x="686" y="224"/>
                      </a:lnTo>
                      <a:lnTo>
                        <a:pt x="686" y="225"/>
                      </a:lnTo>
                      <a:lnTo>
                        <a:pt x="686" y="224"/>
                      </a:lnTo>
                      <a:lnTo>
                        <a:pt x="684" y="224"/>
                      </a:lnTo>
                      <a:lnTo>
                        <a:pt x="683" y="224"/>
                      </a:lnTo>
                      <a:lnTo>
                        <a:pt x="681" y="224"/>
                      </a:lnTo>
                      <a:lnTo>
                        <a:pt x="681" y="225"/>
                      </a:lnTo>
                      <a:lnTo>
                        <a:pt x="681" y="227"/>
                      </a:lnTo>
                      <a:lnTo>
                        <a:pt x="679" y="229"/>
                      </a:lnTo>
                      <a:lnTo>
                        <a:pt x="679" y="230"/>
                      </a:lnTo>
                      <a:lnTo>
                        <a:pt x="679" y="232"/>
                      </a:lnTo>
                      <a:lnTo>
                        <a:pt x="678" y="233"/>
                      </a:lnTo>
                      <a:lnTo>
                        <a:pt x="676" y="235"/>
                      </a:lnTo>
                      <a:lnTo>
                        <a:pt x="678" y="237"/>
                      </a:lnTo>
                      <a:lnTo>
                        <a:pt x="676" y="237"/>
                      </a:lnTo>
                      <a:lnTo>
                        <a:pt x="676" y="238"/>
                      </a:lnTo>
                      <a:lnTo>
                        <a:pt x="678" y="240"/>
                      </a:lnTo>
                      <a:lnTo>
                        <a:pt x="678" y="242"/>
                      </a:lnTo>
                      <a:lnTo>
                        <a:pt x="678" y="243"/>
                      </a:lnTo>
                      <a:lnTo>
                        <a:pt x="678" y="245"/>
                      </a:lnTo>
                      <a:lnTo>
                        <a:pt x="679" y="247"/>
                      </a:lnTo>
                      <a:lnTo>
                        <a:pt x="679" y="250"/>
                      </a:lnTo>
                      <a:lnTo>
                        <a:pt x="679" y="252"/>
                      </a:lnTo>
                      <a:lnTo>
                        <a:pt x="679" y="253"/>
                      </a:lnTo>
                      <a:lnTo>
                        <a:pt x="681" y="253"/>
                      </a:lnTo>
                      <a:lnTo>
                        <a:pt x="681" y="255"/>
                      </a:lnTo>
                      <a:lnTo>
                        <a:pt x="679" y="256"/>
                      </a:lnTo>
                      <a:lnTo>
                        <a:pt x="679" y="258"/>
                      </a:lnTo>
                      <a:lnTo>
                        <a:pt x="678" y="258"/>
                      </a:lnTo>
                      <a:lnTo>
                        <a:pt x="679" y="260"/>
                      </a:lnTo>
                      <a:lnTo>
                        <a:pt x="679" y="261"/>
                      </a:lnTo>
                      <a:lnTo>
                        <a:pt x="679" y="263"/>
                      </a:lnTo>
                      <a:lnTo>
                        <a:pt x="679" y="265"/>
                      </a:lnTo>
                      <a:lnTo>
                        <a:pt x="679" y="266"/>
                      </a:lnTo>
                      <a:lnTo>
                        <a:pt x="679" y="268"/>
                      </a:lnTo>
                      <a:lnTo>
                        <a:pt x="679" y="270"/>
                      </a:lnTo>
                      <a:lnTo>
                        <a:pt x="681" y="270"/>
                      </a:lnTo>
                      <a:lnTo>
                        <a:pt x="681" y="271"/>
                      </a:lnTo>
                      <a:lnTo>
                        <a:pt x="679" y="271"/>
                      </a:lnTo>
                      <a:lnTo>
                        <a:pt x="679" y="273"/>
                      </a:lnTo>
                      <a:lnTo>
                        <a:pt x="678" y="276"/>
                      </a:lnTo>
                      <a:lnTo>
                        <a:pt x="678" y="278"/>
                      </a:lnTo>
                      <a:lnTo>
                        <a:pt x="676" y="281"/>
                      </a:lnTo>
                      <a:lnTo>
                        <a:pt x="676" y="283"/>
                      </a:lnTo>
                      <a:lnTo>
                        <a:pt x="674" y="284"/>
                      </a:lnTo>
                      <a:lnTo>
                        <a:pt x="674" y="286"/>
                      </a:lnTo>
                      <a:lnTo>
                        <a:pt x="671" y="288"/>
                      </a:lnTo>
                      <a:lnTo>
                        <a:pt x="669" y="289"/>
                      </a:lnTo>
                      <a:lnTo>
                        <a:pt x="667" y="289"/>
                      </a:lnTo>
                      <a:lnTo>
                        <a:pt x="666" y="291"/>
                      </a:lnTo>
                      <a:lnTo>
                        <a:pt x="664" y="291"/>
                      </a:lnTo>
                      <a:lnTo>
                        <a:pt x="662" y="291"/>
                      </a:lnTo>
                      <a:lnTo>
                        <a:pt x="657" y="291"/>
                      </a:lnTo>
                      <a:lnTo>
                        <a:pt x="652" y="293"/>
                      </a:lnTo>
                      <a:lnTo>
                        <a:pt x="651" y="293"/>
                      </a:lnTo>
                      <a:lnTo>
                        <a:pt x="647" y="294"/>
                      </a:lnTo>
                      <a:lnTo>
                        <a:pt x="647" y="296"/>
                      </a:lnTo>
                      <a:lnTo>
                        <a:pt x="645" y="298"/>
                      </a:lnTo>
                      <a:lnTo>
                        <a:pt x="645" y="299"/>
                      </a:lnTo>
                      <a:lnTo>
                        <a:pt x="642" y="304"/>
                      </a:lnTo>
                      <a:lnTo>
                        <a:pt x="640" y="306"/>
                      </a:lnTo>
                      <a:lnTo>
                        <a:pt x="639" y="306"/>
                      </a:lnTo>
                      <a:lnTo>
                        <a:pt x="637" y="307"/>
                      </a:lnTo>
                      <a:lnTo>
                        <a:pt x="637" y="309"/>
                      </a:lnTo>
                      <a:lnTo>
                        <a:pt x="635" y="309"/>
                      </a:lnTo>
                      <a:lnTo>
                        <a:pt x="634" y="312"/>
                      </a:lnTo>
                      <a:lnTo>
                        <a:pt x="634" y="314"/>
                      </a:lnTo>
                      <a:lnTo>
                        <a:pt x="632" y="316"/>
                      </a:lnTo>
                      <a:lnTo>
                        <a:pt x="630" y="316"/>
                      </a:lnTo>
                      <a:lnTo>
                        <a:pt x="630" y="317"/>
                      </a:lnTo>
                      <a:lnTo>
                        <a:pt x="627" y="319"/>
                      </a:lnTo>
                      <a:lnTo>
                        <a:pt x="625" y="321"/>
                      </a:lnTo>
                      <a:lnTo>
                        <a:pt x="624" y="322"/>
                      </a:lnTo>
                      <a:lnTo>
                        <a:pt x="624" y="324"/>
                      </a:lnTo>
                      <a:lnTo>
                        <a:pt x="622" y="325"/>
                      </a:lnTo>
                      <a:lnTo>
                        <a:pt x="622" y="327"/>
                      </a:lnTo>
                      <a:lnTo>
                        <a:pt x="620" y="330"/>
                      </a:lnTo>
                      <a:lnTo>
                        <a:pt x="620" y="332"/>
                      </a:lnTo>
                      <a:lnTo>
                        <a:pt x="622" y="334"/>
                      </a:lnTo>
                      <a:lnTo>
                        <a:pt x="620" y="334"/>
                      </a:lnTo>
                      <a:lnTo>
                        <a:pt x="620" y="335"/>
                      </a:lnTo>
                      <a:lnTo>
                        <a:pt x="622" y="335"/>
                      </a:lnTo>
                      <a:lnTo>
                        <a:pt x="620" y="339"/>
                      </a:lnTo>
                      <a:lnTo>
                        <a:pt x="620" y="342"/>
                      </a:lnTo>
                      <a:lnTo>
                        <a:pt x="622" y="344"/>
                      </a:lnTo>
                      <a:lnTo>
                        <a:pt x="622" y="345"/>
                      </a:lnTo>
                      <a:lnTo>
                        <a:pt x="622" y="347"/>
                      </a:lnTo>
                      <a:lnTo>
                        <a:pt x="622" y="348"/>
                      </a:lnTo>
                      <a:lnTo>
                        <a:pt x="620" y="350"/>
                      </a:lnTo>
                      <a:lnTo>
                        <a:pt x="618" y="350"/>
                      </a:lnTo>
                      <a:lnTo>
                        <a:pt x="618" y="352"/>
                      </a:lnTo>
                      <a:lnTo>
                        <a:pt x="617" y="352"/>
                      </a:lnTo>
                      <a:lnTo>
                        <a:pt x="615" y="352"/>
                      </a:lnTo>
                      <a:lnTo>
                        <a:pt x="613" y="352"/>
                      </a:lnTo>
                      <a:lnTo>
                        <a:pt x="612" y="352"/>
                      </a:lnTo>
                      <a:lnTo>
                        <a:pt x="612" y="353"/>
                      </a:lnTo>
                      <a:lnTo>
                        <a:pt x="610" y="353"/>
                      </a:lnTo>
                      <a:lnTo>
                        <a:pt x="610" y="355"/>
                      </a:lnTo>
                      <a:lnTo>
                        <a:pt x="608" y="355"/>
                      </a:lnTo>
                      <a:lnTo>
                        <a:pt x="608" y="357"/>
                      </a:lnTo>
                      <a:lnTo>
                        <a:pt x="607" y="358"/>
                      </a:lnTo>
                      <a:lnTo>
                        <a:pt x="607" y="360"/>
                      </a:lnTo>
                      <a:lnTo>
                        <a:pt x="607" y="362"/>
                      </a:lnTo>
                      <a:lnTo>
                        <a:pt x="607" y="363"/>
                      </a:lnTo>
                      <a:lnTo>
                        <a:pt x="605" y="363"/>
                      </a:lnTo>
                      <a:lnTo>
                        <a:pt x="605" y="365"/>
                      </a:lnTo>
                      <a:lnTo>
                        <a:pt x="603" y="365"/>
                      </a:lnTo>
                      <a:lnTo>
                        <a:pt x="603" y="367"/>
                      </a:lnTo>
                      <a:lnTo>
                        <a:pt x="602" y="367"/>
                      </a:lnTo>
                      <a:lnTo>
                        <a:pt x="600" y="367"/>
                      </a:lnTo>
                      <a:lnTo>
                        <a:pt x="598" y="367"/>
                      </a:lnTo>
                      <a:lnTo>
                        <a:pt x="597" y="367"/>
                      </a:lnTo>
                      <a:lnTo>
                        <a:pt x="597" y="368"/>
                      </a:lnTo>
                      <a:lnTo>
                        <a:pt x="598" y="371"/>
                      </a:lnTo>
                      <a:lnTo>
                        <a:pt x="597" y="371"/>
                      </a:lnTo>
                      <a:lnTo>
                        <a:pt x="597" y="373"/>
                      </a:lnTo>
                      <a:lnTo>
                        <a:pt x="598" y="373"/>
                      </a:lnTo>
                      <a:lnTo>
                        <a:pt x="598" y="375"/>
                      </a:lnTo>
                      <a:lnTo>
                        <a:pt x="598" y="376"/>
                      </a:lnTo>
                      <a:lnTo>
                        <a:pt x="600" y="378"/>
                      </a:lnTo>
                      <a:lnTo>
                        <a:pt x="600" y="380"/>
                      </a:lnTo>
                      <a:lnTo>
                        <a:pt x="600" y="381"/>
                      </a:lnTo>
                      <a:lnTo>
                        <a:pt x="598" y="383"/>
                      </a:lnTo>
                      <a:lnTo>
                        <a:pt x="598" y="385"/>
                      </a:lnTo>
                      <a:lnTo>
                        <a:pt x="598" y="386"/>
                      </a:lnTo>
                      <a:lnTo>
                        <a:pt x="597" y="388"/>
                      </a:lnTo>
                      <a:lnTo>
                        <a:pt x="595" y="390"/>
                      </a:lnTo>
                      <a:lnTo>
                        <a:pt x="593" y="391"/>
                      </a:lnTo>
                      <a:lnTo>
                        <a:pt x="593" y="393"/>
                      </a:lnTo>
                      <a:lnTo>
                        <a:pt x="593" y="394"/>
                      </a:lnTo>
                      <a:lnTo>
                        <a:pt x="593" y="396"/>
                      </a:lnTo>
                      <a:lnTo>
                        <a:pt x="591" y="396"/>
                      </a:lnTo>
                      <a:lnTo>
                        <a:pt x="591" y="398"/>
                      </a:lnTo>
                      <a:lnTo>
                        <a:pt x="590" y="398"/>
                      </a:lnTo>
                      <a:lnTo>
                        <a:pt x="590" y="399"/>
                      </a:lnTo>
                      <a:lnTo>
                        <a:pt x="588" y="401"/>
                      </a:lnTo>
                      <a:lnTo>
                        <a:pt x="586" y="401"/>
                      </a:lnTo>
                      <a:lnTo>
                        <a:pt x="586" y="403"/>
                      </a:lnTo>
                      <a:lnTo>
                        <a:pt x="585" y="401"/>
                      </a:lnTo>
                      <a:lnTo>
                        <a:pt x="581" y="401"/>
                      </a:lnTo>
                      <a:lnTo>
                        <a:pt x="580" y="401"/>
                      </a:lnTo>
                      <a:lnTo>
                        <a:pt x="578" y="401"/>
                      </a:lnTo>
                      <a:lnTo>
                        <a:pt x="578" y="403"/>
                      </a:lnTo>
                      <a:lnTo>
                        <a:pt x="576" y="404"/>
                      </a:lnTo>
                      <a:lnTo>
                        <a:pt x="576" y="406"/>
                      </a:lnTo>
                      <a:lnTo>
                        <a:pt x="576" y="408"/>
                      </a:lnTo>
                      <a:lnTo>
                        <a:pt x="578" y="408"/>
                      </a:lnTo>
                      <a:lnTo>
                        <a:pt x="578" y="409"/>
                      </a:lnTo>
                      <a:lnTo>
                        <a:pt x="580" y="409"/>
                      </a:lnTo>
                      <a:lnTo>
                        <a:pt x="580" y="411"/>
                      </a:lnTo>
                      <a:lnTo>
                        <a:pt x="580" y="412"/>
                      </a:lnTo>
                      <a:lnTo>
                        <a:pt x="581" y="412"/>
                      </a:lnTo>
                      <a:lnTo>
                        <a:pt x="581" y="414"/>
                      </a:lnTo>
                      <a:lnTo>
                        <a:pt x="581" y="416"/>
                      </a:lnTo>
                      <a:lnTo>
                        <a:pt x="580" y="417"/>
                      </a:lnTo>
                      <a:lnTo>
                        <a:pt x="580" y="419"/>
                      </a:lnTo>
                      <a:lnTo>
                        <a:pt x="578" y="421"/>
                      </a:lnTo>
                      <a:lnTo>
                        <a:pt x="576" y="422"/>
                      </a:lnTo>
                      <a:lnTo>
                        <a:pt x="575" y="424"/>
                      </a:lnTo>
                      <a:lnTo>
                        <a:pt x="573" y="424"/>
                      </a:lnTo>
                      <a:lnTo>
                        <a:pt x="571" y="424"/>
                      </a:lnTo>
                      <a:lnTo>
                        <a:pt x="569" y="426"/>
                      </a:lnTo>
                      <a:lnTo>
                        <a:pt x="569" y="427"/>
                      </a:lnTo>
                      <a:lnTo>
                        <a:pt x="568" y="429"/>
                      </a:lnTo>
                      <a:lnTo>
                        <a:pt x="568" y="431"/>
                      </a:lnTo>
                      <a:lnTo>
                        <a:pt x="568" y="432"/>
                      </a:lnTo>
                      <a:lnTo>
                        <a:pt x="566" y="434"/>
                      </a:lnTo>
                      <a:lnTo>
                        <a:pt x="564" y="435"/>
                      </a:lnTo>
                      <a:lnTo>
                        <a:pt x="563" y="435"/>
                      </a:lnTo>
                      <a:lnTo>
                        <a:pt x="563" y="437"/>
                      </a:lnTo>
                      <a:lnTo>
                        <a:pt x="561" y="437"/>
                      </a:lnTo>
                      <a:lnTo>
                        <a:pt x="561" y="439"/>
                      </a:lnTo>
                      <a:lnTo>
                        <a:pt x="559" y="439"/>
                      </a:lnTo>
                      <a:lnTo>
                        <a:pt x="558" y="440"/>
                      </a:lnTo>
                      <a:lnTo>
                        <a:pt x="556" y="442"/>
                      </a:lnTo>
                      <a:lnTo>
                        <a:pt x="556" y="444"/>
                      </a:lnTo>
                      <a:lnTo>
                        <a:pt x="554" y="445"/>
                      </a:lnTo>
                      <a:lnTo>
                        <a:pt x="554" y="447"/>
                      </a:lnTo>
                      <a:lnTo>
                        <a:pt x="554" y="449"/>
                      </a:lnTo>
                      <a:lnTo>
                        <a:pt x="553" y="450"/>
                      </a:lnTo>
                      <a:lnTo>
                        <a:pt x="553" y="452"/>
                      </a:lnTo>
                      <a:lnTo>
                        <a:pt x="553" y="454"/>
                      </a:lnTo>
                      <a:lnTo>
                        <a:pt x="551" y="455"/>
                      </a:lnTo>
                      <a:lnTo>
                        <a:pt x="549" y="457"/>
                      </a:lnTo>
                      <a:lnTo>
                        <a:pt x="548" y="457"/>
                      </a:lnTo>
                      <a:lnTo>
                        <a:pt x="548" y="458"/>
                      </a:lnTo>
                      <a:lnTo>
                        <a:pt x="548" y="460"/>
                      </a:lnTo>
                      <a:lnTo>
                        <a:pt x="546" y="460"/>
                      </a:lnTo>
                      <a:lnTo>
                        <a:pt x="544" y="462"/>
                      </a:lnTo>
                      <a:lnTo>
                        <a:pt x="544" y="463"/>
                      </a:lnTo>
                      <a:lnTo>
                        <a:pt x="542" y="463"/>
                      </a:lnTo>
                      <a:lnTo>
                        <a:pt x="541" y="465"/>
                      </a:lnTo>
                      <a:lnTo>
                        <a:pt x="539" y="467"/>
                      </a:lnTo>
                      <a:lnTo>
                        <a:pt x="537" y="467"/>
                      </a:lnTo>
                      <a:lnTo>
                        <a:pt x="536" y="468"/>
                      </a:lnTo>
                      <a:lnTo>
                        <a:pt x="534" y="468"/>
                      </a:lnTo>
                      <a:lnTo>
                        <a:pt x="531" y="470"/>
                      </a:lnTo>
                      <a:lnTo>
                        <a:pt x="529" y="472"/>
                      </a:lnTo>
                      <a:lnTo>
                        <a:pt x="527" y="472"/>
                      </a:lnTo>
                      <a:lnTo>
                        <a:pt x="526" y="472"/>
                      </a:lnTo>
                      <a:lnTo>
                        <a:pt x="526" y="473"/>
                      </a:lnTo>
                      <a:lnTo>
                        <a:pt x="524" y="473"/>
                      </a:lnTo>
                      <a:lnTo>
                        <a:pt x="524" y="475"/>
                      </a:lnTo>
                      <a:lnTo>
                        <a:pt x="522" y="475"/>
                      </a:lnTo>
                      <a:lnTo>
                        <a:pt x="521" y="475"/>
                      </a:lnTo>
                      <a:lnTo>
                        <a:pt x="519" y="477"/>
                      </a:lnTo>
                      <a:lnTo>
                        <a:pt x="517" y="477"/>
                      </a:lnTo>
                      <a:lnTo>
                        <a:pt x="515" y="478"/>
                      </a:lnTo>
                      <a:lnTo>
                        <a:pt x="514" y="480"/>
                      </a:lnTo>
                      <a:lnTo>
                        <a:pt x="512" y="480"/>
                      </a:lnTo>
                      <a:lnTo>
                        <a:pt x="510" y="481"/>
                      </a:lnTo>
                      <a:lnTo>
                        <a:pt x="509" y="481"/>
                      </a:lnTo>
                      <a:lnTo>
                        <a:pt x="509" y="483"/>
                      </a:lnTo>
                      <a:lnTo>
                        <a:pt x="507" y="483"/>
                      </a:lnTo>
                      <a:lnTo>
                        <a:pt x="507" y="485"/>
                      </a:lnTo>
                      <a:lnTo>
                        <a:pt x="505" y="485"/>
                      </a:lnTo>
                      <a:lnTo>
                        <a:pt x="505" y="486"/>
                      </a:lnTo>
                      <a:lnTo>
                        <a:pt x="504" y="488"/>
                      </a:lnTo>
                      <a:lnTo>
                        <a:pt x="502" y="488"/>
                      </a:lnTo>
                      <a:lnTo>
                        <a:pt x="500" y="490"/>
                      </a:lnTo>
                      <a:lnTo>
                        <a:pt x="499" y="490"/>
                      </a:lnTo>
                      <a:lnTo>
                        <a:pt x="495" y="490"/>
                      </a:lnTo>
                      <a:lnTo>
                        <a:pt x="492" y="491"/>
                      </a:lnTo>
                      <a:lnTo>
                        <a:pt x="490" y="491"/>
                      </a:lnTo>
                      <a:lnTo>
                        <a:pt x="490" y="495"/>
                      </a:lnTo>
                      <a:lnTo>
                        <a:pt x="488" y="495"/>
                      </a:lnTo>
                      <a:lnTo>
                        <a:pt x="487" y="495"/>
                      </a:lnTo>
                      <a:lnTo>
                        <a:pt x="485" y="496"/>
                      </a:lnTo>
                      <a:lnTo>
                        <a:pt x="483" y="498"/>
                      </a:lnTo>
                      <a:lnTo>
                        <a:pt x="482" y="498"/>
                      </a:lnTo>
                      <a:lnTo>
                        <a:pt x="482" y="500"/>
                      </a:lnTo>
                      <a:lnTo>
                        <a:pt x="480" y="501"/>
                      </a:lnTo>
                      <a:lnTo>
                        <a:pt x="480" y="503"/>
                      </a:lnTo>
                      <a:lnTo>
                        <a:pt x="480" y="504"/>
                      </a:lnTo>
                      <a:lnTo>
                        <a:pt x="478" y="508"/>
                      </a:lnTo>
                      <a:lnTo>
                        <a:pt x="477" y="508"/>
                      </a:lnTo>
                      <a:lnTo>
                        <a:pt x="477" y="509"/>
                      </a:lnTo>
                      <a:lnTo>
                        <a:pt x="475" y="509"/>
                      </a:lnTo>
                      <a:lnTo>
                        <a:pt x="475" y="511"/>
                      </a:lnTo>
                      <a:lnTo>
                        <a:pt x="473" y="513"/>
                      </a:lnTo>
                      <a:lnTo>
                        <a:pt x="472" y="514"/>
                      </a:lnTo>
                      <a:lnTo>
                        <a:pt x="470" y="514"/>
                      </a:lnTo>
                      <a:lnTo>
                        <a:pt x="468" y="514"/>
                      </a:lnTo>
                      <a:lnTo>
                        <a:pt x="466" y="514"/>
                      </a:lnTo>
                      <a:lnTo>
                        <a:pt x="463" y="516"/>
                      </a:lnTo>
                      <a:lnTo>
                        <a:pt x="460" y="518"/>
                      </a:lnTo>
                      <a:lnTo>
                        <a:pt x="458" y="518"/>
                      </a:lnTo>
                      <a:lnTo>
                        <a:pt x="456" y="518"/>
                      </a:lnTo>
                      <a:lnTo>
                        <a:pt x="456" y="519"/>
                      </a:lnTo>
                      <a:lnTo>
                        <a:pt x="455" y="521"/>
                      </a:lnTo>
                      <a:lnTo>
                        <a:pt x="453" y="521"/>
                      </a:lnTo>
                      <a:lnTo>
                        <a:pt x="451" y="521"/>
                      </a:lnTo>
                      <a:lnTo>
                        <a:pt x="451" y="523"/>
                      </a:lnTo>
                      <a:lnTo>
                        <a:pt x="450" y="524"/>
                      </a:lnTo>
                      <a:lnTo>
                        <a:pt x="448" y="524"/>
                      </a:lnTo>
                      <a:lnTo>
                        <a:pt x="446" y="526"/>
                      </a:lnTo>
                      <a:lnTo>
                        <a:pt x="444" y="526"/>
                      </a:lnTo>
                      <a:lnTo>
                        <a:pt x="443" y="527"/>
                      </a:lnTo>
                      <a:lnTo>
                        <a:pt x="441" y="527"/>
                      </a:lnTo>
                      <a:lnTo>
                        <a:pt x="439" y="529"/>
                      </a:lnTo>
                      <a:lnTo>
                        <a:pt x="439" y="531"/>
                      </a:lnTo>
                      <a:lnTo>
                        <a:pt x="438" y="531"/>
                      </a:lnTo>
                      <a:lnTo>
                        <a:pt x="436" y="534"/>
                      </a:lnTo>
                      <a:lnTo>
                        <a:pt x="434" y="534"/>
                      </a:lnTo>
                      <a:lnTo>
                        <a:pt x="433" y="536"/>
                      </a:lnTo>
                      <a:lnTo>
                        <a:pt x="431" y="539"/>
                      </a:lnTo>
                      <a:lnTo>
                        <a:pt x="431" y="541"/>
                      </a:lnTo>
                      <a:lnTo>
                        <a:pt x="431" y="542"/>
                      </a:lnTo>
                      <a:lnTo>
                        <a:pt x="431" y="546"/>
                      </a:lnTo>
                      <a:lnTo>
                        <a:pt x="431" y="549"/>
                      </a:lnTo>
                      <a:lnTo>
                        <a:pt x="431" y="550"/>
                      </a:lnTo>
                      <a:lnTo>
                        <a:pt x="429" y="550"/>
                      </a:lnTo>
                      <a:lnTo>
                        <a:pt x="429" y="552"/>
                      </a:lnTo>
                      <a:lnTo>
                        <a:pt x="428" y="552"/>
                      </a:lnTo>
                      <a:lnTo>
                        <a:pt x="428" y="554"/>
                      </a:lnTo>
                      <a:lnTo>
                        <a:pt x="428" y="555"/>
                      </a:lnTo>
                      <a:lnTo>
                        <a:pt x="426" y="555"/>
                      </a:lnTo>
                      <a:lnTo>
                        <a:pt x="426" y="557"/>
                      </a:lnTo>
                      <a:lnTo>
                        <a:pt x="424" y="559"/>
                      </a:lnTo>
                      <a:lnTo>
                        <a:pt x="424" y="562"/>
                      </a:lnTo>
                      <a:lnTo>
                        <a:pt x="424" y="564"/>
                      </a:lnTo>
                      <a:lnTo>
                        <a:pt x="423" y="565"/>
                      </a:lnTo>
                      <a:lnTo>
                        <a:pt x="421" y="569"/>
                      </a:lnTo>
                      <a:lnTo>
                        <a:pt x="419" y="570"/>
                      </a:lnTo>
                      <a:lnTo>
                        <a:pt x="419" y="572"/>
                      </a:lnTo>
                      <a:lnTo>
                        <a:pt x="417" y="572"/>
                      </a:lnTo>
                      <a:lnTo>
                        <a:pt x="417" y="573"/>
                      </a:lnTo>
                      <a:lnTo>
                        <a:pt x="416" y="573"/>
                      </a:lnTo>
                      <a:lnTo>
                        <a:pt x="414" y="573"/>
                      </a:lnTo>
                      <a:lnTo>
                        <a:pt x="412" y="575"/>
                      </a:lnTo>
                      <a:lnTo>
                        <a:pt x="409" y="577"/>
                      </a:lnTo>
                      <a:lnTo>
                        <a:pt x="407" y="577"/>
                      </a:lnTo>
                      <a:lnTo>
                        <a:pt x="406" y="578"/>
                      </a:lnTo>
                      <a:lnTo>
                        <a:pt x="404" y="578"/>
                      </a:lnTo>
                      <a:lnTo>
                        <a:pt x="402" y="580"/>
                      </a:lnTo>
                      <a:lnTo>
                        <a:pt x="401" y="580"/>
                      </a:lnTo>
                      <a:lnTo>
                        <a:pt x="399" y="580"/>
                      </a:lnTo>
                      <a:lnTo>
                        <a:pt x="397" y="582"/>
                      </a:lnTo>
                      <a:lnTo>
                        <a:pt x="397" y="583"/>
                      </a:lnTo>
                      <a:lnTo>
                        <a:pt x="396" y="585"/>
                      </a:lnTo>
                      <a:lnTo>
                        <a:pt x="396" y="587"/>
                      </a:lnTo>
                      <a:lnTo>
                        <a:pt x="396" y="590"/>
                      </a:lnTo>
                      <a:lnTo>
                        <a:pt x="394" y="592"/>
                      </a:lnTo>
                      <a:lnTo>
                        <a:pt x="394" y="593"/>
                      </a:lnTo>
                      <a:lnTo>
                        <a:pt x="394" y="595"/>
                      </a:lnTo>
                      <a:lnTo>
                        <a:pt x="394" y="596"/>
                      </a:lnTo>
                      <a:lnTo>
                        <a:pt x="394" y="598"/>
                      </a:lnTo>
                      <a:lnTo>
                        <a:pt x="392" y="598"/>
                      </a:lnTo>
                      <a:lnTo>
                        <a:pt x="392" y="600"/>
                      </a:lnTo>
                      <a:lnTo>
                        <a:pt x="390" y="601"/>
                      </a:lnTo>
                      <a:lnTo>
                        <a:pt x="390" y="605"/>
                      </a:lnTo>
                      <a:lnTo>
                        <a:pt x="390" y="606"/>
                      </a:lnTo>
                      <a:lnTo>
                        <a:pt x="390" y="608"/>
                      </a:lnTo>
                      <a:lnTo>
                        <a:pt x="389" y="608"/>
                      </a:lnTo>
                      <a:lnTo>
                        <a:pt x="389" y="610"/>
                      </a:lnTo>
                      <a:lnTo>
                        <a:pt x="389" y="611"/>
                      </a:lnTo>
                      <a:lnTo>
                        <a:pt x="389" y="613"/>
                      </a:lnTo>
                      <a:lnTo>
                        <a:pt x="387" y="614"/>
                      </a:lnTo>
                      <a:lnTo>
                        <a:pt x="389" y="614"/>
                      </a:lnTo>
                      <a:lnTo>
                        <a:pt x="389" y="616"/>
                      </a:lnTo>
                      <a:lnTo>
                        <a:pt x="387" y="616"/>
                      </a:lnTo>
                      <a:lnTo>
                        <a:pt x="387" y="618"/>
                      </a:lnTo>
                      <a:lnTo>
                        <a:pt x="389" y="618"/>
                      </a:lnTo>
                      <a:lnTo>
                        <a:pt x="389" y="619"/>
                      </a:lnTo>
                      <a:lnTo>
                        <a:pt x="389" y="621"/>
                      </a:lnTo>
                      <a:lnTo>
                        <a:pt x="387" y="623"/>
                      </a:lnTo>
                      <a:lnTo>
                        <a:pt x="387" y="626"/>
                      </a:lnTo>
                      <a:lnTo>
                        <a:pt x="385" y="628"/>
                      </a:lnTo>
                      <a:lnTo>
                        <a:pt x="384" y="629"/>
                      </a:lnTo>
                      <a:lnTo>
                        <a:pt x="382" y="629"/>
                      </a:lnTo>
                      <a:lnTo>
                        <a:pt x="379" y="631"/>
                      </a:lnTo>
                      <a:lnTo>
                        <a:pt x="377" y="633"/>
                      </a:lnTo>
                      <a:lnTo>
                        <a:pt x="375" y="634"/>
                      </a:lnTo>
                      <a:lnTo>
                        <a:pt x="374" y="636"/>
                      </a:lnTo>
                      <a:lnTo>
                        <a:pt x="372" y="636"/>
                      </a:lnTo>
                      <a:lnTo>
                        <a:pt x="370" y="636"/>
                      </a:lnTo>
                      <a:lnTo>
                        <a:pt x="370" y="637"/>
                      </a:lnTo>
                      <a:lnTo>
                        <a:pt x="368" y="637"/>
                      </a:lnTo>
                      <a:lnTo>
                        <a:pt x="368" y="636"/>
                      </a:lnTo>
                      <a:lnTo>
                        <a:pt x="367" y="636"/>
                      </a:lnTo>
                      <a:lnTo>
                        <a:pt x="367" y="634"/>
                      </a:lnTo>
                      <a:lnTo>
                        <a:pt x="365" y="634"/>
                      </a:lnTo>
                      <a:lnTo>
                        <a:pt x="365" y="633"/>
                      </a:lnTo>
                      <a:lnTo>
                        <a:pt x="365" y="631"/>
                      </a:lnTo>
                      <a:lnTo>
                        <a:pt x="363" y="631"/>
                      </a:lnTo>
                      <a:lnTo>
                        <a:pt x="362" y="631"/>
                      </a:lnTo>
                      <a:lnTo>
                        <a:pt x="360" y="631"/>
                      </a:lnTo>
                      <a:lnTo>
                        <a:pt x="360" y="629"/>
                      </a:lnTo>
                      <a:lnTo>
                        <a:pt x="358" y="628"/>
                      </a:lnTo>
                      <a:lnTo>
                        <a:pt x="357" y="628"/>
                      </a:lnTo>
                      <a:lnTo>
                        <a:pt x="357" y="626"/>
                      </a:lnTo>
                      <a:lnTo>
                        <a:pt x="355" y="624"/>
                      </a:lnTo>
                      <a:lnTo>
                        <a:pt x="355" y="623"/>
                      </a:lnTo>
                      <a:lnTo>
                        <a:pt x="353" y="621"/>
                      </a:lnTo>
                      <a:lnTo>
                        <a:pt x="352" y="621"/>
                      </a:lnTo>
                      <a:lnTo>
                        <a:pt x="350" y="621"/>
                      </a:lnTo>
                      <a:lnTo>
                        <a:pt x="348" y="619"/>
                      </a:lnTo>
                      <a:lnTo>
                        <a:pt x="348" y="621"/>
                      </a:lnTo>
                      <a:lnTo>
                        <a:pt x="348" y="619"/>
                      </a:lnTo>
                      <a:lnTo>
                        <a:pt x="347" y="621"/>
                      </a:lnTo>
                      <a:lnTo>
                        <a:pt x="347" y="619"/>
                      </a:lnTo>
                      <a:lnTo>
                        <a:pt x="345" y="619"/>
                      </a:lnTo>
                      <a:lnTo>
                        <a:pt x="343" y="619"/>
                      </a:lnTo>
                      <a:lnTo>
                        <a:pt x="341" y="619"/>
                      </a:lnTo>
                      <a:lnTo>
                        <a:pt x="341" y="618"/>
                      </a:lnTo>
                      <a:lnTo>
                        <a:pt x="341" y="616"/>
                      </a:lnTo>
                      <a:lnTo>
                        <a:pt x="340" y="616"/>
                      </a:lnTo>
                      <a:lnTo>
                        <a:pt x="338" y="618"/>
                      </a:lnTo>
                      <a:lnTo>
                        <a:pt x="338" y="616"/>
                      </a:lnTo>
                      <a:lnTo>
                        <a:pt x="336" y="616"/>
                      </a:lnTo>
                      <a:lnTo>
                        <a:pt x="336" y="614"/>
                      </a:lnTo>
                      <a:lnTo>
                        <a:pt x="335" y="614"/>
                      </a:lnTo>
                      <a:lnTo>
                        <a:pt x="335" y="616"/>
                      </a:lnTo>
                      <a:lnTo>
                        <a:pt x="335" y="614"/>
                      </a:lnTo>
                      <a:lnTo>
                        <a:pt x="333" y="614"/>
                      </a:lnTo>
                      <a:lnTo>
                        <a:pt x="333" y="613"/>
                      </a:lnTo>
                      <a:lnTo>
                        <a:pt x="331" y="614"/>
                      </a:lnTo>
                      <a:lnTo>
                        <a:pt x="331" y="616"/>
                      </a:lnTo>
                      <a:lnTo>
                        <a:pt x="330" y="616"/>
                      </a:lnTo>
                      <a:lnTo>
                        <a:pt x="330" y="618"/>
                      </a:lnTo>
                      <a:lnTo>
                        <a:pt x="328" y="618"/>
                      </a:lnTo>
                      <a:lnTo>
                        <a:pt x="326" y="619"/>
                      </a:lnTo>
                      <a:lnTo>
                        <a:pt x="326" y="618"/>
                      </a:lnTo>
                      <a:lnTo>
                        <a:pt x="325" y="619"/>
                      </a:lnTo>
                      <a:lnTo>
                        <a:pt x="325" y="618"/>
                      </a:lnTo>
                      <a:lnTo>
                        <a:pt x="323" y="618"/>
                      </a:lnTo>
                      <a:lnTo>
                        <a:pt x="321" y="619"/>
                      </a:lnTo>
                      <a:lnTo>
                        <a:pt x="320" y="619"/>
                      </a:lnTo>
                      <a:lnTo>
                        <a:pt x="320" y="621"/>
                      </a:lnTo>
                      <a:lnTo>
                        <a:pt x="318" y="621"/>
                      </a:lnTo>
                      <a:lnTo>
                        <a:pt x="318" y="619"/>
                      </a:lnTo>
                      <a:lnTo>
                        <a:pt x="316" y="619"/>
                      </a:lnTo>
                      <a:lnTo>
                        <a:pt x="316" y="621"/>
                      </a:lnTo>
                      <a:lnTo>
                        <a:pt x="316" y="623"/>
                      </a:lnTo>
                      <a:lnTo>
                        <a:pt x="314" y="623"/>
                      </a:lnTo>
                      <a:lnTo>
                        <a:pt x="313" y="623"/>
                      </a:lnTo>
                      <a:lnTo>
                        <a:pt x="313" y="621"/>
                      </a:lnTo>
                      <a:lnTo>
                        <a:pt x="311" y="621"/>
                      </a:lnTo>
                      <a:lnTo>
                        <a:pt x="311" y="623"/>
                      </a:lnTo>
                      <a:lnTo>
                        <a:pt x="309" y="623"/>
                      </a:lnTo>
                      <a:lnTo>
                        <a:pt x="309" y="624"/>
                      </a:lnTo>
                      <a:lnTo>
                        <a:pt x="308" y="624"/>
                      </a:lnTo>
                      <a:lnTo>
                        <a:pt x="309" y="624"/>
                      </a:lnTo>
                      <a:lnTo>
                        <a:pt x="308" y="626"/>
                      </a:lnTo>
                      <a:lnTo>
                        <a:pt x="308" y="628"/>
                      </a:lnTo>
                      <a:lnTo>
                        <a:pt x="306" y="628"/>
                      </a:lnTo>
                      <a:lnTo>
                        <a:pt x="304" y="628"/>
                      </a:lnTo>
                      <a:lnTo>
                        <a:pt x="303" y="628"/>
                      </a:lnTo>
                      <a:lnTo>
                        <a:pt x="301" y="628"/>
                      </a:lnTo>
                      <a:lnTo>
                        <a:pt x="299" y="628"/>
                      </a:lnTo>
                      <a:lnTo>
                        <a:pt x="298" y="628"/>
                      </a:lnTo>
                      <a:lnTo>
                        <a:pt x="298" y="629"/>
                      </a:lnTo>
                      <a:lnTo>
                        <a:pt x="296" y="629"/>
                      </a:lnTo>
                      <a:lnTo>
                        <a:pt x="296" y="631"/>
                      </a:lnTo>
                      <a:lnTo>
                        <a:pt x="294" y="629"/>
                      </a:lnTo>
                      <a:lnTo>
                        <a:pt x="292" y="629"/>
                      </a:lnTo>
                      <a:lnTo>
                        <a:pt x="292" y="628"/>
                      </a:lnTo>
                      <a:lnTo>
                        <a:pt x="291" y="628"/>
                      </a:lnTo>
                      <a:lnTo>
                        <a:pt x="289" y="629"/>
                      </a:lnTo>
                      <a:lnTo>
                        <a:pt x="287" y="629"/>
                      </a:lnTo>
                      <a:lnTo>
                        <a:pt x="286" y="629"/>
                      </a:lnTo>
                      <a:lnTo>
                        <a:pt x="284" y="631"/>
                      </a:lnTo>
                      <a:lnTo>
                        <a:pt x="284" y="629"/>
                      </a:lnTo>
                      <a:lnTo>
                        <a:pt x="282" y="629"/>
                      </a:lnTo>
                      <a:lnTo>
                        <a:pt x="282" y="631"/>
                      </a:lnTo>
                      <a:lnTo>
                        <a:pt x="277" y="631"/>
                      </a:lnTo>
                      <a:lnTo>
                        <a:pt x="276" y="631"/>
                      </a:lnTo>
                      <a:lnTo>
                        <a:pt x="276" y="629"/>
                      </a:lnTo>
                      <a:lnTo>
                        <a:pt x="274" y="629"/>
                      </a:lnTo>
                      <a:lnTo>
                        <a:pt x="274" y="628"/>
                      </a:lnTo>
                      <a:lnTo>
                        <a:pt x="272" y="628"/>
                      </a:lnTo>
                      <a:lnTo>
                        <a:pt x="271" y="628"/>
                      </a:lnTo>
                      <a:lnTo>
                        <a:pt x="271" y="629"/>
                      </a:lnTo>
                      <a:lnTo>
                        <a:pt x="269" y="631"/>
                      </a:lnTo>
                      <a:lnTo>
                        <a:pt x="267" y="629"/>
                      </a:lnTo>
                      <a:lnTo>
                        <a:pt x="265" y="629"/>
                      </a:lnTo>
                      <a:lnTo>
                        <a:pt x="265" y="628"/>
                      </a:lnTo>
                      <a:lnTo>
                        <a:pt x="264" y="628"/>
                      </a:lnTo>
                      <a:lnTo>
                        <a:pt x="264" y="629"/>
                      </a:lnTo>
                      <a:lnTo>
                        <a:pt x="264" y="628"/>
                      </a:lnTo>
                      <a:lnTo>
                        <a:pt x="262" y="628"/>
                      </a:lnTo>
                      <a:lnTo>
                        <a:pt x="262" y="626"/>
                      </a:lnTo>
                      <a:lnTo>
                        <a:pt x="260" y="626"/>
                      </a:lnTo>
                      <a:lnTo>
                        <a:pt x="260" y="624"/>
                      </a:lnTo>
                      <a:lnTo>
                        <a:pt x="259" y="624"/>
                      </a:lnTo>
                      <a:lnTo>
                        <a:pt x="259" y="623"/>
                      </a:lnTo>
                      <a:lnTo>
                        <a:pt x="260" y="619"/>
                      </a:lnTo>
                      <a:lnTo>
                        <a:pt x="259" y="618"/>
                      </a:lnTo>
                      <a:lnTo>
                        <a:pt x="260" y="618"/>
                      </a:lnTo>
                      <a:lnTo>
                        <a:pt x="259" y="618"/>
                      </a:lnTo>
                      <a:lnTo>
                        <a:pt x="259" y="614"/>
                      </a:lnTo>
                      <a:lnTo>
                        <a:pt x="259" y="613"/>
                      </a:lnTo>
                      <a:lnTo>
                        <a:pt x="260" y="613"/>
                      </a:lnTo>
                      <a:lnTo>
                        <a:pt x="260" y="611"/>
                      </a:lnTo>
                      <a:lnTo>
                        <a:pt x="260" y="610"/>
                      </a:lnTo>
                      <a:lnTo>
                        <a:pt x="259" y="610"/>
                      </a:lnTo>
                      <a:lnTo>
                        <a:pt x="259" y="608"/>
                      </a:lnTo>
                      <a:lnTo>
                        <a:pt x="259" y="606"/>
                      </a:lnTo>
                      <a:lnTo>
                        <a:pt x="260" y="605"/>
                      </a:lnTo>
                      <a:lnTo>
                        <a:pt x="259" y="605"/>
                      </a:lnTo>
                      <a:lnTo>
                        <a:pt x="257" y="605"/>
                      </a:lnTo>
                      <a:lnTo>
                        <a:pt x="257" y="603"/>
                      </a:lnTo>
                      <a:lnTo>
                        <a:pt x="257" y="601"/>
                      </a:lnTo>
                      <a:lnTo>
                        <a:pt x="255" y="601"/>
                      </a:lnTo>
                      <a:lnTo>
                        <a:pt x="257" y="601"/>
                      </a:lnTo>
                      <a:lnTo>
                        <a:pt x="257" y="600"/>
                      </a:lnTo>
                      <a:lnTo>
                        <a:pt x="257" y="598"/>
                      </a:lnTo>
                      <a:lnTo>
                        <a:pt x="255" y="598"/>
                      </a:lnTo>
                      <a:lnTo>
                        <a:pt x="254" y="598"/>
                      </a:lnTo>
                      <a:lnTo>
                        <a:pt x="254" y="596"/>
                      </a:lnTo>
                      <a:lnTo>
                        <a:pt x="250" y="596"/>
                      </a:lnTo>
                      <a:lnTo>
                        <a:pt x="250" y="595"/>
                      </a:lnTo>
                      <a:lnTo>
                        <a:pt x="250" y="593"/>
                      </a:lnTo>
                      <a:lnTo>
                        <a:pt x="252" y="592"/>
                      </a:lnTo>
                      <a:lnTo>
                        <a:pt x="250" y="592"/>
                      </a:lnTo>
                      <a:lnTo>
                        <a:pt x="252" y="592"/>
                      </a:lnTo>
                      <a:lnTo>
                        <a:pt x="250" y="590"/>
                      </a:lnTo>
                      <a:lnTo>
                        <a:pt x="250" y="588"/>
                      </a:lnTo>
                      <a:lnTo>
                        <a:pt x="250" y="587"/>
                      </a:lnTo>
                      <a:lnTo>
                        <a:pt x="249" y="585"/>
                      </a:lnTo>
                      <a:lnTo>
                        <a:pt x="249" y="583"/>
                      </a:lnTo>
                      <a:lnTo>
                        <a:pt x="249" y="582"/>
                      </a:lnTo>
                      <a:lnTo>
                        <a:pt x="250" y="580"/>
                      </a:lnTo>
                      <a:lnTo>
                        <a:pt x="249" y="580"/>
                      </a:lnTo>
                      <a:lnTo>
                        <a:pt x="250" y="578"/>
                      </a:lnTo>
                      <a:lnTo>
                        <a:pt x="252" y="577"/>
                      </a:lnTo>
                      <a:lnTo>
                        <a:pt x="252" y="575"/>
                      </a:lnTo>
                      <a:lnTo>
                        <a:pt x="254" y="573"/>
                      </a:lnTo>
                      <a:lnTo>
                        <a:pt x="252" y="572"/>
                      </a:lnTo>
                      <a:lnTo>
                        <a:pt x="252" y="570"/>
                      </a:lnTo>
                      <a:lnTo>
                        <a:pt x="250" y="570"/>
                      </a:lnTo>
                      <a:lnTo>
                        <a:pt x="250" y="569"/>
                      </a:lnTo>
                      <a:lnTo>
                        <a:pt x="249" y="569"/>
                      </a:lnTo>
                      <a:lnTo>
                        <a:pt x="249" y="567"/>
                      </a:lnTo>
                      <a:lnTo>
                        <a:pt x="249" y="565"/>
                      </a:lnTo>
                      <a:lnTo>
                        <a:pt x="249" y="564"/>
                      </a:lnTo>
                      <a:lnTo>
                        <a:pt x="250" y="564"/>
                      </a:lnTo>
                      <a:lnTo>
                        <a:pt x="252" y="562"/>
                      </a:lnTo>
                      <a:lnTo>
                        <a:pt x="250" y="562"/>
                      </a:lnTo>
                      <a:lnTo>
                        <a:pt x="250" y="560"/>
                      </a:lnTo>
                      <a:lnTo>
                        <a:pt x="250" y="559"/>
                      </a:lnTo>
                      <a:lnTo>
                        <a:pt x="249" y="559"/>
                      </a:lnTo>
                      <a:lnTo>
                        <a:pt x="250" y="559"/>
                      </a:lnTo>
                      <a:lnTo>
                        <a:pt x="252" y="557"/>
                      </a:lnTo>
                      <a:lnTo>
                        <a:pt x="250" y="557"/>
                      </a:lnTo>
                      <a:lnTo>
                        <a:pt x="250" y="555"/>
                      </a:lnTo>
                      <a:lnTo>
                        <a:pt x="250" y="554"/>
                      </a:lnTo>
                      <a:lnTo>
                        <a:pt x="249" y="554"/>
                      </a:lnTo>
                      <a:lnTo>
                        <a:pt x="249" y="552"/>
                      </a:lnTo>
                      <a:lnTo>
                        <a:pt x="247" y="552"/>
                      </a:lnTo>
                      <a:lnTo>
                        <a:pt x="245" y="552"/>
                      </a:lnTo>
                      <a:lnTo>
                        <a:pt x="245" y="550"/>
                      </a:lnTo>
                      <a:lnTo>
                        <a:pt x="244" y="550"/>
                      </a:lnTo>
                      <a:lnTo>
                        <a:pt x="245" y="550"/>
                      </a:lnTo>
                      <a:lnTo>
                        <a:pt x="244" y="549"/>
                      </a:lnTo>
                      <a:lnTo>
                        <a:pt x="244" y="547"/>
                      </a:lnTo>
                      <a:lnTo>
                        <a:pt x="242" y="546"/>
                      </a:lnTo>
                      <a:lnTo>
                        <a:pt x="244" y="546"/>
                      </a:lnTo>
                      <a:lnTo>
                        <a:pt x="244" y="544"/>
                      </a:lnTo>
                      <a:lnTo>
                        <a:pt x="244" y="542"/>
                      </a:lnTo>
                      <a:lnTo>
                        <a:pt x="242" y="542"/>
                      </a:lnTo>
                      <a:lnTo>
                        <a:pt x="240" y="541"/>
                      </a:lnTo>
                      <a:lnTo>
                        <a:pt x="242" y="539"/>
                      </a:lnTo>
                      <a:lnTo>
                        <a:pt x="242" y="537"/>
                      </a:lnTo>
                      <a:lnTo>
                        <a:pt x="242" y="536"/>
                      </a:lnTo>
                      <a:lnTo>
                        <a:pt x="240" y="536"/>
                      </a:lnTo>
                      <a:lnTo>
                        <a:pt x="240" y="534"/>
                      </a:lnTo>
                      <a:lnTo>
                        <a:pt x="240" y="532"/>
                      </a:lnTo>
                      <a:lnTo>
                        <a:pt x="240" y="531"/>
                      </a:lnTo>
                      <a:lnTo>
                        <a:pt x="240" y="529"/>
                      </a:lnTo>
                      <a:lnTo>
                        <a:pt x="238" y="527"/>
                      </a:lnTo>
                      <a:lnTo>
                        <a:pt x="238" y="526"/>
                      </a:lnTo>
                      <a:lnTo>
                        <a:pt x="238" y="524"/>
                      </a:lnTo>
                      <a:lnTo>
                        <a:pt x="238" y="523"/>
                      </a:lnTo>
                      <a:lnTo>
                        <a:pt x="238" y="521"/>
                      </a:lnTo>
                      <a:lnTo>
                        <a:pt x="240" y="521"/>
                      </a:lnTo>
                      <a:lnTo>
                        <a:pt x="240" y="519"/>
                      </a:lnTo>
                      <a:lnTo>
                        <a:pt x="238" y="519"/>
                      </a:lnTo>
                      <a:lnTo>
                        <a:pt x="240" y="519"/>
                      </a:lnTo>
                      <a:lnTo>
                        <a:pt x="240" y="518"/>
                      </a:lnTo>
                      <a:lnTo>
                        <a:pt x="242" y="518"/>
                      </a:lnTo>
                      <a:lnTo>
                        <a:pt x="242" y="516"/>
                      </a:lnTo>
                      <a:lnTo>
                        <a:pt x="242" y="514"/>
                      </a:lnTo>
                      <a:lnTo>
                        <a:pt x="244" y="514"/>
                      </a:lnTo>
                      <a:lnTo>
                        <a:pt x="244" y="513"/>
                      </a:lnTo>
                      <a:lnTo>
                        <a:pt x="244" y="511"/>
                      </a:lnTo>
                      <a:lnTo>
                        <a:pt x="244" y="509"/>
                      </a:lnTo>
                      <a:lnTo>
                        <a:pt x="242" y="509"/>
                      </a:lnTo>
                      <a:lnTo>
                        <a:pt x="242" y="508"/>
                      </a:lnTo>
                      <a:lnTo>
                        <a:pt x="244" y="508"/>
                      </a:lnTo>
                      <a:lnTo>
                        <a:pt x="244" y="506"/>
                      </a:lnTo>
                      <a:lnTo>
                        <a:pt x="242" y="506"/>
                      </a:lnTo>
                      <a:lnTo>
                        <a:pt x="242" y="504"/>
                      </a:lnTo>
                      <a:lnTo>
                        <a:pt x="240" y="503"/>
                      </a:lnTo>
                      <a:lnTo>
                        <a:pt x="238" y="501"/>
                      </a:lnTo>
                      <a:lnTo>
                        <a:pt x="237" y="501"/>
                      </a:lnTo>
                      <a:lnTo>
                        <a:pt x="237" y="500"/>
                      </a:lnTo>
                      <a:lnTo>
                        <a:pt x="235" y="500"/>
                      </a:lnTo>
                      <a:lnTo>
                        <a:pt x="235" y="498"/>
                      </a:lnTo>
                      <a:lnTo>
                        <a:pt x="233" y="498"/>
                      </a:lnTo>
                      <a:lnTo>
                        <a:pt x="232" y="496"/>
                      </a:lnTo>
                      <a:lnTo>
                        <a:pt x="232" y="495"/>
                      </a:lnTo>
                      <a:lnTo>
                        <a:pt x="230" y="493"/>
                      </a:lnTo>
                      <a:lnTo>
                        <a:pt x="230" y="491"/>
                      </a:lnTo>
                      <a:lnTo>
                        <a:pt x="230" y="490"/>
                      </a:lnTo>
                      <a:lnTo>
                        <a:pt x="232" y="490"/>
                      </a:lnTo>
                      <a:lnTo>
                        <a:pt x="232" y="488"/>
                      </a:lnTo>
                      <a:lnTo>
                        <a:pt x="232" y="486"/>
                      </a:lnTo>
                      <a:lnTo>
                        <a:pt x="232" y="485"/>
                      </a:lnTo>
                      <a:lnTo>
                        <a:pt x="230" y="483"/>
                      </a:lnTo>
                      <a:lnTo>
                        <a:pt x="232" y="483"/>
                      </a:lnTo>
                      <a:lnTo>
                        <a:pt x="230" y="483"/>
                      </a:lnTo>
                      <a:lnTo>
                        <a:pt x="230" y="481"/>
                      </a:lnTo>
                      <a:lnTo>
                        <a:pt x="228" y="481"/>
                      </a:lnTo>
                      <a:lnTo>
                        <a:pt x="227" y="481"/>
                      </a:lnTo>
                      <a:lnTo>
                        <a:pt x="225" y="481"/>
                      </a:lnTo>
                      <a:lnTo>
                        <a:pt x="225" y="480"/>
                      </a:lnTo>
                      <a:lnTo>
                        <a:pt x="225" y="478"/>
                      </a:lnTo>
                      <a:lnTo>
                        <a:pt x="223" y="478"/>
                      </a:lnTo>
                      <a:lnTo>
                        <a:pt x="222" y="477"/>
                      </a:lnTo>
                      <a:lnTo>
                        <a:pt x="222" y="475"/>
                      </a:lnTo>
                      <a:lnTo>
                        <a:pt x="222" y="473"/>
                      </a:lnTo>
                      <a:lnTo>
                        <a:pt x="220" y="473"/>
                      </a:lnTo>
                      <a:lnTo>
                        <a:pt x="220" y="472"/>
                      </a:lnTo>
                      <a:lnTo>
                        <a:pt x="220" y="473"/>
                      </a:lnTo>
                      <a:lnTo>
                        <a:pt x="216" y="473"/>
                      </a:lnTo>
                      <a:lnTo>
                        <a:pt x="215" y="473"/>
                      </a:lnTo>
                      <a:lnTo>
                        <a:pt x="215" y="472"/>
                      </a:lnTo>
                      <a:lnTo>
                        <a:pt x="213" y="472"/>
                      </a:lnTo>
                      <a:lnTo>
                        <a:pt x="211" y="473"/>
                      </a:lnTo>
                      <a:lnTo>
                        <a:pt x="210" y="473"/>
                      </a:lnTo>
                      <a:lnTo>
                        <a:pt x="208" y="473"/>
                      </a:lnTo>
                      <a:lnTo>
                        <a:pt x="208" y="472"/>
                      </a:lnTo>
                      <a:lnTo>
                        <a:pt x="206" y="472"/>
                      </a:lnTo>
                      <a:lnTo>
                        <a:pt x="206" y="473"/>
                      </a:lnTo>
                      <a:lnTo>
                        <a:pt x="205" y="473"/>
                      </a:lnTo>
                      <a:lnTo>
                        <a:pt x="203" y="473"/>
                      </a:lnTo>
                      <a:lnTo>
                        <a:pt x="201" y="472"/>
                      </a:lnTo>
                      <a:lnTo>
                        <a:pt x="200" y="472"/>
                      </a:lnTo>
                      <a:lnTo>
                        <a:pt x="200" y="473"/>
                      </a:lnTo>
                      <a:lnTo>
                        <a:pt x="198" y="473"/>
                      </a:lnTo>
                      <a:lnTo>
                        <a:pt x="196" y="473"/>
                      </a:lnTo>
                      <a:lnTo>
                        <a:pt x="196" y="472"/>
                      </a:lnTo>
                      <a:lnTo>
                        <a:pt x="195" y="472"/>
                      </a:lnTo>
                      <a:lnTo>
                        <a:pt x="195" y="473"/>
                      </a:lnTo>
                      <a:lnTo>
                        <a:pt x="193" y="473"/>
                      </a:lnTo>
                      <a:lnTo>
                        <a:pt x="191" y="473"/>
                      </a:lnTo>
                      <a:lnTo>
                        <a:pt x="189" y="473"/>
                      </a:lnTo>
                      <a:lnTo>
                        <a:pt x="189" y="472"/>
                      </a:lnTo>
                      <a:lnTo>
                        <a:pt x="188" y="473"/>
                      </a:lnTo>
                      <a:lnTo>
                        <a:pt x="188" y="472"/>
                      </a:lnTo>
                      <a:lnTo>
                        <a:pt x="186" y="472"/>
                      </a:lnTo>
                      <a:lnTo>
                        <a:pt x="184" y="470"/>
                      </a:lnTo>
                      <a:lnTo>
                        <a:pt x="184" y="468"/>
                      </a:lnTo>
                      <a:lnTo>
                        <a:pt x="183" y="468"/>
                      </a:lnTo>
                      <a:lnTo>
                        <a:pt x="181" y="468"/>
                      </a:lnTo>
                      <a:lnTo>
                        <a:pt x="179" y="468"/>
                      </a:lnTo>
                      <a:lnTo>
                        <a:pt x="179" y="467"/>
                      </a:lnTo>
                      <a:lnTo>
                        <a:pt x="178" y="467"/>
                      </a:lnTo>
                      <a:lnTo>
                        <a:pt x="176" y="467"/>
                      </a:lnTo>
                      <a:lnTo>
                        <a:pt x="176" y="465"/>
                      </a:lnTo>
                      <a:lnTo>
                        <a:pt x="174" y="465"/>
                      </a:lnTo>
                      <a:lnTo>
                        <a:pt x="174" y="463"/>
                      </a:lnTo>
                      <a:lnTo>
                        <a:pt x="173" y="463"/>
                      </a:lnTo>
                      <a:lnTo>
                        <a:pt x="173" y="462"/>
                      </a:lnTo>
                      <a:lnTo>
                        <a:pt x="173" y="463"/>
                      </a:lnTo>
                      <a:lnTo>
                        <a:pt x="173" y="462"/>
                      </a:lnTo>
                      <a:lnTo>
                        <a:pt x="171" y="462"/>
                      </a:lnTo>
                      <a:lnTo>
                        <a:pt x="171" y="460"/>
                      </a:lnTo>
                      <a:lnTo>
                        <a:pt x="171" y="458"/>
                      </a:lnTo>
                      <a:lnTo>
                        <a:pt x="171" y="457"/>
                      </a:lnTo>
                      <a:lnTo>
                        <a:pt x="169" y="457"/>
                      </a:lnTo>
                      <a:lnTo>
                        <a:pt x="171" y="457"/>
                      </a:lnTo>
                      <a:lnTo>
                        <a:pt x="169" y="457"/>
                      </a:lnTo>
                      <a:lnTo>
                        <a:pt x="169" y="455"/>
                      </a:lnTo>
                      <a:lnTo>
                        <a:pt x="169" y="454"/>
                      </a:lnTo>
                      <a:lnTo>
                        <a:pt x="168" y="454"/>
                      </a:lnTo>
                      <a:lnTo>
                        <a:pt x="166" y="454"/>
                      </a:lnTo>
                      <a:lnTo>
                        <a:pt x="166" y="455"/>
                      </a:lnTo>
                      <a:lnTo>
                        <a:pt x="164" y="454"/>
                      </a:lnTo>
                      <a:lnTo>
                        <a:pt x="162" y="454"/>
                      </a:lnTo>
                      <a:lnTo>
                        <a:pt x="161" y="454"/>
                      </a:lnTo>
                      <a:lnTo>
                        <a:pt x="161" y="455"/>
                      </a:lnTo>
                      <a:lnTo>
                        <a:pt x="159" y="455"/>
                      </a:lnTo>
                      <a:lnTo>
                        <a:pt x="157" y="455"/>
                      </a:lnTo>
                      <a:lnTo>
                        <a:pt x="157" y="457"/>
                      </a:lnTo>
                      <a:lnTo>
                        <a:pt x="157" y="458"/>
                      </a:lnTo>
                      <a:lnTo>
                        <a:pt x="156" y="458"/>
                      </a:lnTo>
                      <a:lnTo>
                        <a:pt x="157" y="458"/>
                      </a:lnTo>
                      <a:lnTo>
                        <a:pt x="157" y="460"/>
                      </a:lnTo>
                      <a:lnTo>
                        <a:pt x="156" y="460"/>
                      </a:lnTo>
                      <a:lnTo>
                        <a:pt x="156" y="462"/>
                      </a:lnTo>
                      <a:lnTo>
                        <a:pt x="156" y="460"/>
                      </a:lnTo>
                      <a:lnTo>
                        <a:pt x="156" y="462"/>
                      </a:lnTo>
                      <a:lnTo>
                        <a:pt x="154" y="462"/>
                      </a:lnTo>
                      <a:lnTo>
                        <a:pt x="154" y="463"/>
                      </a:lnTo>
                      <a:lnTo>
                        <a:pt x="154" y="465"/>
                      </a:lnTo>
                      <a:lnTo>
                        <a:pt x="152" y="465"/>
                      </a:lnTo>
                      <a:lnTo>
                        <a:pt x="151" y="465"/>
                      </a:lnTo>
                      <a:lnTo>
                        <a:pt x="151" y="467"/>
                      </a:lnTo>
                      <a:lnTo>
                        <a:pt x="149" y="467"/>
                      </a:lnTo>
                      <a:lnTo>
                        <a:pt x="149" y="468"/>
                      </a:lnTo>
                      <a:lnTo>
                        <a:pt x="147" y="468"/>
                      </a:lnTo>
                      <a:lnTo>
                        <a:pt x="147" y="470"/>
                      </a:lnTo>
                      <a:lnTo>
                        <a:pt x="147" y="468"/>
                      </a:lnTo>
                      <a:lnTo>
                        <a:pt x="146" y="468"/>
                      </a:lnTo>
                      <a:lnTo>
                        <a:pt x="146" y="470"/>
                      </a:lnTo>
                      <a:lnTo>
                        <a:pt x="146" y="472"/>
                      </a:lnTo>
                      <a:lnTo>
                        <a:pt x="146" y="470"/>
                      </a:lnTo>
                      <a:lnTo>
                        <a:pt x="144" y="470"/>
                      </a:lnTo>
                      <a:lnTo>
                        <a:pt x="142" y="470"/>
                      </a:lnTo>
                      <a:lnTo>
                        <a:pt x="142" y="468"/>
                      </a:lnTo>
                      <a:lnTo>
                        <a:pt x="142" y="467"/>
                      </a:lnTo>
                      <a:lnTo>
                        <a:pt x="140" y="467"/>
                      </a:lnTo>
                      <a:lnTo>
                        <a:pt x="139" y="467"/>
                      </a:lnTo>
                      <a:lnTo>
                        <a:pt x="140" y="467"/>
                      </a:lnTo>
                      <a:lnTo>
                        <a:pt x="140" y="468"/>
                      </a:lnTo>
                      <a:lnTo>
                        <a:pt x="139" y="468"/>
                      </a:lnTo>
                      <a:lnTo>
                        <a:pt x="140" y="468"/>
                      </a:lnTo>
                      <a:lnTo>
                        <a:pt x="139" y="468"/>
                      </a:lnTo>
                      <a:lnTo>
                        <a:pt x="139" y="470"/>
                      </a:lnTo>
                      <a:lnTo>
                        <a:pt x="137" y="470"/>
                      </a:lnTo>
                      <a:lnTo>
                        <a:pt x="137" y="468"/>
                      </a:lnTo>
                      <a:lnTo>
                        <a:pt x="135" y="468"/>
                      </a:lnTo>
                      <a:lnTo>
                        <a:pt x="135" y="470"/>
                      </a:lnTo>
                      <a:lnTo>
                        <a:pt x="134" y="468"/>
                      </a:lnTo>
                      <a:lnTo>
                        <a:pt x="134" y="470"/>
                      </a:lnTo>
                      <a:lnTo>
                        <a:pt x="132" y="470"/>
                      </a:lnTo>
                      <a:lnTo>
                        <a:pt x="132" y="468"/>
                      </a:lnTo>
                      <a:lnTo>
                        <a:pt x="130" y="468"/>
                      </a:lnTo>
                      <a:lnTo>
                        <a:pt x="130" y="470"/>
                      </a:lnTo>
                      <a:lnTo>
                        <a:pt x="130" y="472"/>
                      </a:lnTo>
                      <a:lnTo>
                        <a:pt x="130" y="473"/>
                      </a:lnTo>
                      <a:lnTo>
                        <a:pt x="129" y="473"/>
                      </a:lnTo>
                      <a:lnTo>
                        <a:pt x="127" y="475"/>
                      </a:lnTo>
                      <a:lnTo>
                        <a:pt x="125" y="473"/>
                      </a:lnTo>
                      <a:lnTo>
                        <a:pt x="124" y="473"/>
                      </a:lnTo>
                      <a:lnTo>
                        <a:pt x="124" y="472"/>
                      </a:lnTo>
                      <a:lnTo>
                        <a:pt x="124" y="470"/>
                      </a:lnTo>
                      <a:lnTo>
                        <a:pt x="122" y="470"/>
                      </a:lnTo>
                      <a:lnTo>
                        <a:pt x="120" y="470"/>
                      </a:lnTo>
                      <a:lnTo>
                        <a:pt x="120" y="472"/>
                      </a:lnTo>
                      <a:lnTo>
                        <a:pt x="120" y="470"/>
                      </a:lnTo>
                      <a:lnTo>
                        <a:pt x="119" y="470"/>
                      </a:lnTo>
                      <a:lnTo>
                        <a:pt x="120" y="470"/>
                      </a:lnTo>
                      <a:lnTo>
                        <a:pt x="119" y="470"/>
                      </a:lnTo>
                      <a:lnTo>
                        <a:pt x="117" y="470"/>
                      </a:lnTo>
                      <a:lnTo>
                        <a:pt x="115" y="470"/>
                      </a:lnTo>
                      <a:lnTo>
                        <a:pt x="115" y="468"/>
                      </a:lnTo>
                      <a:lnTo>
                        <a:pt x="113" y="468"/>
                      </a:lnTo>
                      <a:lnTo>
                        <a:pt x="112" y="468"/>
                      </a:lnTo>
                      <a:lnTo>
                        <a:pt x="112" y="467"/>
                      </a:lnTo>
                      <a:lnTo>
                        <a:pt x="112" y="468"/>
                      </a:lnTo>
                      <a:lnTo>
                        <a:pt x="110" y="468"/>
                      </a:lnTo>
                      <a:lnTo>
                        <a:pt x="108" y="468"/>
                      </a:lnTo>
                      <a:lnTo>
                        <a:pt x="107" y="468"/>
                      </a:lnTo>
                      <a:lnTo>
                        <a:pt x="105" y="468"/>
                      </a:lnTo>
                      <a:lnTo>
                        <a:pt x="107" y="468"/>
                      </a:lnTo>
                      <a:lnTo>
                        <a:pt x="105" y="468"/>
                      </a:lnTo>
                      <a:lnTo>
                        <a:pt x="105" y="470"/>
                      </a:lnTo>
                      <a:lnTo>
                        <a:pt x="103" y="468"/>
                      </a:lnTo>
                      <a:lnTo>
                        <a:pt x="103" y="470"/>
                      </a:lnTo>
                      <a:lnTo>
                        <a:pt x="103" y="468"/>
                      </a:lnTo>
                      <a:lnTo>
                        <a:pt x="103" y="470"/>
                      </a:lnTo>
                      <a:lnTo>
                        <a:pt x="102" y="470"/>
                      </a:lnTo>
                      <a:lnTo>
                        <a:pt x="102" y="468"/>
                      </a:lnTo>
                      <a:lnTo>
                        <a:pt x="102" y="467"/>
                      </a:lnTo>
                      <a:lnTo>
                        <a:pt x="100" y="468"/>
                      </a:lnTo>
                      <a:lnTo>
                        <a:pt x="100" y="467"/>
                      </a:lnTo>
                      <a:lnTo>
                        <a:pt x="98" y="467"/>
                      </a:lnTo>
                      <a:lnTo>
                        <a:pt x="98" y="468"/>
                      </a:lnTo>
                      <a:lnTo>
                        <a:pt x="97" y="468"/>
                      </a:lnTo>
                      <a:lnTo>
                        <a:pt x="97" y="467"/>
                      </a:lnTo>
                      <a:lnTo>
                        <a:pt x="97" y="468"/>
                      </a:lnTo>
                      <a:lnTo>
                        <a:pt x="95" y="468"/>
                      </a:lnTo>
                      <a:lnTo>
                        <a:pt x="95" y="467"/>
                      </a:lnTo>
                      <a:lnTo>
                        <a:pt x="95" y="468"/>
                      </a:lnTo>
                      <a:lnTo>
                        <a:pt x="93" y="467"/>
                      </a:lnTo>
                      <a:lnTo>
                        <a:pt x="92" y="467"/>
                      </a:lnTo>
                      <a:lnTo>
                        <a:pt x="92" y="468"/>
                      </a:lnTo>
                      <a:lnTo>
                        <a:pt x="92" y="467"/>
                      </a:lnTo>
                      <a:lnTo>
                        <a:pt x="92" y="468"/>
                      </a:lnTo>
                      <a:lnTo>
                        <a:pt x="90" y="468"/>
                      </a:lnTo>
                      <a:lnTo>
                        <a:pt x="90" y="470"/>
                      </a:lnTo>
                      <a:lnTo>
                        <a:pt x="88" y="470"/>
                      </a:lnTo>
                      <a:lnTo>
                        <a:pt x="88" y="468"/>
                      </a:lnTo>
                      <a:lnTo>
                        <a:pt x="86" y="468"/>
                      </a:lnTo>
                      <a:lnTo>
                        <a:pt x="85" y="468"/>
                      </a:lnTo>
                      <a:lnTo>
                        <a:pt x="85" y="467"/>
                      </a:lnTo>
                      <a:lnTo>
                        <a:pt x="83" y="467"/>
                      </a:lnTo>
                      <a:lnTo>
                        <a:pt x="83" y="468"/>
                      </a:lnTo>
                      <a:lnTo>
                        <a:pt x="81" y="467"/>
                      </a:lnTo>
                      <a:lnTo>
                        <a:pt x="81" y="468"/>
                      </a:lnTo>
                      <a:lnTo>
                        <a:pt x="80" y="468"/>
                      </a:lnTo>
                      <a:lnTo>
                        <a:pt x="78" y="468"/>
                      </a:lnTo>
                      <a:lnTo>
                        <a:pt x="78" y="467"/>
                      </a:lnTo>
                      <a:lnTo>
                        <a:pt x="78" y="468"/>
                      </a:lnTo>
                      <a:lnTo>
                        <a:pt x="76" y="468"/>
                      </a:lnTo>
                      <a:lnTo>
                        <a:pt x="76" y="467"/>
                      </a:lnTo>
                      <a:lnTo>
                        <a:pt x="76" y="468"/>
                      </a:lnTo>
                      <a:lnTo>
                        <a:pt x="76" y="467"/>
                      </a:lnTo>
                      <a:lnTo>
                        <a:pt x="75" y="467"/>
                      </a:lnTo>
                      <a:lnTo>
                        <a:pt x="76" y="467"/>
                      </a:lnTo>
                      <a:lnTo>
                        <a:pt x="75" y="467"/>
                      </a:lnTo>
                      <a:lnTo>
                        <a:pt x="75" y="465"/>
                      </a:lnTo>
                      <a:lnTo>
                        <a:pt x="73" y="465"/>
                      </a:lnTo>
                      <a:lnTo>
                        <a:pt x="75" y="465"/>
                      </a:lnTo>
                      <a:lnTo>
                        <a:pt x="73" y="465"/>
                      </a:lnTo>
                      <a:lnTo>
                        <a:pt x="71" y="465"/>
                      </a:lnTo>
                      <a:lnTo>
                        <a:pt x="70" y="465"/>
                      </a:lnTo>
                      <a:lnTo>
                        <a:pt x="70" y="463"/>
                      </a:lnTo>
                      <a:lnTo>
                        <a:pt x="68" y="463"/>
                      </a:lnTo>
                      <a:lnTo>
                        <a:pt x="68" y="465"/>
                      </a:lnTo>
                      <a:lnTo>
                        <a:pt x="68" y="463"/>
                      </a:lnTo>
                      <a:lnTo>
                        <a:pt x="66" y="463"/>
                      </a:lnTo>
                      <a:lnTo>
                        <a:pt x="64" y="463"/>
                      </a:lnTo>
                      <a:lnTo>
                        <a:pt x="63" y="463"/>
                      </a:lnTo>
                      <a:lnTo>
                        <a:pt x="63" y="462"/>
                      </a:lnTo>
                      <a:lnTo>
                        <a:pt x="61" y="462"/>
                      </a:lnTo>
                      <a:lnTo>
                        <a:pt x="61" y="463"/>
                      </a:lnTo>
                      <a:lnTo>
                        <a:pt x="59" y="463"/>
                      </a:lnTo>
                      <a:lnTo>
                        <a:pt x="58" y="463"/>
                      </a:lnTo>
                      <a:lnTo>
                        <a:pt x="56" y="463"/>
                      </a:lnTo>
                      <a:lnTo>
                        <a:pt x="56" y="462"/>
                      </a:lnTo>
                      <a:lnTo>
                        <a:pt x="56" y="460"/>
                      </a:lnTo>
                      <a:lnTo>
                        <a:pt x="54" y="460"/>
                      </a:lnTo>
                      <a:lnTo>
                        <a:pt x="56" y="458"/>
                      </a:lnTo>
                      <a:lnTo>
                        <a:pt x="54" y="458"/>
                      </a:lnTo>
                      <a:lnTo>
                        <a:pt x="54" y="460"/>
                      </a:lnTo>
                      <a:lnTo>
                        <a:pt x="54" y="458"/>
                      </a:lnTo>
                      <a:lnTo>
                        <a:pt x="53" y="458"/>
                      </a:lnTo>
                      <a:lnTo>
                        <a:pt x="54" y="457"/>
                      </a:lnTo>
                      <a:lnTo>
                        <a:pt x="53" y="457"/>
                      </a:lnTo>
                      <a:lnTo>
                        <a:pt x="54" y="455"/>
                      </a:lnTo>
                      <a:lnTo>
                        <a:pt x="53" y="455"/>
                      </a:lnTo>
                      <a:lnTo>
                        <a:pt x="51" y="457"/>
                      </a:lnTo>
                      <a:lnTo>
                        <a:pt x="49" y="457"/>
                      </a:lnTo>
                      <a:lnTo>
                        <a:pt x="48" y="455"/>
                      </a:lnTo>
                      <a:lnTo>
                        <a:pt x="46" y="455"/>
                      </a:lnTo>
                      <a:lnTo>
                        <a:pt x="44" y="455"/>
                      </a:lnTo>
                      <a:lnTo>
                        <a:pt x="44" y="457"/>
                      </a:lnTo>
                      <a:lnTo>
                        <a:pt x="43" y="457"/>
                      </a:lnTo>
                      <a:lnTo>
                        <a:pt x="43" y="455"/>
                      </a:lnTo>
                      <a:lnTo>
                        <a:pt x="41" y="457"/>
                      </a:lnTo>
                      <a:lnTo>
                        <a:pt x="43" y="457"/>
                      </a:lnTo>
                      <a:lnTo>
                        <a:pt x="43" y="458"/>
                      </a:lnTo>
                      <a:lnTo>
                        <a:pt x="41" y="458"/>
                      </a:lnTo>
                      <a:lnTo>
                        <a:pt x="39" y="458"/>
                      </a:lnTo>
                      <a:lnTo>
                        <a:pt x="37" y="458"/>
                      </a:lnTo>
                      <a:lnTo>
                        <a:pt x="36" y="458"/>
                      </a:lnTo>
                      <a:lnTo>
                        <a:pt x="36" y="460"/>
                      </a:lnTo>
                      <a:lnTo>
                        <a:pt x="34" y="460"/>
                      </a:lnTo>
                      <a:lnTo>
                        <a:pt x="34" y="458"/>
                      </a:lnTo>
                      <a:lnTo>
                        <a:pt x="32" y="457"/>
                      </a:lnTo>
                      <a:lnTo>
                        <a:pt x="31" y="458"/>
                      </a:lnTo>
                      <a:lnTo>
                        <a:pt x="29" y="458"/>
                      </a:lnTo>
                      <a:lnTo>
                        <a:pt x="31" y="458"/>
                      </a:lnTo>
                      <a:lnTo>
                        <a:pt x="29" y="458"/>
                      </a:lnTo>
                      <a:lnTo>
                        <a:pt x="27" y="458"/>
                      </a:lnTo>
                      <a:lnTo>
                        <a:pt x="26" y="458"/>
                      </a:lnTo>
                      <a:lnTo>
                        <a:pt x="24" y="458"/>
                      </a:lnTo>
                      <a:lnTo>
                        <a:pt x="24" y="457"/>
                      </a:lnTo>
                      <a:lnTo>
                        <a:pt x="22" y="457"/>
                      </a:lnTo>
                      <a:lnTo>
                        <a:pt x="22" y="455"/>
                      </a:lnTo>
                      <a:lnTo>
                        <a:pt x="22" y="454"/>
                      </a:lnTo>
                      <a:lnTo>
                        <a:pt x="21" y="455"/>
                      </a:lnTo>
                      <a:lnTo>
                        <a:pt x="21" y="454"/>
                      </a:lnTo>
                      <a:lnTo>
                        <a:pt x="21" y="455"/>
                      </a:lnTo>
                      <a:lnTo>
                        <a:pt x="19" y="455"/>
                      </a:lnTo>
                      <a:lnTo>
                        <a:pt x="17" y="455"/>
                      </a:lnTo>
                      <a:lnTo>
                        <a:pt x="17" y="454"/>
                      </a:lnTo>
                      <a:lnTo>
                        <a:pt x="19" y="454"/>
                      </a:lnTo>
                      <a:lnTo>
                        <a:pt x="17" y="452"/>
                      </a:lnTo>
                      <a:lnTo>
                        <a:pt x="16" y="452"/>
                      </a:lnTo>
                      <a:lnTo>
                        <a:pt x="16" y="450"/>
                      </a:lnTo>
                      <a:lnTo>
                        <a:pt x="16" y="449"/>
                      </a:lnTo>
                      <a:lnTo>
                        <a:pt x="17" y="449"/>
                      </a:lnTo>
                      <a:lnTo>
                        <a:pt x="19" y="449"/>
                      </a:lnTo>
                      <a:lnTo>
                        <a:pt x="19" y="447"/>
                      </a:lnTo>
                      <a:lnTo>
                        <a:pt x="21" y="447"/>
                      </a:lnTo>
                      <a:lnTo>
                        <a:pt x="21" y="445"/>
                      </a:lnTo>
                      <a:lnTo>
                        <a:pt x="21" y="444"/>
                      </a:lnTo>
                      <a:lnTo>
                        <a:pt x="22" y="442"/>
                      </a:lnTo>
                      <a:lnTo>
                        <a:pt x="22" y="440"/>
                      </a:lnTo>
                      <a:lnTo>
                        <a:pt x="22" y="439"/>
                      </a:lnTo>
                      <a:lnTo>
                        <a:pt x="22" y="437"/>
                      </a:lnTo>
                      <a:lnTo>
                        <a:pt x="24" y="435"/>
                      </a:lnTo>
                      <a:lnTo>
                        <a:pt x="26" y="435"/>
                      </a:lnTo>
                      <a:lnTo>
                        <a:pt x="24" y="435"/>
                      </a:lnTo>
                      <a:lnTo>
                        <a:pt x="22" y="434"/>
                      </a:lnTo>
                      <a:lnTo>
                        <a:pt x="21" y="434"/>
                      </a:lnTo>
                      <a:lnTo>
                        <a:pt x="19" y="432"/>
                      </a:lnTo>
                      <a:lnTo>
                        <a:pt x="21" y="432"/>
                      </a:lnTo>
                      <a:lnTo>
                        <a:pt x="22" y="431"/>
                      </a:lnTo>
                      <a:lnTo>
                        <a:pt x="24" y="429"/>
                      </a:lnTo>
                      <a:lnTo>
                        <a:pt x="24" y="427"/>
                      </a:lnTo>
                      <a:lnTo>
                        <a:pt x="26" y="426"/>
                      </a:lnTo>
                      <a:lnTo>
                        <a:pt x="24" y="426"/>
                      </a:lnTo>
                      <a:lnTo>
                        <a:pt x="22" y="424"/>
                      </a:lnTo>
                      <a:lnTo>
                        <a:pt x="22" y="422"/>
                      </a:lnTo>
                      <a:lnTo>
                        <a:pt x="24" y="421"/>
                      </a:lnTo>
                      <a:lnTo>
                        <a:pt x="26" y="421"/>
                      </a:lnTo>
                      <a:lnTo>
                        <a:pt x="26" y="419"/>
                      </a:lnTo>
                      <a:lnTo>
                        <a:pt x="27" y="419"/>
                      </a:lnTo>
                      <a:lnTo>
                        <a:pt x="27" y="417"/>
                      </a:lnTo>
                      <a:lnTo>
                        <a:pt x="26" y="417"/>
                      </a:lnTo>
                      <a:lnTo>
                        <a:pt x="26" y="416"/>
                      </a:lnTo>
                      <a:lnTo>
                        <a:pt x="24" y="416"/>
                      </a:lnTo>
                      <a:lnTo>
                        <a:pt x="22" y="414"/>
                      </a:lnTo>
                      <a:lnTo>
                        <a:pt x="22" y="412"/>
                      </a:lnTo>
                      <a:lnTo>
                        <a:pt x="22" y="411"/>
                      </a:lnTo>
                      <a:lnTo>
                        <a:pt x="24" y="409"/>
                      </a:lnTo>
                      <a:lnTo>
                        <a:pt x="26" y="409"/>
                      </a:lnTo>
                      <a:lnTo>
                        <a:pt x="24" y="409"/>
                      </a:lnTo>
                      <a:lnTo>
                        <a:pt x="24" y="408"/>
                      </a:lnTo>
                      <a:lnTo>
                        <a:pt x="22" y="408"/>
                      </a:lnTo>
                      <a:lnTo>
                        <a:pt x="21" y="408"/>
                      </a:lnTo>
                      <a:lnTo>
                        <a:pt x="21" y="406"/>
                      </a:lnTo>
                      <a:lnTo>
                        <a:pt x="19" y="404"/>
                      </a:lnTo>
                      <a:lnTo>
                        <a:pt x="21" y="403"/>
                      </a:lnTo>
                      <a:lnTo>
                        <a:pt x="21" y="401"/>
                      </a:lnTo>
                      <a:lnTo>
                        <a:pt x="22" y="401"/>
                      </a:lnTo>
                      <a:lnTo>
                        <a:pt x="22" y="399"/>
                      </a:lnTo>
                      <a:lnTo>
                        <a:pt x="24" y="399"/>
                      </a:lnTo>
                      <a:lnTo>
                        <a:pt x="24" y="398"/>
                      </a:lnTo>
                      <a:lnTo>
                        <a:pt x="24" y="396"/>
                      </a:lnTo>
                      <a:lnTo>
                        <a:pt x="26" y="393"/>
                      </a:lnTo>
                      <a:lnTo>
                        <a:pt x="26" y="391"/>
                      </a:lnTo>
                      <a:lnTo>
                        <a:pt x="27" y="390"/>
                      </a:lnTo>
                      <a:lnTo>
                        <a:pt x="29" y="388"/>
                      </a:lnTo>
                      <a:lnTo>
                        <a:pt x="29" y="386"/>
                      </a:lnTo>
                      <a:lnTo>
                        <a:pt x="31" y="386"/>
                      </a:lnTo>
                      <a:lnTo>
                        <a:pt x="31" y="385"/>
                      </a:lnTo>
                      <a:lnTo>
                        <a:pt x="31" y="383"/>
                      </a:lnTo>
                      <a:lnTo>
                        <a:pt x="29" y="383"/>
                      </a:lnTo>
                      <a:lnTo>
                        <a:pt x="27" y="383"/>
                      </a:lnTo>
                      <a:lnTo>
                        <a:pt x="26" y="383"/>
                      </a:lnTo>
                      <a:lnTo>
                        <a:pt x="26" y="381"/>
                      </a:lnTo>
                      <a:lnTo>
                        <a:pt x="24" y="381"/>
                      </a:lnTo>
                      <a:lnTo>
                        <a:pt x="24" y="380"/>
                      </a:lnTo>
                      <a:lnTo>
                        <a:pt x="26" y="380"/>
                      </a:lnTo>
                      <a:lnTo>
                        <a:pt x="27" y="378"/>
                      </a:lnTo>
                      <a:lnTo>
                        <a:pt x="29" y="378"/>
                      </a:lnTo>
                      <a:lnTo>
                        <a:pt x="29" y="376"/>
                      </a:lnTo>
                      <a:lnTo>
                        <a:pt x="31" y="376"/>
                      </a:lnTo>
                      <a:lnTo>
                        <a:pt x="31" y="375"/>
                      </a:lnTo>
                      <a:lnTo>
                        <a:pt x="31" y="373"/>
                      </a:lnTo>
                      <a:lnTo>
                        <a:pt x="31" y="371"/>
                      </a:lnTo>
                      <a:lnTo>
                        <a:pt x="31" y="370"/>
                      </a:lnTo>
                      <a:lnTo>
                        <a:pt x="29" y="367"/>
                      </a:lnTo>
                      <a:lnTo>
                        <a:pt x="31" y="365"/>
                      </a:lnTo>
                      <a:lnTo>
                        <a:pt x="31" y="363"/>
                      </a:lnTo>
                      <a:lnTo>
                        <a:pt x="31" y="362"/>
                      </a:lnTo>
                      <a:lnTo>
                        <a:pt x="29" y="362"/>
                      </a:lnTo>
                      <a:lnTo>
                        <a:pt x="29" y="360"/>
                      </a:lnTo>
                      <a:lnTo>
                        <a:pt x="29" y="358"/>
                      </a:lnTo>
                      <a:lnTo>
                        <a:pt x="31" y="357"/>
                      </a:lnTo>
                      <a:lnTo>
                        <a:pt x="32" y="355"/>
                      </a:lnTo>
                      <a:lnTo>
                        <a:pt x="32" y="353"/>
                      </a:lnTo>
                      <a:lnTo>
                        <a:pt x="34" y="352"/>
                      </a:lnTo>
                      <a:lnTo>
                        <a:pt x="34" y="350"/>
                      </a:lnTo>
                      <a:lnTo>
                        <a:pt x="34" y="348"/>
                      </a:lnTo>
                      <a:lnTo>
                        <a:pt x="32" y="348"/>
                      </a:lnTo>
                      <a:lnTo>
                        <a:pt x="31" y="350"/>
                      </a:lnTo>
                      <a:lnTo>
                        <a:pt x="29" y="350"/>
                      </a:lnTo>
                      <a:lnTo>
                        <a:pt x="29" y="348"/>
                      </a:lnTo>
                      <a:lnTo>
                        <a:pt x="27" y="347"/>
                      </a:lnTo>
                      <a:lnTo>
                        <a:pt x="27" y="345"/>
                      </a:lnTo>
                      <a:lnTo>
                        <a:pt x="26" y="345"/>
                      </a:lnTo>
                      <a:lnTo>
                        <a:pt x="24" y="345"/>
                      </a:lnTo>
                      <a:lnTo>
                        <a:pt x="24" y="344"/>
                      </a:lnTo>
                      <a:lnTo>
                        <a:pt x="26" y="344"/>
                      </a:lnTo>
                      <a:lnTo>
                        <a:pt x="27" y="342"/>
                      </a:lnTo>
                      <a:lnTo>
                        <a:pt x="29" y="340"/>
                      </a:lnTo>
                      <a:lnTo>
                        <a:pt x="31" y="339"/>
                      </a:lnTo>
                      <a:lnTo>
                        <a:pt x="29" y="339"/>
                      </a:lnTo>
                      <a:lnTo>
                        <a:pt x="29" y="337"/>
                      </a:lnTo>
                      <a:lnTo>
                        <a:pt x="27" y="335"/>
                      </a:lnTo>
                      <a:lnTo>
                        <a:pt x="26" y="335"/>
                      </a:lnTo>
                      <a:lnTo>
                        <a:pt x="24" y="335"/>
                      </a:lnTo>
                      <a:lnTo>
                        <a:pt x="22" y="335"/>
                      </a:lnTo>
                      <a:lnTo>
                        <a:pt x="21" y="335"/>
                      </a:lnTo>
                      <a:lnTo>
                        <a:pt x="22" y="332"/>
                      </a:lnTo>
                      <a:lnTo>
                        <a:pt x="22" y="330"/>
                      </a:lnTo>
                      <a:lnTo>
                        <a:pt x="24" y="330"/>
                      </a:lnTo>
                      <a:lnTo>
                        <a:pt x="26" y="330"/>
                      </a:lnTo>
                      <a:lnTo>
                        <a:pt x="29" y="332"/>
                      </a:lnTo>
                      <a:lnTo>
                        <a:pt x="29" y="330"/>
                      </a:lnTo>
                      <a:lnTo>
                        <a:pt x="29" y="329"/>
                      </a:lnTo>
                      <a:lnTo>
                        <a:pt x="29" y="327"/>
                      </a:lnTo>
                      <a:lnTo>
                        <a:pt x="27" y="327"/>
                      </a:lnTo>
                      <a:lnTo>
                        <a:pt x="26" y="325"/>
                      </a:lnTo>
                      <a:lnTo>
                        <a:pt x="26" y="324"/>
                      </a:lnTo>
                      <a:lnTo>
                        <a:pt x="24" y="324"/>
                      </a:lnTo>
                      <a:lnTo>
                        <a:pt x="22" y="324"/>
                      </a:lnTo>
                      <a:lnTo>
                        <a:pt x="21" y="327"/>
                      </a:lnTo>
                      <a:lnTo>
                        <a:pt x="19" y="327"/>
                      </a:lnTo>
                      <a:lnTo>
                        <a:pt x="17" y="327"/>
                      </a:lnTo>
                      <a:lnTo>
                        <a:pt x="17" y="325"/>
                      </a:lnTo>
                      <a:lnTo>
                        <a:pt x="19" y="324"/>
                      </a:lnTo>
                      <a:lnTo>
                        <a:pt x="19" y="322"/>
                      </a:lnTo>
                      <a:lnTo>
                        <a:pt x="19" y="321"/>
                      </a:lnTo>
                      <a:lnTo>
                        <a:pt x="17" y="321"/>
                      </a:lnTo>
                      <a:lnTo>
                        <a:pt x="16" y="319"/>
                      </a:lnTo>
                      <a:lnTo>
                        <a:pt x="16" y="317"/>
                      </a:lnTo>
                      <a:lnTo>
                        <a:pt x="16" y="316"/>
                      </a:lnTo>
                      <a:lnTo>
                        <a:pt x="17" y="316"/>
                      </a:lnTo>
                      <a:lnTo>
                        <a:pt x="17" y="314"/>
                      </a:lnTo>
                      <a:lnTo>
                        <a:pt x="16" y="314"/>
                      </a:lnTo>
                      <a:lnTo>
                        <a:pt x="16" y="311"/>
                      </a:lnTo>
                      <a:lnTo>
                        <a:pt x="16" y="309"/>
                      </a:lnTo>
                      <a:lnTo>
                        <a:pt x="16" y="307"/>
                      </a:lnTo>
                      <a:lnTo>
                        <a:pt x="17" y="304"/>
                      </a:lnTo>
                      <a:lnTo>
                        <a:pt x="17" y="302"/>
                      </a:lnTo>
                      <a:lnTo>
                        <a:pt x="16" y="301"/>
                      </a:lnTo>
                      <a:lnTo>
                        <a:pt x="14" y="299"/>
                      </a:lnTo>
                      <a:lnTo>
                        <a:pt x="12" y="299"/>
                      </a:lnTo>
                      <a:lnTo>
                        <a:pt x="10" y="298"/>
                      </a:lnTo>
                      <a:lnTo>
                        <a:pt x="9" y="298"/>
                      </a:lnTo>
                      <a:lnTo>
                        <a:pt x="9" y="296"/>
                      </a:lnTo>
                      <a:lnTo>
                        <a:pt x="7" y="293"/>
                      </a:lnTo>
                      <a:lnTo>
                        <a:pt x="7" y="291"/>
                      </a:lnTo>
                      <a:lnTo>
                        <a:pt x="7" y="289"/>
                      </a:lnTo>
                      <a:lnTo>
                        <a:pt x="9" y="288"/>
                      </a:lnTo>
                      <a:lnTo>
                        <a:pt x="9" y="286"/>
                      </a:lnTo>
                      <a:lnTo>
                        <a:pt x="7" y="286"/>
                      </a:lnTo>
                      <a:lnTo>
                        <a:pt x="7" y="284"/>
                      </a:lnTo>
                      <a:lnTo>
                        <a:pt x="5" y="284"/>
                      </a:lnTo>
                      <a:lnTo>
                        <a:pt x="5" y="286"/>
                      </a:lnTo>
                      <a:lnTo>
                        <a:pt x="4" y="286"/>
                      </a:lnTo>
                      <a:lnTo>
                        <a:pt x="4" y="288"/>
                      </a:lnTo>
                      <a:lnTo>
                        <a:pt x="2" y="288"/>
                      </a:lnTo>
                      <a:lnTo>
                        <a:pt x="2" y="286"/>
                      </a:lnTo>
                      <a:lnTo>
                        <a:pt x="0" y="286"/>
                      </a:lnTo>
                      <a:lnTo>
                        <a:pt x="0" y="284"/>
                      </a:lnTo>
                      <a:lnTo>
                        <a:pt x="0" y="283"/>
                      </a:lnTo>
                      <a:lnTo>
                        <a:pt x="2" y="283"/>
                      </a:lnTo>
                      <a:lnTo>
                        <a:pt x="2" y="281"/>
                      </a:lnTo>
                      <a:lnTo>
                        <a:pt x="4" y="281"/>
                      </a:lnTo>
                      <a:lnTo>
                        <a:pt x="5" y="281"/>
                      </a:lnTo>
                      <a:lnTo>
                        <a:pt x="5" y="279"/>
                      </a:lnTo>
                      <a:lnTo>
                        <a:pt x="4" y="279"/>
                      </a:lnTo>
                      <a:lnTo>
                        <a:pt x="4" y="278"/>
                      </a:lnTo>
                      <a:lnTo>
                        <a:pt x="2" y="279"/>
                      </a:lnTo>
                      <a:lnTo>
                        <a:pt x="0" y="278"/>
                      </a:lnTo>
                      <a:lnTo>
                        <a:pt x="2" y="278"/>
                      </a:lnTo>
                      <a:lnTo>
                        <a:pt x="2" y="276"/>
                      </a:lnTo>
                      <a:lnTo>
                        <a:pt x="4" y="276"/>
                      </a:lnTo>
                      <a:lnTo>
                        <a:pt x="5" y="276"/>
                      </a:lnTo>
                      <a:lnTo>
                        <a:pt x="5" y="275"/>
                      </a:lnTo>
                      <a:lnTo>
                        <a:pt x="7" y="275"/>
                      </a:lnTo>
                      <a:lnTo>
                        <a:pt x="7" y="273"/>
                      </a:lnTo>
                      <a:lnTo>
                        <a:pt x="9" y="271"/>
                      </a:lnTo>
                      <a:lnTo>
                        <a:pt x="10" y="271"/>
                      </a:lnTo>
                      <a:lnTo>
                        <a:pt x="12" y="271"/>
                      </a:lnTo>
                      <a:lnTo>
                        <a:pt x="12" y="270"/>
                      </a:lnTo>
                      <a:lnTo>
                        <a:pt x="14" y="268"/>
                      </a:lnTo>
                      <a:lnTo>
                        <a:pt x="16" y="268"/>
                      </a:lnTo>
                      <a:lnTo>
                        <a:pt x="17" y="268"/>
                      </a:lnTo>
                      <a:lnTo>
                        <a:pt x="19" y="268"/>
                      </a:lnTo>
                      <a:lnTo>
                        <a:pt x="19" y="266"/>
                      </a:lnTo>
                      <a:lnTo>
                        <a:pt x="21" y="265"/>
                      </a:lnTo>
                      <a:lnTo>
                        <a:pt x="22" y="263"/>
                      </a:lnTo>
                      <a:lnTo>
                        <a:pt x="22" y="265"/>
                      </a:lnTo>
                      <a:lnTo>
                        <a:pt x="24" y="265"/>
                      </a:lnTo>
                      <a:lnTo>
                        <a:pt x="26" y="266"/>
                      </a:lnTo>
                      <a:lnTo>
                        <a:pt x="27" y="263"/>
                      </a:lnTo>
                      <a:lnTo>
                        <a:pt x="29" y="261"/>
                      </a:lnTo>
                      <a:lnTo>
                        <a:pt x="31" y="260"/>
                      </a:lnTo>
                      <a:lnTo>
                        <a:pt x="4" y="240"/>
                      </a:lnTo>
                      <a:lnTo>
                        <a:pt x="16" y="215"/>
                      </a:lnTo>
                      <a:lnTo>
                        <a:pt x="37" y="173"/>
                      </a:lnTo>
                      <a:lnTo>
                        <a:pt x="44" y="173"/>
                      </a:lnTo>
                      <a:lnTo>
                        <a:pt x="46" y="171"/>
                      </a:lnTo>
                      <a:lnTo>
                        <a:pt x="46" y="169"/>
                      </a:lnTo>
                      <a:lnTo>
                        <a:pt x="44" y="169"/>
                      </a:lnTo>
                      <a:lnTo>
                        <a:pt x="44" y="168"/>
                      </a:lnTo>
                      <a:lnTo>
                        <a:pt x="43" y="168"/>
                      </a:lnTo>
                      <a:lnTo>
                        <a:pt x="43" y="161"/>
                      </a:lnTo>
                      <a:lnTo>
                        <a:pt x="39" y="161"/>
                      </a:lnTo>
                      <a:lnTo>
                        <a:pt x="58" y="100"/>
                      </a:lnTo>
                      <a:lnTo>
                        <a:pt x="64" y="99"/>
                      </a:lnTo>
                      <a:lnTo>
                        <a:pt x="68" y="99"/>
                      </a:lnTo>
                      <a:lnTo>
                        <a:pt x="66" y="97"/>
                      </a:lnTo>
                      <a:lnTo>
                        <a:pt x="66" y="96"/>
                      </a:lnTo>
                      <a:lnTo>
                        <a:pt x="64" y="96"/>
                      </a:lnTo>
                      <a:lnTo>
                        <a:pt x="63" y="96"/>
                      </a:lnTo>
                      <a:lnTo>
                        <a:pt x="58" y="91"/>
                      </a:lnTo>
                      <a:lnTo>
                        <a:pt x="54" y="82"/>
                      </a:lnTo>
                      <a:lnTo>
                        <a:pt x="53" y="77"/>
                      </a:lnTo>
                      <a:lnTo>
                        <a:pt x="51" y="76"/>
                      </a:lnTo>
                      <a:lnTo>
                        <a:pt x="43" y="61"/>
                      </a:lnTo>
                      <a:lnTo>
                        <a:pt x="46" y="61"/>
                      </a:lnTo>
                      <a:lnTo>
                        <a:pt x="46" y="59"/>
                      </a:lnTo>
                      <a:lnTo>
                        <a:pt x="43" y="56"/>
                      </a:lnTo>
                      <a:lnTo>
                        <a:pt x="44" y="53"/>
                      </a:lnTo>
                      <a:lnTo>
                        <a:pt x="43" y="51"/>
                      </a:lnTo>
                      <a:lnTo>
                        <a:pt x="41" y="50"/>
                      </a:lnTo>
                      <a:lnTo>
                        <a:pt x="39" y="48"/>
                      </a:lnTo>
                      <a:lnTo>
                        <a:pt x="39" y="46"/>
                      </a:lnTo>
                      <a:lnTo>
                        <a:pt x="37" y="46"/>
                      </a:lnTo>
                      <a:lnTo>
                        <a:pt x="37" y="45"/>
                      </a:lnTo>
                      <a:lnTo>
                        <a:pt x="37" y="43"/>
                      </a:lnTo>
                      <a:lnTo>
                        <a:pt x="37" y="41"/>
                      </a:lnTo>
                      <a:lnTo>
                        <a:pt x="37" y="43"/>
                      </a:lnTo>
                      <a:lnTo>
                        <a:pt x="37" y="41"/>
                      </a:lnTo>
                      <a:lnTo>
                        <a:pt x="37" y="40"/>
                      </a:lnTo>
                      <a:lnTo>
                        <a:pt x="36" y="40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6" y="36"/>
                      </a:lnTo>
                      <a:lnTo>
                        <a:pt x="37" y="36"/>
                      </a:lnTo>
                      <a:lnTo>
                        <a:pt x="39" y="36"/>
                      </a:lnTo>
                      <a:lnTo>
                        <a:pt x="39" y="38"/>
                      </a:lnTo>
                      <a:lnTo>
                        <a:pt x="41" y="38"/>
                      </a:lnTo>
                      <a:lnTo>
                        <a:pt x="41" y="36"/>
                      </a:lnTo>
                      <a:lnTo>
                        <a:pt x="41" y="35"/>
                      </a:lnTo>
                      <a:lnTo>
                        <a:pt x="43" y="35"/>
                      </a:lnTo>
                      <a:lnTo>
                        <a:pt x="44" y="35"/>
                      </a:lnTo>
                      <a:lnTo>
                        <a:pt x="44" y="36"/>
                      </a:lnTo>
                      <a:lnTo>
                        <a:pt x="44" y="38"/>
                      </a:lnTo>
                      <a:lnTo>
                        <a:pt x="44" y="40"/>
                      </a:lnTo>
                      <a:lnTo>
                        <a:pt x="46" y="41"/>
                      </a:lnTo>
                      <a:lnTo>
                        <a:pt x="44" y="41"/>
                      </a:lnTo>
                      <a:lnTo>
                        <a:pt x="46" y="41"/>
                      </a:lnTo>
                      <a:lnTo>
                        <a:pt x="46" y="43"/>
                      </a:lnTo>
                      <a:lnTo>
                        <a:pt x="46" y="45"/>
                      </a:lnTo>
                      <a:lnTo>
                        <a:pt x="48" y="45"/>
                      </a:lnTo>
                      <a:lnTo>
                        <a:pt x="46" y="45"/>
                      </a:lnTo>
                      <a:lnTo>
                        <a:pt x="48" y="46"/>
                      </a:lnTo>
                      <a:lnTo>
                        <a:pt x="48" y="48"/>
                      </a:lnTo>
                      <a:lnTo>
                        <a:pt x="46" y="50"/>
                      </a:lnTo>
                      <a:lnTo>
                        <a:pt x="48" y="51"/>
                      </a:lnTo>
                      <a:lnTo>
                        <a:pt x="46" y="51"/>
                      </a:lnTo>
                      <a:lnTo>
                        <a:pt x="48" y="51"/>
                      </a:lnTo>
                      <a:lnTo>
                        <a:pt x="48" y="53"/>
                      </a:lnTo>
                      <a:lnTo>
                        <a:pt x="49" y="53"/>
                      </a:lnTo>
                      <a:lnTo>
                        <a:pt x="51" y="53"/>
                      </a:lnTo>
                      <a:lnTo>
                        <a:pt x="51" y="51"/>
                      </a:lnTo>
                      <a:lnTo>
                        <a:pt x="53" y="53"/>
                      </a:lnTo>
                      <a:lnTo>
                        <a:pt x="53" y="54"/>
                      </a:lnTo>
                      <a:lnTo>
                        <a:pt x="53" y="56"/>
                      </a:lnTo>
                      <a:lnTo>
                        <a:pt x="54" y="56"/>
                      </a:lnTo>
                      <a:lnTo>
                        <a:pt x="54" y="58"/>
                      </a:lnTo>
                      <a:lnTo>
                        <a:pt x="53" y="58"/>
                      </a:lnTo>
                      <a:lnTo>
                        <a:pt x="54" y="58"/>
                      </a:lnTo>
                      <a:lnTo>
                        <a:pt x="54" y="59"/>
                      </a:lnTo>
                      <a:lnTo>
                        <a:pt x="56" y="59"/>
                      </a:lnTo>
                      <a:lnTo>
                        <a:pt x="58" y="59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59" y="63"/>
                      </a:lnTo>
                      <a:lnTo>
                        <a:pt x="61" y="63"/>
                      </a:lnTo>
                      <a:lnTo>
                        <a:pt x="61" y="64"/>
                      </a:lnTo>
                      <a:lnTo>
                        <a:pt x="63" y="64"/>
                      </a:lnTo>
                      <a:lnTo>
                        <a:pt x="64" y="64"/>
                      </a:lnTo>
                      <a:lnTo>
                        <a:pt x="66" y="64"/>
                      </a:lnTo>
                      <a:lnTo>
                        <a:pt x="66" y="66"/>
                      </a:lnTo>
                      <a:lnTo>
                        <a:pt x="66" y="68"/>
                      </a:lnTo>
                      <a:lnTo>
                        <a:pt x="68" y="68"/>
                      </a:lnTo>
                      <a:lnTo>
                        <a:pt x="68" y="69"/>
                      </a:lnTo>
                      <a:lnTo>
                        <a:pt x="70" y="68"/>
                      </a:lnTo>
                      <a:lnTo>
                        <a:pt x="70" y="66"/>
                      </a:lnTo>
                      <a:lnTo>
                        <a:pt x="71" y="64"/>
                      </a:lnTo>
                      <a:lnTo>
                        <a:pt x="73" y="64"/>
                      </a:lnTo>
                      <a:lnTo>
                        <a:pt x="73" y="63"/>
                      </a:lnTo>
                      <a:lnTo>
                        <a:pt x="75" y="63"/>
                      </a:lnTo>
                      <a:lnTo>
                        <a:pt x="75" y="61"/>
                      </a:lnTo>
                      <a:lnTo>
                        <a:pt x="76" y="61"/>
                      </a:lnTo>
                      <a:lnTo>
                        <a:pt x="76" y="63"/>
                      </a:lnTo>
                      <a:lnTo>
                        <a:pt x="78" y="63"/>
                      </a:lnTo>
                      <a:lnTo>
                        <a:pt x="80" y="63"/>
                      </a:lnTo>
                      <a:lnTo>
                        <a:pt x="81" y="63"/>
                      </a:lnTo>
                      <a:lnTo>
                        <a:pt x="81" y="61"/>
                      </a:lnTo>
                      <a:lnTo>
                        <a:pt x="83" y="59"/>
                      </a:lnTo>
                      <a:lnTo>
                        <a:pt x="83" y="61"/>
                      </a:lnTo>
                      <a:lnTo>
                        <a:pt x="85" y="61"/>
                      </a:lnTo>
                      <a:lnTo>
                        <a:pt x="83" y="61"/>
                      </a:lnTo>
                      <a:lnTo>
                        <a:pt x="85" y="61"/>
                      </a:lnTo>
                      <a:lnTo>
                        <a:pt x="86" y="61"/>
                      </a:lnTo>
                      <a:lnTo>
                        <a:pt x="88" y="61"/>
                      </a:lnTo>
                      <a:lnTo>
                        <a:pt x="88" y="59"/>
                      </a:lnTo>
                      <a:lnTo>
                        <a:pt x="90" y="61"/>
                      </a:lnTo>
                      <a:lnTo>
                        <a:pt x="90" y="59"/>
                      </a:lnTo>
                      <a:lnTo>
                        <a:pt x="88" y="59"/>
                      </a:lnTo>
                      <a:lnTo>
                        <a:pt x="88" y="58"/>
                      </a:lnTo>
                      <a:lnTo>
                        <a:pt x="88" y="59"/>
                      </a:lnTo>
                      <a:lnTo>
                        <a:pt x="90" y="58"/>
                      </a:lnTo>
                      <a:lnTo>
                        <a:pt x="92" y="58"/>
                      </a:lnTo>
                      <a:lnTo>
                        <a:pt x="93" y="58"/>
                      </a:lnTo>
                      <a:lnTo>
                        <a:pt x="95" y="58"/>
                      </a:lnTo>
                      <a:lnTo>
                        <a:pt x="97" y="58"/>
                      </a:lnTo>
                      <a:lnTo>
                        <a:pt x="98" y="56"/>
                      </a:lnTo>
                      <a:lnTo>
                        <a:pt x="100" y="56"/>
                      </a:lnTo>
                      <a:lnTo>
                        <a:pt x="100" y="58"/>
                      </a:lnTo>
                      <a:lnTo>
                        <a:pt x="100" y="56"/>
                      </a:lnTo>
                      <a:lnTo>
                        <a:pt x="102" y="56"/>
                      </a:lnTo>
                      <a:lnTo>
                        <a:pt x="103" y="54"/>
                      </a:lnTo>
                      <a:lnTo>
                        <a:pt x="105" y="53"/>
                      </a:lnTo>
                      <a:lnTo>
                        <a:pt x="107" y="53"/>
                      </a:lnTo>
                      <a:lnTo>
                        <a:pt x="108" y="51"/>
                      </a:lnTo>
                      <a:lnTo>
                        <a:pt x="108" y="50"/>
                      </a:lnTo>
                      <a:lnTo>
                        <a:pt x="110" y="50"/>
                      </a:lnTo>
                      <a:lnTo>
                        <a:pt x="110" y="48"/>
                      </a:lnTo>
                      <a:lnTo>
                        <a:pt x="112" y="48"/>
                      </a:lnTo>
                      <a:lnTo>
                        <a:pt x="112" y="46"/>
                      </a:lnTo>
                      <a:lnTo>
                        <a:pt x="113" y="46"/>
                      </a:lnTo>
                      <a:lnTo>
                        <a:pt x="113" y="45"/>
                      </a:lnTo>
                      <a:lnTo>
                        <a:pt x="113" y="43"/>
                      </a:lnTo>
                      <a:lnTo>
                        <a:pt x="115" y="43"/>
                      </a:lnTo>
                      <a:lnTo>
                        <a:pt x="115" y="41"/>
                      </a:lnTo>
                      <a:lnTo>
                        <a:pt x="113" y="41"/>
                      </a:lnTo>
                      <a:lnTo>
                        <a:pt x="113" y="40"/>
                      </a:lnTo>
                      <a:lnTo>
                        <a:pt x="113" y="38"/>
                      </a:lnTo>
                      <a:lnTo>
                        <a:pt x="115" y="38"/>
                      </a:lnTo>
                      <a:lnTo>
                        <a:pt x="117" y="38"/>
                      </a:lnTo>
                      <a:lnTo>
                        <a:pt x="117" y="36"/>
                      </a:lnTo>
                      <a:lnTo>
                        <a:pt x="119" y="36"/>
                      </a:lnTo>
                      <a:lnTo>
                        <a:pt x="119" y="35"/>
                      </a:lnTo>
                      <a:lnTo>
                        <a:pt x="120" y="35"/>
                      </a:lnTo>
                      <a:lnTo>
                        <a:pt x="122" y="35"/>
                      </a:lnTo>
                      <a:lnTo>
                        <a:pt x="124" y="35"/>
                      </a:lnTo>
                      <a:lnTo>
                        <a:pt x="124" y="33"/>
                      </a:lnTo>
                      <a:lnTo>
                        <a:pt x="125" y="31"/>
                      </a:lnTo>
                      <a:lnTo>
                        <a:pt x="124" y="31"/>
                      </a:lnTo>
                      <a:lnTo>
                        <a:pt x="124" y="30"/>
                      </a:lnTo>
                      <a:lnTo>
                        <a:pt x="125" y="30"/>
                      </a:lnTo>
                      <a:lnTo>
                        <a:pt x="125" y="28"/>
                      </a:lnTo>
                      <a:lnTo>
                        <a:pt x="127" y="28"/>
                      </a:lnTo>
                      <a:lnTo>
                        <a:pt x="129" y="28"/>
                      </a:lnTo>
                      <a:lnTo>
                        <a:pt x="129" y="27"/>
                      </a:lnTo>
                      <a:lnTo>
                        <a:pt x="127" y="27"/>
                      </a:lnTo>
                      <a:lnTo>
                        <a:pt x="127" y="25"/>
                      </a:lnTo>
                      <a:lnTo>
                        <a:pt x="129" y="27"/>
                      </a:lnTo>
                      <a:lnTo>
                        <a:pt x="129" y="25"/>
                      </a:lnTo>
                      <a:lnTo>
                        <a:pt x="127" y="25"/>
                      </a:lnTo>
                      <a:lnTo>
                        <a:pt x="127" y="23"/>
                      </a:lnTo>
                      <a:lnTo>
                        <a:pt x="127" y="22"/>
                      </a:lnTo>
                      <a:lnTo>
                        <a:pt x="129" y="22"/>
                      </a:lnTo>
                      <a:lnTo>
                        <a:pt x="130" y="22"/>
                      </a:lnTo>
                      <a:lnTo>
                        <a:pt x="132" y="22"/>
                      </a:lnTo>
                      <a:lnTo>
                        <a:pt x="132" y="20"/>
                      </a:lnTo>
                      <a:lnTo>
                        <a:pt x="134" y="18"/>
                      </a:lnTo>
                      <a:lnTo>
                        <a:pt x="134" y="17"/>
                      </a:lnTo>
                      <a:lnTo>
                        <a:pt x="134" y="15"/>
                      </a:lnTo>
                      <a:lnTo>
                        <a:pt x="135" y="15"/>
                      </a:lnTo>
                      <a:lnTo>
                        <a:pt x="137" y="15"/>
                      </a:lnTo>
                      <a:lnTo>
                        <a:pt x="137" y="13"/>
                      </a:lnTo>
                      <a:lnTo>
                        <a:pt x="139" y="13"/>
                      </a:lnTo>
                      <a:lnTo>
                        <a:pt x="139" y="15"/>
                      </a:lnTo>
                      <a:lnTo>
                        <a:pt x="140" y="15"/>
                      </a:lnTo>
                      <a:lnTo>
                        <a:pt x="142" y="15"/>
                      </a:lnTo>
                      <a:lnTo>
                        <a:pt x="142" y="17"/>
                      </a:lnTo>
                      <a:lnTo>
                        <a:pt x="144" y="17"/>
                      </a:lnTo>
                      <a:lnTo>
                        <a:pt x="144" y="15"/>
                      </a:lnTo>
                      <a:lnTo>
                        <a:pt x="146" y="17"/>
                      </a:lnTo>
                      <a:lnTo>
                        <a:pt x="146" y="15"/>
                      </a:lnTo>
                      <a:lnTo>
                        <a:pt x="144" y="15"/>
                      </a:lnTo>
                      <a:lnTo>
                        <a:pt x="146" y="15"/>
                      </a:lnTo>
                      <a:lnTo>
                        <a:pt x="147" y="17"/>
                      </a:lnTo>
                      <a:lnTo>
                        <a:pt x="147" y="15"/>
                      </a:lnTo>
                      <a:lnTo>
                        <a:pt x="149" y="17"/>
                      </a:lnTo>
                      <a:lnTo>
                        <a:pt x="149" y="15"/>
                      </a:lnTo>
                      <a:lnTo>
                        <a:pt x="149" y="17"/>
                      </a:lnTo>
                      <a:lnTo>
                        <a:pt x="151" y="15"/>
                      </a:lnTo>
                      <a:lnTo>
                        <a:pt x="152" y="17"/>
                      </a:lnTo>
                      <a:lnTo>
                        <a:pt x="152" y="15"/>
                      </a:lnTo>
                      <a:lnTo>
                        <a:pt x="151" y="15"/>
                      </a:lnTo>
                      <a:lnTo>
                        <a:pt x="152" y="15"/>
                      </a:lnTo>
                      <a:lnTo>
                        <a:pt x="154" y="15"/>
                      </a:lnTo>
                      <a:lnTo>
                        <a:pt x="156" y="15"/>
                      </a:lnTo>
                      <a:lnTo>
                        <a:pt x="157" y="15"/>
                      </a:lnTo>
                      <a:lnTo>
                        <a:pt x="157" y="13"/>
                      </a:lnTo>
                      <a:lnTo>
                        <a:pt x="157" y="15"/>
                      </a:lnTo>
                      <a:lnTo>
                        <a:pt x="157" y="13"/>
                      </a:lnTo>
                      <a:lnTo>
                        <a:pt x="159" y="13"/>
                      </a:lnTo>
                      <a:lnTo>
                        <a:pt x="157" y="13"/>
                      </a:lnTo>
                      <a:lnTo>
                        <a:pt x="157" y="12"/>
                      </a:lnTo>
                      <a:lnTo>
                        <a:pt x="157" y="13"/>
                      </a:lnTo>
                      <a:lnTo>
                        <a:pt x="159" y="12"/>
                      </a:lnTo>
                      <a:lnTo>
                        <a:pt x="159" y="13"/>
                      </a:lnTo>
                      <a:lnTo>
                        <a:pt x="161" y="13"/>
                      </a:lnTo>
                      <a:lnTo>
                        <a:pt x="162" y="13"/>
                      </a:lnTo>
                      <a:lnTo>
                        <a:pt x="162" y="15"/>
                      </a:lnTo>
                      <a:lnTo>
                        <a:pt x="162" y="13"/>
                      </a:lnTo>
                      <a:lnTo>
                        <a:pt x="164" y="13"/>
                      </a:lnTo>
                      <a:lnTo>
                        <a:pt x="164" y="15"/>
                      </a:lnTo>
                      <a:lnTo>
                        <a:pt x="164" y="17"/>
                      </a:lnTo>
                      <a:lnTo>
                        <a:pt x="166" y="15"/>
                      </a:lnTo>
                      <a:lnTo>
                        <a:pt x="168" y="13"/>
                      </a:lnTo>
                      <a:lnTo>
                        <a:pt x="168" y="15"/>
                      </a:lnTo>
                      <a:lnTo>
                        <a:pt x="168" y="13"/>
                      </a:lnTo>
                      <a:lnTo>
                        <a:pt x="169" y="13"/>
                      </a:lnTo>
                      <a:lnTo>
                        <a:pt x="169" y="12"/>
                      </a:lnTo>
                      <a:lnTo>
                        <a:pt x="171" y="12"/>
                      </a:lnTo>
                      <a:lnTo>
                        <a:pt x="173" y="12"/>
                      </a:lnTo>
                      <a:lnTo>
                        <a:pt x="173" y="10"/>
                      </a:lnTo>
                      <a:lnTo>
                        <a:pt x="174" y="10"/>
                      </a:lnTo>
                      <a:lnTo>
                        <a:pt x="173" y="10"/>
                      </a:lnTo>
                      <a:lnTo>
                        <a:pt x="173" y="12"/>
                      </a:lnTo>
                      <a:lnTo>
                        <a:pt x="174" y="12"/>
                      </a:lnTo>
                      <a:lnTo>
                        <a:pt x="176" y="12"/>
                      </a:lnTo>
                      <a:lnTo>
                        <a:pt x="176" y="10"/>
                      </a:lnTo>
                      <a:lnTo>
                        <a:pt x="178" y="10"/>
                      </a:lnTo>
                      <a:lnTo>
                        <a:pt x="178" y="12"/>
                      </a:lnTo>
                      <a:lnTo>
                        <a:pt x="178" y="10"/>
                      </a:lnTo>
                      <a:lnTo>
                        <a:pt x="179" y="10"/>
                      </a:lnTo>
                      <a:lnTo>
                        <a:pt x="179" y="8"/>
                      </a:lnTo>
                      <a:lnTo>
                        <a:pt x="181" y="8"/>
                      </a:lnTo>
                      <a:lnTo>
                        <a:pt x="181" y="7"/>
                      </a:lnTo>
                      <a:lnTo>
                        <a:pt x="181" y="8"/>
                      </a:lnTo>
                      <a:lnTo>
                        <a:pt x="183" y="8"/>
                      </a:lnTo>
                      <a:lnTo>
                        <a:pt x="181" y="7"/>
                      </a:lnTo>
                      <a:lnTo>
                        <a:pt x="183" y="7"/>
                      </a:lnTo>
                      <a:lnTo>
                        <a:pt x="183" y="5"/>
                      </a:lnTo>
                      <a:lnTo>
                        <a:pt x="184" y="5"/>
                      </a:lnTo>
                      <a:lnTo>
                        <a:pt x="184" y="7"/>
                      </a:lnTo>
                      <a:lnTo>
                        <a:pt x="186" y="7"/>
                      </a:lnTo>
                      <a:lnTo>
                        <a:pt x="184" y="5"/>
                      </a:lnTo>
                      <a:lnTo>
                        <a:pt x="186" y="5"/>
                      </a:lnTo>
                      <a:lnTo>
                        <a:pt x="186" y="7"/>
                      </a:lnTo>
                      <a:lnTo>
                        <a:pt x="186" y="5"/>
                      </a:lnTo>
                      <a:lnTo>
                        <a:pt x="188" y="5"/>
                      </a:lnTo>
                      <a:lnTo>
                        <a:pt x="188" y="4"/>
                      </a:lnTo>
                      <a:lnTo>
                        <a:pt x="189" y="4"/>
                      </a:lnTo>
                      <a:lnTo>
                        <a:pt x="188" y="4"/>
                      </a:lnTo>
                      <a:lnTo>
                        <a:pt x="189" y="4"/>
                      </a:lnTo>
                      <a:lnTo>
                        <a:pt x="191" y="4"/>
                      </a:lnTo>
                      <a:lnTo>
                        <a:pt x="191" y="2"/>
                      </a:lnTo>
                      <a:lnTo>
                        <a:pt x="193" y="2"/>
                      </a:lnTo>
                      <a:lnTo>
                        <a:pt x="193" y="4"/>
                      </a:lnTo>
                      <a:lnTo>
                        <a:pt x="193" y="2"/>
                      </a:lnTo>
                      <a:lnTo>
                        <a:pt x="195" y="2"/>
                      </a:lnTo>
                      <a:lnTo>
                        <a:pt x="195" y="0"/>
                      </a:lnTo>
                      <a:lnTo>
                        <a:pt x="196" y="0"/>
                      </a:lnTo>
                      <a:lnTo>
                        <a:pt x="196" y="2"/>
                      </a:lnTo>
                      <a:lnTo>
                        <a:pt x="198" y="2"/>
                      </a:lnTo>
                      <a:lnTo>
                        <a:pt x="200" y="2"/>
                      </a:lnTo>
                      <a:lnTo>
                        <a:pt x="201" y="2"/>
                      </a:lnTo>
                      <a:lnTo>
                        <a:pt x="203" y="2"/>
                      </a:lnTo>
                      <a:lnTo>
                        <a:pt x="205" y="4"/>
                      </a:lnTo>
                      <a:lnTo>
                        <a:pt x="206" y="4"/>
                      </a:lnTo>
                      <a:lnTo>
                        <a:pt x="206" y="5"/>
                      </a:lnTo>
                      <a:lnTo>
                        <a:pt x="205" y="5"/>
                      </a:lnTo>
                      <a:lnTo>
                        <a:pt x="205" y="7"/>
                      </a:lnTo>
                      <a:lnTo>
                        <a:pt x="206" y="7"/>
                      </a:lnTo>
                      <a:lnTo>
                        <a:pt x="206" y="8"/>
                      </a:lnTo>
                      <a:lnTo>
                        <a:pt x="206" y="7"/>
                      </a:lnTo>
                      <a:lnTo>
                        <a:pt x="208" y="8"/>
                      </a:lnTo>
                      <a:lnTo>
                        <a:pt x="206" y="8"/>
                      </a:lnTo>
                      <a:lnTo>
                        <a:pt x="208" y="8"/>
                      </a:lnTo>
                      <a:lnTo>
                        <a:pt x="210" y="8"/>
                      </a:lnTo>
                      <a:lnTo>
                        <a:pt x="211" y="8"/>
                      </a:lnTo>
                      <a:lnTo>
                        <a:pt x="210" y="8"/>
                      </a:lnTo>
                      <a:lnTo>
                        <a:pt x="211" y="10"/>
                      </a:lnTo>
                      <a:lnTo>
                        <a:pt x="211" y="12"/>
                      </a:lnTo>
                      <a:lnTo>
                        <a:pt x="213" y="10"/>
                      </a:lnTo>
                      <a:lnTo>
                        <a:pt x="213" y="8"/>
                      </a:lnTo>
                      <a:lnTo>
                        <a:pt x="213" y="10"/>
                      </a:lnTo>
                      <a:lnTo>
                        <a:pt x="215" y="10"/>
                      </a:lnTo>
                      <a:lnTo>
                        <a:pt x="216" y="10"/>
                      </a:lnTo>
                      <a:lnTo>
                        <a:pt x="215" y="10"/>
                      </a:lnTo>
                      <a:lnTo>
                        <a:pt x="216" y="12"/>
                      </a:lnTo>
                      <a:lnTo>
                        <a:pt x="216" y="10"/>
                      </a:lnTo>
                      <a:lnTo>
                        <a:pt x="216" y="12"/>
                      </a:lnTo>
                      <a:lnTo>
                        <a:pt x="218" y="12"/>
                      </a:lnTo>
                      <a:lnTo>
                        <a:pt x="218" y="10"/>
                      </a:lnTo>
                      <a:lnTo>
                        <a:pt x="220" y="12"/>
                      </a:lnTo>
                      <a:lnTo>
                        <a:pt x="222" y="12"/>
                      </a:lnTo>
                      <a:lnTo>
                        <a:pt x="222" y="13"/>
                      </a:lnTo>
                      <a:lnTo>
                        <a:pt x="222" y="12"/>
                      </a:lnTo>
                      <a:lnTo>
                        <a:pt x="223" y="12"/>
                      </a:lnTo>
                      <a:lnTo>
                        <a:pt x="223" y="13"/>
                      </a:lnTo>
                      <a:lnTo>
                        <a:pt x="222" y="13"/>
                      </a:lnTo>
                      <a:lnTo>
                        <a:pt x="223" y="13"/>
                      </a:lnTo>
                      <a:lnTo>
                        <a:pt x="225" y="13"/>
                      </a:lnTo>
                      <a:lnTo>
                        <a:pt x="225" y="15"/>
                      </a:lnTo>
                      <a:lnTo>
                        <a:pt x="227" y="15"/>
                      </a:lnTo>
                      <a:lnTo>
                        <a:pt x="227" y="17"/>
                      </a:lnTo>
                      <a:lnTo>
                        <a:pt x="227" y="15"/>
                      </a:lnTo>
                      <a:lnTo>
                        <a:pt x="228" y="17"/>
                      </a:lnTo>
                      <a:lnTo>
                        <a:pt x="228" y="15"/>
                      </a:lnTo>
                      <a:lnTo>
                        <a:pt x="230" y="17"/>
                      </a:lnTo>
                      <a:lnTo>
                        <a:pt x="232" y="17"/>
                      </a:lnTo>
                      <a:lnTo>
                        <a:pt x="233" y="18"/>
                      </a:lnTo>
                      <a:lnTo>
                        <a:pt x="233" y="17"/>
                      </a:lnTo>
                      <a:lnTo>
                        <a:pt x="235" y="18"/>
                      </a:lnTo>
                      <a:lnTo>
                        <a:pt x="235" y="17"/>
                      </a:lnTo>
                      <a:lnTo>
                        <a:pt x="237" y="18"/>
                      </a:lnTo>
                      <a:lnTo>
                        <a:pt x="237" y="17"/>
                      </a:lnTo>
                      <a:lnTo>
                        <a:pt x="237" y="18"/>
                      </a:lnTo>
                      <a:lnTo>
                        <a:pt x="238" y="18"/>
                      </a:lnTo>
                      <a:lnTo>
                        <a:pt x="238" y="17"/>
                      </a:lnTo>
                      <a:lnTo>
                        <a:pt x="238" y="18"/>
                      </a:lnTo>
                      <a:lnTo>
                        <a:pt x="240" y="18"/>
                      </a:lnTo>
                      <a:lnTo>
                        <a:pt x="240" y="17"/>
                      </a:lnTo>
                      <a:lnTo>
                        <a:pt x="240" y="18"/>
                      </a:lnTo>
                      <a:lnTo>
                        <a:pt x="242" y="18"/>
                      </a:lnTo>
                      <a:lnTo>
                        <a:pt x="242" y="20"/>
                      </a:lnTo>
                      <a:lnTo>
                        <a:pt x="244" y="20"/>
                      </a:lnTo>
                      <a:lnTo>
                        <a:pt x="244" y="18"/>
                      </a:lnTo>
                      <a:lnTo>
                        <a:pt x="244" y="20"/>
                      </a:lnTo>
                      <a:lnTo>
                        <a:pt x="245" y="20"/>
                      </a:lnTo>
                      <a:lnTo>
                        <a:pt x="245" y="22"/>
                      </a:lnTo>
                      <a:lnTo>
                        <a:pt x="247" y="22"/>
                      </a:lnTo>
                      <a:lnTo>
                        <a:pt x="245" y="23"/>
                      </a:lnTo>
                      <a:lnTo>
                        <a:pt x="245" y="25"/>
                      </a:lnTo>
                      <a:lnTo>
                        <a:pt x="247" y="23"/>
                      </a:lnTo>
                      <a:lnTo>
                        <a:pt x="247" y="25"/>
                      </a:lnTo>
                      <a:lnTo>
                        <a:pt x="247" y="27"/>
                      </a:lnTo>
                      <a:lnTo>
                        <a:pt x="249" y="27"/>
                      </a:lnTo>
                      <a:lnTo>
                        <a:pt x="250" y="28"/>
                      </a:lnTo>
                      <a:lnTo>
                        <a:pt x="252" y="28"/>
                      </a:lnTo>
                      <a:lnTo>
                        <a:pt x="252" y="30"/>
                      </a:lnTo>
                      <a:lnTo>
                        <a:pt x="254" y="30"/>
                      </a:lnTo>
                      <a:lnTo>
                        <a:pt x="255" y="30"/>
                      </a:lnTo>
                      <a:lnTo>
                        <a:pt x="257" y="30"/>
                      </a:lnTo>
                      <a:lnTo>
                        <a:pt x="257" y="31"/>
                      </a:lnTo>
                      <a:lnTo>
                        <a:pt x="259" y="31"/>
                      </a:lnTo>
                      <a:lnTo>
                        <a:pt x="259" y="33"/>
                      </a:lnTo>
                      <a:lnTo>
                        <a:pt x="259" y="31"/>
                      </a:lnTo>
                      <a:lnTo>
                        <a:pt x="259" y="33"/>
                      </a:lnTo>
                      <a:lnTo>
                        <a:pt x="260" y="33"/>
                      </a:lnTo>
                      <a:lnTo>
                        <a:pt x="262" y="33"/>
                      </a:lnTo>
                      <a:lnTo>
                        <a:pt x="264" y="33"/>
                      </a:lnTo>
                      <a:lnTo>
                        <a:pt x="265" y="33"/>
                      </a:lnTo>
                      <a:lnTo>
                        <a:pt x="267" y="35"/>
                      </a:lnTo>
                      <a:lnTo>
                        <a:pt x="267" y="36"/>
                      </a:lnTo>
                      <a:lnTo>
                        <a:pt x="269" y="36"/>
                      </a:lnTo>
                      <a:lnTo>
                        <a:pt x="271" y="36"/>
                      </a:lnTo>
                      <a:lnTo>
                        <a:pt x="271" y="35"/>
                      </a:lnTo>
                      <a:lnTo>
                        <a:pt x="271" y="36"/>
                      </a:lnTo>
                      <a:lnTo>
                        <a:pt x="272" y="36"/>
                      </a:lnTo>
                      <a:lnTo>
                        <a:pt x="272" y="35"/>
                      </a:lnTo>
                      <a:lnTo>
                        <a:pt x="274" y="35"/>
                      </a:lnTo>
                      <a:lnTo>
                        <a:pt x="274" y="36"/>
                      </a:lnTo>
                      <a:lnTo>
                        <a:pt x="272" y="36"/>
                      </a:lnTo>
                      <a:lnTo>
                        <a:pt x="274" y="36"/>
                      </a:lnTo>
                      <a:lnTo>
                        <a:pt x="274" y="38"/>
                      </a:lnTo>
                      <a:lnTo>
                        <a:pt x="276" y="38"/>
                      </a:lnTo>
                      <a:lnTo>
                        <a:pt x="276" y="36"/>
                      </a:lnTo>
                      <a:lnTo>
                        <a:pt x="276" y="38"/>
                      </a:lnTo>
                      <a:lnTo>
                        <a:pt x="277" y="38"/>
                      </a:lnTo>
                      <a:lnTo>
                        <a:pt x="277" y="40"/>
                      </a:lnTo>
                      <a:lnTo>
                        <a:pt x="277" y="41"/>
                      </a:lnTo>
                      <a:lnTo>
                        <a:pt x="277" y="40"/>
                      </a:lnTo>
                      <a:lnTo>
                        <a:pt x="279" y="40"/>
                      </a:lnTo>
                      <a:lnTo>
                        <a:pt x="279" y="41"/>
                      </a:lnTo>
                      <a:lnTo>
                        <a:pt x="279" y="40"/>
                      </a:lnTo>
                      <a:lnTo>
                        <a:pt x="279" y="41"/>
                      </a:lnTo>
                      <a:lnTo>
                        <a:pt x="279" y="40"/>
                      </a:lnTo>
                      <a:lnTo>
                        <a:pt x="279" y="41"/>
                      </a:lnTo>
                      <a:lnTo>
                        <a:pt x="281" y="41"/>
                      </a:lnTo>
                      <a:lnTo>
                        <a:pt x="279" y="41"/>
                      </a:lnTo>
                      <a:lnTo>
                        <a:pt x="281" y="43"/>
                      </a:lnTo>
                      <a:lnTo>
                        <a:pt x="282" y="41"/>
                      </a:lnTo>
                      <a:lnTo>
                        <a:pt x="282" y="43"/>
                      </a:lnTo>
                      <a:lnTo>
                        <a:pt x="284" y="43"/>
                      </a:lnTo>
                      <a:lnTo>
                        <a:pt x="284" y="45"/>
                      </a:lnTo>
                      <a:lnTo>
                        <a:pt x="286" y="45"/>
                      </a:lnTo>
                      <a:lnTo>
                        <a:pt x="284" y="45"/>
                      </a:lnTo>
                      <a:lnTo>
                        <a:pt x="286" y="45"/>
                      </a:lnTo>
                      <a:lnTo>
                        <a:pt x="287" y="45"/>
                      </a:lnTo>
                      <a:lnTo>
                        <a:pt x="289" y="46"/>
                      </a:lnTo>
                      <a:lnTo>
                        <a:pt x="289" y="45"/>
                      </a:lnTo>
                      <a:lnTo>
                        <a:pt x="291" y="45"/>
                      </a:lnTo>
                      <a:lnTo>
                        <a:pt x="291" y="43"/>
                      </a:lnTo>
                      <a:lnTo>
                        <a:pt x="292" y="43"/>
                      </a:lnTo>
                      <a:lnTo>
                        <a:pt x="292" y="45"/>
                      </a:lnTo>
                      <a:lnTo>
                        <a:pt x="292" y="43"/>
                      </a:lnTo>
                      <a:lnTo>
                        <a:pt x="294" y="45"/>
                      </a:lnTo>
                      <a:lnTo>
                        <a:pt x="294" y="43"/>
                      </a:lnTo>
                      <a:lnTo>
                        <a:pt x="294" y="45"/>
                      </a:lnTo>
                      <a:lnTo>
                        <a:pt x="296" y="45"/>
                      </a:lnTo>
                      <a:lnTo>
                        <a:pt x="298" y="45"/>
                      </a:lnTo>
                      <a:lnTo>
                        <a:pt x="299" y="45"/>
                      </a:lnTo>
                      <a:lnTo>
                        <a:pt x="299" y="43"/>
                      </a:lnTo>
                      <a:lnTo>
                        <a:pt x="299" y="45"/>
                      </a:lnTo>
                      <a:lnTo>
                        <a:pt x="299" y="43"/>
                      </a:lnTo>
                      <a:lnTo>
                        <a:pt x="299" y="45"/>
                      </a:lnTo>
                      <a:lnTo>
                        <a:pt x="299" y="43"/>
                      </a:lnTo>
                      <a:lnTo>
                        <a:pt x="301" y="43"/>
                      </a:lnTo>
                      <a:lnTo>
                        <a:pt x="301" y="45"/>
                      </a:lnTo>
                      <a:lnTo>
                        <a:pt x="301" y="43"/>
                      </a:lnTo>
                      <a:lnTo>
                        <a:pt x="301" y="45"/>
                      </a:lnTo>
                      <a:lnTo>
                        <a:pt x="303" y="45"/>
                      </a:lnTo>
                      <a:lnTo>
                        <a:pt x="301" y="45"/>
                      </a:lnTo>
                      <a:lnTo>
                        <a:pt x="303" y="45"/>
                      </a:lnTo>
                      <a:lnTo>
                        <a:pt x="303" y="43"/>
                      </a:lnTo>
                      <a:lnTo>
                        <a:pt x="304" y="43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8" y="41"/>
                      </a:lnTo>
                      <a:lnTo>
                        <a:pt x="309" y="41"/>
                      </a:lnTo>
                      <a:lnTo>
                        <a:pt x="311" y="41"/>
                      </a:lnTo>
                      <a:lnTo>
                        <a:pt x="311" y="43"/>
                      </a:lnTo>
                      <a:lnTo>
                        <a:pt x="313" y="43"/>
                      </a:lnTo>
                      <a:lnTo>
                        <a:pt x="314" y="43"/>
                      </a:lnTo>
                      <a:lnTo>
                        <a:pt x="314" y="41"/>
                      </a:lnTo>
                      <a:lnTo>
                        <a:pt x="316" y="41"/>
                      </a:lnTo>
                      <a:lnTo>
                        <a:pt x="318" y="41"/>
                      </a:lnTo>
                      <a:lnTo>
                        <a:pt x="320" y="40"/>
                      </a:lnTo>
                      <a:lnTo>
                        <a:pt x="321" y="40"/>
                      </a:lnTo>
                      <a:lnTo>
                        <a:pt x="321" y="38"/>
                      </a:lnTo>
                      <a:lnTo>
                        <a:pt x="323" y="38"/>
                      </a:lnTo>
                      <a:lnTo>
                        <a:pt x="325" y="38"/>
                      </a:lnTo>
                      <a:lnTo>
                        <a:pt x="325" y="36"/>
                      </a:lnTo>
                      <a:lnTo>
                        <a:pt x="323" y="36"/>
                      </a:lnTo>
                      <a:lnTo>
                        <a:pt x="325" y="36"/>
                      </a:lnTo>
                      <a:lnTo>
                        <a:pt x="325" y="35"/>
                      </a:lnTo>
                      <a:lnTo>
                        <a:pt x="325" y="33"/>
                      </a:lnTo>
                      <a:lnTo>
                        <a:pt x="326" y="33"/>
                      </a:lnTo>
                      <a:lnTo>
                        <a:pt x="328" y="33"/>
                      </a:lnTo>
                      <a:lnTo>
                        <a:pt x="330" y="33"/>
                      </a:lnTo>
                      <a:lnTo>
                        <a:pt x="330" y="31"/>
                      </a:lnTo>
                      <a:lnTo>
                        <a:pt x="331" y="31"/>
                      </a:lnTo>
                      <a:lnTo>
                        <a:pt x="333" y="31"/>
                      </a:lnTo>
                      <a:lnTo>
                        <a:pt x="333" y="30"/>
                      </a:lnTo>
                      <a:lnTo>
                        <a:pt x="335" y="30"/>
                      </a:lnTo>
                      <a:lnTo>
                        <a:pt x="335" y="31"/>
                      </a:lnTo>
                      <a:lnTo>
                        <a:pt x="336" y="31"/>
                      </a:lnTo>
                      <a:lnTo>
                        <a:pt x="336" y="30"/>
                      </a:lnTo>
                      <a:lnTo>
                        <a:pt x="338" y="31"/>
                      </a:lnTo>
                      <a:lnTo>
                        <a:pt x="338" y="30"/>
                      </a:lnTo>
                      <a:lnTo>
                        <a:pt x="340" y="30"/>
                      </a:lnTo>
                      <a:lnTo>
                        <a:pt x="340" y="28"/>
                      </a:lnTo>
                      <a:lnTo>
                        <a:pt x="341" y="28"/>
                      </a:lnTo>
                      <a:lnTo>
                        <a:pt x="341" y="30"/>
                      </a:lnTo>
                      <a:lnTo>
                        <a:pt x="343" y="30"/>
                      </a:lnTo>
                      <a:lnTo>
                        <a:pt x="345" y="30"/>
                      </a:lnTo>
                      <a:lnTo>
                        <a:pt x="347" y="30"/>
                      </a:lnTo>
                      <a:lnTo>
                        <a:pt x="348" y="30"/>
                      </a:lnTo>
                      <a:lnTo>
                        <a:pt x="350" y="30"/>
                      </a:lnTo>
                      <a:lnTo>
                        <a:pt x="350" y="31"/>
                      </a:lnTo>
                      <a:lnTo>
                        <a:pt x="352" y="31"/>
                      </a:lnTo>
                      <a:lnTo>
                        <a:pt x="350" y="31"/>
                      </a:lnTo>
                      <a:lnTo>
                        <a:pt x="350" y="33"/>
                      </a:lnTo>
                      <a:lnTo>
                        <a:pt x="352" y="33"/>
                      </a:lnTo>
                      <a:lnTo>
                        <a:pt x="350" y="33"/>
                      </a:lnTo>
                      <a:lnTo>
                        <a:pt x="352" y="33"/>
                      </a:lnTo>
                      <a:lnTo>
                        <a:pt x="352" y="35"/>
                      </a:lnTo>
                      <a:lnTo>
                        <a:pt x="353" y="35"/>
                      </a:lnTo>
                      <a:lnTo>
                        <a:pt x="355" y="35"/>
                      </a:lnTo>
                      <a:lnTo>
                        <a:pt x="357" y="35"/>
                      </a:lnTo>
                      <a:lnTo>
                        <a:pt x="357" y="36"/>
                      </a:lnTo>
                      <a:lnTo>
                        <a:pt x="357" y="38"/>
                      </a:lnTo>
                      <a:lnTo>
                        <a:pt x="358" y="38"/>
                      </a:lnTo>
                      <a:lnTo>
                        <a:pt x="360" y="38"/>
                      </a:lnTo>
                      <a:lnTo>
                        <a:pt x="360" y="40"/>
                      </a:lnTo>
                      <a:lnTo>
                        <a:pt x="360" y="38"/>
                      </a:lnTo>
                      <a:lnTo>
                        <a:pt x="360" y="40"/>
                      </a:lnTo>
                      <a:lnTo>
                        <a:pt x="360" y="41"/>
                      </a:lnTo>
                      <a:lnTo>
                        <a:pt x="360" y="43"/>
                      </a:lnTo>
                      <a:lnTo>
                        <a:pt x="358" y="43"/>
                      </a:lnTo>
                      <a:lnTo>
                        <a:pt x="360" y="45"/>
                      </a:lnTo>
                      <a:lnTo>
                        <a:pt x="362" y="45"/>
                      </a:lnTo>
                      <a:lnTo>
                        <a:pt x="362" y="46"/>
                      </a:lnTo>
                      <a:lnTo>
                        <a:pt x="362" y="45"/>
                      </a:lnTo>
                      <a:lnTo>
                        <a:pt x="362" y="46"/>
                      </a:lnTo>
                      <a:lnTo>
                        <a:pt x="363" y="46"/>
                      </a:lnTo>
                      <a:lnTo>
                        <a:pt x="365" y="46"/>
                      </a:lnTo>
                      <a:lnTo>
                        <a:pt x="367" y="46"/>
                      </a:lnTo>
                      <a:lnTo>
                        <a:pt x="368" y="46"/>
                      </a:lnTo>
                      <a:lnTo>
                        <a:pt x="370" y="46"/>
                      </a:lnTo>
                      <a:lnTo>
                        <a:pt x="370" y="45"/>
                      </a:lnTo>
                      <a:lnTo>
                        <a:pt x="372" y="45"/>
                      </a:lnTo>
                      <a:lnTo>
                        <a:pt x="372" y="43"/>
                      </a:lnTo>
                      <a:lnTo>
                        <a:pt x="374" y="43"/>
                      </a:lnTo>
                      <a:lnTo>
                        <a:pt x="375" y="43"/>
                      </a:lnTo>
                      <a:lnTo>
                        <a:pt x="377" y="43"/>
                      </a:lnTo>
                      <a:lnTo>
                        <a:pt x="377" y="41"/>
                      </a:lnTo>
                      <a:lnTo>
                        <a:pt x="379" y="41"/>
                      </a:lnTo>
                      <a:lnTo>
                        <a:pt x="380" y="41"/>
                      </a:lnTo>
                      <a:lnTo>
                        <a:pt x="382" y="41"/>
                      </a:lnTo>
                      <a:lnTo>
                        <a:pt x="382" y="43"/>
                      </a:lnTo>
                      <a:lnTo>
                        <a:pt x="382" y="41"/>
                      </a:lnTo>
                      <a:lnTo>
                        <a:pt x="384" y="43"/>
                      </a:lnTo>
                      <a:lnTo>
                        <a:pt x="384" y="41"/>
                      </a:lnTo>
                      <a:lnTo>
                        <a:pt x="385" y="43"/>
                      </a:lnTo>
                      <a:lnTo>
                        <a:pt x="385" y="41"/>
                      </a:lnTo>
                      <a:lnTo>
                        <a:pt x="385" y="43"/>
                      </a:lnTo>
                      <a:lnTo>
                        <a:pt x="385" y="41"/>
                      </a:lnTo>
                      <a:lnTo>
                        <a:pt x="387" y="41"/>
                      </a:lnTo>
                      <a:lnTo>
                        <a:pt x="387" y="43"/>
                      </a:lnTo>
                      <a:lnTo>
                        <a:pt x="389" y="43"/>
                      </a:lnTo>
                      <a:lnTo>
                        <a:pt x="389" y="41"/>
                      </a:lnTo>
                      <a:lnTo>
                        <a:pt x="389" y="40"/>
                      </a:lnTo>
                      <a:lnTo>
                        <a:pt x="390" y="40"/>
                      </a:lnTo>
                      <a:lnTo>
                        <a:pt x="390" y="38"/>
                      </a:lnTo>
                      <a:lnTo>
                        <a:pt x="390" y="36"/>
                      </a:lnTo>
                      <a:lnTo>
                        <a:pt x="390" y="35"/>
                      </a:lnTo>
                      <a:lnTo>
                        <a:pt x="392" y="35"/>
                      </a:lnTo>
                      <a:lnTo>
                        <a:pt x="390" y="35"/>
                      </a:lnTo>
                      <a:lnTo>
                        <a:pt x="390" y="33"/>
                      </a:lnTo>
                      <a:lnTo>
                        <a:pt x="390" y="31"/>
                      </a:lnTo>
                      <a:lnTo>
                        <a:pt x="392" y="31"/>
                      </a:lnTo>
                      <a:lnTo>
                        <a:pt x="392" y="30"/>
                      </a:lnTo>
                      <a:lnTo>
                        <a:pt x="394" y="30"/>
                      </a:lnTo>
                      <a:lnTo>
                        <a:pt x="396" y="30"/>
                      </a:lnTo>
                      <a:lnTo>
                        <a:pt x="396" y="28"/>
                      </a:lnTo>
                      <a:lnTo>
                        <a:pt x="397" y="28"/>
                      </a:lnTo>
                      <a:lnTo>
                        <a:pt x="397" y="30"/>
                      </a:lnTo>
                      <a:lnTo>
                        <a:pt x="397" y="28"/>
                      </a:lnTo>
                      <a:lnTo>
                        <a:pt x="399" y="28"/>
                      </a:lnTo>
                      <a:lnTo>
                        <a:pt x="401" y="28"/>
                      </a:lnTo>
                      <a:lnTo>
                        <a:pt x="401" y="27"/>
                      </a:lnTo>
                      <a:lnTo>
                        <a:pt x="402" y="27"/>
                      </a:lnTo>
                      <a:lnTo>
                        <a:pt x="402" y="25"/>
                      </a:lnTo>
                      <a:lnTo>
                        <a:pt x="404" y="25"/>
                      </a:lnTo>
                      <a:lnTo>
                        <a:pt x="404" y="23"/>
                      </a:lnTo>
                      <a:lnTo>
                        <a:pt x="406" y="23"/>
                      </a:lnTo>
                      <a:lnTo>
                        <a:pt x="406" y="22"/>
                      </a:lnTo>
                      <a:lnTo>
                        <a:pt x="407" y="22"/>
                      </a:lnTo>
                      <a:lnTo>
                        <a:pt x="407" y="20"/>
                      </a:lnTo>
                      <a:lnTo>
                        <a:pt x="409" y="20"/>
                      </a:lnTo>
                      <a:lnTo>
                        <a:pt x="409" y="18"/>
                      </a:lnTo>
                      <a:lnTo>
                        <a:pt x="411" y="18"/>
                      </a:lnTo>
                      <a:lnTo>
                        <a:pt x="412" y="18"/>
                      </a:lnTo>
                      <a:lnTo>
                        <a:pt x="412" y="17"/>
                      </a:lnTo>
                      <a:lnTo>
                        <a:pt x="411" y="17"/>
                      </a:lnTo>
                      <a:lnTo>
                        <a:pt x="412" y="17"/>
                      </a:lnTo>
                      <a:lnTo>
                        <a:pt x="412" y="15"/>
                      </a:lnTo>
                      <a:lnTo>
                        <a:pt x="412" y="13"/>
                      </a:lnTo>
                      <a:lnTo>
                        <a:pt x="414" y="12"/>
                      </a:lnTo>
                      <a:lnTo>
                        <a:pt x="416" y="12"/>
                      </a:lnTo>
                      <a:lnTo>
                        <a:pt x="417" y="12"/>
                      </a:lnTo>
                      <a:lnTo>
                        <a:pt x="417" y="10"/>
                      </a:lnTo>
                      <a:lnTo>
                        <a:pt x="417" y="8"/>
                      </a:lnTo>
                      <a:lnTo>
                        <a:pt x="419" y="8"/>
                      </a:lnTo>
                      <a:lnTo>
                        <a:pt x="417" y="8"/>
                      </a:lnTo>
                      <a:lnTo>
                        <a:pt x="419" y="8"/>
                      </a:lnTo>
                      <a:lnTo>
                        <a:pt x="421" y="7"/>
                      </a:lnTo>
                      <a:lnTo>
                        <a:pt x="423" y="7"/>
                      </a:lnTo>
                      <a:lnTo>
                        <a:pt x="424" y="7"/>
                      </a:lnTo>
                      <a:lnTo>
                        <a:pt x="426" y="8"/>
                      </a:lnTo>
                      <a:lnTo>
                        <a:pt x="424" y="31"/>
                      </a:lnTo>
                      <a:lnTo>
                        <a:pt x="424" y="46"/>
                      </a:lnTo>
                      <a:lnTo>
                        <a:pt x="423" y="48"/>
                      </a:lnTo>
                      <a:lnTo>
                        <a:pt x="423" y="46"/>
                      </a:lnTo>
                      <a:lnTo>
                        <a:pt x="421" y="46"/>
                      </a:lnTo>
                      <a:lnTo>
                        <a:pt x="421" y="48"/>
                      </a:lnTo>
                      <a:lnTo>
                        <a:pt x="419" y="48"/>
                      </a:lnTo>
                      <a:lnTo>
                        <a:pt x="417" y="48"/>
                      </a:lnTo>
                      <a:lnTo>
                        <a:pt x="416" y="48"/>
                      </a:lnTo>
                      <a:lnTo>
                        <a:pt x="414" y="48"/>
                      </a:lnTo>
                      <a:lnTo>
                        <a:pt x="412" y="48"/>
                      </a:lnTo>
                      <a:lnTo>
                        <a:pt x="412" y="50"/>
                      </a:lnTo>
                      <a:lnTo>
                        <a:pt x="411" y="50"/>
                      </a:lnTo>
                      <a:lnTo>
                        <a:pt x="409" y="50"/>
                      </a:lnTo>
                      <a:lnTo>
                        <a:pt x="409" y="51"/>
                      </a:lnTo>
                      <a:lnTo>
                        <a:pt x="409" y="53"/>
                      </a:lnTo>
                      <a:lnTo>
                        <a:pt x="407" y="53"/>
                      </a:lnTo>
                      <a:lnTo>
                        <a:pt x="407" y="54"/>
                      </a:lnTo>
                      <a:lnTo>
                        <a:pt x="406" y="54"/>
                      </a:lnTo>
                      <a:lnTo>
                        <a:pt x="406" y="56"/>
                      </a:lnTo>
                      <a:lnTo>
                        <a:pt x="406" y="58"/>
                      </a:lnTo>
                      <a:lnTo>
                        <a:pt x="404" y="58"/>
                      </a:lnTo>
                      <a:lnTo>
                        <a:pt x="406" y="59"/>
                      </a:lnTo>
                      <a:lnTo>
                        <a:pt x="404" y="59"/>
                      </a:lnTo>
                      <a:lnTo>
                        <a:pt x="404" y="61"/>
                      </a:lnTo>
                      <a:lnTo>
                        <a:pt x="402" y="61"/>
                      </a:lnTo>
                      <a:lnTo>
                        <a:pt x="402" y="63"/>
                      </a:lnTo>
                      <a:lnTo>
                        <a:pt x="401" y="63"/>
                      </a:lnTo>
                      <a:lnTo>
                        <a:pt x="402" y="64"/>
                      </a:lnTo>
                      <a:lnTo>
                        <a:pt x="401" y="64"/>
                      </a:lnTo>
                      <a:lnTo>
                        <a:pt x="401" y="66"/>
                      </a:lnTo>
                      <a:lnTo>
                        <a:pt x="401" y="68"/>
                      </a:lnTo>
                      <a:lnTo>
                        <a:pt x="401" y="69"/>
                      </a:lnTo>
                      <a:lnTo>
                        <a:pt x="401" y="71"/>
                      </a:lnTo>
                      <a:lnTo>
                        <a:pt x="401" y="69"/>
                      </a:lnTo>
                      <a:lnTo>
                        <a:pt x="402" y="71"/>
                      </a:lnTo>
                      <a:lnTo>
                        <a:pt x="402" y="69"/>
                      </a:lnTo>
                      <a:lnTo>
                        <a:pt x="402" y="71"/>
                      </a:lnTo>
                      <a:lnTo>
                        <a:pt x="404" y="71"/>
                      </a:lnTo>
                      <a:lnTo>
                        <a:pt x="404" y="69"/>
                      </a:lnTo>
                      <a:lnTo>
                        <a:pt x="404" y="71"/>
                      </a:lnTo>
                      <a:lnTo>
                        <a:pt x="404" y="69"/>
                      </a:lnTo>
                      <a:lnTo>
                        <a:pt x="406" y="69"/>
                      </a:lnTo>
                      <a:lnTo>
                        <a:pt x="407" y="69"/>
                      </a:lnTo>
                      <a:lnTo>
                        <a:pt x="407" y="71"/>
                      </a:lnTo>
                      <a:lnTo>
                        <a:pt x="407" y="69"/>
                      </a:lnTo>
                      <a:lnTo>
                        <a:pt x="409" y="71"/>
                      </a:lnTo>
                      <a:lnTo>
                        <a:pt x="407" y="71"/>
                      </a:lnTo>
                      <a:lnTo>
                        <a:pt x="409" y="71"/>
                      </a:lnTo>
                      <a:lnTo>
                        <a:pt x="411" y="71"/>
                      </a:lnTo>
                      <a:lnTo>
                        <a:pt x="411" y="73"/>
                      </a:lnTo>
                      <a:lnTo>
                        <a:pt x="411" y="71"/>
                      </a:lnTo>
                      <a:lnTo>
                        <a:pt x="411" y="73"/>
                      </a:lnTo>
                      <a:lnTo>
                        <a:pt x="412" y="73"/>
                      </a:lnTo>
                      <a:lnTo>
                        <a:pt x="412" y="74"/>
                      </a:lnTo>
                      <a:lnTo>
                        <a:pt x="414" y="74"/>
                      </a:lnTo>
                      <a:lnTo>
                        <a:pt x="414" y="76"/>
                      </a:lnTo>
                      <a:lnTo>
                        <a:pt x="414" y="74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6" y="77"/>
                      </a:lnTo>
                      <a:lnTo>
                        <a:pt x="417" y="77"/>
                      </a:lnTo>
                      <a:lnTo>
                        <a:pt x="419" y="77"/>
                      </a:lnTo>
                      <a:lnTo>
                        <a:pt x="421" y="77"/>
                      </a:lnTo>
                      <a:lnTo>
                        <a:pt x="423" y="77"/>
                      </a:lnTo>
                      <a:lnTo>
                        <a:pt x="424" y="79"/>
                      </a:lnTo>
                      <a:lnTo>
                        <a:pt x="424" y="77"/>
                      </a:lnTo>
                      <a:lnTo>
                        <a:pt x="424" y="79"/>
                      </a:lnTo>
                      <a:lnTo>
                        <a:pt x="426" y="79"/>
                      </a:lnTo>
                      <a:lnTo>
                        <a:pt x="424" y="79"/>
                      </a:lnTo>
                      <a:lnTo>
                        <a:pt x="426" y="77"/>
                      </a:lnTo>
                      <a:lnTo>
                        <a:pt x="428" y="77"/>
                      </a:lnTo>
                      <a:lnTo>
                        <a:pt x="426" y="77"/>
                      </a:lnTo>
                      <a:lnTo>
                        <a:pt x="428" y="76"/>
                      </a:lnTo>
                      <a:lnTo>
                        <a:pt x="429" y="76"/>
                      </a:lnTo>
                      <a:lnTo>
                        <a:pt x="431" y="76"/>
                      </a:lnTo>
                      <a:lnTo>
                        <a:pt x="433" y="76"/>
                      </a:lnTo>
                      <a:lnTo>
                        <a:pt x="433" y="77"/>
                      </a:lnTo>
                      <a:lnTo>
                        <a:pt x="434" y="77"/>
                      </a:lnTo>
                      <a:lnTo>
                        <a:pt x="434" y="79"/>
                      </a:lnTo>
                      <a:lnTo>
                        <a:pt x="436" y="79"/>
                      </a:lnTo>
                      <a:lnTo>
                        <a:pt x="438" y="77"/>
                      </a:lnTo>
                      <a:lnTo>
                        <a:pt x="438" y="79"/>
                      </a:lnTo>
                      <a:lnTo>
                        <a:pt x="439" y="79"/>
                      </a:lnTo>
                      <a:lnTo>
                        <a:pt x="441" y="79"/>
                      </a:lnTo>
                      <a:lnTo>
                        <a:pt x="443" y="81"/>
                      </a:lnTo>
                      <a:lnTo>
                        <a:pt x="444" y="81"/>
                      </a:lnTo>
                      <a:lnTo>
                        <a:pt x="446" y="81"/>
                      </a:lnTo>
                      <a:lnTo>
                        <a:pt x="446" y="79"/>
                      </a:lnTo>
                      <a:lnTo>
                        <a:pt x="446" y="81"/>
                      </a:lnTo>
                      <a:lnTo>
                        <a:pt x="448" y="79"/>
                      </a:lnTo>
                      <a:lnTo>
                        <a:pt x="448" y="77"/>
                      </a:lnTo>
                      <a:lnTo>
                        <a:pt x="450" y="77"/>
                      </a:lnTo>
                      <a:lnTo>
                        <a:pt x="450" y="76"/>
                      </a:lnTo>
                      <a:lnTo>
                        <a:pt x="450" y="77"/>
                      </a:lnTo>
                      <a:lnTo>
                        <a:pt x="451" y="76"/>
                      </a:lnTo>
                      <a:lnTo>
                        <a:pt x="451" y="77"/>
                      </a:lnTo>
                      <a:lnTo>
                        <a:pt x="451" y="76"/>
                      </a:lnTo>
                      <a:lnTo>
                        <a:pt x="451" y="77"/>
                      </a:lnTo>
                      <a:lnTo>
                        <a:pt x="453" y="77"/>
                      </a:lnTo>
                      <a:lnTo>
                        <a:pt x="455" y="79"/>
                      </a:lnTo>
                      <a:lnTo>
                        <a:pt x="456" y="79"/>
                      </a:lnTo>
                      <a:lnTo>
                        <a:pt x="456" y="77"/>
                      </a:lnTo>
                      <a:lnTo>
                        <a:pt x="456" y="79"/>
                      </a:lnTo>
                      <a:lnTo>
                        <a:pt x="458" y="77"/>
                      </a:lnTo>
                      <a:lnTo>
                        <a:pt x="458" y="79"/>
                      </a:lnTo>
                      <a:lnTo>
                        <a:pt x="458" y="77"/>
                      </a:lnTo>
                      <a:lnTo>
                        <a:pt x="460" y="79"/>
                      </a:lnTo>
                      <a:lnTo>
                        <a:pt x="460" y="77"/>
                      </a:lnTo>
                      <a:lnTo>
                        <a:pt x="461" y="77"/>
                      </a:lnTo>
                      <a:lnTo>
                        <a:pt x="463" y="77"/>
                      </a:lnTo>
                      <a:lnTo>
                        <a:pt x="468" y="77"/>
                      </a:lnTo>
                      <a:lnTo>
                        <a:pt x="468" y="79"/>
                      </a:lnTo>
                      <a:lnTo>
                        <a:pt x="470" y="79"/>
                      </a:lnTo>
                      <a:lnTo>
                        <a:pt x="472" y="79"/>
                      </a:lnTo>
                      <a:lnTo>
                        <a:pt x="472" y="81"/>
                      </a:lnTo>
                      <a:lnTo>
                        <a:pt x="473" y="81"/>
                      </a:lnTo>
                      <a:lnTo>
                        <a:pt x="475" y="81"/>
                      </a:lnTo>
                      <a:lnTo>
                        <a:pt x="483" y="81"/>
                      </a:lnTo>
                      <a:lnTo>
                        <a:pt x="483" y="82"/>
                      </a:lnTo>
                      <a:lnTo>
                        <a:pt x="482" y="82"/>
                      </a:lnTo>
                      <a:lnTo>
                        <a:pt x="480" y="82"/>
                      </a:lnTo>
                      <a:lnTo>
                        <a:pt x="478" y="82"/>
                      </a:lnTo>
                      <a:lnTo>
                        <a:pt x="478" y="84"/>
                      </a:lnTo>
                      <a:lnTo>
                        <a:pt x="477" y="84"/>
                      </a:lnTo>
                      <a:lnTo>
                        <a:pt x="477" y="86"/>
                      </a:lnTo>
                      <a:lnTo>
                        <a:pt x="478" y="89"/>
                      </a:lnTo>
                      <a:lnTo>
                        <a:pt x="478" y="91"/>
                      </a:lnTo>
                      <a:lnTo>
                        <a:pt x="478" y="92"/>
                      </a:lnTo>
                      <a:lnTo>
                        <a:pt x="480" y="97"/>
                      </a:lnTo>
                      <a:lnTo>
                        <a:pt x="480" y="99"/>
                      </a:lnTo>
                      <a:lnTo>
                        <a:pt x="480" y="100"/>
                      </a:lnTo>
                      <a:lnTo>
                        <a:pt x="480" y="102"/>
                      </a:lnTo>
                      <a:lnTo>
                        <a:pt x="482" y="102"/>
                      </a:lnTo>
                      <a:lnTo>
                        <a:pt x="482" y="104"/>
                      </a:lnTo>
                      <a:lnTo>
                        <a:pt x="482" y="105"/>
                      </a:lnTo>
                      <a:lnTo>
                        <a:pt x="482" y="107"/>
                      </a:lnTo>
                      <a:lnTo>
                        <a:pt x="483" y="107"/>
                      </a:lnTo>
                      <a:lnTo>
                        <a:pt x="483" y="109"/>
                      </a:lnTo>
                      <a:lnTo>
                        <a:pt x="485" y="109"/>
                      </a:lnTo>
                      <a:lnTo>
                        <a:pt x="487" y="109"/>
                      </a:lnTo>
                      <a:lnTo>
                        <a:pt x="487" y="110"/>
                      </a:lnTo>
                      <a:lnTo>
                        <a:pt x="488" y="110"/>
                      </a:lnTo>
                      <a:lnTo>
                        <a:pt x="488" y="109"/>
                      </a:lnTo>
                      <a:lnTo>
                        <a:pt x="490" y="107"/>
                      </a:lnTo>
                      <a:lnTo>
                        <a:pt x="492" y="105"/>
                      </a:lnTo>
                      <a:lnTo>
                        <a:pt x="493" y="105"/>
                      </a:lnTo>
                      <a:lnTo>
                        <a:pt x="495" y="105"/>
                      </a:lnTo>
                      <a:lnTo>
                        <a:pt x="497" y="105"/>
                      </a:lnTo>
                      <a:lnTo>
                        <a:pt x="499" y="105"/>
                      </a:lnTo>
                      <a:lnTo>
                        <a:pt x="504" y="107"/>
                      </a:lnTo>
                      <a:lnTo>
                        <a:pt x="505" y="107"/>
                      </a:lnTo>
                      <a:lnTo>
                        <a:pt x="507" y="107"/>
                      </a:lnTo>
                      <a:lnTo>
                        <a:pt x="509" y="107"/>
                      </a:lnTo>
                      <a:lnTo>
                        <a:pt x="510" y="107"/>
                      </a:lnTo>
                      <a:lnTo>
                        <a:pt x="512" y="109"/>
                      </a:lnTo>
                      <a:lnTo>
                        <a:pt x="514" y="110"/>
                      </a:lnTo>
                      <a:lnTo>
                        <a:pt x="514" y="112"/>
                      </a:lnTo>
                      <a:lnTo>
                        <a:pt x="512" y="112"/>
                      </a:lnTo>
                      <a:lnTo>
                        <a:pt x="512" y="114"/>
                      </a:lnTo>
                      <a:lnTo>
                        <a:pt x="510" y="114"/>
                      </a:lnTo>
                      <a:lnTo>
                        <a:pt x="510" y="115"/>
                      </a:lnTo>
                      <a:lnTo>
                        <a:pt x="509" y="117"/>
                      </a:lnTo>
                      <a:lnTo>
                        <a:pt x="507" y="117"/>
                      </a:lnTo>
                      <a:lnTo>
                        <a:pt x="505" y="117"/>
                      </a:lnTo>
                      <a:lnTo>
                        <a:pt x="504" y="117"/>
                      </a:lnTo>
                      <a:lnTo>
                        <a:pt x="502" y="117"/>
                      </a:lnTo>
                      <a:lnTo>
                        <a:pt x="502" y="119"/>
                      </a:lnTo>
                      <a:lnTo>
                        <a:pt x="502" y="120"/>
                      </a:lnTo>
                      <a:lnTo>
                        <a:pt x="500" y="122"/>
                      </a:lnTo>
                      <a:lnTo>
                        <a:pt x="499" y="123"/>
                      </a:lnTo>
                      <a:lnTo>
                        <a:pt x="499" y="125"/>
                      </a:lnTo>
                      <a:lnTo>
                        <a:pt x="497" y="125"/>
                      </a:lnTo>
                      <a:lnTo>
                        <a:pt x="495" y="125"/>
                      </a:lnTo>
                      <a:lnTo>
                        <a:pt x="495" y="127"/>
                      </a:lnTo>
                      <a:lnTo>
                        <a:pt x="493" y="127"/>
                      </a:lnTo>
                      <a:lnTo>
                        <a:pt x="493" y="128"/>
                      </a:lnTo>
                      <a:lnTo>
                        <a:pt x="495" y="130"/>
                      </a:lnTo>
                      <a:lnTo>
                        <a:pt x="495" y="132"/>
                      </a:lnTo>
                      <a:lnTo>
                        <a:pt x="497" y="132"/>
                      </a:lnTo>
                      <a:lnTo>
                        <a:pt x="497" y="133"/>
                      </a:lnTo>
                      <a:lnTo>
                        <a:pt x="497" y="135"/>
                      </a:lnTo>
                      <a:lnTo>
                        <a:pt x="499" y="135"/>
                      </a:lnTo>
                      <a:lnTo>
                        <a:pt x="499" y="137"/>
                      </a:lnTo>
                      <a:lnTo>
                        <a:pt x="500" y="137"/>
                      </a:lnTo>
                      <a:lnTo>
                        <a:pt x="502" y="137"/>
                      </a:lnTo>
                      <a:lnTo>
                        <a:pt x="504" y="138"/>
                      </a:lnTo>
                      <a:lnTo>
                        <a:pt x="505" y="138"/>
                      </a:lnTo>
                      <a:lnTo>
                        <a:pt x="505" y="140"/>
                      </a:lnTo>
                      <a:lnTo>
                        <a:pt x="507" y="140"/>
                      </a:lnTo>
                      <a:lnTo>
                        <a:pt x="509" y="140"/>
                      </a:lnTo>
                      <a:lnTo>
                        <a:pt x="510" y="140"/>
                      </a:lnTo>
                      <a:lnTo>
                        <a:pt x="512" y="140"/>
                      </a:lnTo>
                      <a:lnTo>
                        <a:pt x="514" y="140"/>
                      </a:lnTo>
                      <a:lnTo>
                        <a:pt x="514" y="142"/>
                      </a:lnTo>
                      <a:lnTo>
                        <a:pt x="515" y="142"/>
                      </a:lnTo>
                      <a:lnTo>
                        <a:pt x="517" y="142"/>
                      </a:lnTo>
                      <a:lnTo>
                        <a:pt x="519" y="142"/>
                      </a:lnTo>
                      <a:lnTo>
                        <a:pt x="519" y="140"/>
                      </a:lnTo>
                      <a:lnTo>
                        <a:pt x="521" y="140"/>
                      </a:lnTo>
                      <a:lnTo>
                        <a:pt x="522" y="140"/>
                      </a:lnTo>
                      <a:lnTo>
                        <a:pt x="524" y="142"/>
                      </a:lnTo>
                      <a:lnTo>
                        <a:pt x="526" y="142"/>
                      </a:lnTo>
                      <a:lnTo>
                        <a:pt x="527" y="142"/>
                      </a:lnTo>
                      <a:lnTo>
                        <a:pt x="529" y="142"/>
                      </a:lnTo>
                      <a:lnTo>
                        <a:pt x="531" y="140"/>
                      </a:lnTo>
                      <a:lnTo>
                        <a:pt x="532" y="138"/>
                      </a:lnTo>
                      <a:lnTo>
                        <a:pt x="534" y="138"/>
                      </a:lnTo>
                      <a:lnTo>
                        <a:pt x="536" y="138"/>
                      </a:lnTo>
                      <a:lnTo>
                        <a:pt x="536" y="140"/>
                      </a:lnTo>
                      <a:lnTo>
                        <a:pt x="537" y="140"/>
                      </a:lnTo>
                      <a:lnTo>
                        <a:pt x="539" y="140"/>
                      </a:lnTo>
                      <a:lnTo>
                        <a:pt x="541" y="142"/>
                      </a:lnTo>
                      <a:lnTo>
                        <a:pt x="542" y="142"/>
                      </a:lnTo>
                      <a:lnTo>
                        <a:pt x="544" y="142"/>
                      </a:lnTo>
                      <a:lnTo>
                        <a:pt x="544" y="143"/>
                      </a:lnTo>
                      <a:lnTo>
                        <a:pt x="544" y="145"/>
                      </a:lnTo>
                      <a:lnTo>
                        <a:pt x="546" y="145"/>
                      </a:lnTo>
                      <a:lnTo>
                        <a:pt x="546" y="146"/>
                      </a:lnTo>
                      <a:lnTo>
                        <a:pt x="548" y="146"/>
                      </a:lnTo>
                      <a:lnTo>
                        <a:pt x="548" y="148"/>
                      </a:lnTo>
                      <a:lnTo>
                        <a:pt x="549" y="150"/>
                      </a:lnTo>
                      <a:lnTo>
                        <a:pt x="549" y="151"/>
                      </a:lnTo>
                      <a:lnTo>
                        <a:pt x="551" y="151"/>
                      </a:lnTo>
                      <a:lnTo>
                        <a:pt x="553" y="151"/>
                      </a:lnTo>
                      <a:lnTo>
                        <a:pt x="553" y="153"/>
                      </a:lnTo>
                      <a:lnTo>
                        <a:pt x="554" y="153"/>
                      </a:lnTo>
                      <a:lnTo>
                        <a:pt x="554" y="155"/>
                      </a:lnTo>
                      <a:lnTo>
                        <a:pt x="556" y="155"/>
                      </a:lnTo>
                      <a:lnTo>
                        <a:pt x="558" y="155"/>
                      </a:lnTo>
                      <a:lnTo>
                        <a:pt x="559" y="155"/>
                      </a:lnTo>
                      <a:lnTo>
                        <a:pt x="561" y="155"/>
                      </a:lnTo>
                      <a:lnTo>
                        <a:pt x="563" y="155"/>
                      </a:lnTo>
                      <a:lnTo>
                        <a:pt x="564" y="155"/>
                      </a:lnTo>
                      <a:lnTo>
                        <a:pt x="566" y="156"/>
                      </a:lnTo>
                      <a:lnTo>
                        <a:pt x="568" y="156"/>
                      </a:lnTo>
                      <a:lnTo>
                        <a:pt x="569" y="156"/>
                      </a:lnTo>
                      <a:lnTo>
                        <a:pt x="569" y="158"/>
                      </a:lnTo>
                      <a:lnTo>
                        <a:pt x="571" y="158"/>
                      </a:lnTo>
                      <a:lnTo>
                        <a:pt x="569" y="158"/>
                      </a:lnTo>
                      <a:lnTo>
                        <a:pt x="571" y="158"/>
                      </a:lnTo>
                      <a:lnTo>
                        <a:pt x="571" y="160"/>
                      </a:lnTo>
                      <a:lnTo>
                        <a:pt x="573" y="160"/>
                      </a:lnTo>
                      <a:lnTo>
                        <a:pt x="573" y="161"/>
                      </a:lnTo>
                      <a:lnTo>
                        <a:pt x="573" y="160"/>
                      </a:lnTo>
                      <a:lnTo>
                        <a:pt x="573" y="161"/>
                      </a:lnTo>
                      <a:lnTo>
                        <a:pt x="573" y="160"/>
                      </a:lnTo>
                      <a:lnTo>
                        <a:pt x="575" y="160"/>
                      </a:lnTo>
                      <a:lnTo>
                        <a:pt x="575" y="161"/>
                      </a:lnTo>
                      <a:lnTo>
                        <a:pt x="576" y="161"/>
                      </a:lnTo>
                      <a:lnTo>
                        <a:pt x="576" y="163"/>
                      </a:lnTo>
                      <a:lnTo>
                        <a:pt x="575" y="163"/>
                      </a:lnTo>
                      <a:lnTo>
                        <a:pt x="576" y="163"/>
                      </a:lnTo>
                      <a:lnTo>
                        <a:pt x="576" y="165"/>
                      </a:lnTo>
                      <a:lnTo>
                        <a:pt x="578" y="165"/>
                      </a:lnTo>
                      <a:lnTo>
                        <a:pt x="576" y="165"/>
                      </a:lnTo>
                      <a:lnTo>
                        <a:pt x="578" y="165"/>
                      </a:lnTo>
                      <a:lnTo>
                        <a:pt x="578" y="166"/>
                      </a:lnTo>
                      <a:lnTo>
                        <a:pt x="578" y="165"/>
                      </a:lnTo>
                      <a:lnTo>
                        <a:pt x="578" y="166"/>
                      </a:lnTo>
                      <a:lnTo>
                        <a:pt x="580" y="166"/>
                      </a:lnTo>
                      <a:lnTo>
                        <a:pt x="580" y="165"/>
                      </a:lnTo>
                      <a:lnTo>
                        <a:pt x="581" y="166"/>
                      </a:lnTo>
                      <a:lnTo>
                        <a:pt x="581" y="165"/>
                      </a:lnTo>
                      <a:lnTo>
                        <a:pt x="581" y="166"/>
                      </a:lnTo>
                      <a:lnTo>
                        <a:pt x="583" y="166"/>
                      </a:lnTo>
                      <a:lnTo>
                        <a:pt x="585" y="168"/>
                      </a:lnTo>
                      <a:lnTo>
                        <a:pt x="583" y="168"/>
                      </a:lnTo>
                      <a:lnTo>
                        <a:pt x="585" y="168"/>
                      </a:lnTo>
                      <a:lnTo>
                        <a:pt x="586" y="166"/>
                      </a:lnTo>
                      <a:lnTo>
                        <a:pt x="586" y="168"/>
                      </a:lnTo>
                      <a:lnTo>
                        <a:pt x="588" y="168"/>
                      </a:lnTo>
                      <a:lnTo>
                        <a:pt x="588" y="166"/>
                      </a:lnTo>
                      <a:lnTo>
                        <a:pt x="588" y="168"/>
                      </a:lnTo>
                      <a:lnTo>
                        <a:pt x="588" y="166"/>
                      </a:lnTo>
                      <a:lnTo>
                        <a:pt x="590" y="166"/>
                      </a:lnTo>
                      <a:lnTo>
                        <a:pt x="590" y="168"/>
                      </a:lnTo>
                      <a:lnTo>
                        <a:pt x="591" y="168"/>
                      </a:lnTo>
                      <a:lnTo>
                        <a:pt x="591" y="166"/>
                      </a:lnTo>
                      <a:lnTo>
                        <a:pt x="591" y="168"/>
                      </a:lnTo>
                      <a:lnTo>
                        <a:pt x="593" y="168"/>
                      </a:lnTo>
                      <a:lnTo>
                        <a:pt x="593" y="169"/>
                      </a:lnTo>
                      <a:lnTo>
                        <a:pt x="595" y="169"/>
                      </a:lnTo>
                      <a:lnTo>
                        <a:pt x="597" y="171"/>
                      </a:lnTo>
                      <a:lnTo>
                        <a:pt x="597" y="173"/>
                      </a:lnTo>
                      <a:lnTo>
                        <a:pt x="598" y="173"/>
                      </a:lnTo>
                      <a:lnTo>
                        <a:pt x="598" y="174"/>
                      </a:lnTo>
                      <a:lnTo>
                        <a:pt x="600" y="174"/>
                      </a:lnTo>
                      <a:lnTo>
                        <a:pt x="602" y="174"/>
                      </a:lnTo>
                      <a:lnTo>
                        <a:pt x="600" y="174"/>
                      </a:lnTo>
                      <a:lnTo>
                        <a:pt x="602" y="174"/>
                      </a:lnTo>
                      <a:lnTo>
                        <a:pt x="603" y="174"/>
                      </a:lnTo>
                      <a:lnTo>
                        <a:pt x="603" y="176"/>
                      </a:lnTo>
                      <a:lnTo>
                        <a:pt x="605" y="176"/>
                      </a:lnTo>
                      <a:lnTo>
                        <a:pt x="605" y="178"/>
                      </a:lnTo>
                      <a:lnTo>
                        <a:pt x="607" y="178"/>
                      </a:lnTo>
                      <a:lnTo>
                        <a:pt x="608" y="178"/>
                      </a:lnTo>
                      <a:lnTo>
                        <a:pt x="610" y="178"/>
                      </a:lnTo>
                      <a:lnTo>
                        <a:pt x="610" y="179"/>
                      </a:lnTo>
                      <a:lnTo>
                        <a:pt x="612" y="179"/>
                      </a:lnTo>
                      <a:lnTo>
                        <a:pt x="613" y="179"/>
                      </a:lnTo>
                      <a:lnTo>
                        <a:pt x="613" y="181"/>
                      </a:lnTo>
                      <a:lnTo>
                        <a:pt x="615" y="181"/>
                      </a:lnTo>
                      <a:lnTo>
                        <a:pt x="617" y="181"/>
                      </a:lnTo>
                      <a:lnTo>
                        <a:pt x="617" y="183"/>
                      </a:lnTo>
                      <a:lnTo>
                        <a:pt x="618" y="183"/>
                      </a:lnTo>
                      <a:lnTo>
                        <a:pt x="620" y="183"/>
                      </a:lnTo>
                      <a:lnTo>
                        <a:pt x="620" y="181"/>
                      </a:lnTo>
                      <a:lnTo>
                        <a:pt x="622" y="183"/>
                      </a:lnTo>
                      <a:lnTo>
                        <a:pt x="624" y="183"/>
                      </a:lnTo>
                      <a:lnTo>
                        <a:pt x="624" y="181"/>
                      </a:lnTo>
                      <a:lnTo>
                        <a:pt x="625" y="181"/>
                      </a:lnTo>
                      <a:lnTo>
                        <a:pt x="625" y="183"/>
                      </a:lnTo>
                      <a:lnTo>
                        <a:pt x="625" y="181"/>
                      </a:lnTo>
                      <a:lnTo>
                        <a:pt x="625" y="183"/>
                      </a:lnTo>
                      <a:lnTo>
                        <a:pt x="627" y="183"/>
                      </a:lnTo>
                      <a:lnTo>
                        <a:pt x="629" y="183"/>
                      </a:lnTo>
                      <a:close/>
                    </a:path>
                  </a:pathLst>
                </a:custGeom>
                <a:solidFill>
                  <a:srgbClr val="FFFFE1"/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black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5" name="Freeform 2"/>
                <p:cNvSpPr>
                  <a:spLocks noChangeAspect="1" noEditPoints="1"/>
                </p:cNvSpPr>
                <p:nvPr/>
              </p:nvSpPr>
              <p:spPr bwMode="auto">
                <a:xfrm>
                  <a:off x="6102154" y="1860215"/>
                  <a:ext cx="1328225" cy="876441"/>
                </a:xfrm>
                <a:custGeom>
                  <a:avLst/>
                  <a:gdLst>
                    <a:gd name="T0" fmla="*/ 2147483647 w 851"/>
                    <a:gd name="T1" fmla="*/ 2147483647 h 523"/>
                    <a:gd name="T2" fmla="*/ 2147483647 w 851"/>
                    <a:gd name="T3" fmla="*/ 2147483647 h 523"/>
                    <a:gd name="T4" fmla="*/ 2147483647 w 851"/>
                    <a:gd name="T5" fmla="*/ 2147483647 h 523"/>
                    <a:gd name="T6" fmla="*/ 2147483647 w 851"/>
                    <a:gd name="T7" fmla="*/ 2147483647 h 523"/>
                    <a:gd name="T8" fmla="*/ 2147483647 w 851"/>
                    <a:gd name="T9" fmla="*/ 2147483647 h 523"/>
                    <a:gd name="T10" fmla="*/ 2147483647 w 851"/>
                    <a:gd name="T11" fmla="*/ 2147483647 h 523"/>
                    <a:gd name="T12" fmla="*/ 2147483647 w 851"/>
                    <a:gd name="T13" fmla="*/ 2147483647 h 523"/>
                    <a:gd name="T14" fmla="*/ 2147483647 w 851"/>
                    <a:gd name="T15" fmla="*/ 2147483647 h 523"/>
                    <a:gd name="T16" fmla="*/ 2147483647 w 851"/>
                    <a:gd name="T17" fmla="*/ 2147483647 h 523"/>
                    <a:gd name="T18" fmla="*/ 2147483647 w 851"/>
                    <a:gd name="T19" fmla="*/ 2147483647 h 523"/>
                    <a:gd name="T20" fmla="*/ 2147483647 w 851"/>
                    <a:gd name="T21" fmla="*/ 2147483647 h 523"/>
                    <a:gd name="T22" fmla="*/ 2147483647 w 851"/>
                    <a:gd name="T23" fmla="*/ 2147483647 h 523"/>
                    <a:gd name="T24" fmla="*/ 2147483647 w 851"/>
                    <a:gd name="T25" fmla="*/ 2147483647 h 523"/>
                    <a:gd name="T26" fmla="*/ 2147483647 w 851"/>
                    <a:gd name="T27" fmla="*/ 2147483647 h 523"/>
                    <a:gd name="T28" fmla="*/ 2147483647 w 851"/>
                    <a:gd name="T29" fmla="*/ 2147483647 h 523"/>
                    <a:gd name="T30" fmla="*/ 2147483647 w 851"/>
                    <a:gd name="T31" fmla="*/ 2147483647 h 523"/>
                    <a:gd name="T32" fmla="*/ 2147483647 w 851"/>
                    <a:gd name="T33" fmla="*/ 2147483647 h 523"/>
                    <a:gd name="T34" fmla="*/ 2147483647 w 851"/>
                    <a:gd name="T35" fmla="*/ 2147483647 h 523"/>
                    <a:gd name="T36" fmla="*/ 2147483647 w 851"/>
                    <a:gd name="T37" fmla="*/ 2147483647 h 523"/>
                    <a:gd name="T38" fmla="*/ 2147483647 w 851"/>
                    <a:gd name="T39" fmla="*/ 2147483647 h 523"/>
                    <a:gd name="T40" fmla="*/ 2147483647 w 851"/>
                    <a:gd name="T41" fmla="*/ 2147483647 h 523"/>
                    <a:gd name="T42" fmla="*/ 2147483647 w 851"/>
                    <a:gd name="T43" fmla="*/ 2147483647 h 523"/>
                    <a:gd name="T44" fmla="*/ 2147483647 w 851"/>
                    <a:gd name="T45" fmla="*/ 2147483647 h 523"/>
                    <a:gd name="T46" fmla="*/ 2147483647 w 851"/>
                    <a:gd name="T47" fmla="*/ 2147483647 h 523"/>
                    <a:gd name="T48" fmla="*/ 2147483647 w 851"/>
                    <a:gd name="T49" fmla="*/ 2147483647 h 523"/>
                    <a:gd name="T50" fmla="*/ 2147483647 w 851"/>
                    <a:gd name="T51" fmla="*/ 2147483647 h 523"/>
                    <a:gd name="T52" fmla="*/ 2147483647 w 851"/>
                    <a:gd name="T53" fmla="*/ 2147483647 h 523"/>
                    <a:gd name="T54" fmla="*/ 2147483647 w 851"/>
                    <a:gd name="T55" fmla="*/ 2147483647 h 523"/>
                    <a:gd name="T56" fmla="*/ 2147483647 w 851"/>
                    <a:gd name="T57" fmla="*/ 2147483647 h 523"/>
                    <a:gd name="T58" fmla="*/ 2147483647 w 851"/>
                    <a:gd name="T59" fmla="*/ 2147483647 h 523"/>
                    <a:gd name="T60" fmla="*/ 2147483647 w 851"/>
                    <a:gd name="T61" fmla="*/ 2147483647 h 523"/>
                    <a:gd name="T62" fmla="*/ 2147483647 w 851"/>
                    <a:gd name="T63" fmla="*/ 2147483647 h 523"/>
                    <a:gd name="T64" fmla="*/ 2147483647 w 851"/>
                    <a:gd name="T65" fmla="*/ 2147483647 h 523"/>
                    <a:gd name="T66" fmla="*/ 2147483647 w 851"/>
                    <a:gd name="T67" fmla="*/ 2147483647 h 523"/>
                    <a:gd name="T68" fmla="*/ 2147483647 w 851"/>
                    <a:gd name="T69" fmla="*/ 2147483647 h 523"/>
                    <a:gd name="T70" fmla="*/ 2147483647 w 851"/>
                    <a:gd name="T71" fmla="*/ 2147483647 h 523"/>
                    <a:gd name="T72" fmla="*/ 2147483647 w 851"/>
                    <a:gd name="T73" fmla="*/ 2147483647 h 523"/>
                    <a:gd name="T74" fmla="*/ 2147483647 w 851"/>
                    <a:gd name="T75" fmla="*/ 2147483647 h 523"/>
                    <a:gd name="T76" fmla="*/ 2147483647 w 851"/>
                    <a:gd name="T77" fmla="*/ 2147483647 h 523"/>
                    <a:gd name="T78" fmla="*/ 2147483647 w 851"/>
                    <a:gd name="T79" fmla="*/ 2147483647 h 523"/>
                    <a:gd name="T80" fmla="*/ 2147483647 w 851"/>
                    <a:gd name="T81" fmla="*/ 2147483647 h 523"/>
                    <a:gd name="T82" fmla="*/ 2147483647 w 851"/>
                    <a:gd name="T83" fmla="*/ 2147483647 h 523"/>
                    <a:gd name="T84" fmla="*/ 2147483647 w 851"/>
                    <a:gd name="T85" fmla="*/ 2147483647 h 523"/>
                    <a:gd name="T86" fmla="*/ 2147483647 w 851"/>
                    <a:gd name="T87" fmla="*/ 2147483647 h 523"/>
                    <a:gd name="T88" fmla="*/ 2147483647 w 851"/>
                    <a:gd name="T89" fmla="*/ 2147483647 h 523"/>
                    <a:gd name="T90" fmla="*/ 2147483647 w 851"/>
                    <a:gd name="T91" fmla="*/ 2147483647 h 523"/>
                    <a:gd name="T92" fmla="*/ 2147483647 w 851"/>
                    <a:gd name="T93" fmla="*/ 2147483647 h 523"/>
                    <a:gd name="T94" fmla="*/ 2147483647 w 851"/>
                    <a:gd name="T95" fmla="*/ 2147483647 h 523"/>
                    <a:gd name="T96" fmla="*/ 2147483647 w 851"/>
                    <a:gd name="T97" fmla="*/ 2147483647 h 523"/>
                    <a:gd name="T98" fmla="*/ 2147483647 w 851"/>
                    <a:gd name="T99" fmla="*/ 2147483647 h 523"/>
                    <a:gd name="T100" fmla="*/ 2147483647 w 851"/>
                    <a:gd name="T101" fmla="*/ 2147483647 h 523"/>
                    <a:gd name="T102" fmla="*/ 2147483647 w 851"/>
                    <a:gd name="T103" fmla="*/ 2147483647 h 523"/>
                    <a:gd name="T104" fmla="*/ 2147483647 w 851"/>
                    <a:gd name="T105" fmla="*/ 2147483647 h 523"/>
                    <a:gd name="T106" fmla="*/ 2147483647 w 851"/>
                    <a:gd name="T107" fmla="*/ 2147483647 h 523"/>
                    <a:gd name="T108" fmla="*/ 2147483647 w 851"/>
                    <a:gd name="T109" fmla="*/ 2147483647 h 523"/>
                    <a:gd name="T110" fmla="*/ 2147483647 w 851"/>
                    <a:gd name="T111" fmla="*/ 2147483647 h 523"/>
                    <a:gd name="T112" fmla="*/ 2147483647 w 851"/>
                    <a:gd name="T113" fmla="*/ 2147483647 h 523"/>
                    <a:gd name="T114" fmla="*/ 2147483647 w 851"/>
                    <a:gd name="T115" fmla="*/ 2147483647 h 523"/>
                    <a:gd name="T116" fmla="*/ 2147483647 w 851"/>
                    <a:gd name="T117" fmla="*/ 2147483647 h 523"/>
                    <a:gd name="T118" fmla="*/ 2147483647 w 851"/>
                    <a:gd name="T119" fmla="*/ 2147483647 h 523"/>
                    <a:gd name="T120" fmla="*/ 2147483647 w 851"/>
                    <a:gd name="T121" fmla="*/ 2147483647 h 523"/>
                    <a:gd name="T122" fmla="*/ 2147483647 w 851"/>
                    <a:gd name="T123" fmla="*/ 2147483647 h 523"/>
                    <a:gd name="T124" fmla="*/ 2147483647 w 851"/>
                    <a:gd name="T125" fmla="*/ 2147483647 h 523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51"/>
                    <a:gd name="T190" fmla="*/ 0 h 523"/>
                    <a:gd name="T191" fmla="*/ 851 w 851"/>
                    <a:gd name="T192" fmla="*/ 523 h 523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51" h="523">
                      <a:moveTo>
                        <a:pt x="304" y="502"/>
                      </a:moveTo>
                      <a:lnTo>
                        <a:pt x="304" y="504"/>
                      </a:lnTo>
                      <a:lnTo>
                        <a:pt x="302" y="504"/>
                      </a:lnTo>
                      <a:lnTo>
                        <a:pt x="302" y="505"/>
                      </a:lnTo>
                      <a:lnTo>
                        <a:pt x="300" y="505"/>
                      </a:lnTo>
                      <a:lnTo>
                        <a:pt x="299" y="505"/>
                      </a:lnTo>
                      <a:lnTo>
                        <a:pt x="299" y="507"/>
                      </a:lnTo>
                      <a:lnTo>
                        <a:pt x="297" y="507"/>
                      </a:lnTo>
                      <a:lnTo>
                        <a:pt x="297" y="509"/>
                      </a:lnTo>
                      <a:lnTo>
                        <a:pt x="295" y="509"/>
                      </a:lnTo>
                      <a:lnTo>
                        <a:pt x="294" y="505"/>
                      </a:lnTo>
                      <a:lnTo>
                        <a:pt x="292" y="499"/>
                      </a:lnTo>
                      <a:lnTo>
                        <a:pt x="290" y="499"/>
                      </a:lnTo>
                      <a:lnTo>
                        <a:pt x="290" y="497"/>
                      </a:lnTo>
                      <a:lnTo>
                        <a:pt x="292" y="496"/>
                      </a:lnTo>
                      <a:lnTo>
                        <a:pt x="290" y="496"/>
                      </a:lnTo>
                      <a:lnTo>
                        <a:pt x="290" y="494"/>
                      </a:lnTo>
                      <a:lnTo>
                        <a:pt x="288" y="492"/>
                      </a:lnTo>
                      <a:lnTo>
                        <a:pt x="287" y="491"/>
                      </a:lnTo>
                      <a:lnTo>
                        <a:pt x="287" y="489"/>
                      </a:lnTo>
                      <a:lnTo>
                        <a:pt x="288" y="489"/>
                      </a:lnTo>
                      <a:lnTo>
                        <a:pt x="288" y="487"/>
                      </a:lnTo>
                      <a:lnTo>
                        <a:pt x="287" y="486"/>
                      </a:lnTo>
                      <a:lnTo>
                        <a:pt x="288" y="486"/>
                      </a:lnTo>
                      <a:lnTo>
                        <a:pt x="288" y="484"/>
                      </a:lnTo>
                      <a:lnTo>
                        <a:pt x="290" y="484"/>
                      </a:lnTo>
                      <a:lnTo>
                        <a:pt x="290" y="482"/>
                      </a:lnTo>
                      <a:lnTo>
                        <a:pt x="290" y="481"/>
                      </a:lnTo>
                      <a:lnTo>
                        <a:pt x="288" y="479"/>
                      </a:lnTo>
                      <a:lnTo>
                        <a:pt x="288" y="477"/>
                      </a:lnTo>
                      <a:lnTo>
                        <a:pt x="287" y="477"/>
                      </a:lnTo>
                      <a:lnTo>
                        <a:pt x="285" y="477"/>
                      </a:lnTo>
                      <a:lnTo>
                        <a:pt x="283" y="479"/>
                      </a:lnTo>
                      <a:lnTo>
                        <a:pt x="282" y="481"/>
                      </a:lnTo>
                      <a:lnTo>
                        <a:pt x="280" y="482"/>
                      </a:lnTo>
                      <a:lnTo>
                        <a:pt x="278" y="482"/>
                      </a:lnTo>
                      <a:lnTo>
                        <a:pt x="277" y="482"/>
                      </a:lnTo>
                      <a:lnTo>
                        <a:pt x="275" y="481"/>
                      </a:lnTo>
                      <a:lnTo>
                        <a:pt x="273" y="481"/>
                      </a:lnTo>
                      <a:lnTo>
                        <a:pt x="272" y="479"/>
                      </a:lnTo>
                      <a:lnTo>
                        <a:pt x="270" y="477"/>
                      </a:lnTo>
                      <a:lnTo>
                        <a:pt x="270" y="476"/>
                      </a:lnTo>
                      <a:lnTo>
                        <a:pt x="270" y="474"/>
                      </a:lnTo>
                      <a:lnTo>
                        <a:pt x="268" y="474"/>
                      </a:lnTo>
                      <a:lnTo>
                        <a:pt x="268" y="473"/>
                      </a:lnTo>
                      <a:lnTo>
                        <a:pt x="270" y="473"/>
                      </a:lnTo>
                      <a:lnTo>
                        <a:pt x="270" y="471"/>
                      </a:lnTo>
                      <a:lnTo>
                        <a:pt x="272" y="471"/>
                      </a:lnTo>
                      <a:lnTo>
                        <a:pt x="273" y="469"/>
                      </a:lnTo>
                      <a:lnTo>
                        <a:pt x="273" y="468"/>
                      </a:lnTo>
                      <a:lnTo>
                        <a:pt x="273" y="466"/>
                      </a:lnTo>
                      <a:lnTo>
                        <a:pt x="273" y="464"/>
                      </a:lnTo>
                      <a:lnTo>
                        <a:pt x="270" y="464"/>
                      </a:lnTo>
                      <a:lnTo>
                        <a:pt x="270" y="463"/>
                      </a:lnTo>
                      <a:lnTo>
                        <a:pt x="267" y="463"/>
                      </a:lnTo>
                      <a:lnTo>
                        <a:pt x="265" y="463"/>
                      </a:lnTo>
                      <a:lnTo>
                        <a:pt x="263" y="464"/>
                      </a:lnTo>
                      <a:lnTo>
                        <a:pt x="263" y="466"/>
                      </a:lnTo>
                      <a:lnTo>
                        <a:pt x="261" y="466"/>
                      </a:lnTo>
                      <a:lnTo>
                        <a:pt x="261" y="468"/>
                      </a:lnTo>
                      <a:lnTo>
                        <a:pt x="260" y="469"/>
                      </a:lnTo>
                      <a:lnTo>
                        <a:pt x="260" y="471"/>
                      </a:lnTo>
                      <a:lnTo>
                        <a:pt x="260" y="473"/>
                      </a:lnTo>
                      <a:lnTo>
                        <a:pt x="260" y="474"/>
                      </a:lnTo>
                      <a:lnTo>
                        <a:pt x="260" y="476"/>
                      </a:lnTo>
                      <a:lnTo>
                        <a:pt x="258" y="477"/>
                      </a:lnTo>
                      <a:lnTo>
                        <a:pt x="256" y="477"/>
                      </a:lnTo>
                      <a:lnTo>
                        <a:pt x="255" y="477"/>
                      </a:lnTo>
                      <a:lnTo>
                        <a:pt x="255" y="476"/>
                      </a:lnTo>
                      <a:lnTo>
                        <a:pt x="253" y="476"/>
                      </a:lnTo>
                      <a:lnTo>
                        <a:pt x="253" y="474"/>
                      </a:lnTo>
                      <a:lnTo>
                        <a:pt x="253" y="473"/>
                      </a:lnTo>
                      <a:lnTo>
                        <a:pt x="253" y="471"/>
                      </a:lnTo>
                      <a:lnTo>
                        <a:pt x="251" y="469"/>
                      </a:lnTo>
                      <a:lnTo>
                        <a:pt x="251" y="468"/>
                      </a:lnTo>
                      <a:lnTo>
                        <a:pt x="251" y="466"/>
                      </a:lnTo>
                      <a:lnTo>
                        <a:pt x="250" y="466"/>
                      </a:lnTo>
                      <a:lnTo>
                        <a:pt x="250" y="464"/>
                      </a:lnTo>
                      <a:lnTo>
                        <a:pt x="248" y="464"/>
                      </a:lnTo>
                      <a:lnTo>
                        <a:pt x="246" y="464"/>
                      </a:lnTo>
                      <a:lnTo>
                        <a:pt x="246" y="463"/>
                      </a:lnTo>
                      <a:lnTo>
                        <a:pt x="245" y="463"/>
                      </a:lnTo>
                      <a:lnTo>
                        <a:pt x="245" y="461"/>
                      </a:lnTo>
                      <a:lnTo>
                        <a:pt x="243" y="461"/>
                      </a:lnTo>
                      <a:lnTo>
                        <a:pt x="241" y="459"/>
                      </a:lnTo>
                      <a:lnTo>
                        <a:pt x="239" y="459"/>
                      </a:lnTo>
                      <a:lnTo>
                        <a:pt x="238" y="459"/>
                      </a:lnTo>
                      <a:lnTo>
                        <a:pt x="236" y="459"/>
                      </a:lnTo>
                      <a:lnTo>
                        <a:pt x="234" y="459"/>
                      </a:lnTo>
                      <a:lnTo>
                        <a:pt x="233" y="459"/>
                      </a:lnTo>
                      <a:lnTo>
                        <a:pt x="231" y="459"/>
                      </a:lnTo>
                      <a:lnTo>
                        <a:pt x="229" y="459"/>
                      </a:lnTo>
                      <a:lnTo>
                        <a:pt x="229" y="461"/>
                      </a:lnTo>
                      <a:lnTo>
                        <a:pt x="228" y="461"/>
                      </a:lnTo>
                      <a:lnTo>
                        <a:pt x="226" y="459"/>
                      </a:lnTo>
                      <a:lnTo>
                        <a:pt x="224" y="458"/>
                      </a:lnTo>
                      <a:lnTo>
                        <a:pt x="223" y="456"/>
                      </a:lnTo>
                      <a:lnTo>
                        <a:pt x="221" y="456"/>
                      </a:lnTo>
                      <a:lnTo>
                        <a:pt x="221" y="454"/>
                      </a:lnTo>
                      <a:lnTo>
                        <a:pt x="219" y="454"/>
                      </a:lnTo>
                      <a:lnTo>
                        <a:pt x="218" y="454"/>
                      </a:lnTo>
                      <a:lnTo>
                        <a:pt x="214" y="453"/>
                      </a:lnTo>
                      <a:lnTo>
                        <a:pt x="212" y="453"/>
                      </a:lnTo>
                      <a:lnTo>
                        <a:pt x="211" y="453"/>
                      </a:lnTo>
                      <a:lnTo>
                        <a:pt x="209" y="453"/>
                      </a:lnTo>
                      <a:lnTo>
                        <a:pt x="209" y="451"/>
                      </a:lnTo>
                      <a:lnTo>
                        <a:pt x="207" y="451"/>
                      </a:lnTo>
                      <a:lnTo>
                        <a:pt x="206" y="451"/>
                      </a:lnTo>
                      <a:lnTo>
                        <a:pt x="204" y="453"/>
                      </a:lnTo>
                      <a:lnTo>
                        <a:pt x="202" y="451"/>
                      </a:lnTo>
                      <a:lnTo>
                        <a:pt x="202" y="453"/>
                      </a:lnTo>
                      <a:lnTo>
                        <a:pt x="201" y="453"/>
                      </a:lnTo>
                      <a:lnTo>
                        <a:pt x="201" y="451"/>
                      </a:lnTo>
                      <a:lnTo>
                        <a:pt x="201" y="450"/>
                      </a:lnTo>
                      <a:lnTo>
                        <a:pt x="199" y="448"/>
                      </a:lnTo>
                      <a:lnTo>
                        <a:pt x="201" y="448"/>
                      </a:lnTo>
                      <a:lnTo>
                        <a:pt x="201" y="446"/>
                      </a:lnTo>
                      <a:lnTo>
                        <a:pt x="201" y="445"/>
                      </a:lnTo>
                      <a:lnTo>
                        <a:pt x="199" y="445"/>
                      </a:lnTo>
                      <a:lnTo>
                        <a:pt x="199" y="443"/>
                      </a:lnTo>
                      <a:lnTo>
                        <a:pt x="197" y="443"/>
                      </a:lnTo>
                      <a:lnTo>
                        <a:pt x="197" y="441"/>
                      </a:lnTo>
                      <a:lnTo>
                        <a:pt x="197" y="440"/>
                      </a:lnTo>
                      <a:lnTo>
                        <a:pt x="196" y="438"/>
                      </a:lnTo>
                      <a:lnTo>
                        <a:pt x="194" y="438"/>
                      </a:lnTo>
                      <a:lnTo>
                        <a:pt x="192" y="438"/>
                      </a:lnTo>
                      <a:lnTo>
                        <a:pt x="191" y="438"/>
                      </a:lnTo>
                      <a:lnTo>
                        <a:pt x="189" y="436"/>
                      </a:lnTo>
                      <a:lnTo>
                        <a:pt x="187" y="436"/>
                      </a:lnTo>
                      <a:lnTo>
                        <a:pt x="185" y="436"/>
                      </a:lnTo>
                      <a:lnTo>
                        <a:pt x="184" y="436"/>
                      </a:lnTo>
                      <a:lnTo>
                        <a:pt x="184" y="438"/>
                      </a:lnTo>
                      <a:lnTo>
                        <a:pt x="182" y="438"/>
                      </a:lnTo>
                      <a:lnTo>
                        <a:pt x="180" y="438"/>
                      </a:lnTo>
                      <a:lnTo>
                        <a:pt x="180" y="440"/>
                      </a:lnTo>
                      <a:lnTo>
                        <a:pt x="179" y="440"/>
                      </a:lnTo>
                      <a:lnTo>
                        <a:pt x="179" y="441"/>
                      </a:lnTo>
                      <a:lnTo>
                        <a:pt x="177" y="441"/>
                      </a:lnTo>
                      <a:lnTo>
                        <a:pt x="175" y="441"/>
                      </a:lnTo>
                      <a:lnTo>
                        <a:pt x="174" y="441"/>
                      </a:lnTo>
                      <a:lnTo>
                        <a:pt x="174" y="443"/>
                      </a:lnTo>
                      <a:lnTo>
                        <a:pt x="172" y="443"/>
                      </a:lnTo>
                      <a:lnTo>
                        <a:pt x="170" y="445"/>
                      </a:lnTo>
                      <a:lnTo>
                        <a:pt x="169" y="445"/>
                      </a:lnTo>
                      <a:lnTo>
                        <a:pt x="169" y="446"/>
                      </a:lnTo>
                      <a:lnTo>
                        <a:pt x="167" y="446"/>
                      </a:lnTo>
                      <a:lnTo>
                        <a:pt x="165" y="448"/>
                      </a:lnTo>
                      <a:lnTo>
                        <a:pt x="163" y="446"/>
                      </a:lnTo>
                      <a:lnTo>
                        <a:pt x="163" y="448"/>
                      </a:lnTo>
                      <a:lnTo>
                        <a:pt x="162" y="448"/>
                      </a:lnTo>
                      <a:lnTo>
                        <a:pt x="160" y="448"/>
                      </a:lnTo>
                      <a:lnTo>
                        <a:pt x="158" y="448"/>
                      </a:lnTo>
                      <a:lnTo>
                        <a:pt x="157" y="448"/>
                      </a:lnTo>
                      <a:lnTo>
                        <a:pt x="157" y="450"/>
                      </a:lnTo>
                      <a:lnTo>
                        <a:pt x="158" y="453"/>
                      </a:lnTo>
                      <a:lnTo>
                        <a:pt x="158" y="454"/>
                      </a:lnTo>
                      <a:lnTo>
                        <a:pt x="160" y="454"/>
                      </a:lnTo>
                      <a:lnTo>
                        <a:pt x="158" y="456"/>
                      </a:lnTo>
                      <a:lnTo>
                        <a:pt x="158" y="458"/>
                      </a:lnTo>
                      <a:lnTo>
                        <a:pt x="160" y="458"/>
                      </a:lnTo>
                      <a:lnTo>
                        <a:pt x="160" y="459"/>
                      </a:lnTo>
                      <a:lnTo>
                        <a:pt x="158" y="459"/>
                      </a:lnTo>
                      <a:lnTo>
                        <a:pt x="157" y="461"/>
                      </a:lnTo>
                      <a:lnTo>
                        <a:pt x="155" y="459"/>
                      </a:lnTo>
                      <a:lnTo>
                        <a:pt x="153" y="459"/>
                      </a:lnTo>
                      <a:lnTo>
                        <a:pt x="152" y="459"/>
                      </a:lnTo>
                      <a:lnTo>
                        <a:pt x="152" y="461"/>
                      </a:lnTo>
                      <a:lnTo>
                        <a:pt x="150" y="461"/>
                      </a:lnTo>
                      <a:lnTo>
                        <a:pt x="148" y="463"/>
                      </a:lnTo>
                      <a:lnTo>
                        <a:pt x="147" y="463"/>
                      </a:lnTo>
                      <a:lnTo>
                        <a:pt x="147" y="461"/>
                      </a:lnTo>
                      <a:lnTo>
                        <a:pt x="145" y="461"/>
                      </a:lnTo>
                      <a:lnTo>
                        <a:pt x="143" y="463"/>
                      </a:lnTo>
                      <a:lnTo>
                        <a:pt x="142" y="463"/>
                      </a:lnTo>
                      <a:lnTo>
                        <a:pt x="140" y="463"/>
                      </a:lnTo>
                      <a:lnTo>
                        <a:pt x="138" y="463"/>
                      </a:lnTo>
                      <a:lnTo>
                        <a:pt x="138" y="464"/>
                      </a:lnTo>
                      <a:lnTo>
                        <a:pt x="138" y="466"/>
                      </a:lnTo>
                      <a:lnTo>
                        <a:pt x="138" y="468"/>
                      </a:lnTo>
                      <a:lnTo>
                        <a:pt x="140" y="469"/>
                      </a:lnTo>
                      <a:lnTo>
                        <a:pt x="140" y="471"/>
                      </a:lnTo>
                      <a:lnTo>
                        <a:pt x="140" y="473"/>
                      </a:lnTo>
                      <a:lnTo>
                        <a:pt x="140" y="474"/>
                      </a:lnTo>
                      <a:lnTo>
                        <a:pt x="138" y="476"/>
                      </a:lnTo>
                      <a:lnTo>
                        <a:pt x="136" y="477"/>
                      </a:lnTo>
                      <a:lnTo>
                        <a:pt x="136" y="479"/>
                      </a:lnTo>
                      <a:lnTo>
                        <a:pt x="135" y="479"/>
                      </a:lnTo>
                      <a:lnTo>
                        <a:pt x="135" y="481"/>
                      </a:lnTo>
                      <a:lnTo>
                        <a:pt x="133" y="482"/>
                      </a:lnTo>
                      <a:lnTo>
                        <a:pt x="131" y="484"/>
                      </a:lnTo>
                      <a:lnTo>
                        <a:pt x="130" y="484"/>
                      </a:lnTo>
                      <a:lnTo>
                        <a:pt x="128" y="484"/>
                      </a:lnTo>
                      <a:lnTo>
                        <a:pt x="126" y="484"/>
                      </a:lnTo>
                      <a:lnTo>
                        <a:pt x="125" y="484"/>
                      </a:lnTo>
                      <a:lnTo>
                        <a:pt x="123" y="484"/>
                      </a:lnTo>
                      <a:lnTo>
                        <a:pt x="121" y="484"/>
                      </a:lnTo>
                      <a:lnTo>
                        <a:pt x="121" y="486"/>
                      </a:lnTo>
                      <a:lnTo>
                        <a:pt x="120" y="487"/>
                      </a:lnTo>
                      <a:lnTo>
                        <a:pt x="118" y="487"/>
                      </a:lnTo>
                      <a:lnTo>
                        <a:pt x="118" y="489"/>
                      </a:lnTo>
                      <a:lnTo>
                        <a:pt x="116" y="489"/>
                      </a:lnTo>
                      <a:lnTo>
                        <a:pt x="115" y="489"/>
                      </a:lnTo>
                      <a:lnTo>
                        <a:pt x="113" y="489"/>
                      </a:lnTo>
                      <a:lnTo>
                        <a:pt x="113" y="487"/>
                      </a:lnTo>
                      <a:lnTo>
                        <a:pt x="111" y="487"/>
                      </a:lnTo>
                      <a:lnTo>
                        <a:pt x="109" y="486"/>
                      </a:lnTo>
                      <a:lnTo>
                        <a:pt x="109" y="484"/>
                      </a:lnTo>
                      <a:lnTo>
                        <a:pt x="108" y="484"/>
                      </a:lnTo>
                      <a:lnTo>
                        <a:pt x="106" y="484"/>
                      </a:lnTo>
                      <a:lnTo>
                        <a:pt x="104" y="484"/>
                      </a:lnTo>
                      <a:lnTo>
                        <a:pt x="104" y="486"/>
                      </a:lnTo>
                      <a:lnTo>
                        <a:pt x="103" y="486"/>
                      </a:lnTo>
                      <a:lnTo>
                        <a:pt x="103" y="487"/>
                      </a:lnTo>
                      <a:lnTo>
                        <a:pt x="101" y="489"/>
                      </a:lnTo>
                      <a:lnTo>
                        <a:pt x="101" y="492"/>
                      </a:lnTo>
                      <a:lnTo>
                        <a:pt x="101" y="494"/>
                      </a:lnTo>
                      <a:lnTo>
                        <a:pt x="101" y="496"/>
                      </a:lnTo>
                      <a:lnTo>
                        <a:pt x="101" y="497"/>
                      </a:lnTo>
                      <a:lnTo>
                        <a:pt x="101" y="499"/>
                      </a:lnTo>
                      <a:lnTo>
                        <a:pt x="99" y="500"/>
                      </a:lnTo>
                      <a:lnTo>
                        <a:pt x="99" y="502"/>
                      </a:lnTo>
                      <a:lnTo>
                        <a:pt x="99" y="504"/>
                      </a:lnTo>
                      <a:lnTo>
                        <a:pt x="99" y="505"/>
                      </a:lnTo>
                      <a:lnTo>
                        <a:pt x="98" y="505"/>
                      </a:lnTo>
                      <a:lnTo>
                        <a:pt x="98" y="507"/>
                      </a:lnTo>
                      <a:lnTo>
                        <a:pt x="98" y="509"/>
                      </a:lnTo>
                      <a:lnTo>
                        <a:pt x="96" y="509"/>
                      </a:lnTo>
                      <a:lnTo>
                        <a:pt x="96" y="510"/>
                      </a:lnTo>
                      <a:lnTo>
                        <a:pt x="98" y="512"/>
                      </a:lnTo>
                      <a:lnTo>
                        <a:pt x="96" y="512"/>
                      </a:lnTo>
                      <a:lnTo>
                        <a:pt x="96" y="514"/>
                      </a:lnTo>
                      <a:lnTo>
                        <a:pt x="94" y="514"/>
                      </a:lnTo>
                      <a:lnTo>
                        <a:pt x="93" y="514"/>
                      </a:lnTo>
                      <a:lnTo>
                        <a:pt x="91" y="514"/>
                      </a:lnTo>
                      <a:lnTo>
                        <a:pt x="91" y="512"/>
                      </a:lnTo>
                      <a:lnTo>
                        <a:pt x="89" y="512"/>
                      </a:lnTo>
                      <a:lnTo>
                        <a:pt x="87" y="512"/>
                      </a:lnTo>
                      <a:lnTo>
                        <a:pt x="86" y="515"/>
                      </a:lnTo>
                      <a:lnTo>
                        <a:pt x="86" y="517"/>
                      </a:lnTo>
                      <a:lnTo>
                        <a:pt x="84" y="517"/>
                      </a:lnTo>
                      <a:lnTo>
                        <a:pt x="82" y="517"/>
                      </a:lnTo>
                      <a:lnTo>
                        <a:pt x="81" y="517"/>
                      </a:lnTo>
                      <a:lnTo>
                        <a:pt x="79" y="517"/>
                      </a:lnTo>
                      <a:lnTo>
                        <a:pt x="77" y="517"/>
                      </a:lnTo>
                      <a:lnTo>
                        <a:pt x="77" y="519"/>
                      </a:lnTo>
                      <a:lnTo>
                        <a:pt x="77" y="520"/>
                      </a:lnTo>
                      <a:lnTo>
                        <a:pt x="76" y="520"/>
                      </a:lnTo>
                      <a:lnTo>
                        <a:pt x="76" y="522"/>
                      </a:lnTo>
                      <a:lnTo>
                        <a:pt x="74" y="522"/>
                      </a:lnTo>
                      <a:lnTo>
                        <a:pt x="72" y="522"/>
                      </a:lnTo>
                      <a:lnTo>
                        <a:pt x="71" y="523"/>
                      </a:lnTo>
                      <a:lnTo>
                        <a:pt x="69" y="523"/>
                      </a:lnTo>
                      <a:lnTo>
                        <a:pt x="67" y="523"/>
                      </a:lnTo>
                      <a:lnTo>
                        <a:pt x="67" y="522"/>
                      </a:lnTo>
                      <a:lnTo>
                        <a:pt x="64" y="522"/>
                      </a:lnTo>
                      <a:lnTo>
                        <a:pt x="62" y="522"/>
                      </a:lnTo>
                      <a:lnTo>
                        <a:pt x="60" y="520"/>
                      </a:lnTo>
                      <a:lnTo>
                        <a:pt x="57" y="520"/>
                      </a:lnTo>
                      <a:lnTo>
                        <a:pt x="55" y="520"/>
                      </a:lnTo>
                      <a:lnTo>
                        <a:pt x="57" y="519"/>
                      </a:lnTo>
                      <a:lnTo>
                        <a:pt x="55" y="517"/>
                      </a:lnTo>
                      <a:lnTo>
                        <a:pt x="57" y="517"/>
                      </a:lnTo>
                      <a:lnTo>
                        <a:pt x="59" y="515"/>
                      </a:lnTo>
                      <a:lnTo>
                        <a:pt x="57" y="515"/>
                      </a:lnTo>
                      <a:lnTo>
                        <a:pt x="59" y="514"/>
                      </a:lnTo>
                      <a:lnTo>
                        <a:pt x="57" y="514"/>
                      </a:lnTo>
                      <a:lnTo>
                        <a:pt x="57" y="512"/>
                      </a:lnTo>
                      <a:lnTo>
                        <a:pt x="59" y="512"/>
                      </a:lnTo>
                      <a:lnTo>
                        <a:pt x="59" y="510"/>
                      </a:lnTo>
                      <a:lnTo>
                        <a:pt x="59" y="509"/>
                      </a:lnTo>
                      <a:lnTo>
                        <a:pt x="57" y="509"/>
                      </a:lnTo>
                      <a:lnTo>
                        <a:pt x="57" y="507"/>
                      </a:lnTo>
                      <a:lnTo>
                        <a:pt x="59" y="507"/>
                      </a:lnTo>
                      <a:lnTo>
                        <a:pt x="59" y="505"/>
                      </a:lnTo>
                      <a:lnTo>
                        <a:pt x="59" y="507"/>
                      </a:lnTo>
                      <a:lnTo>
                        <a:pt x="60" y="507"/>
                      </a:lnTo>
                      <a:lnTo>
                        <a:pt x="62" y="505"/>
                      </a:lnTo>
                      <a:lnTo>
                        <a:pt x="60" y="505"/>
                      </a:lnTo>
                      <a:lnTo>
                        <a:pt x="62" y="505"/>
                      </a:lnTo>
                      <a:lnTo>
                        <a:pt x="64" y="504"/>
                      </a:lnTo>
                      <a:lnTo>
                        <a:pt x="64" y="502"/>
                      </a:lnTo>
                      <a:lnTo>
                        <a:pt x="64" y="500"/>
                      </a:lnTo>
                      <a:lnTo>
                        <a:pt x="62" y="500"/>
                      </a:lnTo>
                      <a:lnTo>
                        <a:pt x="64" y="499"/>
                      </a:lnTo>
                      <a:lnTo>
                        <a:pt x="64" y="497"/>
                      </a:lnTo>
                      <a:lnTo>
                        <a:pt x="66" y="496"/>
                      </a:lnTo>
                      <a:lnTo>
                        <a:pt x="66" y="494"/>
                      </a:lnTo>
                      <a:lnTo>
                        <a:pt x="64" y="494"/>
                      </a:lnTo>
                      <a:lnTo>
                        <a:pt x="64" y="492"/>
                      </a:lnTo>
                      <a:lnTo>
                        <a:pt x="62" y="492"/>
                      </a:lnTo>
                      <a:lnTo>
                        <a:pt x="60" y="492"/>
                      </a:lnTo>
                      <a:lnTo>
                        <a:pt x="60" y="491"/>
                      </a:lnTo>
                      <a:lnTo>
                        <a:pt x="59" y="491"/>
                      </a:lnTo>
                      <a:lnTo>
                        <a:pt x="57" y="489"/>
                      </a:lnTo>
                      <a:lnTo>
                        <a:pt x="57" y="491"/>
                      </a:lnTo>
                      <a:lnTo>
                        <a:pt x="57" y="489"/>
                      </a:lnTo>
                      <a:lnTo>
                        <a:pt x="55" y="489"/>
                      </a:lnTo>
                      <a:lnTo>
                        <a:pt x="55" y="487"/>
                      </a:lnTo>
                      <a:lnTo>
                        <a:pt x="54" y="489"/>
                      </a:lnTo>
                      <a:lnTo>
                        <a:pt x="54" y="487"/>
                      </a:lnTo>
                      <a:lnTo>
                        <a:pt x="52" y="487"/>
                      </a:lnTo>
                      <a:lnTo>
                        <a:pt x="52" y="486"/>
                      </a:lnTo>
                      <a:lnTo>
                        <a:pt x="50" y="486"/>
                      </a:lnTo>
                      <a:lnTo>
                        <a:pt x="50" y="484"/>
                      </a:lnTo>
                      <a:lnTo>
                        <a:pt x="50" y="482"/>
                      </a:lnTo>
                      <a:lnTo>
                        <a:pt x="50" y="481"/>
                      </a:lnTo>
                      <a:lnTo>
                        <a:pt x="49" y="481"/>
                      </a:lnTo>
                      <a:lnTo>
                        <a:pt x="49" y="479"/>
                      </a:lnTo>
                      <a:lnTo>
                        <a:pt x="49" y="477"/>
                      </a:lnTo>
                      <a:lnTo>
                        <a:pt x="47" y="477"/>
                      </a:lnTo>
                      <a:lnTo>
                        <a:pt x="47" y="474"/>
                      </a:lnTo>
                      <a:lnTo>
                        <a:pt x="47" y="473"/>
                      </a:lnTo>
                      <a:lnTo>
                        <a:pt x="45" y="471"/>
                      </a:lnTo>
                      <a:lnTo>
                        <a:pt x="45" y="469"/>
                      </a:lnTo>
                      <a:lnTo>
                        <a:pt x="44" y="469"/>
                      </a:lnTo>
                      <a:lnTo>
                        <a:pt x="44" y="468"/>
                      </a:lnTo>
                      <a:lnTo>
                        <a:pt x="44" y="466"/>
                      </a:lnTo>
                      <a:lnTo>
                        <a:pt x="42" y="466"/>
                      </a:lnTo>
                      <a:lnTo>
                        <a:pt x="42" y="464"/>
                      </a:lnTo>
                      <a:lnTo>
                        <a:pt x="40" y="464"/>
                      </a:lnTo>
                      <a:lnTo>
                        <a:pt x="39" y="464"/>
                      </a:lnTo>
                      <a:lnTo>
                        <a:pt x="37" y="464"/>
                      </a:lnTo>
                      <a:lnTo>
                        <a:pt x="37" y="463"/>
                      </a:lnTo>
                      <a:lnTo>
                        <a:pt x="35" y="463"/>
                      </a:lnTo>
                      <a:lnTo>
                        <a:pt x="33" y="463"/>
                      </a:lnTo>
                      <a:lnTo>
                        <a:pt x="32" y="464"/>
                      </a:lnTo>
                      <a:lnTo>
                        <a:pt x="30" y="464"/>
                      </a:lnTo>
                      <a:lnTo>
                        <a:pt x="30" y="463"/>
                      </a:lnTo>
                      <a:lnTo>
                        <a:pt x="32" y="463"/>
                      </a:lnTo>
                      <a:lnTo>
                        <a:pt x="32" y="461"/>
                      </a:lnTo>
                      <a:lnTo>
                        <a:pt x="30" y="461"/>
                      </a:lnTo>
                      <a:lnTo>
                        <a:pt x="30" y="459"/>
                      </a:lnTo>
                      <a:lnTo>
                        <a:pt x="28" y="459"/>
                      </a:lnTo>
                      <a:lnTo>
                        <a:pt x="27" y="459"/>
                      </a:lnTo>
                      <a:lnTo>
                        <a:pt x="25" y="459"/>
                      </a:lnTo>
                      <a:lnTo>
                        <a:pt x="23" y="459"/>
                      </a:lnTo>
                      <a:lnTo>
                        <a:pt x="23" y="458"/>
                      </a:lnTo>
                      <a:lnTo>
                        <a:pt x="23" y="456"/>
                      </a:lnTo>
                      <a:lnTo>
                        <a:pt x="22" y="456"/>
                      </a:lnTo>
                      <a:lnTo>
                        <a:pt x="22" y="454"/>
                      </a:lnTo>
                      <a:lnTo>
                        <a:pt x="22" y="453"/>
                      </a:lnTo>
                      <a:lnTo>
                        <a:pt x="23" y="453"/>
                      </a:lnTo>
                      <a:lnTo>
                        <a:pt x="23" y="451"/>
                      </a:lnTo>
                      <a:lnTo>
                        <a:pt x="22" y="451"/>
                      </a:lnTo>
                      <a:lnTo>
                        <a:pt x="20" y="451"/>
                      </a:lnTo>
                      <a:lnTo>
                        <a:pt x="18" y="453"/>
                      </a:lnTo>
                      <a:lnTo>
                        <a:pt x="17" y="451"/>
                      </a:lnTo>
                      <a:lnTo>
                        <a:pt x="17" y="453"/>
                      </a:lnTo>
                      <a:lnTo>
                        <a:pt x="17" y="451"/>
                      </a:lnTo>
                      <a:lnTo>
                        <a:pt x="17" y="453"/>
                      </a:lnTo>
                      <a:lnTo>
                        <a:pt x="15" y="451"/>
                      </a:lnTo>
                      <a:lnTo>
                        <a:pt x="15" y="453"/>
                      </a:lnTo>
                      <a:lnTo>
                        <a:pt x="13" y="451"/>
                      </a:lnTo>
                      <a:lnTo>
                        <a:pt x="11" y="451"/>
                      </a:lnTo>
                      <a:lnTo>
                        <a:pt x="11" y="453"/>
                      </a:lnTo>
                      <a:lnTo>
                        <a:pt x="10" y="453"/>
                      </a:lnTo>
                      <a:lnTo>
                        <a:pt x="8" y="453"/>
                      </a:lnTo>
                      <a:lnTo>
                        <a:pt x="8" y="454"/>
                      </a:lnTo>
                      <a:lnTo>
                        <a:pt x="6" y="454"/>
                      </a:lnTo>
                      <a:lnTo>
                        <a:pt x="5" y="454"/>
                      </a:lnTo>
                      <a:lnTo>
                        <a:pt x="5" y="453"/>
                      </a:lnTo>
                      <a:lnTo>
                        <a:pt x="3" y="453"/>
                      </a:lnTo>
                      <a:lnTo>
                        <a:pt x="3" y="454"/>
                      </a:lnTo>
                      <a:lnTo>
                        <a:pt x="1" y="454"/>
                      </a:lnTo>
                      <a:lnTo>
                        <a:pt x="1" y="453"/>
                      </a:lnTo>
                      <a:lnTo>
                        <a:pt x="0" y="453"/>
                      </a:lnTo>
                      <a:lnTo>
                        <a:pt x="0" y="451"/>
                      </a:lnTo>
                      <a:lnTo>
                        <a:pt x="1" y="451"/>
                      </a:lnTo>
                      <a:lnTo>
                        <a:pt x="3" y="451"/>
                      </a:lnTo>
                      <a:lnTo>
                        <a:pt x="5" y="450"/>
                      </a:lnTo>
                      <a:lnTo>
                        <a:pt x="6" y="448"/>
                      </a:lnTo>
                      <a:lnTo>
                        <a:pt x="8" y="448"/>
                      </a:lnTo>
                      <a:lnTo>
                        <a:pt x="10" y="448"/>
                      </a:lnTo>
                      <a:lnTo>
                        <a:pt x="11" y="448"/>
                      </a:lnTo>
                      <a:lnTo>
                        <a:pt x="11" y="446"/>
                      </a:lnTo>
                      <a:lnTo>
                        <a:pt x="13" y="446"/>
                      </a:lnTo>
                      <a:lnTo>
                        <a:pt x="13" y="445"/>
                      </a:lnTo>
                      <a:lnTo>
                        <a:pt x="15" y="445"/>
                      </a:lnTo>
                      <a:lnTo>
                        <a:pt x="13" y="443"/>
                      </a:lnTo>
                      <a:lnTo>
                        <a:pt x="13" y="441"/>
                      </a:lnTo>
                      <a:lnTo>
                        <a:pt x="15" y="441"/>
                      </a:lnTo>
                      <a:lnTo>
                        <a:pt x="17" y="441"/>
                      </a:lnTo>
                      <a:lnTo>
                        <a:pt x="18" y="441"/>
                      </a:lnTo>
                      <a:lnTo>
                        <a:pt x="18" y="440"/>
                      </a:lnTo>
                      <a:lnTo>
                        <a:pt x="18" y="438"/>
                      </a:lnTo>
                      <a:lnTo>
                        <a:pt x="20" y="438"/>
                      </a:lnTo>
                      <a:lnTo>
                        <a:pt x="20" y="436"/>
                      </a:lnTo>
                      <a:lnTo>
                        <a:pt x="22" y="436"/>
                      </a:lnTo>
                      <a:lnTo>
                        <a:pt x="23" y="436"/>
                      </a:lnTo>
                      <a:lnTo>
                        <a:pt x="23" y="435"/>
                      </a:lnTo>
                      <a:lnTo>
                        <a:pt x="25" y="435"/>
                      </a:lnTo>
                      <a:lnTo>
                        <a:pt x="25" y="433"/>
                      </a:lnTo>
                      <a:lnTo>
                        <a:pt x="27" y="431"/>
                      </a:lnTo>
                      <a:lnTo>
                        <a:pt x="27" y="430"/>
                      </a:lnTo>
                      <a:lnTo>
                        <a:pt x="28" y="430"/>
                      </a:lnTo>
                      <a:lnTo>
                        <a:pt x="28" y="431"/>
                      </a:lnTo>
                      <a:lnTo>
                        <a:pt x="28" y="430"/>
                      </a:lnTo>
                      <a:lnTo>
                        <a:pt x="28" y="428"/>
                      </a:lnTo>
                      <a:lnTo>
                        <a:pt x="30" y="428"/>
                      </a:lnTo>
                      <a:lnTo>
                        <a:pt x="30" y="427"/>
                      </a:lnTo>
                      <a:lnTo>
                        <a:pt x="32" y="427"/>
                      </a:lnTo>
                      <a:lnTo>
                        <a:pt x="32" y="425"/>
                      </a:lnTo>
                      <a:lnTo>
                        <a:pt x="33" y="425"/>
                      </a:lnTo>
                      <a:lnTo>
                        <a:pt x="33" y="423"/>
                      </a:lnTo>
                      <a:lnTo>
                        <a:pt x="35" y="423"/>
                      </a:lnTo>
                      <a:lnTo>
                        <a:pt x="37" y="425"/>
                      </a:lnTo>
                      <a:lnTo>
                        <a:pt x="39" y="427"/>
                      </a:lnTo>
                      <a:lnTo>
                        <a:pt x="40" y="427"/>
                      </a:lnTo>
                      <a:lnTo>
                        <a:pt x="40" y="428"/>
                      </a:lnTo>
                      <a:lnTo>
                        <a:pt x="42" y="427"/>
                      </a:lnTo>
                      <a:lnTo>
                        <a:pt x="44" y="425"/>
                      </a:lnTo>
                      <a:lnTo>
                        <a:pt x="42" y="423"/>
                      </a:lnTo>
                      <a:lnTo>
                        <a:pt x="44" y="423"/>
                      </a:lnTo>
                      <a:lnTo>
                        <a:pt x="44" y="422"/>
                      </a:lnTo>
                      <a:lnTo>
                        <a:pt x="44" y="420"/>
                      </a:lnTo>
                      <a:lnTo>
                        <a:pt x="45" y="420"/>
                      </a:lnTo>
                      <a:lnTo>
                        <a:pt x="47" y="420"/>
                      </a:lnTo>
                      <a:lnTo>
                        <a:pt x="47" y="422"/>
                      </a:lnTo>
                      <a:lnTo>
                        <a:pt x="49" y="422"/>
                      </a:lnTo>
                      <a:lnTo>
                        <a:pt x="50" y="422"/>
                      </a:lnTo>
                      <a:lnTo>
                        <a:pt x="50" y="420"/>
                      </a:lnTo>
                      <a:lnTo>
                        <a:pt x="50" y="418"/>
                      </a:lnTo>
                      <a:lnTo>
                        <a:pt x="50" y="417"/>
                      </a:lnTo>
                      <a:lnTo>
                        <a:pt x="52" y="417"/>
                      </a:lnTo>
                      <a:lnTo>
                        <a:pt x="54" y="417"/>
                      </a:lnTo>
                      <a:lnTo>
                        <a:pt x="54" y="415"/>
                      </a:lnTo>
                      <a:lnTo>
                        <a:pt x="54" y="413"/>
                      </a:lnTo>
                      <a:lnTo>
                        <a:pt x="55" y="413"/>
                      </a:lnTo>
                      <a:lnTo>
                        <a:pt x="54" y="412"/>
                      </a:lnTo>
                      <a:lnTo>
                        <a:pt x="54" y="410"/>
                      </a:lnTo>
                      <a:lnTo>
                        <a:pt x="55" y="410"/>
                      </a:lnTo>
                      <a:lnTo>
                        <a:pt x="55" y="408"/>
                      </a:lnTo>
                      <a:lnTo>
                        <a:pt x="57" y="408"/>
                      </a:lnTo>
                      <a:lnTo>
                        <a:pt x="59" y="408"/>
                      </a:lnTo>
                      <a:lnTo>
                        <a:pt x="59" y="407"/>
                      </a:lnTo>
                      <a:lnTo>
                        <a:pt x="60" y="407"/>
                      </a:lnTo>
                      <a:lnTo>
                        <a:pt x="62" y="407"/>
                      </a:lnTo>
                      <a:lnTo>
                        <a:pt x="62" y="405"/>
                      </a:lnTo>
                      <a:lnTo>
                        <a:pt x="64" y="404"/>
                      </a:lnTo>
                      <a:lnTo>
                        <a:pt x="66" y="404"/>
                      </a:lnTo>
                      <a:lnTo>
                        <a:pt x="66" y="402"/>
                      </a:lnTo>
                      <a:lnTo>
                        <a:pt x="66" y="400"/>
                      </a:lnTo>
                      <a:lnTo>
                        <a:pt x="67" y="402"/>
                      </a:lnTo>
                      <a:lnTo>
                        <a:pt x="67" y="400"/>
                      </a:lnTo>
                      <a:lnTo>
                        <a:pt x="67" y="402"/>
                      </a:lnTo>
                      <a:lnTo>
                        <a:pt x="67" y="400"/>
                      </a:lnTo>
                      <a:lnTo>
                        <a:pt x="69" y="400"/>
                      </a:lnTo>
                      <a:lnTo>
                        <a:pt x="71" y="400"/>
                      </a:lnTo>
                      <a:lnTo>
                        <a:pt x="72" y="400"/>
                      </a:lnTo>
                      <a:lnTo>
                        <a:pt x="72" y="399"/>
                      </a:lnTo>
                      <a:lnTo>
                        <a:pt x="72" y="397"/>
                      </a:lnTo>
                      <a:lnTo>
                        <a:pt x="71" y="397"/>
                      </a:lnTo>
                      <a:lnTo>
                        <a:pt x="71" y="395"/>
                      </a:lnTo>
                      <a:lnTo>
                        <a:pt x="72" y="395"/>
                      </a:lnTo>
                      <a:lnTo>
                        <a:pt x="72" y="394"/>
                      </a:lnTo>
                      <a:lnTo>
                        <a:pt x="74" y="390"/>
                      </a:lnTo>
                      <a:lnTo>
                        <a:pt x="76" y="387"/>
                      </a:lnTo>
                      <a:lnTo>
                        <a:pt x="77" y="384"/>
                      </a:lnTo>
                      <a:lnTo>
                        <a:pt x="77" y="382"/>
                      </a:lnTo>
                      <a:lnTo>
                        <a:pt x="77" y="381"/>
                      </a:lnTo>
                      <a:lnTo>
                        <a:pt x="77" y="379"/>
                      </a:lnTo>
                      <a:lnTo>
                        <a:pt x="77" y="377"/>
                      </a:lnTo>
                      <a:lnTo>
                        <a:pt x="76" y="377"/>
                      </a:lnTo>
                      <a:lnTo>
                        <a:pt x="76" y="376"/>
                      </a:lnTo>
                      <a:lnTo>
                        <a:pt x="74" y="376"/>
                      </a:lnTo>
                      <a:lnTo>
                        <a:pt x="76" y="376"/>
                      </a:lnTo>
                      <a:lnTo>
                        <a:pt x="76" y="374"/>
                      </a:lnTo>
                      <a:lnTo>
                        <a:pt x="77" y="374"/>
                      </a:lnTo>
                      <a:lnTo>
                        <a:pt x="77" y="372"/>
                      </a:lnTo>
                      <a:lnTo>
                        <a:pt x="79" y="372"/>
                      </a:lnTo>
                      <a:lnTo>
                        <a:pt x="79" y="371"/>
                      </a:lnTo>
                      <a:lnTo>
                        <a:pt x="79" y="367"/>
                      </a:lnTo>
                      <a:lnTo>
                        <a:pt x="77" y="367"/>
                      </a:lnTo>
                      <a:lnTo>
                        <a:pt x="76" y="366"/>
                      </a:lnTo>
                      <a:lnTo>
                        <a:pt x="74" y="366"/>
                      </a:lnTo>
                      <a:lnTo>
                        <a:pt x="72" y="366"/>
                      </a:lnTo>
                      <a:lnTo>
                        <a:pt x="71" y="366"/>
                      </a:lnTo>
                      <a:lnTo>
                        <a:pt x="69" y="366"/>
                      </a:lnTo>
                      <a:lnTo>
                        <a:pt x="67" y="366"/>
                      </a:lnTo>
                      <a:lnTo>
                        <a:pt x="66" y="366"/>
                      </a:lnTo>
                      <a:lnTo>
                        <a:pt x="66" y="364"/>
                      </a:lnTo>
                      <a:lnTo>
                        <a:pt x="64" y="364"/>
                      </a:lnTo>
                      <a:lnTo>
                        <a:pt x="64" y="363"/>
                      </a:lnTo>
                      <a:lnTo>
                        <a:pt x="64" y="361"/>
                      </a:lnTo>
                      <a:lnTo>
                        <a:pt x="66" y="359"/>
                      </a:lnTo>
                      <a:lnTo>
                        <a:pt x="67" y="356"/>
                      </a:lnTo>
                      <a:lnTo>
                        <a:pt x="67" y="354"/>
                      </a:lnTo>
                      <a:lnTo>
                        <a:pt x="67" y="353"/>
                      </a:lnTo>
                      <a:lnTo>
                        <a:pt x="67" y="351"/>
                      </a:lnTo>
                      <a:lnTo>
                        <a:pt x="67" y="349"/>
                      </a:lnTo>
                      <a:lnTo>
                        <a:pt x="64" y="346"/>
                      </a:lnTo>
                      <a:lnTo>
                        <a:pt x="62" y="344"/>
                      </a:lnTo>
                      <a:lnTo>
                        <a:pt x="62" y="343"/>
                      </a:lnTo>
                      <a:lnTo>
                        <a:pt x="60" y="341"/>
                      </a:lnTo>
                      <a:lnTo>
                        <a:pt x="60" y="340"/>
                      </a:lnTo>
                      <a:lnTo>
                        <a:pt x="60" y="338"/>
                      </a:lnTo>
                      <a:lnTo>
                        <a:pt x="62" y="336"/>
                      </a:lnTo>
                      <a:lnTo>
                        <a:pt x="66" y="336"/>
                      </a:lnTo>
                      <a:lnTo>
                        <a:pt x="67" y="335"/>
                      </a:lnTo>
                      <a:lnTo>
                        <a:pt x="67" y="333"/>
                      </a:lnTo>
                      <a:lnTo>
                        <a:pt x="69" y="333"/>
                      </a:lnTo>
                      <a:lnTo>
                        <a:pt x="71" y="333"/>
                      </a:lnTo>
                      <a:lnTo>
                        <a:pt x="72" y="331"/>
                      </a:lnTo>
                      <a:lnTo>
                        <a:pt x="74" y="331"/>
                      </a:lnTo>
                      <a:lnTo>
                        <a:pt x="76" y="330"/>
                      </a:lnTo>
                      <a:lnTo>
                        <a:pt x="77" y="326"/>
                      </a:lnTo>
                      <a:lnTo>
                        <a:pt x="77" y="325"/>
                      </a:lnTo>
                      <a:lnTo>
                        <a:pt x="79" y="325"/>
                      </a:lnTo>
                      <a:lnTo>
                        <a:pt x="79" y="323"/>
                      </a:lnTo>
                      <a:lnTo>
                        <a:pt x="81" y="325"/>
                      </a:lnTo>
                      <a:lnTo>
                        <a:pt x="82" y="325"/>
                      </a:lnTo>
                      <a:lnTo>
                        <a:pt x="84" y="325"/>
                      </a:lnTo>
                      <a:lnTo>
                        <a:pt x="86" y="326"/>
                      </a:lnTo>
                      <a:lnTo>
                        <a:pt x="87" y="326"/>
                      </a:lnTo>
                      <a:lnTo>
                        <a:pt x="89" y="326"/>
                      </a:lnTo>
                      <a:lnTo>
                        <a:pt x="89" y="328"/>
                      </a:lnTo>
                      <a:lnTo>
                        <a:pt x="91" y="328"/>
                      </a:lnTo>
                      <a:lnTo>
                        <a:pt x="93" y="328"/>
                      </a:lnTo>
                      <a:lnTo>
                        <a:pt x="94" y="328"/>
                      </a:lnTo>
                      <a:lnTo>
                        <a:pt x="94" y="326"/>
                      </a:lnTo>
                      <a:lnTo>
                        <a:pt x="96" y="325"/>
                      </a:lnTo>
                      <a:lnTo>
                        <a:pt x="98" y="323"/>
                      </a:lnTo>
                      <a:lnTo>
                        <a:pt x="99" y="323"/>
                      </a:lnTo>
                      <a:lnTo>
                        <a:pt x="99" y="321"/>
                      </a:lnTo>
                      <a:lnTo>
                        <a:pt x="101" y="321"/>
                      </a:lnTo>
                      <a:lnTo>
                        <a:pt x="104" y="323"/>
                      </a:lnTo>
                      <a:lnTo>
                        <a:pt x="106" y="323"/>
                      </a:lnTo>
                      <a:lnTo>
                        <a:pt x="106" y="325"/>
                      </a:lnTo>
                      <a:lnTo>
                        <a:pt x="108" y="325"/>
                      </a:lnTo>
                      <a:lnTo>
                        <a:pt x="108" y="326"/>
                      </a:lnTo>
                      <a:lnTo>
                        <a:pt x="109" y="326"/>
                      </a:lnTo>
                      <a:lnTo>
                        <a:pt x="109" y="328"/>
                      </a:lnTo>
                      <a:lnTo>
                        <a:pt x="111" y="330"/>
                      </a:lnTo>
                      <a:lnTo>
                        <a:pt x="113" y="330"/>
                      </a:lnTo>
                      <a:lnTo>
                        <a:pt x="115" y="328"/>
                      </a:lnTo>
                      <a:lnTo>
                        <a:pt x="116" y="328"/>
                      </a:lnTo>
                      <a:lnTo>
                        <a:pt x="118" y="328"/>
                      </a:lnTo>
                      <a:lnTo>
                        <a:pt x="120" y="328"/>
                      </a:lnTo>
                      <a:lnTo>
                        <a:pt x="121" y="326"/>
                      </a:lnTo>
                      <a:lnTo>
                        <a:pt x="123" y="326"/>
                      </a:lnTo>
                      <a:lnTo>
                        <a:pt x="125" y="328"/>
                      </a:lnTo>
                      <a:lnTo>
                        <a:pt x="126" y="328"/>
                      </a:lnTo>
                      <a:lnTo>
                        <a:pt x="128" y="328"/>
                      </a:lnTo>
                      <a:lnTo>
                        <a:pt x="128" y="330"/>
                      </a:lnTo>
                      <a:lnTo>
                        <a:pt x="128" y="328"/>
                      </a:lnTo>
                      <a:lnTo>
                        <a:pt x="130" y="326"/>
                      </a:lnTo>
                      <a:lnTo>
                        <a:pt x="131" y="326"/>
                      </a:lnTo>
                      <a:lnTo>
                        <a:pt x="133" y="326"/>
                      </a:lnTo>
                      <a:lnTo>
                        <a:pt x="135" y="326"/>
                      </a:lnTo>
                      <a:lnTo>
                        <a:pt x="136" y="326"/>
                      </a:lnTo>
                      <a:lnTo>
                        <a:pt x="136" y="325"/>
                      </a:lnTo>
                      <a:lnTo>
                        <a:pt x="138" y="326"/>
                      </a:lnTo>
                      <a:lnTo>
                        <a:pt x="140" y="326"/>
                      </a:lnTo>
                      <a:lnTo>
                        <a:pt x="140" y="325"/>
                      </a:lnTo>
                      <a:lnTo>
                        <a:pt x="142" y="325"/>
                      </a:lnTo>
                      <a:lnTo>
                        <a:pt x="143" y="325"/>
                      </a:lnTo>
                      <a:lnTo>
                        <a:pt x="145" y="325"/>
                      </a:lnTo>
                      <a:lnTo>
                        <a:pt x="147" y="325"/>
                      </a:lnTo>
                      <a:lnTo>
                        <a:pt x="148" y="325"/>
                      </a:lnTo>
                      <a:lnTo>
                        <a:pt x="150" y="325"/>
                      </a:lnTo>
                      <a:lnTo>
                        <a:pt x="152" y="325"/>
                      </a:lnTo>
                      <a:lnTo>
                        <a:pt x="152" y="323"/>
                      </a:lnTo>
                      <a:lnTo>
                        <a:pt x="153" y="323"/>
                      </a:lnTo>
                      <a:lnTo>
                        <a:pt x="155" y="323"/>
                      </a:lnTo>
                      <a:lnTo>
                        <a:pt x="157" y="323"/>
                      </a:lnTo>
                      <a:lnTo>
                        <a:pt x="158" y="323"/>
                      </a:lnTo>
                      <a:lnTo>
                        <a:pt x="160" y="323"/>
                      </a:lnTo>
                      <a:lnTo>
                        <a:pt x="162" y="323"/>
                      </a:lnTo>
                      <a:lnTo>
                        <a:pt x="162" y="325"/>
                      </a:lnTo>
                      <a:lnTo>
                        <a:pt x="163" y="325"/>
                      </a:lnTo>
                      <a:lnTo>
                        <a:pt x="165" y="325"/>
                      </a:lnTo>
                      <a:lnTo>
                        <a:pt x="165" y="326"/>
                      </a:lnTo>
                      <a:lnTo>
                        <a:pt x="167" y="326"/>
                      </a:lnTo>
                      <a:lnTo>
                        <a:pt x="167" y="328"/>
                      </a:lnTo>
                      <a:lnTo>
                        <a:pt x="169" y="330"/>
                      </a:lnTo>
                      <a:lnTo>
                        <a:pt x="170" y="330"/>
                      </a:lnTo>
                      <a:lnTo>
                        <a:pt x="172" y="330"/>
                      </a:lnTo>
                      <a:lnTo>
                        <a:pt x="172" y="331"/>
                      </a:lnTo>
                      <a:lnTo>
                        <a:pt x="174" y="331"/>
                      </a:lnTo>
                      <a:lnTo>
                        <a:pt x="174" y="333"/>
                      </a:lnTo>
                      <a:lnTo>
                        <a:pt x="175" y="333"/>
                      </a:lnTo>
                      <a:lnTo>
                        <a:pt x="177" y="335"/>
                      </a:lnTo>
                      <a:lnTo>
                        <a:pt x="177" y="336"/>
                      </a:lnTo>
                      <a:lnTo>
                        <a:pt x="180" y="336"/>
                      </a:lnTo>
                      <a:lnTo>
                        <a:pt x="182" y="336"/>
                      </a:lnTo>
                      <a:lnTo>
                        <a:pt x="182" y="338"/>
                      </a:lnTo>
                      <a:lnTo>
                        <a:pt x="184" y="338"/>
                      </a:lnTo>
                      <a:lnTo>
                        <a:pt x="185" y="338"/>
                      </a:lnTo>
                      <a:lnTo>
                        <a:pt x="187" y="340"/>
                      </a:lnTo>
                      <a:lnTo>
                        <a:pt x="189" y="340"/>
                      </a:lnTo>
                      <a:lnTo>
                        <a:pt x="189" y="341"/>
                      </a:lnTo>
                      <a:lnTo>
                        <a:pt x="191" y="341"/>
                      </a:lnTo>
                      <a:lnTo>
                        <a:pt x="191" y="343"/>
                      </a:lnTo>
                      <a:lnTo>
                        <a:pt x="192" y="343"/>
                      </a:lnTo>
                      <a:lnTo>
                        <a:pt x="192" y="344"/>
                      </a:lnTo>
                      <a:lnTo>
                        <a:pt x="194" y="344"/>
                      </a:lnTo>
                      <a:lnTo>
                        <a:pt x="194" y="346"/>
                      </a:lnTo>
                      <a:lnTo>
                        <a:pt x="194" y="348"/>
                      </a:lnTo>
                      <a:lnTo>
                        <a:pt x="196" y="349"/>
                      </a:lnTo>
                      <a:lnTo>
                        <a:pt x="197" y="351"/>
                      </a:lnTo>
                      <a:lnTo>
                        <a:pt x="196" y="349"/>
                      </a:lnTo>
                      <a:lnTo>
                        <a:pt x="196" y="351"/>
                      </a:lnTo>
                      <a:lnTo>
                        <a:pt x="194" y="353"/>
                      </a:lnTo>
                      <a:lnTo>
                        <a:pt x="194" y="354"/>
                      </a:lnTo>
                      <a:lnTo>
                        <a:pt x="194" y="356"/>
                      </a:lnTo>
                      <a:lnTo>
                        <a:pt x="196" y="356"/>
                      </a:lnTo>
                      <a:lnTo>
                        <a:pt x="197" y="356"/>
                      </a:lnTo>
                      <a:lnTo>
                        <a:pt x="199" y="358"/>
                      </a:lnTo>
                      <a:lnTo>
                        <a:pt x="201" y="358"/>
                      </a:lnTo>
                      <a:lnTo>
                        <a:pt x="201" y="359"/>
                      </a:lnTo>
                      <a:lnTo>
                        <a:pt x="202" y="359"/>
                      </a:lnTo>
                      <a:lnTo>
                        <a:pt x="202" y="358"/>
                      </a:lnTo>
                      <a:lnTo>
                        <a:pt x="204" y="358"/>
                      </a:lnTo>
                      <a:lnTo>
                        <a:pt x="204" y="359"/>
                      </a:lnTo>
                      <a:lnTo>
                        <a:pt x="206" y="359"/>
                      </a:lnTo>
                      <a:lnTo>
                        <a:pt x="207" y="361"/>
                      </a:lnTo>
                      <a:lnTo>
                        <a:pt x="209" y="361"/>
                      </a:lnTo>
                      <a:lnTo>
                        <a:pt x="211" y="361"/>
                      </a:lnTo>
                      <a:lnTo>
                        <a:pt x="211" y="363"/>
                      </a:lnTo>
                      <a:lnTo>
                        <a:pt x="212" y="364"/>
                      </a:lnTo>
                      <a:lnTo>
                        <a:pt x="214" y="366"/>
                      </a:lnTo>
                      <a:lnTo>
                        <a:pt x="214" y="367"/>
                      </a:lnTo>
                      <a:lnTo>
                        <a:pt x="214" y="369"/>
                      </a:lnTo>
                      <a:lnTo>
                        <a:pt x="214" y="371"/>
                      </a:lnTo>
                      <a:lnTo>
                        <a:pt x="214" y="372"/>
                      </a:lnTo>
                      <a:lnTo>
                        <a:pt x="214" y="374"/>
                      </a:lnTo>
                      <a:lnTo>
                        <a:pt x="216" y="372"/>
                      </a:lnTo>
                      <a:lnTo>
                        <a:pt x="218" y="372"/>
                      </a:lnTo>
                      <a:lnTo>
                        <a:pt x="218" y="371"/>
                      </a:lnTo>
                      <a:lnTo>
                        <a:pt x="219" y="371"/>
                      </a:lnTo>
                      <a:lnTo>
                        <a:pt x="221" y="371"/>
                      </a:lnTo>
                      <a:lnTo>
                        <a:pt x="221" y="369"/>
                      </a:lnTo>
                      <a:lnTo>
                        <a:pt x="223" y="369"/>
                      </a:lnTo>
                      <a:lnTo>
                        <a:pt x="223" y="371"/>
                      </a:lnTo>
                      <a:lnTo>
                        <a:pt x="223" y="372"/>
                      </a:lnTo>
                      <a:lnTo>
                        <a:pt x="224" y="372"/>
                      </a:lnTo>
                      <a:lnTo>
                        <a:pt x="226" y="372"/>
                      </a:lnTo>
                      <a:lnTo>
                        <a:pt x="228" y="372"/>
                      </a:lnTo>
                      <a:lnTo>
                        <a:pt x="226" y="371"/>
                      </a:lnTo>
                      <a:lnTo>
                        <a:pt x="228" y="371"/>
                      </a:lnTo>
                      <a:lnTo>
                        <a:pt x="228" y="369"/>
                      </a:lnTo>
                      <a:lnTo>
                        <a:pt x="229" y="367"/>
                      </a:lnTo>
                      <a:lnTo>
                        <a:pt x="228" y="367"/>
                      </a:lnTo>
                      <a:lnTo>
                        <a:pt x="228" y="366"/>
                      </a:lnTo>
                      <a:lnTo>
                        <a:pt x="229" y="366"/>
                      </a:lnTo>
                      <a:lnTo>
                        <a:pt x="229" y="364"/>
                      </a:lnTo>
                      <a:lnTo>
                        <a:pt x="231" y="364"/>
                      </a:lnTo>
                      <a:lnTo>
                        <a:pt x="231" y="363"/>
                      </a:lnTo>
                      <a:lnTo>
                        <a:pt x="233" y="363"/>
                      </a:lnTo>
                      <a:lnTo>
                        <a:pt x="233" y="364"/>
                      </a:lnTo>
                      <a:lnTo>
                        <a:pt x="234" y="364"/>
                      </a:lnTo>
                      <a:lnTo>
                        <a:pt x="234" y="363"/>
                      </a:lnTo>
                      <a:lnTo>
                        <a:pt x="234" y="361"/>
                      </a:lnTo>
                      <a:lnTo>
                        <a:pt x="236" y="361"/>
                      </a:lnTo>
                      <a:lnTo>
                        <a:pt x="236" y="359"/>
                      </a:lnTo>
                      <a:lnTo>
                        <a:pt x="236" y="361"/>
                      </a:lnTo>
                      <a:lnTo>
                        <a:pt x="238" y="361"/>
                      </a:lnTo>
                      <a:lnTo>
                        <a:pt x="239" y="361"/>
                      </a:lnTo>
                      <a:lnTo>
                        <a:pt x="241" y="359"/>
                      </a:lnTo>
                      <a:lnTo>
                        <a:pt x="241" y="358"/>
                      </a:lnTo>
                      <a:lnTo>
                        <a:pt x="239" y="358"/>
                      </a:lnTo>
                      <a:lnTo>
                        <a:pt x="239" y="356"/>
                      </a:lnTo>
                      <a:lnTo>
                        <a:pt x="241" y="356"/>
                      </a:lnTo>
                      <a:lnTo>
                        <a:pt x="243" y="356"/>
                      </a:lnTo>
                      <a:lnTo>
                        <a:pt x="245" y="356"/>
                      </a:lnTo>
                      <a:lnTo>
                        <a:pt x="246" y="354"/>
                      </a:lnTo>
                      <a:lnTo>
                        <a:pt x="246" y="356"/>
                      </a:lnTo>
                      <a:lnTo>
                        <a:pt x="248" y="356"/>
                      </a:lnTo>
                      <a:lnTo>
                        <a:pt x="248" y="354"/>
                      </a:lnTo>
                      <a:lnTo>
                        <a:pt x="248" y="353"/>
                      </a:lnTo>
                      <a:lnTo>
                        <a:pt x="250" y="353"/>
                      </a:lnTo>
                      <a:lnTo>
                        <a:pt x="250" y="351"/>
                      </a:lnTo>
                      <a:lnTo>
                        <a:pt x="250" y="353"/>
                      </a:lnTo>
                      <a:lnTo>
                        <a:pt x="251" y="351"/>
                      </a:lnTo>
                      <a:lnTo>
                        <a:pt x="251" y="353"/>
                      </a:lnTo>
                      <a:lnTo>
                        <a:pt x="253" y="353"/>
                      </a:lnTo>
                      <a:lnTo>
                        <a:pt x="253" y="354"/>
                      </a:lnTo>
                      <a:lnTo>
                        <a:pt x="255" y="354"/>
                      </a:lnTo>
                      <a:lnTo>
                        <a:pt x="255" y="356"/>
                      </a:lnTo>
                      <a:lnTo>
                        <a:pt x="255" y="354"/>
                      </a:lnTo>
                      <a:lnTo>
                        <a:pt x="256" y="356"/>
                      </a:lnTo>
                      <a:lnTo>
                        <a:pt x="256" y="358"/>
                      </a:lnTo>
                      <a:lnTo>
                        <a:pt x="258" y="359"/>
                      </a:lnTo>
                      <a:lnTo>
                        <a:pt x="260" y="359"/>
                      </a:lnTo>
                      <a:lnTo>
                        <a:pt x="260" y="361"/>
                      </a:lnTo>
                      <a:lnTo>
                        <a:pt x="260" y="363"/>
                      </a:lnTo>
                      <a:lnTo>
                        <a:pt x="261" y="363"/>
                      </a:lnTo>
                      <a:lnTo>
                        <a:pt x="261" y="364"/>
                      </a:lnTo>
                      <a:lnTo>
                        <a:pt x="263" y="364"/>
                      </a:lnTo>
                      <a:lnTo>
                        <a:pt x="263" y="363"/>
                      </a:lnTo>
                      <a:lnTo>
                        <a:pt x="263" y="364"/>
                      </a:lnTo>
                      <a:lnTo>
                        <a:pt x="265" y="364"/>
                      </a:lnTo>
                      <a:lnTo>
                        <a:pt x="267" y="364"/>
                      </a:lnTo>
                      <a:lnTo>
                        <a:pt x="268" y="363"/>
                      </a:lnTo>
                      <a:lnTo>
                        <a:pt x="268" y="364"/>
                      </a:lnTo>
                      <a:lnTo>
                        <a:pt x="267" y="364"/>
                      </a:lnTo>
                      <a:lnTo>
                        <a:pt x="268" y="364"/>
                      </a:lnTo>
                      <a:lnTo>
                        <a:pt x="270" y="364"/>
                      </a:lnTo>
                      <a:lnTo>
                        <a:pt x="272" y="364"/>
                      </a:lnTo>
                      <a:lnTo>
                        <a:pt x="272" y="363"/>
                      </a:lnTo>
                      <a:lnTo>
                        <a:pt x="273" y="363"/>
                      </a:lnTo>
                      <a:lnTo>
                        <a:pt x="275" y="363"/>
                      </a:lnTo>
                      <a:lnTo>
                        <a:pt x="277" y="363"/>
                      </a:lnTo>
                      <a:lnTo>
                        <a:pt x="277" y="361"/>
                      </a:lnTo>
                      <a:lnTo>
                        <a:pt x="278" y="363"/>
                      </a:lnTo>
                      <a:lnTo>
                        <a:pt x="280" y="363"/>
                      </a:lnTo>
                      <a:lnTo>
                        <a:pt x="280" y="361"/>
                      </a:lnTo>
                      <a:lnTo>
                        <a:pt x="282" y="361"/>
                      </a:lnTo>
                      <a:lnTo>
                        <a:pt x="283" y="361"/>
                      </a:lnTo>
                      <a:lnTo>
                        <a:pt x="285" y="361"/>
                      </a:lnTo>
                      <a:lnTo>
                        <a:pt x="285" y="363"/>
                      </a:lnTo>
                      <a:lnTo>
                        <a:pt x="287" y="363"/>
                      </a:lnTo>
                      <a:lnTo>
                        <a:pt x="288" y="363"/>
                      </a:lnTo>
                      <a:lnTo>
                        <a:pt x="290" y="363"/>
                      </a:lnTo>
                      <a:lnTo>
                        <a:pt x="288" y="364"/>
                      </a:lnTo>
                      <a:lnTo>
                        <a:pt x="288" y="366"/>
                      </a:lnTo>
                      <a:lnTo>
                        <a:pt x="287" y="367"/>
                      </a:lnTo>
                      <a:lnTo>
                        <a:pt x="288" y="367"/>
                      </a:lnTo>
                      <a:lnTo>
                        <a:pt x="290" y="367"/>
                      </a:lnTo>
                      <a:lnTo>
                        <a:pt x="292" y="369"/>
                      </a:lnTo>
                      <a:lnTo>
                        <a:pt x="297" y="371"/>
                      </a:lnTo>
                      <a:lnTo>
                        <a:pt x="297" y="369"/>
                      </a:lnTo>
                      <a:lnTo>
                        <a:pt x="299" y="369"/>
                      </a:lnTo>
                      <a:lnTo>
                        <a:pt x="300" y="371"/>
                      </a:lnTo>
                      <a:lnTo>
                        <a:pt x="300" y="369"/>
                      </a:lnTo>
                      <a:lnTo>
                        <a:pt x="300" y="367"/>
                      </a:lnTo>
                      <a:lnTo>
                        <a:pt x="302" y="367"/>
                      </a:lnTo>
                      <a:lnTo>
                        <a:pt x="305" y="369"/>
                      </a:lnTo>
                      <a:lnTo>
                        <a:pt x="307" y="369"/>
                      </a:lnTo>
                      <a:lnTo>
                        <a:pt x="307" y="371"/>
                      </a:lnTo>
                      <a:lnTo>
                        <a:pt x="309" y="371"/>
                      </a:lnTo>
                      <a:lnTo>
                        <a:pt x="310" y="371"/>
                      </a:lnTo>
                      <a:lnTo>
                        <a:pt x="312" y="371"/>
                      </a:lnTo>
                      <a:lnTo>
                        <a:pt x="312" y="369"/>
                      </a:lnTo>
                      <a:lnTo>
                        <a:pt x="310" y="369"/>
                      </a:lnTo>
                      <a:lnTo>
                        <a:pt x="310" y="367"/>
                      </a:lnTo>
                      <a:lnTo>
                        <a:pt x="310" y="366"/>
                      </a:lnTo>
                      <a:lnTo>
                        <a:pt x="312" y="366"/>
                      </a:lnTo>
                      <a:lnTo>
                        <a:pt x="314" y="366"/>
                      </a:lnTo>
                      <a:lnTo>
                        <a:pt x="316" y="366"/>
                      </a:lnTo>
                      <a:lnTo>
                        <a:pt x="317" y="366"/>
                      </a:lnTo>
                      <a:lnTo>
                        <a:pt x="317" y="364"/>
                      </a:lnTo>
                      <a:lnTo>
                        <a:pt x="319" y="366"/>
                      </a:lnTo>
                      <a:lnTo>
                        <a:pt x="321" y="366"/>
                      </a:lnTo>
                      <a:lnTo>
                        <a:pt x="322" y="366"/>
                      </a:lnTo>
                      <a:lnTo>
                        <a:pt x="322" y="364"/>
                      </a:lnTo>
                      <a:lnTo>
                        <a:pt x="324" y="363"/>
                      </a:lnTo>
                      <a:lnTo>
                        <a:pt x="326" y="363"/>
                      </a:lnTo>
                      <a:lnTo>
                        <a:pt x="326" y="361"/>
                      </a:lnTo>
                      <a:lnTo>
                        <a:pt x="326" y="359"/>
                      </a:lnTo>
                      <a:lnTo>
                        <a:pt x="327" y="359"/>
                      </a:lnTo>
                      <a:lnTo>
                        <a:pt x="327" y="361"/>
                      </a:lnTo>
                      <a:lnTo>
                        <a:pt x="329" y="359"/>
                      </a:lnTo>
                      <a:lnTo>
                        <a:pt x="327" y="359"/>
                      </a:lnTo>
                      <a:lnTo>
                        <a:pt x="327" y="358"/>
                      </a:lnTo>
                      <a:lnTo>
                        <a:pt x="329" y="358"/>
                      </a:lnTo>
                      <a:lnTo>
                        <a:pt x="331" y="356"/>
                      </a:lnTo>
                      <a:lnTo>
                        <a:pt x="331" y="354"/>
                      </a:lnTo>
                      <a:lnTo>
                        <a:pt x="334" y="354"/>
                      </a:lnTo>
                      <a:lnTo>
                        <a:pt x="336" y="354"/>
                      </a:lnTo>
                      <a:lnTo>
                        <a:pt x="337" y="353"/>
                      </a:lnTo>
                      <a:lnTo>
                        <a:pt x="339" y="353"/>
                      </a:lnTo>
                      <a:lnTo>
                        <a:pt x="341" y="353"/>
                      </a:lnTo>
                      <a:lnTo>
                        <a:pt x="341" y="351"/>
                      </a:lnTo>
                      <a:lnTo>
                        <a:pt x="343" y="351"/>
                      </a:lnTo>
                      <a:lnTo>
                        <a:pt x="343" y="349"/>
                      </a:lnTo>
                      <a:lnTo>
                        <a:pt x="344" y="349"/>
                      </a:lnTo>
                      <a:lnTo>
                        <a:pt x="344" y="348"/>
                      </a:lnTo>
                      <a:lnTo>
                        <a:pt x="346" y="348"/>
                      </a:lnTo>
                      <a:lnTo>
                        <a:pt x="348" y="346"/>
                      </a:lnTo>
                      <a:lnTo>
                        <a:pt x="348" y="344"/>
                      </a:lnTo>
                      <a:lnTo>
                        <a:pt x="349" y="343"/>
                      </a:lnTo>
                      <a:lnTo>
                        <a:pt x="351" y="343"/>
                      </a:lnTo>
                      <a:lnTo>
                        <a:pt x="353" y="343"/>
                      </a:lnTo>
                      <a:lnTo>
                        <a:pt x="354" y="343"/>
                      </a:lnTo>
                      <a:lnTo>
                        <a:pt x="354" y="341"/>
                      </a:lnTo>
                      <a:lnTo>
                        <a:pt x="358" y="341"/>
                      </a:lnTo>
                      <a:lnTo>
                        <a:pt x="359" y="338"/>
                      </a:lnTo>
                      <a:lnTo>
                        <a:pt x="361" y="338"/>
                      </a:lnTo>
                      <a:lnTo>
                        <a:pt x="363" y="338"/>
                      </a:lnTo>
                      <a:lnTo>
                        <a:pt x="363" y="336"/>
                      </a:lnTo>
                      <a:lnTo>
                        <a:pt x="363" y="335"/>
                      </a:lnTo>
                      <a:lnTo>
                        <a:pt x="364" y="335"/>
                      </a:lnTo>
                      <a:lnTo>
                        <a:pt x="364" y="333"/>
                      </a:lnTo>
                      <a:lnTo>
                        <a:pt x="363" y="333"/>
                      </a:lnTo>
                      <a:lnTo>
                        <a:pt x="364" y="333"/>
                      </a:lnTo>
                      <a:lnTo>
                        <a:pt x="366" y="333"/>
                      </a:lnTo>
                      <a:lnTo>
                        <a:pt x="366" y="331"/>
                      </a:lnTo>
                      <a:lnTo>
                        <a:pt x="366" y="330"/>
                      </a:lnTo>
                      <a:lnTo>
                        <a:pt x="366" y="328"/>
                      </a:lnTo>
                      <a:lnTo>
                        <a:pt x="368" y="328"/>
                      </a:lnTo>
                      <a:lnTo>
                        <a:pt x="371" y="328"/>
                      </a:lnTo>
                      <a:lnTo>
                        <a:pt x="373" y="326"/>
                      </a:lnTo>
                      <a:lnTo>
                        <a:pt x="373" y="328"/>
                      </a:lnTo>
                      <a:lnTo>
                        <a:pt x="375" y="328"/>
                      </a:lnTo>
                      <a:lnTo>
                        <a:pt x="376" y="326"/>
                      </a:lnTo>
                      <a:lnTo>
                        <a:pt x="378" y="326"/>
                      </a:lnTo>
                      <a:lnTo>
                        <a:pt x="380" y="326"/>
                      </a:lnTo>
                      <a:lnTo>
                        <a:pt x="380" y="325"/>
                      </a:lnTo>
                      <a:lnTo>
                        <a:pt x="380" y="323"/>
                      </a:lnTo>
                      <a:lnTo>
                        <a:pt x="381" y="321"/>
                      </a:lnTo>
                      <a:lnTo>
                        <a:pt x="383" y="321"/>
                      </a:lnTo>
                      <a:lnTo>
                        <a:pt x="385" y="321"/>
                      </a:lnTo>
                      <a:lnTo>
                        <a:pt x="386" y="320"/>
                      </a:lnTo>
                      <a:lnTo>
                        <a:pt x="388" y="320"/>
                      </a:lnTo>
                      <a:lnTo>
                        <a:pt x="390" y="320"/>
                      </a:lnTo>
                      <a:lnTo>
                        <a:pt x="392" y="320"/>
                      </a:lnTo>
                      <a:lnTo>
                        <a:pt x="392" y="321"/>
                      </a:lnTo>
                      <a:lnTo>
                        <a:pt x="393" y="321"/>
                      </a:lnTo>
                      <a:lnTo>
                        <a:pt x="395" y="321"/>
                      </a:lnTo>
                      <a:lnTo>
                        <a:pt x="395" y="323"/>
                      </a:lnTo>
                      <a:lnTo>
                        <a:pt x="397" y="323"/>
                      </a:lnTo>
                      <a:lnTo>
                        <a:pt x="397" y="325"/>
                      </a:lnTo>
                      <a:lnTo>
                        <a:pt x="398" y="326"/>
                      </a:lnTo>
                      <a:lnTo>
                        <a:pt x="398" y="325"/>
                      </a:lnTo>
                      <a:lnTo>
                        <a:pt x="400" y="325"/>
                      </a:lnTo>
                      <a:lnTo>
                        <a:pt x="400" y="326"/>
                      </a:lnTo>
                      <a:lnTo>
                        <a:pt x="402" y="326"/>
                      </a:lnTo>
                      <a:lnTo>
                        <a:pt x="403" y="326"/>
                      </a:lnTo>
                      <a:lnTo>
                        <a:pt x="403" y="328"/>
                      </a:lnTo>
                      <a:lnTo>
                        <a:pt x="403" y="326"/>
                      </a:lnTo>
                      <a:lnTo>
                        <a:pt x="405" y="328"/>
                      </a:lnTo>
                      <a:lnTo>
                        <a:pt x="407" y="328"/>
                      </a:lnTo>
                      <a:lnTo>
                        <a:pt x="407" y="330"/>
                      </a:lnTo>
                      <a:lnTo>
                        <a:pt x="408" y="330"/>
                      </a:lnTo>
                      <a:lnTo>
                        <a:pt x="410" y="330"/>
                      </a:lnTo>
                      <a:lnTo>
                        <a:pt x="408" y="331"/>
                      </a:lnTo>
                      <a:lnTo>
                        <a:pt x="410" y="331"/>
                      </a:lnTo>
                      <a:lnTo>
                        <a:pt x="412" y="331"/>
                      </a:lnTo>
                      <a:lnTo>
                        <a:pt x="410" y="333"/>
                      </a:lnTo>
                      <a:lnTo>
                        <a:pt x="412" y="333"/>
                      </a:lnTo>
                      <a:lnTo>
                        <a:pt x="412" y="335"/>
                      </a:lnTo>
                      <a:lnTo>
                        <a:pt x="410" y="335"/>
                      </a:lnTo>
                      <a:lnTo>
                        <a:pt x="412" y="336"/>
                      </a:lnTo>
                      <a:lnTo>
                        <a:pt x="413" y="336"/>
                      </a:lnTo>
                      <a:lnTo>
                        <a:pt x="413" y="338"/>
                      </a:lnTo>
                      <a:lnTo>
                        <a:pt x="415" y="340"/>
                      </a:lnTo>
                      <a:lnTo>
                        <a:pt x="413" y="340"/>
                      </a:lnTo>
                      <a:lnTo>
                        <a:pt x="412" y="340"/>
                      </a:lnTo>
                      <a:lnTo>
                        <a:pt x="410" y="340"/>
                      </a:lnTo>
                      <a:lnTo>
                        <a:pt x="410" y="341"/>
                      </a:lnTo>
                      <a:lnTo>
                        <a:pt x="408" y="341"/>
                      </a:lnTo>
                      <a:lnTo>
                        <a:pt x="407" y="341"/>
                      </a:lnTo>
                      <a:lnTo>
                        <a:pt x="407" y="343"/>
                      </a:lnTo>
                      <a:lnTo>
                        <a:pt x="405" y="341"/>
                      </a:lnTo>
                      <a:lnTo>
                        <a:pt x="405" y="343"/>
                      </a:lnTo>
                      <a:lnTo>
                        <a:pt x="403" y="343"/>
                      </a:lnTo>
                      <a:lnTo>
                        <a:pt x="403" y="344"/>
                      </a:lnTo>
                      <a:lnTo>
                        <a:pt x="402" y="344"/>
                      </a:lnTo>
                      <a:lnTo>
                        <a:pt x="400" y="344"/>
                      </a:lnTo>
                      <a:lnTo>
                        <a:pt x="400" y="346"/>
                      </a:lnTo>
                      <a:lnTo>
                        <a:pt x="398" y="346"/>
                      </a:lnTo>
                      <a:lnTo>
                        <a:pt x="397" y="348"/>
                      </a:lnTo>
                      <a:lnTo>
                        <a:pt x="397" y="349"/>
                      </a:lnTo>
                      <a:lnTo>
                        <a:pt x="395" y="349"/>
                      </a:lnTo>
                      <a:lnTo>
                        <a:pt x="395" y="351"/>
                      </a:lnTo>
                      <a:lnTo>
                        <a:pt x="395" y="353"/>
                      </a:lnTo>
                      <a:lnTo>
                        <a:pt x="393" y="353"/>
                      </a:lnTo>
                      <a:lnTo>
                        <a:pt x="393" y="354"/>
                      </a:lnTo>
                      <a:lnTo>
                        <a:pt x="395" y="354"/>
                      </a:lnTo>
                      <a:lnTo>
                        <a:pt x="395" y="356"/>
                      </a:lnTo>
                      <a:lnTo>
                        <a:pt x="397" y="356"/>
                      </a:lnTo>
                      <a:lnTo>
                        <a:pt x="397" y="358"/>
                      </a:lnTo>
                      <a:lnTo>
                        <a:pt x="398" y="359"/>
                      </a:lnTo>
                      <a:lnTo>
                        <a:pt x="398" y="361"/>
                      </a:lnTo>
                      <a:lnTo>
                        <a:pt x="400" y="363"/>
                      </a:lnTo>
                      <a:lnTo>
                        <a:pt x="400" y="364"/>
                      </a:lnTo>
                      <a:lnTo>
                        <a:pt x="398" y="364"/>
                      </a:lnTo>
                      <a:lnTo>
                        <a:pt x="398" y="366"/>
                      </a:lnTo>
                      <a:lnTo>
                        <a:pt x="398" y="367"/>
                      </a:lnTo>
                      <a:lnTo>
                        <a:pt x="397" y="367"/>
                      </a:lnTo>
                      <a:lnTo>
                        <a:pt x="397" y="369"/>
                      </a:lnTo>
                      <a:lnTo>
                        <a:pt x="397" y="367"/>
                      </a:lnTo>
                      <a:lnTo>
                        <a:pt x="395" y="367"/>
                      </a:lnTo>
                      <a:lnTo>
                        <a:pt x="393" y="367"/>
                      </a:lnTo>
                      <a:lnTo>
                        <a:pt x="393" y="369"/>
                      </a:lnTo>
                      <a:lnTo>
                        <a:pt x="392" y="369"/>
                      </a:lnTo>
                      <a:lnTo>
                        <a:pt x="390" y="369"/>
                      </a:lnTo>
                      <a:lnTo>
                        <a:pt x="390" y="371"/>
                      </a:lnTo>
                      <a:lnTo>
                        <a:pt x="392" y="371"/>
                      </a:lnTo>
                      <a:lnTo>
                        <a:pt x="392" y="372"/>
                      </a:lnTo>
                      <a:lnTo>
                        <a:pt x="390" y="372"/>
                      </a:lnTo>
                      <a:lnTo>
                        <a:pt x="390" y="374"/>
                      </a:lnTo>
                      <a:lnTo>
                        <a:pt x="390" y="376"/>
                      </a:lnTo>
                      <a:lnTo>
                        <a:pt x="388" y="376"/>
                      </a:lnTo>
                      <a:lnTo>
                        <a:pt x="388" y="377"/>
                      </a:lnTo>
                      <a:lnTo>
                        <a:pt x="386" y="377"/>
                      </a:lnTo>
                      <a:lnTo>
                        <a:pt x="385" y="377"/>
                      </a:lnTo>
                      <a:lnTo>
                        <a:pt x="383" y="379"/>
                      </a:lnTo>
                      <a:lnTo>
                        <a:pt x="383" y="377"/>
                      </a:lnTo>
                      <a:lnTo>
                        <a:pt x="383" y="379"/>
                      </a:lnTo>
                      <a:lnTo>
                        <a:pt x="383" y="381"/>
                      </a:lnTo>
                      <a:lnTo>
                        <a:pt x="381" y="382"/>
                      </a:lnTo>
                      <a:lnTo>
                        <a:pt x="381" y="381"/>
                      </a:lnTo>
                      <a:lnTo>
                        <a:pt x="381" y="382"/>
                      </a:lnTo>
                      <a:lnTo>
                        <a:pt x="380" y="382"/>
                      </a:lnTo>
                      <a:lnTo>
                        <a:pt x="380" y="384"/>
                      </a:lnTo>
                      <a:lnTo>
                        <a:pt x="381" y="384"/>
                      </a:lnTo>
                      <a:lnTo>
                        <a:pt x="381" y="386"/>
                      </a:lnTo>
                      <a:lnTo>
                        <a:pt x="381" y="384"/>
                      </a:lnTo>
                      <a:lnTo>
                        <a:pt x="383" y="384"/>
                      </a:lnTo>
                      <a:lnTo>
                        <a:pt x="385" y="384"/>
                      </a:lnTo>
                      <a:lnTo>
                        <a:pt x="386" y="384"/>
                      </a:lnTo>
                      <a:lnTo>
                        <a:pt x="388" y="384"/>
                      </a:lnTo>
                      <a:lnTo>
                        <a:pt x="390" y="384"/>
                      </a:lnTo>
                      <a:lnTo>
                        <a:pt x="392" y="384"/>
                      </a:lnTo>
                      <a:lnTo>
                        <a:pt x="392" y="382"/>
                      </a:lnTo>
                      <a:lnTo>
                        <a:pt x="393" y="382"/>
                      </a:lnTo>
                      <a:lnTo>
                        <a:pt x="395" y="382"/>
                      </a:lnTo>
                      <a:lnTo>
                        <a:pt x="395" y="384"/>
                      </a:lnTo>
                      <a:lnTo>
                        <a:pt x="395" y="386"/>
                      </a:lnTo>
                      <a:lnTo>
                        <a:pt x="397" y="386"/>
                      </a:lnTo>
                      <a:lnTo>
                        <a:pt x="397" y="387"/>
                      </a:lnTo>
                      <a:lnTo>
                        <a:pt x="397" y="386"/>
                      </a:lnTo>
                      <a:lnTo>
                        <a:pt x="398" y="386"/>
                      </a:lnTo>
                      <a:lnTo>
                        <a:pt x="398" y="387"/>
                      </a:lnTo>
                      <a:lnTo>
                        <a:pt x="398" y="389"/>
                      </a:lnTo>
                      <a:lnTo>
                        <a:pt x="398" y="390"/>
                      </a:lnTo>
                      <a:lnTo>
                        <a:pt x="398" y="392"/>
                      </a:lnTo>
                      <a:lnTo>
                        <a:pt x="398" y="394"/>
                      </a:lnTo>
                      <a:lnTo>
                        <a:pt x="400" y="394"/>
                      </a:lnTo>
                      <a:lnTo>
                        <a:pt x="398" y="395"/>
                      </a:lnTo>
                      <a:lnTo>
                        <a:pt x="398" y="397"/>
                      </a:lnTo>
                      <a:lnTo>
                        <a:pt x="400" y="397"/>
                      </a:lnTo>
                      <a:lnTo>
                        <a:pt x="400" y="399"/>
                      </a:lnTo>
                      <a:lnTo>
                        <a:pt x="398" y="399"/>
                      </a:lnTo>
                      <a:lnTo>
                        <a:pt x="398" y="400"/>
                      </a:lnTo>
                      <a:lnTo>
                        <a:pt x="398" y="402"/>
                      </a:lnTo>
                      <a:lnTo>
                        <a:pt x="397" y="402"/>
                      </a:lnTo>
                      <a:lnTo>
                        <a:pt x="398" y="402"/>
                      </a:lnTo>
                      <a:lnTo>
                        <a:pt x="398" y="404"/>
                      </a:lnTo>
                      <a:lnTo>
                        <a:pt x="400" y="404"/>
                      </a:lnTo>
                      <a:lnTo>
                        <a:pt x="402" y="402"/>
                      </a:lnTo>
                      <a:lnTo>
                        <a:pt x="402" y="404"/>
                      </a:lnTo>
                      <a:lnTo>
                        <a:pt x="400" y="404"/>
                      </a:lnTo>
                      <a:lnTo>
                        <a:pt x="400" y="405"/>
                      </a:lnTo>
                      <a:lnTo>
                        <a:pt x="400" y="407"/>
                      </a:lnTo>
                      <a:lnTo>
                        <a:pt x="400" y="408"/>
                      </a:lnTo>
                      <a:lnTo>
                        <a:pt x="402" y="408"/>
                      </a:lnTo>
                      <a:lnTo>
                        <a:pt x="403" y="408"/>
                      </a:lnTo>
                      <a:lnTo>
                        <a:pt x="405" y="408"/>
                      </a:lnTo>
                      <a:lnTo>
                        <a:pt x="405" y="407"/>
                      </a:lnTo>
                      <a:lnTo>
                        <a:pt x="407" y="408"/>
                      </a:lnTo>
                      <a:lnTo>
                        <a:pt x="405" y="408"/>
                      </a:lnTo>
                      <a:lnTo>
                        <a:pt x="405" y="410"/>
                      </a:lnTo>
                      <a:lnTo>
                        <a:pt x="405" y="412"/>
                      </a:lnTo>
                      <a:lnTo>
                        <a:pt x="407" y="412"/>
                      </a:lnTo>
                      <a:lnTo>
                        <a:pt x="408" y="412"/>
                      </a:lnTo>
                      <a:lnTo>
                        <a:pt x="410" y="412"/>
                      </a:lnTo>
                      <a:lnTo>
                        <a:pt x="410" y="413"/>
                      </a:lnTo>
                      <a:lnTo>
                        <a:pt x="412" y="413"/>
                      </a:lnTo>
                      <a:lnTo>
                        <a:pt x="412" y="415"/>
                      </a:lnTo>
                      <a:lnTo>
                        <a:pt x="413" y="413"/>
                      </a:lnTo>
                      <a:lnTo>
                        <a:pt x="413" y="415"/>
                      </a:lnTo>
                      <a:lnTo>
                        <a:pt x="415" y="413"/>
                      </a:lnTo>
                      <a:lnTo>
                        <a:pt x="417" y="413"/>
                      </a:lnTo>
                      <a:lnTo>
                        <a:pt x="419" y="413"/>
                      </a:lnTo>
                      <a:lnTo>
                        <a:pt x="419" y="412"/>
                      </a:lnTo>
                      <a:lnTo>
                        <a:pt x="420" y="412"/>
                      </a:lnTo>
                      <a:lnTo>
                        <a:pt x="422" y="410"/>
                      </a:lnTo>
                      <a:lnTo>
                        <a:pt x="422" y="408"/>
                      </a:lnTo>
                      <a:lnTo>
                        <a:pt x="424" y="408"/>
                      </a:lnTo>
                      <a:lnTo>
                        <a:pt x="425" y="407"/>
                      </a:lnTo>
                      <a:lnTo>
                        <a:pt x="427" y="407"/>
                      </a:lnTo>
                      <a:lnTo>
                        <a:pt x="429" y="407"/>
                      </a:lnTo>
                      <a:lnTo>
                        <a:pt x="429" y="405"/>
                      </a:lnTo>
                      <a:lnTo>
                        <a:pt x="430" y="405"/>
                      </a:lnTo>
                      <a:lnTo>
                        <a:pt x="432" y="405"/>
                      </a:lnTo>
                      <a:lnTo>
                        <a:pt x="432" y="404"/>
                      </a:lnTo>
                      <a:lnTo>
                        <a:pt x="434" y="404"/>
                      </a:lnTo>
                      <a:lnTo>
                        <a:pt x="435" y="405"/>
                      </a:lnTo>
                      <a:lnTo>
                        <a:pt x="437" y="404"/>
                      </a:lnTo>
                      <a:lnTo>
                        <a:pt x="437" y="402"/>
                      </a:lnTo>
                      <a:lnTo>
                        <a:pt x="439" y="402"/>
                      </a:lnTo>
                      <a:lnTo>
                        <a:pt x="440" y="402"/>
                      </a:lnTo>
                      <a:lnTo>
                        <a:pt x="439" y="400"/>
                      </a:lnTo>
                      <a:lnTo>
                        <a:pt x="440" y="402"/>
                      </a:lnTo>
                      <a:lnTo>
                        <a:pt x="442" y="400"/>
                      </a:lnTo>
                      <a:lnTo>
                        <a:pt x="442" y="399"/>
                      </a:lnTo>
                      <a:lnTo>
                        <a:pt x="444" y="399"/>
                      </a:lnTo>
                      <a:lnTo>
                        <a:pt x="446" y="399"/>
                      </a:lnTo>
                      <a:lnTo>
                        <a:pt x="447" y="399"/>
                      </a:lnTo>
                      <a:lnTo>
                        <a:pt x="447" y="397"/>
                      </a:lnTo>
                      <a:lnTo>
                        <a:pt x="449" y="397"/>
                      </a:lnTo>
                      <a:lnTo>
                        <a:pt x="449" y="395"/>
                      </a:lnTo>
                      <a:lnTo>
                        <a:pt x="447" y="395"/>
                      </a:lnTo>
                      <a:lnTo>
                        <a:pt x="446" y="395"/>
                      </a:lnTo>
                      <a:lnTo>
                        <a:pt x="446" y="394"/>
                      </a:lnTo>
                      <a:lnTo>
                        <a:pt x="446" y="392"/>
                      </a:lnTo>
                      <a:lnTo>
                        <a:pt x="447" y="392"/>
                      </a:lnTo>
                      <a:lnTo>
                        <a:pt x="449" y="390"/>
                      </a:lnTo>
                      <a:lnTo>
                        <a:pt x="447" y="389"/>
                      </a:lnTo>
                      <a:lnTo>
                        <a:pt x="449" y="389"/>
                      </a:lnTo>
                      <a:lnTo>
                        <a:pt x="449" y="387"/>
                      </a:lnTo>
                      <a:lnTo>
                        <a:pt x="449" y="386"/>
                      </a:lnTo>
                      <a:lnTo>
                        <a:pt x="449" y="384"/>
                      </a:lnTo>
                      <a:lnTo>
                        <a:pt x="449" y="382"/>
                      </a:lnTo>
                      <a:lnTo>
                        <a:pt x="452" y="382"/>
                      </a:lnTo>
                      <a:lnTo>
                        <a:pt x="454" y="382"/>
                      </a:lnTo>
                      <a:lnTo>
                        <a:pt x="452" y="382"/>
                      </a:lnTo>
                      <a:lnTo>
                        <a:pt x="454" y="381"/>
                      </a:lnTo>
                      <a:lnTo>
                        <a:pt x="452" y="379"/>
                      </a:lnTo>
                      <a:lnTo>
                        <a:pt x="454" y="379"/>
                      </a:lnTo>
                      <a:lnTo>
                        <a:pt x="454" y="377"/>
                      </a:lnTo>
                      <a:lnTo>
                        <a:pt x="456" y="377"/>
                      </a:lnTo>
                      <a:lnTo>
                        <a:pt x="457" y="377"/>
                      </a:lnTo>
                      <a:lnTo>
                        <a:pt x="459" y="379"/>
                      </a:lnTo>
                      <a:lnTo>
                        <a:pt x="461" y="379"/>
                      </a:lnTo>
                      <a:lnTo>
                        <a:pt x="462" y="379"/>
                      </a:lnTo>
                      <a:lnTo>
                        <a:pt x="462" y="381"/>
                      </a:lnTo>
                      <a:lnTo>
                        <a:pt x="462" y="379"/>
                      </a:lnTo>
                      <a:lnTo>
                        <a:pt x="464" y="379"/>
                      </a:lnTo>
                      <a:lnTo>
                        <a:pt x="466" y="379"/>
                      </a:lnTo>
                      <a:lnTo>
                        <a:pt x="466" y="377"/>
                      </a:lnTo>
                      <a:lnTo>
                        <a:pt x="468" y="376"/>
                      </a:lnTo>
                      <a:lnTo>
                        <a:pt x="466" y="376"/>
                      </a:lnTo>
                      <a:lnTo>
                        <a:pt x="468" y="376"/>
                      </a:lnTo>
                      <a:lnTo>
                        <a:pt x="468" y="374"/>
                      </a:lnTo>
                      <a:lnTo>
                        <a:pt x="468" y="372"/>
                      </a:lnTo>
                      <a:lnTo>
                        <a:pt x="466" y="371"/>
                      </a:lnTo>
                      <a:lnTo>
                        <a:pt x="468" y="371"/>
                      </a:lnTo>
                      <a:lnTo>
                        <a:pt x="468" y="369"/>
                      </a:lnTo>
                      <a:lnTo>
                        <a:pt x="469" y="369"/>
                      </a:lnTo>
                      <a:lnTo>
                        <a:pt x="471" y="369"/>
                      </a:lnTo>
                      <a:lnTo>
                        <a:pt x="473" y="369"/>
                      </a:lnTo>
                      <a:lnTo>
                        <a:pt x="474" y="369"/>
                      </a:lnTo>
                      <a:lnTo>
                        <a:pt x="476" y="369"/>
                      </a:lnTo>
                      <a:lnTo>
                        <a:pt x="478" y="369"/>
                      </a:lnTo>
                      <a:lnTo>
                        <a:pt x="479" y="369"/>
                      </a:lnTo>
                      <a:lnTo>
                        <a:pt x="481" y="369"/>
                      </a:lnTo>
                      <a:lnTo>
                        <a:pt x="481" y="371"/>
                      </a:lnTo>
                      <a:lnTo>
                        <a:pt x="483" y="371"/>
                      </a:lnTo>
                      <a:lnTo>
                        <a:pt x="483" y="369"/>
                      </a:lnTo>
                      <a:lnTo>
                        <a:pt x="484" y="367"/>
                      </a:lnTo>
                      <a:lnTo>
                        <a:pt x="484" y="366"/>
                      </a:lnTo>
                      <a:lnTo>
                        <a:pt x="486" y="366"/>
                      </a:lnTo>
                      <a:lnTo>
                        <a:pt x="488" y="366"/>
                      </a:lnTo>
                      <a:lnTo>
                        <a:pt x="488" y="367"/>
                      </a:lnTo>
                      <a:lnTo>
                        <a:pt x="489" y="367"/>
                      </a:lnTo>
                      <a:lnTo>
                        <a:pt x="491" y="367"/>
                      </a:lnTo>
                      <a:lnTo>
                        <a:pt x="493" y="367"/>
                      </a:lnTo>
                      <a:lnTo>
                        <a:pt x="493" y="369"/>
                      </a:lnTo>
                      <a:lnTo>
                        <a:pt x="495" y="369"/>
                      </a:lnTo>
                      <a:lnTo>
                        <a:pt x="495" y="367"/>
                      </a:lnTo>
                      <a:lnTo>
                        <a:pt x="496" y="367"/>
                      </a:lnTo>
                      <a:lnTo>
                        <a:pt x="498" y="366"/>
                      </a:lnTo>
                      <a:lnTo>
                        <a:pt x="500" y="366"/>
                      </a:lnTo>
                      <a:lnTo>
                        <a:pt x="501" y="366"/>
                      </a:lnTo>
                      <a:lnTo>
                        <a:pt x="503" y="367"/>
                      </a:lnTo>
                      <a:lnTo>
                        <a:pt x="501" y="367"/>
                      </a:lnTo>
                      <a:lnTo>
                        <a:pt x="501" y="369"/>
                      </a:lnTo>
                      <a:lnTo>
                        <a:pt x="503" y="369"/>
                      </a:lnTo>
                      <a:lnTo>
                        <a:pt x="503" y="367"/>
                      </a:lnTo>
                      <a:lnTo>
                        <a:pt x="505" y="367"/>
                      </a:lnTo>
                      <a:lnTo>
                        <a:pt x="505" y="369"/>
                      </a:lnTo>
                      <a:lnTo>
                        <a:pt x="506" y="369"/>
                      </a:lnTo>
                      <a:lnTo>
                        <a:pt x="508" y="369"/>
                      </a:lnTo>
                      <a:lnTo>
                        <a:pt x="508" y="367"/>
                      </a:lnTo>
                      <a:lnTo>
                        <a:pt x="510" y="367"/>
                      </a:lnTo>
                      <a:lnTo>
                        <a:pt x="511" y="367"/>
                      </a:lnTo>
                      <a:lnTo>
                        <a:pt x="513" y="367"/>
                      </a:lnTo>
                      <a:lnTo>
                        <a:pt x="515" y="367"/>
                      </a:lnTo>
                      <a:lnTo>
                        <a:pt x="516" y="367"/>
                      </a:lnTo>
                      <a:lnTo>
                        <a:pt x="518" y="367"/>
                      </a:lnTo>
                      <a:lnTo>
                        <a:pt x="518" y="366"/>
                      </a:lnTo>
                      <a:lnTo>
                        <a:pt x="518" y="364"/>
                      </a:lnTo>
                      <a:lnTo>
                        <a:pt x="520" y="364"/>
                      </a:lnTo>
                      <a:lnTo>
                        <a:pt x="520" y="363"/>
                      </a:lnTo>
                      <a:lnTo>
                        <a:pt x="522" y="363"/>
                      </a:lnTo>
                      <a:lnTo>
                        <a:pt x="523" y="364"/>
                      </a:lnTo>
                      <a:lnTo>
                        <a:pt x="525" y="363"/>
                      </a:lnTo>
                      <a:lnTo>
                        <a:pt x="527" y="363"/>
                      </a:lnTo>
                      <a:lnTo>
                        <a:pt x="528" y="363"/>
                      </a:lnTo>
                      <a:lnTo>
                        <a:pt x="530" y="361"/>
                      </a:lnTo>
                      <a:lnTo>
                        <a:pt x="532" y="361"/>
                      </a:lnTo>
                      <a:lnTo>
                        <a:pt x="533" y="359"/>
                      </a:lnTo>
                      <a:lnTo>
                        <a:pt x="535" y="359"/>
                      </a:lnTo>
                      <a:lnTo>
                        <a:pt x="537" y="358"/>
                      </a:lnTo>
                      <a:lnTo>
                        <a:pt x="537" y="359"/>
                      </a:lnTo>
                      <a:lnTo>
                        <a:pt x="538" y="359"/>
                      </a:lnTo>
                      <a:lnTo>
                        <a:pt x="540" y="359"/>
                      </a:lnTo>
                      <a:lnTo>
                        <a:pt x="542" y="358"/>
                      </a:lnTo>
                      <a:lnTo>
                        <a:pt x="544" y="358"/>
                      </a:lnTo>
                      <a:lnTo>
                        <a:pt x="544" y="356"/>
                      </a:lnTo>
                      <a:lnTo>
                        <a:pt x="545" y="354"/>
                      </a:lnTo>
                      <a:lnTo>
                        <a:pt x="547" y="354"/>
                      </a:lnTo>
                      <a:lnTo>
                        <a:pt x="549" y="354"/>
                      </a:lnTo>
                      <a:lnTo>
                        <a:pt x="549" y="356"/>
                      </a:lnTo>
                      <a:lnTo>
                        <a:pt x="550" y="356"/>
                      </a:lnTo>
                      <a:lnTo>
                        <a:pt x="550" y="354"/>
                      </a:lnTo>
                      <a:lnTo>
                        <a:pt x="550" y="356"/>
                      </a:lnTo>
                      <a:lnTo>
                        <a:pt x="552" y="354"/>
                      </a:lnTo>
                      <a:lnTo>
                        <a:pt x="554" y="354"/>
                      </a:lnTo>
                      <a:lnTo>
                        <a:pt x="554" y="353"/>
                      </a:lnTo>
                      <a:lnTo>
                        <a:pt x="552" y="353"/>
                      </a:lnTo>
                      <a:lnTo>
                        <a:pt x="552" y="351"/>
                      </a:lnTo>
                      <a:lnTo>
                        <a:pt x="554" y="351"/>
                      </a:lnTo>
                      <a:lnTo>
                        <a:pt x="554" y="349"/>
                      </a:lnTo>
                      <a:lnTo>
                        <a:pt x="554" y="348"/>
                      </a:lnTo>
                      <a:lnTo>
                        <a:pt x="554" y="349"/>
                      </a:lnTo>
                      <a:lnTo>
                        <a:pt x="552" y="349"/>
                      </a:lnTo>
                      <a:lnTo>
                        <a:pt x="552" y="348"/>
                      </a:lnTo>
                      <a:lnTo>
                        <a:pt x="552" y="346"/>
                      </a:lnTo>
                      <a:lnTo>
                        <a:pt x="554" y="346"/>
                      </a:lnTo>
                      <a:lnTo>
                        <a:pt x="554" y="344"/>
                      </a:lnTo>
                      <a:lnTo>
                        <a:pt x="554" y="343"/>
                      </a:lnTo>
                      <a:lnTo>
                        <a:pt x="555" y="341"/>
                      </a:lnTo>
                      <a:lnTo>
                        <a:pt x="555" y="336"/>
                      </a:lnTo>
                      <a:lnTo>
                        <a:pt x="557" y="336"/>
                      </a:lnTo>
                      <a:lnTo>
                        <a:pt x="559" y="336"/>
                      </a:lnTo>
                      <a:lnTo>
                        <a:pt x="560" y="336"/>
                      </a:lnTo>
                      <a:lnTo>
                        <a:pt x="560" y="338"/>
                      </a:lnTo>
                      <a:lnTo>
                        <a:pt x="562" y="338"/>
                      </a:lnTo>
                      <a:lnTo>
                        <a:pt x="564" y="338"/>
                      </a:lnTo>
                      <a:lnTo>
                        <a:pt x="564" y="336"/>
                      </a:lnTo>
                      <a:lnTo>
                        <a:pt x="565" y="336"/>
                      </a:lnTo>
                      <a:lnTo>
                        <a:pt x="567" y="336"/>
                      </a:lnTo>
                      <a:lnTo>
                        <a:pt x="567" y="335"/>
                      </a:lnTo>
                      <a:lnTo>
                        <a:pt x="569" y="335"/>
                      </a:lnTo>
                      <a:lnTo>
                        <a:pt x="569" y="333"/>
                      </a:lnTo>
                      <a:lnTo>
                        <a:pt x="571" y="333"/>
                      </a:lnTo>
                      <a:lnTo>
                        <a:pt x="571" y="331"/>
                      </a:lnTo>
                      <a:lnTo>
                        <a:pt x="572" y="333"/>
                      </a:lnTo>
                      <a:lnTo>
                        <a:pt x="572" y="331"/>
                      </a:lnTo>
                      <a:lnTo>
                        <a:pt x="574" y="333"/>
                      </a:lnTo>
                      <a:lnTo>
                        <a:pt x="574" y="331"/>
                      </a:lnTo>
                      <a:lnTo>
                        <a:pt x="576" y="331"/>
                      </a:lnTo>
                      <a:lnTo>
                        <a:pt x="576" y="330"/>
                      </a:lnTo>
                      <a:lnTo>
                        <a:pt x="579" y="330"/>
                      </a:lnTo>
                      <a:lnTo>
                        <a:pt x="581" y="330"/>
                      </a:lnTo>
                      <a:lnTo>
                        <a:pt x="582" y="330"/>
                      </a:lnTo>
                      <a:lnTo>
                        <a:pt x="584" y="330"/>
                      </a:lnTo>
                      <a:lnTo>
                        <a:pt x="584" y="331"/>
                      </a:lnTo>
                      <a:lnTo>
                        <a:pt x="586" y="331"/>
                      </a:lnTo>
                      <a:lnTo>
                        <a:pt x="586" y="330"/>
                      </a:lnTo>
                      <a:lnTo>
                        <a:pt x="587" y="330"/>
                      </a:lnTo>
                      <a:lnTo>
                        <a:pt x="587" y="331"/>
                      </a:lnTo>
                      <a:lnTo>
                        <a:pt x="589" y="331"/>
                      </a:lnTo>
                      <a:lnTo>
                        <a:pt x="591" y="331"/>
                      </a:lnTo>
                      <a:lnTo>
                        <a:pt x="592" y="331"/>
                      </a:lnTo>
                      <a:lnTo>
                        <a:pt x="594" y="331"/>
                      </a:lnTo>
                      <a:lnTo>
                        <a:pt x="596" y="331"/>
                      </a:lnTo>
                      <a:lnTo>
                        <a:pt x="598" y="333"/>
                      </a:lnTo>
                      <a:lnTo>
                        <a:pt x="599" y="333"/>
                      </a:lnTo>
                      <a:lnTo>
                        <a:pt x="601" y="335"/>
                      </a:lnTo>
                      <a:lnTo>
                        <a:pt x="603" y="336"/>
                      </a:lnTo>
                      <a:lnTo>
                        <a:pt x="604" y="336"/>
                      </a:lnTo>
                      <a:lnTo>
                        <a:pt x="604" y="338"/>
                      </a:lnTo>
                      <a:lnTo>
                        <a:pt x="604" y="340"/>
                      </a:lnTo>
                      <a:lnTo>
                        <a:pt x="604" y="341"/>
                      </a:lnTo>
                      <a:lnTo>
                        <a:pt x="606" y="343"/>
                      </a:lnTo>
                      <a:lnTo>
                        <a:pt x="606" y="344"/>
                      </a:lnTo>
                      <a:lnTo>
                        <a:pt x="608" y="344"/>
                      </a:lnTo>
                      <a:lnTo>
                        <a:pt x="608" y="343"/>
                      </a:lnTo>
                      <a:lnTo>
                        <a:pt x="609" y="343"/>
                      </a:lnTo>
                      <a:lnTo>
                        <a:pt x="611" y="344"/>
                      </a:lnTo>
                      <a:lnTo>
                        <a:pt x="613" y="344"/>
                      </a:lnTo>
                      <a:lnTo>
                        <a:pt x="611" y="344"/>
                      </a:lnTo>
                      <a:lnTo>
                        <a:pt x="613" y="344"/>
                      </a:lnTo>
                      <a:lnTo>
                        <a:pt x="614" y="344"/>
                      </a:lnTo>
                      <a:lnTo>
                        <a:pt x="616" y="344"/>
                      </a:lnTo>
                      <a:lnTo>
                        <a:pt x="618" y="344"/>
                      </a:lnTo>
                      <a:lnTo>
                        <a:pt x="618" y="346"/>
                      </a:lnTo>
                      <a:lnTo>
                        <a:pt x="618" y="348"/>
                      </a:lnTo>
                      <a:lnTo>
                        <a:pt x="620" y="348"/>
                      </a:lnTo>
                      <a:lnTo>
                        <a:pt x="620" y="349"/>
                      </a:lnTo>
                      <a:lnTo>
                        <a:pt x="620" y="351"/>
                      </a:lnTo>
                      <a:lnTo>
                        <a:pt x="621" y="351"/>
                      </a:lnTo>
                      <a:lnTo>
                        <a:pt x="621" y="353"/>
                      </a:lnTo>
                      <a:lnTo>
                        <a:pt x="620" y="354"/>
                      </a:lnTo>
                      <a:lnTo>
                        <a:pt x="620" y="356"/>
                      </a:lnTo>
                      <a:lnTo>
                        <a:pt x="618" y="358"/>
                      </a:lnTo>
                      <a:lnTo>
                        <a:pt x="618" y="359"/>
                      </a:lnTo>
                      <a:lnTo>
                        <a:pt x="618" y="361"/>
                      </a:lnTo>
                      <a:lnTo>
                        <a:pt x="620" y="361"/>
                      </a:lnTo>
                      <a:lnTo>
                        <a:pt x="620" y="363"/>
                      </a:lnTo>
                      <a:lnTo>
                        <a:pt x="620" y="364"/>
                      </a:lnTo>
                      <a:lnTo>
                        <a:pt x="618" y="367"/>
                      </a:lnTo>
                      <a:lnTo>
                        <a:pt x="618" y="369"/>
                      </a:lnTo>
                      <a:lnTo>
                        <a:pt x="618" y="371"/>
                      </a:lnTo>
                      <a:lnTo>
                        <a:pt x="618" y="372"/>
                      </a:lnTo>
                      <a:lnTo>
                        <a:pt x="618" y="374"/>
                      </a:lnTo>
                      <a:lnTo>
                        <a:pt x="618" y="376"/>
                      </a:lnTo>
                      <a:lnTo>
                        <a:pt x="620" y="376"/>
                      </a:lnTo>
                      <a:lnTo>
                        <a:pt x="620" y="377"/>
                      </a:lnTo>
                      <a:lnTo>
                        <a:pt x="620" y="379"/>
                      </a:lnTo>
                      <a:lnTo>
                        <a:pt x="620" y="381"/>
                      </a:lnTo>
                      <a:lnTo>
                        <a:pt x="620" y="382"/>
                      </a:lnTo>
                      <a:lnTo>
                        <a:pt x="618" y="384"/>
                      </a:lnTo>
                      <a:lnTo>
                        <a:pt x="618" y="386"/>
                      </a:lnTo>
                      <a:lnTo>
                        <a:pt x="618" y="387"/>
                      </a:lnTo>
                      <a:lnTo>
                        <a:pt x="618" y="389"/>
                      </a:lnTo>
                      <a:lnTo>
                        <a:pt x="616" y="389"/>
                      </a:lnTo>
                      <a:lnTo>
                        <a:pt x="616" y="390"/>
                      </a:lnTo>
                      <a:lnTo>
                        <a:pt x="614" y="395"/>
                      </a:lnTo>
                      <a:lnTo>
                        <a:pt x="613" y="397"/>
                      </a:lnTo>
                      <a:lnTo>
                        <a:pt x="613" y="399"/>
                      </a:lnTo>
                      <a:lnTo>
                        <a:pt x="611" y="399"/>
                      </a:lnTo>
                      <a:lnTo>
                        <a:pt x="611" y="400"/>
                      </a:lnTo>
                      <a:lnTo>
                        <a:pt x="611" y="402"/>
                      </a:lnTo>
                      <a:lnTo>
                        <a:pt x="611" y="404"/>
                      </a:lnTo>
                      <a:lnTo>
                        <a:pt x="611" y="405"/>
                      </a:lnTo>
                      <a:lnTo>
                        <a:pt x="611" y="407"/>
                      </a:lnTo>
                      <a:lnTo>
                        <a:pt x="609" y="407"/>
                      </a:lnTo>
                      <a:lnTo>
                        <a:pt x="609" y="408"/>
                      </a:lnTo>
                      <a:lnTo>
                        <a:pt x="608" y="408"/>
                      </a:lnTo>
                      <a:lnTo>
                        <a:pt x="608" y="410"/>
                      </a:lnTo>
                      <a:lnTo>
                        <a:pt x="608" y="412"/>
                      </a:lnTo>
                      <a:lnTo>
                        <a:pt x="608" y="413"/>
                      </a:lnTo>
                      <a:lnTo>
                        <a:pt x="608" y="415"/>
                      </a:lnTo>
                      <a:lnTo>
                        <a:pt x="608" y="417"/>
                      </a:lnTo>
                      <a:lnTo>
                        <a:pt x="608" y="418"/>
                      </a:lnTo>
                      <a:lnTo>
                        <a:pt x="608" y="420"/>
                      </a:lnTo>
                      <a:lnTo>
                        <a:pt x="606" y="420"/>
                      </a:lnTo>
                      <a:lnTo>
                        <a:pt x="608" y="420"/>
                      </a:lnTo>
                      <a:lnTo>
                        <a:pt x="606" y="425"/>
                      </a:lnTo>
                      <a:lnTo>
                        <a:pt x="604" y="427"/>
                      </a:lnTo>
                      <a:lnTo>
                        <a:pt x="604" y="428"/>
                      </a:lnTo>
                      <a:lnTo>
                        <a:pt x="604" y="430"/>
                      </a:lnTo>
                      <a:lnTo>
                        <a:pt x="603" y="430"/>
                      </a:lnTo>
                      <a:lnTo>
                        <a:pt x="603" y="431"/>
                      </a:lnTo>
                      <a:lnTo>
                        <a:pt x="603" y="433"/>
                      </a:lnTo>
                      <a:lnTo>
                        <a:pt x="603" y="435"/>
                      </a:lnTo>
                      <a:lnTo>
                        <a:pt x="603" y="436"/>
                      </a:lnTo>
                      <a:lnTo>
                        <a:pt x="603" y="438"/>
                      </a:lnTo>
                      <a:lnTo>
                        <a:pt x="601" y="438"/>
                      </a:lnTo>
                      <a:lnTo>
                        <a:pt x="603" y="438"/>
                      </a:lnTo>
                      <a:lnTo>
                        <a:pt x="601" y="438"/>
                      </a:lnTo>
                      <a:lnTo>
                        <a:pt x="599" y="438"/>
                      </a:lnTo>
                      <a:lnTo>
                        <a:pt x="599" y="440"/>
                      </a:lnTo>
                      <a:lnTo>
                        <a:pt x="598" y="441"/>
                      </a:lnTo>
                      <a:lnTo>
                        <a:pt x="598" y="443"/>
                      </a:lnTo>
                      <a:lnTo>
                        <a:pt x="598" y="445"/>
                      </a:lnTo>
                      <a:lnTo>
                        <a:pt x="596" y="445"/>
                      </a:lnTo>
                      <a:lnTo>
                        <a:pt x="596" y="446"/>
                      </a:lnTo>
                      <a:lnTo>
                        <a:pt x="596" y="448"/>
                      </a:lnTo>
                      <a:lnTo>
                        <a:pt x="596" y="450"/>
                      </a:lnTo>
                      <a:lnTo>
                        <a:pt x="594" y="450"/>
                      </a:lnTo>
                      <a:lnTo>
                        <a:pt x="592" y="450"/>
                      </a:lnTo>
                      <a:lnTo>
                        <a:pt x="594" y="451"/>
                      </a:lnTo>
                      <a:lnTo>
                        <a:pt x="596" y="451"/>
                      </a:lnTo>
                      <a:lnTo>
                        <a:pt x="596" y="453"/>
                      </a:lnTo>
                      <a:lnTo>
                        <a:pt x="594" y="453"/>
                      </a:lnTo>
                      <a:lnTo>
                        <a:pt x="594" y="454"/>
                      </a:lnTo>
                      <a:lnTo>
                        <a:pt x="594" y="456"/>
                      </a:lnTo>
                      <a:lnTo>
                        <a:pt x="592" y="456"/>
                      </a:lnTo>
                      <a:lnTo>
                        <a:pt x="592" y="458"/>
                      </a:lnTo>
                      <a:lnTo>
                        <a:pt x="592" y="459"/>
                      </a:lnTo>
                      <a:lnTo>
                        <a:pt x="591" y="461"/>
                      </a:lnTo>
                      <a:lnTo>
                        <a:pt x="591" y="463"/>
                      </a:lnTo>
                      <a:lnTo>
                        <a:pt x="589" y="464"/>
                      </a:lnTo>
                      <a:lnTo>
                        <a:pt x="589" y="466"/>
                      </a:lnTo>
                      <a:lnTo>
                        <a:pt x="591" y="466"/>
                      </a:lnTo>
                      <a:lnTo>
                        <a:pt x="589" y="468"/>
                      </a:lnTo>
                      <a:lnTo>
                        <a:pt x="589" y="469"/>
                      </a:lnTo>
                      <a:lnTo>
                        <a:pt x="587" y="471"/>
                      </a:lnTo>
                      <a:lnTo>
                        <a:pt x="587" y="469"/>
                      </a:lnTo>
                      <a:lnTo>
                        <a:pt x="586" y="469"/>
                      </a:lnTo>
                      <a:lnTo>
                        <a:pt x="584" y="469"/>
                      </a:lnTo>
                      <a:lnTo>
                        <a:pt x="584" y="468"/>
                      </a:lnTo>
                      <a:lnTo>
                        <a:pt x="584" y="469"/>
                      </a:lnTo>
                      <a:lnTo>
                        <a:pt x="582" y="469"/>
                      </a:lnTo>
                      <a:lnTo>
                        <a:pt x="581" y="469"/>
                      </a:lnTo>
                      <a:lnTo>
                        <a:pt x="581" y="468"/>
                      </a:lnTo>
                      <a:lnTo>
                        <a:pt x="579" y="468"/>
                      </a:lnTo>
                      <a:lnTo>
                        <a:pt x="579" y="469"/>
                      </a:lnTo>
                      <a:lnTo>
                        <a:pt x="579" y="468"/>
                      </a:lnTo>
                      <a:lnTo>
                        <a:pt x="577" y="468"/>
                      </a:lnTo>
                      <a:lnTo>
                        <a:pt x="576" y="468"/>
                      </a:lnTo>
                      <a:lnTo>
                        <a:pt x="569" y="466"/>
                      </a:lnTo>
                      <a:lnTo>
                        <a:pt x="565" y="464"/>
                      </a:lnTo>
                      <a:lnTo>
                        <a:pt x="564" y="464"/>
                      </a:lnTo>
                      <a:lnTo>
                        <a:pt x="562" y="464"/>
                      </a:lnTo>
                      <a:lnTo>
                        <a:pt x="560" y="464"/>
                      </a:lnTo>
                      <a:lnTo>
                        <a:pt x="559" y="464"/>
                      </a:lnTo>
                      <a:lnTo>
                        <a:pt x="559" y="463"/>
                      </a:lnTo>
                      <a:lnTo>
                        <a:pt x="559" y="461"/>
                      </a:lnTo>
                      <a:lnTo>
                        <a:pt x="559" y="463"/>
                      </a:lnTo>
                      <a:lnTo>
                        <a:pt x="559" y="461"/>
                      </a:lnTo>
                      <a:lnTo>
                        <a:pt x="557" y="463"/>
                      </a:lnTo>
                      <a:lnTo>
                        <a:pt x="555" y="463"/>
                      </a:lnTo>
                      <a:lnTo>
                        <a:pt x="554" y="463"/>
                      </a:lnTo>
                      <a:lnTo>
                        <a:pt x="554" y="461"/>
                      </a:lnTo>
                      <a:lnTo>
                        <a:pt x="554" y="463"/>
                      </a:lnTo>
                      <a:lnTo>
                        <a:pt x="552" y="463"/>
                      </a:lnTo>
                      <a:lnTo>
                        <a:pt x="552" y="461"/>
                      </a:lnTo>
                      <a:lnTo>
                        <a:pt x="552" y="463"/>
                      </a:lnTo>
                      <a:lnTo>
                        <a:pt x="550" y="463"/>
                      </a:lnTo>
                      <a:lnTo>
                        <a:pt x="549" y="463"/>
                      </a:lnTo>
                      <a:lnTo>
                        <a:pt x="549" y="464"/>
                      </a:lnTo>
                      <a:lnTo>
                        <a:pt x="547" y="464"/>
                      </a:lnTo>
                      <a:lnTo>
                        <a:pt x="547" y="466"/>
                      </a:lnTo>
                      <a:lnTo>
                        <a:pt x="545" y="466"/>
                      </a:lnTo>
                      <a:lnTo>
                        <a:pt x="544" y="466"/>
                      </a:lnTo>
                      <a:lnTo>
                        <a:pt x="544" y="468"/>
                      </a:lnTo>
                      <a:lnTo>
                        <a:pt x="542" y="468"/>
                      </a:lnTo>
                      <a:lnTo>
                        <a:pt x="540" y="468"/>
                      </a:lnTo>
                      <a:lnTo>
                        <a:pt x="540" y="469"/>
                      </a:lnTo>
                      <a:lnTo>
                        <a:pt x="538" y="469"/>
                      </a:lnTo>
                      <a:lnTo>
                        <a:pt x="537" y="469"/>
                      </a:lnTo>
                      <a:lnTo>
                        <a:pt x="535" y="469"/>
                      </a:lnTo>
                      <a:lnTo>
                        <a:pt x="533" y="469"/>
                      </a:lnTo>
                      <a:lnTo>
                        <a:pt x="533" y="471"/>
                      </a:lnTo>
                      <a:lnTo>
                        <a:pt x="533" y="469"/>
                      </a:lnTo>
                      <a:lnTo>
                        <a:pt x="533" y="471"/>
                      </a:lnTo>
                      <a:lnTo>
                        <a:pt x="532" y="471"/>
                      </a:lnTo>
                      <a:lnTo>
                        <a:pt x="530" y="471"/>
                      </a:lnTo>
                      <a:lnTo>
                        <a:pt x="530" y="469"/>
                      </a:lnTo>
                      <a:lnTo>
                        <a:pt x="528" y="469"/>
                      </a:lnTo>
                      <a:lnTo>
                        <a:pt x="528" y="468"/>
                      </a:lnTo>
                      <a:lnTo>
                        <a:pt x="530" y="466"/>
                      </a:lnTo>
                      <a:lnTo>
                        <a:pt x="528" y="466"/>
                      </a:lnTo>
                      <a:lnTo>
                        <a:pt x="530" y="466"/>
                      </a:lnTo>
                      <a:lnTo>
                        <a:pt x="528" y="466"/>
                      </a:lnTo>
                      <a:lnTo>
                        <a:pt x="530" y="466"/>
                      </a:lnTo>
                      <a:lnTo>
                        <a:pt x="528" y="466"/>
                      </a:lnTo>
                      <a:lnTo>
                        <a:pt x="528" y="464"/>
                      </a:lnTo>
                      <a:lnTo>
                        <a:pt x="527" y="464"/>
                      </a:lnTo>
                      <a:lnTo>
                        <a:pt x="527" y="466"/>
                      </a:lnTo>
                      <a:lnTo>
                        <a:pt x="525" y="466"/>
                      </a:lnTo>
                      <a:lnTo>
                        <a:pt x="525" y="468"/>
                      </a:lnTo>
                      <a:lnTo>
                        <a:pt x="525" y="466"/>
                      </a:lnTo>
                      <a:lnTo>
                        <a:pt x="523" y="468"/>
                      </a:lnTo>
                      <a:lnTo>
                        <a:pt x="523" y="466"/>
                      </a:lnTo>
                      <a:lnTo>
                        <a:pt x="523" y="468"/>
                      </a:lnTo>
                      <a:lnTo>
                        <a:pt x="523" y="466"/>
                      </a:lnTo>
                      <a:lnTo>
                        <a:pt x="523" y="468"/>
                      </a:lnTo>
                      <a:lnTo>
                        <a:pt x="522" y="468"/>
                      </a:lnTo>
                      <a:lnTo>
                        <a:pt x="522" y="466"/>
                      </a:lnTo>
                      <a:lnTo>
                        <a:pt x="520" y="466"/>
                      </a:lnTo>
                      <a:lnTo>
                        <a:pt x="518" y="466"/>
                      </a:lnTo>
                      <a:lnTo>
                        <a:pt x="516" y="466"/>
                      </a:lnTo>
                      <a:lnTo>
                        <a:pt x="515" y="468"/>
                      </a:lnTo>
                      <a:lnTo>
                        <a:pt x="513" y="468"/>
                      </a:lnTo>
                      <a:lnTo>
                        <a:pt x="513" y="469"/>
                      </a:lnTo>
                      <a:lnTo>
                        <a:pt x="511" y="469"/>
                      </a:lnTo>
                      <a:lnTo>
                        <a:pt x="510" y="469"/>
                      </a:lnTo>
                      <a:lnTo>
                        <a:pt x="510" y="471"/>
                      </a:lnTo>
                      <a:lnTo>
                        <a:pt x="510" y="469"/>
                      </a:lnTo>
                      <a:lnTo>
                        <a:pt x="508" y="469"/>
                      </a:lnTo>
                      <a:lnTo>
                        <a:pt x="508" y="471"/>
                      </a:lnTo>
                      <a:lnTo>
                        <a:pt x="506" y="471"/>
                      </a:lnTo>
                      <a:lnTo>
                        <a:pt x="505" y="471"/>
                      </a:lnTo>
                      <a:lnTo>
                        <a:pt x="503" y="471"/>
                      </a:lnTo>
                      <a:lnTo>
                        <a:pt x="501" y="471"/>
                      </a:lnTo>
                      <a:lnTo>
                        <a:pt x="500" y="473"/>
                      </a:lnTo>
                      <a:lnTo>
                        <a:pt x="500" y="474"/>
                      </a:lnTo>
                      <a:lnTo>
                        <a:pt x="498" y="474"/>
                      </a:lnTo>
                      <a:lnTo>
                        <a:pt x="496" y="474"/>
                      </a:lnTo>
                      <a:lnTo>
                        <a:pt x="496" y="476"/>
                      </a:lnTo>
                      <a:lnTo>
                        <a:pt x="496" y="477"/>
                      </a:lnTo>
                      <a:lnTo>
                        <a:pt x="498" y="477"/>
                      </a:lnTo>
                      <a:lnTo>
                        <a:pt x="498" y="479"/>
                      </a:lnTo>
                      <a:lnTo>
                        <a:pt x="496" y="481"/>
                      </a:lnTo>
                      <a:lnTo>
                        <a:pt x="498" y="481"/>
                      </a:lnTo>
                      <a:lnTo>
                        <a:pt x="496" y="482"/>
                      </a:lnTo>
                      <a:lnTo>
                        <a:pt x="495" y="482"/>
                      </a:lnTo>
                      <a:lnTo>
                        <a:pt x="493" y="482"/>
                      </a:lnTo>
                      <a:lnTo>
                        <a:pt x="491" y="482"/>
                      </a:lnTo>
                      <a:lnTo>
                        <a:pt x="489" y="482"/>
                      </a:lnTo>
                      <a:lnTo>
                        <a:pt x="488" y="484"/>
                      </a:lnTo>
                      <a:lnTo>
                        <a:pt x="488" y="486"/>
                      </a:lnTo>
                      <a:lnTo>
                        <a:pt x="486" y="486"/>
                      </a:lnTo>
                      <a:lnTo>
                        <a:pt x="486" y="487"/>
                      </a:lnTo>
                      <a:lnTo>
                        <a:pt x="486" y="489"/>
                      </a:lnTo>
                      <a:lnTo>
                        <a:pt x="484" y="489"/>
                      </a:lnTo>
                      <a:lnTo>
                        <a:pt x="484" y="487"/>
                      </a:lnTo>
                      <a:lnTo>
                        <a:pt x="483" y="489"/>
                      </a:lnTo>
                      <a:lnTo>
                        <a:pt x="483" y="491"/>
                      </a:lnTo>
                      <a:lnTo>
                        <a:pt x="483" y="492"/>
                      </a:lnTo>
                      <a:lnTo>
                        <a:pt x="484" y="492"/>
                      </a:lnTo>
                      <a:lnTo>
                        <a:pt x="484" y="494"/>
                      </a:lnTo>
                      <a:lnTo>
                        <a:pt x="486" y="494"/>
                      </a:lnTo>
                      <a:lnTo>
                        <a:pt x="486" y="496"/>
                      </a:lnTo>
                      <a:lnTo>
                        <a:pt x="484" y="496"/>
                      </a:lnTo>
                      <a:lnTo>
                        <a:pt x="483" y="496"/>
                      </a:lnTo>
                      <a:lnTo>
                        <a:pt x="484" y="496"/>
                      </a:lnTo>
                      <a:lnTo>
                        <a:pt x="483" y="496"/>
                      </a:lnTo>
                      <a:lnTo>
                        <a:pt x="483" y="494"/>
                      </a:lnTo>
                      <a:lnTo>
                        <a:pt x="483" y="496"/>
                      </a:lnTo>
                      <a:lnTo>
                        <a:pt x="483" y="494"/>
                      </a:lnTo>
                      <a:lnTo>
                        <a:pt x="481" y="494"/>
                      </a:lnTo>
                      <a:lnTo>
                        <a:pt x="481" y="496"/>
                      </a:lnTo>
                      <a:lnTo>
                        <a:pt x="479" y="496"/>
                      </a:lnTo>
                      <a:lnTo>
                        <a:pt x="478" y="496"/>
                      </a:lnTo>
                      <a:lnTo>
                        <a:pt x="478" y="497"/>
                      </a:lnTo>
                      <a:lnTo>
                        <a:pt x="476" y="497"/>
                      </a:lnTo>
                      <a:lnTo>
                        <a:pt x="474" y="497"/>
                      </a:lnTo>
                      <a:lnTo>
                        <a:pt x="474" y="499"/>
                      </a:lnTo>
                      <a:lnTo>
                        <a:pt x="473" y="499"/>
                      </a:lnTo>
                      <a:lnTo>
                        <a:pt x="471" y="499"/>
                      </a:lnTo>
                      <a:lnTo>
                        <a:pt x="469" y="499"/>
                      </a:lnTo>
                      <a:lnTo>
                        <a:pt x="468" y="500"/>
                      </a:lnTo>
                      <a:lnTo>
                        <a:pt x="468" y="499"/>
                      </a:lnTo>
                      <a:lnTo>
                        <a:pt x="466" y="499"/>
                      </a:lnTo>
                      <a:lnTo>
                        <a:pt x="464" y="500"/>
                      </a:lnTo>
                      <a:lnTo>
                        <a:pt x="462" y="500"/>
                      </a:lnTo>
                      <a:lnTo>
                        <a:pt x="462" y="502"/>
                      </a:lnTo>
                      <a:lnTo>
                        <a:pt x="462" y="500"/>
                      </a:lnTo>
                      <a:lnTo>
                        <a:pt x="462" y="502"/>
                      </a:lnTo>
                      <a:lnTo>
                        <a:pt x="461" y="502"/>
                      </a:lnTo>
                      <a:lnTo>
                        <a:pt x="461" y="504"/>
                      </a:lnTo>
                      <a:lnTo>
                        <a:pt x="449" y="507"/>
                      </a:lnTo>
                      <a:lnTo>
                        <a:pt x="449" y="509"/>
                      </a:lnTo>
                      <a:lnTo>
                        <a:pt x="447" y="509"/>
                      </a:lnTo>
                      <a:lnTo>
                        <a:pt x="447" y="507"/>
                      </a:lnTo>
                      <a:lnTo>
                        <a:pt x="446" y="507"/>
                      </a:lnTo>
                      <a:lnTo>
                        <a:pt x="444" y="507"/>
                      </a:lnTo>
                      <a:lnTo>
                        <a:pt x="442" y="504"/>
                      </a:lnTo>
                      <a:lnTo>
                        <a:pt x="435" y="504"/>
                      </a:lnTo>
                      <a:lnTo>
                        <a:pt x="432" y="505"/>
                      </a:lnTo>
                      <a:lnTo>
                        <a:pt x="429" y="505"/>
                      </a:lnTo>
                      <a:lnTo>
                        <a:pt x="427" y="505"/>
                      </a:lnTo>
                      <a:lnTo>
                        <a:pt x="427" y="504"/>
                      </a:lnTo>
                      <a:lnTo>
                        <a:pt x="425" y="504"/>
                      </a:lnTo>
                      <a:lnTo>
                        <a:pt x="424" y="504"/>
                      </a:lnTo>
                      <a:lnTo>
                        <a:pt x="424" y="505"/>
                      </a:lnTo>
                      <a:lnTo>
                        <a:pt x="422" y="505"/>
                      </a:lnTo>
                      <a:lnTo>
                        <a:pt x="420" y="505"/>
                      </a:lnTo>
                      <a:lnTo>
                        <a:pt x="420" y="507"/>
                      </a:lnTo>
                      <a:lnTo>
                        <a:pt x="420" y="509"/>
                      </a:lnTo>
                      <a:lnTo>
                        <a:pt x="420" y="510"/>
                      </a:lnTo>
                      <a:lnTo>
                        <a:pt x="419" y="510"/>
                      </a:lnTo>
                      <a:lnTo>
                        <a:pt x="419" y="512"/>
                      </a:lnTo>
                      <a:lnTo>
                        <a:pt x="419" y="514"/>
                      </a:lnTo>
                      <a:lnTo>
                        <a:pt x="417" y="514"/>
                      </a:lnTo>
                      <a:lnTo>
                        <a:pt x="415" y="514"/>
                      </a:lnTo>
                      <a:lnTo>
                        <a:pt x="415" y="512"/>
                      </a:lnTo>
                      <a:lnTo>
                        <a:pt x="413" y="512"/>
                      </a:lnTo>
                      <a:lnTo>
                        <a:pt x="412" y="510"/>
                      </a:lnTo>
                      <a:lnTo>
                        <a:pt x="412" y="509"/>
                      </a:lnTo>
                      <a:lnTo>
                        <a:pt x="412" y="507"/>
                      </a:lnTo>
                      <a:lnTo>
                        <a:pt x="410" y="507"/>
                      </a:lnTo>
                      <a:lnTo>
                        <a:pt x="410" y="509"/>
                      </a:lnTo>
                      <a:lnTo>
                        <a:pt x="408" y="507"/>
                      </a:lnTo>
                      <a:lnTo>
                        <a:pt x="408" y="509"/>
                      </a:lnTo>
                      <a:lnTo>
                        <a:pt x="407" y="509"/>
                      </a:lnTo>
                      <a:lnTo>
                        <a:pt x="407" y="507"/>
                      </a:lnTo>
                      <a:lnTo>
                        <a:pt x="407" y="505"/>
                      </a:lnTo>
                      <a:lnTo>
                        <a:pt x="407" y="504"/>
                      </a:lnTo>
                      <a:lnTo>
                        <a:pt x="405" y="502"/>
                      </a:lnTo>
                      <a:lnTo>
                        <a:pt x="403" y="502"/>
                      </a:lnTo>
                      <a:lnTo>
                        <a:pt x="403" y="500"/>
                      </a:lnTo>
                      <a:lnTo>
                        <a:pt x="402" y="500"/>
                      </a:lnTo>
                      <a:lnTo>
                        <a:pt x="402" y="502"/>
                      </a:lnTo>
                      <a:lnTo>
                        <a:pt x="400" y="502"/>
                      </a:lnTo>
                      <a:lnTo>
                        <a:pt x="400" y="504"/>
                      </a:lnTo>
                      <a:lnTo>
                        <a:pt x="398" y="504"/>
                      </a:lnTo>
                      <a:lnTo>
                        <a:pt x="397" y="504"/>
                      </a:lnTo>
                      <a:lnTo>
                        <a:pt x="397" y="502"/>
                      </a:lnTo>
                      <a:lnTo>
                        <a:pt x="398" y="502"/>
                      </a:lnTo>
                      <a:lnTo>
                        <a:pt x="398" y="500"/>
                      </a:lnTo>
                      <a:lnTo>
                        <a:pt x="395" y="499"/>
                      </a:lnTo>
                      <a:lnTo>
                        <a:pt x="393" y="499"/>
                      </a:lnTo>
                      <a:lnTo>
                        <a:pt x="393" y="500"/>
                      </a:lnTo>
                      <a:lnTo>
                        <a:pt x="392" y="500"/>
                      </a:lnTo>
                      <a:lnTo>
                        <a:pt x="392" y="499"/>
                      </a:lnTo>
                      <a:lnTo>
                        <a:pt x="392" y="497"/>
                      </a:lnTo>
                      <a:lnTo>
                        <a:pt x="390" y="497"/>
                      </a:lnTo>
                      <a:lnTo>
                        <a:pt x="390" y="496"/>
                      </a:lnTo>
                      <a:lnTo>
                        <a:pt x="388" y="496"/>
                      </a:lnTo>
                      <a:lnTo>
                        <a:pt x="388" y="494"/>
                      </a:lnTo>
                      <a:lnTo>
                        <a:pt x="386" y="494"/>
                      </a:lnTo>
                      <a:lnTo>
                        <a:pt x="386" y="492"/>
                      </a:lnTo>
                      <a:lnTo>
                        <a:pt x="385" y="491"/>
                      </a:lnTo>
                      <a:lnTo>
                        <a:pt x="385" y="489"/>
                      </a:lnTo>
                      <a:lnTo>
                        <a:pt x="383" y="489"/>
                      </a:lnTo>
                      <a:lnTo>
                        <a:pt x="383" y="487"/>
                      </a:lnTo>
                      <a:lnTo>
                        <a:pt x="381" y="487"/>
                      </a:lnTo>
                      <a:lnTo>
                        <a:pt x="381" y="486"/>
                      </a:lnTo>
                      <a:lnTo>
                        <a:pt x="378" y="486"/>
                      </a:lnTo>
                      <a:lnTo>
                        <a:pt x="376" y="484"/>
                      </a:lnTo>
                      <a:lnTo>
                        <a:pt x="375" y="484"/>
                      </a:lnTo>
                      <a:lnTo>
                        <a:pt x="373" y="482"/>
                      </a:lnTo>
                      <a:lnTo>
                        <a:pt x="371" y="481"/>
                      </a:lnTo>
                      <a:lnTo>
                        <a:pt x="370" y="481"/>
                      </a:lnTo>
                      <a:lnTo>
                        <a:pt x="368" y="481"/>
                      </a:lnTo>
                      <a:lnTo>
                        <a:pt x="366" y="479"/>
                      </a:lnTo>
                      <a:lnTo>
                        <a:pt x="366" y="476"/>
                      </a:lnTo>
                      <a:lnTo>
                        <a:pt x="364" y="476"/>
                      </a:lnTo>
                      <a:lnTo>
                        <a:pt x="363" y="476"/>
                      </a:lnTo>
                      <a:lnTo>
                        <a:pt x="363" y="474"/>
                      </a:lnTo>
                      <a:lnTo>
                        <a:pt x="361" y="476"/>
                      </a:lnTo>
                      <a:lnTo>
                        <a:pt x="359" y="476"/>
                      </a:lnTo>
                      <a:lnTo>
                        <a:pt x="358" y="476"/>
                      </a:lnTo>
                      <a:lnTo>
                        <a:pt x="356" y="476"/>
                      </a:lnTo>
                      <a:lnTo>
                        <a:pt x="354" y="477"/>
                      </a:lnTo>
                      <a:lnTo>
                        <a:pt x="354" y="479"/>
                      </a:lnTo>
                      <a:lnTo>
                        <a:pt x="354" y="481"/>
                      </a:lnTo>
                      <a:lnTo>
                        <a:pt x="353" y="481"/>
                      </a:lnTo>
                      <a:lnTo>
                        <a:pt x="351" y="481"/>
                      </a:lnTo>
                      <a:lnTo>
                        <a:pt x="349" y="479"/>
                      </a:lnTo>
                      <a:lnTo>
                        <a:pt x="351" y="479"/>
                      </a:lnTo>
                      <a:lnTo>
                        <a:pt x="351" y="477"/>
                      </a:lnTo>
                      <a:lnTo>
                        <a:pt x="349" y="477"/>
                      </a:lnTo>
                      <a:lnTo>
                        <a:pt x="348" y="479"/>
                      </a:lnTo>
                      <a:lnTo>
                        <a:pt x="348" y="477"/>
                      </a:lnTo>
                      <a:lnTo>
                        <a:pt x="346" y="477"/>
                      </a:lnTo>
                      <a:lnTo>
                        <a:pt x="348" y="477"/>
                      </a:lnTo>
                      <a:lnTo>
                        <a:pt x="348" y="476"/>
                      </a:lnTo>
                      <a:lnTo>
                        <a:pt x="348" y="474"/>
                      </a:lnTo>
                      <a:lnTo>
                        <a:pt x="346" y="474"/>
                      </a:lnTo>
                      <a:lnTo>
                        <a:pt x="346" y="473"/>
                      </a:lnTo>
                      <a:lnTo>
                        <a:pt x="346" y="471"/>
                      </a:lnTo>
                      <a:lnTo>
                        <a:pt x="344" y="471"/>
                      </a:lnTo>
                      <a:lnTo>
                        <a:pt x="344" y="469"/>
                      </a:lnTo>
                      <a:lnTo>
                        <a:pt x="344" y="468"/>
                      </a:lnTo>
                      <a:lnTo>
                        <a:pt x="343" y="468"/>
                      </a:lnTo>
                      <a:lnTo>
                        <a:pt x="343" y="466"/>
                      </a:lnTo>
                      <a:lnTo>
                        <a:pt x="341" y="466"/>
                      </a:lnTo>
                      <a:lnTo>
                        <a:pt x="341" y="464"/>
                      </a:lnTo>
                      <a:lnTo>
                        <a:pt x="341" y="466"/>
                      </a:lnTo>
                      <a:lnTo>
                        <a:pt x="339" y="466"/>
                      </a:lnTo>
                      <a:lnTo>
                        <a:pt x="337" y="466"/>
                      </a:lnTo>
                      <a:lnTo>
                        <a:pt x="337" y="468"/>
                      </a:lnTo>
                      <a:lnTo>
                        <a:pt x="336" y="468"/>
                      </a:lnTo>
                      <a:lnTo>
                        <a:pt x="334" y="468"/>
                      </a:lnTo>
                      <a:lnTo>
                        <a:pt x="334" y="469"/>
                      </a:lnTo>
                      <a:lnTo>
                        <a:pt x="336" y="469"/>
                      </a:lnTo>
                      <a:lnTo>
                        <a:pt x="336" y="471"/>
                      </a:lnTo>
                      <a:lnTo>
                        <a:pt x="334" y="471"/>
                      </a:lnTo>
                      <a:lnTo>
                        <a:pt x="334" y="473"/>
                      </a:lnTo>
                      <a:lnTo>
                        <a:pt x="334" y="476"/>
                      </a:lnTo>
                      <a:lnTo>
                        <a:pt x="334" y="477"/>
                      </a:lnTo>
                      <a:lnTo>
                        <a:pt x="332" y="477"/>
                      </a:lnTo>
                      <a:lnTo>
                        <a:pt x="332" y="479"/>
                      </a:lnTo>
                      <a:lnTo>
                        <a:pt x="331" y="479"/>
                      </a:lnTo>
                      <a:lnTo>
                        <a:pt x="329" y="481"/>
                      </a:lnTo>
                      <a:lnTo>
                        <a:pt x="331" y="481"/>
                      </a:lnTo>
                      <a:lnTo>
                        <a:pt x="329" y="482"/>
                      </a:lnTo>
                      <a:lnTo>
                        <a:pt x="327" y="482"/>
                      </a:lnTo>
                      <a:lnTo>
                        <a:pt x="327" y="484"/>
                      </a:lnTo>
                      <a:lnTo>
                        <a:pt x="326" y="484"/>
                      </a:lnTo>
                      <a:lnTo>
                        <a:pt x="324" y="486"/>
                      </a:lnTo>
                      <a:lnTo>
                        <a:pt x="324" y="487"/>
                      </a:lnTo>
                      <a:lnTo>
                        <a:pt x="322" y="487"/>
                      </a:lnTo>
                      <a:lnTo>
                        <a:pt x="322" y="489"/>
                      </a:lnTo>
                      <a:lnTo>
                        <a:pt x="322" y="491"/>
                      </a:lnTo>
                      <a:lnTo>
                        <a:pt x="321" y="491"/>
                      </a:lnTo>
                      <a:lnTo>
                        <a:pt x="321" y="492"/>
                      </a:lnTo>
                      <a:lnTo>
                        <a:pt x="319" y="492"/>
                      </a:lnTo>
                      <a:lnTo>
                        <a:pt x="319" y="494"/>
                      </a:lnTo>
                      <a:lnTo>
                        <a:pt x="319" y="492"/>
                      </a:lnTo>
                      <a:lnTo>
                        <a:pt x="317" y="494"/>
                      </a:lnTo>
                      <a:lnTo>
                        <a:pt x="316" y="494"/>
                      </a:lnTo>
                      <a:lnTo>
                        <a:pt x="314" y="494"/>
                      </a:lnTo>
                      <a:lnTo>
                        <a:pt x="312" y="494"/>
                      </a:lnTo>
                      <a:lnTo>
                        <a:pt x="312" y="496"/>
                      </a:lnTo>
                      <a:lnTo>
                        <a:pt x="310" y="494"/>
                      </a:lnTo>
                      <a:lnTo>
                        <a:pt x="309" y="496"/>
                      </a:lnTo>
                      <a:lnTo>
                        <a:pt x="307" y="497"/>
                      </a:lnTo>
                      <a:lnTo>
                        <a:pt x="305" y="499"/>
                      </a:lnTo>
                      <a:lnTo>
                        <a:pt x="304" y="499"/>
                      </a:lnTo>
                      <a:lnTo>
                        <a:pt x="304" y="500"/>
                      </a:lnTo>
                      <a:lnTo>
                        <a:pt x="304" y="502"/>
                      </a:lnTo>
                      <a:close/>
                      <a:moveTo>
                        <a:pt x="849" y="1"/>
                      </a:moveTo>
                      <a:lnTo>
                        <a:pt x="849" y="0"/>
                      </a:lnTo>
                      <a:lnTo>
                        <a:pt x="851" y="0"/>
                      </a:lnTo>
                      <a:lnTo>
                        <a:pt x="851" y="1"/>
                      </a:lnTo>
                      <a:lnTo>
                        <a:pt x="849" y="1"/>
                      </a:lnTo>
                      <a:close/>
                      <a:moveTo>
                        <a:pt x="849" y="1"/>
                      </a:moveTo>
                      <a:lnTo>
                        <a:pt x="849" y="3"/>
                      </a:lnTo>
                      <a:lnTo>
                        <a:pt x="849" y="1"/>
                      </a:lnTo>
                      <a:close/>
                      <a:moveTo>
                        <a:pt x="848" y="3"/>
                      </a:moveTo>
                      <a:lnTo>
                        <a:pt x="849" y="3"/>
                      </a:lnTo>
                      <a:lnTo>
                        <a:pt x="849" y="4"/>
                      </a:lnTo>
                      <a:lnTo>
                        <a:pt x="848" y="4"/>
                      </a:lnTo>
                      <a:lnTo>
                        <a:pt x="848" y="6"/>
                      </a:lnTo>
                      <a:lnTo>
                        <a:pt x="848" y="4"/>
                      </a:lnTo>
                      <a:lnTo>
                        <a:pt x="848" y="6"/>
                      </a:lnTo>
                      <a:lnTo>
                        <a:pt x="846" y="6"/>
                      </a:lnTo>
                      <a:lnTo>
                        <a:pt x="848" y="6"/>
                      </a:lnTo>
                      <a:lnTo>
                        <a:pt x="846" y="6"/>
                      </a:lnTo>
                      <a:lnTo>
                        <a:pt x="844" y="6"/>
                      </a:lnTo>
                      <a:lnTo>
                        <a:pt x="842" y="6"/>
                      </a:lnTo>
                      <a:lnTo>
                        <a:pt x="844" y="6"/>
                      </a:lnTo>
                      <a:lnTo>
                        <a:pt x="844" y="4"/>
                      </a:lnTo>
                      <a:lnTo>
                        <a:pt x="846" y="4"/>
                      </a:lnTo>
                      <a:lnTo>
                        <a:pt x="844" y="4"/>
                      </a:lnTo>
                      <a:lnTo>
                        <a:pt x="846" y="4"/>
                      </a:lnTo>
                      <a:lnTo>
                        <a:pt x="846" y="3"/>
                      </a:lnTo>
                      <a:lnTo>
                        <a:pt x="848" y="3"/>
                      </a:lnTo>
                      <a:close/>
                      <a:moveTo>
                        <a:pt x="846" y="4"/>
                      </a:moveTo>
                      <a:lnTo>
                        <a:pt x="844" y="4"/>
                      </a:lnTo>
                      <a:lnTo>
                        <a:pt x="846" y="4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6" name="Freeform 3"/>
                <p:cNvSpPr>
                  <a:spLocks noChangeAspect="1" noEditPoints="1"/>
                </p:cNvSpPr>
                <p:nvPr/>
              </p:nvSpPr>
              <p:spPr bwMode="auto">
                <a:xfrm>
                  <a:off x="6486905" y="2204769"/>
                  <a:ext cx="588835" cy="351247"/>
                </a:xfrm>
                <a:custGeom>
                  <a:avLst/>
                  <a:gdLst>
                    <a:gd name="T0" fmla="*/ 2147483647 w 377"/>
                    <a:gd name="T1" fmla="*/ 2147483647 h 210"/>
                    <a:gd name="T2" fmla="*/ 2147483647 w 377"/>
                    <a:gd name="T3" fmla="*/ 2147483647 h 210"/>
                    <a:gd name="T4" fmla="*/ 2147483647 w 377"/>
                    <a:gd name="T5" fmla="*/ 2147483647 h 210"/>
                    <a:gd name="T6" fmla="*/ 2147483647 w 377"/>
                    <a:gd name="T7" fmla="*/ 2147483647 h 210"/>
                    <a:gd name="T8" fmla="*/ 2147483647 w 377"/>
                    <a:gd name="T9" fmla="*/ 2147483647 h 210"/>
                    <a:gd name="T10" fmla="*/ 2147483647 w 377"/>
                    <a:gd name="T11" fmla="*/ 2147483647 h 210"/>
                    <a:gd name="T12" fmla="*/ 2147483647 w 377"/>
                    <a:gd name="T13" fmla="*/ 2147483647 h 210"/>
                    <a:gd name="T14" fmla="*/ 2147483647 w 377"/>
                    <a:gd name="T15" fmla="*/ 2147483647 h 210"/>
                    <a:gd name="T16" fmla="*/ 2147483647 w 377"/>
                    <a:gd name="T17" fmla="*/ 2147483647 h 210"/>
                    <a:gd name="T18" fmla="*/ 2147483647 w 377"/>
                    <a:gd name="T19" fmla="*/ 2147483647 h 210"/>
                    <a:gd name="T20" fmla="*/ 2147483647 w 377"/>
                    <a:gd name="T21" fmla="*/ 2147483647 h 210"/>
                    <a:gd name="T22" fmla="*/ 2147483647 w 377"/>
                    <a:gd name="T23" fmla="*/ 2147483647 h 210"/>
                    <a:gd name="T24" fmla="*/ 2147483647 w 377"/>
                    <a:gd name="T25" fmla="*/ 2147483647 h 210"/>
                    <a:gd name="T26" fmla="*/ 2147483647 w 377"/>
                    <a:gd name="T27" fmla="*/ 2147483647 h 210"/>
                    <a:gd name="T28" fmla="*/ 2147483647 w 377"/>
                    <a:gd name="T29" fmla="*/ 2147483647 h 210"/>
                    <a:gd name="T30" fmla="*/ 2147483647 w 377"/>
                    <a:gd name="T31" fmla="*/ 2147483647 h 210"/>
                    <a:gd name="T32" fmla="*/ 2147483647 w 377"/>
                    <a:gd name="T33" fmla="*/ 2147483647 h 210"/>
                    <a:gd name="T34" fmla="*/ 2147483647 w 377"/>
                    <a:gd name="T35" fmla="*/ 2147483647 h 210"/>
                    <a:gd name="T36" fmla="*/ 2147483647 w 377"/>
                    <a:gd name="T37" fmla="*/ 2147483647 h 210"/>
                    <a:gd name="T38" fmla="*/ 2147483647 w 377"/>
                    <a:gd name="T39" fmla="*/ 2147483647 h 210"/>
                    <a:gd name="T40" fmla="*/ 2147483647 w 377"/>
                    <a:gd name="T41" fmla="*/ 2147483647 h 210"/>
                    <a:gd name="T42" fmla="*/ 2147483647 w 377"/>
                    <a:gd name="T43" fmla="*/ 2147483647 h 210"/>
                    <a:gd name="T44" fmla="*/ 2147483647 w 377"/>
                    <a:gd name="T45" fmla="*/ 2147483647 h 210"/>
                    <a:gd name="T46" fmla="*/ 2147483647 w 377"/>
                    <a:gd name="T47" fmla="*/ 2147483647 h 210"/>
                    <a:gd name="T48" fmla="*/ 2147483647 w 377"/>
                    <a:gd name="T49" fmla="*/ 2147483647 h 210"/>
                    <a:gd name="T50" fmla="*/ 2147483647 w 377"/>
                    <a:gd name="T51" fmla="*/ 2147483647 h 210"/>
                    <a:gd name="T52" fmla="*/ 2147483647 w 377"/>
                    <a:gd name="T53" fmla="*/ 2147483647 h 210"/>
                    <a:gd name="T54" fmla="*/ 2147483647 w 377"/>
                    <a:gd name="T55" fmla="*/ 2147483647 h 210"/>
                    <a:gd name="T56" fmla="*/ 2147483647 w 377"/>
                    <a:gd name="T57" fmla="*/ 2147483647 h 210"/>
                    <a:gd name="T58" fmla="*/ 2147483647 w 377"/>
                    <a:gd name="T59" fmla="*/ 2147483647 h 210"/>
                    <a:gd name="T60" fmla="*/ 2147483647 w 377"/>
                    <a:gd name="T61" fmla="*/ 2147483647 h 210"/>
                    <a:gd name="T62" fmla="*/ 2147483647 w 377"/>
                    <a:gd name="T63" fmla="*/ 2147483647 h 210"/>
                    <a:gd name="T64" fmla="*/ 2147483647 w 377"/>
                    <a:gd name="T65" fmla="*/ 2147483647 h 210"/>
                    <a:gd name="T66" fmla="*/ 2147483647 w 377"/>
                    <a:gd name="T67" fmla="*/ 2147483647 h 210"/>
                    <a:gd name="T68" fmla="*/ 2147483647 w 377"/>
                    <a:gd name="T69" fmla="*/ 2147483647 h 210"/>
                    <a:gd name="T70" fmla="*/ 2147483647 w 377"/>
                    <a:gd name="T71" fmla="*/ 2147483647 h 210"/>
                    <a:gd name="T72" fmla="*/ 2147483647 w 377"/>
                    <a:gd name="T73" fmla="*/ 2147483647 h 210"/>
                    <a:gd name="T74" fmla="*/ 2147483647 w 377"/>
                    <a:gd name="T75" fmla="*/ 2147483647 h 210"/>
                    <a:gd name="T76" fmla="*/ 2147483647 w 377"/>
                    <a:gd name="T77" fmla="*/ 2147483647 h 210"/>
                    <a:gd name="T78" fmla="*/ 2147483647 w 377"/>
                    <a:gd name="T79" fmla="*/ 2147483647 h 210"/>
                    <a:gd name="T80" fmla="*/ 2147483647 w 377"/>
                    <a:gd name="T81" fmla="*/ 2147483647 h 210"/>
                    <a:gd name="T82" fmla="*/ 2147483647 w 377"/>
                    <a:gd name="T83" fmla="*/ 2147483647 h 210"/>
                    <a:gd name="T84" fmla="*/ 2147483647 w 377"/>
                    <a:gd name="T85" fmla="*/ 2147483647 h 210"/>
                    <a:gd name="T86" fmla="*/ 2147483647 w 377"/>
                    <a:gd name="T87" fmla="*/ 2147483647 h 210"/>
                    <a:gd name="T88" fmla="*/ 2147483647 w 377"/>
                    <a:gd name="T89" fmla="*/ 2147483647 h 210"/>
                    <a:gd name="T90" fmla="*/ 2147483647 w 377"/>
                    <a:gd name="T91" fmla="*/ 2147483647 h 210"/>
                    <a:gd name="T92" fmla="*/ 2147483647 w 377"/>
                    <a:gd name="T93" fmla="*/ 2147483647 h 210"/>
                    <a:gd name="T94" fmla="*/ 2147483647 w 377"/>
                    <a:gd name="T95" fmla="*/ 2147483647 h 210"/>
                    <a:gd name="T96" fmla="*/ 2147483647 w 377"/>
                    <a:gd name="T97" fmla="*/ 2147483647 h 210"/>
                    <a:gd name="T98" fmla="*/ 2147483647 w 377"/>
                    <a:gd name="T99" fmla="*/ 2147483647 h 210"/>
                    <a:gd name="T100" fmla="*/ 2147483647 w 377"/>
                    <a:gd name="T101" fmla="*/ 2147483647 h 210"/>
                    <a:gd name="T102" fmla="*/ 2147483647 w 377"/>
                    <a:gd name="T103" fmla="*/ 2147483647 h 210"/>
                    <a:gd name="T104" fmla="*/ 2147483647 w 377"/>
                    <a:gd name="T105" fmla="*/ 2147483647 h 210"/>
                    <a:gd name="T106" fmla="*/ 2147483647 w 377"/>
                    <a:gd name="T107" fmla="*/ 2147483647 h 210"/>
                    <a:gd name="T108" fmla="*/ 2147483647 w 377"/>
                    <a:gd name="T109" fmla="*/ 2147483647 h 210"/>
                    <a:gd name="T110" fmla="*/ 2147483647 w 377"/>
                    <a:gd name="T111" fmla="*/ 2147483647 h 210"/>
                    <a:gd name="T112" fmla="*/ 2147483647 w 377"/>
                    <a:gd name="T113" fmla="*/ 2147483647 h 210"/>
                    <a:gd name="T114" fmla="*/ 2147483647 w 377"/>
                    <a:gd name="T115" fmla="*/ 2147483647 h 210"/>
                    <a:gd name="T116" fmla="*/ 2147483647 w 377"/>
                    <a:gd name="T117" fmla="*/ 2147483647 h 210"/>
                    <a:gd name="T118" fmla="*/ 2147483647 w 377"/>
                    <a:gd name="T119" fmla="*/ 2147483647 h 210"/>
                    <a:gd name="T120" fmla="*/ 2147483647 w 377"/>
                    <a:gd name="T121" fmla="*/ 2147483647 h 21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77"/>
                    <a:gd name="T184" fmla="*/ 0 h 210"/>
                    <a:gd name="T185" fmla="*/ 377 w 377"/>
                    <a:gd name="T186" fmla="*/ 210 h 21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77" h="210">
                      <a:moveTo>
                        <a:pt x="21" y="36"/>
                      </a:move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2" y="33"/>
                      </a:lnTo>
                      <a:lnTo>
                        <a:pt x="22" y="34"/>
                      </a:lnTo>
                      <a:lnTo>
                        <a:pt x="21" y="34"/>
                      </a:lnTo>
                      <a:lnTo>
                        <a:pt x="19" y="34"/>
                      </a:lnTo>
                      <a:lnTo>
                        <a:pt x="17" y="34"/>
                      </a:lnTo>
                      <a:lnTo>
                        <a:pt x="15" y="34"/>
                      </a:lnTo>
                      <a:lnTo>
                        <a:pt x="15" y="33"/>
                      </a:lnTo>
                      <a:lnTo>
                        <a:pt x="17" y="33"/>
                      </a:lnTo>
                      <a:lnTo>
                        <a:pt x="17" y="31"/>
                      </a:lnTo>
                      <a:lnTo>
                        <a:pt x="19" y="31"/>
                      </a:lnTo>
                      <a:lnTo>
                        <a:pt x="21" y="33"/>
                      </a:lnTo>
                      <a:lnTo>
                        <a:pt x="22" y="33"/>
                      </a:lnTo>
                      <a:lnTo>
                        <a:pt x="22" y="31"/>
                      </a:lnTo>
                      <a:lnTo>
                        <a:pt x="22" y="29"/>
                      </a:lnTo>
                      <a:lnTo>
                        <a:pt x="24" y="29"/>
                      </a:lnTo>
                      <a:lnTo>
                        <a:pt x="26" y="29"/>
                      </a:lnTo>
                      <a:lnTo>
                        <a:pt x="27" y="29"/>
                      </a:lnTo>
                      <a:lnTo>
                        <a:pt x="26" y="29"/>
                      </a:lnTo>
                      <a:lnTo>
                        <a:pt x="26" y="31"/>
                      </a:lnTo>
                      <a:lnTo>
                        <a:pt x="26" y="33"/>
                      </a:lnTo>
                      <a:lnTo>
                        <a:pt x="26" y="34"/>
                      </a:lnTo>
                      <a:lnTo>
                        <a:pt x="26" y="36"/>
                      </a:lnTo>
                      <a:lnTo>
                        <a:pt x="27" y="38"/>
                      </a:lnTo>
                      <a:lnTo>
                        <a:pt x="29" y="38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2" y="34"/>
                      </a:lnTo>
                      <a:lnTo>
                        <a:pt x="34" y="34"/>
                      </a:lnTo>
                      <a:lnTo>
                        <a:pt x="36" y="36"/>
                      </a:lnTo>
                      <a:lnTo>
                        <a:pt x="36" y="38"/>
                      </a:lnTo>
                      <a:lnTo>
                        <a:pt x="37" y="39"/>
                      </a:lnTo>
                      <a:lnTo>
                        <a:pt x="36" y="39"/>
                      </a:lnTo>
                      <a:lnTo>
                        <a:pt x="37" y="39"/>
                      </a:lnTo>
                      <a:lnTo>
                        <a:pt x="39" y="38"/>
                      </a:lnTo>
                      <a:lnTo>
                        <a:pt x="39" y="39"/>
                      </a:lnTo>
                      <a:lnTo>
                        <a:pt x="41" y="39"/>
                      </a:lnTo>
                      <a:lnTo>
                        <a:pt x="41" y="41"/>
                      </a:lnTo>
                      <a:lnTo>
                        <a:pt x="42" y="41"/>
                      </a:lnTo>
                      <a:lnTo>
                        <a:pt x="42" y="43"/>
                      </a:lnTo>
                      <a:lnTo>
                        <a:pt x="44" y="43"/>
                      </a:lnTo>
                      <a:lnTo>
                        <a:pt x="46" y="43"/>
                      </a:lnTo>
                      <a:lnTo>
                        <a:pt x="48" y="43"/>
                      </a:lnTo>
                      <a:lnTo>
                        <a:pt x="49" y="43"/>
                      </a:lnTo>
                      <a:lnTo>
                        <a:pt x="51" y="43"/>
                      </a:lnTo>
                      <a:lnTo>
                        <a:pt x="53" y="43"/>
                      </a:lnTo>
                      <a:lnTo>
                        <a:pt x="54" y="43"/>
                      </a:lnTo>
                      <a:lnTo>
                        <a:pt x="56" y="43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6"/>
                      </a:lnTo>
                      <a:lnTo>
                        <a:pt x="61" y="46"/>
                      </a:lnTo>
                      <a:lnTo>
                        <a:pt x="61" y="44"/>
                      </a:lnTo>
                      <a:lnTo>
                        <a:pt x="63" y="44"/>
                      </a:lnTo>
                      <a:lnTo>
                        <a:pt x="63" y="43"/>
                      </a:lnTo>
                      <a:lnTo>
                        <a:pt x="64" y="43"/>
                      </a:lnTo>
                      <a:lnTo>
                        <a:pt x="64" y="41"/>
                      </a:lnTo>
                      <a:lnTo>
                        <a:pt x="66" y="39"/>
                      </a:lnTo>
                      <a:lnTo>
                        <a:pt x="68" y="39"/>
                      </a:lnTo>
                      <a:lnTo>
                        <a:pt x="68" y="38"/>
                      </a:lnTo>
                      <a:lnTo>
                        <a:pt x="68" y="39"/>
                      </a:lnTo>
                      <a:lnTo>
                        <a:pt x="68" y="41"/>
                      </a:lnTo>
                      <a:lnTo>
                        <a:pt x="70" y="41"/>
                      </a:lnTo>
                      <a:lnTo>
                        <a:pt x="71" y="41"/>
                      </a:lnTo>
                      <a:lnTo>
                        <a:pt x="71" y="39"/>
                      </a:lnTo>
                      <a:lnTo>
                        <a:pt x="70" y="39"/>
                      </a:lnTo>
                      <a:lnTo>
                        <a:pt x="70" y="38"/>
                      </a:lnTo>
                      <a:lnTo>
                        <a:pt x="71" y="38"/>
                      </a:lnTo>
                      <a:lnTo>
                        <a:pt x="71" y="36"/>
                      </a:lnTo>
                      <a:lnTo>
                        <a:pt x="73" y="36"/>
                      </a:lnTo>
                      <a:lnTo>
                        <a:pt x="75" y="36"/>
                      </a:lnTo>
                      <a:lnTo>
                        <a:pt x="75" y="34"/>
                      </a:lnTo>
                      <a:lnTo>
                        <a:pt x="76" y="34"/>
                      </a:lnTo>
                      <a:lnTo>
                        <a:pt x="78" y="34"/>
                      </a:lnTo>
                      <a:lnTo>
                        <a:pt x="80" y="34"/>
                      </a:lnTo>
                      <a:lnTo>
                        <a:pt x="80" y="33"/>
                      </a:lnTo>
                      <a:lnTo>
                        <a:pt x="81" y="34"/>
                      </a:lnTo>
                      <a:lnTo>
                        <a:pt x="83" y="34"/>
                      </a:lnTo>
                      <a:lnTo>
                        <a:pt x="83" y="33"/>
                      </a:lnTo>
                      <a:lnTo>
                        <a:pt x="85" y="33"/>
                      </a:lnTo>
                      <a:lnTo>
                        <a:pt x="85" y="31"/>
                      </a:lnTo>
                      <a:lnTo>
                        <a:pt x="86" y="31"/>
                      </a:lnTo>
                      <a:lnTo>
                        <a:pt x="86" y="29"/>
                      </a:lnTo>
                      <a:lnTo>
                        <a:pt x="88" y="29"/>
                      </a:lnTo>
                      <a:lnTo>
                        <a:pt x="88" y="28"/>
                      </a:lnTo>
                      <a:lnTo>
                        <a:pt x="86" y="28"/>
                      </a:lnTo>
                      <a:lnTo>
                        <a:pt x="88" y="28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88" y="26"/>
                      </a:lnTo>
                      <a:lnTo>
                        <a:pt x="90" y="24"/>
                      </a:lnTo>
                      <a:lnTo>
                        <a:pt x="91" y="24"/>
                      </a:lnTo>
                      <a:lnTo>
                        <a:pt x="93" y="24"/>
                      </a:lnTo>
                      <a:lnTo>
                        <a:pt x="95" y="24"/>
                      </a:lnTo>
                      <a:lnTo>
                        <a:pt x="95" y="23"/>
                      </a:lnTo>
                      <a:lnTo>
                        <a:pt x="97" y="23"/>
                      </a:lnTo>
                      <a:lnTo>
                        <a:pt x="97" y="21"/>
                      </a:lnTo>
                      <a:lnTo>
                        <a:pt x="95" y="23"/>
                      </a:lnTo>
                      <a:lnTo>
                        <a:pt x="95" y="21"/>
                      </a:lnTo>
                      <a:lnTo>
                        <a:pt x="93" y="20"/>
                      </a:lnTo>
                      <a:lnTo>
                        <a:pt x="95" y="20"/>
                      </a:lnTo>
                      <a:lnTo>
                        <a:pt x="93" y="18"/>
                      </a:lnTo>
                      <a:lnTo>
                        <a:pt x="95" y="18"/>
                      </a:lnTo>
                      <a:lnTo>
                        <a:pt x="95" y="16"/>
                      </a:lnTo>
                      <a:lnTo>
                        <a:pt x="97" y="15"/>
                      </a:lnTo>
                      <a:lnTo>
                        <a:pt x="98" y="15"/>
                      </a:lnTo>
                      <a:lnTo>
                        <a:pt x="100" y="15"/>
                      </a:lnTo>
                      <a:lnTo>
                        <a:pt x="102" y="15"/>
                      </a:lnTo>
                      <a:lnTo>
                        <a:pt x="102" y="16"/>
                      </a:lnTo>
                      <a:lnTo>
                        <a:pt x="103" y="16"/>
                      </a:lnTo>
                      <a:lnTo>
                        <a:pt x="105" y="16"/>
                      </a:lnTo>
                      <a:lnTo>
                        <a:pt x="107" y="15"/>
                      </a:lnTo>
                      <a:lnTo>
                        <a:pt x="108" y="15"/>
                      </a:lnTo>
                      <a:lnTo>
                        <a:pt x="110" y="13"/>
                      </a:lnTo>
                      <a:lnTo>
                        <a:pt x="110" y="11"/>
                      </a:lnTo>
                      <a:lnTo>
                        <a:pt x="112" y="11"/>
                      </a:lnTo>
                      <a:lnTo>
                        <a:pt x="113" y="11"/>
                      </a:lnTo>
                      <a:lnTo>
                        <a:pt x="113" y="13"/>
                      </a:lnTo>
                      <a:lnTo>
                        <a:pt x="115" y="11"/>
                      </a:lnTo>
                      <a:lnTo>
                        <a:pt x="120" y="10"/>
                      </a:lnTo>
                      <a:lnTo>
                        <a:pt x="122" y="10"/>
                      </a:lnTo>
                      <a:lnTo>
                        <a:pt x="125" y="8"/>
                      </a:lnTo>
                      <a:lnTo>
                        <a:pt x="129" y="8"/>
                      </a:lnTo>
                      <a:lnTo>
                        <a:pt x="130" y="5"/>
                      </a:lnTo>
                      <a:lnTo>
                        <a:pt x="132" y="5"/>
                      </a:lnTo>
                      <a:lnTo>
                        <a:pt x="134" y="5"/>
                      </a:lnTo>
                      <a:lnTo>
                        <a:pt x="135" y="3"/>
                      </a:lnTo>
                      <a:lnTo>
                        <a:pt x="137" y="3"/>
                      </a:lnTo>
                      <a:lnTo>
                        <a:pt x="139" y="3"/>
                      </a:lnTo>
                      <a:lnTo>
                        <a:pt x="140" y="3"/>
                      </a:lnTo>
                      <a:lnTo>
                        <a:pt x="142" y="1"/>
                      </a:lnTo>
                      <a:lnTo>
                        <a:pt x="142" y="0"/>
                      </a:lnTo>
                      <a:lnTo>
                        <a:pt x="144" y="0"/>
                      </a:lnTo>
                      <a:lnTo>
                        <a:pt x="146" y="0"/>
                      </a:lnTo>
                      <a:lnTo>
                        <a:pt x="146" y="1"/>
                      </a:lnTo>
                      <a:lnTo>
                        <a:pt x="147" y="1"/>
                      </a:lnTo>
                      <a:lnTo>
                        <a:pt x="149" y="1"/>
                      </a:lnTo>
                      <a:lnTo>
                        <a:pt x="151" y="1"/>
                      </a:lnTo>
                      <a:lnTo>
                        <a:pt x="149" y="6"/>
                      </a:lnTo>
                      <a:lnTo>
                        <a:pt x="152" y="11"/>
                      </a:lnTo>
                      <a:lnTo>
                        <a:pt x="151" y="11"/>
                      </a:lnTo>
                      <a:lnTo>
                        <a:pt x="149" y="11"/>
                      </a:lnTo>
                      <a:lnTo>
                        <a:pt x="144" y="16"/>
                      </a:lnTo>
                      <a:lnTo>
                        <a:pt x="140" y="18"/>
                      </a:lnTo>
                      <a:lnTo>
                        <a:pt x="140" y="21"/>
                      </a:lnTo>
                      <a:lnTo>
                        <a:pt x="137" y="24"/>
                      </a:lnTo>
                      <a:lnTo>
                        <a:pt x="132" y="28"/>
                      </a:lnTo>
                      <a:lnTo>
                        <a:pt x="129" y="34"/>
                      </a:lnTo>
                      <a:lnTo>
                        <a:pt x="129" y="36"/>
                      </a:lnTo>
                      <a:lnTo>
                        <a:pt x="129" y="38"/>
                      </a:lnTo>
                      <a:lnTo>
                        <a:pt x="129" y="39"/>
                      </a:lnTo>
                      <a:lnTo>
                        <a:pt x="130" y="41"/>
                      </a:lnTo>
                      <a:lnTo>
                        <a:pt x="129" y="43"/>
                      </a:lnTo>
                      <a:lnTo>
                        <a:pt x="130" y="43"/>
                      </a:lnTo>
                      <a:lnTo>
                        <a:pt x="130" y="44"/>
                      </a:lnTo>
                      <a:lnTo>
                        <a:pt x="130" y="46"/>
                      </a:lnTo>
                      <a:lnTo>
                        <a:pt x="129" y="46"/>
                      </a:lnTo>
                      <a:lnTo>
                        <a:pt x="129" y="47"/>
                      </a:lnTo>
                      <a:lnTo>
                        <a:pt x="127" y="47"/>
                      </a:lnTo>
                      <a:lnTo>
                        <a:pt x="125" y="47"/>
                      </a:lnTo>
                      <a:lnTo>
                        <a:pt x="124" y="47"/>
                      </a:lnTo>
                      <a:lnTo>
                        <a:pt x="122" y="47"/>
                      </a:lnTo>
                      <a:lnTo>
                        <a:pt x="122" y="49"/>
                      </a:lnTo>
                      <a:lnTo>
                        <a:pt x="122" y="51"/>
                      </a:lnTo>
                      <a:lnTo>
                        <a:pt x="122" y="52"/>
                      </a:lnTo>
                      <a:lnTo>
                        <a:pt x="122" y="54"/>
                      </a:lnTo>
                      <a:lnTo>
                        <a:pt x="122" y="56"/>
                      </a:lnTo>
                      <a:lnTo>
                        <a:pt x="122" y="57"/>
                      </a:lnTo>
                      <a:lnTo>
                        <a:pt x="122" y="59"/>
                      </a:lnTo>
                      <a:lnTo>
                        <a:pt x="122" y="61"/>
                      </a:lnTo>
                      <a:lnTo>
                        <a:pt x="122" y="62"/>
                      </a:lnTo>
                      <a:lnTo>
                        <a:pt x="125" y="61"/>
                      </a:lnTo>
                      <a:lnTo>
                        <a:pt x="127" y="61"/>
                      </a:lnTo>
                      <a:lnTo>
                        <a:pt x="129" y="61"/>
                      </a:lnTo>
                      <a:lnTo>
                        <a:pt x="130" y="61"/>
                      </a:lnTo>
                      <a:lnTo>
                        <a:pt x="132" y="61"/>
                      </a:lnTo>
                      <a:lnTo>
                        <a:pt x="132" y="62"/>
                      </a:lnTo>
                      <a:lnTo>
                        <a:pt x="134" y="62"/>
                      </a:lnTo>
                      <a:lnTo>
                        <a:pt x="137" y="61"/>
                      </a:lnTo>
                      <a:lnTo>
                        <a:pt x="137" y="62"/>
                      </a:lnTo>
                      <a:lnTo>
                        <a:pt x="139" y="62"/>
                      </a:lnTo>
                      <a:lnTo>
                        <a:pt x="140" y="64"/>
                      </a:lnTo>
                      <a:lnTo>
                        <a:pt x="142" y="64"/>
                      </a:lnTo>
                      <a:lnTo>
                        <a:pt x="142" y="66"/>
                      </a:lnTo>
                      <a:lnTo>
                        <a:pt x="142" y="67"/>
                      </a:lnTo>
                      <a:lnTo>
                        <a:pt x="140" y="69"/>
                      </a:lnTo>
                      <a:lnTo>
                        <a:pt x="142" y="69"/>
                      </a:lnTo>
                      <a:lnTo>
                        <a:pt x="142" y="70"/>
                      </a:lnTo>
                      <a:lnTo>
                        <a:pt x="142" y="72"/>
                      </a:lnTo>
                      <a:lnTo>
                        <a:pt x="144" y="72"/>
                      </a:lnTo>
                      <a:lnTo>
                        <a:pt x="144" y="74"/>
                      </a:lnTo>
                      <a:lnTo>
                        <a:pt x="146" y="74"/>
                      </a:lnTo>
                      <a:lnTo>
                        <a:pt x="147" y="74"/>
                      </a:lnTo>
                      <a:lnTo>
                        <a:pt x="149" y="74"/>
                      </a:lnTo>
                      <a:lnTo>
                        <a:pt x="149" y="72"/>
                      </a:lnTo>
                      <a:lnTo>
                        <a:pt x="151" y="70"/>
                      </a:lnTo>
                      <a:lnTo>
                        <a:pt x="152" y="70"/>
                      </a:lnTo>
                      <a:lnTo>
                        <a:pt x="152" y="69"/>
                      </a:lnTo>
                      <a:lnTo>
                        <a:pt x="154" y="69"/>
                      </a:lnTo>
                      <a:lnTo>
                        <a:pt x="154" y="70"/>
                      </a:lnTo>
                      <a:lnTo>
                        <a:pt x="156" y="70"/>
                      </a:lnTo>
                      <a:lnTo>
                        <a:pt x="157" y="72"/>
                      </a:lnTo>
                      <a:lnTo>
                        <a:pt x="159" y="72"/>
                      </a:lnTo>
                      <a:lnTo>
                        <a:pt x="159" y="70"/>
                      </a:lnTo>
                      <a:lnTo>
                        <a:pt x="161" y="70"/>
                      </a:lnTo>
                      <a:lnTo>
                        <a:pt x="162" y="69"/>
                      </a:lnTo>
                      <a:lnTo>
                        <a:pt x="162" y="67"/>
                      </a:lnTo>
                      <a:lnTo>
                        <a:pt x="161" y="67"/>
                      </a:lnTo>
                      <a:lnTo>
                        <a:pt x="164" y="66"/>
                      </a:lnTo>
                      <a:lnTo>
                        <a:pt x="166" y="62"/>
                      </a:lnTo>
                      <a:lnTo>
                        <a:pt x="167" y="62"/>
                      </a:lnTo>
                      <a:lnTo>
                        <a:pt x="169" y="62"/>
                      </a:lnTo>
                      <a:lnTo>
                        <a:pt x="171" y="70"/>
                      </a:lnTo>
                      <a:lnTo>
                        <a:pt x="176" y="67"/>
                      </a:lnTo>
                      <a:lnTo>
                        <a:pt x="179" y="66"/>
                      </a:lnTo>
                      <a:lnTo>
                        <a:pt x="183" y="64"/>
                      </a:lnTo>
                      <a:lnTo>
                        <a:pt x="184" y="64"/>
                      </a:lnTo>
                      <a:lnTo>
                        <a:pt x="184" y="66"/>
                      </a:lnTo>
                      <a:lnTo>
                        <a:pt x="184" y="67"/>
                      </a:lnTo>
                      <a:lnTo>
                        <a:pt x="186" y="67"/>
                      </a:lnTo>
                      <a:lnTo>
                        <a:pt x="188" y="67"/>
                      </a:lnTo>
                      <a:lnTo>
                        <a:pt x="188" y="69"/>
                      </a:lnTo>
                      <a:lnTo>
                        <a:pt x="189" y="69"/>
                      </a:lnTo>
                      <a:lnTo>
                        <a:pt x="188" y="70"/>
                      </a:lnTo>
                      <a:lnTo>
                        <a:pt x="188" y="72"/>
                      </a:lnTo>
                      <a:lnTo>
                        <a:pt x="189" y="72"/>
                      </a:lnTo>
                      <a:lnTo>
                        <a:pt x="191" y="72"/>
                      </a:lnTo>
                      <a:lnTo>
                        <a:pt x="193" y="72"/>
                      </a:lnTo>
                      <a:lnTo>
                        <a:pt x="193" y="74"/>
                      </a:lnTo>
                      <a:lnTo>
                        <a:pt x="193" y="75"/>
                      </a:lnTo>
                      <a:lnTo>
                        <a:pt x="191" y="75"/>
                      </a:lnTo>
                      <a:lnTo>
                        <a:pt x="191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9" y="82"/>
                      </a:lnTo>
                      <a:lnTo>
                        <a:pt x="189" y="84"/>
                      </a:lnTo>
                      <a:lnTo>
                        <a:pt x="189" y="85"/>
                      </a:lnTo>
                      <a:lnTo>
                        <a:pt x="191" y="87"/>
                      </a:lnTo>
                      <a:lnTo>
                        <a:pt x="193" y="87"/>
                      </a:lnTo>
                      <a:lnTo>
                        <a:pt x="194" y="89"/>
                      </a:lnTo>
                      <a:lnTo>
                        <a:pt x="194" y="87"/>
                      </a:lnTo>
                      <a:lnTo>
                        <a:pt x="196" y="87"/>
                      </a:lnTo>
                      <a:lnTo>
                        <a:pt x="196" y="85"/>
                      </a:lnTo>
                      <a:lnTo>
                        <a:pt x="196" y="84"/>
                      </a:lnTo>
                      <a:lnTo>
                        <a:pt x="196" y="82"/>
                      </a:lnTo>
                      <a:lnTo>
                        <a:pt x="198" y="82"/>
                      </a:lnTo>
                      <a:lnTo>
                        <a:pt x="198" y="84"/>
                      </a:lnTo>
                      <a:lnTo>
                        <a:pt x="200" y="84"/>
                      </a:lnTo>
                      <a:lnTo>
                        <a:pt x="201" y="84"/>
                      </a:lnTo>
                      <a:lnTo>
                        <a:pt x="203" y="84"/>
                      </a:lnTo>
                      <a:lnTo>
                        <a:pt x="205" y="84"/>
                      </a:lnTo>
                      <a:lnTo>
                        <a:pt x="208" y="82"/>
                      </a:lnTo>
                      <a:lnTo>
                        <a:pt x="210" y="82"/>
                      </a:lnTo>
                      <a:lnTo>
                        <a:pt x="210" y="80"/>
                      </a:lnTo>
                      <a:lnTo>
                        <a:pt x="210" y="79"/>
                      </a:lnTo>
                      <a:lnTo>
                        <a:pt x="211" y="77"/>
                      </a:lnTo>
                      <a:lnTo>
                        <a:pt x="211" y="75"/>
                      </a:lnTo>
                      <a:lnTo>
                        <a:pt x="210" y="75"/>
                      </a:lnTo>
                      <a:lnTo>
                        <a:pt x="211" y="74"/>
                      </a:lnTo>
                      <a:lnTo>
                        <a:pt x="213" y="74"/>
                      </a:lnTo>
                      <a:lnTo>
                        <a:pt x="213" y="72"/>
                      </a:lnTo>
                      <a:lnTo>
                        <a:pt x="215" y="70"/>
                      </a:lnTo>
                      <a:lnTo>
                        <a:pt x="215" y="69"/>
                      </a:lnTo>
                      <a:lnTo>
                        <a:pt x="213" y="67"/>
                      </a:lnTo>
                      <a:lnTo>
                        <a:pt x="215" y="67"/>
                      </a:lnTo>
                      <a:lnTo>
                        <a:pt x="213" y="66"/>
                      </a:lnTo>
                      <a:lnTo>
                        <a:pt x="211" y="66"/>
                      </a:lnTo>
                      <a:lnTo>
                        <a:pt x="211" y="64"/>
                      </a:lnTo>
                      <a:lnTo>
                        <a:pt x="210" y="66"/>
                      </a:lnTo>
                      <a:lnTo>
                        <a:pt x="210" y="64"/>
                      </a:lnTo>
                      <a:lnTo>
                        <a:pt x="210" y="62"/>
                      </a:lnTo>
                      <a:lnTo>
                        <a:pt x="208" y="62"/>
                      </a:lnTo>
                      <a:lnTo>
                        <a:pt x="210" y="62"/>
                      </a:lnTo>
                      <a:lnTo>
                        <a:pt x="210" y="61"/>
                      </a:lnTo>
                      <a:lnTo>
                        <a:pt x="210" y="59"/>
                      </a:lnTo>
                      <a:lnTo>
                        <a:pt x="210" y="57"/>
                      </a:lnTo>
                      <a:lnTo>
                        <a:pt x="211" y="57"/>
                      </a:lnTo>
                      <a:lnTo>
                        <a:pt x="211" y="56"/>
                      </a:lnTo>
                      <a:lnTo>
                        <a:pt x="211" y="54"/>
                      </a:lnTo>
                      <a:lnTo>
                        <a:pt x="213" y="52"/>
                      </a:lnTo>
                      <a:lnTo>
                        <a:pt x="211" y="52"/>
                      </a:lnTo>
                      <a:lnTo>
                        <a:pt x="213" y="52"/>
                      </a:lnTo>
                      <a:lnTo>
                        <a:pt x="215" y="52"/>
                      </a:lnTo>
                      <a:lnTo>
                        <a:pt x="215" y="54"/>
                      </a:lnTo>
                      <a:lnTo>
                        <a:pt x="216" y="54"/>
                      </a:lnTo>
                      <a:lnTo>
                        <a:pt x="216" y="56"/>
                      </a:lnTo>
                      <a:lnTo>
                        <a:pt x="218" y="56"/>
                      </a:lnTo>
                      <a:lnTo>
                        <a:pt x="218" y="54"/>
                      </a:lnTo>
                      <a:lnTo>
                        <a:pt x="220" y="54"/>
                      </a:lnTo>
                      <a:lnTo>
                        <a:pt x="220" y="56"/>
                      </a:lnTo>
                      <a:lnTo>
                        <a:pt x="220" y="54"/>
                      </a:lnTo>
                      <a:lnTo>
                        <a:pt x="220" y="52"/>
                      </a:lnTo>
                      <a:lnTo>
                        <a:pt x="220" y="51"/>
                      </a:lnTo>
                      <a:lnTo>
                        <a:pt x="222" y="51"/>
                      </a:lnTo>
                      <a:lnTo>
                        <a:pt x="220" y="49"/>
                      </a:lnTo>
                      <a:lnTo>
                        <a:pt x="220" y="47"/>
                      </a:lnTo>
                      <a:lnTo>
                        <a:pt x="218" y="47"/>
                      </a:lnTo>
                      <a:lnTo>
                        <a:pt x="216" y="47"/>
                      </a:lnTo>
                      <a:lnTo>
                        <a:pt x="216" y="46"/>
                      </a:lnTo>
                      <a:lnTo>
                        <a:pt x="216" y="44"/>
                      </a:lnTo>
                      <a:lnTo>
                        <a:pt x="215" y="44"/>
                      </a:lnTo>
                      <a:lnTo>
                        <a:pt x="213" y="44"/>
                      </a:lnTo>
                      <a:lnTo>
                        <a:pt x="211" y="44"/>
                      </a:lnTo>
                      <a:lnTo>
                        <a:pt x="211" y="43"/>
                      </a:lnTo>
                      <a:lnTo>
                        <a:pt x="211" y="41"/>
                      </a:lnTo>
                      <a:lnTo>
                        <a:pt x="211" y="39"/>
                      </a:lnTo>
                      <a:lnTo>
                        <a:pt x="211" y="38"/>
                      </a:lnTo>
                      <a:lnTo>
                        <a:pt x="213" y="36"/>
                      </a:lnTo>
                      <a:lnTo>
                        <a:pt x="213" y="34"/>
                      </a:lnTo>
                      <a:lnTo>
                        <a:pt x="213" y="33"/>
                      </a:lnTo>
                      <a:lnTo>
                        <a:pt x="215" y="33"/>
                      </a:lnTo>
                      <a:lnTo>
                        <a:pt x="215" y="31"/>
                      </a:lnTo>
                      <a:lnTo>
                        <a:pt x="222" y="31"/>
                      </a:lnTo>
                      <a:lnTo>
                        <a:pt x="225" y="24"/>
                      </a:lnTo>
                      <a:lnTo>
                        <a:pt x="228" y="26"/>
                      </a:lnTo>
                      <a:lnTo>
                        <a:pt x="228" y="24"/>
                      </a:lnTo>
                      <a:lnTo>
                        <a:pt x="230" y="24"/>
                      </a:lnTo>
                      <a:lnTo>
                        <a:pt x="232" y="24"/>
                      </a:lnTo>
                      <a:lnTo>
                        <a:pt x="232" y="23"/>
                      </a:lnTo>
                      <a:lnTo>
                        <a:pt x="233" y="23"/>
                      </a:lnTo>
                      <a:lnTo>
                        <a:pt x="233" y="24"/>
                      </a:lnTo>
                      <a:lnTo>
                        <a:pt x="235" y="24"/>
                      </a:lnTo>
                      <a:lnTo>
                        <a:pt x="235" y="26"/>
                      </a:lnTo>
                      <a:lnTo>
                        <a:pt x="235" y="28"/>
                      </a:lnTo>
                      <a:lnTo>
                        <a:pt x="235" y="29"/>
                      </a:lnTo>
                      <a:lnTo>
                        <a:pt x="233" y="31"/>
                      </a:lnTo>
                      <a:lnTo>
                        <a:pt x="233" y="33"/>
                      </a:lnTo>
                      <a:lnTo>
                        <a:pt x="233" y="34"/>
                      </a:lnTo>
                      <a:lnTo>
                        <a:pt x="235" y="34"/>
                      </a:lnTo>
                      <a:lnTo>
                        <a:pt x="237" y="34"/>
                      </a:lnTo>
                      <a:lnTo>
                        <a:pt x="237" y="36"/>
                      </a:lnTo>
                      <a:lnTo>
                        <a:pt x="238" y="36"/>
                      </a:lnTo>
                      <a:lnTo>
                        <a:pt x="238" y="38"/>
                      </a:lnTo>
                      <a:lnTo>
                        <a:pt x="240" y="38"/>
                      </a:lnTo>
                      <a:lnTo>
                        <a:pt x="245" y="36"/>
                      </a:lnTo>
                      <a:lnTo>
                        <a:pt x="247" y="38"/>
                      </a:lnTo>
                      <a:lnTo>
                        <a:pt x="249" y="38"/>
                      </a:lnTo>
                      <a:lnTo>
                        <a:pt x="252" y="38"/>
                      </a:lnTo>
                      <a:lnTo>
                        <a:pt x="252" y="36"/>
                      </a:lnTo>
                      <a:lnTo>
                        <a:pt x="254" y="36"/>
                      </a:lnTo>
                      <a:lnTo>
                        <a:pt x="255" y="36"/>
                      </a:lnTo>
                      <a:lnTo>
                        <a:pt x="255" y="38"/>
                      </a:lnTo>
                      <a:lnTo>
                        <a:pt x="255" y="39"/>
                      </a:lnTo>
                      <a:lnTo>
                        <a:pt x="257" y="39"/>
                      </a:lnTo>
                      <a:lnTo>
                        <a:pt x="255" y="39"/>
                      </a:lnTo>
                      <a:lnTo>
                        <a:pt x="257" y="39"/>
                      </a:lnTo>
                      <a:lnTo>
                        <a:pt x="257" y="38"/>
                      </a:lnTo>
                      <a:lnTo>
                        <a:pt x="259" y="38"/>
                      </a:lnTo>
                      <a:lnTo>
                        <a:pt x="259" y="39"/>
                      </a:lnTo>
                      <a:lnTo>
                        <a:pt x="260" y="39"/>
                      </a:lnTo>
                      <a:lnTo>
                        <a:pt x="260" y="41"/>
                      </a:lnTo>
                      <a:lnTo>
                        <a:pt x="260" y="39"/>
                      </a:lnTo>
                      <a:lnTo>
                        <a:pt x="260" y="41"/>
                      </a:lnTo>
                      <a:lnTo>
                        <a:pt x="262" y="41"/>
                      </a:lnTo>
                      <a:lnTo>
                        <a:pt x="262" y="43"/>
                      </a:lnTo>
                      <a:lnTo>
                        <a:pt x="264" y="43"/>
                      </a:lnTo>
                      <a:lnTo>
                        <a:pt x="265" y="43"/>
                      </a:lnTo>
                      <a:lnTo>
                        <a:pt x="267" y="43"/>
                      </a:lnTo>
                      <a:lnTo>
                        <a:pt x="277" y="41"/>
                      </a:lnTo>
                      <a:lnTo>
                        <a:pt x="279" y="43"/>
                      </a:lnTo>
                      <a:lnTo>
                        <a:pt x="284" y="41"/>
                      </a:lnTo>
                      <a:lnTo>
                        <a:pt x="286" y="41"/>
                      </a:lnTo>
                      <a:lnTo>
                        <a:pt x="287" y="41"/>
                      </a:lnTo>
                      <a:lnTo>
                        <a:pt x="289" y="41"/>
                      </a:lnTo>
                      <a:lnTo>
                        <a:pt x="291" y="39"/>
                      </a:lnTo>
                      <a:lnTo>
                        <a:pt x="292" y="39"/>
                      </a:lnTo>
                      <a:lnTo>
                        <a:pt x="294" y="39"/>
                      </a:lnTo>
                      <a:lnTo>
                        <a:pt x="294" y="38"/>
                      </a:lnTo>
                      <a:lnTo>
                        <a:pt x="294" y="39"/>
                      </a:lnTo>
                      <a:lnTo>
                        <a:pt x="294" y="38"/>
                      </a:lnTo>
                      <a:lnTo>
                        <a:pt x="294" y="39"/>
                      </a:lnTo>
                      <a:lnTo>
                        <a:pt x="296" y="39"/>
                      </a:lnTo>
                      <a:lnTo>
                        <a:pt x="298" y="39"/>
                      </a:lnTo>
                      <a:lnTo>
                        <a:pt x="299" y="39"/>
                      </a:lnTo>
                      <a:lnTo>
                        <a:pt x="301" y="41"/>
                      </a:lnTo>
                      <a:lnTo>
                        <a:pt x="301" y="43"/>
                      </a:lnTo>
                      <a:lnTo>
                        <a:pt x="303" y="43"/>
                      </a:lnTo>
                      <a:lnTo>
                        <a:pt x="304" y="43"/>
                      </a:lnTo>
                      <a:lnTo>
                        <a:pt x="304" y="41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6" y="43"/>
                      </a:lnTo>
                      <a:lnTo>
                        <a:pt x="306" y="41"/>
                      </a:lnTo>
                      <a:lnTo>
                        <a:pt x="308" y="41"/>
                      </a:lnTo>
                      <a:lnTo>
                        <a:pt x="309" y="41"/>
                      </a:lnTo>
                      <a:lnTo>
                        <a:pt x="311" y="41"/>
                      </a:lnTo>
                      <a:lnTo>
                        <a:pt x="311" y="43"/>
                      </a:lnTo>
                      <a:lnTo>
                        <a:pt x="311" y="41"/>
                      </a:lnTo>
                      <a:lnTo>
                        <a:pt x="313" y="41"/>
                      </a:lnTo>
                      <a:lnTo>
                        <a:pt x="314" y="43"/>
                      </a:lnTo>
                      <a:lnTo>
                        <a:pt x="314" y="41"/>
                      </a:lnTo>
                      <a:lnTo>
                        <a:pt x="314" y="43"/>
                      </a:lnTo>
                      <a:lnTo>
                        <a:pt x="316" y="43"/>
                      </a:lnTo>
                      <a:lnTo>
                        <a:pt x="318" y="43"/>
                      </a:lnTo>
                      <a:lnTo>
                        <a:pt x="319" y="43"/>
                      </a:lnTo>
                      <a:lnTo>
                        <a:pt x="319" y="44"/>
                      </a:lnTo>
                      <a:lnTo>
                        <a:pt x="321" y="46"/>
                      </a:lnTo>
                      <a:lnTo>
                        <a:pt x="323" y="46"/>
                      </a:lnTo>
                      <a:lnTo>
                        <a:pt x="325" y="47"/>
                      </a:lnTo>
                      <a:lnTo>
                        <a:pt x="331" y="47"/>
                      </a:lnTo>
                      <a:lnTo>
                        <a:pt x="333" y="46"/>
                      </a:lnTo>
                      <a:lnTo>
                        <a:pt x="335" y="46"/>
                      </a:lnTo>
                      <a:lnTo>
                        <a:pt x="335" y="44"/>
                      </a:lnTo>
                      <a:lnTo>
                        <a:pt x="336" y="44"/>
                      </a:lnTo>
                      <a:lnTo>
                        <a:pt x="336" y="46"/>
                      </a:lnTo>
                      <a:lnTo>
                        <a:pt x="336" y="47"/>
                      </a:lnTo>
                      <a:lnTo>
                        <a:pt x="338" y="47"/>
                      </a:lnTo>
                      <a:lnTo>
                        <a:pt x="340" y="47"/>
                      </a:lnTo>
                      <a:lnTo>
                        <a:pt x="340" y="49"/>
                      </a:lnTo>
                      <a:lnTo>
                        <a:pt x="341" y="49"/>
                      </a:lnTo>
                      <a:lnTo>
                        <a:pt x="341" y="47"/>
                      </a:lnTo>
                      <a:lnTo>
                        <a:pt x="343" y="47"/>
                      </a:lnTo>
                      <a:lnTo>
                        <a:pt x="345" y="46"/>
                      </a:lnTo>
                      <a:lnTo>
                        <a:pt x="345" y="44"/>
                      </a:lnTo>
                      <a:lnTo>
                        <a:pt x="346" y="44"/>
                      </a:lnTo>
                      <a:lnTo>
                        <a:pt x="346" y="43"/>
                      </a:lnTo>
                      <a:lnTo>
                        <a:pt x="348" y="43"/>
                      </a:lnTo>
                      <a:lnTo>
                        <a:pt x="348" y="44"/>
                      </a:lnTo>
                      <a:lnTo>
                        <a:pt x="350" y="44"/>
                      </a:lnTo>
                      <a:lnTo>
                        <a:pt x="350" y="46"/>
                      </a:lnTo>
                      <a:lnTo>
                        <a:pt x="352" y="46"/>
                      </a:lnTo>
                      <a:lnTo>
                        <a:pt x="353" y="44"/>
                      </a:lnTo>
                      <a:lnTo>
                        <a:pt x="355" y="44"/>
                      </a:lnTo>
                      <a:lnTo>
                        <a:pt x="357" y="44"/>
                      </a:lnTo>
                      <a:lnTo>
                        <a:pt x="357" y="43"/>
                      </a:lnTo>
                      <a:lnTo>
                        <a:pt x="357" y="44"/>
                      </a:lnTo>
                      <a:lnTo>
                        <a:pt x="358" y="43"/>
                      </a:lnTo>
                      <a:lnTo>
                        <a:pt x="360" y="43"/>
                      </a:lnTo>
                      <a:lnTo>
                        <a:pt x="360" y="44"/>
                      </a:lnTo>
                      <a:lnTo>
                        <a:pt x="360" y="47"/>
                      </a:lnTo>
                      <a:lnTo>
                        <a:pt x="360" y="52"/>
                      </a:lnTo>
                      <a:lnTo>
                        <a:pt x="360" y="56"/>
                      </a:lnTo>
                      <a:lnTo>
                        <a:pt x="362" y="59"/>
                      </a:lnTo>
                      <a:lnTo>
                        <a:pt x="362" y="61"/>
                      </a:lnTo>
                      <a:lnTo>
                        <a:pt x="363" y="61"/>
                      </a:lnTo>
                      <a:lnTo>
                        <a:pt x="363" y="62"/>
                      </a:lnTo>
                      <a:lnTo>
                        <a:pt x="363" y="64"/>
                      </a:lnTo>
                      <a:lnTo>
                        <a:pt x="363" y="66"/>
                      </a:lnTo>
                      <a:lnTo>
                        <a:pt x="362" y="67"/>
                      </a:lnTo>
                      <a:lnTo>
                        <a:pt x="363" y="67"/>
                      </a:lnTo>
                      <a:lnTo>
                        <a:pt x="363" y="69"/>
                      </a:lnTo>
                      <a:lnTo>
                        <a:pt x="365" y="70"/>
                      </a:lnTo>
                      <a:lnTo>
                        <a:pt x="365" y="72"/>
                      </a:lnTo>
                      <a:lnTo>
                        <a:pt x="365" y="75"/>
                      </a:lnTo>
                      <a:lnTo>
                        <a:pt x="365" y="77"/>
                      </a:lnTo>
                      <a:lnTo>
                        <a:pt x="367" y="77"/>
                      </a:lnTo>
                      <a:lnTo>
                        <a:pt x="367" y="79"/>
                      </a:lnTo>
                      <a:lnTo>
                        <a:pt x="368" y="80"/>
                      </a:lnTo>
                      <a:lnTo>
                        <a:pt x="370" y="80"/>
                      </a:lnTo>
                      <a:lnTo>
                        <a:pt x="370" y="82"/>
                      </a:lnTo>
                      <a:lnTo>
                        <a:pt x="368" y="84"/>
                      </a:lnTo>
                      <a:lnTo>
                        <a:pt x="370" y="85"/>
                      </a:lnTo>
                      <a:lnTo>
                        <a:pt x="370" y="87"/>
                      </a:lnTo>
                      <a:lnTo>
                        <a:pt x="368" y="87"/>
                      </a:lnTo>
                      <a:lnTo>
                        <a:pt x="368" y="89"/>
                      </a:lnTo>
                      <a:lnTo>
                        <a:pt x="368" y="90"/>
                      </a:lnTo>
                      <a:lnTo>
                        <a:pt x="370" y="92"/>
                      </a:lnTo>
                      <a:lnTo>
                        <a:pt x="370" y="90"/>
                      </a:lnTo>
                      <a:lnTo>
                        <a:pt x="372" y="90"/>
                      </a:lnTo>
                      <a:lnTo>
                        <a:pt x="372" y="89"/>
                      </a:lnTo>
                      <a:lnTo>
                        <a:pt x="372" y="87"/>
                      </a:lnTo>
                      <a:lnTo>
                        <a:pt x="374" y="87"/>
                      </a:lnTo>
                      <a:lnTo>
                        <a:pt x="374" y="90"/>
                      </a:lnTo>
                      <a:lnTo>
                        <a:pt x="374" y="92"/>
                      </a:lnTo>
                      <a:lnTo>
                        <a:pt x="372" y="93"/>
                      </a:lnTo>
                      <a:lnTo>
                        <a:pt x="372" y="95"/>
                      </a:lnTo>
                      <a:lnTo>
                        <a:pt x="372" y="97"/>
                      </a:lnTo>
                      <a:lnTo>
                        <a:pt x="372" y="98"/>
                      </a:lnTo>
                      <a:lnTo>
                        <a:pt x="374" y="100"/>
                      </a:lnTo>
                      <a:lnTo>
                        <a:pt x="374" y="102"/>
                      </a:lnTo>
                      <a:lnTo>
                        <a:pt x="375" y="103"/>
                      </a:lnTo>
                      <a:lnTo>
                        <a:pt x="377" y="103"/>
                      </a:lnTo>
                      <a:lnTo>
                        <a:pt x="375" y="105"/>
                      </a:lnTo>
                      <a:lnTo>
                        <a:pt x="375" y="108"/>
                      </a:lnTo>
                      <a:lnTo>
                        <a:pt x="375" y="110"/>
                      </a:lnTo>
                      <a:lnTo>
                        <a:pt x="375" y="112"/>
                      </a:lnTo>
                      <a:lnTo>
                        <a:pt x="375" y="113"/>
                      </a:lnTo>
                      <a:lnTo>
                        <a:pt x="375" y="115"/>
                      </a:lnTo>
                      <a:lnTo>
                        <a:pt x="375" y="116"/>
                      </a:lnTo>
                      <a:lnTo>
                        <a:pt x="375" y="118"/>
                      </a:lnTo>
                      <a:lnTo>
                        <a:pt x="375" y="120"/>
                      </a:lnTo>
                      <a:lnTo>
                        <a:pt x="377" y="120"/>
                      </a:lnTo>
                      <a:lnTo>
                        <a:pt x="375" y="120"/>
                      </a:lnTo>
                      <a:lnTo>
                        <a:pt x="375" y="121"/>
                      </a:lnTo>
                      <a:lnTo>
                        <a:pt x="375" y="123"/>
                      </a:lnTo>
                      <a:lnTo>
                        <a:pt x="375" y="125"/>
                      </a:lnTo>
                      <a:lnTo>
                        <a:pt x="375" y="128"/>
                      </a:lnTo>
                      <a:lnTo>
                        <a:pt x="375" y="130"/>
                      </a:lnTo>
                      <a:lnTo>
                        <a:pt x="375" y="131"/>
                      </a:lnTo>
                      <a:lnTo>
                        <a:pt x="375" y="133"/>
                      </a:lnTo>
                      <a:lnTo>
                        <a:pt x="374" y="135"/>
                      </a:lnTo>
                      <a:lnTo>
                        <a:pt x="375" y="136"/>
                      </a:lnTo>
                      <a:lnTo>
                        <a:pt x="374" y="138"/>
                      </a:lnTo>
                      <a:lnTo>
                        <a:pt x="374" y="139"/>
                      </a:lnTo>
                      <a:lnTo>
                        <a:pt x="372" y="139"/>
                      </a:lnTo>
                      <a:lnTo>
                        <a:pt x="370" y="139"/>
                      </a:lnTo>
                      <a:lnTo>
                        <a:pt x="368" y="139"/>
                      </a:lnTo>
                      <a:lnTo>
                        <a:pt x="367" y="139"/>
                      </a:lnTo>
                      <a:lnTo>
                        <a:pt x="365" y="139"/>
                      </a:lnTo>
                      <a:lnTo>
                        <a:pt x="367" y="139"/>
                      </a:lnTo>
                      <a:lnTo>
                        <a:pt x="365" y="139"/>
                      </a:lnTo>
                      <a:lnTo>
                        <a:pt x="363" y="138"/>
                      </a:lnTo>
                      <a:lnTo>
                        <a:pt x="362" y="138"/>
                      </a:lnTo>
                      <a:lnTo>
                        <a:pt x="362" y="139"/>
                      </a:lnTo>
                      <a:lnTo>
                        <a:pt x="360" y="139"/>
                      </a:lnTo>
                      <a:lnTo>
                        <a:pt x="360" y="138"/>
                      </a:lnTo>
                      <a:lnTo>
                        <a:pt x="358" y="136"/>
                      </a:lnTo>
                      <a:lnTo>
                        <a:pt x="358" y="135"/>
                      </a:lnTo>
                      <a:lnTo>
                        <a:pt x="358" y="133"/>
                      </a:lnTo>
                      <a:lnTo>
                        <a:pt x="358" y="131"/>
                      </a:lnTo>
                      <a:lnTo>
                        <a:pt x="357" y="131"/>
                      </a:lnTo>
                      <a:lnTo>
                        <a:pt x="355" y="130"/>
                      </a:lnTo>
                      <a:lnTo>
                        <a:pt x="353" y="128"/>
                      </a:lnTo>
                      <a:lnTo>
                        <a:pt x="352" y="128"/>
                      </a:lnTo>
                      <a:lnTo>
                        <a:pt x="350" y="126"/>
                      </a:lnTo>
                      <a:lnTo>
                        <a:pt x="348" y="126"/>
                      </a:lnTo>
                      <a:lnTo>
                        <a:pt x="346" y="126"/>
                      </a:lnTo>
                      <a:lnTo>
                        <a:pt x="345" y="126"/>
                      </a:lnTo>
                      <a:lnTo>
                        <a:pt x="343" y="126"/>
                      </a:lnTo>
                      <a:lnTo>
                        <a:pt x="341" y="126"/>
                      </a:lnTo>
                      <a:lnTo>
                        <a:pt x="341" y="125"/>
                      </a:lnTo>
                      <a:lnTo>
                        <a:pt x="340" y="125"/>
                      </a:lnTo>
                      <a:lnTo>
                        <a:pt x="340" y="126"/>
                      </a:lnTo>
                      <a:lnTo>
                        <a:pt x="338" y="126"/>
                      </a:lnTo>
                      <a:lnTo>
                        <a:pt x="338" y="125"/>
                      </a:lnTo>
                      <a:lnTo>
                        <a:pt x="336" y="125"/>
                      </a:lnTo>
                      <a:lnTo>
                        <a:pt x="335" y="125"/>
                      </a:lnTo>
                      <a:lnTo>
                        <a:pt x="333" y="125"/>
                      </a:lnTo>
                      <a:lnTo>
                        <a:pt x="330" y="125"/>
                      </a:lnTo>
                      <a:lnTo>
                        <a:pt x="330" y="126"/>
                      </a:lnTo>
                      <a:lnTo>
                        <a:pt x="328" y="126"/>
                      </a:lnTo>
                      <a:lnTo>
                        <a:pt x="328" y="128"/>
                      </a:lnTo>
                      <a:lnTo>
                        <a:pt x="326" y="126"/>
                      </a:lnTo>
                      <a:lnTo>
                        <a:pt x="326" y="128"/>
                      </a:lnTo>
                      <a:lnTo>
                        <a:pt x="325" y="126"/>
                      </a:lnTo>
                      <a:lnTo>
                        <a:pt x="325" y="128"/>
                      </a:lnTo>
                      <a:lnTo>
                        <a:pt x="323" y="128"/>
                      </a:lnTo>
                      <a:lnTo>
                        <a:pt x="323" y="130"/>
                      </a:lnTo>
                      <a:lnTo>
                        <a:pt x="321" y="130"/>
                      </a:lnTo>
                      <a:lnTo>
                        <a:pt x="321" y="131"/>
                      </a:lnTo>
                      <a:lnTo>
                        <a:pt x="319" y="131"/>
                      </a:lnTo>
                      <a:lnTo>
                        <a:pt x="318" y="131"/>
                      </a:lnTo>
                      <a:lnTo>
                        <a:pt x="318" y="133"/>
                      </a:lnTo>
                      <a:lnTo>
                        <a:pt x="316" y="133"/>
                      </a:lnTo>
                      <a:lnTo>
                        <a:pt x="314" y="133"/>
                      </a:lnTo>
                      <a:lnTo>
                        <a:pt x="314" y="131"/>
                      </a:lnTo>
                      <a:lnTo>
                        <a:pt x="313" y="131"/>
                      </a:lnTo>
                      <a:lnTo>
                        <a:pt x="311" y="131"/>
                      </a:lnTo>
                      <a:lnTo>
                        <a:pt x="309" y="131"/>
                      </a:lnTo>
                      <a:lnTo>
                        <a:pt x="309" y="136"/>
                      </a:lnTo>
                      <a:lnTo>
                        <a:pt x="308" y="138"/>
                      </a:lnTo>
                      <a:lnTo>
                        <a:pt x="308" y="139"/>
                      </a:lnTo>
                      <a:lnTo>
                        <a:pt x="308" y="141"/>
                      </a:lnTo>
                      <a:lnTo>
                        <a:pt x="306" y="141"/>
                      </a:lnTo>
                      <a:lnTo>
                        <a:pt x="306" y="143"/>
                      </a:lnTo>
                      <a:lnTo>
                        <a:pt x="306" y="144"/>
                      </a:lnTo>
                      <a:lnTo>
                        <a:pt x="308" y="144"/>
                      </a:lnTo>
                      <a:lnTo>
                        <a:pt x="308" y="143"/>
                      </a:lnTo>
                      <a:lnTo>
                        <a:pt x="308" y="144"/>
                      </a:lnTo>
                      <a:lnTo>
                        <a:pt x="308" y="146"/>
                      </a:lnTo>
                      <a:lnTo>
                        <a:pt x="306" y="146"/>
                      </a:lnTo>
                      <a:lnTo>
                        <a:pt x="306" y="148"/>
                      </a:lnTo>
                      <a:lnTo>
                        <a:pt x="308" y="148"/>
                      </a:lnTo>
                      <a:lnTo>
                        <a:pt x="308" y="149"/>
                      </a:lnTo>
                      <a:lnTo>
                        <a:pt x="306" y="149"/>
                      </a:lnTo>
                      <a:lnTo>
                        <a:pt x="304" y="151"/>
                      </a:lnTo>
                      <a:lnTo>
                        <a:pt x="304" y="149"/>
                      </a:lnTo>
                      <a:lnTo>
                        <a:pt x="304" y="151"/>
                      </a:lnTo>
                      <a:lnTo>
                        <a:pt x="303" y="151"/>
                      </a:lnTo>
                      <a:lnTo>
                        <a:pt x="303" y="149"/>
                      </a:lnTo>
                      <a:lnTo>
                        <a:pt x="301" y="149"/>
                      </a:lnTo>
                      <a:lnTo>
                        <a:pt x="299" y="149"/>
                      </a:lnTo>
                      <a:lnTo>
                        <a:pt x="298" y="151"/>
                      </a:lnTo>
                      <a:lnTo>
                        <a:pt x="298" y="153"/>
                      </a:lnTo>
                      <a:lnTo>
                        <a:pt x="296" y="153"/>
                      </a:lnTo>
                      <a:lnTo>
                        <a:pt x="294" y="154"/>
                      </a:lnTo>
                      <a:lnTo>
                        <a:pt x="292" y="154"/>
                      </a:lnTo>
                      <a:lnTo>
                        <a:pt x="291" y="154"/>
                      </a:lnTo>
                      <a:lnTo>
                        <a:pt x="291" y="153"/>
                      </a:lnTo>
                      <a:lnTo>
                        <a:pt x="289" y="154"/>
                      </a:lnTo>
                      <a:lnTo>
                        <a:pt x="287" y="154"/>
                      </a:lnTo>
                      <a:lnTo>
                        <a:pt x="286" y="156"/>
                      </a:lnTo>
                      <a:lnTo>
                        <a:pt x="284" y="156"/>
                      </a:lnTo>
                      <a:lnTo>
                        <a:pt x="282" y="158"/>
                      </a:lnTo>
                      <a:lnTo>
                        <a:pt x="281" y="158"/>
                      </a:lnTo>
                      <a:lnTo>
                        <a:pt x="279" y="158"/>
                      </a:lnTo>
                      <a:lnTo>
                        <a:pt x="277" y="159"/>
                      </a:lnTo>
                      <a:lnTo>
                        <a:pt x="276" y="158"/>
                      </a:lnTo>
                      <a:lnTo>
                        <a:pt x="274" y="158"/>
                      </a:lnTo>
                      <a:lnTo>
                        <a:pt x="274" y="159"/>
                      </a:lnTo>
                      <a:lnTo>
                        <a:pt x="272" y="159"/>
                      </a:lnTo>
                      <a:lnTo>
                        <a:pt x="272" y="161"/>
                      </a:lnTo>
                      <a:lnTo>
                        <a:pt x="272" y="162"/>
                      </a:lnTo>
                      <a:lnTo>
                        <a:pt x="270" y="162"/>
                      </a:lnTo>
                      <a:lnTo>
                        <a:pt x="269" y="162"/>
                      </a:lnTo>
                      <a:lnTo>
                        <a:pt x="267" y="162"/>
                      </a:lnTo>
                      <a:lnTo>
                        <a:pt x="265" y="162"/>
                      </a:lnTo>
                      <a:lnTo>
                        <a:pt x="264" y="162"/>
                      </a:lnTo>
                      <a:lnTo>
                        <a:pt x="262" y="162"/>
                      </a:lnTo>
                      <a:lnTo>
                        <a:pt x="262" y="164"/>
                      </a:lnTo>
                      <a:lnTo>
                        <a:pt x="260" y="164"/>
                      </a:lnTo>
                      <a:lnTo>
                        <a:pt x="259" y="164"/>
                      </a:lnTo>
                      <a:lnTo>
                        <a:pt x="259" y="162"/>
                      </a:lnTo>
                      <a:lnTo>
                        <a:pt x="257" y="162"/>
                      </a:lnTo>
                      <a:lnTo>
                        <a:pt x="257" y="164"/>
                      </a:lnTo>
                      <a:lnTo>
                        <a:pt x="255" y="164"/>
                      </a:lnTo>
                      <a:lnTo>
                        <a:pt x="255" y="162"/>
                      </a:lnTo>
                      <a:lnTo>
                        <a:pt x="257" y="162"/>
                      </a:lnTo>
                      <a:lnTo>
                        <a:pt x="255" y="161"/>
                      </a:lnTo>
                      <a:lnTo>
                        <a:pt x="254" y="161"/>
                      </a:lnTo>
                      <a:lnTo>
                        <a:pt x="252" y="161"/>
                      </a:lnTo>
                      <a:lnTo>
                        <a:pt x="250" y="162"/>
                      </a:lnTo>
                      <a:lnTo>
                        <a:pt x="249" y="162"/>
                      </a:lnTo>
                      <a:lnTo>
                        <a:pt x="249" y="164"/>
                      </a:lnTo>
                      <a:lnTo>
                        <a:pt x="247" y="164"/>
                      </a:lnTo>
                      <a:lnTo>
                        <a:pt x="247" y="162"/>
                      </a:lnTo>
                      <a:lnTo>
                        <a:pt x="245" y="162"/>
                      </a:lnTo>
                      <a:lnTo>
                        <a:pt x="243" y="162"/>
                      </a:lnTo>
                      <a:lnTo>
                        <a:pt x="242" y="162"/>
                      </a:lnTo>
                      <a:lnTo>
                        <a:pt x="242" y="161"/>
                      </a:lnTo>
                      <a:lnTo>
                        <a:pt x="240" y="161"/>
                      </a:lnTo>
                      <a:lnTo>
                        <a:pt x="238" y="161"/>
                      </a:lnTo>
                      <a:lnTo>
                        <a:pt x="238" y="162"/>
                      </a:lnTo>
                      <a:lnTo>
                        <a:pt x="237" y="164"/>
                      </a:lnTo>
                      <a:lnTo>
                        <a:pt x="237" y="166"/>
                      </a:lnTo>
                      <a:lnTo>
                        <a:pt x="235" y="166"/>
                      </a:lnTo>
                      <a:lnTo>
                        <a:pt x="235" y="164"/>
                      </a:lnTo>
                      <a:lnTo>
                        <a:pt x="233" y="164"/>
                      </a:lnTo>
                      <a:lnTo>
                        <a:pt x="232" y="164"/>
                      </a:lnTo>
                      <a:lnTo>
                        <a:pt x="230" y="164"/>
                      </a:lnTo>
                      <a:lnTo>
                        <a:pt x="228" y="164"/>
                      </a:lnTo>
                      <a:lnTo>
                        <a:pt x="227" y="164"/>
                      </a:lnTo>
                      <a:lnTo>
                        <a:pt x="225" y="164"/>
                      </a:lnTo>
                      <a:lnTo>
                        <a:pt x="223" y="164"/>
                      </a:lnTo>
                      <a:lnTo>
                        <a:pt x="222" y="164"/>
                      </a:lnTo>
                      <a:lnTo>
                        <a:pt x="222" y="166"/>
                      </a:lnTo>
                      <a:lnTo>
                        <a:pt x="220" y="166"/>
                      </a:lnTo>
                      <a:lnTo>
                        <a:pt x="222" y="167"/>
                      </a:lnTo>
                      <a:lnTo>
                        <a:pt x="222" y="169"/>
                      </a:lnTo>
                      <a:lnTo>
                        <a:pt x="222" y="171"/>
                      </a:lnTo>
                      <a:lnTo>
                        <a:pt x="220" y="171"/>
                      </a:lnTo>
                      <a:lnTo>
                        <a:pt x="222" y="171"/>
                      </a:lnTo>
                      <a:lnTo>
                        <a:pt x="220" y="172"/>
                      </a:lnTo>
                      <a:lnTo>
                        <a:pt x="220" y="174"/>
                      </a:lnTo>
                      <a:lnTo>
                        <a:pt x="218" y="174"/>
                      </a:lnTo>
                      <a:lnTo>
                        <a:pt x="216" y="174"/>
                      </a:lnTo>
                      <a:lnTo>
                        <a:pt x="216" y="176"/>
                      </a:lnTo>
                      <a:lnTo>
                        <a:pt x="216" y="174"/>
                      </a:lnTo>
                      <a:lnTo>
                        <a:pt x="215" y="174"/>
                      </a:lnTo>
                      <a:lnTo>
                        <a:pt x="213" y="174"/>
                      </a:lnTo>
                      <a:lnTo>
                        <a:pt x="211" y="172"/>
                      </a:lnTo>
                      <a:lnTo>
                        <a:pt x="210" y="172"/>
                      </a:lnTo>
                      <a:lnTo>
                        <a:pt x="208" y="172"/>
                      </a:lnTo>
                      <a:lnTo>
                        <a:pt x="208" y="174"/>
                      </a:lnTo>
                      <a:lnTo>
                        <a:pt x="206" y="174"/>
                      </a:lnTo>
                      <a:lnTo>
                        <a:pt x="208" y="176"/>
                      </a:lnTo>
                      <a:lnTo>
                        <a:pt x="206" y="177"/>
                      </a:lnTo>
                      <a:lnTo>
                        <a:pt x="208" y="177"/>
                      </a:lnTo>
                      <a:lnTo>
                        <a:pt x="206" y="177"/>
                      </a:lnTo>
                      <a:lnTo>
                        <a:pt x="203" y="177"/>
                      </a:lnTo>
                      <a:lnTo>
                        <a:pt x="203" y="179"/>
                      </a:lnTo>
                      <a:lnTo>
                        <a:pt x="203" y="181"/>
                      </a:lnTo>
                      <a:lnTo>
                        <a:pt x="203" y="182"/>
                      </a:lnTo>
                      <a:lnTo>
                        <a:pt x="203" y="184"/>
                      </a:lnTo>
                      <a:lnTo>
                        <a:pt x="201" y="184"/>
                      </a:lnTo>
                      <a:lnTo>
                        <a:pt x="203" y="185"/>
                      </a:lnTo>
                      <a:lnTo>
                        <a:pt x="201" y="187"/>
                      </a:lnTo>
                      <a:lnTo>
                        <a:pt x="200" y="187"/>
                      </a:lnTo>
                      <a:lnTo>
                        <a:pt x="200" y="189"/>
                      </a:lnTo>
                      <a:lnTo>
                        <a:pt x="200" y="190"/>
                      </a:lnTo>
                      <a:lnTo>
                        <a:pt x="201" y="190"/>
                      </a:lnTo>
                      <a:lnTo>
                        <a:pt x="203" y="190"/>
                      </a:lnTo>
                      <a:lnTo>
                        <a:pt x="203" y="192"/>
                      </a:lnTo>
                      <a:lnTo>
                        <a:pt x="201" y="192"/>
                      </a:lnTo>
                      <a:lnTo>
                        <a:pt x="201" y="194"/>
                      </a:lnTo>
                      <a:lnTo>
                        <a:pt x="200" y="194"/>
                      </a:lnTo>
                      <a:lnTo>
                        <a:pt x="198" y="194"/>
                      </a:lnTo>
                      <a:lnTo>
                        <a:pt x="196" y="194"/>
                      </a:lnTo>
                      <a:lnTo>
                        <a:pt x="196" y="195"/>
                      </a:lnTo>
                      <a:lnTo>
                        <a:pt x="194" y="197"/>
                      </a:lnTo>
                      <a:lnTo>
                        <a:pt x="193" y="195"/>
                      </a:lnTo>
                      <a:lnTo>
                        <a:pt x="194" y="197"/>
                      </a:lnTo>
                      <a:lnTo>
                        <a:pt x="193" y="197"/>
                      </a:lnTo>
                      <a:lnTo>
                        <a:pt x="191" y="197"/>
                      </a:lnTo>
                      <a:lnTo>
                        <a:pt x="191" y="199"/>
                      </a:lnTo>
                      <a:lnTo>
                        <a:pt x="189" y="200"/>
                      </a:lnTo>
                      <a:lnTo>
                        <a:pt x="188" y="199"/>
                      </a:lnTo>
                      <a:lnTo>
                        <a:pt x="186" y="199"/>
                      </a:lnTo>
                      <a:lnTo>
                        <a:pt x="186" y="200"/>
                      </a:lnTo>
                      <a:lnTo>
                        <a:pt x="184" y="200"/>
                      </a:lnTo>
                      <a:lnTo>
                        <a:pt x="183" y="200"/>
                      </a:lnTo>
                      <a:lnTo>
                        <a:pt x="183" y="202"/>
                      </a:lnTo>
                      <a:lnTo>
                        <a:pt x="181" y="202"/>
                      </a:lnTo>
                      <a:lnTo>
                        <a:pt x="179" y="202"/>
                      </a:lnTo>
                      <a:lnTo>
                        <a:pt x="178" y="203"/>
                      </a:lnTo>
                      <a:lnTo>
                        <a:pt x="176" y="203"/>
                      </a:lnTo>
                      <a:lnTo>
                        <a:pt x="176" y="205"/>
                      </a:lnTo>
                      <a:lnTo>
                        <a:pt x="174" y="207"/>
                      </a:lnTo>
                      <a:lnTo>
                        <a:pt x="173" y="207"/>
                      </a:lnTo>
                      <a:lnTo>
                        <a:pt x="173" y="208"/>
                      </a:lnTo>
                      <a:lnTo>
                        <a:pt x="171" y="208"/>
                      </a:lnTo>
                      <a:lnTo>
                        <a:pt x="169" y="208"/>
                      </a:lnTo>
                      <a:lnTo>
                        <a:pt x="167" y="210"/>
                      </a:lnTo>
                      <a:lnTo>
                        <a:pt x="167" y="208"/>
                      </a:lnTo>
                      <a:lnTo>
                        <a:pt x="166" y="210"/>
                      </a:lnTo>
                      <a:lnTo>
                        <a:pt x="166" y="208"/>
                      </a:lnTo>
                      <a:lnTo>
                        <a:pt x="164" y="208"/>
                      </a:lnTo>
                      <a:lnTo>
                        <a:pt x="164" y="207"/>
                      </a:lnTo>
                      <a:lnTo>
                        <a:pt x="162" y="207"/>
                      </a:lnTo>
                      <a:lnTo>
                        <a:pt x="161" y="207"/>
                      </a:lnTo>
                      <a:lnTo>
                        <a:pt x="159" y="207"/>
                      </a:lnTo>
                      <a:lnTo>
                        <a:pt x="159" y="205"/>
                      </a:lnTo>
                      <a:lnTo>
                        <a:pt x="159" y="203"/>
                      </a:lnTo>
                      <a:lnTo>
                        <a:pt x="161" y="203"/>
                      </a:lnTo>
                      <a:lnTo>
                        <a:pt x="159" y="202"/>
                      </a:lnTo>
                      <a:lnTo>
                        <a:pt x="159" y="203"/>
                      </a:lnTo>
                      <a:lnTo>
                        <a:pt x="157" y="203"/>
                      </a:lnTo>
                      <a:lnTo>
                        <a:pt x="156" y="203"/>
                      </a:lnTo>
                      <a:lnTo>
                        <a:pt x="154" y="203"/>
                      </a:lnTo>
                      <a:lnTo>
                        <a:pt x="154" y="202"/>
                      </a:lnTo>
                      <a:lnTo>
                        <a:pt x="154" y="200"/>
                      </a:lnTo>
                      <a:lnTo>
                        <a:pt x="154" y="199"/>
                      </a:lnTo>
                      <a:lnTo>
                        <a:pt x="156" y="199"/>
                      </a:lnTo>
                      <a:lnTo>
                        <a:pt x="156" y="197"/>
                      </a:lnTo>
                      <a:lnTo>
                        <a:pt x="154" y="199"/>
                      </a:lnTo>
                      <a:lnTo>
                        <a:pt x="152" y="199"/>
                      </a:lnTo>
                      <a:lnTo>
                        <a:pt x="152" y="197"/>
                      </a:lnTo>
                      <a:lnTo>
                        <a:pt x="151" y="197"/>
                      </a:lnTo>
                      <a:lnTo>
                        <a:pt x="152" y="197"/>
                      </a:lnTo>
                      <a:lnTo>
                        <a:pt x="152" y="195"/>
                      </a:lnTo>
                      <a:lnTo>
                        <a:pt x="152" y="194"/>
                      </a:lnTo>
                      <a:lnTo>
                        <a:pt x="154" y="194"/>
                      </a:lnTo>
                      <a:lnTo>
                        <a:pt x="154" y="192"/>
                      </a:lnTo>
                      <a:lnTo>
                        <a:pt x="152" y="192"/>
                      </a:lnTo>
                      <a:lnTo>
                        <a:pt x="152" y="190"/>
                      </a:lnTo>
                      <a:lnTo>
                        <a:pt x="154" y="189"/>
                      </a:lnTo>
                      <a:lnTo>
                        <a:pt x="152" y="189"/>
                      </a:lnTo>
                      <a:lnTo>
                        <a:pt x="152" y="187"/>
                      </a:lnTo>
                      <a:lnTo>
                        <a:pt x="152" y="185"/>
                      </a:lnTo>
                      <a:lnTo>
                        <a:pt x="152" y="184"/>
                      </a:lnTo>
                      <a:lnTo>
                        <a:pt x="152" y="182"/>
                      </a:lnTo>
                      <a:lnTo>
                        <a:pt x="152" y="181"/>
                      </a:lnTo>
                      <a:lnTo>
                        <a:pt x="151" y="181"/>
                      </a:lnTo>
                      <a:lnTo>
                        <a:pt x="151" y="182"/>
                      </a:lnTo>
                      <a:lnTo>
                        <a:pt x="151" y="181"/>
                      </a:lnTo>
                      <a:lnTo>
                        <a:pt x="149" y="181"/>
                      </a:lnTo>
                      <a:lnTo>
                        <a:pt x="149" y="179"/>
                      </a:lnTo>
                      <a:lnTo>
                        <a:pt x="149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6" y="179"/>
                      </a:lnTo>
                      <a:lnTo>
                        <a:pt x="144" y="179"/>
                      </a:lnTo>
                      <a:lnTo>
                        <a:pt x="142" y="179"/>
                      </a:lnTo>
                      <a:lnTo>
                        <a:pt x="140" y="179"/>
                      </a:lnTo>
                      <a:lnTo>
                        <a:pt x="139" y="179"/>
                      </a:lnTo>
                      <a:lnTo>
                        <a:pt x="137" y="179"/>
                      </a:lnTo>
                      <a:lnTo>
                        <a:pt x="135" y="179"/>
                      </a:lnTo>
                      <a:lnTo>
                        <a:pt x="135" y="181"/>
                      </a:lnTo>
                      <a:lnTo>
                        <a:pt x="135" y="179"/>
                      </a:lnTo>
                      <a:lnTo>
                        <a:pt x="134" y="179"/>
                      </a:lnTo>
                      <a:lnTo>
                        <a:pt x="134" y="177"/>
                      </a:lnTo>
                      <a:lnTo>
                        <a:pt x="135" y="177"/>
                      </a:lnTo>
                      <a:lnTo>
                        <a:pt x="135" y="176"/>
                      </a:lnTo>
                      <a:lnTo>
                        <a:pt x="135" y="177"/>
                      </a:lnTo>
                      <a:lnTo>
                        <a:pt x="137" y="176"/>
                      </a:lnTo>
                      <a:lnTo>
                        <a:pt x="137" y="174"/>
                      </a:lnTo>
                      <a:lnTo>
                        <a:pt x="137" y="172"/>
                      </a:lnTo>
                      <a:lnTo>
                        <a:pt x="137" y="174"/>
                      </a:lnTo>
                      <a:lnTo>
                        <a:pt x="139" y="172"/>
                      </a:lnTo>
                      <a:lnTo>
                        <a:pt x="140" y="172"/>
                      </a:lnTo>
                      <a:lnTo>
                        <a:pt x="142" y="172"/>
                      </a:lnTo>
                      <a:lnTo>
                        <a:pt x="142" y="171"/>
                      </a:lnTo>
                      <a:lnTo>
                        <a:pt x="144" y="171"/>
                      </a:lnTo>
                      <a:lnTo>
                        <a:pt x="144" y="169"/>
                      </a:lnTo>
                      <a:lnTo>
                        <a:pt x="144" y="167"/>
                      </a:lnTo>
                      <a:lnTo>
                        <a:pt x="146" y="167"/>
                      </a:lnTo>
                      <a:lnTo>
                        <a:pt x="146" y="166"/>
                      </a:lnTo>
                      <a:lnTo>
                        <a:pt x="144" y="166"/>
                      </a:lnTo>
                      <a:lnTo>
                        <a:pt x="144" y="164"/>
                      </a:lnTo>
                      <a:lnTo>
                        <a:pt x="146" y="164"/>
                      </a:lnTo>
                      <a:lnTo>
                        <a:pt x="147" y="164"/>
                      </a:lnTo>
                      <a:lnTo>
                        <a:pt x="147" y="162"/>
                      </a:lnTo>
                      <a:lnTo>
                        <a:pt x="149" y="162"/>
                      </a:lnTo>
                      <a:lnTo>
                        <a:pt x="151" y="162"/>
                      </a:lnTo>
                      <a:lnTo>
                        <a:pt x="151" y="164"/>
                      </a:lnTo>
                      <a:lnTo>
                        <a:pt x="151" y="162"/>
                      </a:lnTo>
                      <a:lnTo>
                        <a:pt x="152" y="162"/>
                      </a:lnTo>
                      <a:lnTo>
                        <a:pt x="152" y="161"/>
                      </a:lnTo>
                      <a:lnTo>
                        <a:pt x="152" y="159"/>
                      </a:lnTo>
                      <a:lnTo>
                        <a:pt x="154" y="159"/>
                      </a:lnTo>
                      <a:lnTo>
                        <a:pt x="154" y="158"/>
                      </a:lnTo>
                      <a:lnTo>
                        <a:pt x="152" y="156"/>
                      </a:lnTo>
                      <a:lnTo>
                        <a:pt x="152" y="154"/>
                      </a:lnTo>
                      <a:lnTo>
                        <a:pt x="151" y="153"/>
                      </a:lnTo>
                      <a:lnTo>
                        <a:pt x="151" y="151"/>
                      </a:lnTo>
                      <a:lnTo>
                        <a:pt x="149" y="151"/>
                      </a:lnTo>
                      <a:lnTo>
                        <a:pt x="149" y="149"/>
                      </a:lnTo>
                      <a:lnTo>
                        <a:pt x="147" y="149"/>
                      </a:lnTo>
                      <a:lnTo>
                        <a:pt x="147" y="148"/>
                      </a:lnTo>
                      <a:lnTo>
                        <a:pt x="149" y="148"/>
                      </a:lnTo>
                      <a:lnTo>
                        <a:pt x="149" y="146"/>
                      </a:lnTo>
                      <a:lnTo>
                        <a:pt x="149" y="144"/>
                      </a:lnTo>
                      <a:lnTo>
                        <a:pt x="151" y="144"/>
                      </a:lnTo>
                      <a:lnTo>
                        <a:pt x="151" y="143"/>
                      </a:lnTo>
                      <a:lnTo>
                        <a:pt x="152" y="141"/>
                      </a:lnTo>
                      <a:lnTo>
                        <a:pt x="154" y="141"/>
                      </a:lnTo>
                      <a:lnTo>
                        <a:pt x="154" y="139"/>
                      </a:lnTo>
                      <a:lnTo>
                        <a:pt x="156" y="139"/>
                      </a:lnTo>
                      <a:lnTo>
                        <a:pt x="157" y="139"/>
                      </a:lnTo>
                      <a:lnTo>
                        <a:pt x="157" y="138"/>
                      </a:lnTo>
                      <a:lnTo>
                        <a:pt x="159" y="138"/>
                      </a:lnTo>
                      <a:lnTo>
                        <a:pt x="159" y="136"/>
                      </a:lnTo>
                      <a:lnTo>
                        <a:pt x="161" y="138"/>
                      </a:lnTo>
                      <a:lnTo>
                        <a:pt x="161" y="136"/>
                      </a:lnTo>
                      <a:lnTo>
                        <a:pt x="162" y="136"/>
                      </a:lnTo>
                      <a:lnTo>
                        <a:pt x="164" y="136"/>
                      </a:lnTo>
                      <a:lnTo>
                        <a:pt x="164" y="135"/>
                      </a:lnTo>
                      <a:lnTo>
                        <a:pt x="166" y="135"/>
                      </a:lnTo>
                      <a:lnTo>
                        <a:pt x="167" y="135"/>
                      </a:lnTo>
                      <a:lnTo>
                        <a:pt x="169" y="135"/>
                      </a:lnTo>
                      <a:lnTo>
                        <a:pt x="167" y="133"/>
                      </a:lnTo>
                      <a:lnTo>
                        <a:pt x="167" y="131"/>
                      </a:lnTo>
                      <a:lnTo>
                        <a:pt x="166" y="131"/>
                      </a:lnTo>
                      <a:lnTo>
                        <a:pt x="164" y="130"/>
                      </a:lnTo>
                      <a:lnTo>
                        <a:pt x="166" y="130"/>
                      </a:lnTo>
                      <a:lnTo>
                        <a:pt x="166" y="128"/>
                      </a:lnTo>
                      <a:lnTo>
                        <a:pt x="164" y="128"/>
                      </a:lnTo>
                      <a:lnTo>
                        <a:pt x="166" y="126"/>
                      </a:lnTo>
                      <a:lnTo>
                        <a:pt x="164" y="126"/>
                      </a:lnTo>
                      <a:lnTo>
                        <a:pt x="162" y="126"/>
                      </a:lnTo>
                      <a:lnTo>
                        <a:pt x="164" y="125"/>
                      </a:lnTo>
                      <a:lnTo>
                        <a:pt x="162" y="125"/>
                      </a:lnTo>
                      <a:lnTo>
                        <a:pt x="161" y="125"/>
                      </a:lnTo>
                      <a:lnTo>
                        <a:pt x="161" y="123"/>
                      </a:lnTo>
                      <a:lnTo>
                        <a:pt x="159" y="123"/>
                      </a:lnTo>
                      <a:lnTo>
                        <a:pt x="157" y="121"/>
                      </a:lnTo>
                      <a:lnTo>
                        <a:pt x="157" y="123"/>
                      </a:lnTo>
                      <a:lnTo>
                        <a:pt x="157" y="121"/>
                      </a:lnTo>
                      <a:lnTo>
                        <a:pt x="156" y="121"/>
                      </a:lnTo>
                      <a:lnTo>
                        <a:pt x="154" y="121"/>
                      </a:lnTo>
                      <a:lnTo>
                        <a:pt x="154" y="120"/>
                      </a:lnTo>
                      <a:lnTo>
                        <a:pt x="152" y="120"/>
                      </a:lnTo>
                      <a:lnTo>
                        <a:pt x="152" y="121"/>
                      </a:lnTo>
                      <a:lnTo>
                        <a:pt x="151" y="120"/>
                      </a:lnTo>
                      <a:lnTo>
                        <a:pt x="151" y="118"/>
                      </a:lnTo>
                      <a:lnTo>
                        <a:pt x="149" y="118"/>
                      </a:lnTo>
                      <a:lnTo>
                        <a:pt x="149" y="116"/>
                      </a:lnTo>
                      <a:lnTo>
                        <a:pt x="147" y="116"/>
                      </a:lnTo>
                      <a:lnTo>
                        <a:pt x="146" y="116"/>
                      </a:lnTo>
                      <a:lnTo>
                        <a:pt x="146" y="115"/>
                      </a:lnTo>
                      <a:lnTo>
                        <a:pt x="144" y="115"/>
                      </a:lnTo>
                      <a:lnTo>
                        <a:pt x="142" y="115"/>
                      </a:lnTo>
                      <a:lnTo>
                        <a:pt x="140" y="115"/>
                      </a:lnTo>
                      <a:lnTo>
                        <a:pt x="139" y="116"/>
                      </a:lnTo>
                      <a:lnTo>
                        <a:pt x="137" y="116"/>
                      </a:lnTo>
                      <a:lnTo>
                        <a:pt x="135" y="116"/>
                      </a:lnTo>
                      <a:lnTo>
                        <a:pt x="134" y="118"/>
                      </a:lnTo>
                      <a:lnTo>
                        <a:pt x="134" y="120"/>
                      </a:lnTo>
                      <a:lnTo>
                        <a:pt x="134" y="121"/>
                      </a:lnTo>
                      <a:lnTo>
                        <a:pt x="132" y="121"/>
                      </a:lnTo>
                      <a:lnTo>
                        <a:pt x="130" y="121"/>
                      </a:lnTo>
                      <a:lnTo>
                        <a:pt x="129" y="123"/>
                      </a:lnTo>
                      <a:lnTo>
                        <a:pt x="127" y="123"/>
                      </a:lnTo>
                      <a:lnTo>
                        <a:pt x="127" y="121"/>
                      </a:lnTo>
                      <a:lnTo>
                        <a:pt x="125" y="123"/>
                      </a:lnTo>
                      <a:lnTo>
                        <a:pt x="122" y="123"/>
                      </a:lnTo>
                      <a:lnTo>
                        <a:pt x="120" y="123"/>
                      </a:lnTo>
                      <a:lnTo>
                        <a:pt x="120" y="125"/>
                      </a:lnTo>
                      <a:lnTo>
                        <a:pt x="120" y="126"/>
                      </a:lnTo>
                      <a:lnTo>
                        <a:pt x="120" y="128"/>
                      </a:lnTo>
                      <a:lnTo>
                        <a:pt x="118" y="128"/>
                      </a:lnTo>
                      <a:lnTo>
                        <a:pt x="117" y="128"/>
                      </a:lnTo>
                      <a:lnTo>
                        <a:pt x="118" y="128"/>
                      </a:lnTo>
                      <a:lnTo>
                        <a:pt x="118" y="130"/>
                      </a:lnTo>
                      <a:lnTo>
                        <a:pt x="117" y="130"/>
                      </a:lnTo>
                      <a:lnTo>
                        <a:pt x="117" y="131"/>
                      </a:lnTo>
                      <a:lnTo>
                        <a:pt x="117" y="133"/>
                      </a:lnTo>
                      <a:lnTo>
                        <a:pt x="115" y="133"/>
                      </a:lnTo>
                      <a:lnTo>
                        <a:pt x="113" y="133"/>
                      </a:lnTo>
                      <a:lnTo>
                        <a:pt x="112" y="136"/>
                      </a:lnTo>
                      <a:lnTo>
                        <a:pt x="108" y="136"/>
                      </a:lnTo>
                      <a:lnTo>
                        <a:pt x="108" y="138"/>
                      </a:lnTo>
                      <a:lnTo>
                        <a:pt x="107" y="138"/>
                      </a:lnTo>
                      <a:lnTo>
                        <a:pt x="105" y="138"/>
                      </a:lnTo>
                      <a:lnTo>
                        <a:pt x="103" y="138"/>
                      </a:lnTo>
                      <a:lnTo>
                        <a:pt x="102" y="139"/>
                      </a:lnTo>
                      <a:lnTo>
                        <a:pt x="102" y="141"/>
                      </a:lnTo>
                      <a:lnTo>
                        <a:pt x="100" y="143"/>
                      </a:lnTo>
                      <a:lnTo>
                        <a:pt x="98" y="143"/>
                      </a:lnTo>
                      <a:lnTo>
                        <a:pt x="98" y="144"/>
                      </a:lnTo>
                      <a:lnTo>
                        <a:pt x="97" y="144"/>
                      </a:lnTo>
                      <a:lnTo>
                        <a:pt x="97" y="146"/>
                      </a:lnTo>
                      <a:lnTo>
                        <a:pt x="95" y="146"/>
                      </a:lnTo>
                      <a:lnTo>
                        <a:pt x="95" y="148"/>
                      </a:lnTo>
                      <a:lnTo>
                        <a:pt x="93" y="148"/>
                      </a:lnTo>
                      <a:lnTo>
                        <a:pt x="91" y="148"/>
                      </a:lnTo>
                      <a:lnTo>
                        <a:pt x="90" y="149"/>
                      </a:lnTo>
                      <a:lnTo>
                        <a:pt x="88" y="149"/>
                      </a:lnTo>
                      <a:lnTo>
                        <a:pt x="85" y="149"/>
                      </a:lnTo>
                      <a:lnTo>
                        <a:pt x="85" y="151"/>
                      </a:lnTo>
                      <a:lnTo>
                        <a:pt x="83" y="153"/>
                      </a:lnTo>
                      <a:lnTo>
                        <a:pt x="81" y="153"/>
                      </a:lnTo>
                      <a:lnTo>
                        <a:pt x="81" y="154"/>
                      </a:lnTo>
                      <a:lnTo>
                        <a:pt x="83" y="154"/>
                      </a:lnTo>
                      <a:lnTo>
                        <a:pt x="81" y="156"/>
                      </a:lnTo>
                      <a:lnTo>
                        <a:pt x="81" y="154"/>
                      </a:lnTo>
                      <a:lnTo>
                        <a:pt x="80" y="154"/>
                      </a:lnTo>
                      <a:lnTo>
                        <a:pt x="80" y="156"/>
                      </a:lnTo>
                      <a:lnTo>
                        <a:pt x="80" y="158"/>
                      </a:lnTo>
                      <a:lnTo>
                        <a:pt x="78" y="158"/>
                      </a:lnTo>
                      <a:lnTo>
                        <a:pt x="76" y="159"/>
                      </a:lnTo>
                      <a:lnTo>
                        <a:pt x="76" y="161"/>
                      </a:lnTo>
                      <a:lnTo>
                        <a:pt x="75" y="161"/>
                      </a:lnTo>
                      <a:lnTo>
                        <a:pt x="73" y="161"/>
                      </a:lnTo>
                      <a:lnTo>
                        <a:pt x="71" y="159"/>
                      </a:lnTo>
                      <a:lnTo>
                        <a:pt x="71" y="161"/>
                      </a:lnTo>
                      <a:lnTo>
                        <a:pt x="70" y="161"/>
                      </a:lnTo>
                      <a:lnTo>
                        <a:pt x="68" y="161"/>
                      </a:lnTo>
                      <a:lnTo>
                        <a:pt x="66" y="161"/>
                      </a:lnTo>
                      <a:lnTo>
                        <a:pt x="64" y="161"/>
                      </a:lnTo>
                      <a:lnTo>
                        <a:pt x="64" y="162"/>
                      </a:lnTo>
                      <a:lnTo>
                        <a:pt x="64" y="164"/>
                      </a:lnTo>
                      <a:lnTo>
                        <a:pt x="66" y="164"/>
                      </a:lnTo>
                      <a:lnTo>
                        <a:pt x="66" y="166"/>
                      </a:lnTo>
                      <a:lnTo>
                        <a:pt x="64" y="166"/>
                      </a:lnTo>
                      <a:lnTo>
                        <a:pt x="63" y="166"/>
                      </a:lnTo>
                      <a:lnTo>
                        <a:pt x="61" y="166"/>
                      </a:lnTo>
                      <a:lnTo>
                        <a:pt x="61" y="164"/>
                      </a:lnTo>
                      <a:lnTo>
                        <a:pt x="59" y="164"/>
                      </a:lnTo>
                      <a:lnTo>
                        <a:pt x="56" y="162"/>
                      </a:lnTo>
                      <a:lnTo>
                        <a:pt x="54" y="162"/>
                      </a:lnTo>
                      <a:lnTo>
                        <a:pt x="54" y="164"/>
                      </a:lnTo>
                      <a:lnTo>
                        <a:pt x="54" y="166"/>
                      </a:lnTo>
                      <a:lnTo>
                        <a:pt x="53" y="164"/>
                      </a:lnTo>
                      <a:lnTo>
                        <a:pt x="51" y="164"/>
                      </a:lnTo>
                      <a:lnTo>
                        <a:pt x="51" y="166"/>
                      </a:lnTo>
                      <a:lnTo>
                        <a:pt x="46" y="164"/>
                      </a:lnTo>
                      <a:lnTo>
                        <a:pt x="44" y="162"/>
                      </a:lnTo>
                      <a:lnTo>
                        <a:pt x="42" y="162"/>
                      </a:lnTo>
                      <a:lnTo>
                        <a:pt x="41" y="162"/>
                      </a:lnTo>
                      <a:lnTo>
                        <a:pt x="42" y="161"/>
                      </a:lnTo>
                      <a:lnTo>
                        <a:pt x="42" y="159"/>
                      </a:lnTo>
                      <a:lnTo>
                        <a:pt x="44" y="158"/>
                      </a:lnTo>
                      <a:lnTo>
                        <a:pt x="42" y="158"/>
                      </a:lnTo>
                      <a:lnTo>
                        <a:pt x="41" y="158"/>
                      </a:lnTo>
                      <a:lnTo>
                        <a:pt x="39" y="158"/>
                      </a:lnTo>
                      <a:lnTo>
                        <a:pt x="39" y="156"/>
                      </a:lnTo>
                      <a:lnTo>
                        <a:pt x="37" y="156"/>
                      </a:lnTo>
                      <a:lnTo>
                        <a:pt x="36" y="156"/>
                      </a:lnTo>
                      <a:lnTo>
                        <a:pt x="34" y="156"/>
                      </a:lnTo>
                      <a:lnTo>
                        <a:pt x="34" y="158"/>
                      </a:lnTo>
                      <a:lnTo>
                        <a:pt x="32" y="158"/>
                      </a:lnTo>
                      <a:lnTo>
                        <a:pt x="31" y="156"/>
                      </a:lnTo>
                      <a:lnTo>
                        <a:pt x="31" y="158"/>
                      </a:lnTo>
                      <a:lnTo>
                        <a:pt x="29" y="158"/>
                      </a:lnTo>
                      <a:lnTo>
                        <a:pt x="27" y="158"/>
                      </a:lnTo>
                      <a:lnTo>
                        <a:pt x="26" y="158"/>
                      </a:lnTo>
                      <a:lnTo>
                        <a:pt x="26" y="159"/>
                      </a:lnTo>
                      <a:lnTo>
                        <a:pt x="24" y="159"/>
                      </a:lnTo>
                      <a:lnTo>
                        <a:pt x="22" y="159"/>
                      </a:lnTo>
                      <a:lnTo>
                        <a:pt x="21" y="159"/>
                      </a:lnTo>
                      <a:lnTo>
                        <a:pt x="22" y="159"/>
                      </a:lnTo>
                      <a:lnTo>
                        <a:pt x="22" y="158"/>
                      </a:lnTo>
                      <a:lnTo>
                        <a:pt x="21" y="159"/>
                      </a:lnTo>
                      <a:lnTo>
                        <a:pt x="19" y="159"/>
                      </a:lnTo>
                      <a:lnTo>
                        <a:pt x="17" y="159"/>
                      </a:lnTo>
                      <a:lnTo>
                        <a:pt x="17" y="158"/>
                      </a:lnTo>
                      <a:lnTo>
                        <a:pt x="17" y="159"/>
                      </a:lnTo>
                      <a:lnTo>
                        <a:pt x="15" y="159"/>
                      </a:lnTo>
                      <a:lnTo>
                        <a:pt x="15" y="158"/>
                      </a:lnTo>
                      <a:lnTo>
                        <a:pt x="14" y="158"/>
                      </a:lnTo>
                      <a:lnTo>
                        <a:pt x="14" y="156"/>
                      </a:lnTo>
                      <a:lnTo>
                        <a:pt x="14" y="154"/>
                      </a:lnTo>
                      <a:lnTo>
                        <a:pt x="12" y="154"/>
                      </a:lnTo>
                      <a:lnTo>
                        <a:pt x="10" y="153"/>
                      </a:lnTo>
                      <a:lnTo>
                        <a:pt x="10" y="151"/>
                      </a:lnTo>
                      <a:lnTo>
                        <a:pt x="9" y="149"/>
                      </a:lnTo>
                      <a:lnTo>
                        <a:pt x="9" y="151"/>
                      </a:lnTo>
                      <a:lnTo>
                        <a:pt x="9" y="149"/>
                      </a:lnTo>
                      <a:lnTo>
                        <a:pt x="7" y="149"/>
                      </a:lnTo>
                      <a:lnTo>
                        <a:pt x="7" y="148"/>
                      </a:lnTo>
                      <a:lnTo>
                        <a:pt x="5" y="148"/>
                      </a:lnTo>
                      <a:lnTo>
                        <a:pt x="5" y="146"/>
                      </a:lnTo>
                      <a:lnTo>
                        <a:pt x="4" y="148"/>
                      </a:lnTo>
                      <a:lnTo>
                        <a:pt x="4" y="146"/>
                      </a:lnTo>
                      <a:lnTo>
                        <a:pt x="5" y="146"/>
                      </a:lnTo>
                      <a:lnTo>
                        <a:pt x="5" y="144"/>
                      </a:lnTo>
                      <a:lnTo>
                        <a:pt x="4" y="144"/>
                      </a:lnTo>
                      <a:lnTo>
                        <a:pt x="5" y="144"/>
                      </a:lnTo>
                      <a:lnTo>
                        <a:pt x="5" y="143"/>
                      </a:lnTo>
                      <a:lnTo>
                        <a:pt x="7" y="143"/>
                      </a:lnTo>
                      <a:lnTo>
                        <a:pt x="9" y="143"/>
                      </a:lnTo>
                      <a:lnTo>
                        <a:pt x="9" y="141"/>
                      </a:lnTo>
                      <a:lnTo>
                        <a:pt x="10" y="141"/>
                      </a:lnTo>
                      <a:lnTo>
                        <a:pt x="10" y="139"/>
                      </a:lnTo>
                      <a:lnTo>
                        <a:pt x="10" y="138"/>
                      </a:lnTo>
                      <a:lnTo>
                        <a:pt x="10" y="136"/>
                      </a:lnTo>
                      <a:lnTo>
                        <a:pt x="12" y="135"/>
                      </a:lnTo>
                      <a:lnTo>
                        <a:pt x="12" y="133"/>
                      </a:lnTo>
                      <a:lnTo>
                        <a:pt x="10" y="133"/>
                      </a:lnTo>
                      <a:lnTo>
                        <a:pt x="10" y="131"/>
                      </a:lnTo>
                      <a:lnTo>
                        <a:pt x="12" y="131"/>
                      </a:lnTo>
                      <a:lnTo>
                        <a:pt x="14" y="131"/>
                      </a:lnTo>
                      <a:lnTo>
                        <a:pt x="15" y="131"/>
                      </a:lnTo>
                      <a:lnTo>
                        <a:pt x="15" y="130"/>
                      </a:lnTo>
                      <a:lnTo>
                        <a:pt x="17" y="130"/>
                      </a:lnTo>
                      <a:lnTo>
                        <a:pt x="17" y="128"/>
                      </a:lnTo>
                      <a:lnTo>
                        <a:pt x="15" y="128"/>
                      </a:lnTo>
                      <a:lnTo>
                        <a:pt x="15" y="126"/>
                      </a:lnTo>
                      <a:lnTo>
                        <a:pt x="17" y="126"/>
                      </a:lnTo>
                      <a:lnTo>
                        <a:pt x="17" y="125"/>
                      </a:lnTo>
                      <a:lnTo>
                        <a:pt x="17" y="123"/>
                      </a:lnTo>
                      <a:lnTo>
                        <a:pt x="19" y="123"/>
                      </a:lnTo>
                      <a:lnTo>
                        <a:pt x="19" y="121"/>
                      </a:lnTo>
                      <a:lnTo>
                        <a:pt x="21" y="121"/>
                      </a:lnTo>
                      <a:lnTo>
                        <a:pt x="21" y="120"/>
                      </a:lnTo>
                      <a:lnTo>
                        <a:pt x="21" y="118"/>
                      </a:lnTo>
                      <a:lnTo>
                        <a:pt x="21" y="116"/>
                      </a:lnTo>
                      <a:lnTo>
                        <a:pt x="21" y="115"/>
                      </a:lnTo>
                      <a:lnTo>
                        <a:pt x="21" y="113"/>
                      </a:lnTo>
                      <a:lnTo>
                        <a:pt x="19" y="113"/>
                      </a:lnTo>
                      <a:lnTo>
                        <a:pt x="21" y="112"/>
                      </a:lnTo>
                      <a:lnTo>
                        <a:pt x="19" y="112"/>
                      </a:lnTo>
                      <a:lnTo>
                        <a:pt x="17" y="112"/>
                      </a:lnTo>
                      <a:lnTo>
                        <a:pt x="17" y="113"/>
                      </a:lnTo>
                      <a:lnTo>
                        <a:pt x="15" y="112"/>
                      </a:lnTo>
                      <a:lnTo>
                        <a:pt x="14" y="112"/>
                      </a:lnTo>
                      <a:lnTo>
                        <a:pt x="14" y="110"/>
                      </a:lnTo>
                      <a:lnTo>
                        <a:pt x="14" y="108"/>
                      </a:lnTo>
                      <a:lnTo>
                        <a:pt x="12" y="107"/>
                      </a:lnTo>
                      <a:lnTo>
                        <a:pt x="10" y="107"/>
                      </a:lnTo>
                      <a:lnTo>
                        <a:pt x="9" y="107"/>
                      </a:lnTo>
                      <a:lnTo>
                        <a:pt x="7" y="107"/>
                      </a:lnTo>
                      <a:lnTo>
                        <a:pt x="7" y="105"/>
                      </a:lnTo>
                      <a:lnTo>
                        <a:pt x="9" y="105"/>
                      </a:lnTo>
                      <a:lnTo>
                        <a:pt x="7" y="105"/>
                      </a:lnTo>
                      <a:lnTo>
                        <a:pt x="7" y="103"/>
                      </a:lnTo>
                      <a:lnTo>
                        <a:pt x="9" y="103"/>
                      </a:lnTo>
                      <a:lnTo>
                        <a:pt x="7" y="102"/>
                      </a:lnTo>
                      <a:lnTo>
                        <a:pt x="9" y="102"/>
                      </a:lnTo>
                      <a:lnTo>
                        <a:pt x="9" y="100"/>
                      </a:lnTo>
                      <a:lnTo>
                        <a:pt x="10" y="98"/>
                      </a:lnTo>
                      <a:lnTo>
                        <a:pt x="9" y="97"/>
                      </a:lnTo>
                      <a:lnTo>
                        <a:pt x="9" y="95"/>
                      </a:lnTo>
                      <a:lnTo>
                        <a:pt x="7" y="93"/>
                      </a:lnTo>
                      <a:lnTo>
                        <a:pt x="7" y="92"/>
                      </a:lnTo>
                      <a:lnTo>
                        <a:pt x="5" y="92"/>
                      </a:lnTo>
                      <a:lnTo>
                        <a:pt x="4" y="90"/>
                      </a:lnTo>
                      <a:lnTo>
                        <a:pt x="2" y="90"/>
                      </a:lnTo>
                      <a:lnTo>
                        <a:pt x="0" y="89"/>
                      </a:lnTo>
                      <a:lnTo>
                        <a:pt x="0" y="87"/>
                      </a:lnTo>
                      <a:lnTo>
                        <a:pt x="2" y="87"/>
                      </a:lnTo>
                      <a:lnTo>
                        <a:pt x="2" y="85"/>
                      </a:lnTo>
                      <a:lnTo>
                        <a:pt x="0" y="85"/>
                      </a:lnTo>
                      <a:lnTo>
                        <a:pt x="0" y="84"/>
                      </a:lnTo>
                      <a:lnTo>
                        <a:pt x="0" y="82"/>
                      </a:lnTo>
                      <a:lnTo>
                        <a:pt x="0" y="80"/>
                      </a:lnTo>
                      <a:lnTo>
                        <a:pt x="2" y="80"/>
                      </a:lnTo>
                      <a:lnTo>
                        <a:pt x="4" y="79"/>
                      </a:lnTo>
                      <a:lnTo>
                        <a:pt x="5" y="77"/>
                      </a:lnTo>
                      <a:lnTo>
                        <a:pt x="5" y="79"/>
                      </a:lnTo>
                      <a:lnTo>
                        <a:pt x="5" y="77"/>
                      </a:lnTo>
                      <a:lnTo>
                        <a:pt x="7" y="77"/>
                      </a:lnTo>
                      <a:lnTo>
                        <a:pt x="9" y="75"/>
                      </a:lnTo>
                      <a:lnTo>
                        <a:pt x="7" y="74"/>
                      </a:lnTo>
                      <a:lnTo>
                        <a:pt x="9" y="74"/>
                      </a:lnTo>
                      <a:lnTo>
                        <a:pt x="10" y="74"/>
                      </a:lnTo>
                      <a:lnTo>
                        <a:pt x="10" y="72"/>
                      </a:lnTo>
                      <a:lnTo>
                        <a:pt x="12" y="72"/>
                      </a:lnTo>
                      <a:lnTo>
                        <a:pt x="12" y="70"/>
                      </a:lnTo>
                      <a:lnTo>
                        <a:pt x="10" y="70"/>
                      </a:lnTo>
                      <a:lnTo>
                        <a:pt x="12" y="70"/>
                      </a:lnTo>
                      <a:lnTo>
                        <a:pt x="14" y="70"/>
                      </a:lnTo>
                      <a:lnTo>
                        <a:pt x="14" y="69"/>
                      </a:lnTo>
                      <a:lnTo>
                        <a:pt x="12" y="69"/>
                      </a:lnTo>
                      <a:lnTo>
                        <a:pt x="12" y="67"/>
                      </a:lnTo>
                      <a:lnTo>
                        <a:pt x="10" y="67"/>
                      </a:lnTo>
                      <a:lnTo>
                        <a:pt x="10" y="66"/>
                      </a:lnTo>
                      <a:lnTo>
                        <a:pt x="10" y="64"/>
                      </a:lnTo>
                      <a:lnTo>
                        <a:pt x="9" y="64"/>
                      </a:lnTo>
                      <a:lnTo>
                        <a:pt x="7" y="64"/>
                      </a:lnTo>
                      <a:lnTo>
                        <a:pt x="9" y="62"/>
                      </a:lnTo>
                      <a:lnTo>
                        <a:pt x="9" y="61"/>
                      </a:lnTo>
                      <a:lnTo>
                        <a:pt x="9" y="59"/>
                      </a:lnTo>
                      <a:lnTo>
                        <a:pt x="10" y="59"/>
                      </a:lnTo>
                      <a:lnTo>
                        <a:pt x="10" y="57"/>
                      </a:lnTo>
                      <a:lnTo>
                        <a:pt x="10" y="56"/>
                      </a:lnTo>
                      <a:lnTo>
                        <a:pt x="10" y="54"/>
                      </a:lnTo>
                      <a:lnTo>
                        <a:pt x="12" y="54"/>
                      </a:lnTo>
                      <a:lnTo>
                        <a:pt x="12" y="52"/>
                      </a:lnTo>
                      <a:lnTo>
                        <a:pt x="10" y="51"/>
                      </a:lnTo>
                      <a:lnTo>
                        <a:pt x="12" y="49"/>
                      </a:lnTo>
                      <a:lnTo>
                        <a:pt x="12" y="47"/>
                      </a:lnTo>
                      <a:lnTo>
                        <a:pt x="14" y="47"/>
                      </a:lnTo>
                      <a:lnTo>
                        <a:pt x="14" y="46"/>
                      </a:lnTo>
                      <a:lnTo>
                        <a:pt x="14" y="44"/>
                      </a:lnTo>
                      <a:lnTo>
                        <a:pt x="15" y="44"/>
                      </a:lnTo>
                      <a:lnTo>
                        <a:pt x="15" y="43"/>
                      </a:lnTo>
                      <a:lnTo>
                        <a:pt x="17" y="43"/>
                      </a:lnTo>
                      <a:lnTo>
                        <a:pt x="17" y="41"/>
                      </a:lnTo>
                      <a:lnTo>
                        <a:pt x="19" y="41"/>
                      </a:lnTo>
                      <a:lnTo>
                        <a:pt x="19" y="39"/>
                      </a:lnTo>
                      <a:lnTo>
                        <a:pt x="19" y="38"/>
                      </a:lnTo>
                      <a:lnTo>
                        <a:pt x="21" y="36"/>
                      </a:lnTo>
                      <a:close/>
                      <a:moveTo>
                        <a:pt x="368" y="89"/>
                      </a:moveTo>
                      <a:lnTo>
                        <a:pt x="370" y="87"/>
                      </a:lnTo>
                      <a:lnTo>
                        <a:pt x="370" y="89"/>
                      </a:lnTo>
                      <a:lnTo>
                        <a:pt x="372" y="89"/>
                      </a:lnTo>
                      <a:lnTo>
                        <a:pt x="370" y="90"/>
                      </a:lnTo>
                      <a:lnTo>
                        <a:pt x="368" y="89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7" name="Freeform 5"/>
                <p:cNvSpPr>
                  <a:spLocks noChangeAspect="1"/>
                </p:cNvSpPr>
                <p:nvPr/>
              </p:nvSpPr>
              <p:spPr bwMode="auto">
                <a:xfrm>
                  <a:off x="3693284" y="5452955"/>
                  <a:ext cx="1174325" cy="1026974"/>
                </a:xfrm>
                <a:custGeom>
                  <a:avLst/>
                  <a:gdLst>
                    <a:gd name="T0" fmla="*/ 2147483647 w 753"/>
                    <a:gd name="T1" fmla="*/ 2147483647 h 614"/>
                    <a:gd name="T2" fmla="*/ 2147483647 w 753"/>
                    <a:gd name="T3" fmla="*/ 2147483647 h 614"/>
                    <a:gd name="T4" fmla="*/ 2147483647 w 753"/>
                    <a:gd name="T5" fmla="*/ 2147483647 h 614"/>
                    <a:gd name="T6" fmla="*/ 2147483647 w 753"/>
                    <a:gd name="T7" fmla="*/ 2147483647 h 614"/>
                    <a:gd name="T8" fmla="*/ 2147483647 w 753"/>
                    <a:gd name="T9" fmla="*/ 2147483647 h 614"/>
                    <a:gd name="T10" fmla="*/ 2147483647 w 753"/>
                    <a:gd name="T11" fmla="*/ 2147483647 h 614"/>
                    <a:gd name="T12" fmla="*/ 2147483647 w 753"/>
                    <a:gd name="T13" fmla="*/ 2147483647 h 614"/>
                    <a:gd name="T14" fmla="*/ 2147483647 w 753"/>
                    <a:gd name="T15" fmla="*/ 2147483647 h 614"/>
                    <a:gd name="T16" fmla="*/ 2147483647 w 753"/>
                    <a:gd name="T17" fmla="*/ 2147483647 h 614"/>
                    <a:gd name="T18" fmla="*/ 2147483647 w 753"/>
                    <a:gd name="T19" fmla="*/ 2147483647 h 614"/>
                    <a:gd name="T20" fmla="*/ 2147483647 w 753"/>
                    <a:gd name="T21" fmla="*/ 2147483647 h 614"/>
                    <a:gd name="T22" fmla="*/ 2147483647 w 753"/>
                    <a:gd name="T23" fmla="*/ 2147483647 h 614"/>
                    <a:gd name="T24" fmla="*/ 2147483647 w 753"/>
                    <a:gd name="T25" fmla="*/ 2147483647 h 614"/>
                    <a:gd name="T26" fmla="*/ 2147483647 w 753"/>
                    <a:gd name="T27" fmla="*/ 2147483647 h 614"/>
                    <a:gd name="T28" fmla="*/ 2147483647 w 753"/>
                    <a:gd name="T29" fmla="*/ 2147483647 h 614"/>
                    <a:gd name="T30" fmla="*/ 2147483647 w 753"/>
                    <a:gd name="T31" fmla="*/ 2147483647 h 614"/>
                    <a:gd name="T32" fmla="*/ 2147483647 w 753"/>
                    <a:gd name="T33" fmla="*/ 2147483647 h 614"/>
                    <a:gd name="T34" fmla="*/ 2147483647 w 753"/>
                    <a:gd name="T35" fmla="*/ 2147483647 h 614"/>
                    <a:gd name="T36" fmla="*/ 2147483647 w 753"/>
                    <a:gd name="T37" fmla="*/ 2147483647 h 614"/>
                    <a:gd name="T38" fmla="*/ 2147483647 w 753"/>
                    <a:gd name="T39" fmla="*/ 2147483647 h 614"/>
                    <a:gd name="T40" fmla="*/ 2147483647 w 753"/>
                    <a:gd name="T41" fmla="*/ 2147483647 h 614"/>
                    <a:gd name="T42" fmla="*/ 2147483647 w 753"/>
                    <a:gd name="T43" fmla="*/ 2147483647 h 614"/>
                    <a:gd name="T44" fmla="*/ 2147483647 w 753"/>
                    <a:gd name="T45" fmla="*/ 2147483647 h 614"/>
                    <a:gd name="T46" fmla="*/ 2147483647 w 753"/>
                    <a:gd name="T47" fmla="*/ 2147483647 h 614"/>
                    <a:gd name="T48" fmla="*/ 2147483647 w 753"/>
                    <a:gd name="T49" fmla="*/ 2147483647 h 614"/>
                    <a:gd name="T50" fmla="*/ 2147483647 w 753"/>
                    <a:gd name="T51" fmla="*/ 2147483647 h 614"/>
                    <a:gd name="T52" fmla="*/ 2147483647 w 753"/>
                    <a:gd name="T53" fmla="*/ 2147483647 h 614"/>
                    <a:gd name="T54" fmla="*/ 2147483647 w 753"/>
                    <a:gd name="T55" fmla="*/ 2147483647 h 614"/>
                    <a:gd name="T56" fmla="*/ 2147483647 w 753"/>
                    <a:gd name="T57" fmla="*/ 2147483647 h 614"/>
                    <a:gd name="T58" fmla="*/ 2147483647 w 753"/>
                    <a:gd name="T59" fmla="*/ 2147483647 h 614"/>
                    <a:gd name="T60" fmla="*/ 2147483647 w 753"/>
                    <a:gd name="T61" fmla="*/ 2147483647 h 614"/>
                    <a:gd name="T62" fmla="*/ 2147483647 w 753"/>
                    <a:gd name="T63" fmla="*/ 0 h 614"/>
                    <a:gd name="T64" fmla="*/ 2147483647 w 753"/>
                    <a:gd name="T65" fmla="*/ 2147483647 h 614"/>
                    <a:gd name="T66" fmla="*/ 2147483647 w 753"/>
                    <a:gd name="T67" fmla="*/ 2147483647 h 614"/>
                    <a:gd name="T68" fmla="*/ 2147483647 w 753"/>
                    <a:gd name="T69" fmla="*/ 2147483647 h 614"/>
                    <a:gd name="T70" fmla="*/ 2147483647 w 753"/>
                    <a:gd name="T71" fmla="*/ 2147483647 h 614"/>
                    <a:gd name="T72" fmla="*/ 2147483647 w 753"/>
                    <a:gd name="T73" fmla="*/ 2147483647 h 614"/>
                    <a:gd name="T74" fmla="*/ 2147483647 w 753"/>
                    <a:gd name="T75" fmla="*/ 2147483647 h 614"/>
                    <a:gd name="T76" fmla="*/ 2147483647 w 753"/>
                    <a:gd name="T77" fmla="*/ 2147483647 h 614"/>
                    <a:gd name="T78" fmla="*/ 2147483647 w 753"/>
                    <a:gd name="T79" fmla="*/ 2147483647 h 614"/>
                    <a:gd name="T80" fmla="*/ 2147483647 w 753"/>
                    <a:gd name="T81" fmla="*/ 2147483647 h 614"/>
                    <a:gd name="T82" fmla="*/ 2147483647 w 753"/>
                    <a:gd name="T83" fmla="*/ 2147483647 h 614"/>
                    <a:gd name="T84" fmla="*/ 2147483647 w 753"/>
                    <a:gd name="T85" fmla="*/ 2147483647 h 614"/>
                    <a:gd name="T86" fmla="*/ 2147483647 w 753"/>
                    <a:gd name="T87" fmla="*/ 2147483647 h 614"/>
                    <a:gd name="T88" fmla="*/ 2147483647 w 753"/>
                    <a:gd name="T89" fmla="*/ 2147483647 h 614"/>
                    <a:gd name="T90" fmla="*/ 2147483647 w 753"/>
                    <a:gd name="T91" fmla="*/ 2147483647 h 614"/>
                    <a:gd name="T92" fmla="*/ 2147483647 w 753"/>
                    <a:gd name="T93" fmla="*/ 2147483647 h 614"/>
                    <a:gd name="T94" fmla="*/ 2147483647 w 753"/>
                    <a:gd name="T95" fmla="*/ 2147483647 h 614"/>
                    <a:gd name="T96" fmla="*/ 2147483647 w 753"/>
                    <a:gd name="T97" fmla="*/ 2147483647 h 614"/>
                    <a:gd name="T98" fmla="*/ 2147483647 w 753"/>
                    <a:gd name="T99" fmla="*/ 2147483647 h 614"/>
                    <a:gd name="T100" fmla="*/ 2147483647 w 753"/>
                    <a:gd name="T101" fmla="*/ 2147483647 h 614"/>
                    <a:gd name="T102" fmla="*/ 2147483647 w 753"/>
                    <a:gd name="T103" fmla="*/ 2147483647 h 614"/>
                    <a:gd name="T104" fmla="*/ 2147483647 w 753"/>
                    <a:gd name="T105" fmla="*/ 2147483647 h 614"/>
                    <a:gd name="T106" fmla="*/ 2147483647 w 753"/>
                    <a:gd name="T107" fmla="*/ 2147483647 h 614"/>
                    <a:gd name="T108" fmla="*/ 2147483647 w 753"/>
                    <a:gd name="T109" fmla="*/ 2147483647 h 614"/>
                    <a:gd name="T110" fmla="*/ 2147483647 w 753"/>
                    <a:gd name="T111" fmla="*/ 2147483647 h 614"/>
                    <a:gd name="T112" fmla="*/ 2147483647 w 753"/>
                    <a:gd name="T113" fmla="*/ 2147483647 h 614"/>
                    <a:gd name="T114" fmla="*/ 2147483647 w 753"/>
                    <a:gd name="T115" fmla="*/ 2147483647 h 614"/>
                    <a:gd name="T116" fmla="*/ 2147483647 w 753"/>
                    <a:gd name="T117" fmla="*/ 2147483647 h 614"/>
                    <a:gd name="T118" fmla="*/ 2147483647 w 753"/>
                    <a:gd name="T119" fmla="*/ 2147483647 h 614"/>
                    <a:gd name="T120" fmla="*/ 2147483647 w 753"/>
                    <a:gd name="T121" fmla="*/ 2147483647 h 614"/>
                    <a:gd name="T122" fmla="*/ 2147483647 w 753"/>
                    <a:gd name="T123" fmla="*/ 2147483647 h 614"/>
                    <a:gd name="T124" fmla="*/ 2147483647 w 753"/>
                    <a:gd name="T125" fmla="*/ 2147483647 h 61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753"/>
                    <a:gd name="T190" fmla="*/ 0 h 614"/>
                    <a:gd name="T191" fmla="*/ 753 w 753"/>
                    <a:gd name="T192" fmla="*/ 614 h 61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753" h="614">
                      <a:moveTo>
                        <a:pt x="424" y="514"/>
                      </a:moveTo>
                      <a:lnTo>
                        <a:pt x="422" y="514"/>
                      </a:lnTo>
                      <a:lnTo>
                        <a:pt x="422" y="512"/>
                      </a:lnTo>
                      <a:lnTo>
                        <a:pt x="419" y="512"/>
                      </a:lnTo>
                      <a:lnTo>
                        <a:pt x="417" y="512"/>
                      </a:lnTo>
                      <a:lnTo>
                        <a:pt x="417" y="511"/>
                      </a:lnTo>
                      <a:lnTo>
                        <a:pt x="417" y="509"/>
                      </a:lnTo>
                      <a:lnTo>
                        <a:pt x="415" y="509"/>
                      </a:lnTo>
                      <a:lnTo>
                        <a:pt x="414" y="509"/>
                      </a:lnTo>
                      <a:lnTo>
                        <a:pt x="414" y="511"/>
                      </a:lnTo>
                      <a:lnTo>
                        <a:pt x="412" y="511"/>
                      </a:lnTo>
                      <a:lnTo>
                        <a:pt x="410" y="509"/>
                      </a:lnTo>
                      <a:lnTo>
                        <a:pt x="409" y="509"/>
                      </a:lnTo>
                      <a:lnTo>
                        <a:pt x="409" y="507"/>
                      </a:lnTo>
                      <a:lnTo>
                        <a:pt x="407" y="507"/>
                      </a:lnTo>
                      <a:lnTo>
                        <a:pt x="405" y="507"/>
                      </a:lnTo>
                      <a:lnTo>
                        <a:pt x="405" y="506"/>
                      </a:lnTo>
                      <a:lnTo>
                        <a:pt x="404" y="506"/>
                      </a:lnTo>
                      <a:lnTo>
                        <a:pt x="404" y="507"/>
                      </a:lnTo>
                      <a:lnTo>
                        <a:pt x="402" y="507"/>
                      </a:lnTo>
                      <a:lnTo>
                        <a:pt x="400" y="506"/>
                      </a:lnTo>
                      <a:lnTo>
                        <a:pt x="400" y="504"/>
                      </a:lnTo>
                      <a:lnTo>
                        <a:pt x="399" y="506"/>
                      </a:lnTo>
                      <a:lnTo>
                        <a:pt x="399" y="504"/>
                      </a:lnTo>
                      <a:lnTo>
                        <a:pt x="397" y="503"/>
                      </a:lnTo>
                      <a:lnTo>
                        <a:pt x="397" y="501"/>
                      </a:lnTo>
                      <a:lnTo>
                        <a:pt x="395" y="499"/>
                      </a:lnTo>
                      <a:lnTo>
                        <a:pt x="395" y="498"/>
                      </a:lnTo>
                      <a:lnTo>
                        <a:pt x="393" y="498"/>
                      </a:lnTo>
                      <a:lnTo>
                        <a:pt x="392" y="498"/>
                      </a:lnTo>
                      <a:lnTo>
                        <a:pt x="390" y="498"/>
                      </a:lnTo>
                      <a:lnTo>
                        <a:pt x="388" y="498"/>
                      </a:lnTo>
                      <a:lnTo>
                        <a:pt x="387" y="498"/>
                      </a:lnTo>
                      <a:lnTo>
                        <a:pt x="387" y="496"/>
                      </a:lnTo>
                      <a:lnTo>
                        <a:pt x="385" y="496"/>
                      </a:lnTo>
                      <a:lnTo>
                        <a:pt x="385" y="494"/>
                      </a:lnTo>
                      <a:lnTo>
                        <a:pt x="383" y="494"/>
                      </a:lnTo>
                      <a:lnTo>
                        <a:pt x="383" y="493"/>
                      </a:lnTo>
                      <a:lnTo>
                        <a:pt x="382" y="493"/>
                      </a:lnTo>
                      <a:lnTo>
                        <a:pt x="382" y="491"/>
                      </a:lnTo>
                      <a:lnTo>
                        <a:pt x="382" y="489"/>
                      </a:lnTo>
                      <a:lnTo>
                        <a:pt x="380" y="489"/>
                      </a:lnTo>
                      <a:lnTo>
                        <a:pt x="378" y="489"/>
                      </a:lnTo>
                      <a:lnTo>
                        <a:pt x="378" y="488"/>
                      </a:lnTo>
                      <a:lnTo>
                        <a:pt x="380" y="486"/>
                      </a:lnTo>
                      <a:lnTo>
                        <a:pt x="378" y="485"/>
                      </a:lnTo>
                      <a:lnTo>
                        <a:pt x="378" y="483"/>
                      </a:lnTo>
                      <a:lnTo>
                        <a:pt x="378" y="481"/>
                      </a:lnTo>
                      <a:lnTo>
                        <a:pt x="378" y="480"/>
                      </a:lnTo>
                      <a:lnTo>
                        <a:pt x="377" y="480"/>
                      </a:lnTo>
                      <a:lnTo>
                        <a:pt x="377" y="478"/>
                      </a:lnTo>
                      <a:lnTo>
                        <a:pt x="375" y="478"/>
                      </a:lnTo>
                      <a:lnTo>
                        <a:pt x="375" y="476"/>
                      </a:lnTo>
                      <a:lnTo>
                        <a:pt x="375" y="475"/>
                      </a:lnTo>
                      <a:lnTo>
                        <a:pt x="375" y="473"/>
                      </a:lnTo>
                      <a:lnTo>
                        <a:pt x="373" y="473"/>
                      </a:lnTo>
                      <a:lnTo>
                        <a:pt x="372" y="471"/>
                      </a:lnTo>
                      <a:lnTo>
                        <a:pt x="373" y="471"/>
                      </a:lnTo>
                      <a:lnTo>
                        <a:pt x="372" y="471"/>
                      </a:lnTo>
                      <a:lnTo>
                        <a:pt x="372" y="470"/>
                      </a:lnTo>
                      <a:lnTo>
                        <a:pt x="372" y="468"/>
                      </a:lnTo>
                      <a:lnTo>
                        <a:pt x="370" y="468"/>
                      </a:lnTo>
                      <a:lnTo>
                        <a:pt x="372" y="466"/>
                      </a:lnTo>
                      <a:lnTo>
                        <a:pt x="370" y="466"/>
                      </a:lnTo>
                      <a:lnTo>
                        <a:pt x="370" y="465"/>
                      </a:lnTo>
                      <a:lnTo>
                        <a:pt x="370" y="463"/>
                      </a:lnTo>
                      <a:lnTo>
                        <a:pt x="372" y="463"/>
                      </a:lnTo>
                      <a:lnTo>
                        <a:pt x="370" y="462"/>
                      </a:lnTo>
                      <a:lnTo>
                        <a:pt x="368" y="462"/>
                      </a:lnTo>
                      <a:lnTo>
                        <a:pt x="368" y="460"/>
                      </a:lnTo>
                      <a:lnTo>
                        <a:pt x="368" y="462"/>
                      </a:lnTo>
                      <a:lnTo>
                        <a:pt x="368" y="460"/>
                      </a:lnTo>
                      <a:lnTo>
                        <a:pt x="368" y="462"/>
                      </a:lnTo>
                      <a:lnTo>
                        <a:pt x="366" y="462"/>
                      </a:lnTo>
                      <a:lnTo>
                        <a:pt x="366" y="460"/>
                      </a:lnTo>
                      <a:lnTo>
                        <a:pt x="365" y="460"/>
                      </a:lnTo>
                      <a:lnTo>
                        <a:pt x="363" y="460"/>
                      </a:lnTo>
                      <a:lnTo>
                        <a:pt x="363" y="458"/>
                      </a:lnTo>
                      <a:lnTo>
                        <a:pt x="361" y="458"/>
                      </a:lnTo>
                      <a:lnTo>
                        <a:pt x="360" y="458"/>
                      </a:lnTo>
                      <a:lnTo>
                        <a:pt x="361" y="458"/>
                      </a:lnTo>
                      <a:lnTo>
                        <a:pt x="360" y="457"/>
                      </a:lnTo>
                      <a:lnTo>
                        <a:pt x="358" y="455"/>
                      </a:lnTo>
                      <a:lnTo>
                        <a:pt x="360" y="455"/>
                      </a:lnTo>
                      <a:lnTo>
                        <a:pt x="358" y="455"/>
                      </a:lnTo>
                      <a:lnTo>
                        <a:pt x="358" y="453"/>
                      </a:lnTo>
                      <a:lnTo>
                        <a:pt x="360" y="453"/>
                      </a:lnTo>
                      <a:lnTo>
                        <a:pt x="358" y="453"/>
                      </a:lnTo>
                      <a:lnTo>
                        <a:pt x="356" y="453"/>
                      </a:lnTo>
                      <a:lnTo>
                        <a:pt x="355" y="453"/>
                      </a:lnTo>
                      <a:lnTo>
                        <a:pt x="355" y="452"/>
                      </a:lnTo>
                      <a:lnTo>
                        <a:pt x="353" y="452"/>
                      </a:lnTo>
                      <a:lnTo>
                        <a:pt x="353" y="450"/>
                      </a:lnTo>
                      <a:lnTo>
                        <a:pt x="351" y="450"/>
                      </a:lnTo>
                      <a:lnTo>
                        <a:pt x="350" y="450"/>
                      </a:lnTo>
                      <a:lnTo>
                        <a:pt x="348" y="450"/>
                      </a:lnTo>
                      <a:lnTo>
                        <a:pt x="348" y="448"/>
                      </a:lnTo>
                      <a:lnTo>
                        <a:pt x="348" y="447"/>
                      </a:lnTo>
                      <a:lnTo>
                        <a:pt x="346" y="447"/>
                      </a:lnTo>
                      <a:lnTo>
                        <a:pt x="346" y="445"/>
                      </a:lnTo>
                      <a:lnTo>
                        <a:pt x="346" y="447"/>
                      </a:lnTo>
                      <a:lnTo>
                        <a:pt x="346" y="445"/>
                      </a:lnTo>
                      <a:lnTo>
                        <a:pt x="345" y="445"/>
                      </a:lnTo>
                      <a:lnTo>
                        <a:pt x="343" y="445"/>
                      </a:lnTo>
                      <a:lnTo>
                        <a:pt x="345" y="445"/>
                      </a:lnTo>
                      <a:lnTo>
                        <a:pt x="343" y="445"/>
                      </a:lnTo>
                      <a:lnTo>
                        <a:pt x="343" y="443"/>
                      </a:lnTo>
                      <a:lnTo>
                        <a:pt x="343" y="445"/>
                      </a:lnTo>
                      <a:lnTo>
                        <a:pt x="341" y="445"/>
                      </a:lnTo>
                      <a:lnTo>
                        <a:pt x="343" y="443"/>
                      </a:lnTo>
                      <a:lnTo>
                        <a:pt x="341" y="443"/>
                      </a:lnTo>
                      <a:lnTo>
                        <a:pt x="341" y="445"/>
                      </a:lnTo>
                      <a:lnTo>
                        <a:pt x="339" y="445"/>
                      </a:lnTo>
                      <a:lnTo>
                        <a:pt x="339" y="447"/>
                      </a:lnTo>
                      <a:lnTo>
                        <a:pt x="338" y="447"/>
                      </a:lnTo>
                      <a:lnTo>
                        <a:pt x="336" y="447"/>
                      </a:lnTo>
                      <a:lnTo>
                        <a:pt x="336" y="448"/>
                      </a:lnTo>
                      <a:lnTo>
                        <a:pt x="336" y="447"/>
                      </a:lnTo>
                      <a:lnTo>
                        <a:pt x="334" y="447"/>
                      </a:lnTo>
                      <a:lnTo>
                        <a:pt x="334" y="445"/>
                      </a:lnTo>
                      <a:lnTo>
                        <a:pt x="333" y="445"/>
                      </a:lnTo>
                      <a:lnTo>
                        <a:pt x="333" y="443"/>
                      </a:lnTo>
                      <a:lnTo>
                        <a:pt x="331" y="443"/>
                      </a:lnTo>
                      <a:lnTo>
                        <a:pt x="331" y="442"/>
                      </a:lnTo>
                      <a:lnTo>
                        <a:pt x="329" y="442"/>
                      </a:lnTo>
                      <a:lnTo>
                        <a:pt x="302" y="422"/>
                      </a:lnTo>
                      <a:lnTo>
                        <a:pt x="302" y="420"/>
                      </a:lnTo>
                      <a:lnTo>
                        <a:pt x="302" y="419"/>
                      </a:lnTo>
                      <a:lnTo>
                        <a:pt x="301" y="419"/>
                      </a:lnTo>
                      <a:lnTo>
                        <a:pt x="301" y="417"/>
                      </a:lnTo>
                      <a:lnTo>
                        <a:pt x="302" y="417"/>
                      </a:lnTo>
                      <a:lnTo>
                        <a:pt x="301" y="417"/>
                      </a:lnTo>
                      <a:lnTo>
                        <a:pt x="301" y="416"/>
                      </a:lnTo>
                      <a:lnTo>
                        <a:pt x="301" y="414"/>
                      </a:lnTo>
                      <a:lnTo>
                        <a:pt x="299" y="414"/>
                      </a:lnTo>
                      <a:lnTo>
                        <a:pt x="299" y="412"/>
                      </a:lnTo>
                      <a:lnTo>
                        <a:pt x="297" y="411"/>
                      </a:lnTo>
                      <a:lnTo>
                        <a:pt x="297" y="409"/>
                      </a:lnTo>
                      <a:lnTo>
                        <a:pt x="296" y="409"/>
                      </a:lnTo>
                      <a:lnTo>
                        <a:pt x="296" y="407"/>
                      </a:lnTo>
                      <a:lnTo>
                        <a:pt x="294" y="407"/>
                      </a:lnTo>
                      <a:lnTo>
                        <a:pt x="292" y="407"/>
                      </a:lnTo>
                      <a:lnTo>
                        <a:pt x="292" y="406"/>
                      </a:lnTo>
                      <a:lnTo>
                        <a:pt x="290" y="406"/>
                      </a:lnTo>
                      <a:lnTo>
                        <a:pt x="290" y="404"/>
                      </a:lnTo>
                      <a:lnTo>
                        <a:pt x="289" y="404"/>
                      </a:lnTo>
                      <a:lnTo>
                        <a:pt x="282" y="404"/>
                      </a:lnTo>
                      <a:lnTo>
                        <a:pt x="280" y="404"/>
                      </a:lnTo>
                      <a:lnTo>
                        <a:pt x="280" y="402"/>
                      </a:lnTo>
                      <a:lnTo>
                        <a:pt x="279" y="402"/>
                      </a:lnTo>
                      <a:lnTo>
                        <a:pt x="277" y="402"/>
                      </a:lnTo>
                      <a:lnTo>
                        <a:pt x="277" y="401"/>
                      </a:lnTo>
                      <a:lnTo>
                        <a:pt x="275" y="401"/>
                      </a:lnTo>
                      <a:lnTo>
                        <a:pt x="274" y="401"/>
                      </a:lnTo>
                      <a:lnTo>
                        <a:pt x="272" y="401"/>
                      </a:lnTo>
                      <a:lnTo>
                        <a:pt x="270" y="401"/>
                      </a:lnTo>
                      <a:lnTo>
                        <a:pt x="269" y="401"/>
                      </a:lnTo>
                      <a:lnTo>
                        <a:pt x="267" y="401"/>
                      </a:lnTo>
                      <a:lnTo>
                        <a:pt x="267" y="402"/>
                      </a:lnTo>
                      <a:lnTo>
                        <a:pt x="265" y="402"/>
                      </a:lnTo>
                      <a:lnTo>
                        <a:pt x="265" y="401"/>
                      </a:lnTo>
                      <a:lnTo>
                        <a:pt x="263" y="401"/>
                      </a:lnTo>
                      <a:lnTo>
                        <a:pt x="263" y="399"/>
                      </a:lnTo>
                      <a:lnTo>
                        <a:pt x="262" y="399"/>
                      </a:lnTo>
                      <a:lnTo>
                        <a:pt x="262" y="397"/>
                      </a:lnTo>
                      <a:lnTo>
                        <a:pt x="260" y="397"/>
                      </a:lnTo>
                      <a:lnTo>
                        <a:pt x="262" y="396"/>
                      </a:lnTo>
                      <a:lnTo>
                        <a:pt x="260" y="396"/>
                      </a:lnTo>
                      <a:lnTo>
                        <a:pt x="262" y="396"/>
                      </a:lnTo>
                      <a:lnTo>
                        <a:pt x="260" y="396"/>
                      </a:lnTo>
                      <a:lnTo>
                        <a:pt x="258" y="397"/>
                      </a:lnTo>
                      <a:lnTo>
                        <a:pt x="258" y="396"/>
                      </a:lnTo>
                      <a:lnTo>
                        <a:pt x="257" y="397"/>
                      </a:lnTo>
                      <a:lnTo>
                        <a:pt x="257" y="396"/>
                      </a:lnTo>
                      <a:lnTo>
                        <a:pt x="255" y="396"/>
                      </a:lnTo>
                      <a:lnTo>
                        <a:pt x="257" y="396"/>
                      </a:lnTo>
                      <a:lnTo>
                        <a:pt x="255" y="396"/>
                      </a:lnTo>
                      <a:lnTo>
                        <a:pt x="257" y="396"/>
                      </a:lnTo>
                      <a:lnTo>
                        <a:pt x="257" y="394"/>
                      </a:lnTo>
                      <a:lnTo>
                        <a:pt x="255" y="394"/>
                      </a:lnTo>
                      <a:lnTo>
                        <a:pt x="253" y="394"/>
                      </a:lnTo>
                      <a:lnTo>
                        <a:pt x="253" y="393"/>
                      </a:lnTo>
                      <a:lnTo>
                        <a:pt x="255" y="393"/>
                      </a:lnTo>
                      <a:lnTo>
                        <a:pt x="253" y="391"/>
                      </a:lnTo>
                      <a:lnTo>
                        <a:pt x="252" y="391"/>
                      </a:lnTo>
                      <a:lnTo>
                        <a:pt x="252" y="389"/>
                      </a:lnTo>
                      <a:lnTo>
                        <a:pt x="252" y="388"/>
                      </a:lnTo>
                      <a:lnTo>
                        <a:pt x="250" y="388"/>
                      </a:lnTo>
                      <a:lnTo>
                        <a:pt x="250" y="386"/>
                      </a:lnTo>
                      <a:lnTo>
                        <a:pt x="248" y="386"/>
                      </a:lnTo>
                      <a:lnTo>
                        <a:pt x="247" y="386"/>
                      </a:lnTo>
                      <a:lnTo>
                        <a:pt x="247" y="388"/>
                      </a:lnTo>
                      <a:lnTo>
                        <a:pt x="247" y="389"/>
                      </a:lnTo>
                      <a:lnTo>
                        <a:pt x="245" y="389"/>
                      </a:lnTo>
                      <a:lnTo>
                        <a:pt x="245" y="391"/>
                      </a:lnTo>
                      <a:lnTo>
                        <a:pt x="245" y="393"/>
                      </a:lnTo>
                      <a:lnTo>
                        <a:pt x="243" y="393"/>
                      </a:lnTo>
                      <a:lnTo>
                        <a:pt x="243" y="391"/>
                      </a:lnTo>
                      <a:lnTo>
                        <a:pt x="241" y="391"/>
                      </a:lnTo>
                      <a:lnTo>
                        <a:pt x="240" y="391"/>
                      </a:lnTo>
                      <a:lnTo>
                        <a:pt x="240" y="389"/>
                      </a:lnTo>
                      <a:lnTo>
                        <a:pt x="238" y="391"/>
                      </a:lnTo>
                      <a:lnTo>
                        <a:pt x="238" y="389"/>
                      </a:lnTo>
                      <a:lnTo>
                        <a:pt x="236" y="389"/>
                      </a:lnTo>
                      <a:lnTo>
                        <a:pt x="236" y="388"/>
                      </a:lnTo>
                      <a:lnTo>
                        <a:pt x="235" y="388"/>
                      </a:lnTo>
                      <a:lnTo>
                        <a:pt x="235" y="386"/>
                      </a:lnTo>
                      <a:lnTo>
                        <a:pt x="233" y="386"/>
                      </a:lnTo>
                      <a:lnTo>
                        <a:pt x="231" y="386"/>
                      </a:lnTo>
                      <a:lnTo>
                        <a:pt x="230" y="386"/>
                      </a:lnTo>
                      <a:lnTo>
                        <a:pt x="228" y="386"/>
                      </a:lnTo>
                      <a:lnTo>
                        <a:pt x="228" y="384"/>
                      </a:lnTo>
                      <a:lnTo>
                        <a:pt x="228" y="386"/>
                      </a:lnTo>
                      <a:lnTo>
                        <a:pt x="228" y="384"/>
                      </a:lnTo>
                      <a:lnTo>
                        <a:pt x="226" y="384"/>
                      </a:lnTo>
                      <a:lnTo>
                        <a:pt x="226" y="383"/>
                      </a:lnTo>
                      <a:lnTo>
                        <a:pt x="226" y="381"/>
                      </a:lnTo>
                      <a:lnTo>
                        <a:pt x="226" y="379"/>
                      </a:lnTo>
                      <a:lnTo>
                        <a:pt x="225" y="379"/>
                      </a:lnTo>
                      <a:lnTo>
                        <a:pt x="223" y="379"/>
                      </a:lnTo>
                      <a:lnTo>
                        <a:pt x="223" y="378"/>
                      </a:lnTo>
                      <a:lnTo>
                        <a:pt x="225" y="378"/>
                      </a:lnTo>
                      <a:lnTo>
                        <a:pt x="223" y="376"/>
                      </a:lnTo>
                      <a:lnTo>
                        <a:pt x="223" y="374"/>
                      </a:lnTo>
                      <a:lnTo>
                        <a:pt x="221" y="374"/>
                      </a:lnTo>
                      <a:lnTo>
                        <a:pt x="220" y="374"/>
                      </a:lnTo>
                      <a:lnTo>
                        <a:pt x="218" y="373"/>
                      </a:lnTo>
                      <a:lnTo>
                        <a:pt x="220" y="373"/>
                      </a:lnTo>
                      <a:lnTo>
                        <a:pt x="220" y="371"/>
                      </a:lnTo>
                      <a:lnTo>
                        <a:pt x="218" y="371"/>
                      </a:lnTo>
                      <a:lnTo>
                        <a:pt x="218" y="370"/>
                      </a:lnTo>
                      <a:lnTo>
                        <a:pt x="220" y="370"/>
                      </a:lnTo>
                      <a:lnTo>
                        <a:pt x="218" y="370"/>
                      </a:lnTo>
                      <a:lnTo>
                        <a:pt x="218" y="368"/>
                      </a:lnTo>
                      <a:lnTo>
                        <a:pt x="216" y="368"/>
                      </a:lnTo>
                      <a:lnTo>
                        <a:pt x="216" y="366"/>
                      </a:lnTo>
                      <a:lnTo>
                        <a:pt x="218" y="365"/>
                      </a:lnTo>
                      <a:lnTo>
                        <a:pt x="216" y="365"/>
                      </a:lnTo>
                      <a:lnTo>
                        <a:pt x="214" y="365"/>
                      </a:lnTo>
                      <a:lnTo>
                        <a:pt x="214" y="363"/>
                      </a:lnTo>
                      <a:lnTo>
                        <a:pt x="213" y="363"/>
                      </a:lnTo>
                      <a:lnTo>
                        <a:pt x="213" y="365"/>
                      </a:lnTo>
                      <a:lnTo>
                        <a:pt x="211" y="365"/>
                      </a:lnTo>
                      <a:lnTo>
                        <a:pt x="211" y="363"/>
                      </a:lnTo>
                      <a:lnTo>
                        <a:pt x="209" y="363"/>
                      </a:lnTo>
                      <a:lnTo>
                        <a:pt x="209" y="361"/>
                      </a:lnTo>
                      <a:lnTo>
                        <a:pt x="209" y="360"/>
                      </a:lnTo>
                      <a:lnTo>
                        <a:pt x="209" y="358"/>
                      </a:lnTo>
                      <a:lnTo>
                        <a:pt x="208" y="358"/>
                      </a:lnTo>
                      <a:lnTo>
                        <a:pt x="206" y="356"/>
                      </a:lnTo>
                      <a:lnTo>
                        <a:pt x="204" y="356"/>
                      </a:lnTo>
                      <a:lnTo>
                        <a:pt x="204" y="355"/>
                      </a:lnTo>
                      <a:lnTo>
                        <a:pt x="203" y="355"/>
                      </a:lnTo>
                      <a:lnTo>
                        <a:pt x="201" y="353"/>
                      </a:lnTo>
                      <a:lnTo>
                        <a:pt x="203" y="353"/>
                      </a:lnTo>
                      <a:lnTo>
                        <a:pt x="201" y="351"/>
                      </a:lnTo>
                      <a:lnTo>
                        <a:pt x="199" y="351"/>
                      </a:lnTo>
                      <a:lnTo>
                        <a:pt x="198" y="351"/>
                      </a:lnTo>
                      <a:lnTo>
                        <a:pt x="198" y="350"/>
                      </a:lnTo>
                      <a:lnTo>
                        <a:pt x="196" y="348"/>
                      </a:lnTo>
                      <a:lnTo>
                        <a:pt x="196" y="347"/>
                      </a:lnTo>
                      <a:lnTo>
                        <a:pt x="194" y="347"/>
                      </a:lnTo>
                      <a:lnTo>
                        <a:pt x="193" y="348"/>
                      </a:lnTo>
                      <a:lnTo>
                        <a:pt x="193" y="347"/>
                      </a:lnTo>
                      <a:lnTo>
                        <a:pt x="191" y="347"/>
                      </a:lnTo>
                      <a:lnTo>
                        <a:pt x="189" y="347"/>
                      </a:lnTo>
                      <a:lnTo>
                        <a:pt x="189" y="348"/>
                      </a:lnTo>
                      <a:lnTo>
                        <a:pt x="187" y="348"/>
                      </a:lnTo>
                      <a:lnTo>
                        <a:pt x="187" y="350"/>
                      </a:lnTo>
                      <a:lnTo>
                        <a:pt x="187" y="351"/>
                      </a:lnTo>
                      <a:lnTo>
                        <a:pt x="189" y="351"/>
                      </a:lnTo>
                      <a:lnTo>
                        <a:pt x="189" y="353"/>
                      </a:lnTo>
                      <a:lnTo>
                        <a:pt x="189" y="355"/>
                      </a:lnTo>
                      <a:lnTo>
                        <a:pt x="187" y="355"/>
                      </a:lnTo>
                      <a:lnTo>
                        <a:pt x="187" y="356"/>
                      </a:lnTo>
                      <a:lnTo>
                        <a:pt x="186" y="356"/>
                      </a:lnTo>
                      <a:lnTo>
                        <a:pt x="186" y="358"/>
                      </a:lnTo>
                      <a:lnTo>
                        <a:pt x="186" y="356"/>
                      </a:lnTo>
                      <a:lnTo>
                        <a:pt x="184" y="356"/>
                      </a:lnTo>
                      <a:lnTo>
                        <a:pt x="182" y="356"/>
                      </a:lnTo>
                      <a:lnTo>
                        <a:pt x="181" y="356"/>
                      </a:lnTo>
                      <a:lnTo>
                        <a:pt x="182" y="358"/>
                      </a:lnTo>
                      <a:lnTo>
                        <a:pt x="181" y="358"/>
                      </a:lnTo>
                      <a:lnTo>
                        <a:pt x="181" y="360"/>
                      </a:lnTo>
                      <a:lnTo>
                        <a:pt x="179" y="360"/>
                      </a:lnTo>
                      <a:lnTo>
                        <a:pt x="179" y="361"/>
                      </a:lnTo>
                      <a:lnTo>
                        <a:pt x="177" y="361"/>
                      </a:lnTo>
                      <a:lnTo>
                        <a:pt x="177" y="363"/>
                      </a:lnTo>
                      <a:lnTo>
                        <a:pt x="176" y="363"/>
                      </a:lnTo>
                      <a:lnTo>
                        <a:pt x="174" y="363"/>
                      </a:lnTo>
                      <a:lnTo>
                        <a:pt x="172" y="363"/>
                      </a:lnTo>
                      <a:lnTo>
                        <a:pt x="172" y="365"/>
                      </a:lnTo>
                      <a:lnTo>
                        <a:pt x="171" y="365"/>
                      </a:lnTo>
                      <a:lnTo>
                        <a:pt x="169" y="365"/>
                      </a:lnTo>
                      <a:lnTo>
                        <a:pt x="169" y="366"/>
                      </a:lnTo>
                      <a:lnTo>
                        <a:pt x="167" y="368"/>
                      </a:lnTo>
                      <a:lnTo>
                        <a:pt x="165" y="368"/>
                      </a:lnTo>
                      <a:lnTo>
                        <a:pt x="164" y="368"/>
                      </a:lnTo>
                      <a:lnTo>
                        <a:pt x="162" y="368"/>
                      </a:lnTo>
                      <a:lnTo>
                        <a:pt x="162" y="370"/>
                      </a:lnTo>
                      <a:lnTo>
                        <a:pt x="160" y="370"/>
                      </a:lnTo>
                      <a:lnTo>
                        <a:pt x="160" y="368"/>
                      </a:lnTo>
                      <a:lnTo>
                        <a:pt x="159" y="368"/>
                      </a:lnTo>
                      <a:lnTo>
                        <a:pt x="157" y="368"/>
                      </a:lnTo>
                      <a:lnTo>
                        <a:pt x="155" y="370"/>
                      </a:lnTo>
                      <a:lnTo>
                        <a:pt x="154" y="370"/>
                      </a:lnTo>
                      <a:lnTo>
                        <a:pt x="154" y="368"/>
                      </a:lnTo>
                      <a:lnTo>
                        <a:pt x="154" y="366"/>
                      </a:lnTo>
                      <a:lnTo>
                        <a:pt x="154" y="365"/>
                      </a:lnTo>
                      <a:lnTo>
                        <a:pt x="154" y="363"/>
                      </a:lnTo>
                      <a:lnTo>
                        <a:pt x="154" y="361"/>
                      </a:lnTo>
                      <a:lnTo>
                        <a:pt x="154" y="360"/>
                      </a:lnTo>
                      <a:lnTo>
                        <a:pt x="155" y="360"/>
                      </a:lnTo>
                      <a:lnTo>
                        <a:pt x="154" y="360"/>
                      </a:lnTo>
                      <a:lnTo>
                        <a:pt x="155" y="360"/>
                      </a:lnTo>
                      <a:lnTo>
                        <a:pt x="155" y="358"/>
                      </a:lnTo>
                      <a:lnTo>
                        <a:pt x="154" y="358"/>
                      </a:lnTo>
                      <a:lnTo>
                        <a:pt x="154" y="356"/>
                      </a:lnTo>
                      <a:lnTo>
                        <a:pt x="154" y="355"/>
                      </a:lnTo>
                      <a:lnTo>
                        <a:pt x="155" y="355"/>
                      </a:lnTo>
                      <a:lnTo>
                        <a:pt x="155" y="353"/>
                      </a:lnTo>
                      <a:lnTo>
                        <a:pt x="154" y="353"/>
                      </a:lnTo>
                      <a:lnTo>
                        <a:pt x="155" y="351"/>
                      </a:lnTo>
                      <a:lnTo>
                        <a:pt x="154" y="351"/>
                      </a:lnTo>
                      <a:lnTo>
                        <a:pt x="155" y="350"/>
                      </a:lnTo>
                      <a:lnTo>
                        <a:pt x="157" y="348"/>
                      </a:lnTo>
                      <a:lnTo>
                        <a:pt x="155" y="348"/>
                      </a:lnTo>
                      <a:lnTo>
                        <a:pt x="155" y="347"/>
                      </a:lnTo>
                      <a:lnTo>
                        <a:pt x="155" y="345"/>
                      </a:lnTo>
                      <a:lnTo>
                        <a:pt x="154" y="345"/>
                      </a:lnTo>
                      <a:lnTo>
                        <a:pt x="154" y="343"/>
                      </a:lnTo>
                      <a:lnTo>
                        <a:pt x="154" y="342"/>
                      </a:lnTo>
                      <a:lnTo>
                        <a:pt x="152" y="342"/>
                      </a:lnTo>
                      <a:lnTo>
                        <a:pt x="152" y="340"/>
                      </a:lnTo>
                      <a:lnTo>
                        <a:pt x="150" y="340"/>
                      </a:lnTo>
                      <a:lnTo>
                        <a:pt x="149" y="340"/>
                      </a:lnTo>
                      <a:lnTo>
                        <a:pt x="149" y="338"/>
                      </a:lnTo>
                      <a:lnTo>
                        <a:pt x="147" y="338"/>
                      </a:lnTo>
                      <a:lnTo>
                        <a:pt x="145" y="338"/>
                      </a:lnTo>
                      <a:lnTo>
                        <a:pt x="145" y="337"/>
                      </a:lnTo>
                      <a:lnTo>
                        <a:pt x="144" y="337"/>
                      </a:lnTo>
                      <a:lnTo>
                        <a:pt x="144" y="335"/>
                      </a:lnTo>
                      <a:lnTo>
                        <a:pt x="142" y="335"/>
                      </a:lnTo>
                      <a:lnTo>
                        <a:pt x="140" y="333"/>
                      </a:lnTo>
                      <a:lnTo>
                        <a:pt x="142" y="333"/>
                      </a:lnTo>
                      <a:lnTo>
                        <a:pt x="142" y="332"/>
                      </a:lnTo>
                      <a:lnTo>
                        <a:pt x="140" y="332"/>
                      </a:lnTo>
                      <a:lnTo>
                        <a:pt x="140" y="330"/>
                      </a:lnTo>
                      <a:lnTo>
                        <a:pt x="138" y="330"/>
                      </a:lnTo>
                      <a:lnTo>
                        <a:pt x="138" y="328"/>
                      </a:lnTo>
                      <a:lnTo>
                        <a:pt x="140" y="328"/>
                      </a:lnTo>
                      <a:lnTo>
                        <a:pt x="138" y="327"/>
                      </a:lnTo>
                      <a:lnTo>
                        <a:pt x="138" y="325"/>
                      </a:lnTo>
                      <a:lnTo>
                        <a:pt x="137" y="325"/>
                      </a:lnTo>
                      <a:lnTo>
                        <a:pt x="135" y="325"/>
                      </a:lnTo>
                      <a:lnTo>
                        <a:pt x="133" y="325"/>
                      </a:lnTo>
                      <a:lnTo>
                        <a:pt x="133" y="324"/>
                      </a:lnTo>
                      <a:lnTo>
                        <a:pt x="133" y="322"/>
                      </a:lnTo>
                      <a:lnTo>
                        <a:pt x="132" y="322"/>
                      </a:lnTo>
                      <a:lnTo>
                        <a:pt x="132" y="324"/>
                      </a:lnTo>
                      <a:lnTo>
                        <a:pt x="130" y="324"/>
                      </a:lnTo>
                      <a:lnTo>
                        <a:pt x="130" y="322"/>
                      </a:lnTo>
                      <a:lnTo>
                        <a:pt x="132" y="322"/>
                      </a:lnTo>
                      <a:lnTo>
                        <a:pt x="130" y="320"/>
                      </a:lnTo>
                      <a:lnTo>
                        <a:pt x="128" y="320"/>
                      </a:lnTo>
                      <a:lnTo>
                        <a:pt x="128" y="319"/>
                      </a:lnTo>
                      <a:lnTo>
                        <a:pt x="128" y="317"/>
                      </a:lnTo>
                      <a:lnTo>
                        <a:pt x="127" y="317"/>
                      </a:lnTo>
                      <a:lnTo>
                        <a:pt x="127" y="319"/>
                      </a:lnTo>
                      <a:lnTo>
                        <a:pt x="125" y="319"/>
                      </a:lnTo>
                      <a:lnTo>
                        <a:pt x="125" y="317"/>
                      </a:lnTo>
                      <a:lnTo>
                        <a:pt x="125" y="319"/>
                      </a:lnTo>
                      <a:lnTo>
                        <a:pt x="123" y="319"/>
                      </a:lnTo>
                      <a:lnTo>
                        <a:pt x="123" y="317"/>
                      </a:lnTo>
                      <a:lnTo>
                        <a:pt x="123" y="315"/>
                      </a:lnTo>
                      <a:lnTo>
                        <a:pt x="122" y="315"/>
                      </a:lnTo>
                      <a:lnTo>
                        <a:pt x="122" y="314"/>
                      </a:lnTo>
                      <a:lnTo>
                        <a:pt x="120" y="315"/>
                      </a:lnTo>
                      <a:lnTo>
                        <a:pt x="122" y="315"/>
                      </a:lnTo>
                      <a:lnTo>
                        <a:pt x="120" y="315"/>
                      </a:lnTo>
                      <a:lnTo>
                        <a:pt x="118" y="315"/>
                      </a:lnTo>
                      <a:lnTo>
                        <a:pt x="118" y="314"/>
                      </a:lnTo>
                      <a:lnTo>
                        <a:pt x="118" y="315"/>
                      </a:lnTo>
                      <a:lnTo>
                        <a:pt x="118" y="314"/>
                      </a:lnTo>
                      <a:lnTo>
                        <a:pt x="118" y="312"/>
                      </a:lnTo>
                      <a:lnTo>
                        <a:pt x="117" y="312"/>
                      </a:lnTo>
                      <a:lnTo>
                        <a:pt x="118" y="310"/>
                      </a:lnTo>
                      <a:lnTo>
                        <a:pt x="117" y="310"/>
                      </a:lnTo>
                      <a:lnTo>
                        <a:pt x="117" y="309"/>
                      </a:lnTo>
                      <a:lnTo>
                        <a:pt x="115" y="309"/>
                      </a:lnTo>
                      <a:lnTo>
                        <a:pt x="113" y="309"/>
                      </a:lnTo>
                      <a:lnTo>
                        <a:pt x="113" y="307"/>
                      </a:lnTo>
                      <a:lnTo>
                        <a:pt x="113" y="305"/>
                      </a:lnTo>
                      <a:lnTo>
                        <a:pt x="111" y="305"/>
                      </a:lnTo>
                      <a:lnTo>
                        <a:pt x="111" y="304"/>
                      </a:lnTo>
                      <a:lnTo>
                        <a:pt x="111" y="305"/>
                      </a:lnTo>
                      <a:lnTo>
                        <a:pt x="110" y="305"/>
                      </a:lnTo>
                      <a:lnTo>
                        <a:pt x="108" y="305"/>
                      </a:lnTo>
                      <a:lnTo>
                        <a:pt x="108" y="304"/>
                      </a:lnTo>
                      <a:lnTo>
                        <a:pt x="106" y="302"/>
                      </a:lnTo>
                      <a:lnTo>
                        <a:pt x="105" y="302"/>
                      </a:lnTo>
                      <a:lnTo>
                        <a:pt x="103" y="302"/>
                      </a:lnTo>
                      <a:lnTo>
                        <a:pt x="103" y="301"/>
                      </a:lnTo>
                      <a:lnTo>
                        <a:pt x="105" y="301"/>
                      </a:lnTo>
                      <a:lnTo>
                        <a:pt x="105" y="299"/>
                      </a:lnTo>
                      <a:lnTo>
                        <a:pt x="105" y="297"/>
                      </a:lnTo>
                      <a:lnTo>
                        <a:pt x="103" y="297"/>
                      </a:lnTo>
                      <a:lnTo>
                        <a:pt x="103" y="299"/>
                      </a:lnTo>
                      <a:lnTo>
                        <a:pt x="101" y="297"/>
                      </a:lnTo>
                      <a:lnTo>
                        <a:pt x="101" y="296"/>
                      </a:lnTo>
                      <a:lnTo>
                        <a:pt x="100" y="296"/>
                      </a:lnTo>
                      <a:lnTo>
                        <a:pt x="98" y="296"/>
                      </a:lnTo>
                      <a:lnTo>
                        <a:pt x="98" y="297"/>
                      </a:lnTo>
                      <a:lnTo>
                        <a:pt x="96" y="297"/>
                      </a:lnTo>
                      <a:lnTo>
                        <a:pt x="96" y="296"/>
                      </a:lnTo>
                      <a:lnTo>
                        <a:pt x="98" y="296"/>
                      </a:lnTo>
                      <a:lnTo>
                        <a:pt x="98" y="294"/>
                      </a:lnTo>
                      <a:lnTo>
                        <a:pt x="96" y="294"/>
                      </a:lnTo>
                      <a:lnTo>
                        <a:pt x="95" y="292"/>
                      </a:lnTo>
                      <a:lnTo>
                        <a:pt x="96" y="292"/>
                      </a:lnTo>
                      <a:lnTo>
                        <a:pt x="95" y="291"/>
                      </a:lnTo>
                      <a:lnTo>
                        <a:pt x="95" y="289"/>
                      </a:lnTo>
                      <a:lnTo>
                        <a:pt x="93" y="289"/>
                      </a:lnTo>
                      <a:lnTo>
                        <a:pt x="91" y="289"/>
                      </a:lnTo>
                      <a:lnTo>
                        <a:pt x="93" y="289"/>
                      </a:lnTo>
                      <a:lnTo>
                        <a:pt x="95" y="289"/>
                      </a:lnTo>
                      <a:lnTo>
                        <a:pt x="95" y="287"/>
                      </a:lnTo>
                      <a:lnTo>
                        <a:pt x="93" y="289"/>
                      </a:lnTo>
                      <a:lnTo>
                        <a:pt x="93" y="287"/>
                      </a:lnTo>
                      <a:lnTo>
                        <a:pt x="91" y="287"/>
                      </a:lnTo>
                      <a:lnTo>
                        <a:pt x="89" y="287"/>
                      </a:lnTo>
                      <a:lnTo>
                        <a:pt x="88" y="287"/>
                      </a:lnTo>
                      <a:lnTo>
                        <a:pt x="88" y="286"/>
                      </a:lnTo>
                      <a:lnTo>
                        <a:pt x="86" y="284"/>
                      </a:lnTo>
                      <a:lnTo>
                        <a:pt x="84" y="284"/>
                      </a:lnTo>
                      <a:lnTo>
                        <a:pt x="83" y="284"/>
                      </a:lnTo>
                      <a:lnTo>
                        <a:pt x="81" y="284"/>
                      </a:lnTo>
                      <a:lnTo>
                        <a:pt x="81" y="283"/>
                      </a:lnTo>
                      <a:lnTo>
                        <a:pt x="81" y="281"/>
                      </a:lnTo>
                      <a:lnTo>
                        <a:pt x="79" y="281"/>
                      </a:lnTo>
                      <a:lnTo>
                        <a:pt x="79" y="279"/>
                      </a:lnTo>
                      <a:lnTo>
                        <a:pt x="78" y="279"/>
                      </a:lnTo>
                      <a:lnTo>
                        <a:pt x="78" y="278"/>
                      </a:lnTo>
                      <a:lnTo>
                        <a:pt x="76" y="278"/>
                      </a:lnTo>
                      <a:lnTo>
                        <a:pt x="74" y="278"/>
                      </a:lnTo>
                      <a:lnTo>
                        <a:pt x="73" y="278"/>
                      </a:lnTo>
                      <a:lnTo>
                        <a:pt x="71" y="278"/>
                      </a:lnTo>
                      <a:lnTo>
                        <a:pt x="71" y="279"/>
                      </a:lnTo>
                      <a:lnTo>
                        <a:pt x="69" y="279"/>
                      </a:lnTo>
                      <a:lnTo>
                        <a:pt x="69" y="278"/>
                      </a:lnTo>
                      <a:lnTo>
                        <a:pt x="68" y="278"/>
                      </a:lnTo>
                      <a:lnTo>
                        <a:pt x="66" y="278"/>
                      </a:lnTo>
                      <a:lnTo>
                        <a:pt x="64" y="279"/>
                      </a:lnTo>
                      <a:lnTo>
                        <a:pt x="64" y="278"/>
                      </a:lnTo>
                      <a:lnTo>
                        <a:pt x="62" y="278"/>
                      </a:lnTo>
                      <a:lnTo>
                        <a:pt x="61" y="278"/>
                      </a:lnTo>
                      <a:lnTo>
                        <a:pt x="59" y="278"/>
                      </a:lnTo>
                      <a:lnTo>
                        <a:pt x="57" y="278"/>
                      </a:lnTo>
                      <a:lnTo>
                        <a:pt x="57" y="279"/>
                      </a:lnTo>
                      <a:lnTo>
                        <a:pt x="56" y="279"/>
                      </a:lnTo>
                      <a:lnTo>
                        <a:pt x="56" y="278"/>
                      </a:lnTo>
                      <a:lnTo>
                        <a:pt x="54" y="279"/>
                      </a:lnTo>
                      <a:lnTo>
                        <a:pt x="54" y="278"/>
                      </a:lnTo>
                      <a:lnTo>
                        <a:pt x="52" y="278"/>
                      </a:lnTo>
                      <a:lnTo>
                        <a:pt x="52" y="279"/>
                      </a:lnTo>
                      <a:lnTo>
                        <a:pt x="52" y="281"/>
                      </a:lnTo>
                      <a:lnTo>
                        <a:pt x="52" y="279"/>
                      </a:lnTo>
                      <a:lnTo>
                        <a:pt x="51" y="279"/>
                      </a:lnTo>
                      <a:lnTo>
                        <a:pt x="49" y="279"/>
                      </a:lnTo>
                      <a:lnTo>
                        <a:pt x="49" y="281"/>
                      </a:lnTo>
                      <a:lnTo>
                        <a:pt x="51" y="281"/>
                      </a:lnTo>
                      <a:lnTo>
                        <a:pt x="51" y="283"/>
                      </a:lnTo>
                      <a:lnTo>
                        <a:pt x="49" y="283"/>
                      </a:lnTo>
                      <a:lnTo>
                        <a:pt x="47" y="284"/>
                      </a:lnTo>
                      <a:lnTo>
                        <a:pt x="47" y="286"/>
                      </a:lnTo>
                      <a:lnTo>
                        <a:pt x="46" y="286"/>
                      </a:lnTo>
                      <a:lnTo>
                        <a:pt x="46" y="287"/>
                      </a:lnTo>
                      <a:lnTo>
                        <a:pt x="44" y="287"/>
                      </a:lnTo>
                      <a:lnTo>
                        <a:pt x="46" y="287"/>
                      </a:lnTo>
                      <a:lnTo>
                        <a:pt x="44" y="287"/>
                      </a:lnTo>
                      <a:lnTo>
                        <a:pt x="44" y="289"/>
                      </a:lnTo>
                      <a:lnTo>
                        <a:pt x="46" y="289"/>
                      </a:lnTo>
                      <a:lnTo>
                        <a:pt x="44" y="289"/>
                      </a:lnTo>
                      <a:lnTo>
                        <a:pt x="46" y="289"/>
                      </a:lnTo>
                      <a:lnTo>
                        <a:pt x="46" y="291"/>
                      </a:lnTo>
                      <a:lnTo>
                        <a:pt x="46" y="292"/>
                      </a:lnTo>
                      <a:lnTo>
                        <a:pt x="44" y="291"/>
                      </a:lnTo>
                      <a:lnTo>
                        <a:pt x="44" y="292"/>
                      </a:lnTo>
                      <a:lnTo>
                        <a:pt x="42" y="292"/>
                      </a:lnTo>
                      <a:lnTo>
                        <a:pt x="42" y="294"/>
                      </a:lnTo>
                      <a:lnTo>
                        <a:pt x="41" y="296"/>
                      </a:lnTo>
                      <a:lnTo>
                        <a:pt x="39" y="296"/>
                      </a:lnTo>
                      <a:lnTo>
                        <a:pt x="37" y="296"/>
                      </a:lnTo>
                      <a:lnTo>
                        <a:pt x="35" y="296"/>
                      </a:lnTo>
                      <a:lnTo>
                        <a:pt x="37" y="294"/>
                      </a:lnTo>
                      <a:lnTo>
                        <a:pt x="35" y="294"/>
                      </a:lnTo>
                      <a:lnTo>
                        <a:pt x="35" y="296"/>
                      </a:lnTo>
                      <a:lnTo>
                        <a:pt x="34" y="296"/>
                      </a:lnTo>
                      <a:lnTo>
                        <a:pt x="32" y="296"/>
                      </a:lnTo>
                      <a:lnTo>
                        <a:pt x="32" y="294"/>
                      </a:lnTo>
                      <a:lnTo>
                        <a:pt x="32" y="292"/>
                      </a:lnTo>
                      <a:lnTo>
                        <a:pt x="30" y="292"/>
                      </a:lnTo>
                      <a:lnTo>
                        <a:pt x="30" y="294"/>
                      </a:lnTo>
                      <a:lnTo>
                        <a:pt x="29" y="294"/>
                      </a:lnTo>
                      <a:lnTo>
                        <a:pt x="27" y="294"/>
                      </a:lnTo>
                      <a:lnTo>
                        <a:pt x="27" y="296"/>
                      </a:lnTo>
                      <a:lnTo>
                        <a:pt x="27" y="294"/>
                      </a:lnTo>
                      <a:lnTo>
                        <a:pt x="25" y="294"/>
                      </a:lnTo>
                      <a:lnTo>
                        <a:pt x="24" y="296"/>
                      </a:lnTo>
                      <a:lnTo>
                        <a:pt x="24" y="297"/>
                      </a:lnTo>
                      <a:lnTo>
                        <a:pt x="22" y="297"/>
                      </a:lnTo>
                      <a:lnTo>
                        <a:pt x="20" y="297"/>
                      </a:lnTo>
                      <a:lnTo>
                        <a:pt x="20" y="296"/>
                      </a:lnTo>
                      <a:lnTo>
                        <a:pt x="22" y="296"/>
                      </a:lnTo>
                      <a:lnTo>
                        <a:pt x="20" y="296"/>
                      </a:lnTo>
                      <a:lnTo>
                        <a:pt x="20" y="294"/>
                      </a:lnTo>
                      <a:lnTo>
                        <a:pt x="19" y="294"/>
                      </a:lnTo>
                      <a:lnTo>
                        <a:pt x="17" y="294"/>
                      </a:lnTo>
                      <a:lnTo>
                        <a:pt x="15" y="294"/>
                      </a:lnTo>
                      <a:lnTo>
                        <a:pt x="13" y="294"/>
                      </a:lnTo>
                      <a:lnTo>
                        <a:pt x="13" y="296"/>
                      </a:lnTo>
                      <a:lnTo>
                        <a:pt x="12" y="296"/>
                      </a:lnTo>
                      <a:lnTo>
                        <a:pt x="10" y="296"/>
                      </a:lnTo>
                      <a:lnTo>
                        <a:pt x="8" y="294"/>
                      </a:lnTo>
                      <a:lnTo>
                        <a:pt x="7" y="294"/>
                      </a:lnTo>
                      <a:lnTo>
                        <a:pt x="7" y="292"/>
                      </a:lnTo>
                      <a:lnTo>
                        <a:pt x="7" y="291"/>
                      </a:lnTo>
                      <a:lnTo>
                        <a:pt x="8" y="289"/>
                      </a:lnTo>
                      <a:lnTo>
                        <a:pt x="7" y="289"/>
                      </a:lnTo>
                      <a:lnTo>
                        <a:pt x="3" y="286"/>
                      </a:lnTo>
                      <a:lnTo>
                        <a:pt x="2" y="286"/>
                      </a:lnTo>
                      <a:lnTo>
                        <a:pt x="0" y="287"/>
                      </a:lnTo>
                      <a:lnTo>
                        <a:pt x="0" y="286"/>
                      </a:lnTo>
                      <a:lnTo>
                        <a:pt x="2" y="286"/>
                      </a:lnTo>
                      <a:lnTo>
                        <a:pt x="3" y="286"/>
                      </a:lnTo>
                      <a:lnTo>
                        <a:pt x="7" y="286"/>
                      </a:lnTo>
                      <a:lnTo>
                        <a:pt x="7" y="284"/>
                      </a:lnTo>
                      <a:lnTo>
                        <a:pt x="8" y="284"/>
                      </a:lnTo>
                      <a:lnTo>
                        <a:pt x="10" y="284"/>
                      </a:lnTo>
                      <a:lnTo>
                        <a:pt x="13" y="281"/>
                      </a:lnTo>
                      <a:lnTo>
                        <a:pt x="15" y="281"/>
                      </a:lnTo>
                      <a:lnTo>
                        <a:pt x="17" y="279"/>
                      </a:lnTo>
                      <a:lnTo>
                        <a:pt x="17" y="278"/>
                      </a:lnTo>
                      <a:lnTo>
                        <a:pt x="19" y="276"/>
                      </a:lnTo>
                      <a:lnTo>
                        <a:pt x="19" y="274"/>
                      </a:lnTo>
                      <a:lnTo>
                        <a:pt x="22" y="271"/>
                      </a:lnTo>
                      <a:lnTo>
                        <a:pt x="24" y="271"/>
                      </a:lnTo>
                      <a:lnTo>
                        <a:pt x="27" y="269"/>
                      </a:lnTo>
                      <a:lnTo>
                        <a:pt x="29" y="268"/>
                      </a:lnTo>
                      <a:lnTo>
                        <a:pt x="29" y="266"/>
                      </a:lnTo>
                      <a:lnTo>
                        <a:pt x="30" y="264"/>
                      </a:lnTo>
                      <a:lnTo>
                        <a:pt x="30" y="263"/>
                      </a:lnTo>
                      <a:lnTo>
                        <a:pt x="30" y="261"/>
                      </a:lnTo>
                      <a:lnTo>
                        <a:pt x="29" y="260"/>
                      </a:lnTo>
                      <a:lnTo>
                        <a:pt x="29" y="258"/>
                      </a:lnTo>
                      <a:lnTo>
                        <a:pt x="30" y="256"/>
                      </a:lnTo>
                      <a:lnTo>
                        <a:pt x="32" y="253"/>
                      </a:lnTo>
                      <a:lnTo>
                        <a:pt x="34" y="253"/>
                      </a:lnTo>
                      <a:lnTo>
                        <a:pt x="35" y="251"/>
                      </a:lnTo>
                      <a:lnTo>
                        <a:pt x="37" y="250"/>
                      </a:lnTo>
                      <a:lnTo>
                        <a:pt x="39" y="248"/>
                      </a:lnTo>
                      <a:lnTo>
                        <a:pt x="42" y="248"/>
                      </a:lnTo>
                      <a:lnTo>
                        <a:pt x="44" y="250"/>
                      </a:lnTo>
                      <a:lnTo>
                        <a:pt x="49" y="248"/>
                      </a:lnTo>
                      <a:lnTo>
                        <a:pt x="51" y="246"/>
                      </a:lnTo>
                      <a:lnTo>
                        <a:pt x="56" y="241"/>
                      </a:lnTo>
                      <a:lnTo>
                        <a:pt x="57" y="241"/>
                      </a:lnTo>
                      <a:lnTo>
                        <a:pt x="57" y="240"/>
                      </a:lnTo>
                      <a:lnTo>
                        <a:pt x="59" y="240"/>
                      </a:lnTo>
                      <a:lnTo>
                        <a:pt x="59" y="238"/>
                      </a:lnTo>
                      <a:lnTo>
                        <a:pt x="59" y="237"/>
                      </a:lnTo>
                      <a:lnTo>
                        <a:pt x="61" y="237"/>
                      </a:lnTo>
                      <a:lnTo>
                        <a:pt x="62" y="237"/>
                      </a:lnTo>
                      <a:lnTo>
                        <a:pt x="64" y="237"/>
                      </a:lnTo>
                      <a:lnTo>
                        <a:pt x="64" y="235"/>
                      </a:lnTo>
                      <a:lnTo>
                        <a:pt x="62" y="233"/>
                      </a:lnTo>
                      <a:lnTo>
                        <a:pt x="64" y="232"/>
                      </a:lnTo>
                      <a:lnTo>
                        <a:pt x="64" y="230"/>
                      </a:lnTo>
                      <a:lnTo>
                        <a:pt x="66" y="230"/>
                      </a:lnTo>
                      <a:lnTo>
                        <a:pt x="68" y="228"/>
                      </a:lnTo>
                      <a:lnTo>
                        <a:pt x="69" y="227"/>
                      </a:lnTo>
                      <a:lnTo>
                        <a:pt x="71" y="225"/>
                      </a:lnTo>
                      <a:lnTo>
                        <a:pt x="73" y="225"/>
                      </a:lnTo>
                      <a:lnTo>
                        <a:pt x="73" y="223"/>
                      </a:lnTo>
                      <a:lnTo>
                        <a:pt x="76" y="223"/>
                      </a:lnTo>
                      <a:lnTo>
                        <a:pt x="78" y="222"/>
                      </a:lnTo>
                      <a:lnTo>
                        <a:pt x="78" y="220"/>
                      </a:lnTo>
                      <a:lnTo>
                        <a:pt x="79" y="220"/>
                      </a:lnTo>
                      <a:lnTo>
                        <a:pt x="79" y="218"/>
                      </a:lnTo>
                      <a:lnTo>
                        <a:pt x="81" y="217"/>
                      </a:lnTo>
                      <a:lnTo>
                        <a:pt x="81" y="215"/>
                      </a:lnTo>
                      <a:lnTo>
                        <a:pt x="81" y="214"/>
                      </a:lnTo>
                      <a:lnTo>
                        <a:pt x="83" y="212"/>
                      </a:lnTo>
                      <a:lnTo>
                        <a:pt x="83" y="210"/>
                      </a:lnTo>
                      <a:lnTo>
                        <a:pt x="84" y="210"/>
                      </a:lnTo>
                      <a:lnTo>
                        <a:pt x="88" y="210"/>
                      </a:lnTo>
                      <a:lnTo>
                        <a:pt x="89" y="209"/>
                      </a:lnTo>
                      <a:lnTo>
                        <a:pt x="89" y="207"/>
                      </a:lnTo>
                      <a:lnTo>
                        <a:pt x="91" y="205"/>
                      </a:lnTo>
                      <a:lnTo>
                        <a:pt x="93" y="202"/>
                      </a:lnTo>
                      <a:lnTo>
                        <a:pt x="95" y="200"/>
                      </a:lnTo>
                      <a:lnTo>
                        <a:pt x="93" y="199"/>
                      </a:lnTo>
                      <a:lnTo>
                        <a:pt x="93" y="197"/>
                      </a:lnTo>
                      <a:lnTo>
                        <a:pt x="95" y="195"/>
                      </a:lnTo>
                      <a:lnTo>
                        <a:pt x="96" y="194"/>
                      </a:lnTo>
                      <a:lnTo>
                        <a:pt x="98" y="192"/>
                      </a:lnTo>
                      <a:lnTo>
                        <a:pt x="98" y="191"/>
                      </a:lnTo>
                      <a:lnTo>
                        <a:pt x="100" y="189"/>
                      </a:lnTo>
                      <a:lnTo>
                        <a:pt x="100" y="187"/>
                      </a:lnTo>
                      <a:lnTo>
                        <a:pt x="101" y="187"/>
                      </a:lnTo>
                      <a:lnTo>
                        <a:pt x="103" y="187"/>
                      </a:lnTo>
                      <a:lnTo>
                        <a:pt x="105" y="187"/>
                      </a:lnTo>
                      <a:lnTo>
                        <a:pt x="106" y="186"/>
                      </a:lnTo>
                      <a:lnTo>
                        <a:pt x="115" y="184"/>
                      </a:lnTo>
                      <a:lnTo>
                        <a:pt x="117" y="184"/>
                      </a:lnTo>
                      <a:lnTo>
                        <a:pt x="117" y="182"/>
                      </a:lnTo>
                      <a:lnTo>
                        <a:pt x="117" y="181"/>
                      </a:lnTo>
                      <a:lnTo>
                        <a:pt x="118" y="179"/>
                      </a:lnTo>
                      <a:lnTo>
                        <a:pt x="117" y="177"/>
                      </a:lnTo>
                      <a:lnTo>
                        <a:pt x="117" y="176"/>
                      </a:lnTo>
                      <a:lnTo>
                        <a:pt x="117" y="174"/>
                      </a:lnTo>
                      <a:lnTo>
                        <a:pt x="118" y="172"/>
                      </a:lnTo>
                      <a:lnTo>
                        <a:pt x="120" y="172"/>
                      </a:lnTo>
                      <a:lnTo>
                        <a:pt x="122" y="172"/>
                      </a:lnTo>
                      <a:lnTo>
                        <a:pt x="122" y="171"/>
                      </a:lnTo>
                      <a:lnTo>
                        <a:pt x="123" y="171"/>
                      </a:lnTo>
                      <a:lnTo>
                        <a:pt x="125" y="169"/>
                      </a:lnTo>
                      <a:lnTo>
                        <a:pt x="127" y="168"/>
                      </a:lnTo>
                      <a:lnTo>
                        <a:pt x="127" y="166"/>
                      </a:lnTo>
                      <a:lnTo>
                        <a:pt x="127" y="164"/>
                      </a:lnTo>
                      <a:lnTo>
                        <a:pt x="127" y="161"/>
                      </a:lnTo>
                      <a:lnTo>
                        <a:pt x="127" y="159"/>
                      </a:lnTo>
                      <a:lnTo>
                        <a:pt x="127" y="158"/>
                      </a:lnTo>
                      <a:lnTo>
                        <a:pt x="128" y="158"/>
                      </a:lnTo>
                      <a:lnTo>
                        <a:pt x="130" y="156"/>
                      </a:lnTo>
                      <a:lnTo>
                        <a:pt x="132" y="156"/>
                      </a:lnTo>
                      <a:lnTo>
                        <a:pt x="133" y="156"/>
                      </a:lnTo>
                      <a:lnTo>
                        <a:pt x="135" y="156"/>
                      </a:lnTo>
                      <a:lnTo>
                        <a:pt x="137" y="156"/>
                      </a:lnTo>
                      <a:lnTo>
                        <a:pt x="138" y="156"/>
                      </a:lnTo>
                      <a:lnTo>
                        <a:pt x="138" y="154"/>
                      </a:lnTo>
                      <a:lnTo>
                        <a:pt x="140" y="154"/>
                      </a:lnTo>
                      <a:lnTo>
                        <a:pt x="140" y="153"/>
                      </a:lnTo>
                      <a:lnTo>
                        <a:pt x="142" y="151"/>
                      </a:lnTo>
                      <a:lnTo>
                        <a:pt x="142" y="149"/>
                      </a:lnTo>
                      <a:lnTo>
                        <a:pt x="144" y="148"/>
                      </a:lnTo>
                      <a:lnTo>
                        <a:pt x="145" y="148"/>
                      </a:lnTo>
                      <a:lnTo>
                        <a:pt x="147" y="145"/>
                      </a:lnTo>
                      <a:lnTo>
                        <a:pt x="149" y="143"/>
                      </a:lnTo>
                      <a:lnTo>
                        <a:pt x="150" y="143"/>
                      </a:lnTo>
                      <a:lnTo>
                        <a:pt x="152" y="143"/>
                      </a:lnTo>
                      <a:lnTo>
                        <a:pt x="154" y="141"/>
                      </a:lnTo>
                      <a:lnTo>
                        <a:pt x="155" y="141"/>
                      </a:lnTo>
                      <a:lnTo>
                        <a:pt x="155" y="140"/>
                      </a:lnTo>
                      <a:lnTo>
                        <a:pt x="155" y="138"/>
                      </a:lnTo>
                      <a:lnTo>
                        <a:pt x="154" y="136"/>
                      </a:lnTo>
                      <a:lnTo>
                        <a:pt x="154" y="135"/>
                      </a:lnTo>
                      <a:lnTo>
                        <a:pt x="152" y="135"/>
                      </a:lnTo>
                      <a:lnTo>
                        <a:pt x="154" y="133"/>
                      </a:lnTo>
                      <a:lnTo>
                        <a:pt x="154" y="131"/>
                      </a:lnTo>
                      <a:lnTo>
                        <a:pt x="155" y="131"/>
                      </a:lnTo>
                      <a:lnTo>
                        <a:pt x="157" y="130"/>
                      </a:lnTo>
                      <a:lnTo>
                        <a:pt x="160" y="130"/>
                      </a:lnTo>
                      <a:lnTo>
                        <a:pt x="164" y="130"/>
                      </a:lnTo>
                      <a:lnTo>
                        <a:pt x="165" y="130"/>
                      </a:lnTo>
                      <a:lnTo>
                        <a:pt x="167" y="128"/>
                      </a:lnTo>
                      <a:lnTo>
                        <a:pt x="167" y="126"/>
                      </a:lnTo>
                      <a:lnTo>
                        <a:pt x="165" y="126"/>
                      </a:lnTo>
                      <a:lnTo>
                        <a:pt x="165" y="125"/>
                      </a:lnTo>
                      <a:lnTo>
                        <a:pt x="165" y="123"/>
                      </a:lnTo>
                      <a:lnTo>
                        <a:pt x="164" y="123"/>
                      </a:lnTo>
                      <a:lnTo>
                        <a:pt x="165" y="122"/>
                      </a:lnTo>
                      <a:lnTo>
                        <a:pt x="165" y="120"/>
                      </a:lnTo>
                      <a:lnTo>
                        <a:pt x="167" y="118"/>
                      </a:lnTo>
                      <a:lnTo>
                        <a:pt x="169" y="118"/>
                      </a:lnTo>
                      <a:lnTo>
                        <a:pt x="171" y="118"/>
                      </a:lnTo>
                      <a:lnTo>
                        <a:pt x="172" y="118"/>
                      </a:lnTo>
                      <a:lnTo>
                        <a:pt x="174" y="118"/>
                      </a:lnTo>
                      <a:lnTo>
                        <a:pt x="177" y="118"/>
                      </a:lnTo>
                      <a:lnTo>
                        <a:pt x="179" y="118"/>
                      </a:lnTo>
                      <a:lnTo>
                        <a:pt x="179" y="120"/>
                      </a:lnTo>
                      <a:lnTo>
                        <a:pt x="181" y="120"/>
                      </a:lnTo>
                      <a:lnTo>
                        <a:pt x="181" y="122"/>
                      </a:lnTo>
                      <a:lnTo>
                        <a:pt x="182" y="123"/>
                      </a:lnTo>
                      <a:lnTo>
                        <a:pt x="182" y="125"/>
                      </a:lnTo>
                      <a:lnTo>
                        <a:pt x="184" y="125"/>
                      </a:lnTo>
                      <a:lnTo>
                        <a:pt x="184" y="123"/>
                      </a:lnTo>
                      <a:lnTo>
                        <a:pt x="184" y="122"/>
                      </a:lnTo>
                      <a:lnTo>
                        <a:pt x="184" y="120"/>
                      </a:lnTo>
                      <a:lnTo>
                        <a:pt x="186" y="118"/>
                      </a:lnTo>
                      <a:lnTo>
                        <a:pt x="186" y="117"/>
                      </a:lnTo>
                      <a:lnTo>
                        <a:pt x="187" y="117"/>
                      </a:lnTo>
                      <a:lnTo>
                        <a:pt x="187" y="115"/>
                      </a:lnTo>
                      <a:lnTo>
                        <a:pt x="186" y="115"/>
                      </a:lnTo>
                      <a:lnTo>
                        <a:pt x="186" y="113"/>
                      </a:lnTo>
                      <a:lnTo>
                        <a:pt x="184" y="113"/>
                      </a:lnTo>
                      <a:lnTo>
                        <a:pt x="182" y="112"/>
                      </a:lnTo>
                      <a:lnTo>
                        <a:pt x="181" y="112"/>
                      </a:lnTo>
                      <a:lnTo>
                        <a:pt x="179" y="110"/>
                      </a:lnTo>
                      <a:lnTo>
                        <a:pt x="177" y="110"/>
                      </a:lnTo>
                      <a:lnTo>
                        <a:pt x="176" y="108"/>
                      </a:lnTo>
                      <a:lnTo>
                        <a:pt x="177" y="107"/>
                      </a:lnTo>
                      <a:lnTo>
                        <a:pt x="179" y="107"/>
                      </a:lnTo>
                      <a:lnTo>
                        <a:pt x="181" y="105"/>
                      </a:lnTo>
                      <a:lnTo>
                        <a:pt x="182" y="105"/>
                      </a:lnTo>
                      <a:lnTo>
                        <a:pt x="184" y="105"/>
                      </a:lnTo>
                      <a:lnTo>
                        <a:pt x="186" y="103"/>
                      </a:lnTo>
                      <a:lnTo>
                        <a:pt x="187" y="103"/>
                      </a:lnTo>
                      <a:lnTo>
                        <a:pt x="187" y="102"/>
                      </a:lnTo>
                      <a:lnTo>
                        <a:pt x="189" y="102"/>
                      </a:lnTo>
                      <a:lnTo>
                        <a:pt x="191" y="100"/>
                      </a:lnTo>
                      <a:lnTo>
                        <a:pt x="191" y="99"/>
                      </a:lnTo>
                      <a:lnTo>
                        <a:pt x="191" y="97"/>
                      </a:lnTo>
                      <a:lnTo>
                        <a:pt x="193" y="95"/>
                      </a:lnTo>
                      <a:lnTo>
                        <a:pt x="194" y="95"/>
                      </a:lnTo>
                      <a:lnTo>
                        <a:pt x="194" y="97"/>
                      </a:lnTo>
                      <a:lnTo>
                        <a:pt x="194" y="99"/>
                      </a:lnTo>
                      <a:lnTo>
                        <a:pt x="196" y="99"/>
                      </a:lnTo>
                      <a:lnTo>
                        <a:pt x="196" y="100"/>
                      </a:lnTo>
                      <a:lnTo>
                        <a:pt x="198" y="100"/>
                      </a:lnTo>
                      <a:lnTo>
                        <a:pt x="198" y="99"/>
                      </a:lnTo>
                      <a:lnTo>
                        <a:pt x="198" y="97"/>
                      </a:lnTo>
                      <a:lnTo>
                        <a:pt x="199" y="97"/>
                      </a:lnTo>
                      <a:lnTo>
                        <a:pt x="199" y="95"/>
                      </a:lnTo>
                      <a:lnTo>
                        <a:pt x="201" y="95"/>
                      </a:lnTo>
                      <a:lnTo>
                        <a:pt x="203" y="94"/>
                      </a:lnTo>
                      <a:lnTo>
                        <a:pt x="203" y="92"/>
                      </a:lnTo>
                      <a:lnTo>
                        <a:pt x="204" y="92"/>
                      </a:lnTo>
                      <a:lnTo>
                        <a:pt x="206" y="92"/>
                      </a:lnTo>
                      <a:lnTo>
                        <a:pt x="206" y="94"/>
                      </a:lnTo>
                      <a:lnTo>
                        <a:pt x="208" y="94"/>
                      </a:lnTo>
                      <a:lnTo>
                        <a:pt x="209" y="92"/>
                      </a:lnTo>
                      <a:lnTo>
                        <a:pt x="209" y="90"/>
                      </a:lnTo>
                      <a:lnTo>
                        <a:pt x="211" y="90"/>
                      </a:lnTo>
                      <a:lnTo>
                        <a:pt x="213" y="89"/>
                      </a:lnTo>
                      <a:lnTo>
                        <a:pt x="214" y="89"/>
                      </a:lnTo>
                      <a:lnTo>
                        <a:pt x="214" y="87"/>
                      </a:lnTo>
                      <a:lnTo>
                        <a:pt x="214" y="85"/>
                      </a:lnTo>
                      <a:lnTo>
                        <a:pt x="214" y="84"/>
                      </a:lnTo>
                      <a:lnTo>
                        <a:pt x="213" y="84"/>
                      </a:lnTo>
                      <a:lnTo>
                        <a:pt x="214" y="84"/>
                      </a:lnTo>
                      <a:lnTo>
                        <a:pt x="214" y="82"/>
                      </a:lnTo>
                      <a:lnTo>
                        <a:pt x="218" y="82"/>
                      </a:lnTo>
                      <a:lnTo>
                        <a:pt x="218" y="81"/>
                      </a:lnTo>
                      <a:lnTo>
                        <a:pt x="220" y="79"/>
                      </a:lnTo>
                      <a:lnTo>
                        <a:pt x="220" y="77"/>
                      </a:lnTo>
                      <a:lnTo>
                        <a:pt x="221" y="77"/>
                      </a:lnTo>
                      <a:lnTo>
                        <a:pt x="223" y="79"/>
                      </a:lnTo>
                      <a:lnTo>
                        <a:pt x="225" y="79"/>
                      </a:lnTo>
                      <a:lnTo>
                        <a:pt x="225" y="77"/>
                      </a:lnTo>
                      <a:lnTo>
                        <a:pt x="226" y="77"/>
                      </a:lnTo>
                      <a:lnTo>
                        <a:pt x="226" y="76"/>
                      </a:lnTo>
                      <a:lnTo>
                        <a:pt x="228" y="74"/>
                      </a:lnTo>
                      <a:lnTo>
                        <a:pt x="230" y="72"/>
                      </a:lnTo>
                      <a:lnTo>
                        <a:pt x="231" y="72"/>
                      </a:lnTo>
                      <a:lnTo>
                        <a:pt x="231" y="71"/>
                      </a:lnTo>
                      <a:lnTo>
                        <a:pt x="233" y="72"/>
                      </a:lnTo>
                      <a:lnTo>
                        <a:pt x="235" y="72"/>
                      </a:lnTo>
                      <a:lnTo>
                        <a:pt x="235" y="74"/>
                      </a:lnTo>
                      <a:lnTo>
                        <a:pt x="236" y="74"/>
                      </a:lnTo>
                      <a:lnTo>
                        <a:pt x="236" y="76"/>
                      </a:lnTo>
                      <a:lnTo>
                        <a:pt x="238" y="76"/>
                      </a:lnTo>
                      <a:lnTo>
                        <a:pt x="238" y="74"/>
                      </a:lnTo>
                      <a:lnTo>
                        <a:pt x="238" y="72"/>
                      </a:lnTo>
                      <a:lnTo>
                        <a:pt x="238" y="71"/>
                      </a:lnTo>
                      <a:lnTo>
                        <a:pt x="240" y="71"/>
                      </a:lnTo>
                      <a:lnTo>
                        <a:pt x="241" y="71"/>
                      </a:lnTo>
                      <a:lnTo>
                        <a:pt x="243" y="71"/>
                      </a:lnTo>
                      <a:lnTo>
                        <a:pt x="245" y="71"/>
                      </a:lnTo>
                      <a:lnTo>
                        <a:pt x="247" y="71"/>
                      </a:lnTo>
                      <a:lnTo>
                        <a:pt x="247" y="72"/>
                      </a:lnTo>
                      <a:lnTo>
                        <a:pt x="247" y="71"/>
                      </a:lnTo>
                      <a:lnTo>
                        <a:pt x="248" y="71"/>
                      </a:lnTo>
                      <a:lnTo>
                        <a:pt x="248" y="69"/>
                      </a:lnTo>
                      <a:lnTo>
                        <a:pt x="247" y="69"/>
                      </a:lnTo>
                      <a:lnTo>
                        <a:pt x="245" y="67"/>
                      </a:lnTo>
                      <a:lnTo>
                        <a:pt x="243" y="66"/>
                      </a:lnTo>
                      <a:lnTo>
                        <a:pt x="241" y="66"/>
                      </a:lnTo>
                      <a:lnTo>
                        <a:pt x="243" y="64"/>
                      </a:lnTo>
                      <a:lnTo>
                        <a:pt x="245" y="64"/>
                      </a:lnTo>
                      <a:lnTo>
                        <a:pt x="247" y="64"/>
                      </a:lnTo>
                      <a:lnTo>
                        <a:pt x="247" y="66"/>
                      </a:lnTo>
                      <a:lnTo>
                        <a:pt x="248" y="66"/>
                      </a:lnTo>
                      <a:lnTo>
                        <a:pt x="250" y="66"/>
                      </a:lnTo>
                      <a:lnTo>
                        <a:pt x="250" y="64"/>
                      </a:lnTo>
                      <a:lnTo>
                        <a:pt x="252" y="64"/>
                      </a:lnTo>
                      <a:lnTo>
                        <a:pt x="253" y="64"/>
                      </a:lnTo>
                      <a:lnTo>
                        <a:pt x="255" y="64"/>
                      </a:lnTo>
                      <a:lnTo>
                        <a:pt x="257" y="64"/>
                      </a:lnTo>
                      <a:lnTo>
                        <a:pt x="257" y="62"/>
                      </a:lnTo>
                      <a:lnTo>
                        <a:pt x="257" y="61"/>
                      </a:lnTo>
                      <a:lnTo>
                        <a:pt x="258" y="59"/>
                      </a:lnTo>
                      <a:lnTo>
                        <a:pt x="260" y="59"/>
                      </a:lnTo>
                      <a:lnTo>
                        <a:pt x="260" y="58"/>
                      </a:lnTo>
                      <a:lnTo>
                        <a:pt x="260" y="56"/>
                      </a:lnTo>
                      <a:lnTo>
                        <a:pt x="258" y="53"/>
                      </a:lnTo>
                      <a:lnTo>
                        <a:pt x="258" y="51"/>
                      </a:lnTo>
                      <a:lnTo>
                        <a:pt x="260" y="51"/>
                      </a:lnTo>
                      <a:lnTo>
                        <a:pt x="262" y="49"/>
                      </a:lnTo>
                      <a:lnTo>
                        <a:pt x="263" y="51"/>
                      </a:lnTo>
                      <a:lnTo>
                        <a:pt x="265" y="49"/>
                      </a:lnTo>
                      <a:lnTo>
                        <a:pt x="265" y="48"/>
                      </a:lnTo>
                      <a:lnTo>
                        <a:pt x="265" y="46"/>
                      </a:lnTo>
                      <a:lnTo>
                        <a:pt x="267" y="44"/>
                      </a:lnTo>
                      <a:lnTo>
                        <a:pt x="267" y="43"/>
                      </a:lnTo>
                      <a:lnTo>
                        <a:pt x="269" y="41"/>
                      </a:lnTo>
                      <a:lnTo>
                        <a:pt x="270" y="43"/>
                      </a:lnTo>
                      <a:lnTo>
                        <a:pt x="270" y="44"/>
                      </a:lnTo>
                      <a:lnTo>
                        <a:pt x="270" y="46"/>
                      </a:lnTo>
                      <a:lnTo>
                        <a:pt x="272" y="46"/>
                      </a:lnTo>
                      <a:lnTo>
                        <a:pt x="274" y="46"/>
                      </a:lnTo>
                      <a:lnTo>
                        <a:pt x="274" y="44"/>
                      </a:lnTo>
                      <a:lnTo>
                        <a:pt x="275" y="44"/>
                      </a:lnTo>
                      <a:lnTo>
                        <a:pt x="277" y="44"/>
                      </a:lnTo>
                      <a:lnTo>
                        <a:pt x="279" y="44"/>
                      </a:lnTo>
                      <a:lnTo>
                        <a:pt x="280" y="46"/>
                      </a:lnTo>
                      <a:lnTo>
                        <a:pt x="280" y="44"/>
                      </a:lnTo>
                      <a:lnTo>
                        <a:pt x="282" y="44"/>
                      </a:lnTo>
                      <a:lnTo>
                        <a:pt x="280" y="43"/>
                      </a:lnTo>
                      <a:lnTo>
                        <a:pt x="280" y="41"/>
                      </a:lnTo>
                      <a:lnTo>
                        <a:pt x="280" y="39"/>
                      </a:lnTo>
                      <a:lnTo>
                        <a:pt x="282" y="39"/>
                      </a:lnTo>
                      <a:lnTo>
                        <a:pt x="284" y="39"/>
                      </a:lnTo>
                      <a:lnTo>
                        <a:pt x="284" y="41"/>
                      </a:lnTo>
                      <a:lnTo>
                        <a:pt x="284" y="43"/>
                      </a:lnTo>
                      <a:lnTo>
                        <a:pt x="285" y="43"/>
                      </a:lnTo>
                      <a:lnTo>
                        <a:pt x="287" y="41"/>
                      </a:lnTo>
                      <a:lnTo>
                        <a:pt x="287" y="39"/>
                      </a:lnTo>
                      <a:lnTo>
                        <a:pt x="289" y="38"/>
                      </a:lnTo>
                      <a:lnTo>
                        <a:pt x="289" y="36"/>
                      </a:lnTo>
                      <a:lnTo>
                        <a:pt x="289" y="35"/>
                      </a:lnTo>
                      <a:lnTo>
                        <a:pt x="290" y="35"/>
                      </a:lnTo>
                      <a:lnTo>
                        <a:pt x="292" y="35"/>
                      </a:lnTo>
                      <a:lnTo>
                        <a:pt x="292" y="36"/>
                      </a:lnTo>
                      <a:lnTo>
                        <a:pt x="294" y="36"/>
                      </a:lnTo>
                      <a:lnTo>
                        <a:pt x="294" y="39"/>
                      </a:lnTo>
                      <a:lnTo>
                        <a:pt x="296" y="39"/>
                      </a:lnTo>
                      <a:lnTo>
                        <a:pt x="296" y="38"/>
                      </a:lnTo>
                      <a:lnTo>
                        <a:pt x="297" y="38"/>
                      </a:lnTo>
                      <a:lnTo>
                        <a:pt x="297" y="36"/>
                      </a:lnTo>
                      <a:lnTo>
                        <a:pt x="299" y="36"/>
                      </a:lnTo>
                      <a:lnTo>
                        <a:pt x="301" y="36"/>
                      </a:lnTo>
                      <a:lnTo>
                        <a:pt x="302" y="36"/>
                      </a:lnTo>
                      <a:lnTo>
                        <a:pt x="302" y="35"/>
                      </a:lnTo>
                      <a:lnTo>
                        <a:pt x="301" y="35"/>
                      </a:lnTo>
                      <a:lnTo>
                        <a:pt x="301" y="33"/>
                      </a:lnTo>
                      <a:lnTo>
                        <a:pt x="301" y="31"/>
                      </a:lnTo>
                      <a:lnTo>
                        <a:pt x="302" y="31"/>
                      </a:lnTo>
                      <a:lnTo>
                        <a:pt x="304" y="31"/>
                      </a:lnTo>
                      <a:lnTo>
                        <a:pt x="306" y="30"/>
                      </a:lnTo>
                      <a:lnTo>
                        <a:pt x="307" y="30"/>
                      </a:lnTo>
                      <a:lnTo>
                        <a:pt x="307" y="31"/>
                      </a:lnTo>
                      <a:lnTo>
                        <a:pt x="309" y="33"/>
                      </a:lnTo>
                      <a:lnTo>
                        <a:pt x="311" y="35"/>
                      </a:lnTo>
                      <a:lnTo>
                        <a:pt x="311" y="36"/>
                      </a:lnTo>
                      <a:lnTo>
                        <a:pt x="312" y="36"/>
                      </a:lnTo>
                      <a:lnTo>
                        <a:pt x="312" y="35"/>
                      </a:lnTo>
                      <a:lnTo>
                        <a:pt x="314" y="35"/>
                      </a:lnTo>
                      <a:lnTo>
                        <a:pt x="314" y="33"/>
                      </a:lnTo>
                      <a:lnTo>
                        <a:pt x="312" y="33"/>
                      </a:lnTo>
                      <a:lnTo>
                        <a:pt x="312" y="31"/>
                      </a:lnTo>
                      <a:lnTo>
                        <a:pt x="312" y="30"/>
                      </a:lnTo>
                      <a:lnTo>
                        <a:pt x="314" y="30"/>
                      </a:lnTo>
                      <a:lnTo>
                        <a:pt x="316" y="31"/>
                      </a:lnTo>
                      <a:lnTo>
                        <a:pt x="316" y="33"/>
                      </a:lnTo>
                      <a:lnTo>
                        <a:pt x="317" y="33"/>
                      </a:lnTo>
                      <a:lnTo>
                        <a:pt x="317" y="35"/>
                      </a:lnTo>
                      <a:lnTo>
                        <a:pt x="319" y="33"/>
                      </a:lnTo>
                      <a:lnTo>
                        <a:pt x="319" y="31"/>
                      </a:lnTo>
                      <a:lnTo>
                        <a:pt x="319" y="30"/>
                      </a:lnTo>
                      <a:lnTo>
                        <a:pt x="321" y="30"/>
                      </a:lnTo>
                      <a:lnTo>
                        <a:pt x="321" y="28"/>
                      </a:lnTo>
                      <a:lnTo>
                        <a:pt x="323" y="30"/>
                      </a:lnTo>
                      <a:lnTo>
                        <a:pt x="323" y="28"/>
                      </a:lnTo>
                      <a:lnTo>
                        <a:pt x="324" y="28"/>
                      </a:lnTo>
                      <a:lnTo>
                        <a:pt x="324" y="26"/>
                      </a:lnTo>
                      <a:lnTo>
                        <a:pt x="324" y="25"/>
                      </a:lnTo>
                      <a:lnTo>
                        <a:pt x="326" y="23"/>
                      </a:lnTo>
                      <a:lnTo>
                        <a:pt x="328" y="21"/>
                      </a:lnTo>
                      <a:lnTo>
                        <a:pt x="328" y="20"/>
                      </a:lnTo>
                      <a:lnTo>
                        <a:pt x="326" y="20"/>
                      </a:lnTo>
                      <a:lnTo>
                        <a:pt x="328" y="18"/>
                      </a:lnTo>
                      <a:lnTo>
                        <a:pt x="328" y="16"/>
                      </a:lnTo>
                      <a:lnTo>
                        <a:pt x="329" y="16"/>
                      </a:lnTo>
                      <a:lnTo>
                        <a:pt x="331" y="16"/>
                      </a:lnTo>
                      <a:lnTo>
                        <a:pt x="331" y="18"/>
                      </a:lnTo>
                      <a:lnTo>
                        <a:pt x="329" y="18"/>
                      </a:lnTo>
                      <a:lnTo>
                        <a:pt x="329" y="20"/>
                      </a:lnTo>
                      <a:lnTo>
                        <a:pt x="331" y="20"/>
                      </a:lnTo>
                      <a:lnTo>
                        <a:pt x="333" y="20"/>
                      </a:lnTo>
                      <a:lnTo>
                        <a:pt x="334" y="20"/>
                      </a:lnTo>
                      <a:lnTo>
                        <a:pt x="336" y="20"/>
                      </a:lnTo>
                      <a:lnTo>
                        <a:pt x="338" y="20"/>
                      </a:lnTo>
                      <a:lnTo>
                        <a:pt x="339" y="18"/>
                      </a:lnTo>
                      <a:lnTo>
                        <a:pt x="339" y="16"/>
                      </a:lnTo>
                      <a:lnTo>
                        <a:pt x="341" y="16"/>
                      </a:lnTo>
                      <a:lnTo>
                        <a:pt x="343" y="16"/>
                      </a:lnTo>
                      <a:lnTo>
                        <a:pt x="343" y="15"/>
                      </a:lnTo>
                      <a:lnTo>
                        <a:pt x="343" y="13"/>
                      </a:lnTo>
                      <a:lnTo>
                        <a:pt x="343" y="12"/>
                      </a:lnTo>
                      <a:lnTo>
                        <a:pt x="345" y="10"/>
                      </a:lnTo>
                      <a:lnTo>
                        <a:pt x="346" y="10"/>
                      </a:lnTo>
                      <a:lnTo>
                        <a:pt x="348" y="12"/>
                      </a:lnTo>
                      <a:lnTo>
                        <a:pt x="348" y="10"/>
                      </a:lnTo>
                      <a:lnTo>
                        <a:pt x="350" y="10"/>
                      </a:lnTo>
                      <a:lnTo>
                        <a:pt x="350" y="8"/>
                      </a:lnTo>
                      <a:lnTo>
                        <a:pt x="348" y="8"/>
                      </a:lnTo>
                      <a:lnTo>
                        <a:pt x="350" y="7"/>
                      </a:lnTo>
                      <a:lnTo>
                        <a:pt x="351" y="7"/>
                      </a:lnTo>
                      <a:lnTo>
                        <a:pt x="353" y="8"/>
                      </a:lnTo>
                      <a:lnTo>
                        <a:pt x="355" y="8"/>
                      </a:lnTo>
                      <a:lnTo>
                        <a:pt x="356" y="7"/>
                      </a:lnTo>
                      <a:lnTo>
                        <a:pt x="356" y="5"/>
                      </a:lnTo>
                      <a:lnTo>
                        <a:pt x="358" y="3"/>
                      </a:lnTo>
                      <a:lnTo>
                        <a:pt x="358" y="5"/>
                      </a:lnTo>
                      <a:lnTo>
                        <a:pt x="360" y="7"/>
                      </a:lnTo>
                      <a:lnTo>
                        <a:pt x="360" y="8"/>
                      </a:lnTo>
                      <a:lnTo>
                        <a:pt x="361" y="8"/>
                      </a:lnTo>
                      <a:lnTo>
                        <a:pt x="363" y="8"/>
                      </a:lnTo>
                      <a:lnTo>
                        <a:pt x="366" y="7"/>
                      </a:lnTo>
                      <a:lnTo>
                        <a:pt x="368" y="7"/>
                      </a:lnTo>
                      <a:lnTo>
                        <a:pt x="368" y="10"/>
                      </a:lnTo>
                      <a:lnTo>
                        <a:pt x="370" y="10"/>
                      </a:lnTo>
                      <a:lnTo>
                        <a:pt x="372" y="10"/>
                      </a:lnTo>
                      <a:lnTo>
                        <a:pt x="372" y="8"/>
                      </a:lnTo>
                      <a:lnTo>
                        <a:pt x="373" y="8"/>
                      </a:lnTo>
                      <a:lnTo>
                        <a:pt x="375" y="8"/>
                      </a:lnTo>
                      <a:lnTo>
                        <a:pt x="375" y="7"/>
                      </a:lnTo>
                      <a:lnTo>
                        <a:pt x="377" y="8"/>
                      </a:lnTo>
                      <a:lnTo>
                        <a:pt x="378" y="8"/>
                      </a:lnTo>
                      <a:lnTo>
                        <a:pt x="378" y="10"/>
                      </a:lnTo>
                      <a:lnTo>
                        <a:pt x="378" y="12"/>
                      </a:lnTo>
                      <a:lnTo>
                        <a:pt x="378" y="13"/>
                      </a:lnTo>
                      <a:lnTo>
                        <a:pt x="380" y="13"/>
                      </a:lnTo>
                      <a:lnTo>
                        <a:pt x="380" y="12"/>
                      </a:lnTo>
                      <a:lnTo>
                        <a:pt x="382" y="10"/>
                      </a:lnTo>
                      <a:lnTo>
                        <a:pt x="383" y="10"/>
                      </a:lnTo>
                      <a:lnTo>
                        <a:pt x="385" y="10"/>
                      </a:lnTo>
                      <a:lnTo>
                        <a:pt x="385" y="8"/>
                      </a:lnTo>
                      <a:lnTo>
                        <a:pt x="387" y="8"/>
                      </a:lnTo>
                      <a:lnTo>
                        <a:pt x="388" y="8"/>
                      </a:lnTo>
                      <a:lnTo>
                        <a:pt x="390" y="10"/>
                      </a:lnTo>
                      <a:lnTo>
                        <a:pt x="390" y="12"/>
                      </a:lnTo>
                      <a:lnTo>
                        <a:pt x="392" y="12"/>
                      </a:lnTo>
                      <a:lnTo>
                        <a:pt x="393" y="12"/>
                      </a:lnTo>
                      <a:lnTo>
                        <a:pt x="393" y="10"/>
                      </a:lnTo>
                      <a:lnTo>
                        <a:pt x="393" y="8"/>
                      </a:lnTo>
                      <a:lnTo>
                        <a:pt x="392" y="8"/>
                      </a:lnTo>
                      <a:lnTo>
                        <a:pt x="392" y="7"/>
                      </a:lnTo>
                      <a:lnTo>
                        <a:pt x="392" y="5"/>
                      </a:lnTo>
                      <a:lnTo>
                        <a:pt x="393" y="5"/>
                      </a:lnTo>
                      <a:lnTo>
                        <a:pt x="395" y="5"/>
                      </a:lnTo>
                      <a:lnTo>
                        <a:pt x="395" y="7"/>
                      </a:lnTo>
                      <a:lnTo>
                        <a:pt x="397" y="7"/>
                      </a:lnTo>
                      <a:lnTo>
                        <a:pt x="399" y="7"/>
                      </a:lnTo>
                      <a:lnTo>
                        <a:pt x="400" y="5"/>
                      </a:lnTo>
                      <a:lnTo>
                        <a:pt x="402" y="5"/>
                      </a:lnTo>
                      <a:lnTo>
                        <a:pt x="402" y="2"/>
                      </a:lnTo>
                      <a:lnTo>
                        <a:pt x="404" y="2"/>
                      </a:lnTo>
                      <a:lnTo>
                        <a:pt x="404" y="0"/>
                      </a:lnTo>
                      <a:lnTo>
                        <a:pt x="405" y="0"/>
                      </a:lnTo>
                      <a:lnTo>
                        <a:pt x="405" y="2"/>
                      </a:lnTo>
                      <a:lnTo>
                        <a:pt x="405" y="3"/>
                      </a:lnTo>
                      <a:lnTo>
                        <a:pt x="407" y="3"/>
                      </a:lnTo>
                      <a:lnTo>
                        <a:pt x="409" y="3"/>
                      </a:lnTo>
                      <a:lnTo>
                        <a:pt x="410" y="3"/>
                      </a:lnTo>
                      <a:lnTo>
                        <a:pt x="412" y="5"/>
                      </a:lnTo>
                      <a:lnTo>
                        <a:pt x="412" y="7"/>
                      </a:lnTo>
                      <a:lnTo>
                        <a:pt x="410" y="8"/>
                      </a:lnTo>
                      <a:lnTo>
                        <a:pt x="409" y="10"/>
                      </a:lnTo>
                      <a:lnTo>
                        <a:pt x="409" y="12"/>
                      </a:lnTo>
                      <a:lnTo>
                        <a:pt x="410" y="13"/>
                      </a:lnTo>
                      <a:lnTo>
                        <a:pt x="412" y="12"/>
                      </a:lnTo>
                      <a:lnTo>
                        <a:pt x="412" y="10"/>
                      </a:lnTo>
                      <a:lnTo>
                        <a:pt x="414" y="10"/>
                      </a:lnTo>
                      <a:lnTo>
                        <a:pt x="415" y="10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19" y="8"/>
                      </a:lnTo>
                      <a:lnTo>
                        <a:pt x="421" y="10"/>
                      </a:lnTo>
                      <a:lnTo>
                        <a:pt x="422" y="10"/>
                      </a:lnTo>
                      <a:lnTo>
                        <a:pt x="424" y="8"/>
                      </a:lnTo>
                      <a:lnTo>
                        <a:pt x="424" y="7"/>
                      </a:lnTo>
                      <a:lnTo>
                        <a:pt x="424" y="5"/>
                      </a:lnTo>
                      <a:lnTo>
                        <a:pt x="426" y="5"/>
                      </a:lnTo>
                      <a:lnTo>
                        <a:pt x="426" y="7"/>
                      </a:lnTo>
                      <a:lnTo>
                        <a:pt x="426" y="8"/>
                      </a:lnTo>
                      <a:lnTo>
                        <a:pt x="427" y="8"/>
                      </a:lnTo>
                      <a:lnTo>
                        <a:pt x="429" y="8"/>
                      </a:lnTo>
                      <a:lnTo>
                        <a:pt x="432" y="8"/>
                      </a:lnTo>
                      <a:lnTo>
                        <a:pt x="432" y="7"/>
                      </a:lnTo>
                      <a:lnTo>
                        <a:pt x="434" y="5"/>
                      </a:lnTo>
                      <a:lnTo>
                        <a:pt x="432" y="5"/>
                      </a:lnTo>
                      <a:lnTo>
                        <a:pt x="432" y="3"/>
                      </a:lnTo>
                      <a:lnTo>
                        <a:pt x="432" y="2"/>
                      </a:lnTo>
                      <a:lnTo>
                        <a:pt x="434" y="0"/>
                      </a:lnTo>
                      <a:lnTo>
                        <a:pt x="436" y="0"/>
                      </a:lnTo>
                      <a:lnTo>
                        <a:pt x="437" y="0"/>
                      </a:lnTo>
                      <a:lnTo>
                        <a:pt x="437" y="2"/>
                      </a:lnTo>
                      <a:lnTo>
                        <a:pt x="437" y="3"/>
                      </a:lnTo>
                      <a:lnTo>
                        <a:pt x="436" y="3"/>
                      </a:lnTo>
                      <a:lnTo>
                        <a:pt x="436" y="5"/>
                      </a:lnTo>
                      <a:lnTo>
                        <a:pt x="436" y="7"/>
                      </a:lnTo>
                      <a:lnTo>
                        <a:pt x="437" y="7"/>
                      </a:lnTo>
                      <a:lnTo>
                        <a:pt x="439" y="5"/>
                      </a:lnTo>
                      <a:lnTo>
                        <a:pt x="441" y="5"/>
                      </a:lnTo>
                      <a:lnTo>
                        <a:pt x="441" y="7"/>
                      </a:lnTo>
                      <a:lnTo>
                        <a:pt x="441" y="8"/>
                      </a:lnTo>
                      <a:lnTo>
                        <a:pt x="439" y="10"/>
                      </a:lnTo>
                      <a:lnTo>
                        <a:pt x="439" y="12"/>
                      </a:lnTo>
                      <a:lnTo>
                        <a:pt x="441" y="13"/>
                      </a:lnTo>
                      <a:lnTo>
                        <a:pt x="442" y="13"/>
                      </a:lnTo>
                      <a:lnTo>
                        <a:pt x="442" y="12"/>
                      </a:lnTo>
                      <a:lnTo>
                        <a:pt x="442" y="10"/>
                      </a:lnTo>
                      <a:lnTo>
                        <a:pt x="442" y="8"/>
                      </a:lnTo>
                      <a:lnTo>
                        <a:pt x="444" y="8"/>
                      </a:lnTo>
                      <a:lnTo>
                        <a:pt x="444" y="7"/>
                      </a:lnTo>
                      <a:lnTo>
                        <a:pt x="444" y="8"/>
                      </a:lnTo>
                      <a:lnTo>
                        <a:pt x="446" y="8"/>
                      </a:lnTo>
                      <a:lnTo>
                        <a:pt x="446" y="12"/>
                      </a:lnTo>
                      <a:lnTo>
                        <a:pt x="448" y="12"/>
                      </a:lnTo>
                      <a:lnTo>
                        <a:pt x="449" y="12"/>
                      </a:lnTo>
                      <a:lnTo>
                        <a:pt x="449" y="10"/>
                      </a:lnTo>
                      <a:lnTo>
                        <a:pt x="451" y="10"/>
                      </a:lnTo>
                      <a:lnTo>
                        <a:pt x="453" y="8"/>
                      </a:lnTo>
                      <a:lnTo>
                        <a:pt x="454" y="8"/>
                      </a:lnTo>
                      <a:lnTo>
                        <a:pt x="454" y="10"/>
                      </a:lnTo>
                      <a:lnTo>
                        <a:pt x="454" y="12"/>
                      </a:lnTo>
                      <a:lnTo>
                        <a:pt x="456" y="12"/>
                      </a:lnTo>
                      <a:lnTo>
                        <a:pt x="458" y="12"/>
                      </a:lnTo>
                      <a:lnTo>
                        <a:pt x="459" y="12"/>
                      </a:lnTo>
                      <a:lnTo>
                        <a:pt x="461" y="12"/>
                      </a:lnTo>
                      <a:lnTo>
                        <a:pt x="463" y="12"/>
                      </a:lnTo>
                      <a:lnTo>
                        <a:pt x="463" y="13"/>
                      </a:lnTo>
                      <a:lnTo>
                        <a:pt x="463" y="15"/>
                      </a:lnTo>
                      <a:lnTo>
                        <a:pt x="463" y="16"/>
                      </a:lnTo>
                      <a:lnTo>
                        <a:pt x="464" y="16"/>
                      </a:lnTo>
                      <a:lnTo>
                        <a:pt x="464" y="15"/>
                      </a:lnTo>
                      <a:lnTo>
                        <a:pt x="466" y="15"/>
                      </a:lnTo>
                      <a:lnTo>
                        <a:pt x="468" y="15"/>
                      </a:lnTo>
                      <a:lnTo>
                        <a:pt x="468" y="16"/>
                      </a:lnTo>
                      <a:lnTo>
                        <a:pt x="468" y="18"/>
                      </a:lnTo>
                      <a:lnTo>
                        <a:pt x="470" y="18"/>
                      </a:lnTo>
                      <a:lnTo>
                        <a:pt x="470" y="16"/>
                      </a:lnTo>
                      <a:lnTo>
                        <a:pt x="470" y="15"/>
                      </a:lnTo>
                      <a:lnTo>
                        <a:pt x="471" y="15"/>
                      </a:lnTo>
                      <a:lnTo>
                        <a:pt x="473" y="15"/>
                      </a:lnTo>
                      <a:lnTo>
                        <a:pt x="473" y="16"/>
                      </a:lnTo>
                      <a:lnTo>
                        <a:pt x="475" y="16"/>
                      </a:lnTo>
                      <a:lnTo>
                        <a:pt x="476" y="16"/>
                      </a:lnTo>
                      <a:lnTo>
                        <a:pt x="478" y="16"/>
                      </a:lnTo>
                      <a:lnTo>
                        <a:pt x="478" y="15"/>
                      </a:lnTo>
                      <a:lnTo>
                        <a:pt x="480" y="15"/>
                      </a:lnTo>
                      <a:lnTo>
                        <a:pt x="481" y="15"/>
                      </a:lnTo>
                      <a:lnTo>
                        <a:pt x="483" y="15"/>
                      </a:lnTo>
                      <a:lnTo>
                        <a:pt x="483" y="16"/>
                      </a:lnTo>
                      <a:lnTo>
                        <a:pt x="485" y="16"/>
                      </a:lnTo>
                      <a:lnTo>
                        <a:pt x="488" y="16"/>
                      </a:lnTo>
                      <a:lnTo>
                        <a:pt x="490" y="16"/>
                      </a:lnTo>
                      <a:lnTo>
                        <a:pt x="488" y="15"/>
                      </a:lnTo>
                      <a:lnTo>
                        <a:pt x="490" y="15"/>
                      </a:lnTo>
                      <a:lnTo>
                        <a:pt x="491" y="13"/>
                      </a:lnTo>
                      <a:lnTo>
                        <a:pt x="493" y="13"/>
                      </a:lnTo>
                      <a:lnTo>
                        <a:pt x="493" y="15"/>
                      </a:lnTo>
                      <a:lnTo>
                        <a:pt x="493" y="16"/>
                      </a:lnTo>
                      <a:lnTo>
                        <a:pt x="495" y="18"/>
                      </a:lnTo>
                      <a:lnTo>
                        <a:pt x="497" y="20"/>
                      </a:lnTo>
                      <a:lnTo>
                        <a:pt x="497" y="18"/>
                      </a:lnTo>
                      <a:lnTo>
                        <a:pt x="497" y="16"/>
                      </a:lnTo>
                      <a:lnTo>
                        <a:pt x="498" y="16"/>
                      </a:lnTo>
                      <a:lnTo>
                        <a:pt x="498" y="20"/>
                      </a:lnTo>
                      <a:lnTo>
                        <a:pt x="500" y="21"/>
                      </a:lnTo>
                      <a:lnTo>
                        <a:pt x="500" y="20"/>
                      </a:lnTo>
                      <a:lnTo>
                        <a:pt x="502" y="20"/>
                      </a:lnTo>
                      <a:lnTo>
                        <a:pt x="503" y="20"/>
                      </a:lnTo>
                      <a:lnTo>
                        <a:pt x="505" y="21"/>
                      </a:lnTo>
                      <a:lnTo>
                        <a:pt x="507" y="21"/>
                      </a:lnTo>
                      <a:lnTo>
                        <a:pt x="507" y="20"/>
                      </a:lnTo>
                      <a:lnTo>
                        <a:pt x="507" y="18"/>
                      </a:lnTo>
                      <a:lnTo>
                        <a:pt x="505" y="18"/>
                      </a:lnTo>
                      <a:lnTo>
                        <a:pt x="505" y="16"/>
                      </a:lnTo>
                      <a:lnTo>
                        <a:pt x="507" y="16"/>
                      </a:lnTo>
                      <a:lnTo>
                        <a:pt x="508" y="16"/>
                      </a:lnTo>
                      <a:lnTo>
                        <a:pt x="510" y="16"/>
                      </a:lnTo>
                      <a:lnTo>
                        <a:pt x="512" y="16"/>
                      </a:lnTo>
                      <a:lnTo>
                        <a:pt x="512" y="18"/>
                      </a:lnTo>
                      <a:lnTo>
                        <a:pt x="510" y="18"/>
                      </a:lnTo>
                      <a:lnTo>
                        <a:pt x="508" y="18"/>
                      </a:lnTo>
                      <a:lnTo>
                        <a:pt x="508" y="20"/>
                      </a:lnTo>
                      <a:lnTo>
                        <a:pt x="508" y="21"/>
                      </a:lnTo>
                      <a:lnTo>
                        <a:pt x="512" y="20"/>
                      </a:lnTo>
                      <a:lnTo>
                        <a:pt x="512" y="21"/>
                      </a:lnTo>
                      <a:lnTo>
                        <a:pt x="513" y="23"/>
                      </a:lnTo>
                      <a:lnTo>
                        <a:pt x="515" y="23"/>
                      </a:lnTo>
                      <a:lnTo>
                        <a:pt x="517" y="20"/>
                      </a:lnTo>
                      <a:lnTo>
                        <a:pt x="517" y="18"/>
                      </a:lnTo>
                      <a:lnTo>
                        <a:pt x="518" y="18"/>
                      </a:lnTo>
                      <a:lnTo>
                        <a:pt x="520" y="18"/>
                      </a:lnTo>
                      <a:lnTo>
                        <a:pt x="520" y="20"/>
                      </a:lnTo>
                      <a:lnTo>
                        <a:pt x="518" y="20"/>
                      </a:lnTo>
                      <a:lnTo>
                        <a:pt x="518" y="21"/>
                      </a:lnTo>
                      <a:lnTo>
                        <a:pt x="520" y="21"/>
                      </a:lnTo>
                      <a:lnTo>
                        <a:pt x="522" y="21"/>
                      </a:lnTo>
                      <a:lnTo>
                        <a:pt x="522" y="20"/>
                      </a:lnTo>
                      <a:lnTo>
                        <a:pt x="524" y="20"/>
                      </a:lnTo>
                      <a:lnTo>
                        <a:pt x="524" y="21"/>
                      </a:lnTo>
                      <a:lnTo>
                        <a:pt x="525" y="21"/>
                      </a:lnTo>
                      <a:lnTo>
                        <a:pt x="524" y="23"/>
                      </a:lnTo>
                      <a:lnTo>
                        <a:pt x="525" y="25"/>
                      </a:lnTo>
                      <a:lnTo>
                        <a:pt x="527" y="25"/>
                      </a:lnTo>
                      <a:lnTo>
                        <a:pt x="527" y="23"/>
                      </a:lnTo>
                      <a:lnTo>
                        <a:pt x="529" y="25"/>
                      </a:lnTo>
                      <a:lnTo>
                        <a:pt x="530" y="25"/>
                      </a:lnTo>
                      <a:lnTo>
                        <a:pt x="532" y="25"/>
                      </a:lnTo>
                      <a:lnTo>
                        <a:pt x="532" y="23"/>
                      </a:lnTo>
                      <a:lnTo>
                        <a:pt x="534" y="23"/>
                      </a:lnTo>
                      <a:lnTo>
                        <a:pt x="534" y="25"/>
                      </a:lnTo>
                      <a:lnTo>
                        <a:pt x="532" y="25"/>
                      </a:lnTo>
                      <a:lnTo>
                        <a:pt x="532" y="26"/>
                      </a:lnTo>
                      <a:lnTo>
                        <a:pt x="534" y="26"/>
                      </a:lnTo>
                      <a:lnTo>
                        <a:pt x="535" y="28"/>
                      </a:lnTo>
                      <a:lnTo>
                        <a:pt x="537" y="26"/>
                      </a:lnTo>
                      <a:lnTo>
                        <a:pt x="539" y="28"/>
                      </a:lnTo>
                      <a:lnTo>
                        <a:pt x="539" y="30"/>
                      </a:lnTo>
                      <a:lnTo>
                        <a:pt x="537" y="28"/>
                      </a:lnTo>
                      <a:lnTo>
                        <a:pt x="535" y="28"/>
                      </a:lnTo>
                      <a:lnTo>
                        <a:pt x="534" y="30"/>
                      </a:lnTo>
                      <a:lnTo>
                        <a:pt x="535" y="30"/>
                      </a:lnTo>
                      <a:lnTo>
                        <a:pt x="537" y="30"/>
                      </a:lnTo>
                      <a:lnTo>
                        <a:pt x="539" y="31"/>
                      </a:lnTo>
                      <a:lnTo>
                        <a:pt x="540" y="31"/>
                      </a:lnTo>
                      <a:lnTo>
                        <a:pt x="540" y="33"/>
                      </a:lnTo>
                      <a:lnTo>
                        <a:pt x="540" y="35"/>
                      </a:lnTo>
                      <a:lnTo>
                        <a:pt x="539" y="35"/>
                      </a:lnTo>
                      <a:lnTo>
                        <a:pt x="539" y="36"/>
                      </a:lnTo>
                      <a:lnTo>
                        <a:pt x="540" y="36"/>
                      </a:lnTo>
                      <a:lnTo>
                        <a:pt x="540" y="35"/>
                      </a:lnTo>
                      <a:lnTo>
                        <a:pt x="542" y="35"/>
                      </a:lnTo>
                      <a:lnTo>
                        <a:pt x="544" y="35"/>
                      </a:lnTo>
                      <a:lnTo>
                        <a:pt x="544" y="36"/>
                      </a:lnTo>
                      <a:lnTo>
                        <a:pt x="544" y="38"/>
                      </a:lnTo>
                      <a:lnTo>
                        <a:pt x="544" y="39"/>
                      </a:lnTo>
                      <a:lnTo>
                        <a:pt x="546" y="41"/>
                      </a:lnTo>
                      <a:lnTo>
                        <a:pt x="547" y="41"/>
                      </a:lnTo>
                      <a:lnTo>
                        <a:pt x="547" y="39"/>
                      </a:lnTo>
                      <a:lnTo>
                        <a:pt x="546" y="38"/>
                      </a:lnTo>
                      <a:lnTo>
                        <a:pt x="547" y="38"/>
                      </a:lnTo>
                      <a:lnTo>
                        <a:pt x="547" y="36"/>
                      </a:lnTo>
                      <a:lnTo>
                        <a:pt x="549" y="36"/>
                      </a:lnTo>
                      <a:lnTo>
                        <a:pt x="549" y="38"/>
                      </a:lnTo>
                      <a:lnTo>
                        <a:pt x="549" y="39"/>
                      </a:lnTo>
                      <a:lnTo>
                        <a:pt x="549" y="41"/>
                      </a:lnTo>
                      <a:lnTo>
                        <a:pt x="551" y="41"/>
                      </a:lnTo>
                      <a:lnTo>
                        <a:pt x="551" y="39"/>
                      </a:lnTo>
                      <a:lnTo>
                        <a:pt x="552" y="39"/>
                      </a:lnTo>
                      <a:lnTo>
                        <a:pt x="552" y="41"/>
                      </a:lnTo>
                      <a:lnTo>
                        <a:pt x="554" y="41"/>
                      </a:lnTo>
                      <a:lnTo>
                        <a:pt x="556" y="41"/>
                      </a:lnTo>
                      <a:lnTo>
                        <a:pt x="554" y="39"/>
                      </a:lnTo>
                      <a:lnTo>
                        <a:pt x="554" y="38"/>
                      </a:lnTo>
                      <a:lnTo>
                        <a:pt x="556" y="38"/>
                      </a:lnTo>
                      <a:lnTo>
                        <a:pt x="557" y="38"/>
                      </a:lnTo>
                      <a:lnTo>
                        <a:pt x="559" y="38"/>
                      </a:lnTo>
                      <a:lnTo>
                        <a:pt x="561" y="39"/>
                      </a:lnTo>
                      <a:lnTo>
                        <a:pt x="562" y="38"/>
                      </a:lnTo>
                      <a:lnTo>
                        <a:pt x="562" y="36"/>
                      </a:lnTo>
                      <a:lnTo>
                        <a:pt x="564" y="36"/>
                      </a:lnTo>
                      <a:lnTo>
                        <a:pt x="566" y="38"/>
                      </a:lnTo>
                      <a:lnTo>
                        <a:pt x="566" y="39"/>
                      </a:lnTo>
                      <a:lnTo>
                        <a:pt x="566" y="41"/>
                      </a:lnTo>
                      <a:lnTo>
                        <a:pt x="567" y="41"/>
                      </a:lnTo>
                      <a:lnTo>
                        <a:pt x="567" y="39"/>
                      </a:lnTo>
                      <a:lnTo>
                        <a:pt x="567" y="38"/>
                      </a:lnTo>
                      <a:lnTo>
                        <a:pt x="569" y="38"/>
                      </a:lnTo>
                      <a:lnTo>
                        <a:pt x="571" y="38"/>
                      </a:lnTo>
                      <a:lnTo>
                        <a:pt x="571" y="39"/>
                      </a:lnTo>
                      <a:lnTo>
                        <a:pt x="569" y="41"/>
                      </a:lnTo>
                      <a:lnTo>
                        <a:pt x="569" y="43"/>
                      </a:lnTo>
                      <a:lnTo>
                        <a:pt x="571" y="43"/>
                      </a:lnTo>
                      <a:lnTo>
                        <a:pt x="573" y="43"/>
                      </a:lnTo>
                      <a:lnTo>
                        <a:pt x="573" y="41"/>
                      </a:lnTo>
                      <a:lnTo>
                        <a:pt x="574" y="41"/>
                      </a:lnTo>
                      <a:lnTo>
                        <a:pt x="574" y="43"/>
                      </a:lnTo>
                      <a:lnTo>
                        <a:pt x="574" y="44"/>
                      </a:lnTo>
                      <a:lnTo>
                        <a:pt x="574" y="46"/>
                      </a:lnTo>
                      <a:lnTo>
                        <a:pt x="576" y="46"/>
                      </a:lnTo>
                      <a:lnTo>
                        <a:pt x="578" y="44"/>
                      </a:lnTo>
                      <a:lnTo>
                        <a:pt x="579" y="44"/>
                      </a:lnTo>
                      <a:lnTo>
                        <a:pt x="581" y="44"/>
                      </a:lnTo>
                      <a:lnTo>
                        <a:pt x="583" y="44"/>
                      </a:lnTo>
                      <a:lnTo>
                        <a:pt x="584" y="44"/>
                      </a:lnTo>
                      <a:lnTo>
                        <a:pt x="584" y="46"/>
                      </a:lnTo>
                      <a:lnTo>
                        <a:pt x="584" y="48"/>
                      </a:lnTo>
                      <a:lnTo>
                        <a:pt x="586" y="48"/>
                      </a:lnTo>
                      <a:lnTo>
                        <a:pt x="586" y="49"/>
                      </a:lnTo>
                      <a:lnTo>
                        <a:pt x="588" y="49"/>
                      </a:lnTo>
                      <a:lnTo>
                        <a:pt x="588" y="51"/>
                      </a:lnTo>
                      <a:lnTo>
                        <a:pt x="588" y="53"/>
                      </a:lnTo>
                      <a:lnTo>
                        <a:pt x="589" y="53"/>
                      </a:lnTo>
                      <a:lnTo>
                        <a:pt x="591" y="53"/>
                      </a:lnTo>
                      <a:lnTo>
                        <a:pt x="591" y="51"/>
                      </a:lnTo>
                      <a:lnTo>
                        <a:pt x="593" y="49"/>
                      </a:lnTo>
                      <a:lnTo>
                        <a:pt x="593" y="51"/>
                      </a:lnTo>
                      <a:lnTo>
                        <a:pt x="594" y="51"/>
                      </a:lnTo>
                      <a:lnTo>
                        <a:pt x="594" y="53"/>
                      </a:lnTo>
                      <a:lnTo>
                        <a:pt x="593" y="53"/>
                      </a:lnTo>
                      <a:lnTo>
                        <a:pt x="594" y="54"/>
                      </a:lnTo>
                      <a:lnTo>
                        <a:pt x="596" y="56"/>
                      </a:lnTo>
                      <a:lnTo>
                        <a:pt x="596" y="54"/>
                      </a:lnTo>
                      <a:lnTo>
                        <a:pt x="598" y="54"/>
                      </a:lnTo>
                      <a:lnTo>
                        <a:pt x="600" y="54"/>
                      </a:lnTo>
                      <a:lnTo>
                        <a:pt x="600" y="56"/>
                      </a:lnTo>
                      <a:lnTo>
                        <a:pt x="600" y="58"/>
                      </a:lnTo>
                      <a:lnTo>
                        <a:pt x="601" y="58"/>
                      </a:lnTo>
                      <a:lnTo>
                        <a:pt x="600" y="58"/>
                      </a:lnTo>
                      <a:lnTo>
                        <a:pt x="600" y="59"/>
                      </a:lnTo>
                      <a:lnTo>
                        <a:pt x="601" y="59"/>
                      </a:lnTo>
                      <a:lnTo>
                        <a:pt x="603" y="59"/>
                      </a:lnTo>
                      <a:lnTo>
                        <a:pt x="603" y="61"/>
                      </a:lnTo>
                      <a:lnTo>
                        <a:pt x="605" y="62"/>
                      </a:lnTo>
                      <a:lnTo>
                        <a:pt x="606" y="62"/>
                      </a:lnTo>
                      <a:lnTo>
                        <a:pt x="606" y="64"/>
                      </a:lnTo>
                      <a:lnTo>
                        <a:pt x="608" y="64"/>
                      </a:lnTo>
                      <a:lnTo>
                        <a:pt x="610" y="64"/>
                      </a:lnTo>
                      <a:lnTo>
                        <a:pt x="611" y="64"/>
                      </a:lnTo>
                      <a:lnTo>
                        <a:pt x="613" y="64"/>
                      </a:lnTo>
                      <a:lnTo>
                        <a:pt x="615" y="66"/>
                      </a:lnTo>
                      <a:lnTo>
                        <a:pt x="615" y="67"/>
                      </a:lnTo>
                      <a:lnTo>
                        <a:pt x="616" y="66"/>
                      </a:lnTo>
                      <a:lnTo>
                        <a:pt x="616" y="67"/>
                      </a:lnTo>
                      <a:lnTo>
                        <a:pt x="616" y="69"/>
                      </a:lnTo>
                      <a:lnTo>
                        <a:pt x="618" y="69"/>
                      </a:lnTo>
                      <a:lnTo>
                        <a:pt x="620" y="69"/>
                      </a:lnTo>
                      <a:lnTo>
                        <a:pt x="622" y="69"/>
                      </a:lnTo>
                      <a:lnTo>
                        <a:pt x="622" y="71"/>
                      </a:lnTo>
                      <a:lnTo>
                        <a:pt x="622" y="72"/>
                      </a:lnTo>
                      <a:lnTo>
                        <a:pt x="623" y="72"/>
                      </a:lnTo>
                      <a:lnTo>
                        <a:pt x="625" y="72"/>
                      </a:lnTo>
                      <a:lnTo>
                        <a:pt x="625" y="74"/>
                      </a:lnTo>
                      <a:lnTo>
                        <a:pt x="623" y="76"/>
                      </a:lnTo>
                      <a:lnTo>
                        <a:pt x="625" y="76"/>
                      </a:lnTo>
                      <a:lnTo>
                        <a:pt x="625" y="77"/>
                      </a:lnTo>
                      <a:lnTo>
                        <a:pt x="627" y="77"/>
                      </a:lnTo>
                      <a:lnTo>
                        <a:pt x="628" y="77"/>
                      </a:lnTo>
                      <a:lnTo>
                        <a:pt x="628" y="79"/>
                      </a:lnTo>
                      <a:lnTo>
                        <a:pt x="627" y="79"/>
                      </a:lnTo>
                      <a:lnTo>
                        <a:pt x="627" y="81"/>
                      </a:lnTo>
                      <a:lnTo>
                        <a:pt x="628" y="81"/>
                      </a:lnTo>
                      <a:lnTo>
                        <a:pt x="628" y="82"/>
                      </a:lnTo>
                      <a:lnTo>
                        <a:pt x="630" y="81"/>
                      </a:lnTo>
                      <a:lnTo>
                        <a:pt x="630" y="79"/>
                      </a:lnTo>
                      <a:lnTo>
                        <a:pt x="632" y="79"/>
                      </a:lnTo>
                      <a:lnTo>
                        <a:pt x="632" y="81"/>
                      </a:lnTo>
                      <a:lnTo>
                        <a:pt x="633" y="81"/>
                      </a:lnTo>
                      <a:lnTo>
                        <a:pt x="635" y="82"/>
                      </a:lnTo>
                      <a:lnTo>
                        <a:pt x="637" y="82"/>
                      </a:lnTo>
                      <a:lnTo>
                        <a:pt x="637" y="84"/>
                      </a:lnTo>
                      <a:lnTo>
                        <a:pt x="637" y="85"/>
                      </a:lnTo>
                      <a:lnTo>
                        <a:pt x="638" y="85"/>
                      </a:lnTo>
                      <a:lnTo>
                        <a:pt x="640" y="87"/>
                      </a:lnTo>
                      <a:lnTo>
                        <a:pt x="642" y="89"/>
                      </a:lnTo>
                      <a:lnTo>
                        <a:pt x="642" y="90"/>
                      </a:lnTo>
                      <a:lnTo>
                        <a:pt x="640" y="90"/>
                      </a:lnTo>
                      <a:lnTo>
                        <a:pt x="640" y="92"/>
                      </a:lnTo>
                      <a:lnTo>
                        <a:pt x="638" y="92"/>
                      </a:lnTo>
                      <a:lnTo>
                        <a:pt x="638" y="94"/>
                      </a:lnTo>
                      <a:lnTo>
                        <a:pt x="640" y="94"/>
                      </a:lnTo>
                      <a:lnTo>
                        <a:pt x="642" y="94"/>
                      </a:lnTo>
                      <a:lnTo>
                        <a:pt x="642" y="95"/>
                      </a:lnTo>
                      <a:lnTo>
                        <a:pt x="642" y="97"/>
                      </a:lnTo>
                      <a:lnTo>
                        <a:pt x="643" y="97"/>
                      </a:lnTo>
                      <a:lnTo>
                        <a:pt x="645" y="95"/>
                      </a:lnTo>
                      <a:lnTo>
                        <a:pt x="647" y="97"/>
                      </a:lnTo>
                      <a:lnTo>
                        <a:pt x="649" y="97"/>
                      </a:lnTo>
                      <a:lnTo>
                        <a:pt x="650" y="99"/>
                      </a:lnTo>
                      <a:lnTo>
                        <a:pt x="649" y="99"/>
                      </a:lnTo>
                      <a:lnTo>
                        <a:pt x="649" y="100"/>
                      </a:lnTo>
                      <a:lnTo>
                        <a:pt x="650" y="100"/>
                      </a:lnTo>
                      <a:lnTo>
                        <a:pt x="650" y="102"/>
                      </a:lnTo>
                      <a:lnTo>
                        <a:pt x="650" y="103"/>
                      </a:lnTo>
                      <a:lnTo>
                        <a:pt x="652" y="102"/>
                      </a:lnTo>
                      <a:lnTo>
                        <a:pt x="652" y="103"/>
                      </a:lnTo>
                      <a:lnTo>
                        <a:pt x="652" y="105"/>
                      </a:lnTo>
                      <a:lnTo>
                        <a:pt x="654" y="107"/>
                      </a:lnTo>
                      <a:lnTo>
                        <a:pt x="652" y="107"/>
                      </a:lnTo>
                      <a:lnTo>
                        <a:pt x="654" y="107"/>
                      </a:lnTo>
                      <a:lnTo>
                        <a:pt x="654" y="108"/>
                      </a:lnTo>
                      <a:lnTo>
                        <a:pt x="655" y="108"/>
                      </a:lnTo>
                      <a:lnTo>
                        <a:pt x="657" y="108"/>
                      </a:lnTo>
                      <a:lnTo>
                        <a:pt x="657" y="110"/>
                      </a:lnTo>
                      <a:lnTo>
                        <a:pt x="659" y="110"/>
                      </a:lnTo>
                      <a:lnTo>
                        <a:pt x="659" y="112"/>
                      </a:lnTo>
                      <a:lnTo>
                        <a:pt x="660" y="112"/>
                      </a:lnTo>
                      <a:lnTo>
                        <a:pt x="660" y="113"/>
                      </a:lnTo>
                      <a:lnTo>
                        <a:pt x="662" y="115"/>
                      </a:lnTo>
                      <a:lnTo>
                        <a:pt x="660" y="115"/>
                      </a:lnTo>
                      <a:lnTo>
                        <a:pt x="660" y="117"/>
                      </a:lnTo>
                      <a:lnTo>
                        <a:pt x="662" y="117"/>
                      </a:lnTo>
                      <a:lnTo>
                        <a:pt x="664" y="117"/>
                      </a:lnTo>
                      <a:lnTo>
                        <a:pt x="664" y="118"/>
                      </a:lnTo>
                      <a:lnTo>
                        <a:pt x="665" y="118"/>
                      </a:lnTo>
                      <a:lnTo>
                        <a:pt x="664" y="120"/>
                      </a:lnTo>
                      <a:lnTo>
                        <a:pt x="665" y="122"/>
                      </a:lnTo>
                      <a:lnTo>
                        <a:pt x="667" y="122"/>
                      </a:lnTo>
                      <a:lnTo>
                        <a:pt x="667" y="120"/>
                      </a:lnTo>
                      <a:lnTo>
                        <a:pt x="669" y="120"/>
                      </a:lnTo>
                      <a:lnTo>
                        <a:pt x="670" y="122"/>
                      </a:lnTo>
                      <a:lnTo>
                        <a:pt x="670" y="123"/>
                      </a:lnTo>
                      <a:lnTo>
                        <a:pt x="672" y="123"/>
                      </a:lnTo>
                      <a:lnTo>
                        <a:pt x="672" y="125"/>
                      </a:lnTo>
                      <a:lnTo>
                        <a:pt x="674" y="125"/>
                      </a:lnTo>
                      <a:lnTo>
                        <a:pt x="674" y="123"/>
                      </a:lnTo>
                      <a:lnTo>
                        <a:pt x="674" y="122"/>
                      </a:lnTo>
                      <a:lnTo>
                        <a:pt x="676" y="122"/>
                      </a:lnTo>
                      <a:lnTo>
                        <a:pt x="677" y="123"/>
                      </a:lnTo>
                      <a:lnTo>
                        <a:pt x="679" y="123"/>
                      </a:lnTo>
                      <a:lnTo>
                        <a:pt x="681" y="123"/>
                      </a:lnTo>
                      <a:lnTo>
                        <a:pt x="682" y="123"/>
                      </a:lnTo>
                      <a:lnTo>
                        <a:pt x="682" y="125"/>
                      </a:lnTo>
                      <a:lnTo>
                        <a:pt x="684" y="125"/>
                      </a:lnTo>
                      <a:lnTo>
                        <a:pt x="686" y="125"/>
                      </a:lnTo>
                      <a:lnTo>
                        <a:pt x="687" y="125"/>
                      </a:lnTo>
                      <a:lnTo>
                        <a:pt x="687" y="126"/>
                      </a:lnTo>
                      <a:lnTo>
                        <a:pt x="689" y="126"/>
                      </a:lnTo>
                      <a:lnTo>
                        <a:pt x="689" y="125"/>
                      </a:lnTo>
                      <a:lnTo>
                        <a:pt x="689" y="123"/>
                      </a:lnTo>
                      <a:lnTo>
                        <a:pt x="691" y="123"/>
                      </a:lnTo>
                      <a:lnTo>
                        <a:pt x="691" y="125"/>
                      </a:lnTo>
                      <a:lnTo>
                        <a:pt x="691" y="126"/>
                      </a:lnTo>
                      <a:lnTo>
                        <a:pt x="691" y="128"/>
                      </a:lnTo>
                      <a:lnTo>
                        <a:pt x="692" y="126"/>
                      </a:lnTo>
                      <a:lnTo>
                        <a:pt x="692" y="125"/>
                      </a:lnTo>
                      <a:lnTo>
                        <a:pt x="694" y="125"/>
                      </a:lnTo>
                      <a:lnTo>
                        <a:pt x="696" y="125"/>
                      </a:lnTo>
                      <a:lnTo>
                        <a:pt x="696" y="126"/>
                      </a:lnTo>
                      <a:lnTo>
                        <a:pt x="699" y="126"/>
                      </a:lnTo>
                      <a:lnTo>
                        <a:pt x="701" y="126"/>
                      </a:lnTo>
                      <a:lnTo>
                        <a:pt x="699" y="126"/>
                      </a:lnTo>
                      <a:lnTo>
                        <a:pt x="699" y="125"/>
                      </a:lnTo>
                      <a:lnTo>
                        <a:pt x="701" y="125"/>
                      </a:lnTo>
                      <a:lnTo>
                        <a:pt x="701" y="126"/>
                      </a:lnTo>
                      <a:lnTo>
                        <a:pt x="703" y="126"/>
                      </a:lnTo>
                      <a:lnTo>
                        <a:pt x="703" y="128"/>
                      </a:lnTo>
                      <a:lnTo>
                        <a:pt x="704" y="126"/>
                      </a:lnTo>
                      <a:lnTo>
                        <a:pt x="704" y="125"/>
                      </a:lnTo>
                      <a:lnTo>
                        <a:pt x="706" y="126"/>
                      </a:lnTo>
                      <a:lnTo>
                        <a:pt x="708" y="126"/>
                      </a:lnTo>
                      <a:lnTo>
                        <a:pt x="708" y="128"/>
                      </a:lnTo>
                      <a:lnTo>
                        <a:pt x="709" y="128"/>
                      </a:lnTo>
                      <a:lnTo>
                        <a:pt x="709" y="130"/>
                      </a:lnTo>
                      <a:lnTo>
                        <a:pt x="711" y="130"/>
                      </a:lnTo>
                      <a:lnTo>
                        <a:pt x="711" y="128"/>
                      </a:lnTo>
                      <a:lnTo>
                        <a:pt x="709" y="128"/>
                      </a:lnTo>
                      <a:lnTo>
                        <a:pt x="709" y="126"/>
                      </a:lnTo>
                      <a:lnTo>
                        <a:pt x="711" y="126"/>
                      </a:lnTo>
                      <a:lnTo>
                        <a:pt x="711" y="125"/>
                      </a:lnTo>
                      <a:lnTo>
                        <a:pt x="713" y="125"/>
                      </a:lnTo>
                      <a:lnTo>
                        <a:pt x="711" y="125"/>
                      </a:lnTo>
                      <a:lnTo>
                        <a:pt x="713" y="125"/>
                      </a:lnTo>
                      <a:lnTo>
                        <a:pt x="714" y="125"/>
                      </a:lnTo>
                      <a:lnTo>
                        <a:pt x="714" y="126"/>
                      </a:lnTo>
                      <a:lnTo>
                        <a:pt x="713" y="126"/>
                      </a:lnTo>
                      <a:lnTo>
                        <a:pt x="713" y="128"/>
                      </a:lnTo>
                      <a:lnTo>
                        <a:pt x="714" y="128"/>
                      </a:lnTo>
                      <a:lnTo>
                        <a:pt x="714" y="130"/>
                      </a:lnTo>
                      <a:lnTo>
                        <a:pt x="716" y="128"/>
                      </a:lnTo>
                      <a:lnTo>
                        <a:pt x="718" y="128"/>
                      </a:lnTo>
                      <a:lnTo>
                        <a:pt x="719" y="128"/>
                      </a:lnTo>
                      <a:lnTo>
                        <a:pt x="721" y="128"/>
                      </a:lnTo>
                      <a:lnTo>
                        <a:pt x="721" y="126"/>
                      </a:lnTo>
                      <a:lnTo>
                        <a:pt x="723" y="126"/>
                      </a:lnTo>
                      <a:lnTo>
                        <a:pt x="725" y="126"/>
                      </a:lnTo>
                      <a:lnTo>
                        <a:pt x="726" y="126"/>
                      </a:lnTo>
                      <a:lnTo>
                        <a:pt x="725" y="126"/>
                      </a:lnTo>
                      <a:lnTo>
                        <a:pt x="726" y="125"/>
                      </a:lnTo>
                      <a:lnTo>
                        <a:pt x="728" y="126"/>
                      </a:lnTo>
                      <a:lnTo>
                        <a:pt x="730" y="126"/>
                      </a:lnTo>
                      <a:lnTo>
                        <a:pt x="730" y="128"/>
                      </a:lnTo>
                      <a:lnTo>
                        <a:pt x="730" y="130"/>
                      </a:lnTo>
                      <a:lnTo>
                        <a:pt x="730" y="128"/>
                      </a:lnTo>
                      <a:lnTo>
                        <a:pt x="731" y="128"/>
                      </a:lnTo>
                      <a:lnTo>
                        <a:pt x="730" y="126"/>
                      </a:lnTo>
                      <a:lnTo>
                        <a:pt x="731" y="126"/>
                      </a:lnTo>
                      <a:lnTo>
                        <a:pt x="733" y="126"/>
                      </a:lnTo>
                      <a:lnTo>
                        <a:pt x="733" y="128"/>
                      </a:lnTo>
                      <a:lnTo>
                        <a:pt x="735" y="126"/>
                      </a:lnTo>
                      <a:lnTo>
                        <a:pt x="735" y="125"/>
                      </a:lnTo>
                      <a:lnTo>
                        <a:pt x="735" y="126"/>
                      </a:lnTo>
                      <a:lnTo>
                        <a:pt x="736" y="126"/>
                      </a:lnTo>
                      <a:lnTo>
                        <a:pt x="736" y="125"/>
                      </a:lnTo>
                      <a:lnTo>
                        <a:pt x="738" y="125"/>
                      </a:lnTo>
                      <a:lnTo>
                        <a:pt x="738" y="126"/>
                      </a:lnTo>
                      <a:lnTo>
                        <a:pt x="736" y="126"/>
                      </a:lnTo>
                      <a:lnTo>
                        <a:pt x="736" y="128"/>
                      </a:lnTo>
                      <a:lnTo>
                        <a:pt x="736" y="130"/>
                      </a:lnTo>
                      <a:lnTo>
                        <a:pt x="738" y="130"/>
                      </a:lnTo>
                      <a:lnTo>
                        <a:pt x="740" y="130"/>
                      </a:lnTo>
                      <a:lnTo>
                        <a:pt x="741" y="128"/>
                      </a:lnTo>
                      <a:lnTo>
                        <a:pt x="741" y="130"/>
                      </a:lnTo>
                      <a:lnTo>
                        <a:pt x="741" y="128"/>
                      </a:lnTo>
                      <a:lnTo>
                        <a:pt x="743" y="128"/>
                      </a:lnTo>
                      <a:lnTo>
                        <a:pt x="743" y="130"/>
                      </a:lnTo>
                      <a:lnTo>
                        <a:pt x="745" y="130"/>
                      </a:lnTo>
                      <a:lnTo>
                        <a:pt x="745" y="128"/>
                      </a:lnTo>
                      <a:lnTo>
                        <a:pt x="746" y="128"/>
                      </a:lnTo>
                      <a:lnTo>
                        <a:pt x="746" y="126"/>
                      </a:lnTo>
                      <a:lnTo>
                        <a:pt x="746" y="128"/>
                      </a:lnTo>
                      <a:lnTo>
                        <a:pt x="746" y="130"/>
                      </a:lnTo>
                      <a:lnTo>
                        <a:pt x="746" y="131"/>
                      </a:lnTo>
                      <a:lnTo>
                        <a:pt x="748" y="130"/>
                      </a:lnTo>
                      <a:lnTo>
                        <a:pt x="748" y="131"/>
                      </a:lnTo>
                      <a:lnTo>
                        <a:pt x="750" y="131"/>
                      </a:lnTo>
                      <a:lnTo>
                        <a:pt x="750" y="133"/>
                      </a:lnTo>
                      <a:lnTo>
                        <a:pt x="748" y="135"/>
                      </a:lnTo>
                      <a:lnTo>
                        <a:pt x="750" y="135"/>
                      </a:lnTo>
                      <a:lnTo>
                        <a:pt x="750" y="136"/>
                      </a:lnTo>
                      <a:lnTo>
                        <a:pt x="750" y="138"/>
                      </a:lnTo>
                      <a:lnTo>
                        <a:pt x="752" y="138"/>
                      </a:lnTo>
                      <a:lnTo>
                        <a:pt x="752" y="140"/>
                      </a:lnTo>
                      <a:lnTo>
                        <a:pt x="753" y="141"/>
                      </a:lnTo>
                      <a:lnTo>
                        <a:pt x="753" y="143"/>
                      </a:lnTo>
                      <a:lnTo>
                        <a:pt x="752" y="143"/>
                      </a:lnTo>
                      <a:lnTo>
                        <a:pt x="750" y="143"/>
                      </a:lnTo>
                      <a:lnTo>
                        <a:pt x="748" y="143"/>
                      </a:lnTo>
                      <a:lnTo>
                        <a:pt x="746" y="143"/>
                      </a:lnTo>
                      <a:lnTo>
                        <a:pt x="748" y="143"/>
                      </a:lnTo>
                      <a:lnTo>
                        <a:pt x="746" y="141"/>
                      </a:lnTo>
                      <a:lnTo>
                        <a:pt x="746" y="143"/>
                      </a:lnTo>
                      <a:lnTo>
                        <a:pt x="745" y="143"/>
                      </a:lnTo>
                      <a:lnTo>
                        <a:pt x="745" y="141"/>
                      </a:lnTo>
                      <a:lnTo>
                        <a:pt x="743" y="141"/>
                      </a:lnTo>
                      <a:lnTo>
                        <a:pt x="743" y="143"/>
                      </a:lnTo>
                      <a:lnTo>
                        <a:pt x="741" y="143"/>
                      </a:lnTo>
                      <a:lnTo>
                        <a:pt x="741" y="145"/>
                      </a:lnTo>
                      <a:lnTo>
                        <a:pt x="741" y="146"/>
                      </a:lnTo>
                      <a:lnTo>
                        <a:pt x="740" y="146"/>
                      </a:lnTo>
                      <a:lnTo>
                        <a:pt x="740" y="148"/>
                      </a:lnTo>
                      <a:lnTo>
                        <a:pt x="741" y="148"/>
                      </a:lnTo>
                      <a:lnTo>
                        <a:pt x="740" y="148"/>
                      </a:lnTo>
                      <a:lnTo>
                        <a:pt x="740" y="149"/>
                      </a:lnTo>
                      <a:lnTo>
                        <a:pt x="740" y="151"/>
                      </a:lnTo>
                      <a:lnTo>
                        <a:pt x="740" y="149"/>
                      </a:lnTo>
                      <a:lnTo>
                        <a:pt x="738" y="149"/>
                      </a:lnTo>
                      <a:lnTo>
                        <a:pt x="736" y="149"/>
                      </a:lnTo>
                      <a:lnTo>
                        <a:pt x="736" y="151"/>
                      </a:lnTo>
                      <a:lnTo>
                        <a:pt x="735" y="153"/>
                      </a:lnTo>
                      <a:lnTo>
                        <a:pt x="736" y="153"/>
                      </a:lnTo>
                      <a:lnTo>
                        <a:pt x="735" y="153"/>
                      </a:lnTo>
                      <a:lnTo>
                        <a:pt x="735" y="151"/>
                      </a:lnTo>
                      <a:lnTo>
                        <a:pt x="733" y="151"/>
                      </a:lnTo>
                      <a:lnTo>
                        <a:pt x="733" y="149"/>
                      </a:lnTo>
                      <a:lnTo>
                        <a:pt x="733" y="151"/>
                      </a:lnTo>
                      <a:lnTo>
                        <a:pt x="731" y="151"/>
                      </a:lnTo>
                      <a:lnTo>
                        <a:pt x="730" y="151"/>
                      </a:lnTo>
                      <a:lnTo>
                        <a:pt x="731" y="153"/>
                      </a:lnTo>
                      <a:lnTo>
                        <a:pt x="731" y="154"/>
                      </a:lnTo>
                      <a:lnTo>
                        <a:pt x="730" y="154"/>
                      </a:lnTo>
                      <a:lnTo>
                        <a:pt x="728" y="154"/>
                      </a:lnTo>
                      <a:lnTo>
                        <a:pt x="730" y="154"/>
                      </a:lnTo>
                      <a:lnTo>
                        <a:pt x="728" y="154"/>
                      </a:lnTo>
                      <a:lnTo>
                        <a:pt x="728" y="156"/>
                      </a:lnTo>
                      <a:lnTo>
                        <a:pt x="728" y="158"/>
                      </a:lnTo>
                      <a:lnTo>
                        <a:pt x="730" y="158"/>
                      </a:lnTo>
                      <a:lnTo>
                        <a:pt x="730" y="159"/>
                      </a:lnTo>
                      <a:lnTo>
                        <a:pt x="728" y="158"/>
                      </a:lnTo>
                      <a:lnTo>
                        <a:pt x="728" y="159"/>
                      </a:lnTo>
                      <a:lnTo>
                        <a:pt x="728" y="161"/>
                      </a:lnTo>
                      <a:lnTo>
                        <a:pt x="728" y="163"/>
                      </a:lnTo>
                      <a:lnTo>
                        <a:pt x="730" y="163"/>
                      </a:lnTo>
                      <a:lnTo>
                        <a:pt x="728" y="163"/>
                      </a:lnTo>
                      <a:lnTo>
                        <a:pt x="728" y="164"/>
                      </a:lnTo>
                      <a:lnTo>
                        <a:pt x="726" y="166"/>
                      </a:lnTo>
                      <a:lnTo>
                        <a:pt x="728" y="166"/>
                      </a:lnTo>
                      <a:lnTo>
                        <a:pt x="728" y="164"/>
                      </a:lnTo>
                      <a:lnTo>
                        <a:pt x="730" y="164"/>
                      </a:lnTo>
                      <a:lnTo>
                        <a:pt x="728" y="164"/>
                      </a:lnTo>
                      <a:lnTo>
                        <a:pt x="728" y="166"/>
                      </a:lnTo>
                      <a:lnTo>
                        <a:pt x="730" y="166"/>
                      </a:lnTo>
                      <a:lnTo>
                        <a:pt x="728" y="166"/>
                      </a:lnTo>
                      <a:lnTo>
                        <a:pt x="730" y="166"/>
                      </a:lnTo>
                      <a:lnTo>
                        <a:pt x="730" y="164"/>
                      </a:lnTo>
                      <a:lnTo>
                        <a:pt x="731" y="164"/>
                      </a:lnTo>
                      <a:lnTo>
                        <a:pt x="731" y="166"/>
                      </a:lnTo>
                      <a:lnTo>
                        <a:pt x="730" y="166"/>
                      </a:lnTo>
                      <a:lnTo>
                        <a:pt x="728" y="168"/>
                      </a:lnTo>
                      <a:lnTo>
                        <a:pt x="730" y="168"/>
                      </a:lnTo>
                      <a:lnTo>
                        <a:pt x="728" y="168"/>
                      </a:lnTo>
                      <a:lnTo>
                        <a:pt x="728" y="169"/>
                      </a:lnTo>
                      <a:lnTo>
                        <a:pt x="728" y="171"/>
                      </a:lnTo>
                      <a:lnTo>
                        <a:pt x="728" y="169"/>
                      </a:lnTo>
                      <a:lnTo>
                        <a:pt x="730" y="169"/>
                      </a:lnTo>
                      <a:lnTo>
                        <a:pt x="730" y="171"/>
                      </a:lnTo>
                      <a:lnTo>
                        <a:pt x="728" y="171"/>
                      </a:lnTo>
                      <a:lnTo>
                        <a:pt x="728" y="172"/>
                      </a:lnTo>
                      <a:lnTo>
                        <a:pt x="728" y="174"/>
                      </a:lnTo>
                      <a:lnTo>
                        <a:pt x="728" y="172"/>
                      </a:lnTo>
                      <a:lnTo>
                        <a:pt x="730" y="172"/>
                      </a:lnTo>
                      <a:lnTo>
                        <a:pt x="730" y="174"/>
                      </a:lnTo>
                      <a:lnTo>
                        <a:pt x="731" y="172"/>
                      </a:lnTo>
                      <a:lnTo>
                        <a:pt x="731" y="174"/>
                      </a:lnTo>
                      <a:lnTo>
                        <a:pt x="731" y="176"/>
                      </a:lnTo>
                      <a:lnTo>
                        <a:pt x="731" y="174"/>
                      </a:lnTo>
                      <a:lnTo>
                        <a:pt x="730" y="176"/>
                      </a:lnTo>
                      <a:lnTo>
                        <a:pt x="730" y="174"/>
                      </a:lnTo>
                      <a:lnTo>
                        <a:pt x="730" y="176"/>
                      </a:lnTo>
                      <a:lnTo>
                        <a:pt x="728" y="177"/>
                      </a:lnTo>
                      <a:lnTo>
                        <a:pt x="728" y="179"/>
                      </a:lnTo>
                      <a:lnTo>
                        <a:pt x="730" y="179"/>
                      </a:lnTo>
                      <a:lnTo>
                        <a:pt x="728" y="181"/>
                      </a:lnTo>
                      <a:lnTo>
                        <a:pt x="728" y="182"/>
                      </a:lnTo>
                      <a:lnTo>
                        <a:pt x="726" y="182"/>
                      </a:lnTo>
                      <a:lnTo>
                        <a:pt x="725" y="182"/>
                      </a:lnTo>
                      <a:lnTo>
                        <a:pt x="725" y="184"/>
                      </a:lnTo>
                      <a:lnTo>
                        <a:pt x="723" y="184"/>
                      </a:lnTo>
                      <a:lnTo>
                        <a:pt x="725" y="184"/>
                      </a:lnTo>
                      <a:lnTo>
                        <a:pt x="726" y="184"/>
                      </a:lnTo>
                      <a:lnTo>
                        <a:pt x="728" y="182"/>
                      </a:lnTo>
                      <a:lnTo>
                        <a:pt x="728" y="184"/>
                      </a:lnTo>
                      <a:lnTo>
                        <a:pt x="728" y="182"/>
                      </a:lnTo>
                      <a:lnTo>
                        <a:pt x="730" y="182"/>
                      </a:lnTo>
                      <a:lnTo>
                        <a:pt x="728" y="182"/>
                      </a:lnTo>
                      <a:lnTo>
                        <a:pt x="728" y="184"/>
                      </a:lnTo>
                      <a:lnTo>
                        <a:pt x="728" y="186"/>
                      </a:lnTo>
                      <a:lnTo>
                        <a:pt x="726" y="186"/>
                      </a:lnTo>
                      <a:lnTo>
                        <a:pt x="728" y="187"/>
                      </a:lnTo>
                      <a:lnTo>
                        <a:pt x="726" y="187"/>
                      </a:lnTo>
                      <a:lnTo>
                        <a:pt x="725" y="187"/>
                      </a:lnTo>
                      <a:lnTo>
                        <a:pt x="725" y="189"/>
                      </a:lnTo>
                      <a:lnTo>
                        <a:pt x="726" y="189"/>
                      </a:lnTo>
                      <a:lnTo>
                        <a:pt x="725" y="189"/>
                      </a:lnTo>
                      <a:lnTo>
                        <a:pt x="723" y="189"/>
                      </a:lnTo>
                      <a:lnTo>
                        <a:pt x="723" y="191"/>
                      </a:lnTo>
                      <a:lnTo>
                        <a:pt x="725" y="191"/>
                      </a:lnTo>
                      <a:lnTo>
                        <a:pt x="723" y="191"/>
                      </a:lnTo>
                      <a:lnTo>
                        <a:pt x="723" y="192"/>
                      </a:lnTo>
                      <a:lnTo>
                        <a:pt x="721" y="192"/>
                      </a:lnTo>
                      <a:lnTo>
                        <a:pt x="723" y="192"/>
                      </a:lnTo>
                      <a:lnTo>
                        <a:pt x="723" y="194"/>
                      </a:lnTo>
                      <a:lnTo>
                        <a:pt x="721" y="194"/>
                      </a:lnTo>
                      <a:lnTo>
                        <a:pt x="719" y="194"/>
                      </a:lnTo>
                      <a:lnTo>
                        <a:pt x="718" y="194"/>
                      </a:lnTo>
                      <a:lnTo>
                        <a:pt x="716" y="194"/>
                      </a:lnTo>
                      <a:lnTo>
                        <a:pt x="718" y="194"/>
                      </a:lnTo>
                      <a:lnTo>
                        <a:pt x="716" y="194"/>
                      </a:lnTo>
                      <a:lnTo>
                        <a:pt x="716" y="192"/>
                      </a:lnTo>
                      <a:lnTo>
                        <a:pt x="714" y="192"/>
                      </a:lnTo>
                      <a:lnTo>
                        <a:pt x="714" y="194"/>
                      </a:lnTo>
                      <a:lnTo>
                        <a:pt x="716" y="194"/>
                      </a:lnTo>
                      <a:lnTo>
                        <a:pt x="714" y="194"/>
                      </a:lnTo>
                      <a:lnTo>
                        <a:pt x="716" y="194"/>
                      </a:lnTo>
                      <a:lnTo>
                        <a:pt x="714" y="194"/>
                      </a:lnTo>
                      <a:lnTo>
                        <a:pt x="716" y="194"/>
                      </a:lnTo>
                      <a:lnTo>
                        <a:pt x="716" y="195"/>
                      </a:lnTo>
                      <a:lnTo>
                        <a:pt x="714" y="195"/>
                      </a:lnTo>
                      <a:lnTo>
                        <a:pt x="716" y="195"/>
                      </a:lnTo>
                      <a:lnTo>
                        <a:pt x="714" y="195"/>
                      </a:lnTo>
                      <a:lnTo>
                        <a:pt x="716" y="195"/>
                      </a:lnTo>
                      <a:lnTo>
                        <a:pt x="716" y="197"/>
                      </a:lnTo>
                      <a:lnTo>
                        <a:pt x="716" y="199"/>
                      </a:lnTo>
                      <a:lnTo>
                        <a:pt x="714" y="199"/>
                      </a:lnTo>
                      <a:lnTo>
                        <a:pt x="716" y="197"/>
                      </a:lnTo>
                      <a:lnTo>
                        <a:pt x="714" y="197"/>
                      </a:lnTo>
                      <a:lnTo>
                        <a:pt x="714" y="199"/>
                      </a:lnTo>
                      <a:lnTo>
                        <a:pt x="714" y="197"/>
                      </a:lnTo>
                      <a:lnTo>
                        <a:pt x="716" y="197"/>
                      </a:lnTo>
                      <a:lnTo>
                        <a:pt x="714" y="197"/>
                      </a:lnTo>
                      <a:lnTo>
                        <a:pt x="714" y="195"/>
                      </a:lnTo>
                      <a:lnTo>
                        <a:pt x="713" y="195"/>
                      </a:lnTo>
                      <a:lnTo>
                        <a:pt x="714" y="195"/>
                      </a:lnTo>
                      <a:lnTo>
                        <a:pt x="713" y="195"/>
                      </a:lnTo>
                      <a:lnTo>
                        <a:pt x="711" y="195"/>
                      </a:lnTo>
                      <a:lnTo>
                        <a:pt x="711" y="194"/>
                      </a:lnTo>
                      <a:lnTo>
                        <a:pt x="711" y="195"/>
                      </a:lnTo>
                      <a:lnTo>
                        <a:pt x="709" y="195"/>
                      </a:lnTo>
                      <a:lnTo>
                        <a:pt x="711" y="195"/>
                      </a:lnTo>
                      <a:lnTo>
                        <a:pt x="711" y="197"/>
                      </a:lnTo>
                      <a:lnTo>
                        <a:pt x="709" y="197"/>
                      </a:lnTo>
                      <a:lnTo>
                        <a:pt x="711" y="197"/>
                      </a:lnTo>
                      <a:lnTo>
                        <a:pt x="709" y="197"/>
                      </a:lnTo>
                      <a:lnTo>
                        <a:pt x="711" y="197"/>
                      </a:lnTo>
                      <a:lnTo>
                        <a:pt x="709" y="199"/>
                      </a:lnTo>
                      <a:lnTo>
                        <a:pt x="711" y="199"/>
                      </a:lnTo>
                      <a:lnTo>
                        <a:pt x="709" y="199"/>
                      </a:lnTo>
                      <a:lnTo>
                        <a:pt x="709" y="200"/>
                      </a:lnTo>
                      <a:lnTo>
                        <a:pt x="708" y="200"/>
                      </a:lnTo>
                      <a:lnTo>
                        <a:pt x="709" y="200"/>
                      </a:lnTo>
                      <a:lnTo>
                        <a:pt x="711" y="200"/>
                      </a:lnTo>
                      <a:lnTo>
                        <a:pt x="709" y="202"/>
                      </a:lnTo>
                      <a:lnTo>
                        <a:pt x="711" y="202"/>
                      </a:lnTo>
                      <a:lnTo>
                        <a:pt x="709" y="202"/>
                      </a:lnTo>
                      <a:lnTo>
                        <a:pt x="709" y="204"/>
                      </a:lnTo>
                      <a:lnTo>
                        <a:pt x="711" y="204"/>
                      </a:lnTo>
                      <a:lnTo>
                        <a:pt x="711" y="205"/>
                      </a:lnTo>
                      <a:lnTo>
                        <a:pt x="713" y="205"/>
                      </a:lnTo>
                      <a:lnTo>
                        <a:pt x="711" y="205"/>
                      </a:lnTo>
                      <a:lnTo>
                        <a:pt x="713" y="205"/>
                      </a:lnTo>
                      <a:lnTo>
                        <a:pt x="713" y="204"/>
                      </a:lnTo>
                      <a:lnTo>
                        <a:pt x="711" y="204"/>
                      </a:lnTo>
                      <a:lnTo>
                        <a:pt x="713" y="204"/>
                      </a:lnTo>
                      <a:lnTo>
                        <a:pt x="711" y="204"/>
                      </a:lnTo>
                      <a:lnTo>
                        <a:pt x="713" y="202"/>
                      </a:lnTo>
                      <a:lnTo>
                        <a:pt x="713" y="204"/>
                      </a:lnTo>
                      <a:lnTo>
                        <a:pt x="714" y="204"/>
                      </a:lnTo>
                      <a:lnTo>
                        <a:pt x="714" y="205"/>
                      </a:lnTo>
                      <a:lnTo>
                        <a:pt x="716" y="205"/>
                      </a:lnTo>
                      <a:lnTo>
                        <a:pt x="716" y="207"/>
                      </a:lnTo>
                      <a:lnTo>
                        <a:pt x="718" y="207"/>
                      </a:lnTo>
                      <a:lnTo>
                        <a:pt x="719" y="207"/>
                      </a:lnTo>
                      <a:lnTo>
                        <a:pt x="718" y="207"/>
                      </a:lnTo>
                      <a:lnTo>
                        <a:pt x="718" y="209"/>
                      </a:lnTo>
                      <a:lnTo>
                        <a:pt x="719" y="209"/>
                      </a:lnTo>
                      <a:lnTo>
                        <a:pt x="721" y="209"/>
                      </a:lnTo>
                      <a:lnTo>
                        <a:pt x="719" y="209"/>
                      </a:lnTo>
                      <a:lnTo>
                        <a:pt x="719" y="207"/>
                      </a:lnTo>
                      <a:lnTo>
                        <a:pt x="719" y="205"/>
                      </a:lnTo>
                      <a:lnTo>
                        <a:pt x="718" y="205"/>
                      </a:lnTo>
                      <a:lnTo>
                        <a:pt x="716" y="205"/>
                      </a:lnTo>
                      <a:lnTo>
                        <a:pt x="716" y="204"/>
                      </a:lnTo>
                      <a:lnTo>
                        <a:pt x="714" y="204"/>
                      </a:lnTo>
                      <a:lnTo>
                        <a:pt x="714" y="202"/>
                      </a:lnTo>
                      <a:lnTo>
                        <a:pt x="713" y="202"/>
                      </a:lnTo>
                      <a:lnTo>
                        <a:pt x="713" y="200"/>
                      </a:lnTo>
                      <a:lnTo>
                        <a:pt x="714" y="200"/>
                      </a:lnTo>
                      <a:lnTo>
                        <a:pt x="716" y="200"/>
                      </a:lnTo>
                      <a:lnTo>
                        <a:pt x="718" y="200"/>
                      </a:lnTo>
                      <a:lnTo>
                        <a:pt x="718" y="199"/>
                      </a:lnTo>
                      <a:lnTo>
                        <a:pt x="719" y="199"/>
                      </a:lnTo>
                      <a:lnTo>
                        <a:pt x="721" y="199"/>
                      </a:lnTo>
                      <a:lnTo>
                        <a:pt x="723" y="199"/>
                      </a:lnTo>
                      <a:lnTo>
                        <a:pt x="723" y="197"/>
                      </a:lnTo>
                      <a:lnTo>
                        <a:pt x="725" y="197"/>
                      </a:lnTo>
                      <a:lnTo>
                        <a:pt x="726" y="197"/>
                      </a:lnTo>
                      <a:lnTo>
                        <a:pt x="726" y="195"/>
                      </a:lnTo>
                      <a:lnTo>
                        <a:pt x="728" y="195"/>
                      </a:lnTo>
                      <a:lnTo>
                        <a:pt x="730" y="195"/>
                      </a:lnTo>
                      <a:lnTo>
                        <a:pt x="731" y="195"/>
                      </a:lnTo>
                      <a:lnTo>
                        <a:pt x="733" y="195"/>
                      </a:lnTo>
                      <a:lnTo>
                        <a:pt x="733" y="197"/>
                      </a:lnTo>
                      <a:lnTo>
                        <a:pt x="735" y="197"/>
                      </a:lnTo>
                      <a:lnTo>
                        <a:pt x="736" y="197"/>
                      </a:lnTo>
                      <a:lnTo>
                        <a:pt x="738" y="199"/>
                      </a:lnTo>
                      <a:lnTo>
                        <a:pt x="738" y="200"/>
                      </a:lnTo>
                      <a:lnTo>
                        <a:pt x="740" y="200"/>
                      </a:lnTo>
                      <a:lnTo>
                        <a:pt x="740" y="202"/>
                      </a:lnTo>
                      <a:lnTo>
                        <a:pt x="738" y="202"/>
                      </a:lnTo>
                      <a:lnTo>
                        <a:pt x="740" y="202"/>
                      </a:lnTo>
                      <a:lnTo>
                        <a:pt x="741" y="202"/>
                      </a:lnTo>
                      <a:lnTo>
                        <a:pt x="741" y="204"/>
                      </a:lnTo>
                      <a:lnTo>
                        <a:pt x="743" y="204"/>
                      </a:lnTo>
                      <a:lnTo>
                        <a:pt x="745" y="204"/>
                      </a:lnTo>
                      <a:lnTo>
                        <a:pt x="746" y="205"/>
                      </a:lnTo>
                      <a:lnTo>
                        <a:pt x="748" y="204"/>
                      </a:lnTo>
                      <a:lnTo>
                        <a:pt x="748" y="205"/>
                      </a:lnTo>
                      <a:lnTo>
                        <a:pt x="750" y="205"/>
                      </a:lnTo>
                      <a:lnTo>
                        <a:pt x="750" y="207"/>
                      </a:lnTo>
                      <a:lnTo>
                        <a:pt x="748" y="207"/>
                      </a:lnTo>
                      <a:lnTo>
                        <a:pt x="750" y="207"/>
                      </a:lnTo>
                      <a:lnTo>
                        <a:pt x="752" y="207"/>
                      </a:lnTo>
                      <a:lnTo>
                        <a:pt x="750" y="209"/>
                      </a:lnTo>
                      <a:lnTo>
                        <a:pt x="750" y="210"/>
                      </a:lnTo>
                      <a:lnTo>
                        <a:pt x="748" y="212"/>
                      </a:lnTo>
                      <a:lnTo>
                        <a:pt x="746" y="214"/>
                      </a:lnTo>
                      <a:lnTo>
                        <a:pt x="745" y="217"/>
                      </a:lnTo>
                      <a:lnTo>
                        <a:pt x="743" y="218"/>
                      </a:lnTo>
                      <a:lnTo>
                        <a:pt x="738" y="223"/>
                      </a:lnTo>
                      <a:lnTo>
                        <a:pt x="736" y="227"/>
                      </a:lnTo>
                      <a:lnTo>
                        <a:pt x="735" y="230"/>
                      </a:lnTo>
                      <a:lnTo>
                        <a:pt x="733" y="230"/>
                      </a:lnTo>
                      <a:lnTo>
                        <a:pt x="733" y="232"/>
                      </a:lnTo>
                      <a:lnTo>
                        <a:pt x="731" y="232"/>
                      </a:lnTo>
                      <a:lnTo>
                        <a:pt x="730" y="235"/>
                      </a:lnTo>
                      <a:lnTo>
                        <a:pt x="726" y="241"/>
                      </a:lnTo>
                      <a:lnTo>
                        <a:pt x="725" y="243"/>
                      </a:lnTo>
                      <a:lnTo>
                        <a:pt x="725" y="245"/>
                      </a:lnTo>
                      <a:lnTo>
                        <a:pt x="723" y="246"/>
                      </a:lnTo>
                      <a:lnTo>
                        <a:pt x="723" y="248"/>
                      </a:lnTo>
                      <a:lnTo>
                        <a:pt x="721" y="251"/>
                      </a:lnTo>
                      <a:lnTo>
                        <a:pt x="719" y="253"/>
                      </a:lnTo>
                      <a:lnTo>
                        <a:pt x="719" y="255"/>
                      </a:lnTo>
                      <a:lnTo>
                        <a:pt x="718" y="256"/>
                      </a:lnTo>
                      <a:lnTo>
                        <a:pt x="718" y="258"/>
                      </a:lnTo>
                      <a:lnTo>
                        <a:pt x="714" y="263"/>
                      </a:lnTo>
                      <a:lnTo>
                        <a:pt x="714" y="264"/>
                      </a:lnTo>
                      <a:lnTo>
                        <a:pt x="713" y="266"/>
                      </a:lnTo>
                      <a:lnTo>
                        <a:pt x="713" y="268"/>
                      </a:lnTo>
                      <a:lnTo>
                        <a:pt x="713" y="269"/>
                      </a:lnTo>
                      <a:lnTo>
                        <a:pt x="711" y="273"/>
                      </a:lnTo>
                      <a:lnTo>
                        <a:pt x="708" y="278"/>
                      </a:lnTo>
                      <a:lnTo>
                        <a:pt x="706" y="284"/>
                      </a:lnTo>
                      <a:lnTo>
                        <a:pt x="704" y="289"/>
                      </a:lnTo>
                      <a:lnTo>
                        <a:pt x="703" y="291"/>
                      </a:lnTo>
                      <a:lnTo>
                        <a:pt x="703" y="292"/>
                      </a:lnTo>
                      <a:lnTo>
                        <a:pt x="703" y="294"/>
                      </a:lnTo>
                      <a:lnTo>
                        <a:pt x="701" y="296"/>
                      </a:lnTo>
                      <a:lnTo>
                        <a:pt x="701" y="297"/>
                      </a:lnTo>
                      <a:lnTo>
                        <a:pt x="698" y="304"/>
                      </a:lnTo>
                      <a:lnTo>
                        <a:pt x="698" y="305"/>
                      </a:lnTo>
                      <a:lnTo>
                        <a:pt x="696" y="307"/>
                      </a:lnTo>
                      <a:lnTo>
                        <a:pt x="696" y="310"/>
                      </a:lnTo>
                      <a:lnTo>
                        <a:pt x="694" y="312"/>
                      </a:lnTo>
                      <a:lnTo>
                        <a:pt x="692" y="315"/>
                      </a:lnTo>
                      <a:lnTo>
                        <a:pt x="691" y="319"/>
                      </a:lnTo>
                      <a:lnTo>
                        <a:pt x="689" y="319"/>
                      </a:lnTo>
                      <a:lnTo>
                        <a:pt x="689" y="320"/>
                      </a:lnTo>
                      <a:lnTo>
                        <a:pt x="687" y="322"/>
                      </a:lnTo>
                      <a:lnTo>
                        <a:pt x="686" y="324"/>
                      </a:lnTo>
                      <a:lnTo>
                        <a:pt x="682" y="330"/>
                      </a:lnTo>
                      <a:lnTo>
                        <a:pt x="679" y="333"/>
                      </a:lnTo>
                      <a:lnTo>
                        <a:pt x="677" y="335"/>
                      </a:lnTo>
                      <a:lnTo>
                        <a:pt x="672" y="345"/>
                      </a:lnTo>
                      <a:lnTo>
                        <a:pt x="669" y="348"/>
                      </a:lnTo>
                      <a:lnTo>
                        <a:pt x="664" y="353"/>
                      </a:lnTo>
                      <a:lnTo>
                        <a:pt x="664" y="355"/>
                      </a:lnTo>
                      <a:lnTo>
                        <a:pt x="660" y="358"/>
                      </a:lnTo>
                      <a:lnTo>
                        <a:pt x="659" y="360"/>
                      </a:lnTo>
                      <a:lnTo>
                        <a:pt x="657" y="363"/>
                      </a:lnTo>
                      <a:lnTo>
                        <a:pt x="657" y="365"/>
                      </a:lnTo>
                      <a:lnTo>
                        <a:pt x="652" y="370"/>
                      </a:lnTo>
                      <a:lnTo>
                        <a:pt x="650" y="373"/>
                      </a:lnTo>
                      <a:lnTo>
                        <a:pt x="649" y="374"/>
                      </a:lnTo>
                      <a:lnTo>
                        <a:pt x="647" y="376"/>
                      </a:lnTo>
                      <a:lnTo>
                        <a:pt x="645" y="378"/>
                      </a:lnTo>
                      <a:lnTo>
                        <a:pt x="638" y="384"/>
                      </a:lnTo>
                      <a:lnTo>
                        <a:pt x="637" y="386"/>
                      </a:lnTo>
                      <a:lnTo>
                        <a:pt x="635" y="388"/>
                      </a:lnTo>
                      <a:lnTo>
                        <a:pt x="633" y="389"/>
                      </a:lnTo>
                      <a:lnTo>
                        <a:pt x="630" y="391"/>
                      </a:lnTo>
                      <a:lnTo>
                        <a:pt x="627" y="394"/>
                      </a:lnTo>
                      <a:lnTo>
                        <a:pt x="625" y="396"/>
                      </a:lnTo>
                      <a:lnTo>
                        <a:pt x="622" y="399"/>
                      </a:lnTo>
                      <a:lnTo>
                        <a:pt x="618" y="401"/>
                      </a:lnTo>
                      <a:lnTo>
                        <a:pt x="616" y="404"/>
                      </a:lnTo>
                      <a:lnTo>
                        <a:pt x="615" y="404"/>
                      </a:lnTo>
                      <a:lnTo>
                        <a:pt x="615" y="406"/>
                      </a:lnTo>
                      <a:lnTo>
                        <a:pt x="613" y="406"/>
                      </a:lnTo>
                      <a:lnTo>
                        <a:pt x="613" y="407"/>
                      </a:lnTo>
                      <a:lnTo>
                        <a:pt x="611" y="407"/>
                      </a:lnTo>
                      <a:lnTo>
                        <a:pt x="610" y="411"/>
                      </a:lnTo>
                      <a:lnTo>
                        <a:pt x="608" y="412"/>
                      </a:lnTo>
                      <a:lnTo>
                        <a:pt x="606" y="412"/>
                      </a:lnTo>
                      <a:lnTo>
                        <a:pt x="606" y="414"/>
                      </a:lnTo>
                      <a:lnTo>
                        <a:pt x="596" y="420"/>
                      </a:lnTo>
                      <a:lnTo>
                        <a:pt x="593" y="422"/>
                      </a:lnTo>
                      <a:lnTo>
                        <a:pt x="593" y="424"/>
                      </a:lnTo>
                      <a:lnTo>
                        <a:pt x="591" y="424"/>
                      </a:lnTo>
                      <a:lnTo>
                        <a:pt x="588" y="425"/>
                      </a:lnTo>
                      <a:lnTo>
                        <a:pt x="586" y="427"/>
                      </a:lnTo>
                      <a:lnTo>
                        <a:pt x="584" y="429"/>
                      </a:lnTo>
                      <a:lnTo>
                        <a:pt x="583" y="429"/>
                      </a:lnTo>
                      <a:lnTo>
                        <a:pt x="581" y="430"/>
                      </a:lnTo>
                      <a:lnTo>
                        <a:pt x="579" y="430"/>
                      </a:lnTo>
                      <a:lnTo>
                        <a:pt x="579" y="432"/>
                      </a:lnTo>
                      <a:lnTo>
                        <a:pt x="578" y="432"/>
                      </a:lnTo>
                      <a:lnTo>
                        <a:pt x="574" y="434"/>
                      </a:lnTo>
                      <a:lnTo>
                        <a:pt x="571" y="435"/>
                      </a:lnTo>
                      <a:lnTo>
                        <a:pt x="571" y="437"/>
                      </a:lnTo>
                      <a:lnTo>
                        <a:pt x="567" y="437"/>
                      </a:lnTo>
                      <a:lnTo>
                        <a:pt x="566" y="439"/>
                      </a:lnTo>
                      <a:lnTo>
                        <a:pt x="564" y="439"/>
                      </a:lnTo>
                      <a:lnTo>
                        <a:pt x="557" y="442"/>
                      </a:lnTo>
                      <a:lnTo>
                        <a:pt x="551" y="445"/>
                      </a:lnTo>
                      <a:lnTo>
                        <a:pt x="547" y="448"/>
                      </a:lnTo>
                      <a:lnTo>
                        <a:pt x="544" y="450"/>
                      </a:lnTo>
                      <a:lnTo>
                        <a:pt x="540" y="453"/>
                      </a:lnTo>
                      <a:lnTo>
                        <a:pt x="539" y="455"/>
                      </a:lnTo>
                      <a:lnTo>
                        <a:pt x="537" y="458"/>
                      </a:lnTo>
                      <a:lnTo>
                        <a:pt x="535" y="458"/>
                      </a:lnTo>
                      <a:lnTo>
                        <a:pt x="534" y="460"/>
                      </a:lnTo>
                      <a:lnTo>
                        <a:pt x="532" y="462"/>
                      </a:lnTo>
                      <a:lnTo>
                        <a:pt x="532" y="463"/>
                      </a:lnTo>
                      <a:lnTo>
                        <a:pt x="530" y="465"/>
                      </a:lnTo>
                      <a:lnTo>
                        <a:pt x="527" y="466"/>
                      </a:lnTo>
                      <a:lnTo>
                        <a:pt x="527" y="468"/>
                      </a:lnTo>
                      <a:lnTo>
                        <a:pt x="527" y="470"/>
                      </a:lnTo>
                      <a:lnTo>
                        <a:pt x="527" y="471"/>
                      </a:lnTo>
                      <a:lnTo>
                        <a:pt x="527" y="470"/>
                      </a:lnTo>
                      <a:lnTo>
                        <a:pt x="525" y="470"/>
                      </a:lnTo>
                      <a:lnTo>
                        <a:pt x="525" y="468"/>
                      </a:lnTo>
                      <a:lnTo>
                        <a:pt x="524" y="468"/>
                      </a:lnTo>
                      <a:lnTo>
                        <a:pt x="524" y="470"/>
                      </a:lnTo>
                      <a:lnTo>
                        <a:pt x="522" y="470"/>
                      </a:lnTo>
                      <a:lnTo>
                        <a:pt x="520" y="470"/>
                      </a:lnTo>
                      <a:lnTo>
                        <a:pt x="520" y="471"/>
                      </a:lnTo>
                      <a:lnTo>
                        <a:pt x="518" y="473"/>
                      </a:lnTo>
                      <a:lnTo>
                        <a:pt x="517" y="473"/>
                      </a:lnTo>
                      <a:lnTo>
                        <a:pt x="517" y="475"/>
                      </a:lnTo>
                      <a:lnTo>
                        <a:pt x="515" y="476"/>
                      </a:lnTo>
                      <a:lnTo>
                        <a:pt x="513" y="476"/>
                      </a:lnTo>
                      <a:lnTo>
                        <a:pt x="512" y="480"/>
                      </a:lnTo>
                      <a:lnTo>
                        <a:pt x="510" y="481"/>
                      </a:lnTo>
                      <a:lnTo>
                        <a:pt x="507" y="485"/>
                      </a:lnTo>
                      <a:lnTo>
                        <a:pt x="505" y="489"/>
                      </a:lnTo>
                      <a:lnTo>
                        <a:pt x="503" y="489"/>
                      </a:lnTo>
                      <a:lnTo>
                        <a:pt x="503" y="491"/>
                      </a:lnTo>
                      <a:lnTo>
                        <a:pt x="503" y="493"/>
                      </a:lnTo>
                      <a:lnTo>
                        <a:pt x="502" y="496"/>
                      </a:lnTo>
                      <a:lnTo>
                        <a:pt x="500" y="498"/>
                      </a:lnTo>
                      <a:lnTo>
                        <a:pt x="500" y="499"/>
                      </a:lnTo>
                      <a:lnTo>
                        <a:pt x="498" y="499"/>
                      </a:lnTo>
                      <a:lnTo>
                        <a:pt x="498" y="503"/>
                      </a:lnTo>
                      <a:lnTo>
                        <a:pt x="497" y="504"/>
                      </a:lnTo>
                      <a:lnTo>
                        <a:pt x="497" y="506"/>
                      </a:lnTo>
                      <a:lnTo>
                        <a:pt x="495" y="509"/>
                      </a:lnTo>
                      <a:lnTo>
                        <a:pt x="495" y="511"/>
                      </a:lnTo>
                      <a:lnTo>
                        <a:pt x="493" y="519"/>
                      </a:lnTo>
                      <a:lnTo>
                        <a:pt x="491" y="522"/>
                      </a:lnTo>
                      <a:lnTo>
                        <a:pt x="491" y="524"/>
                      </a:lnTo>
                      <a:lnTo>
                        <a:pt x="491" y="526"/>
                      </a:lnTo>
                      <a:lnTo>
                        <a:pt x="490" y="527"/>
                      </a:lnTo>
                      <a:lnTo>
                        <a:pt x="490" y="529"/>
                      </a:lnTo>
                      <a:lnTo>
                        <a:pt x="488" y="530"/>
                      </a:lnTo>
                      <a:lnTo>
                        <a:pt x="488" y="532"/>
                      </a:lnTo>
                      <a:lnTo>
                        <a:pt x="488" y="534"/>
                      </a:lnTo>
                      <a:lnTo>
                        <a:pt x="486" y="535"/>
                      </a:lnTo>
                      <a:lnTo>
                        <a:pt x="486" y="537"/>
                      </a:lnTo>
                      <a:lnTo>
                        <a:pt x="485" y="537"/>
                      </a:lnTo>
                      <a:lnTo>
                        <a:pt x="483" y="542"/>
                      </a:lnTo>
                      <a:lnTo>
                        <a:pt x="481" y="545"/>
                      </a:lnTo>
                      <a:lnTo>
                        <a:pt x="480" y="549"/>
                      </a:lnTo>
                      <a:lnTo>
                        <a:pt x="478" y="552"/>
                      </a:lnTo>
                      <a:lnTo>
                        <a:pt x="476" y="553"/>
                      </a:lnTo>
                      <a:lnTo>
                        <a:pt x="476" y="555"/>
                      </a:lnTo>
                      <a:lnTo>
                        <a:pt x="475" y="557"/>
                      </a:lnTo>
                      <a:lnTo>
                        <a:pt x="473" y="560"/>
                      </a:lnTo>
                      <a:lnTo>
                        <a:pt x="471" y="560"/>
                      </a:lnTo>
                      <a:lnTo>
                        <a:pt x="471" y="562"/>
                      </a:lnTo>
                      <a:lnTo>
                        <a:pt x="470" y="563"/>
                      </a:lnTo>
                      <a:lnTo>
                        <a:pt x="468" y="565"/>
                      </a:lnTo>
                      <a:lnTo>
                        <a:pt x="466" y="567"/>
                      </a:lnTo>
                      <a:lnTo>
                        <a:pt x="464" y="568"/>
                      </a:lnTo>
                      <a:lnTo>
                        <a:pt x="463" y="572"/>
                      </a:lnTo>
                      <a:lnTo>
                        <a:pt x="459" y="573"/>
                      </a:lnTo>
                      <a:lnTo>
                        <a:pt x="458" y="575"/>
                      </a:lnTo>
                      <a:lnTo>
                        <a:pt x="456" y="576"/>
                      </a:lnTo>
                      <a:lnTo>
                        <a:pt x="451" y="580"/>
                      </a:lnTo>
                      <a:lnTo>
                        <a:pt x="446" y="585"/>
                      </a:lnTo>
                      <a:lnTo>
                        <a:pt x="444" y="585"/>
                      </a:lnTo>
                      <a:lnTo>
                        <a:pt x="437" y="591"/>
                      </a:lnTo>
                      <a:lnTo>
                        <a:pt x="436" y="591"/>
                      </a:lnTo>
                      <a:lnTo>
                        <a:pt x="436" y="593"/>
                      </a:lnTo>
                      <a:lnTo>
                        <a:pt x="434" y="593"/>
                      </a:lnTo>
                      <a:lnTo>
                        <a:pt x="429" y="596"/>
                      </a:lnTo>
                      <a:lnTo>
                        <a:pt x="426" y="599"/>
                      </a:lnTo>
                      <a:lnTo>
                        <a:pt x="422" y="603"/>
                      </a:lnTo>
                      <a:lnTo>
                        <a:pt x="421" y="603"/>
                      </a:lnTo>
                      <a:lnTo>
                        <a:pt x="417" y="606"/>
                      </a:lnTo>
                      <a:lnTo>
                        <a:pt x="414" y="608"/>
                      </a:lnTo>
                      <a:lnTo>
                        <a:pt x="412" y="609"/>
                      </a:lnTo>
                      <a:lnTo>
                        <a:pt x="409" y="611"/>
                      </a:lnTo>
                      <a:lnTo>
                        <a:pt x="407" y="613"/>
                      </a:lnTo>
                      <a:lnTo>
                        <a:pt x="405" y="614"/>
                      </a:lnTo>
                      <a:lnTo>
                        <a:pt x="404" y="614"/>
                      </a:lnTo>
                      <a:lnTo>
                        <a:pt x="402" y="614"/>
                      </a:lnTo>
                      <a:lnTo>
                        <a:pt x="400" y="614"/>
                      </a:lnTo>
                      <a:lnTo>
                        <a:pt x="399" y="614"/>
                      </a:lnTo>
                      <a:lnTo>
                        <a:pt x="399" y="613"/>
                      </a:lnTo>
                      <a:lnTo>
                        <a:pt x="399" y="611"/>
                      </a:lnTo>
                      <a:lnTo>
                        <a:pt x="399" y="609"/>
                      </a:lnTo>
                      <a:lnTo>
                        <a:pt x="399" y="611"/>
                      </a:lnTo>
                      <a:lnTo>
                        <a:pt x="399" y="609"/>
                      </a:lnTo>
                      <a:lnTo>
                        <a:pt x="388" y="609"/>
                      </a:lnTo>
                      <a:lnTo>
                        <a:pt x="390" y="609"/>
                      </a:lnTo>
                      <a:lnTo>
                        <a:pt x="390" y="608"/>
                      </a:lnTo>
                      <a:lnTo>
                        <a:pt x="388" y="608"/>
                      </a:lnTo>
                      <a:lnTo>
                        <a:pt x="388" y="606"/>
                      </a:lnTo>
                      <a:lnTo>
                        <a:pt x="390" y="606"/>
                      </a:lnTo>
                      <a:lnTo>
                        <a:pt x="388" y="606"/>
                      </a:lnTo>
                      <a:lnTo>
                        <a:pt x="390" y="606"/>
                      </a:lnTo>
                      <a:lnTo>
                        <a:pt x="388" y="606"/>
                      </a:lnTo>
                      <a:lnTo>
                        <a:pt x="390" y="606"/>
                      </a:lnTo>
                      <a:lnTo>
                        <a:pt x="390" y="604"/>
                      </a:lnTo>
                      <a:lnTo>
                        <a:pt x="390" y="603"/>
                      </a:lnTo>
                      <a:lnTo>
                        <a:pt x="388" y="603"/>
                      </a:lnTo>
                      <a:lnTo>
                        <a:pt x="388" y="601"/>
                      </a:lnTo>
                      <a:lnTo>
                        <a:pt x="390" y="601"/>
                      </a:lnTo>
                      <a:lnTo>
                        <a:pt x="390" y="595"/>
                      </a:lnTo>
                      <a:lnTo>
                        <a:pt x="390" y="591"/>
                      </a:lnTo>
                      <a:lnTo>
                        <a:pt x="392" y="588"/>
                      </a:lnTo>
                      <a:lnTo>
                        <a:pt x="392" y="578"/>
                      </a:lnTo>
                      <a:lnTo>
                        <a:pt x="390" y="570"/>
                      </a:lnTo>
                      <a:lnTo>
                        <a:pt x="390" y="568"/>
                      </a:lnTo>
                      <a:lnTo>
                        <a:pt x="390" y="560"/>
                      </a:lnTo>
                      <a:lnTo>
                        <a:pt x="392" y="557"/>
                      </a:lnTo>
                      <a:lnTo>
                        <a:pt x="397" y="550"/>
                      </a:lnTo>
                      <a:lnTo>
                        <a:pt x="405" y="547"/>
                      </a:lnTo>
                      <a:lnTo>
                        <a:pt x="410" y="547"/>
                      </a:lnTo>
                      <a:lnTo>
                        <a:pt x="415" y="540"/>
                      </a:lnTo>
                      <a:lnTo>
                        <a:pt x="417" y="540"/>
                      </a:lnTo>
                      <a:lnTo>
                        <a:pt x="414" y="539"/>
                      </a:lnTo>
                      <a:lnTo>
                        <a:pt x="410" y="539"/>
                      </a:lnTo>
                      <a:lnTo>
                        <a:pt x="412" y="535"/>
                      </a:lnTo>
                      <a:lnTo>
                        <a:pt x="412" y="537"/>
                      </a:lnTo>
                      <a:lnTo>
                        <a:pt x="412" y="539"/>
                      </a:lnTo>
                      <a:lnTo>
                        <a:pt x="414" y="539"/>
                      </a:lnTo>
                      <a:lnTo>
                        <a:pt x="414" y="537"/>
                      </a:lnTo>
                      <a:lnTo>
                        <a:pt x="412" y="537"/>
                      </a:lnTo>
                      <a:lnTo>
                        <a:pt x="414" y="537"/>
                      </a:lnTo>
                      <a:lnTo>
                        <a:pt x="412" y="537"/>
                      </a:lnTo>
                      <a:lnTo>
                        <a:pt x="412" y="535"/>
                      </a:lnTo>
                      <a:lnTo>
                        <a:pt x="422" y="532"/>
                      </a:lnTo>
                      <a:lnTo>
                        <a:pt x="424" y="530"/>
                      </a:lnTo>
                      <a:lnTo>
                        <a:pt x="426" y="529"/>
                      </a:lnTo>
                      <a:lnTo>
                        <a:pt x="424" y="527"/>
                      </a:lnTo>
                      <a:lnTo>
                        <a:pt x="426" y="526"/>
                      </a:lnTo>
                      <a:lnTo>
                        <a:pt x="427" y="526"/>
                      </a:lnTo>
                      <a:lnTo>
                        <a:pt x="429" y="526"/>
                      </a:lnTo>
                      <a:lnTo>
                        <a:pt x="431" y="526"/>
                      </a:lnTo>
                      <a:lnTo>
                        <a:pt x="432" y="526"/>
                      </a:lnTo>
                      <a:lnTo>
                        <a:pt x="432" y="522"/>
                      </a:lnTo>
                      <a:lnTo>
                        <a:pt x="424" y="514"/>
                      </a:lnTo>
                      <a:close/>
                    </a:path>
                  </a:pathLst>
                </a:custGeom>
                <a:solidFill>
                  <a:srgbClr val="F79646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8" name="Freeform 6"/>
                <p:cNvSpPr>
                  <a:spLocks noChangeAspect="1"/>
                </p:cNvSpPr>
                <p:nvPr/>
              </p:nvSpPr>
              <p:spPr bwMode="auto">
                <a:xfrm>
                  <a:off x="4138257" y="4750464"/>
                  <a:ext cx="976930" cy="645622"/>
                </a:xfrm>
                <a:custGeom>
                  <a:avLst/>
                  <a:gdLst>
                    <a:gd name="T0" fmla="*/ 2147483647 w 627"/>
                    <a:gd name="T1" fmla="*/ 2147483647 h 386"/>
                    <a:gd name="T2" fmla="*/ 2147483647 w 627"/>
                    <a:gd name="T3" fmla="*/ 2147483647 h 386"/>
                    <a:gd name="T4" fmla="*/ 2147483647 w 627"/>
                    <a:gd name="T5" fmla="*/ 2147483647 h 386"/>
                    <a:gd name="T6" fmla="*/ 2147483647 w 627"/>
                    <a:gd name="T7" fmla="*/ 2147483647 h 386"/>
                    <a:gd name="T8" fmla="*/ 2147483647 w 627"/>
                    <a:gd name="T9" fmla="*/ 2147483647 h 386"/>
                    <a:gd name="T10" fmla="*/ 2147483647 w 627"/>
                    <a:gd name="T11" fmla="*/ 2147483647 h 386"/>
                    <a:gd name="T12" fmla="*/ 2147483647 w 627"/>
                    <a:gd name="T13" fmla="*/ 2147483647 h 386"/>
                    <a:gd name="T14" fmla="*/ 2147483647 w 627"/>
                    <a:gd name="T15" fmla="*/ 2147483647 h 386"/>
                    <a:gd name="T16" fmla="*/ 2147483647 w 627"/>
                    <a:gd name="T17" fmla="*/ 2147483647 h 386"/>
                    <a:gd name="T18" fmla="*/ 2147483647 w 627"/>
                    <a:gd name="T19" fmla="*/ 2147483647 h 386"/>
                    <a:gd name="T20" fmla="*/ 2147483647 w 627"/>
                    <a:gd name="T21" fmla="*/ 2147483647 h 386"/>
                    <a:gd name="T22" fmla="*/ 2147483647 w 627"/>
                    <a:gd name="T23" fmla="*/ 2147483647 h 386"/>
                    <a:gd name="T24" fmla="*/ 2147483647 w 627"/>
                    <a:gd name="T25" fmla="*/ 2147483647 h 386"/>
                    <a:gd name="T26" fmla="*/ 2147483647 w 627"/>
                    <a:gd name="T27" fmla="*/ 2147483647 h 386"/>
                    <a:gd name="T28" fmla="*/ 2147483647 w 627"/>
                    <a:gd name="T29" fmla="*/ 2147483647 h 386"/>
                    <a:gd name="T30" fmla="*/ 2147483647 w 627"/>
                    <a:gd name="T31" fmla="*/ 2147483647 h 386"/>
                    <a:gd name="T32" fmla="*/ 2147483647 w 627"/>
                    <a:gd name="T33" fmla="*/ 2147483647 h 386"/>
                    <a:gd name="T34" fmla="*/ 2147483647 w 627"/>
                    <a:gd name="T35" fmla="*/ 2147483647 h 386"/>
                    <a:gd name="T36" fmla="*/ 2147483647 w 627"/>
                    <a:gd name="T37" fmla="*/ 2147483647 h 386"/>
                    <a:gd name="T38" fmla="*/ 2147483647 w 627"/>
                    <a:gd name="T39" fmla="*/ 2147483647 h 386"/>
                    <a:gd name="T40" fmla="*/ 2147483647 w 627"/>
                    <a:gd name="T41" fmla="*/ 2147483647 h 386"/>
                    <a:gd name="T42" fmla="*/ 2147483647 w 627"/>
                    <a:gd name="T43" fmla="*/ 2147483647 h 386"/>
                    <a:gd name="T44" fmla="*/ 2147483647 w 627"/>
                    <a:gd name="T45" fmla="*/ 2147483647 h 386"/>
                    <a:gd name="T46" fmla="*/ 2147483647 w 627"/>
                    <a:gd name="T47" fmla="*/ 2147483647 h 386"/>
                    <a:gd name="T48" fmla="*/ 2147483647 w 627"/>
                    <a:gd name="T49" fmla="*/ 2147483647 h 386"/>
                    <a:gd name="T50" fmla="*/ 2147483647 w 627"/>
                    <a:gd name="T51" fmla="*/ 2147483647 h 386"/>
                    <a:gd name="T52" fmla="*/ 2147483647 w 627"/>
                    <a:gd name="T53" fmla="*/ 2147483647 h 386"/>
                    <a:gd name="T54" fmla="*/ 2147483647 w 627"/>
                    <a:gd name="T55" fmla="*/ 2147483647 h 386"/>
                    <a:gd name="T56" fmla="*/ 2147483647 w 627"/>
                    <a:gd name="T57" fmla="*/ 2147483647 h 386"/>
                    <a:gd name="T58" fmla="*/ 2147483647 w 627"/>
                    <a:gd name="T59" fmla="*/ 2147483647 h 386"/>
                    <a:gd name="T60" fmla="*/ 2147483647 w 627"/>
                    <a:gd name="T61" fmla="*/ 2147483647 h 386"/>
                    <a:gd name="T62" fmla="*/ 2147483647 w 627"/>
                    <a:gd name="T63" fmla="*/ 2147483647 h 386"/>
                    <a:gd name="T64" fmla="*/ 2147483647 w 627"/>
                    <a:gd name="T65" fmla="*/ 2147483647 h 386"/>
                    <a:gd name="T66" fmla="*/ 2147483647 w 627"/>
                    <a:gd name="T67" fmla="*/ 2147483647 h 386"/>
                    <a:gd name="T68" fmla="*/ 2147483647 w 627"/>
                    <a:gd name="T69" fmla="*/ 2147483647 h 386"/>
                    <a:gd name="T70" fmla="*/ 2147483647 w 627"/>
                    <a:gd name="T71" fmla="*/ 2147483647 h 386"/>
                    <a:gd name="T72" fmla="*/ 2147483647 w 627"/>
                    <a:gd name="T73" fmla="*/ 2147483647 h 386"/>
                    <a:gd name="T74" fmla="*/ 2147483647 w 627"/>
                    <a:gd name="T75" fmla="*/ 2147483647 h 386"/>
                    <a:gd name="T76" fmla="*/ 2147483647 w 627"/>
                    <a:gd name="T77" fmla="*/ 2147483647 h 386"/>
                    <a:gd name="T78" fmla="*/ 2147483647 w 627"/>
                    <a:gd name="T79" fmla="*/ 2147483647 h 386"/>
                    <a:gd name="T80" fmla="*/ 2147483647 w 627"/>
                    <a:gd name="T81" fmla="*/ 2147483647 h 386"/>
                    <a:gd name="T82" fmla="*/ 2147483647 w 627"/>
                    <a:gd name="T83" fmla="*/ 2147483647 h 386"/>
                    <a:gd name="T84" fmla="*/ 2147483647 w 627"/>
                    <a:gd name="T85" fmla="*/ 2147483647 h 386"/>
                    <a:gd name="T86" fmla="*/ 2147483647 w 627"/>
                    <a:gd name="T87" fmla="*/ 2147483647 h 386"/>
                    <a:gd name="T88" fmla="*/ 2147483647 w 627"/>
                    <a:gd name="T89" fmla="*/ 2147483647 h 386"/>
                    <a:gd name="T90" fmla="*/ 2147483647 w 627"/>
                    <a:gd name="T91" fmla="*/ 2147483647 h 386"/>
                    <a:gd name="T92" fmla="*/ 2147483647 w 627"/>
                    <a:gd name="T93" fmla="*/ 2147483647 h 386"/>
                    <a:gd name="T94" fmla="*/ 2147483647 w 627"/>
                    <a:gd name="T95" fmla="*/ 2147483647 h 386"/>
                    <a:gd name="T96" fmla="*/ 2147483647 w 627"/>
                    <a:gd name="T97" fmla="*/ 2147483647 h 386"/>
                    <a:gd name="T98" fmla="*/ 2147483647 w 627"/>
                    <a:gd name="T99" fmla="*/ 2147483647 h 386"/>
                    <a:gd name="T100" fmla="*/ 2147483647 w 627"/>
                    <a:gd name="T101" fmla="*/ 2147483647 h 386"/>
                    <a:gd name="T102" fmla="*/ 2147483647 w 627"/>
                    <a:gd name="T103" fmla="*/ 2147483647 h 386"/>
                    <a:gd name="T104" fmla="*/ 2147483647 w 627"/>
                    <a:gd name="T105" fmla="*/ 2147483647 h 386"/>
                    <a:gd name="T106" fmla="*/ 2147483647 w 627"/>
                    <a:gd name="T107" fmla="*/ 2147483647 h 386"/>
                    <a:gd name="T108" fmla="*/ 2147483647 w 627"/>
                    <a:gd name="T109" fmla="*/ 2147483647 h 386"/>
                    <a:gd name="T110" fmla="*/ 2147483647 w 627"/>
                    <a:gd name="T111" fmla="*/ 2147483647 h 386"/>
                    <a:gd name="T112" fmla="*/ 2147483647 w 627"/>
                    <a:gd name="T113" fmla="*/ 2147483647 h 386"/>
                    <a:gd name="T114" fmla="*/ 2147483647 w 627"/>
                    <a:gd name="T115" fmla="*/ 2147483647 h 386"/>
                    <a:gd name="T116" fmla="*/ 2147483647 w 627"/>
                    <a:gd name="T117" fmla="*/ 2147483647 h 386"/>
                    <a:gd name="T118" fmla="*/ 2147483647 w 627"/>
                    <a:gd name="T119" fmla="*/ 2147483647 h 386"/>
                    <a:gd name="T120" fmla="*/ 2147483647 w 627"/>
                    <a:gd name="T121" fmla="*/ 2147483647 h 386"/>
                    <a:gd name="T122" fmla="*/ 2147483647 w 627"/>
                    <a:gd name="T123" fmla="*/ 2147483647 h 386"/>
                    <a:gd name="T124" fmla="*/ 2147483647 w 627"/>
                    <a:gd name="T125" fmla="*/ 2147483647 h 38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27"/>
                    <a:gd name="T190" fmla="*/ 0 h 386"/>
                    <a:gd name="T191" fmla="*/ 627 w 627"/>
                    <a:gd name="T192" fmla="*/ 386 h 38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27" h="386">
                      <a:moveTo>
                        <a:pt x="115" y="28"/>
                      </a:moveTo>
                      <a:lnTo>
                        <a:pt x="115" y="26"/>
                      </a:lnTo>
                      <a:lnTo>
                        <a:pt x="117" y="26"/>
                      </a:lnTo>
                      <a:lnTo>
                        <a:pt x="119" y="26"/>
                      </a:lnTo>
                      <a:lnTo>
                        <a:pt x="120" y="24"/>
                      </a:lnTo>
                      <a:lnTo>
                        <a:pt x="120" y="23"/>
                      </a:lnTo>
                      <a:lnTo>
                        <a:pt x="122" y="23"/>
                      </a:lnTo>
                      <a:lnTo>
                        <a:pt x="124" y="23"/>
                      </a:lnTo>
                      <a:lnTo>
                        <a:pt x="127" y="21"/>
                      </a:lnTo>
                      <a:lnTo>
                        <a:pt x="130" y="19"/>
                      </a:lnTo>
                      <a:lnTo>
                        <a:pt x="132" y="19"/>
                      </a:lnTo>
                      <a:lnTo>
                        <a:pt x="134" y="19"/>
                      </a:lnTo>
                      <a:lnTo>
                        <a:pt x="136" y="19"/>
                      </a:lnTo>
                      <a:lnTo>
                        <a:pt x="137" y="18"/>
                      </a:lnTo>
                      <a:lnTo>
                        <a:pt x="139" y="16"/>
                      </a:lnTo>
                      <a:lnTo>
                        <a:pt x="139" y="14"/>
                      </a:lnTo>
                      <a:lnTo>
                        <a:pt x="141" y="14"/>
                      </a:lnTo>
                      <a:lnTo>
                        <a:pt x="141" y="13"/>
                      </a:lnTo>
                      <a:lnTo>
                        <a:pt x="142" y="13"/>
                      </a:lnTo>
                      <a:lnTo>
                        <a:pt x="144" y="9"/>
                      </a:lnTo>
                      <a:lnTo>
                        <a:pt x="146" y="9"/>
                      </a:lnTo>
                      <a:lnTo>
                        <a:pt x="146" y="11"/>
                      </a:lnTo>
                      <a:lnTo>
                        <a:pt x="146" y="13"/>
                      </a:lnTo>
                      <a:lnTo>
                        <a:pt x="147" y="11"/>
                      </a:lnTo>
                      <a:lnTo>
                        <a:pt x="149" y="11"/>
                      </a:lnTo>
                      <a:lnTo>
                        <a:pt x="149" y="9"/>
                      </a:lnTo>
                      <a:lnTo>
                        <a:pt x="151" y="9"/>
                      </a:lnTo>
                      <a:lnTo>
                        <a:pt x="151" y="8"/>
                      </a:lnTo>
                      <a:lnTo>
                        <a:pt x="152" y="8"/>
                      </a:lnTo>
                      <a:lnTo>
                        <a:pt x="152" y="6"/>
                      </a:lnTo>
                      <a:lnTo>
                        <a:pt x="154" y="6"/>
                      </a:lnTo>
                      <a:lnTo>
                        <a:pt x="156" y="5"/>
                      </a:lnTo>
                      <a:lnTo>
                        <a:pt x="157" y="5"/>
                      </a:lnTo>
                      <a:lnTo>
                        <a:pt x="161" y="3"/>
                      </a:lnTo>
                      <a:lnTo>
                        <a:pt x="163" y="3"/>
                      </a:lnTo>
                      <a:lnTo>
                        <a:pt x="164" y="5"/>
                      </a:lnTo>
                      <a:lnTo>
                        <a:pt x="166" y="5"/>
                      </a:lnTo>
                      <a:lnTo>
                        <a:pt x="168" y="8"/>
                      </a:lnTo>
                      <a:lnTo>
                        <a:pt x="169" y="8"/>
                      </a:lnTo>
                      <a:lnTo>
                        <a:pt x="171" y="6"/>
                      </a:lnTo>
                      <a:lnTo>
                        <a:pt x="173" y="6"/>
                      </a:lnTo>
                      <a:lnTo>
                        <a:pt x="174" y="6"/>
                      </a:lnTo>
                      <a:lnTo>
                        <a:pt x="176" y="8"/>
                      </a:lnTo>
                      <a:lnTo>
                        <a:pt x="178" y="8"/>
                      </a:lnTo>
                      <a:lnTo>
                        <a:pt x="179" y="9"/>
                      </a:lnTo>
                      <a:lnTo>
                        <a:pt x="181" y="9"/>
                      </a:lnTo>
                      <a:lnTo>
                        <a:pt x="183" y="9"/>
                      </a:lnTo>
                      <a:lnTo>
                        <a:pt x="185" y="9"/>
                      </a:lnTo>
                      <a:lnTo>
                        <a:pt x="186" y="8"/>
                      </a:lnTo>
                      <a:lnTo>
                        <a:pt x="188" y="6"/>
                      </a:lnTo>
                      <a:lnTo>
                        <a:pt x="190" y="6"/>
                      </a:lnTo>
                      <a:lnTo>
                        <a:pt x="191" y="5"/>
                      </a:lnTo>
                      <a:lnTo>
                        <a:pt x="193" y="5"/>
                      </a:lnTo>
                      <a:lnTo>
                        <a:pt x="193" y="3"/>
                      </a:lnTo>
                      <a:lnTo>
                        <a:pt x="195" y="3"/>
                      </a:lnTo>
                      <a:lnTo>
                        <a:pt x="195" y="5"/>
                      </a:lnTo>
                      <a:lnTo>
                        <a:pt x="196" y="6"/>
                      </a:lnTo>
                      <a:lnTo>
                        <a:pt x="198" y="8"/>
                      </a:lnTo>
                      <a:lnTo>
                        <a:pt x="200" y="8"/>
                      </a:lnTo>
                      <a:lnTo>
                        <a:pt x="201" y="9"/>
                      </a:lnTo>
                      <a:lnTo>
                        <a:pt x="203" y="9"/>
                      </a:lnTo>
                      <a:lnTo>
                        <a:pt x="205" y="8"/>
                      </a:lnTo>
                      <a:lnTo>
                        <a:pt x="206" y="8"/>
                      </a:lnTo>
                      <a:lnTo>
                        <a:pt x="208" y="8"/>
                      </a:lnTo>
                      <a:lnTo>
                        <a:pt x="210" y="8"/>
                      </a:lnTo>
                      <a:lnTo>
                        <a:pt x="212" y="8"/>
                      </a:lnTo>
                      <a:lnTo>
                        <a:pt x="213" y="9"/>
                      </a:lnTo>
                      <a:lnTo>
                        <a:pt x="215" y="9"/>
                      </a:lnTo>
                      <a:lnTo>
                        <a:pt x="217" y="9"/>
                      </a:lnTo>
                      <a:lnTo>
                        <a:pt x="218" y="9"/>
                      </a:lnTo>
                      <a:lnTo>
                        <a:pt x="220" y="9"/>
                      </a:lnTo>
                      <a:lnTo>
                        <a:pt x="222" y="9"/>
                      </a:lnTo>
                      <a:lnTo>
                        <a:pt x="223" y="9"/>
                      </a:lnTo>
                      <a:lnTo>
                        <a:pt x="225" y="8"/>
                      </a:lnTo>
                      <a:lnTo>
                        <a:pt x="227" y="8"/>
                      </a:lnTo>
                      <a:lnTo>
                        <a:pt x="227" y="9"/>
                      </a:lnTo>
                      <a:lnTo>
                        <a:pt x="228" y="9"/>
                      </a:lnTo>
                      <a:lnTo>
                        <a:pt x="228" y="11"/>
                      </a:lnTo>
                      <a:lnTo>
                        <a:pt x="228" y="13"/>
                      </a:lnTo>
                      <a:lnTo>
                        <a:pt x="228" y="14"/>
                      </a:lnTo>
                      <a:lnTo>
                        <a:pt x="230" y="13"/>
                      </a:lnTo>
                      <a:lnTo>
                        <a:pt x="232" y="13"/>
                      </a:lnTo>
                      <a:lnTo>
                        <a:pt x="232" y="11"/>
                      </a:lnTo>
                      <a:lnTo>
                        <a:pt x="233" y="11"/>
                      </a:lnTo>
                      <a:lnTo>
                        <a:pt x="235" y="11"/>
                      </a:lnTo>
                      <a:lnTo>
                        <a:pt x="235" y="9"/>
                      </a:lnTo>
                      <a:lnTo>
                        <a:pt x="233" y="8"/>
                      </a:lnTo>
                      <a:lnTo>
                        <a:pt x="233" y="6"/>
                      </a:lnTo>
                      <a:lnTo>
                        <a:pt x="235" y="6"/>
                      </a:lnTo>
                      <a:lnTo>
                        <a:pt x="235" y="5"/>
                      </a:lnTo>
                      <a:lnTo>
                        <a:pt x="235" y="1"/>
                      </a:lnTo>
                      <a:lnTo>
                        <a:pt x="237" y="1"/>
                      </a:lnTo>
                      <a:lnTo>
                        <a:pt x="237" y="0"/>
                      </a:lnTo>
                      <a:lnTo>
                        <a:pt x="239" y="0"/>
                      </a:lnTo>
                      <a:lnTo>
                        <a:pt x="240" y="0"/>
                      </a:lnTo>
                      <a:lnTo>
                        <a:pt x="242" y="0"/>
                      </a:lnTo>
                      <a:lnTo>
                        <a:pt x="244" y="1"/>
                      </a:lnTo>
                      <a:lnTo>
                        <a:pt x="245" y="1"/>
                      </a:lnTo>
                      <a:lnTo>
                        <a:pt x="247" y="1"/>
                      </a:lnTo>
                      <a:lnTo>
                        <a:pt x="249" y="1"/>
                      </a:lnTo>
                      <a:lnTo>
                        <a:pt x="250" y="1"/>
                      </a:lnTo>
                      <a:lnTo>
                        <a:pt x="250" y="3"/>
                      </a:lnTo>
                      <a:lnTo>
                        <a:pt x="254" y="3"/>
                      </a:lnTo>
                      <a:lnTo>
                        <a:pt x="255" y="5"/>
                      </a:lnTo>
                      <a:lnTo>
                        <a:pt x="257" y="5"/>
                      </a:lnTo>
                      <a:lnTo>
                        <a:pt x="257" y="6"/>
                      </a:lnTo>
                      <a:lnTo>
                        <a:pt x="259" y="6"/>
                      </a:lnTo>
                      <a:lnTo>
                        <a:pt x="261" y="8"/>
                      </a:lnTo>
                      <a:lnTo>
                        <a:pt x="261" y="9"/>
                      </a:lnTo>
                      <a:lnTo>
                        <a:pt x="262" y="9"/>
                      </a:lnTo>
                      <a:lnTo>
                        <a:pt x="264" y="9"/>
                      </a:lnTo>
                      <a:lnTo>
                        <a:pt x="266" y="9"/>
                      </a:lnTo>
                      <a:lnTo>
                        <a:pt x="267" y="9"/>
                      </a:lnTo>
                      <a:lnTo>
                        <a:pt x="269" y="8"/>
                      </a:lnTo>
                      <a:lnTo>
                        <a:pt x="271" y="8"/>
                      </a:lnTo>
                      <a:lnTo>
                        <a:pt x="272" y="8"/>
                      </a:lnTo>
                      <a:lnTo>
                        <a:pt x="274" y="9"/>
                      </a:lnTo>
                      <a:lnTo>
                        <a:pt x="276" y="11"/>
                      </a:lnTo>
                      <a:lnTo>
                        <a:pt x="276" y="13"/>
                      </a:lnTo>
                      <a:lnTo>
                        <a:pt x="277" y="13"/>
                      </a:lnTo>
                      <a:lnTo>
                        <a:pt x="279" y="13"/>
                      </a:lnTo>
                      <a:lnTo>
                        <a:pt x="281" y="13"/>
                      </a:lnTo>
                      <a:lnTo>
                        <a:pt x="282" y="13"/>
                      </a:lnTo>
                      <a:lnTo>
                        <a:pt x="284" y="13"/>
                      </a:lnTo>
                      <a:lnTo>
                        <a:pt x="286" y="13"/>
                      </a:lnTo>
                      <a:lnTo>
                        <a:pt x="288" y="14"/>
                      </a:lnTo>
                      <a:lnTo>
                        <a:pt x="289" y="14"/>
                      </a:lnTo>
                      <a:lnTo>
                        <a:pt x="291" y="16"/>
                      </a:lnTo>
                      <a:lnTo>
                        <a:pt x="293" y="16"/>
                      </a:lnTo>
                      <a:lnTo>
                        <a:pt x="293" y="14"/>
                      </a:lnTo>
                      <a:lnTo>
                        <a:pt x="294" y="14"/>
                      </a:lnTo>
                      <a:lnTo>
                        <a:pt x="296" y="14"/>
                      </a:lnTo>
                      <a:lnTo>
                        <a:pt x="296" y="16"/>
                      </a:lnTo>
                      <a:lnTo>
                        <a:pt x="298" y="14"/>
                      </a:lnTo>
                      <a:lnTo>
                        <a:pt x="299" y="14"/>
                      </a:lnTo>
                      <a:lnTo>
                        <a:pt x="301" y="13"/>
                      </a:lnTo>
                      <a:lnTo>
                        <a:pt x="303" y="11"/>
                      </a:lnTo>
                      <a:lnTo>
                        <a:pt x="304" y="11"/>
                      </a:lnTo>
                      <a:lnTo>
                        <a:pt x="304" y="13"/>
                      </a:lnTo>
                      <a:lnTo>
                        <a:pt x="306" y="13"/>
                      </a:lnTo>
                      <a:lnTo>
                        <a:pt x="308" y="13"/>
                      </a:lnTo>
                      <a:lnTo>
                        <a:pt x="309" y="13"/>
                      </a:lnTo>
                      <a:lnTo>
                        <a:pt x="311" y="13"/>
                      </a:lnTo>
                      <a:lnTo>
                        <a:pt x="313" y="13"/>
                      </a:lnTo>
                      <a:lnTo>
                        <a:pt x="315" y="14"/>
                      </a:lnTo>
                      <a:lnTo>
                        <a:pt x="316" y="13"/>
                      </a:lnTo>
                      <a:lnTo>
                        <a:pt x="318" y="13"/>
                      </a:lnTo>
                      <a:lnTo>
                        <a:pt x="320" y="13"/>
                      </a:lnTo>
                      <a:lnTo>
                        <a:pt x="320" y="14"/>
                      </a:lnTo>
                      <a:lnTo>
                        <a:pt x="321" y="14"/>
                      </a:lnTo>
                      <a:lnTo>
                        <a:pt x="321" y="16"/>
                      </a:lnTo>
                      <a:lnTo>
                        <a:pt x="323" y="18"/>
                      </a:lnTo>
                      <a:lnTo>
                        <a:pt x="325" y="19"/>
                      </a:lnTo>
                      <a:lnTo>
                        <a:pt x="326" y="19"/>
                      </a:lnTo>
                      <a:lnTo>
                        <a:pt x="328" y="19"/>
                      </a:lnTo>
                      <a:lnTo>
                        <a:pt x="328" y="21"/>
                      </a:lnTo>
                      <a:lnTo>
                        <a:pt x="330" y="21"/>
                      </a:lnTo>
                      <a:lnTo>
                        <a:pt x="331" y="21"/>
                      </a:lnTo>
                      <a:lnTo>
                        <a:pt x="333" y="21"/>
                      </a:lnTo>
                      <a:lnTo>
                        <a:pt x="335" y="23"/>
                      </a:lnTo>
                      <a:lnTo>
                        <a:pt x="337" y="23"/>
                      </a:lnTo>
                      <a:lnTo>
                        <a:pt x="338" y="23"/>
                      </a:lnTo>
                      <a:lnTo>
                        <a:pt x="340" y="23"/>
                      </a:lnTo>
                      <a:lnTo>
                        <a:pt x="343" y="24"/>
                      </a:lnTo>
                      <a:lnTo>
                        <a:pt x="345" y="24"/>
                      </a:lnTo>
                      <a:lnTo>
                        <a:pt x="347" y="24"/>
                      </a:lnTo>
                      <a:lnTo>
                        <a:pt x="348" y="24"/>
                      </a:lnTo>
                      <a:lnTo>
                        <a:pt x="350" y="26"/>
                      </a:lnTo>
                      <a:lnTo>
                        <a:pt x="352" y="24"/>
                      </a:lnTo>
                      <a:lnTo>
                        <a:pt x="353" y="24"/>
                      </a:lnTo>
                      <a:lnTo>
                        <a:pt x="355" y="24"/>
                      </a:lnTo>
                      <a:lnTo>
                        <a:pt x="357" y="26"/>
                      </a:lnTo>
                      <a:lnTo>
                        <a:pt x="358" y="28"/>
                      </a:lnTo>
                      <a:lnTo>
                        <a:pt x="360" y="28"/>
                      </a:lnTo>
                      <a:lnTo>
                        <a:pt x="360" y="29"/>
                      </a:lnTo>
                      <a:lnTo>
                        <a:pt x="360" y="31"/>
                      </a:lnTo>
                      <a:lnTo>
                        <a:pt x="362" y="31"/>
                      </a:lnTo>
                      <a:lnTo>
                        <a:pt x="362" y="32"/>
                      </a:lnTo>
                      <a:lnTo>
                        <a:pt x="364" y="32"/>
                      </a:lnTo>
                      <a:lnTo>
                        <a:pt x="364" y="34"/>
                      </a:lnTo>
                      <a:lnTo>
                        <a:pt x="364" y="36"/>
                      </a:lnTo>
                      <a:lnTo>
                        <a:pt x="364" y="37"/>
                      </a:lnTo>
                      <a:lnTo>
                        <a:pt x="364" y="39"/>
                      </a:lnTo>
                      <a:lnTo>
                        <a:pt x="365" y="39"/>
                      </a:lnTo>
                      <a:lnTo>
                        <a:pt x="367" y="39"/>
                      </a:lnTo>
                      <a:lnTo>
                        <a:pt x="369" y="39"/>
                      </a:lnTo>
                      <a:lnTo>
                        <a:pt x="369" y="41"/>
                      </a:lnTo>
                      <a:lnTo>
                        <a:pt x="370" y="41"/>
                      </a:lnTo>
                      <a:lnTo>
                        <a:pt x="372" y="39"/>
                      </a:lnTo>
                      <a:lnTo>
                        <a:pt x="374" y="36"/>
                      </a:lnTo>
                      <a:lnTo>
                        <a:pt x="375" y="34"/>
                      </a:lnTo>
                      <a:lnTo>
                        <a:pt x="377" y="34"/>
                      </a:lnTo>
                      <a:lnTo>
                        <a:pt x="379" y="34"/>
                      </a:lnTo>
                      <a:lnTo>
                        <a:pt x="379" y="36"/>
                      </a:lnTo>
                      <a:lnTo>
                        <a:pt x="380" y="36"/>
                      </a:lnTo>
                      <a:lnTo>
                        <a:pt x="380" y="37"/>
                      </a:lnTo>
                      <a:lnTo>
                        <a:pt x="382" y="37"/>
                      </a:lnTo>
                      <a:lnTo>
                        <a:pt x="384" y="36"/>
                      </a:lnTo>
                      <a:lnTo>
                        <a:pt x="384" y="34"/>
                      </a:lnTo>
                      <a:lnTo>
                        <a:pt x="385" y="34"/>
                      </a:lnTo>
                      <a:lnTo>
                        <a:pt x="387" y="36"/>
                      </a:lnTo>
                      <a:lnTo>
                        <a:pt x="389" y="36"/>
                      </a:lnTo>
                      <a:lnTo>
                        <a:pt x="389" y="37"/>
                      </a:lnTo>
                      <a:lnTo>
                        <a:pt x="391" y="37"/>
                      </a:lnTo>
                      <a:lnTo>
                        <a:pt x="391" y="39"/>
                      </a:lnTo>
                      <a:lnTo>
                        <a:pt x="392" y="39"/>
                      </a:lnTo>
                      <a:lnTo>
                        <a:pt x="392" y="37"/>
                      </a:lnTo>
                      <a:lnTo>
                        <a:pt x="394" y="37"/>
                      </a:lnTo>
                      <a:lnTo>
                        <a:pt x="396" y="39"/>
                      </a:lnTo>
                      <a:lnTo>
                        <a:pt x="397" y="39"/>
                      </a:lnTo>
                      <a:lnTo>
                        <a:pt x="399" y="39"/>
                      </a:lnTo>
                      <a:lnTo>
                        <a:pt x="399" y="37"/>
                      </a:lnTo>
                      <a:lnTo>
                        <a:pt x="399" y="36"/>
                      </a:lnTo>
                      <a:lnTo>
                        <a:pt x="401" y="36"/>
                      </a:lnTo>
                      <a:lnTo>
                        <a:pt x="402" y="36"/>
                      </a:lnTo>
                      <a:lnTo>
                        <a:pt x="404" y="36"/>
                      </a:lnTo>
                      <a:lnTo>
                        <a:pt x="406" y="36"/>
                      </a:lnTo>
                      <a:lnTo>
                        <a:pt x="406" y="37"/>
                      </a:lnTo>
                      <a:lnTo>
                        <a:pt x="407" y="37"/>
                      </a:lnTo>
                      <a:lnTo>
                        <a:pt x="407" y="39"/>
                      </a:lnTo>
                      <a:lnTo>
                        <a:pt x="409" y="39"/>
                      </a:lnTo>
                      <a:lnTo>
                        <a:pt x="411" y="39"/>
                      </a:lnTo>
                      <a:lnTo>
                        <a:pt x="411" y="37"/>
                      </a:lnTo>
                      <a:lnTo>
                        <a:pt x="413" y="37"/>
                      </a:lnTo>
                      <a:lnTo>
                        <a:pt x="414" y="37"/>
                      </a:lnTo>
                      <a:lnTo>
                        <a:pt x="416" y="37"/>
                      </a:lnTo>
                      <a:lnTo>
                        <a:pt x="416" y="39"/>
                      </a:lnTo>
                      <a:lnTo>
                        <a:pt x="418" y="39"/>
                      </a:lnTo>
                      <a:lnTo>
                        <a:pt x="419" y="39"/>
                      </a:lnTo>
                      <a:lnTo>
                        <a:pt x="421" y="39"/>
                      </a:lnTo>
                      <a:lnTo>
                        <a:pt x="423" y="39"/>
                      </a:lnTo>
                      <a:lnTo>
                        <a:pt x="424" y="39"/>
                      </a:lnTo>
                      <a:lnTo>
                        <a:pt x="424" y="37"/>
                      </a:lnTo>
                      <a:lnTo>
                        <a:pt x="426" y="37"/>
                      </a:lnTo>
                      <a:lnTo>
                        <a:pt x="428" y="39"/>
                      </a:lnTo>
                      <a:lnTo>
                        <a:pt x="428" y="37"/>
                      </a:lnTo>
                      <a:lnTo>
                        <a:pt x="429" y="37"/>
                      </a:lnTo>
                      <a:lnTo>
                        <a:pt x="431" y="36"/>
                      </a:lnTo>
                      <a:lnTo>
                        <a:pt x="431" y="37"/>
                      </a:lnTo>
                      <a:lnTo>
                        <a:pt x="433" y="37"/>
                      </a:lnTo>
                      <a:lnTo>
                        <a:pt x="434" y="36"/>
                      </a:lnTo>
                      <a:lnTo>
                        <a:pt x="434" y="34"/>
                      </a:lnTo>
                      <a:lnTo>
                        <a:pt x="436" y="36"/>
                      </a:lnTo>
                      <a:lnTo>
                        <a:pt x="438" y="36"/>
                      </a:lnTo>
                      <a:lnTo>
                        <a:pt x="438" y="37"/>
                      </a:lnTo>
                      <a:lnTo>
                        <a:pt x="440" y="37"/>
                      </a:lnTo>
                      <a:lnTo>
                        <a:pt x="440" y="36"/>
                      </a:lnTo>
                      <a:lnTo>
                        <a:pt x="440" y="34"/>
                      </a:lnTo>
                      <a:lnTo>
                        <a:pt x="441" y="34"/>
                      </a:lnTo>
                      <a:lnTo>
                        <a:pt x="443" y="36"/>
                      </a:lnTo>
                      <a:lnTo>
                        <a:pt x="443" y="37"/>
                      </a:lnTo>
                      <a:lnTo>
                        <a:pt x="443" y="39"/>
                      </a:lnTo>
                      <a:lnTo>
                        <a:pt x="441" y="39"/>
                      </a:lnTo>
                      <a:lnTo>
                        <a:pt x="441" y="41"/>
                      </a:lnTo>
                      <a:lnTo>
                        <a:pt x="443" y="41"/>
                      </a:lnTo>
                      <a:lnTo>
                        <a:pt x="443" y="42"/>
                      </a:lnTo>
                      <a:lnTo>
                        <a:pt x="445" y="42"/>
                      </a:lnTo>
                      <a:lnTo>
                        <a:pt x="446" y="42"/>
                      </a:lnTo>
                      <a:lnTo>
                        <a:pt x="448" y="42"/>
                      </a:lnTo>
                      <a:lnTo>
                        <a:pt x="448" y="44"/>
                      </a:lnTo>
                      <a:lnTo>
                        <a:pt x="448" y="46"/>
                      </a:lnTo>
                      <a:lnTo>
                        <a:pt x="448" y="47"/>
                      </a:lnTo>
                      <a:lnTo>
                        <a:pt x="448" y="49"/>
                      </a:lnTo>
                      <a:lnTo>
                        <a:pt x="450" y="49"/>
                      </a:lnTo>
                      <a:lnTo>
                        <a:pt x="451" y="49"/>
                      </a:lnTo>
                      <a:lnTo>
                        <a:pt x="451" y="51"/>
                      </a:lnTo>
                      <a:lnTo>
                        <a:pt x="453" y="51"/>
                      </a:lnTo>
                      <a:lnTo>
                        <a:pt x="455" y="51"/>
                      </a:lnTo>
                      <a:lnTo>
                        <a:pt x="456" y="51"/>
                      </a:lnTo>
                      <a:lnTo>
                        <a:pt x="458" y="52"/>
                      </a:lnTo>
                      <a:lnTo>
                        <a:pt x="460" y="54"/>
                      </a:lnTo>
                      <a:lnTo>
                        <a:pt x="461" y="54"/>
                      </a:lnTo>
                      <a:lnTo>
                        <a:pt x="463" y="54"/>
                      </a:lnTo>
                      <a:lnTo>
                        <a:pt x="463" y="52"/>
                      </a:lnTo>
                      <a:lnTo>
                        <a:pt x="465" y="54"/>
                      </a:lnTo>
                      <a:lnTo>
                        <a:pt x="465" y="55"/>
                      </a:lnTo>
                      <a:lnTo>
                        <a:pt x="465" y="57"/>
                      </a:lnTo>
                      <a:lnTo>
                        <a:pt x="467" y="57"/>
                      </a:lnTo>
                      <a:lnTo>
                        <a:pt x="467" y="59"/>
                      </a:lnTo>
                      <a:lnTo>
                        <a:pt x="468" y="57"/>
                      </a:lnTo>
                      <a:lnTo>
                        <a:pt x="467" y="59"/>
                      </a:lnTo>
                      <a:lnTo>
                        <a:pt x="468" y="59"/>
                      </a:lnTo>
                      <a:lnTo>
                        <a:pt x="470" y="59"/>
                      </a:lnTo>
                      <a:lnTo>
                        <a:pt x="470" y="60"/>
                      </a:lnTo>
                      <a:lnTo>
                        <a:pt x="472" y="60"/>
                      </a:lnTo>
                      <a:lnTo>
                        <a:pt x="472" y="62"/>
                      </a:lnTo>
                      <a:lnTo>
                        <a:pt x="472" y="64"/>
                      </a:lnTo>
                      <a:lnTo>
                        <a:pt x="472" y="65"/>
                      </a:lnTo>
                      <a:lnTo>
                        <a:pt x="473" y="65"/>
                      </a:lnTo>
                      <a:lnTo>
                        <a:pt x="473" y="67"/>
                      </a:lnTo>
                      <a:lnTo>
                        <a:pt x="473" y="69"/>
                      </a:lnTo>
                      <a:lnTo>
                        <a:pt x="475" y="69"/>
                      </a:lnTo>
                      <a:lnTo>
                        <a:pt x="475" y="70"/>
                      </a:lnTo>
                      <a:lnTo>
                        <a:pt x="475" y="72"/>
                      </a:lnTo>
                      <a:lnTo>
                        <a:pt x="475" y="74"/>
                      </a:lnTo>
                      <a:lnTo>
                        <a:pt x="475" y="75"/>
                      </a:lnTo>
                      <a:lnTo>
                        <a:pt x="473" y="75"/>
                      </a:lnTo>
                      <a:lnTo>
                        <a:pt x="473" y="77"/>
                      </a:lnTo>
                      <a:lnTo>
                        <a:pt x="475" y="77"/>
                      </a:lnTo>
                      <a:lnTo>
                        <a:pt x="477" y="77"/>
                      </a:lnTo>
                      <a:lnTo>
                        <a:pt x="478" y="77"/>
                      </a:lnTo>
                      <a:lnTo>
                        <a:pt x="477" y="78"/>
                      </a:lnTo>
                      <a:lnTo>
                        <a:pt x="478" y="78"/>
                      </a:lnTo>
                      <a:lnTo>
                        <a:pt x="478" y="80"/>
                      </a:lnTo>
                      <a:lnTo>
                        <a:pt x="477" y="78"/>
                      </a:lnTo>
                      <a:lnTo>
                        <a:pt x="477" y="80"/>
                      </a:lnTo>
                      <a:lnTo>
                        <a:pt x="475" y="80"/>
                      </a:lnTo>
                      <a:lnTo>
                        <a:pt x="477" y="80"/>
                      </a:lnTo>
                      <a:lnTo>
                        <a:pt x="477" y="82"/>
                      </a:lnTo>
                      <a:lnTo>
                        <a:pt x="478" y="82"/>
                      </a:lnTo>
                      <a:lnTo>
                        <a:pt x="478" y="83"/>
                      </a:lnTo>
                      <a:lnTo>
                        <a:pt x="480" y="83"/>
                      </a:lnTo>
                      <a:lnTo>
                        <a:pt x="480" y="85"/>
                      </a:lnTo>
                      <a:lnTo>
                        <a:pt x="480" y="83"/>
                      </a:lnTo>
                      <a:lnTo>
                        <a:pt x="478" y="83"/>
                      </a:lnTo>
                      <a:lnTo>
                        <a:pt x="477" y="85"/>
                      </a:lnTo>
                      <a:lnTo>
                        <a:pt x="477" y="87"/>
                      </a:lnTo>
                      <a:lnTo>
                        <a:pt x="477" y="88"/>
                      </a:lnTo>
                      <a:lnTo>
                        <a:pt x="477" y="87"/>
                      </a:lnTo>
                      <a:lnTo>
                        <a:pt x="475" y="87"/>
                      </a:lnTo>
                      <a:lnTo>
                        <a:pt x="477" y="88"/>
                      </a:lnTo>
                      <a:lnTo>
                        <a:pt x="475" y="88"/>
                      </a:lnTo>
                      <a:lnTo>
                        <a:pt x="475" y="90"/>
                      </a:lnTo>
                      <a:lnTo>
                        <a:pt x="477" y="90"/>
                      </a:lnTo>
                      <a:lnTo>
                        <a:pt x="475" y="90"/>
                      </a:lnTo>
                      <a:lnTo>
                        <a:pt x="475" y="92"/>
                      </a:lnTo>
                      <a:lnTo>
                        <a:pt x="477" y="93"/>
                      </a:lnTo>
                      <a:lnTo>
                        <a:pt x="477" y="95"/>
                      </a:lnTo>
                      <a:lnTo>
                        <a:pt x="477" y="97"/>
                      </a:lnTo>
                      <a:lnTo>
                        <a:pt x="477" y="98"/>
                      </a:lnTo>
                      <a:lnTo>
                        <a:pt x="475" y="98"/>
                      </a:lnTo>
                      <a:lnTo>
                        <a:pt x="475" y="100"/>
                      </a:lnTo>
                      <a:lnTo>
                        <a:pt x="477" y="100"/>
                      </a:lnTo>
                      <a:lnTo>
                        <a:pt x="475" y="100"/>
                      </a:lnTo>
                      <a:lnTo>
                        <a:pt x="477" y="101"/>
                      </a:lnTo>
                      <a:lnTo>
                        <a:pt x="477" y="103"/>
                      </a:lnTo>
                      <a:lnTo>
                        <a:pt x="475" y="103"/>
                      </a:lnTo>
                      <a:lnTo>
                        <a:pt x="477" y="103"/>
                      </a:lnTo>
                      <a:lnTo>
                        <a:pt x="478" y="105"/>
                      </a:lnTo>
                      <a:lnTo>
                        <a:pt x="478" y="106"/>
                      </a:lnTo>
                      <a:lnTo>
                        <a:pt x="480" y="106"/>
                      </a:lnTo>
                      <a:lnTo>
                        <a:pt x="480" y="108"/>
                      </a:lnTo>
                      <a:lnTo>
                        <a:pt x="482" y="108"/>
                      </a:lnTo>
                      <a:lnTo>
                        <a:pt x="482" y="110"/>
                      </a:lnTo>
                      <a:lnTo>
                        <a:pt x="482" y="111"/>
                      </a:lnTo>
                      <a:lnTo>
                        <a:pt x="480" y="111"/>
                      </a:lnTo>
                      <a:lnTo>
                        <a:pt x="480" y="113"/>
                      </a:lnTo>
                      <a:lnTo>
                        <a:pt x="480" y="115"/>
                      </a:lnTo>
                      <a:lnTo>
                        <a:pt x="480" y="116"/>
                      </a:lnTo>
                      <a:lnTo>
                        <a:pt x="482" y="116"/>
                      </a:lnTo>
                      <a:lnTo>
                        <a:pt x="480" y="116"/>
                      </a:lnTo>
                      <a:lnTo>
                        <a:pt x="480" y="118"/>
                      </a:lnTo>
                      <a:lnTo>
                        <a:pt x="482" y="118"/>
                      </a:lnTo>
                      <a:lnTo>
                        <a:pt x="480" y="119"/>
                      </a:lnTo>
                      <a:lnTo>
                        <a:pt x="478" y="119"/>
                      </a:lnTo>
                      <a:lnTo>
                        <a:pt x="478" y="121"/>
                      </a:lnTo>
                      <a:lnTo>
                        <a:pt x="477" y="121"/>
                      </a:lnTo>
                      <a:lnTo>
                        <a:pt x="478" y="121"/>
                      </a:lnTo>
                      <a:lnTo>
                        <a:pt x="477" y="123"/>
                      </a:lnTo>
                      <a:lnTo>
                        <a:pt x="477" y="121"/>
                      </a:lnTo>
                      <a:lnTo>
                        <a:pt x="477" y="123"/>
                      </a:lnTo>
                      <a:lnTo>
                        <a:pt x="477" y="124"/>
                      </a:lnTo>
                      <a:lnTo>
                        <a:pt x="478" y="124"/>
                      </a:lnTo>
                      <a:lnTo>
                        <a:pt x="478" y="126"/>
                      </a:lnTo>
                      <a:lnTo>
                        <a:pt x="478" y="124"/>
                      </a:lnTo>
                      <a:lnTo>
                        <a:pt x="480" y="124"/>
                      </a:lnTo>
                      <a:lnTo>
                        <a:pt x="480" y="126"/>
                      </a:lnTo>
                      <a:lnTo>
                        <a:pt x="480" y="128"/>
                      </a:lnTo>
                      <a:lnTo>
                        <a:pt x="482" y="128"/>
                      </a:lnTo>
                      <a:lnTo>
                        <a:pt x="482" y="129"/>
                      </a:lnTo>
                      <a:lnTo>
                        <a:pt x="483" y="129"/>
                      </a:lnTo>
                      <a:lnTo>
                        <a:pt x="485" y="128"/>
                      </a:lnTo>
                      <a:lnTo>
                        <a:pt x="485" y="129"/>
                      </a:lnTo>
                      <a:lnTo>
                        <a:pt x="485" y="131"/>
                      </a:lnTo>
                      <a:lnTo>
                        <a:pt x="487" y="131"/>
                      </a:lnTo>
                      <a:lnTo>
                        <a:pt x="487" y="133"/>
                      </a:lnTo>
                      <a:lnTo>
                        <a:pt x="485" y="133"/>
                      </a:lnTo>
                      <a:lnTo>
                        <a:pt x="487" y="133"/>
                      </a:lnTo>
                      <a:lnTo>
                        <a:pt x="487" y="134"/>
                      </a:lnTo>
                      <a:lnTo>
                        <a:pt x="487" y="136"/>
                      </a:lnTo>
                      <a:lnTo>
                        <a:pt x="489" y="136"/>
                      </a:lnTo>
                      <a:lnTo>
                        <a:pt x="489" y="138"/>
                      </a:lnTo>
                      <a:lnTo>
                        <a:pt x="487" y="138"/>
                      </a:lnTo>
                      <a:lnTo>
                        <a:pt x="489" y="138"/>
                      </a:lnTo>
                      <a:lnTo>
                        <a:pt x="487" y="138"/>
                      </a:lnTo>
                      <a:lnTo>
                        <a:pt x="489" y="138"/>
                      </a:lnTo>
                      <a:lnTo>
                        <a:pt x="490" y="138"/>
                      </a:lnTo>
                      <a:lnTo>
                        <a:pt x="490" y="139"/>
                      </a:lnTo>
                      <a:lnTo>
                        <a:pt x="490" y="141"/>
                      </a:lnTo>
                      <a:lnTo>
                        <a:pt x="492" y="141"/>
                      </a:lnTo>
                      <a:lnTo>
                        <a:pt x="492" y="142"/>
                      </a:lnTo>
                      <a:lnTo>
                        <a:pt x="494" y="142"/>
                      </a:lnTo>
                      <a:lnTo>
                        <a:pt x="494" y="144"/>
                      </a:lnTo>
                      <a:lnTo>
                        <a:pt x="495" y="144"/>
                      </a:lnTo>
                      <a:lnTo>
                        <a:pt x="495" y="146"/>
                      </a:lnTo>
                      <a:lnTo>
                        <a:pt x="497" y="146"/>
                      </a:lnTo>
                      <a:lnTo>
                        <a:pt x="497" y="147"/>
                      </a:lnTo>
                      <a:lnTo>
                        <a:pt x="497" y="146"/>
                      </a:lnTo>
                      <a:lnTo>
                        <a:pt x="499" y="147"/>
                      </a:lnTo>
                      <a:lnTo>
                        <a:pt x="499" y="146"/>
                      </a:lnTo>
                      <a:lnTo>
                        <a:pt x="499" y="147"/>
                      </a:lnTo>
                      <a:lnTo>
                        <a:pt x="500" y="147"/>
                      </a:lnTo>
                      <a:lnTo>
                        <a:pt x="499" y="147"/>
                      </a:lnTo>
                      <a:lnTo>
                        <a:pt x="500" y="147"/>
                      </a:lnTo>
                      <a:lnTo>
                        <a:pt x="502" y="149"/>
                      </a:lnTo>
                      <a:lnTo>
                        <a:pt x="502" y="151"/>
                      </a:lnTo>
                      <a:lnTo>
                        <a:pt x="502" y="152"/>
                      </a:lnTo>
                      <a:lnTo>
                        <a:pt x="502" y="154"/>
                      </a:lnTo>
                      <a:lnTo>
                        <a:pt x="500" y="156"/>
                      </a:lnTo>
                      <a:lnTo>
                        <a:pt x="502" y="156"/>
                      </a:lnTo>
                      <a:lnTo>
                        <a:pt x="502" y="157"/>
                      </a:lnTo>
                      <a:lnTo>
                        <a:pt x="504" y="157"/>
                      </a:lnTo>
                      <a:lnTo>
                        <a:pt x="504" y="159"/>
                      </a:lnTo>
                      <a:lnTo>
                        <a:pt x="505" y="159"/>
                      </a:lnTo>
                      <a:lnTo>
                        <a:pt x="505" y="161"/>
                      </a:lnTo>
                      <a:lnTo>
                        <a:pt x="505" y="162"/>
                      </a:lnTo>
                      <a:lnTo>
                        <a:pt x="507" y="162"/>
                      </a:lnTo>
                      <a:lnTo>
                        <a:pt x="507" y="164"/>
                      </a:lnTo>
                      <a:lnTo>
                        <a:pt x="509" y="164"/>
                      </a:lnTo>
                      <a:lnTo>
                        <a:pt x="509" y="165"/>
                      </a:lnTo>
                      <a:lnTo>
                        <a:pt x="510" y="165"/>
                      </a:lnTo>
                      <a:lnTo>
                        <a:pt x="510" y="167"/>
                      </a:lnTo>
                      <a:lnTo>
                        <a:pt x="512" y="167"/>
                      </a:lnTo>
                      <a:lnTo>
                        <a:pt x="512" y="165"/>
                      </a:lnTo>
                      <a:lnTo>
                        <a:pt x="512" y="167"/>
                      </a:lnTo>
                      <a:lnTo>
                        <a:pt x="514" y="167"/>
                      </a:lnTo>
                      <a:lnTo>
                        <a:pt x="516" y="167"/>
                      </a:lnTo>
                      <a:lnTo>
                        <a:pt x="514" y="167"/>
                      </a:lnTo>
                      <a:lnTo>
                        <a:pt x="516" y="167"/>
                      </a:lnTo>
                      <a:lnTo>
                        <a:pt x="514" y="169"/>
                      </a:lnTo>
                      <a:lnTo>
                        <a:pt x="512" y="169"/>
                      </a:lnTo>
                      <a:lnTo>
                        <a:pt x="512" y="170"/>
                      </a:lnTo>
                      <a:lnTo>
                        <a:pt x="512" y="172"/>
                      </a:lnTo>
                      <a:lnTo>
                        <a:pt x="510" y="172"/>
                      </a:lnTo>
                      <a:lnTo>
                        <a:pt x="510" y="174"/>
                      </a:lnTo>
                      <a:lnTo>
                        <a:pt x="512" y="174"/>
                      </a:lnTo>
                      <a:lnTo>
                        <a:pt x="510" y="175"/>
                      </a:lnTo>
                      <a:lnTo>
                        <a:pt x="510" y="177"/>
                      </a:lnTo>
                      <a:lnTo>
                        <a:pt x="510" y="179"/>
                      </a:lnTo>
                      <a:lnTo>
                        <a:pt x="510" y="180"/>
                      </a:lnTo>
                      <a:lnTo>
                        <a:pt x="509" y="180"/>
                      </a:lnTo>
                      <a:lnTo>
                        <a:pt x="509" y="182"/>
                      </a:lnTo>
                      <a:lnTo>
                        <a:pt x="507" y="182"/>
                      </a:lnTo>
                      <a:lnTo>
                        <a:pt x="505" y="182"/>
                      </a:lnTo>
                      <a:lnTo>
                        <a:pt x="507" y="184"/>
                      </a:lnTo>
                      <a:lnTo>
                        <a:pt x="507" y="185"/>
                      </a:lnTo>
                      <a:lnTo>
                        <a:pt x="507" y="187"/>
                      </a:lnTo>
                      <a:lnTo>
                        <a:pt x="505" y="187"/>
                      </a:lnTo>
                      <a:lnTo>
                        <a:pt x="504" y="187"/>
                      </a:lnTo>
                      <a:lnTo>
                        <a:pt x="504" y="188"/>
                      </a:lnTo>
                      <a:lnTo>
                        <a:pt x="505" y="190"/>
                      </a:lnTo>
                      <a:lnTo>
                        <a:pt x="504" y="190"/>
                      </a:lnTo>
                      <a:lnTo>
                        <a:pt x="505" y="190"/>
                      </a:lnTo>
                      <a:lnTo>
                        <a:pt x="505" y="192"/>
                      </a:lnTo>
                      <a:lnTo>
                        <a:pt x="504" y="192"/>
                      </a:lnTo>
                      <a:lnTo>
                        <a:pt x="505" y="193"/>
                      </a:lnTo>
                      <a:lnTo>
                        <a:pt x="504" y="193"/>
                      </a:lnTo>
                      <a:lnTo>
                        <a:pt x="504" y="195"/>
                      </a:lnTo>
                      <a:lnTo>
                        <a:pt x="505" y="195"/>
                      </a:lnTo>
                      <a:lnTo>
                        <a:pt x="505" y="197"/>
                      </a:lnTo>
                      <a:lnTo>
                        <a:pt x="504" y="197"/>
                      </a:lnTo>
                      <a:lnTo>
                        <a:pt x="505" y="197"/>
                      </a:lnTo>
                      <a:lnTo>
                        <a:pt x="505" y="198"/>
                      </a:lnTo>
                      <a:lnTo>
                        <a:pt x="507" y="198"/>
                      </a:lnTo>
                      <a:lnTo>
                        <a:pt x="507" y="200"/>
                      </a:lnTo>
                      <a:lnTo>
                        <a:pt x="509" y="200"/>
                      </a:lnTo>
                      <a:lnTo>
                        <a:pt x="510" y="200"/>
                      </a:lnTo>
                      <a:lnTo>
                        <a:pt x="512" y="200"/>
                      </a:lnTo>
                      <a:lnTo>
                        <a:pt x="514" y="200"/>
                      </a:lnTo>
                      <a:lnTo>
                        <a:pt x="514" y="198"/>
                      </a:lnTo>
                      <a:lnTo>
                        <a:pt x="516" y="198"/>
                      </a:lnTo>
                      <a:lnTo>
                        <a:pt x="517" y="198"/>
                      </a:lnTo>
                      <a:lnTo>
                        <a:pt x="519" y="198"/>
                      </a:lnTo>
                      <a:lnTo>
                        <a:pt x="521" y="198"/>
                      </a:lnTo>
                      <a:lnTo>
                        <a:pt x="522" y="198"/>
                      </a:lnTo>
                      <a:lnTo>
                        <a:pt x="522" y="200"/>
                      </a:lnTo>
                      <a:lnTo>
                        <a:pt x="524" y="200"/>
                      </a:lnTo>
                      <a:lnTo>
                        <a:pt x="524" y="198"/>
                      </a:lnTo>
                      <a:lnTo>
                        <a:pt x="526" y="198"/>
                      </a:lnTo>
                      <a:lnTo>
                        <a:pt x="527" y="198"/>
                      </a:lnTo>
                      <a:lnTo>
                        <a:pt x="529" y="198"/>
                      </a:lnTo>
                      <a:lnTo>
                        <a:pt x="529" y="197"/>
                      </a:lnTo>
                      <a:lnTo>
                        <a:pt x="531" y="197"/>
                      </a:lnTo>
                      <a:lnTo>
                        <a:pt x="531" y="195"/>
                      </a:lnTo>
                      <a:lnTo>
                        <a:pt x="532" y="195"/>
                      </a:lnTo>
                      <a:lnTo>
                        <a:pt x="534" y="195"/>
                      </a:lnTo>
                      <a:lnTo>
                        <a:pt x="532" y="197"/>
                      </a:lnTo>
                      <a:lnTo>
                        <a:pt x="534" y="197"/>
                      </a:lnTo>
                      <a:lnTo>
                        <a:pt x="536" y="197"/>
                      </a:lnTo>
                      <a:lnTo>
                        <a:pt x="536" y="198"/>
                      </a:lnTo>
                      <a:lnTo>
                        <a:pt x="537" y="198"/>
                      </a:lnTo>
                      <a:lnTo>
                        <a:pt x="539" y="198"/>
                      </a:lnTo>
                      <a:lnTo>
                        <a:pt x="541" y="198"/>
                      </a:lnTo>
                      <a:lnTo>
                        <a:pt x="543" y="198"/>
                      </a:lnTo>
                      <a:lnTo>
                        <a:pt x="544" y="198"/>
                      </a:lnTo>
                      <a:lnTo>
                        <a:pt x="546" y="197"/>
                      </a:lnTo>
                      <a:lnTo>
                        <a:pt x="546" y="198"/>
                      </a:lnTo>
                      <a:lnTo>
                        <a:pt x="548" y="197"/>
                      </a:lnTo>
                      <a:lnTo>
                        <a:pt x="548" y="198"/>
                      </a:lnTo>
                      <a:lnTo>
                        <a:pt x="549" y="198"/>
                      </a:lnTo>
                      <a:lnTo>
                        <a:pt x="548" y="198"/>
                      </a:lnTo>
                      <a:lnTo>
                        <a:pt x="548" y="197"/>
                      </a:lnTo>
                      <a:lnTo>
                        <a:pt x="549" y="197"/>
                      </a:lnTo>
                      <a:lnTo>
                        <a:pt x="551" y="197"/>
                      </a:lnTo>
                      <a:lnTo>
                        <a:pt x="553" y="198"/>
                      </a:lnTo>
                      <a:lnTo>
                        <a:pt x="554" y="198"/>
                      </a:lnTo>
                      <a:lnTo>
                        <a:pt x="554" y="200"/>
                      </a:lnTo>
                      <a:lnTo>
                        <a:pt x="556" y="200"/>
                      </a:lnTo>
                      <a:lnTo>
                        <a:pt x="556" y="198"/>
                      </a:lnTo>
                      <a:lnTo>
                        <a:pt x="558" y="198"/>
                      </a:lnTo>
                      <a:lnTo>
                        <a:pt x="558" y="200"/>
                      </a:lnTo>
                      <a:lnTo>
                        <a:pt x="559" y="200"/>
                      </a:lnTo>
                      <a:lnTo>
                        <a:pt x="559" y="198"/>
                      </a:lnTo>
                      <a:lnTo>
                        <a:pt x="559" y="200"/>
                      </a:lnTo>
                      <a:lnTo>
                        <a:pt x="559" y="198"/>
                      </a:lnTo>
                      <a:lnTo>
                        <a:pt x="561" y="198"/>
                      </a:lnTo>
                      <a:lnTo>
                        <a:pt x="563" y="198"/>
                      </a:lnTo>
                      <a:lnTo>
                        <a:pt x="563" y="200"/>
                      </a:lnTo>
                      <a:lnTo>
                        <a:pt x="563" y="198"/>
                      </a:lnTo>
                      <a:lnTo>
                        <a:pt x="563" y="197"/>
                      </a:lnTo>
                      <a:lnTo>
                        <a:pt x="565" y="198"/>
                      </a:lnTo>
                      <a:lnTo>
                        <a:pt x="565" y="200"/>
                      </a:lnTo>
                      <a:lnTo>
                        <a:pt x="566" y="200"/>
                      </a:lnTo>
                      <a:lnTo>
                        <a:pt x="566" y="202"/>
                      </a:lnTo>
                      <a:lnTo>
                        <a:pt x="566" y="200"/>
                      </a:lnTo>
                      <a:lnTo>
                        <a:pt x="568" y="200"/>
                      </a:lnTo>
                      <a:lnTo>
                        <a:pt x="568" y="198"/>
                      </a:lnTo>
                      <a:lnTo>
                        <a:pt x="570" y="198"/>
                      </a:lnTo>
                      <a:lnTo>
                        <a:pt x="571" y="198"/>
                      </a:lnTo>
                      <a:lnTo>
                        <a:pt x="573" y="198"/>
                      </a:lnTo>
                      <a:lnTo>
                        <a:pt x="575" y="198"/>
                      </a:lnTo>
                      <a:lnTo>
                        <a:pt x="575" y="200"/>
                      </a:lnTo>
                      <a:lnTo>
                        <a:pt x="575" y="202"/>
                      </a:lnTo>
                      <a:lnTo>
                        <a:pt x="576" y="202"/>
                      </a:lnTo>
                      <a:lnTo>
                        <a:pt x="578" y="202"/>
                      </a:lnTo>
                      <a:lnTo>
                        <a:pt x="576" y="202"/>
                      </a:lnTo>
                      <a:lnTo>
                        <a:pt x="578" y="203"/>
                      </a:lnTo>
                      <a:lnTo>
                        <a:pt x="580" y="203"/>
                      </a:lnTo>
                      <a:lnTo>
                        <a:pt x="580" y="205"/>
                      </a:lnTo>
                      <a:lnTo>
                        <a:pt x="581" y="203"/>
                      </a:lnTo>
                      <a:lnTo>
                        <a:pt x="581" y="205"/>
                      </a:lnTo>
                      <a:lnTo>
                        <a:pt x="581" y="207"/>
                      </a:lnTo>
                      <a:lnTo>
                        <a:pt x="580" y="207"/>
                      </a:lnTo>
                      <a:lnTo>
                        <a:pt x="580" y="208"/>
                      </a:lnTo>
                      <a:lnTo>
                        <a:pt x="578" y="208"/>
                      </a:lnTo>
                      <a:lnTo>
                        <a:pt x="576" y="210"/>
                      </a:lnTo>
                      <a:lnTo>
                        <a:pt x="576" y="211"/>
                      </a:lnTo>
                      <a:lnTo>
                        <a:pt x="575" y="213"/>
                      </a:lnTo>
                      <a:lnTo>
                        <a:pt x="575" y="215"/>
                      </a:lnTo>
                      <a:lnTo>
                        <a:pt x="575" y="216"/>
                      </a:lnTo>
                      <a:lnTo>
                        <a:pt x="576" y="216"/>
                      </a:lnTo>
                      <a:lnTo>
                        <a:pt x="578" y="216"/>
                      </a:lnTo>
                      <a:lnTo>
                        <a:pt x="576" y="216"/>
                      </a:lnTo>
                      <a:lnTo>
                        <a:pt x="576" y="218"/>
                      </a:lnTo>
                      <a:lnTo>
                        <a:pt x="576" y="216"/>
                      </a:lnTo>
                      <a:lnTo>
                        <a:pt x="576" y="218"/>
                      </a:lnTo>
                      <a:lnTo>
                        <a:pt x="576" y="220"/>
                      </a:lnTo>
                      <a:lnTo>
                        <a:pt x="576" y="218"/>
                      </a:lnTo>
                      <a:lnTo>
                        <a:pt x="575" y="218"/>
                      </a:lnTo>
                      <a:lnTo>
                        <a:pt x="575" y="220"/>
                      </a:lnTo>
                      <a:lnTo>
                        <a:pt x="575" y="221"/>
                      </a:lnTo>
                      <a:lnTo>
                        <a:pt x="575" y="223"/>
                      </a:lnTo>
                      <a:lnTo>
                        <a:pt x="576" y="223"/>
                      </a:lnTo>
                      <a:lnTo>
                        <a:pt x="575" y="223"/>
                      </a:lnTo>
                      <a:lnTo>
                        <a:pt x="575" y="225"/>
                      </a:lnTo>
                      <a:lnTo>
                        <a:pt x="575" y="226"/>
                      </a:lnTo>
                      <a:lnTo>
                        <a:pt x="573" y="226"/>
                      </a:lnTo>
                      <a:lnTo>
                        <a:pt x="573" y="228"/>
                      </a:lnTo>
                      <a:lnTo>
                        <a:pt x="571" y="230"/>
                      </a:lnTo>
                      <a:lnTo>
                        <a:pt x="573" y="230"/>
                      </a:lnTo>
                      <a:lnTo>
                        <a:pt x="571" y="230"/>
                      </a:lnTo>
                      <a:lnTo>
                        <a:pt x="573" y="230"/>
                      </a:lnTo>
                      <a:lnTo>
                        <a:pt x="573" y="231"/>
                      </a:lnTo>
                      <a:lnTo>
                        <a:pt x="575" y="233"/>
                      </a:lnTo>
                      <a:lnTo>
                        <a:pt x="573" y="233"/>
                      </a:lnTo>
                      <a:lnTo>
                        <a:pt x="575" y="233"/>
                      </a:lnTo>
                      <a:lnTo>
                        <a:pt x="576" y="233"/>
                      </a:lnTo>
                      <a:lnTo>
                        <a:pt x="576" y="234"/>
                      </a:lnTo>
                      <a:lnTo>
                        <a:pt x="576" y="236"/>
                      </a:lnTo>
                      <a:lnTo>
                        <a:pt x="578" y="238"/>
                      </a:lnTo>
                      <a:lnTo>
                        <a:pt x="580" y="238"/>
                      </a:lnTo>
                      <a:lnTo>
                        <a:pt x="580" y="236"/>
                      </a:lnTo>
                      <a:lnTo>
                        <a:pt x="580" y="234"/>
                      </a:lnTo>
                      <a:lnTo>
                        <a:pt x="581" y="234"/>
                      </a:lnTo>
                      <a:lnTo>
                        <a:pt x="581" y="233"/>
                      </a:lnTo>
                      <a:lnTo>
                        <a:pt x="583" y="233"/>
                      </a:lnTo>
                      <a:lnTo>
                        <a:pt x="583" y="231"/>
                      </a:lnTo>
                      <a:lnTo>
                        <a:pt x="583" y="230"/>
                      </a:lnTo>
                      <a:lnTo>
                        <a:pt x="585" y="230"/>
                      </a:lnTo>
                      <a:lnTo>
                        <a:pt x="585" y="228"/>
                      </a:lnTo>
                      <a:lnTo>
                        <a:pt x="586" y="228"/>
                      </a:lnTo>
                      <a:lnTo>
                        <a:pt x="588" y="228"/>
                      </a:lnTo>
                      <a:lnTo>
                        <a:pt x="590" y="228"/>
                      </a:lnTo>
                      <a:lnTo>
                        <a:pt x="590" y="226"/>
                      </a:lnTo>
                      <a:lnTo>
                        <a:pt x="592" y="226"/>
                      </a:lnTo>
                      <a:lnTo>
                        <a:pt x="592" y="228"/>
                      </a:lnTo>
                      <a:lnTo>
                        <a:pt x="593" y="228"/>
                      </a:lnTo>
                      <a:lnTo>
                        <a:pt x="593" y="230"/>
                      </a:lnTo>
                      <a:lnTo>
                        <a:pt x="595" y="230"/>
                      </a:lnTo>
                      <a:lnTo>
                        <a:pt x="595" y="231"/>
                      </a:lnTo>
                      <a:lnTo>
                        <a:pt x="597" y="231"/>
                      </a:lnTo>
                      <a:lnTo>
                        <a:pt x="598" y="231"/>
                      </a:lnTo>
                      <a:lnTo>
                        <a:pt x="598" y="233"/>
                      </a:lnTo>
                      <a:lnTo>
                        <a:pt x="600" y="233"/>
                      </a:lnTo>
                      <a:lnTo>
                        <a:pt x="600" y="231"/>
                      </a:lnTo>
                      <a:lnTo>
                        <a:pt x="600" y="230"/>
                      </a:lnTo>
                      <a:lnTo>
                        <a:pt x="602" y="230"/>
                      </a:lnTo>
                      <a:lnTo>
                        <a:pt x="602" y="231"/>
                      </a:lnTo>
                      <a:lnTo>
                        <a:pt x="603" y="231"/>
                      </a:lnTo>
                      <a:lnTo>
                        <a:pt x="603" y="230"/>
                      </a:lnTo>
                      <a:lnTo>
                        <a:pt x="602" y="230"/>
                      </a:lnTo>
                      <a:lnTo>
                        <a:pt x="603" y="230"/>
                      </a:lnTo>
                      <a:lnTo>
                        <a:pt x="603" y="228"/>
                      </a:lnTo>
                      <a:lnTo>
                        <a:pt x="605" y="228"/>
                      </a:lnTo>
                      <a:lnTo>
                        <a:pt x="605" y="226"/>
                      </a:lnTo>
                      <a:lnTo>
                        <a:pt x="605" y="228"/>
                      </a:lnTo>
                      <a:lnTo>
                        <a:pt x="607" y="228"/>
                      </a:lnTo>
                      <a:lnTo>
                        <a:pt x="607" y="230"/>
                      </a:lnTo>
                      <a:lnTo>
                        <a:pt x="608" y="230"/>
                      </a:lnTo>
                      <a:lnTo>
                        <a:pt x="607" y="230"/>
                      </a:lnTo>
                      <a:lnTo>
                        <a:pt x="608" y="230"/>
                      </a:lnTo>
                      <a:lnTo>
                        <a:pt x="608" y="231"/>
                      </a:lnTo>
                      <a:lnTo>
                        <a:pt x="608" y="233"/>
                      </a:lnTo>
                      <a:lnTo>
                        <a:pt x="608" y="234"/>
                      </a:lnTo>
                      <a:lnTo>
                        <a:pt x="608" y="236"/>
                      </a:lnTo>
                      <a:lnTo>
                        <a:pt x="610" y="236"/>
                      </a:lnTo>
                      <a:lnTo>
                        <a:pt x="610" y="238"/>
                      </a:lnTo>
                      <a:lnTo>
                        <a:pt x="610" y="239"/>
                      </a:lnTo>
                      <a:lnTo>
                        <a:pt x="612" y="239"/>
                      </a:lnTo>
                      <a:lnTo>
                        <a:pt x="612" y="241"/>
                      </a:lnTo>
                      <a:lnTo>
                        <a:pt x="613" y="241"/>
                      </a:lnTo>
                      <a:lnTo>
                        <a:pt x="613" y="243"/>
                      </a:lnTo>
                      <a:lnTo>
                        <a:pt x="613" y="244"/>
                      </a:lnTo>
                      <a:lnTo>
                        <a:pt x="612" y="244"/>
                      </a:lnTo>
                      <a:lnTo>
                        <a:pt x="612" y="246"/>
                      </a:lnTo>
                      <a:lnTo>
                        <a:pt x="610" y="246"/>
                      </a:lnTo>
                      <a:lnTo>
                        <a:pt x="612" y="246"/>
                      </a:lnTo>
                      <a:lnTo>
                        <a:pt x="612" y="248"/>
                      </a:lnTo>
                      <a:lnTo>
                        <a:pt x="613" y="248"/>
                      </a:lnTo>
                      <a:lnTo>
                        <a:pt x="615" y="249"/>
                      </a:lnTo>
                      <a:lnTo>
                        <a:pt x="617" y="249"/>
                      </a:lnTo>
                      <a:lnTo>
                        <a:pt x="617" y="251"/>
                      </a:lnTo>
                      <a:lnTo>
                        <a:pt x="619" y="251"/>
                      </a:lnTo>
                      <a:lnTo>
                        <a:pt x="620" y="251"/>
                      </a:lnTo>
                      <a:lnTo>
                        <a:pt x="622" y="251"/>
                      </a:lnTo>
                      <a:lnTo>
                        <a:pt x="624" y="251"/>
                      </a:lnTo>
                      <a:lnTo>
                        <a:pt x="624" y="249"/>
                      </a:lnTo>
                      <a:lnTo>
                        <a:pt x="624" y="248"/>
                      </a:lnTo>
                      <a:lnTo>
                        <a:pt x="624" y="249"/>
                      </a:lnTo>
                      <a:lnTo>
                        <a:pt x="625" y="249"/>
                      </a:lnTo>
                      <a:lnTo>
                        <a:pt x="625" y="248"/>
                      </a:lnTo>
                      <a:lnTo>
                        <a:pt x="627" y="249"/>
                      </a:lnTo>
                      <a:lnTo>
                        <a:pt x="625" y="249"/>
                      </a:lnTo>
                      <a:lnTo>
                        <a:pt x="627" y="249"/>
                      </a:lnTo>
                      <a:lnTo>
                        <a:pt x="625" y="251"/>
                      </a:lnTo>
                      <a:lnTo>
                        <a:pt x="624" y="251"/>
                      </a:lnTo>
                      <a:lnTo>
                        <a:pt x="624" y="253"/>
                      </a:lnTo>
                      <a:lnTo>
                        <a:pt x="622" y="254"/>
                      </a:lnTo>
                      <a:lnTo>
                        <a:pt x="620" y="254"/>
                      </a:lnTo>
                      <a:lnTo>
                        <a:pt x="620" y="256"/>
                      </a:lnTo>
                      <a:lnTo>
                        <a:pt x="619" y="256"/>
                      </a:lnTo>
                      <a:lnTo>
                        <a:pt x="620" y="257"/>
                      </a:lnTo>
                      <a:lnTo>
                        <a:pt x="619" y="257"/>
                      </a:lnTo>
                      <a:lnTo>
                        <a:pt x="617" y="259"/>
                      </a:lnTo>
                      <a:lnTo>
                        <a:pt x="613" y="262"/>
                      </a:lnTo>
                      <a:lnTo>
                        <a:pt x="612" y="264"/>
                      </a:lnTo>
                      <a:lnTo>
                        <a:pt x="612" y="266"/>
                      </a:lnTo>
                      <a:lnTo>
                        <a:pt x="610" y="267"/>
                      </a:lnTo>
                      <a:lnTo>
                        <a:pt x="610" y="269"/>
                      </a:lnTo>
                      <a:lnTo>
                        <a:pt x="608" y="271"/>
                      </a:lnTo>
                      <a:lnTo>
                        <a:pt x="608" y="272"/>
                      </a:lnTo>
                      <a:lnTo>
                        <a:pt x="605" y="272"/>
                      </a:lnTo>
                      <a:lnTo>
                        <a:pt x="603" y="272"/>
                      </a:lnTo>
                      <a:lnTo>
                        <a:pt x="602" y="274"/>
                      </a:lnTo>
                      <a:lnTo>
                        <a:pt x="600" y="274"/>
                      </a:lnTo>
                      <a:lnTo>
                        <a:pt x="598" y="274"/>
                      </a:lnTo>
                      <a:lnTo>
                        <a:pt x="598" y="276"/>
                      </a:lnTo>
                      <a:lnTo>
                        <a:pt x="600" y="276"/>
                      </a:lnTo>
                      <a:lnTo>
                        <a:pt x="600" y="277"/>
                      </a:lnTo>
                      <a:lnTo>
                        <a:pt x="600" y="279"/>
                      </a:lnTo>
                      <a:lnTo>
                        <a:pt x="602" y="277"/>
                      </a:lnTo>
                      <a:lnTo>
                        <a:pt x="602" y="279"/>
                      </a:lnTo>
                      <a:lnTo>
                        <a:pt x="600" y="279"/>
                      </a:lnTo>
                      <a:lnTo>
                        <a:pt x="600" y="280"/>
                      </a:lnTo>
                      <a:lnTo>
                        <a:pt x="598" y="280"/>
                      </a:lnTo>
                      <a:lnTo>
                        <a:pt x="597" y="280"/>
                      </a:lnTo>
                      <a:lnTo>
                        <a:pt x="595" y="282"/>
                      </a:lnTo>
                      <a:lnTo>
                        <a:pt x="593" y="282"/>
                      </a:lnTo>
                      <a:lnTo>
                        <a:pt x="593" y="284"/>
                      </a:lnTo>
                      <a:lnTo>
                        <a:pt x="592" y="284"/>
                      </a:lnTo>
                      <a:lnTo>
                        <a:pt x="590" y="285"/>
                      </a:lnTo>
                      <a:lnTo>
                        <a:pt x="588" y="287"/>
                      </a:lnTo>
                      <a:lnTo>
                        <a:pt x="586" y="289"/>
                      </a:lnTo>
                      <a:lnTo>
                        <a:pt x="586" y="290"/>
                      </a:lnTo>
                      <a:lnTo>
                        <a:pt x="585" y="292"/>
                      </a:lnTo>
                      <a:lnTo>
                        <a:pt x="583" y="294"/>
                      </a:lnTo>
                      <a:lnTo>
                        <a:pt x="580" y="299"/>
                      </a:lnTo>
                      <a:lnTo>
                        <a:pt x="580" y="302"/>
                      </a:lnTo>
                      <a:lnTo>
                        <a:pt x="578" y="303"/>
                      </a:lnTo>
                      <a:lnTo>
                        <a:pt x="578" y="305"/>
                      </a:lnTo>
                      <a:lnTo>
                        <a:pt x="578" y="307"/>
                      </a:lnTo>
                      <a:lnTo>
                        <a:pt x="576" y="307"/>
                      </a:lnTo>
                      <a:lnTo>
                        <a:pt x="575" y="307"/>
                      </a:lnTo>
                      <a:lnTo>
                        <a:pt x="575" y="308"/>
                      </a:lnTo>
                      <a:lnTo>
                        <a:pt x="576" y="308"/>
                      </a:lnTo>
                      <a:lnTo>
                        <a:pt x="575" y="308"/>
                      </a:lnTo>
                      <a:lnTo>
                        <a:pt x="575" y="310"/>
                      </a:lnTo>
                      <a:lnTo>
                        <a:pt x="576" y="310"/>
                      </a:lnTo>
                      <a:lnTo>
                        <a:pt x="575" y="312"/>
                      </a:lnTo>
                      <a:lnTo>
                        <a:pt x="575" y="313"/>
                      </a:lnTo>
                      <a:lnTo>
                        <a:pt x="573" y="317"/>
                      </a:lnTo>
                      <a:lnTo>
                        <a:pt x="573" y="318"/>
                      </a:lnTo>
                      <a:lnTo>
                        <a:pt x="571" y="318"/>
                      </a:lnTo>
                      <a:lnTo>
                        <a:pt x="570" y="318"/>
                      </a:lnTo>
                      <a:lnTo>
                        <a:pt x="568" y="317"/>
                      </a:lnTo>
                      <a:lnTo>
                        <a:pt x="566" y="317"/>
                      </a:lnTo>
                      <a:lnTo>
                        <a:pt x="566" y="318"/>
                      </a:lnTo>
                      <a:lnTo>
                        <a:pt x="565" y="318"/>
                      </a:lnTo>
                      <a:lnTo>
                        <a:pt x="559" y="318"/>
                      </a:lnTo>
                      <a:lnTo>
                        <a:pt x="537" y="318"/>
                      </a:lnTo>
                      <a:lnTo>
                        <a:pt x="539" y="320"/>
                      </a:lnTo>
                      <a:lnTo>
                        <a:pt x="537" y="320"/>
                      </a:lnTo>
                      <a:lnTo>
                        <a:pt x="537" y="318"/>
                      </a:lnTo>
                      <a:lnTo>
                        <a:pt x="537" y="320"/>
                      </a:lnTo>
                      <a:lnTo>
                        <a:pt x="536" y="320"/>
                      </a:lnTo>
                      <a:lnTo>
                        <a:pt x="536" y="321"/>
                      </a:lnTo>
                      <a:lnTo>
                        <a:pt x="534" y="321"/>
                      </a:lnTo>
                      <a:lnTo>
                        <a:pt x="532" y="321"/>
                      </a:lnTo>
                      <a:lnTo>
                        <a:pt x="531" y="321"/>
                      </a:lnTo>
                      <a:lnTo>
                        <a:pt x="531" y="320"/>
                      </a:lnTo>
                      <a:lnTo>
                        <a:pt x="531" y="321"/>
                      </a:lnTo>
                      <a:lnTo>
                        <a:pt x="531" y="320"/>
                      </a:lnTo>
                      <a:lnTo>
                        <a:pt x="529" y="321"/>
                      </a:lnTo>
                      <a:lnTo>
                        <a:pt x="531" y="321"/>
                      </a:lnTo>
                      <a:lnTo>
                        <a:pt x="529" y="321"/>
                      </a:lnTo>
                      <a:lnTo>
                        <a:pt x="527" y="321"/>
                      </a:lnTo>
                      <a:lnTo>
                        <a:pt x="527" y="320"/>
                      </a:lnTo>
                      <a:lnTo>
                        <a:pt x="527" y="321"/>
                      </a:lnTo>
                      <a:lnTo>
                        <a:pt x="526" y="320"/>
                      </a:lnTo>
                      <a:lnTo>
                        <a:pt x="526" y="321"/>
                      </a:lnTo>
                      <a:lnTo>
                        <a:pt x="526" y="320"/>
                      </a:lnTo>
                      <a:lnTo>
                        <a:pt x="526" y="321"/>
                      </a:lnTo>
                      <a:lnTo>
                        <a:pt x="524" y="321"/>
                      </a:lnTo>
                      <a:lnTo>
                        <a:pt x="524" y="320"/>
                      </a:lnTo>
                      <a:lnTo>
                        <a:pt x="524" y="321"/>
                      </a:lnTo>
                      <a:lnTo>
                        <a:pt x="522" y="320"/>
                      </a:lnTo>
                      <a:lnTo>
                        <a:pt x="522" y="321"/>
                      </a:lnTo>
                      <a:lnTo>
                        <a:pt x="521" y="321"/>
                      </a:lnTo>
                      <a:lnTo>
                        <a:pt x="519" y="321"/>
                      </a:lnTo>
                      <a:lnTo>
                        <a:pt x="519" y="320"/>
                      </a:lnTo>
                      <a:lnTo>
                        <a:pt x="517" y="320"/>
                      </a:lnTo>
                      <a:lnTo>
                        <a:pt x="517" y="321"/>
                      </a:lnTo>
                      <a:lnTo>
                        <a:pt x="516" y="321"/>
                      </a:lnTo>
                      <a:lnTo>
                        <a:pt x="514" y="321"/>
                      </a:lnTo>
                      <a:lnTo>
                        <a:pt x="514" y="323"/>
                      </a:lnTo>
                      <a:lnTo>
                        <a:pt x="512" y="323"/>
                      </a:lnTo>
                      <a:lnTo>
                        <a:pt x="510" y="325"/>
                      </a:lnTo>
                      <a:lnTo>
                        <a:pt x="510" y="326"/>
                      </a:lnTo>
                      <a:lnTo>
                        <a:pt x="509" y="326"/>
                      </a:lnTo>
                      <a:lnTo>
                        <a:pt x="509" y="328"/>
                      </a:lnTo>
                      <a:lnTo>
                        <a:pt x="507" y="328"/>
                      </a:lnTo>
                      <a:lnTo>
                        <a:pt x="505" y="328"/>
                      </a:lnTo>
                      <a:lnTo>
                        <a:pt x="507" y="330"/>
                      </a:lnTo>
                      <a:lnTo>
                        <a:pt x="505" y="330"/>
                      </a:lnTo>
                      <a:lnTo>
                        <a:pt x="507" y="330"/>
                      </a:lnTo>
                      <a:lnTo>
                        <a:pt x="505" y="330"/>
                      </a:lnTo>
                      <a:lnTo>
                        <a:pt x="505" y="331"/>
                      </a:lnTo>
                      <a:lnTo>
                        <a:pt x="505" y="330"/>
                      </a:lnTo>
                      <a:lnTo>
                        <a:pt x="504" y="330"/>
                      </a:lnTo>
                      <a:lnTo>
                        <a:pt x="504" y="331"/>
                      </a:lnTo>
                      <a:lnTo>
                        <a:pt x="502" y="331"/>
                      </a:lnTo>
                      <a:lnTo>
                        <a:pt x="502" y="333"/>
                      </a:lnTo>
                      <a:lnTo>
                        <a:pt x="502" y="331"/>
                      </a:lnTo>
                      <a:lnTo>
                        <a:pt x="500" y="333"/>
                      </a:lnTo>
                      <a:lnTo>
                        <a:pt x="499" y="333"/>
                      </a:lnTo>
                      <a:lnTo>
                        <a:pt x="499" y="335"/>
                      </a:lnTo>
                      <a:lnTo>
                        <a:pt x="499" y="333"/>
                      </a:lnTo>
                      <a:lnTo>
                        <a:pt x="499" y="335"/>
                      </a:lnTo>
                      <a:lnTo>
                        <a:pt x="497" y="335"/>
                      </a:lnTo>
                      <a:lnTo>
                        <a:pt x="495" y="335"/>
                      </a:lnTo>
                      <a:lnTo>
                        <a:pt x="494" y="335"/>
                      </a:lnTo>
                      <a:lnTo>
                        <a:pt x="495" y="335"/>
                      </a:lnTo>
                      <a:lnTo>
                        <a:pt x="495" y="336"/>
                      </a:lnTo>
                      <a:lnTo>
                        <a:pt x="494" y="335"/>
                      </a:lnTo>
                      <a:lnTo>
                        <a:pt x="494" y="336"/>
                      </a:lnTo>
                      <a:lnTo>
                        <a:pt x="492" y="336"/>
                      </a:lnTo>
                      <a:lnTo>
                        <a:pt x="492" y="335"/>
                      </a:lnTo>
                      <a:lnTo>
                        <a:pt x="492" y="336"/>
                      </a:lnTo>
                      <a:lnTo>
                        <a:pt x="492" y="335"/>
                      </a:lnTo>
                      <a:lnTo>
                        <a:pt x="490" y="335"/>
                      </a:lnTo>
                      <a:lnTo>
                        <a:pt x="490" y="336"/>
                      </a:lnTo>
                      <a:lnTo>
                        <a:pt x="489" y="336"/>
                      </a:lnTo>
                      <a:lnTo>
                        <a:pt x="489" y="338"/>
                      </a:lnTo>
                      <a:lnTo>
                        <a:pt x="489" y="336"/>
                      </a:lnTo>
                      <a:lnTo>
                        <a:pt x="489" y="338"/>
                      </a:lnTo>
                      <a:lnTo>
                        <a:pt x="487" y="338"/>
                      </a:lnTo>
                      <a:lnTo>
                        <a:pt x="489" y="338"/>
                      </a:lnTo>
                      <a:lnTo>
                        <a:pt x="487" y="338"/>
                      </a:lnTo>
                      <a:lnTo>
                        <a:pt x="487" y="340"/>
                      </a:lnTo>
                      <a:lnTo>
                        <a:pt x="487" y="341"/>
                      </a:lnTo>
                      <a:lnTo>
                        <a:pt x="485" y="341"/>
                      </a:lnTo>
                      <a:lnTo>
                        <a:pt x="483" y="340"/>
                      </a:lnTo>
                      <a:lnTo>
                        <a:pt x="483" y="341"/>
                      </a:lnTo>
                      <a:lnTo>
                        <a:pt x="483" y="340"/>
                      </a:lnTo>
                      <a:lnTo>
                        <a:pt x="483" y="341"/>
                      </a:lnTo>
                      <a:lnTo>
                        <a:pt x="482" y="341"/>
                      </a:lnTo>
                      <a:lnTo>
                        <a:pt x="482" y="343"/>
                      </a:lnTo>
                      <a:lnTo>
                        <a:pt x="480" y="341"/>
                      </a:lnTo>
                      <a:lnTo>
                        <a:pt x="480" y="340"/>
                      </a:lnTo>
                      <a:lnTo>
                        <a:pt x="478" y="340"/>
                      </a:lnTo>
                      <a:lnTo>
                        <a:pt x="478" y="341"/>
                      </a:lnTo>
                      <a:lnTo>
                        <a:pt x="478" y="340"/>
                      </a:lnTo>
                      <a:lnTo>
                        <a:pt x="478" y="341"/>
                      </a:lnTo>
                      <a:lnTo>
                        <a:pt x="477" y="341"/>
                      </a:lnTo>
                      <a:lnTo>
                        <a:pt x="477" y="340"/>
                      </a:lnTo>
                      <a:lnTo>
                        <a:pt x="475" y="340"/>
                      </a:lnTo>
                      <a:lnTo>
                        <a:pt x="473" y="340"/>
                      </a:lnTo>
                      <a:lnTo>
                        <a:pt x="475" y="340"/>
                      </a:lnTo>
                      <a:lnTo>
                        <a:pt x="475" y="338"/>
                      </a:lnTo>
                      <a:lnTo>
                        <a:pt x="473" y="338"/>
                      </a:lnTo>
                      <a:lnTo>
                        <a:pt x="473" y="340"/>
                      </a:lnTo>
                      <a:lnTo>
                        <a:pt x="472" y="340"/>
                      </a:lnTo>
                      <a:lnTo>
                        <a:pt x="472" y="338"/>
                      </a:lnTo>
                      <a:lnTo>
                        <a:pt x="473" y="338"/>
                      </a:lnTo>
                      <a:lnTo>
                        <a:pt x="472" y="338"/>
                      </a:lnTo>
                      <a:lnTo>
                        <a:pt x="470" y="338"/>
                      </a:lnTo>
                      <a:lnTo>
                        <a:pt x="468" y="338"/>
                      </a:lnTo>
                      <a:lnTo>
                        <a:pt x="470" y="338"/>
                      </a:lnTo>
                      <a:lnTo>
                        <a:pt x="470" y="336"/>
                      </a:lnTo>
                      <a:lnTo>
                        <a:pt x="468" y="336"/>
                      </a:lnTo>
                      <a:lnTo>
                        <a:pt x="468" y="335"/>
                      </a:lnTo>
                      <a:lnTo>
                        <a:pt x="467" y="335"/>
                      </a:lnTo>
                      <a:lnTo>
                        <a:pt x="465" y="336"/>
                      </a:lnTo>
                      <a:lnTo>
                        <a:pt x="465" y="335"/>
                      </a:lnTo>
                      <a:lnTo>
                        <a:pt x="465" y="333"/>
                      </a:lnTo>
                      <a:lnTo>
                        <a:pt x="463" y="333"/>
                      </a:lnTo>
                      <a:lnTo>
                        <a:pt x="463" y="331"/>
                      </a:lnTo>
                      <a:lnTo>
                        <a:pt x="461" y="331"/>
                      </a:lnTo>
                      <a:lnTo>
                        <a:pt x="461" y="330"/>
                      </a:lnTo>
                      <a:lnTo>
                        <a:pt x="460" y="330"/>
                      </a:lnTo>
                      <a:lnTo>
                        <a:pt x="461" y="330"/>
                      </a:lnTo>
                      <a:lnTo>
                        <a:pt x="461" y="331"/>
                      </a:lnTo>
                      <a:lnTo>
                        <a:pt x="460" y="331"/>
                      </a:lnTo>
                      <a:lnTo>
                        <a:pt x="460" y="330"/>
                      </a:lnTo>
                      <a:lnTo>
                        <a:pt x="460" y="331"/>
                      </a:lnTo>
                      <a:lnTo>
                        <a:pt x="458" y="331"/>
                      </a:lnTo>
                      <a:lnTo>
                        <a:pt x="458" y="330"/>
                      </a:lnTo>
                      <a:lnTo>
                        <a:pt x="458" y="328"/>
                      </a:lnTo>
                      <a:lnTo>
                        <a:pt x="456" y="328"/>
                      </a:lnTo>
                      <a:lnTo>
                        <a:pt x="456" y="330"/>
                      </a:lnTo>
                      <a:lnTo>
                        <a:pt x="456" y="328"/>
                      </a:lnTo>
                      <a:lnTo>
                        <a:pt x="455" y="328"/>
                      </a:lnTo>
                      <a:lnTo>
                        <a:pt x="455" y="326"/>
                      </a:lnTo>
                      <a:lnTo>
                        <a:pt x="455" y="328"/>
                      </a:lnTo>
                      <a:lnTo>
                        <a:pt x="455" y="326"/>
                      </a:lnTo>
                      <a:lnTo>
                        <a:pt x="455" y="325"/>
                      </a:lnTo>
                      <a:lnTo>
                        <a:pt x="455" y="326"/>
                      </a:lnTo>
                      <a:lnTo>
                        <a:pt x="453" y="326"/>
                      </a:lnTo>
                      <a:lnTo>
                        <a:pt x="453" y="325"/>
                      </a:lnTo>
                      <a:lnTo>
                        <a:pt x="451" y="325"/>
                      </a:lnTo>
                      <a:lnTo>
                        <a:pt x="451" y="323"/>
                      </a:lnTo>
                      <a:lnTo>
                        <a:pt x="450" y="323"/>
                      </a:lnTo>
                      <a:lnTo>
                        <a:pt x="448" y="323"/>
                      </a:lnTo>
                      <a:lnTo>
                        <a:pt x="446" y="323"/>
                      </a:lnTo>
                      <a:lnTo>
                        <a:pt x="445" y="323"/>
                      </a:lnTo>
                      <a:lnTo>
                        <a:pt x="445" y="321"/>
                      </a:lnTo>
                      <a:lnTo>
                        <a:pt x="446" y="321"/>
                      </a:lnTo>
                      <a:lnTo>
                        <a:pt x="445" y="321"/>
                      </a:lnTo>
                      <a:lnTo>
                        <a:pt x="443" y="321"/>
                      </a:lnTo>
                      <a:lnTo>
                        <a:pt x="443" y="323"/>
                      </a:lnTo>
                      <a:lnTo>
                        <a:pt x="445" y="323"/>
                      </a:lnTo>
                      <a:lnTo>
                        <a:pt x="443" y="323"/>
                      </a:lnTo>
                      <a:lnTo>
                        <a:pt x="443" y="325"/>
                      </a:lnTo>
                      <a:lnTo>
                        <a:pt x="441" y="326"/>
                      </a:lnTo>
                      <a:lnTo>
                        <a:pt x="441" y="325"/>
                      </a:lnTo>
                      <a:lnTo>
                        <a:pt x="443" y="325"/>
                      </a:lnTo>
                      <a:lnTo>
                        <a:pt x="443" y="323"/>
                      </a:lnTo>
                      <a:lnTo>
                        <a:pt x="443" y="321"/>
                      </a:lnTo>
                      <a:lnTo>
                        <a:pt x="441" y="321"/>
                      </a:lnTo>
                      <a:lnTo>
                        <a:pt x="440" y="321"/>
                      </a:lnTo>
                      <a:lnTo>
                        <a:pt x="438" y="321"/>
                      </a:lnTo>
                      <a:lnTo>
                        <a:pt x="438" y="323"/>
                      </a:lnTo>
                      <a:lnTo>
                        <a:pt x="440" y="325"/>
                      </a:lnTo>
                      <a:lnTo>
                        <a:pt x="438" y="325"/>
                      </a:lnTo>
                      <a:lnTo>
                        <a:pt x="438" y="323"/>
                      </a:lnTo>
                      <a:lnTo>
                        <a:pt x="436" y="323"/>
                      </a:lnTo>
                      <a:lnTo>
                        <a:pt x="434" y="323"/>
                      </a:lnTo>
                      <a:lnTo>
                        <a:pt x="433" y="323"/>
                      </a:lnTo>
                      <a:lnTo>
                        <a:pt x="433" y="325"/>
                      </a:lnTo>
                      <a:lnTo>
                        <a:pt x="431" y="325"/>
                      </a:lnTo>
                      <a:lnTo>
                        <a:pt x="431" y="323"/>
                      </a:lnTo>
                      <a:lnTo>
                        <a:pt x="431" y="325"/>
                      </a:lnTo>
                      <a:lnTo>
                        <a:pt x="429" y="325"/>
                      </a:lnTo>
                      <a:lnTo>
                        <a:pt x="429" y="326"/>
                      </a:lnTo>
                      <a:lnTo>
                        <a:pt x="429" y="325"/>
                      </a:lnTo>
                      <a:lnTo>
                        <a:pt x="428" y="325"/>
                      </a:lnTo>
                      <a:lnTo>
                        <a:pt x="428" y="326"/>
                      </a:lnTo>
                      <a:lnTo>
                        <a:pt x="428" y="325"/>
                      </a:lnTo>
                      <a:lnTo>
                        <a:pt x="426" y="325"/>
                      </a:lnTo>
                      <a:lnTo>
                        <a:pt x="426" y="326"/>
                      </a:lnTo>
                      <a:lnTo>
                        <a:pt x="424" y="326"/>
                      </a:lnTo>
                      <a:lnTo>
                        <a:pt x="424" y="325"/>
                      </a:lnTo>
                      <a:lnTo>
                        <a:pt x="426" y="323"/>
                      </a:lnTo>
                      <a:lnTo>
                        <a:pt x="424" y="323"/>
                      </a:lnTo>
                      <a:lnTo>
                        <a:pt x="423" y="323"/>
                      </a:lnTo>
                      <a:lnTo>
                        <a:pt x="423" y="325"/>
                      </a:lnTo>
                      <a:lnTo>
                        <a:pt x="424" y="325"/>
                      </a:lnTo>
                      <a:lnTo>
                        <a:pt x="424" y="323"/>
                      </a:lnTo>
                      <a:lnTo>
                        <a:pt x="424" y="325"/>
                      </a:lnTo>
                      <a:lnTo>
                        <a:pt x="424" y="326"/>
                      </a:lnTo>
                      <a:lnTo>
                        <a:pt x="423" y="326"/>
                      </a:lnTo>
                      <a:lnTo>
                        <a:pt x="423" y="328"/>
                      </a:lnTo>
                      <a:lnTo>
                        <a:pt x="421" y="326"/>
                      </a:lnTo>
                      <a:lnTo>
                        <a:pt x="419" y="326"/>
                      </a:lnTo>
                      <a:lnTo>
                        <a:pt x="419" y="325"/>
                      </a:lnTo>
                      <a:lnTo>
                        <a:pt x="418" y="326"/>
                      </a:lnTo>
                      <a:lnTo>
                        <a:pt x="418" y="325"/>
                      </a:lnTo>
                      <a:lnTo>
                        <a:pt x="418" y="323"/>
                      </a:lnTo>
                      <a:lnTo>
                        <a:pt x="416" y="323"/>
                      </a:lnTo>
                      <a:lnTo>
                        <a:pt x="414" y="323"/>
                      </a:lnTo>
                      <a:lnTo>
                        <a:pt x="416" y="325"/>
                      </a:lnTo>
                      <a:lnTo>
                        <a:pt x="414" y="325"/>
                      </a:lnTo>
                      <a:lnTo>
                        <a:pt x="413" y="325"/>
                      </a:lnTo>
                      <a:lnTo>
                        <a:pt x="411" y="325"/>
                      </a:lnTo>
                      <a:lnTo>
                        <a:pt x="411" y="326"/>
                      </a:lnTo>
                      <a:lnTo>
                        <a:pt x="409" y="326"/>
                      </a:lnTo>
                      <a:lnTo>
                        <a:pt x="409" y="328"/>
                      </a:lnTo>
                      <a:lnTo>
                        <a:pt x="407" y="328"/>
                      </a:lnTo>
                      <a:lnTo>
                        <a:pt x="409" y="330"/>
                      </a:lnTo>
                      <a:lnTo>
                        <a:pt x="407" y="330"/>
                      </a:lnTo>
                      <a:lnTo>
                        <a:pt x="407" y="331"/>
                      </a:lnTo>
                      <a:lnTo>
                        <a:pt x="409" y="331"/>
                      </a:lnTo>
                      <a:lnTo>
                        <a:pt x="407" y="331"/>
                      </a:lnTo>
                      <a:lnTo>
                        <a:pt x="409" y="331"/>
                      </a:lnTo>
                      <a:lnTo>
                        <a:pt x="409" y="333"/>
                      </a:lnTo>
                      <a:lnTo>
                        <a:pt x="407" y="333"/>
                      </a:lnTo>
                      <a:lnTo>
                        <a:pt x="406" y="331"/>
                      </a:lnTo>
                      <a:lnTo>
                        <a:pt x="406" y="330"/>
                      </a:lnTo>
                      <a:lnTo>
                        <a:pt x="404" y="331"/>
                      </a:lnTo>
                      <a:lnTo>
                        <a:pt x="404" y="330"/>
                      </a:lnTo>
                      <a:lnTo>
                        <a:pt x="406" y="330"/>
                      </a:lnTo>
                      <a:lnTo>
                        <a:pt x="404" y="328"/>
                      </a:lnTo>
                      <a:lnTo>
                        <a:pt x="402" y="326"/>
                      </a:lnTo>
                      <a:lnTo>
                        <a:pt x="401" y="326"/>
                      </a:lnTo>
                      <a:lnTo>
                        <a:pt x="399" y="326"/>
                      </a:lnTo>
                      <a:lnTo>
                        <a:pt x="397" y="326"/>
                      </a:lnTo>
                      <a:lnTo>
                        <a:pt x="397" y="325"/>
                      </a:lnTo>
                      <a:lnTo>
                        <a:pt x="397" y="323"/>
                      </a:lnTo>
                      <a:lnTo>
                        <a:pt x="396" y="323"/>
                      </a:lnTo>
                      <a:lnTo>
                        <a:pt x="394" y="323"/>
                      </a:lnTo>
                      <a:lnTo>
                        <a:pt x="394" y="321"/>
                      </a:lnTo>
                      <a:lnTo>
                        <a:pt x="394" y="323"/>
                      </a:lnTo>
                      <a:lnTo>
                        <a:pt x="392" y="323"/>
                      </a:lnTo>
                      <a:lnTo>
                        <a:pt x="391" y="323"/>
                      </a:lnTo>
                      <a:lnTo>
                        <a:pt x="389" y="323"/>
                      </a:lnTo>
                      <a:lnTo>
                        <a:pt x="387" y="323"/>
                      </a:lnTo>
                      <a:lnTo>
                        <a:pt x="387" y="325"/>
                      </a:lnTo>
                      <a:lnTo>
                        <a:pt x="387" y="323"/>
                      </a:lnTo>
                      <a:lnTo>
                        <a:pt x="387" y="321"/>
                      </a:lnTo>
                      <a:lnTo>
                        <a:pt x="385" y="321"/>
                      </a:lnTo>
                      <a:lnTo>
                        <a:pt x="385" y="320"/>
                      </a:lnTo>
                      <a:lnTo>
                        <a:pt x="384" y="321"/>
                      </a:lnTo>
                      <a:lnTo>
                        <a:pt x="384" y="323"/>
                      </a:lnTo>
                      <a:lnTo>
                        <a:pt x="382" y="323"/>
                      </a:lnTo>
                      <a:lnTo>
                        <a:pt x="384" y="325"/>
                      </a:lnTo>
                      <a:lnTo>
                        <a:pt x="385" y="325"/>
                      </a:lnTo>
                      <a:lnTo>
                        <a:pt x="387" y="325"/>
                      </a:lnTo>
                      <a:lnTo>
                        <a:pt x="387" y="326"/>
                      </a:lnTo>
                      <a:lnTo>
                        <a:pt x="385" y="326"/>
                      </a:lnTo>
                      <a:lnTo>
                        <a:pt x="384" y="326"/>
                      </a:lnTo>
                      <a:lnTo>
                        <a:pt x="382" y="326"/>
                      </a:lnTo>
                      <a:lnTo>
                        <a:pt x="380" y="326"/>
                      </a:lnTo>
                      <a:lnTo>
                        <a:pt x="379" y="326"/>
                      </a:lnTo>
                      <a:lnTo>
                        <a:pt x="379" y="328"/>
                      </a:lnTo>
                      <a:lnTo>
                        <a:pt x="377" y="330"/>
                      </a:lnTo>
                      <a:lnTo>
                        <a:pt x="377" y="331"/>
                      </a:lnTo>
                      <a:lnTo>
                        <a:pt x="377" y="333"/>
                      </a:lnTo>
                      <a:lnTo>
                        <a:pt x="375" y="333"/>
                      </a:lnTo>
                      <a:lnTo>
                        <a:pt x="375" y="335"/>
                      </a:lnTo>
                      <a:lnTo>
                        <a:pt x="374" y="336"/>
                      </a:lnTo>
                      <a:lnTo>
                        <a:pt x="372" y="338"/>
                      </a:lnTo>
                      <a:lnTo>
                        <a:pt x="370" y="340"/>
                      </a:lnTo>
                      <a:lnTo>
                        <a:pt x="370" y="341"/>
                      </a:lnTo>
                      <a:lnTo>
                        <a:pt x="372" y="343"/>
                      </a:lnTo>
                      <a:lnTo>
                        <a:pt x="370" y="343"/>
                      </a:lnTo>
                      <a:lnTo>
                        <a:pt x="369" y="343"/>
                      </a:lnTo>
                      <a:lnTo>
                        <a:pt x="369" y="341"/>
                      </a:lnTo>
                      <a:lnTo>
                        <a:pt x="367" y="341"/>
                      </a:lnTo>
                      <a:lnTo>
                        <a:pt x="365" y="341"/>
                      </a:lnTo>
                      <a:lnTo>
                        <a:pt x="364" y="341"/>
                      </a:lnTo>
                      <a:lnTo>
                        <a:pt x="362" y="343"/>
                      </a:lnTo>
                      <a:lnTo>
                        <a:pt x="360" y="343"/>
                      </a:lnTo>
                      <a:lnTo>
                        <a:pt x="360" y="344"/>
                      </a:lnTo>
                      <a:lnTo>
                        <a:pt x="360" y="346"/>
                      </a:lnTo>
                      <a:lnTo>
                        <a:pt x="358" y="344"/>
                      </a:lnTo>
                      <a:lnTo>
                        <a:pt x="358" y="343"/>
                      </a:lnTo>
                      <a:lnTo>
                        <a:pt x="357" y="343"/>
                      </a:lnTo>
                      <a:lnTo>
                        <a:pt x="355" y="344"/>
                      </a:lnTo>
                      <a:lnTo>
                        <a:pt x="355" y="346"/>
                      </a:lnTo>
                      <a:lnTo>
                        <a:pt x="353" y="348"/>
                      </a:lnTo>
                      <a:lnTo>
                        <a:pt x="353" y="346"/>
                      </a:lnTo>
                      <a:lnTo>
                        <a:pt x="353" y="344"/>
                      </a:lnTo>
                      <a:lnTo>
                        <a:pt x="353" y="343"/>
                      </a:lnTo>
                      <a:lnTo>
                        <a:pt x="352" y="341"/>
                      </a:lnTo>
                      <a:lnTo>
                        <a:pt x="350" y="341"/>
                      </a:lnTo>
                      <a:lnTo>
                        <a:pt x="350" y="343"/>
                      </a:lnTo>
                      <a:lnTo>
                        <a:pt x="350" y="344"/>
                      </a:lnTo>
                      <a:lnTo>
                        <a:pt x="350" y="346"/>
                      </a:lnTo>
                      <a:lnTo>
                        <a:pt x="348" y="344"/>
                      </a:lnTo>
                      <a:lnTo>
                        <a:pt x="347" y="344"/>
                      </a:lnTo>
                      <a:lnTo>
                        <a:pt x="347" y="343"/>
                      </a:lnTo>
                      <a:lnTo>
                        <a:pt x="345" y="341"/>
                      </a:lnTo>
                      <a:lnTo>
                        <a:pt x="340" y="343"/>
                      </a:lnTo>
                      <a:lnTo>
                        <a:pt x="338" y="343"/>
                      </a:lnTo>
                      <a:lnTo>
                        <a:pt x="337" y="341"/>
                      </a:lnTo>
                      <a:lnTo>
                        <a:pt x="337" y="343"/>
                      </a:lnTo>
                      <a:lnTo>
                        <a:pt x="335" y="343"/>
                      </a:lnTo>
                      <a:lnTo>
                        <a:pt x="335" y="344"/>
                      </a:lnTo>
                      <a:lnTo>
                        <a:pt x="335" y="346"/>
                      </a:lnTo>
                      <a:lnTo>
                        <a:pt x="333" y="346"/>
                      </a:lnTo>
                      <a:lnTo>
                        <a:pt x="331" y="346"/>
                      </a:lnTo>
                      <a:lnTo>
                        <a:pt x="330" y="346"/>
                      </a:lnTo>
                      <a:lnTo>
                        <a:pt x="328" y="346"/>
                      </a:lnTo>
                      <a:lnTo>
                        <a:pt x="330" y="348"/>
                      </a:lnTo>
                      <a:lnTo>
                        <a:pt x="328" y="348"/>
                      </a:lnTo>
                      <a:lnTo>
                        <a:pt x="326" y="348"/>
                      </a:lnTo>
                      <a:lnTo>
                        <a:pt x="325" y="348"/>
                      </a:lnTo>
                      <a:lnTo>
                        <a:pt x="323" y="349"/>
                      </a:lnTo>
                      <a:lnTo>
                        <a:pt x="321" y="349"/>
                      </a:lnTo>
                      <a:lnTo>
                        <a:pt x="321" y="351"/>
                      </a:lnTo>
                      <a:lnTo>
                        <a:pt x="320" y="351"/>
                      </a:lnTo>
                      <a:lnTo>
                        <a:pt x="320" y="353"/>
                      </a:lnTo>
                      <a:lnTo>
                        <a:pt x="321" y="353"/>
                      </a:lnTo>
                      <a:lnTo>
                        <a:pt x="320" y="353"/>
                      </a:lnTo>
                      <a:lnTo>
                        <a:pt x="320" y="354"/>
                      </a:lnTo>
                      <a:lnTo>
                        <a:pt x="321" y="354"/>
                      </a:lnTo>
                      <a:lnTo>
                        <a:pt x="320" y="354"/>
                      </a:lnTo>
                      <a:lnTo>
                        <a:pt x="320" y="356"/>
                      </a:lnTo>
                      <a:lnTo>
                        <a:pt x="318" y="356"/>
                      </a:lnTo>
                      <a:lnTo>
                        <a:pt x="318" y="358"/>
                      </a:lnTo>
                      <a:lnTo>
                        <a:pt x="316" y="358"/>
                      </a:lnTo>
                      <a:lnTo>
                        <a:pt x="316" y="359"/>
                      </a:lnTo>
                      <a:lnTo>
                        <a:pt x="316" y="361"/>
                      </a:lnTo>
                      <a:lnTo>
                        <a:pt x="318" y="361"/>
                      </a:lnTo>
                      <a:lnTo>
                        <a:pt x="318" y="363"/>
                      </a:lnTo>
                      <a:lnTo>
                        <a:pt x="320" y="363"/>
                      </a:lnTo>
                      <a:lnTo>
                        <a:pt x="320" y="364"/>
                      </a:lnTo>
                      <a:lnTo>
                        <a:pt x="321" y="364"/>
                      </a:lnTo>
                      <a:lnTo>
                        <a:pt x="320" y="364"/>
                      </a:lnTo>
                      <a:lnTo>
                        <a:pt x="320" y="366"/>
                      </a:lnTo>
                      <a:lnTo>
                        <a:pt x="318" y="366"/>
                      </a:lnTo>
                      <a:lnTo>
                        <a:pt x="320" y="366"/>
                      </a:lnTo>
                      <a:lnTo>
                        <a:pt x="318" y="366"/>
                      </a:lnTo>
                      <a:lnTo>
                        <a:pt x="318" y="367"/>
                      </a:lnTo>
                      <a:lnTo>
                        <a:pt x="320" y="367"/>
                      </a:lnTo>
                      <a:lnTo>
                        <a:pt x="321" y="367"/>
                      </a:lnTo>
                      <a:lnTo>
                        <a:pt x="321" y="369"/>
                      </a:lnTo>
                      <a:lnTo>
                        <a:pt x="321" y="371"/>
                      </a:lnTo>
                      <a:lnTo>
                        <a:pt x="323" y="371"/>
                      </a:lnTo>
                      <a:lnTo>
                        <a:pt x="323" y="372"/>
                      </a:lnTo>
                      <a:lnTo>
                        <a:pt x="325" y="372"/>
                      </a:lnTo>
                      <a:lnTo>
                        <a:pt x="323" y="372"/>
                      </a:lnTo>
                      <a:lnTo>
                        <a:pt x="323" y="374"/>
                      </a:lnTo>
                      <a:lnTo>
                        <a:pt x="323" y="376"/>
                      </a:lnTo>
                      <a:lnTo>
                        <a:pt x="321" y="376"/>
                      </a:lnTo>
                      <a:lnTo>
                        <a:pt x="323" y="377"/>
                      </a:lnTo>
                      <a:lnTo>
                        <a:pt x="321" y="377"/>
                      </a:lnTo>
                      <a:lnTo>
                        <a:pt x="321" y="379"/>
                      </a:lnTo>
                      <a:lnTo>
                        <a:pt x="321" y="377"/>
                      </a:lnTo>
                      <a:lnTo>
                        <a:pt x="321" y="379"/>
                      </a:lnTo>
                      <a:lnTo>
                        <a:pt x="321" y="377"/>
                      </a:lnTo>
                      <a:lnTo>
                        <a:pt x="320" y="379"/>
                      </a:lnTo>
                      <a:lnTo>
                        <a:pt x="320" y="377"/>
                      </a:lnTo>
                      <a:lnTo>
                        <a:pt x="320" y="379"/>
                      </a:lnTo>
                      <a:lnTo>
                        <a:pt x="318" y="379"/>
                      </a:lnTo>
                      <a:lnTo>
                        <a:pt x="318" y="381"/>
                      </a:lnTo>
                      <a:lnTo>
                        <a:pt x="316" y="381"/>
                      </a:lnTo>
                      <a:lnTo>
                        <a:pt x="315" y="381"/>
                      </a:lnTo>
                      <a:lnTo>
                        <a:pt x="313" y="381"/>
                      </a:lnTo>
                      <a:lnTo>
                        <a:pt x="311" y="381"/>
                      </a:lnTo>
                      <a:lnTo>
                        <a:pt x="309" y="381"/>
                      </a:lnTo>
                      <a:lnTo>
                        <a:pt x="308" y="381"/>
                      </a:lnTo>
                      <a:lnTo>
                        <a:pt x="308" y="382"/>
                      </a:lnTo>
                      <a:lnTo>
                        <a:pt x="306" y="382"/>
                      </a:lnTo>
                      <a:lnTo>
                        <a:pt x="308" y="384"/>
                      </a:lnTo>
                      <a:lnTo>
                        <a:pt x="308" y="386"/>
                      </a:lnTo>
                      <a:lnTo>
                        <a:pt x="306" y="386"/>
                      </a:lnTo>
                      <a:lnTo>
                        <a:pt x="304" y="386"/>
                      </a:lnTo>
                      <a:lnTo>
                        <a:pt x="306" y="386"/>
                      </a:lnTo>
                      <a:lnTo>
                        <a:pt x="304" y="384"/>
                      </a:lnTo>
                      <a:lnTo>
                        <a:pt x="303" y="384"/>
                      </a:lnTo>
                      <a:lnTo>
                        <a:pt x="303" y="382"/>
                      </a:lnTo>
                      <a:lnTo>
                        <a:pt x="301" y="381"/>
                      </a:lnTo>
                      <a:lnTo>
                        <a:pt x="301" y="379"/>
                      </a:lnTo>
                      <a:lnTo>
                        <a:pt x="301" y="377"/>
                      </a:lnTo>
                      <a:lnTo>
                        <a:pt x="299" y="377"/>
                      </a:lnTo>
                      <a:lnTo>
                        <a:pt x="298" y="377"/>
                      </a:lnTo>
                      <a:lnTo>
                        <a:pt x="298" y="376"/>
                      </a:lnTo>
                      <a:lnTo>
                        <a:pt x="298" y="374"/>
                      </a:lnTo>
                      <a:lnTo>
                        <a:pt x="296" y="374"/>
                      </a:lnTo>
                      <a:lnTo>
                        <a:pt x="294" y="376"/>
                      </a:lnTo>
                      <a:lnTo>
                        <a:pt x="293" y="374"/>
                      </a:lnTo>
                      <a:lnTo>
                        <a:pt x="293" y="376"/>
                      </a:lnTo>
                      <a:lnTo>
                        <a:pt x="291" y="374"/>
                      </a:lnTo>
                      <a:lnTo>
                        <a:pt x="289" y="374"/>
                      </a:lnTo>
                      <a:lnTo>
                        <a:pt x="288" y="374"/>
                      </a:lnTo>
                      <a:lnTo>
                        <a:pt x="286" y="374"/>
                      </a:lnTo>
                      <a:lnTo>
                        <a:pt x="284" y="376"/>
                      </a:lnTo>
                      <a:lnTo>
                        <a:pt x="284" y="374"/>
                      </a:lnTo>
                      <a:lnTo>
                        <a:pt x="282" y="372"/>
                      </a:lnTo>
                      <a:lnTo>
                        <a:pt x="281" y="372"/>
                      </a:lnTo>
                      <a:lnTo>
                        <a:pt x="279" y="372"/>
                      </a:lnTo>
                      <a:lnTo>
                        <a:pt x="279" y="374"/>
                      </a:lnTo>
                      <a:lnTo>
                        <a:pt x="277" y="374"/>
                      </a:lnTo>
                      <a:lnTo>
                        <a:pt x="276" y="374"/>
                      </a:lnTo>
                      <a:lnTo>
                        <a:pt x="274" y="374"/>
                      </a:lnTo>
                      <a:lnTo>
                        <a:pt x="272" y="374"/>
                      </a:lnTo>
                      <a:lnTo>
                        <a:pt x="271" y="374"/>
                      </a:lnTo>
                      <a:lnTo>
                        <a:pt x="271" y="376"/>
                      </a:lnTo>
                      <a:lnTo>
                        <a:pt x="269" y="376"/>
                      </a:lnTo>
                      <a:lnTo>
                        <a:pt x="269" y="374"/>
                      </a:lnTo>
                      <a:lnTo>
                        <a:pt x="267" y="374"/>
                      </a:lnTo>
                      <a:lnTo>
                        <a:pt x="264" y="374"/>
                      </a:lnTo>
                      <a:lnTo>
                        <a:pt x="264" y="376"/>
                      </a:lnTo>
                      <a:lnTo>
                        <a:pt x="264" y="374"/>
                      </a:lnTo>
                      <a:lnTo>
                        <a:pt x="262" y="376"/>
                      </a:lnTo>
                      <a:lnTo>
                        <a:pt x="261" y="376"/>
                      </a:lnTo>
                      <a:lnTo>
                        <a:pt x="261" y="374"/>
                      </a:lnTo>
                      <a:lnTo>
                        <a:pt x="259" y="374"/>
                      </a:lnTo>
                      <a:lnTo>
                        <a:pt x="257" y="374"/>
                      </a:lnTo>
                      <a:lnTo>
                        <a:pt x="255" y="374"/>
                      </a:lnTo>
                      <a:lnTo>
                        <a:pt x="255" y="372"/>
                      </a:lnTo>
                      <a:lnTo>
                        <a:pt x="254" y="372"/>
                      </a:lnTo>
                      <a:lnTo>
                        <a:pt x="254" y="374"/>
                      </a:lnTo>
                      <a:lnTo>
                        <a:pt x="252" y="372"/>
                      </a:lnTo>
                      <a:lnTo>
                        <a:pt x="250" y="372"/>
                      </a:lnTo>
                      <a:lnTo>
                        <a:pt x="249" y="372"/>
                      </a:lnTo>
                      <a:lnTo>
                        <a:pt x="249" y="371"/>
                      </a:lnTo>
                      <a:lnTo>
                        <a:pt x="247" y="371"/>
                      </a:lnTo>
                      <a:lnTo>
                        <a:pt x="245" y="369"/>
                      </a:lnTo>
                      <a:lnTo>
                        <a:pt x="244" y="369"/>
                      </a:lnTo>
                      <a:lnTo>
                        <a:pt x="242" y="369"/>
                      </a:lnTo>
                      <a:lnTo>
                        <a:pt x="242" y="367"/>
                      </a:lnTo>
                      <a:lnTo>
                        <a:pt x="240" y="367"/>
                      </a:lnTo>
                      <a:lnTo>
                        <a:pt x="240" y="366"/>
                      </a:lnTo>
                      <a:lnTo>
                        <a:pt x="240" y="364"/>
                      </a:lnTo>
                      <a:lnTo>
                        <a:pt x="239" y="364"/>
                      </a:lnTo>
                      <a:lnTo>
                        <a:pt x="237" y="364"/>
                      </a:lnTo>
                      <a:lnTo>
                        <a:pt x="235" y="364"/>
                      </a:lnTo>
                      <a:lnTo>
                        <a:pt x="233" y="363"/>
                      </a:lnTo>
                      <a:lnTo>
                        <a:pt x="232" y="361"/>
                      </a:lnTo>
                      <a:lnTo>
                        <a:pt x="230" y="363"/>
                      </a:lnTo>
                      <a:lnTo>
                        <a:pt x="228" y="363"/>
                      </a:lnTo>
                      <a:lnTo>
                        <a:pt x="227" y="363"/>
                      </a:lnTo>
                      <a:lnTo>
                        <a:pt x="225" y="363"/>
                      </a:lnTo>
                      <a:lnTo>
                        <a:pt x="223" y="363"/>
                      </a:lnTo>
                      <a:lnTo>
                        <a:pt x="222" y="363"/>
                      </a:lnTo>
                      <a:lnTo>
                        <a:pt x="222" y="361"/>
                      </a:lnTo>
                      <a:lnTo>
                        <a:pt x="220" y="361"/>
                      </a:lnTo>
                      <a:lnTo>
                        <a:pt x="218" y="361"/>
                      </a:lnTo>
                      <a:lnTo>
                        <a:pt x="217" y="361"/>
                      </a:lnTo>
                      <a:lnTo>
                        <a:pt x="215" y="361"/>
                      </a:lnTo>
                      <a:lnTo>
                        <a:pt x="213" y="361"/>
                      </a:lnTo>
                      <a:lnTo>
                        <a:pt x="213" y="359"/>
                      </a:lnTo>
                      <a:lnTo>
                        <a:pt x="212" y="359"/>
                      </a:lnTo>
                      <a:lnTo>
                        <a:pt x="210" y="359"/>
                      </a:lnTo>
                      <a:lnTo>
                        <a:pt x="210" y="361"/>
                      </a:lnTo>
                      <a:lnTo>
                        <a:pt x="208" y="361"/>
                      </a:lnTo>
                      <a:lnTo>
                        <a:pt x="206" y="361"/>
                      </a:lnTo>
                      <a:lnTo>
                        <a:pt x="205" y="361"/>
                      </a:lnTo>
                      <a:lnTo>
                        <a:pt x="205" y="359"/>
                      </a:lnTo>
                      <a:lnTo>
                        <a:pt x="203" y="359"/>
                      </a:lnTo>
                      <a:lnTo>
                        <a:pt x="201" y="359"/>
                      </a:lnTo>
                      <a:lnTo>
                        <a:pt x="201" y="358"/>
                      </a:lnTo>
                      <a:lnTo>
                        <a:pt x="200" y="358"/>
                      </a:lnTo>
                      <a:lnTo>
                        <a:pt x="198" y="358"/>
                      </a:lnTo>
                      <a:lnTo>
                        <a:pt x="196" y="358"/>
                      </a:lnTo>
                      <a:lnTo>
                        <a:pt x="195" y="358"/>
                      </a:lnTo>
                      <a:lnTo>
                        <a:pt x="193" y="358"/>
                      </a:lnTo>
                      <a:lnTo>
                        <a:pt x="193" y="359"/>
                      </a:lnTo>
                      <a:lnTo>
                        <a:pt x="191" y="359"/>
                      </a:lnTo>
                      <a:lnTo>
                        <a:pt x="191" y="358"/>
                      </a:lnTo>
                      <a:lnTo>
                        <a:pt x="191" y="356"/>
                      </a:lnTo>
                      <a:lnTo>
                        <a:pt x="190" y="356"/>
                      </a:lnTo>
                      <a:lnTo>
                        <a:pt x="188" y="356"/>
                      </a:lnTo>
                      <a:lnTo>
                        <a:pt x="188" y="354"/>
                      </a:lnTo>
                      <a:lnTo>
                        <a:pt x="186" y="354"/>
                      </a:lnTo>
                      <a:lnTo>
                        <a:pt x="186" y="353"/>
                      </a:lnTo>
                      <a:lnTo>
                        <a:pt x="185" y="353"/>
                      </a:lnTo>
                      <a:lnTo>
                        <a:pt x="183" y="353"/>
                      </a:lnTo>
                      <a:lnTo>
                        <a:pt x="181" y="353"/>
                      </a:lnTo>
                      <a:lnTo>
                        <a:pt x="179" y="353"/>
                      </a:lnTo>
                      <a:lnTo>
                        <a:pt x="179" y="351"/>
                      </a:lnTo>
                      <a:lnTo>
                        <a:pt x="179" y="353"/>
                      </a:lnTo>
                      <a:lnTo>
                        <a:pt x="178" y="353"/>
                      </a:lnTo>
                      <a:lnTo>
                        <a:pt x="176" y="353"/>
                      </a:lnTo>
                      <a:lnTo>
                        <a:pt x="174" y="353"/>
                      </a:lnTo>
                      <a:lnTo>
                        <a:pt x="173" y="353"/>
                      </a:lnTo>
                      <a:lnTo>
                        <a:pt x="171" y="353"/>
                      </a:lnTo>
                      <a:lnTo>
                        <a:pt x="169" y="353"/>
                      </a:lnTo>
                      <a:lnTo>
                        <a:pt x="168" y="353"/>
                      </a:lnTo>
                      <a:lnTo>
                        <a:pt x="166" y="354"/>
                      </a:lnTo>
                      <a:lnTo>
                        <a:pt x="166" y="353"/>
                      </a:lnTo>
                      <a:lnTo>
                        <a:pt x="164" y="353"/>
                      </a:lnTo>
                      <a:lnTo>
                        <a:pt x="164" y="354"/>
                      </a:lnTo>
                      <a:lnTo>
                        <a:pt x="164" y="353"/>
                      </a:lnTo>
                      <a:lnTo>
                        <a:pt x="163" y="353"/>
                      </a:lnTo>
                      <a:lnTo>
                        <a:pt x="163" y="354"/>
                      </a:lnTo>
                      <a:lnTo>
                        <a:pt x="161" y="354"/>
                      </a:lnTo>
                      <a:lnTo>
                        <a:pt x="159" y="354"/>
                      </a:lnTo>
                      <a:lnTo>
                        <a:pt x="157" y="354"/>
                      </a:lnTo>
                      <a:lnTo>
                        <a:pt x="157" y="353"/>
                      </a:lnTo>
                      <a:lnTo>
                        <a:pt x="156" y="353"/>
                      </a:lnTo>
                      <a:lnTo>
                        <a:pt x="154" y="353"/>
                      </a:lnTo>
                      <a:lnTo>
                        <a:pt x="154" y="354"/>
                      </a:lnTo>
                      <a:lnTo>
                        <a:pt x="152" y="354"/>
                      </a:lnTo>
                      <a:lnTo>
                        <a:pt x="151" y="354"/>
                      </a:lnTo>
                      <a:lnTo>
                        <a:pt x="151" y="356"/>
                      </a:lnTo>
                      <a:lnTo>
                        <a:pt x="149" y="356"/>
                      </a:lnTo>
                      <a:lnTo>
                        <a:pt x="147" y="356"/>
                      </a:lnTo>
                      <a:lnTo>
                        <a:pt x="146" y="356"/>
                      </a:lnTo>
                      <a:lnTo>
                        <a:pt x="144" y="356"/>
                      </a:lnTo>
                      <a:lnTo>
                        <a:pt x="144" y="354"/>
                      </a:lnTo>
                      <a:lnTo>
                        <a:pt x="142" y="354"/>
                      </a:lnTo>
                      <a:lnTo>
                        <a:pt x="142" y="353"/>
                      </a:lnTo>
                      <a:lnTo>
                        <a:pt x="141" y="353"/>
                      </a:lnTo>
                      <a:lnTo>
                        <a:pt x="139" y="353"/>
                      </a:lnTo>
                      <a:lnTo>
                        <a:pt x="137" y="353"/>
                      </a:lnTo>
                      <a:lnTo>
                        <a:pt x="137" y="351"/>
                      </a:lnTo>
                      <a:lnTo>
                        <a:pt x="136" y="351"/>
                      </a:lnTo>
                      <a:lnTo>
                        <a:pt x="136" y="349"/>
                      </a:lnTo>
                      <a:lnTo>
                        <a:pt x="134" y="351"/>
                      </a:lnTo>
                      <a:lnTo>
                        <a:pt x="134" y="349"/>
                      </a:lnTo>
                      <a:lnTo>
                        <a:pt x="132" y="349"/>
                      </a:lnTo>
                      <a:lnTo>
                        <a:pt x="132" y="348"/>
                      </a:lnTo>
                      <a:lnTo>
                        <a:pt x="130" y="348"/>
                      </a:lnTo>
                      <a:lnTo>
                        <a:pt x="130" y="346"/>
                      </a:lnTo>
                      <a:lnTo>
                        <a:pt x="130" y="348"/>
                      </a:lnTo>
                      <a:lnTo>
                        <a:pt x="130" y="346"/>
                      </a:lnTo>
                      <a:lnTo>
                        <a:pt x="129" y="344"/>
                      </a:lnTo>
                      <a:lnTo>
                        <a:pt x="129" y="343"/>
                      </a:lnTo>
                      <a:lnTo>
                        <a:pt x="127" y="343"/>
                      </a:lnTo>
                      <a:lnTo>
                        <a:pt x="127" y="344"/>
                      </a:lnTo>
                      <a:lnTo>
                        <a:pt x="125" y="344"/>
                      </a:lnTo>
                      <a:lnTo>
                        <a:pt x="125" y="343"/>
                      </a:lnTo>
                      <a:lnTo>
                        <a:pt x="124" y="344"/>
                      </a:lnTo>
                      <a:lnTo>
                        <a:pt x="124" y="343"/>
                      </a:lnTo>
                      <a:lnTo>
                        <a:pt x="122" y="343"/>
                      </a:lnTo>
                      <a:lnTo>
                        <a:pt x="122" y="344"/>
                      </a:lnTo>
                      <a:lnTo>
                        <a:pt x="122" y="343"/>
                      </a:lnTo>
                      <a:lnTo>
                        <a:pt x="120" y="343"/>
                      </a:lnTo>
                      <a:lnTo>
                        <a:pt x="119" y="343"/>
                      </a:lnTo>
                      <a:lnTo>
                        <a:pt x="117" y="343"/>
                      </a:lnTo>
                      <a:lnTo>
                        <a:pt x="117" y="344"/>
                      </a:lnTo>
                      <a:lnTo>
                        <a:pt x="115" y="344"/>
                      </a:lnTo>
                      <a:lnTo>
                        <a:pt x="115" y="346"/>
                      </a:lnTo>
                      <a:lnTo>
                        <a:pt x="114" y="346"/>
                      </a:lnTo>
                      <a:lnTo>
                        <a:pt x="112" y="346"/>
                      </a:lnTo>
                      <a:lnTo>
                        <a:pt x="112" y="348"/>
                      </a:lnTo>
                      <a:lnTo>
                        <a:pt x="110" y="348"/>
                      </a:lnTo>
                      <a:lnTo>
                        <a:pt x="108" y="348"/>
                      </a:lnTo>
                      <a:lnTo>
                        <a:pt x="107" y="348"/>
                      </a:lnTo>
                      <a:lnTo>
                        <a:pt x="105" y="348"/>
                      </a:lnTo>
                      <a:lnTo>
                        <a:pt x="103" y="348"/>
                      </a:lnTo>
                      <a:lnTo>
                        <a:pt x="102" y="348"/>
                      </a:lnTo>
                      <a:lnTo>
                        <a:pt x="102" y="346"/>
                      </a:lnTo>
                      <a:lnTo>
                        <a:pt x="100" y="346"/>
                      </a:lnTo>
                      <a:lnTo>
                        <a:pt x="100" y="344"/>
                      </a:lnTo>
                      <a:lnTo>
                        <a:pt x="98" y="344"/>
                      </a:lnTo>
                      <a:lnTo>
                        <a:pt x="97" y="344"/>
                      </a:lnTo>
                      <a:lnTo>
                        <a:pt x="95" y="344"/>
                      </a:lnTo>
                      <a:lnTo>
                        <a:pt x="95" y="343"/>
                      </a:lnTo>
                      <a:lnTo>
                        <a:pt x="95" y="344"/>
                      </a:lnTo>
                      <a:lnTo>
                        <a:pt x="93" y="343"/>
                      </a:lnTo>
                      <a:lnTo>
                        <a:pt x="95" y="343"/>
                      </a:lnTo>
                      <a:lnTo>
                        <a:pt x="93" y="343"/>
                      </a:lnTo>
                      <a:lnTo>
                        <a:pt x="93" y="341"/>
                      </a:lnTo>
                      <a:lnTo>
                        <a:pt x="93" y="340"/>
                      </a:lnTo>
                      <a:lnTo>
                        <a:pt x="93" y="338"/>
                      </a:lnTo>
                      <a:lnTo>
                        <a:pt x="92" y="338"/>
                      </a:lnTo>
                      <a:lnTo>
                        <a:pt x="92" y="336"/>
                      </a:lnTo>
                      <a:lnTo>
                        <a:pt x="90" y="336"/>
                      </a:lnTo>
                      <a:lnTo>
                        <a:pt x="90" y="335"/>
                      </a:lnTo>
                      <a:lnTo>
                        <a:pt x="88" y="335"/>
                      </a:lnTo>
                      <a:lnTo>
                        <a:pt x="88" y="333"/>
                      </a:lnTo>
                      <a:lnTo>
                        <a:pt x="87" y="331"/>
                      </a:lnTo>
                      <a:lnTo>
                        <a:pt x="87" y="333"/>
                      </a:lnTo>
                      <a:lnTo>
                        <a:pt x="87" y="331"/>
                      </a:lnTo>
                      <a:lnTo>
                        <a:pt x="85" y="331"/>
                      </a:lnTo>
                      <a:lnTo>
                        <a:pt x="85" y="330"/>
                      </a:lnTo>
                      <a:lnTo>
                        <a:pt x="85" y="328"/>
                      </a:lnTo>
                      <a:lnTo>
                        <a:pt x="85" y="326"/>
                      </a:lnTo>
                      <a:lnTo>
                        <a:pt x="87" y="326"/>
                      </a:lnTo>
                      <a:lnTo>
                        <a:pt x="85" y="326"/>
                      </a:lnTo>
                      <a:lnTo>
                        <a:pt x="85" y="325"/>
                      </a:lnTo>
                      <a:lnTo>
                        <a:pt x="83" y="325"/>
                      </a:lnTo>
                      <a:lnTo>
                        <a:pt x="83" y="323"/>
                      </a:lnTo>
                      <a:lnTo>
                        <a:pt x="83" y="325"/>
                      </a:lnTo>
                      <a:lnTo>
                        <a:pt x="83" y="323"/>
                      </a:lnTo>
                      <a:lnTo>
                        <a:pt x="81" y="323"/>
                      </a:lnTo>
                      <a:lnTo>
                        <a:pt x="81" y="321"/>
                      </a:lnTo>
                      <a:lnTo>
                        <a:pt x="80" y="321"/>
                      </a:lnTo>
                      <a:lnTo>
                        <a:pt x="81" y="321"/>
                      </a:lnTo>
                      <a:lnTo>
                        <a:pt x="80" y="321"/>
                      </a:lnTo>
                      <a:lnTo>
                        <a:pt x="80" y="320"/>
                      </a:lnTo>
                      <a:lnTo>
                        <a:pt x="78" y="320"/>
                      </a:lnTo>
                      <a:lnTo>
                        <a:pt x="78" y="318"/>
                      </a:lnTo>
                      <a:lnTo>
                        <a:pt x="78" y="320"/>
                      </a:lnTo>
                      <a:lnTo>
                        <a:pt x="76" y="320"/>
                      </a:lnTo>
                      <a:lnTo>
                        <a:pt x="76" y="318"/>
                      </a:lnTo>
                      <a:lnTo>
                        <a:pt x="78" y="318"/>
                      </a:lnTo>
                      <a:lnTo>
                        <a:pt x="76" y="318"/>
                      </a:lnTo>
                      <a:lnTo>
                        <a:pt x="75" y="318"/>
                      </a:lnTo>
                      <a:lnTo>
                        <a:pt x="76" y="317"/>
                      </a:lnTo>
                      <a:lnTo>
                        <a:pt x="75" y="317"/>
                      </a:lnTo>
                      <a:lnTo>
                        <a:pt x="75" y="315"/>
                      </a:lnTo>
                      <a:lnTo>
                        <a:pt x="75" y="313"/>
                      </a:lnTo>
                      <a:lnTo>
                        <a:pt x="76" y="313"/>
                      </a:lnTo>
                      <a:lnTo>
                        <a:pt x="76" y="312"/>
                      </a:lnTo>
                      <a:lnTo>
                        <a:pt x="76" y="310"/>
                      </a:lnTo>
                      <a:lnTo>
                        <a:pt x="75" y="310"/>
                      </a:lnTo>
                      <a:lnTo>
                        <a:pt x="76" y="310"/>
                      </a:lnTo>
                      <a:lnTo>
                        <a:pt x="75" y="310"/>
                      </a:lnTo>
                      <a:lnTo>
                        <a:pt x="75" y="308"/>
                      </a:lnTo>
                      <a:lnTo>
                        <a:pt x="76" y="308"/>
                      </a:lnTo>
                      <a:lnTo>
                        <a:pt x="75" y="308"/>
                      </a:lnTo>
                      <a:lnTo>
                        <a:pt x="76" y="307"/>
                      </a:lnTo>
                      <a:lnTo>
                        <a:pt x="75" y="307"/>
                      </a:lnTo>
                      <a:lnTo>
                        <a:pt x="76" y="307"/>
                      </a:lnTo>
                      <a:lnTo>
                        <a:pt x="75" y="307"/>
                      </a:lnTo>
                      <a:lnTo>
                        <a:pt x="75" y="305"/>
                      </a:lnTo>
                      <a:lnTo>
                        <a:pt x="75" y="303"/>
                      </a:lnTo>
                      <a:lnTo>
                        <a:pt x="76" y="303"/>
                      </a:lnTo>
                      <a:lnTo>
                        <a:pt x="76" y="302"/>
                      </a:lnTo>
                      <a:lnTo>
                        <a:pt x="75" y="302"/>
                      </a:lnTo>
                      <a:lnTo>
                        <a:pt x="75" y="300"/>
                      </a:lnTo>
                      <a:lnTo>
                        <a:pt x="76" y="300"/>
                      </a:lnTo>
                      <a:lnTo>
                        <a:pt x="75" y="299"/>
                      </a:lnTo>
                      <a:lnTo>
                        <a:pt x="73" y="299"/>
                      </a:lnTo>
                      <a:lnTo>
                        <a:pt x="75" y="299"/>
                      </a:lnTo>
                      <a:lnTo>
                        <a:pt x="75" y="297"/>
                      </a:lnTo>
                      <a:lnTo>
                        <a:pt x="76" y="297"/>
                      </a:lnTo>
                      <a:lnTo>
                        <a:pt x="75" y="297"/>
                      </a:lnTo>
                      <a:lnTo>
                        <a:pt x="73" y="297"/>
                      </a:lnTo>
                      <a:lnTo>
                        <a:pt x="73" y="295"/>
                      </a:lnTo>
                      <a:lnTo>
                        <a:pt x="73" y="294"/>
                      </a:lnTo>
                      <a:lnTo>
                        <a:pt x="73" y="295"/>
                      </a:lnTo>
                      <a:lnTo>
                        <a:pt x="73" y="294"/>
                      </a:lnTo>
                      <a:lnTo>
                        <a:pt x="71" y="294"/>
                      </a:lnTo>
                      <a:lnTo>
                        <a:pt x="73" y="294"/>
                      </a:lnTo>
                      <a:lnTo>
                        <a:pt x="73" y="292"/>
                      </a:lnTo>
                      <a:lnTo>
                        <a:pt x="71" y="292"/>
                      </a:lnTo>
                      <a:lnTo>
                        <a:pt x="73" y="292"/>
                      </a:lnTo>
                      <a:lnTo>
                        <a:pt x="73" y="294"/>
                      </a:lnTo>
                      <a:lnTo>
                        <a:pt x="75" y="294"/>
                      </a:lnTo>
                      <a:lnTo>
                        <a:pt x="75" y="292"/>
                      </a:lnTo>
                      <a:lnTo>
                        <a:pt x="73" y="292"/>
                      </a:lnTo>
                      <a:lnTo>
                        <a:pt x="75" y="292"/>
                      </a:lnTo>
                      <a:lnTo>
                        <a:pt x="73" y="290"/>
                      </a:lnTo>
                      <a:lnTo>
                        <a:pt x="73" y="292"/>
                      </a:lnTo>
                      <a:lnTo>
                        <a:pt x="73" y="290"/>
                      </a:lnTo>
                      <a:lnTo>
                        <a:pt x="73" y="289"/>
                      </a:lnTo>
                      <a:lnTo>
                        <a:pt x="71" y="289"/>
                      </a:lnTo>
                      <a:lnTo>
                        <a:pt x="70" y="289"/>
                      </a:lnTo>
                      <a:lnTo>
                        <a:pt x="71" y="289"/>
                      </a:lnTo>
                      <a:lnTo>
                        <a:pt x="71" y="287"/>
                      </a:lnTo>
                      <a:lnTo>
                        <a:pt x="71" y="289"/>
                      </a:lnTo>
                      <a:lnTo>
                        <a:pt x="71" y="287"/>
                      </a:lnTo>
                      <a:lnTo>
                        <a:pt x="70" y="287"/>
                      </a:lnTo>
                      <a:lnTo>
                        <a:pt x="70" y="285"/>
                      </a:lnTo>
                      <a:lnTo>
                        <a:pt x="71" y="285"/>
                      </a:lnTo>
                      <a:lnTo>
                        <a:pt x="70" y="285"/>
                      </a:lnTo>
                      <a:lnTo>
                        <a:pt x="68" y="287"/>
                      </a:lnTo>
                      <a:lnTo>
                        <a:pt x="68" y="285"/>
                      </a:lnTo>
                      <a:lnTo>
                        <a:pt x="68" y="287"/>
                      </a:lnTo>
                      <a:lnTo>
                        <a:pt x="68" y="285"/>
                      </a:lnTo>
                      <a:lnTo>
                        <a:pt x="66" y="285"/>
                      </a:lnTo>
                      <a:lnTo>
                        <a:pt x="65" y="285"/>
                      </a:lnTo>
                      <a:lnTo>
                        <a:pt x="66" y="285"/>
                      </a:lnTo>
                      <a:lnTo>
                        <a:pt x="65" y="284"/>
                      </a:lnTo>
                      <a:lnTo>
                        <a:pt x="65" y="285"/>
                      </a:lnTo>
                      <a:lnTo>
                        <a:pt x="65" y="287"/>
                      </a:lnTo>
                      <a:lnTo>
                        <a:pt x="63" y="287"/>
                      </a:lnTo>
                      <a:lnTo>
                        <a:pt x="63" y="285"/>
                      </a:lnTo>
                      <a:lnTo>
                        <a:pt x="63" y="284"/>
                      </a:lnTo>
                      <a:lnTo>
                        <a:pt x="63" y="285"/>
                      </a:lnTo>
                      <a:lnTo>
                        <a:pt x="63" y="284"/>
                      </a:lnTo>
                      <a:lnTo>
                        <a:pt x="61" y="282"/>
                      </a:lnTo>
                      <a:lnTo>
                        <a:pt x="60" y="282"/>
                      </a:lnTo>
                      <a:lnTo>
                        <a:pt x="60" y="280"/>
                      </a:lnTo>
                      <a:lnTo>
                        <a:pt x="58" y="280"/>
                      </a:lnTo>
                      <a:lnTo>
                        <a:pt x="56" y="280"/>
                      </a:lnTo>
                      <a:lnTo>
                        <a:pt x="56" y="282"/>
                      </a:lnTo>
                      <a:lnTo>
                        <a:pt x="54" y="282"/>
                      </a:lnTo>
                      <a:lnTo>
                        <a:pt x="54" y="280"/>
                      </a:lnTo>
                      <a:lnTo>
                        <a:pt x="53" y="280"/>
                      </a:lnTo>
                      <a:lnTo>
                        <a:pt x="53" y="279"/>
                      </a:lnTo>
                      <a:lnTo>
                        <a:pt x="53" y="280"/>
                      </a:lnTo>
                      <a:lnTo>
                        <a:pt x="51" y="280"/>
                      </a:lnTo>
                      <a:lnTo>
                        <a:pt x="51" y="282"/>
                      </a:lnTo>
                      <a:lnTo>
                        <a:pt x="51" y="284"/>
                      </a:lnTo>
                      <a:lnTo>
                        <a:pt x="51" y="285"/>
                      </a:lnTo>
                      <a:lnTo>
                        <a:pt x="49" y="285"/>
                      </a:lnTo>
                      <a:lnTo>
                        <a:pt x="49" y="284"/>
                      </a:lnTo>
                      <a:lnTo>
                        <a:pt x="49" y="282"/>
                      </a:lnTo>
                      <a:lnTo>
                        <a:pt x="48" y="280"/>
                      </a:lnTo>
                      <a:lnTo>
                        <a:pt x="49" y="279"/>
                      </a:lnTo>
                      <a:lnTo>
                        <a:pt x="49" y="277"/>
                      </a:lnTo>
                      <a:lnTo>
                        <a:pt x="51" y="276"/>
                      </a:lnTo>
                      <a:lnTo>
                        <a:pt x="51" y="274"/>
                      </a:lnTo>
                      <a:lnTo>
                        <a:pt x="49" y="274"/>
                      </a:lnTo>
                      <a:lnTo>
                        <a:pt x="48" y="276"/>
                      </a:lnTo>
                      <a:lnTo>
                        <a:pt x="46" y="276"/>
                      </a:lnTo>
                      <a:lnTo>
                        <a:pt x="46" y="277"/>
                      </a:lnTo>
                      <a:lnTo>
                        <a:pt x="44" y="277"/>
                      </a:lnTo>
                      <a:lnTo>
                        <a:pt x="44" y="279"/>
                      </a:lnTo>
                      <a:lnTo>
                        <a:pt x="43" y="279"/>
                      </a:lnTo>
                      <a:lnTo>
                        <a:pt x="43" y="277"/>
                      </a:lnTo>
                      <a:lnTo>
                        <a:pt x="41" y="277"/>
                      </a:lnTo>
                      <a:lnTo>
                        <a:pt x="41" y="279"/>
                      </a:lnTo>
                      <a:lnTo>
                        <a:pt x="41" y="280"/>
                      </a:lnTo>
                      <a:lnTo>
                        <a:pt x="43" y="280"/>
                      </a:lnTo>
                      <a:lnTo>
                        <a:pt x="44" y="282"/>
                      </a:lnTo>
                      <a:lnTo>
                        <a:pt x="43" y="282"/>
                      </a:lnTo>
                      <a:lnTo>
                        <a:pt x="41" y="282"/>
                      </a:lnTo>
                      <a:lnTo>
                        <a:pt x="39" y="280"/>
                      </a:lnTo>
                      <a:lnTo>
                        <a:pt x="38" y="280"/>
                      </a:lnTo>
                      <a:lnTo>
                        <a:pt x="38" y="282"/>
                      </a:lnTo>
                      <a:lnTo>
                        <a:pt x="38" y="284"/>
                      </a:lnTo>
                      <a:lnTo>
                        <a:pt x="36" y="284"/>
                      </a:lnTo>
                      <a:lnTo>
                        <a:pt x="36" y="282"/>
                      </a:lnTo>
                      <a:lnTo>
                        <a:pt x="34" y="282"/>
                      </a:lnTo>
                      <a:lnTo>
                        <a:pt x="34" y="280"/>
                      </a:lnTo>
                      <a:lnTo>
                        <a:pt x="34" y="279"/>
                      </a:lnTo>
                      <a:lnTo>
                        <a:pt x="32" y="279"/>
                      </a:lnTo>
                      <a:lnTo>
                        <a:pt x="31" y="280"/>
                      </a:lnTo>
                      <a:lnTo>
                        <a:pt x="29" y="280"/>
                      </a:lnTo>
                      <a:lnTo>
                        <a:pt x="27" y="284"/>
                      </a:lnTo>
                      <a:lnTo>
                        <a:pt x="26" y="284"/>
                      </a:lnTo>
                      <a:lnTo>
                        <a:pt x="24" y="282"/>
                      </a:lnTo>
                      <a:lnTo>
                        <a:pt x="24" y="284"/>
                      </a:lnTo>
                      <a:lnTo>
                        <a:pt x="22" y="284"/>
                      </a:lnTo>
                      <a:lnTo>
                        <a:pt x="22" y="285"/>
                      </a:lnTo>
                      <a:lnTo>
                        <a:pt x="22" y="287"/>
                      </a:lnTo>
                      <a:lnTo>
                        <a:pt x="21" y="289"/>
                      </a:lnTo>
                      <a:lnTo>
                        <a:pt x="19" y="289"/>
                      </a:lnTo>
                      <a:lnTo>
                        <a:pt x="19" y="290"/>
                      </a:lnTo>
                      <a:lnTo>
                        <a:pt x="19" y="292"/>
                      </a:lnTo>
                      <a:lnTo>
                        <a:pt x="17" y="290"/>
                      </a:lnTo>
                      <a:lnTo>
                        <a:pt x="17" y="289"/>
                      </a:lnTo>
                      <a:lnTo>
                        <a:pt x="16" y="287"/>
                      </a:lnTo>
                      <a:lnTo>
                        <a:pt x="14" y="285"/>
                      </a:lnTo>
                      <a:lnTo>
                        <a:pt x="12" y="285"/>
                      </a:lnTo>
                      <a:lnTo>
                        <a:pt x="11" y="285"/>
                      </a:lnTo>
                      <a:lnTo>
                        <a:pt x="9" y="285"/>
                      </a:lnTo>
                      <a:lnTo>
                        <a:pt x="9" y="284"/>
                      </a:lnTo>
                      <a:lnTo>
                        <a:pt x="7" y="282"/>
                      </a:lnTo>
                      <a:lnTo>
                        <a:pt x="5" y="282"/>
                      </a:lnTo>
                      <a:lnTo>
                        <a:pt x="4" y="282"/>
                      </a:lnTo>
                      <a:lnTo>
                        <a:pt x="4" y="280"/>
                      </a:lnTo>
                      <a:lnTo>
                        <a:pt x="4" y="279"/>
                      </a:lnTo>
                      <a:lnTo>
                        <a:pt x="4" y="277"/>
                      </a:lnTo>
                      <a:lnTo>
                        <a:pt x="4" y="276"/>
                      </a:lnTo>
                      <a:lnTo>
                        <a:pt x="2" y="274"/>
                      </a:lnTo>
                      <a:lnTo>
                        <a:pt x="4" y="272"/>
                      </a:lnTo>
                      <a:lnTo>
                        <a:pt x="2" y="272"/>
                      </a:lnTo>
                      <a:lnTo>
                        <a:pt x="2" y="271"/>
                      </a:lnTo>
                      <a:lnTo>
                        <a:pt x="0" y="271"/>
                      </a:lnTo>
                      <a:lnTo>
                        <a:pt x="2" y="271"/>
                      </a:lnTo>
                      <a:lnTo>
                        <a:pt x="2" y="269"/>
                      </a:lnTo>
                      <a:lnTo>
                        <a:pt x="4" y="267"/>
                      </a:lnTo>
                      <a:lnTo>
                        <a:pt x="4" y="266"/>
                      </a:lnTo>
                      <a:lnTo>
                        <a:pt x="4" y="264"/>
                      </a:lnTo>
                      <a:lnTo>
                        <a:pt x="5" y="264"/>
                      </a:lnTo>
                      <a:lnTo>
                        <a:pt x="5" y="262"/>
                      </a:lnTo>
                      <a:lnTo>
                        <a:pt x="7" y="262"/>
                      </a:lnTo>
                      <a:lnTo>
                        <a:pt x="7" y="261"/>
                      </a:lnTo>
                      <a:lnTo>
                        <a:pt x="9" y="261"/>
                      </a:lnTo>
                      <a:lnTo>
                        <a:pt x="9" y="259"/>
                      </a:lnTo>
                      <a:lnTo>
                        <a:pt x="11" y="257"/>
                      </a:lnTo>
                      <a:lnTo>
                        <a:pt x="12" y="256"/>
                      </a:lnTo>
                      <a:lnTo>
                        <a:pt x="14" y="254"/>
                      </a:lnTo>
                      <a:lnTo>
                        <a:pt x="14" y="253"/>
                      </a:lnTo>
                      <a:lnTo>
                        <a:pt x="14" y="251"/>
                      </a:lnTo>
                      <a:lnTo>
                        <a:pt x="14" y="249"/>
                      </a:lnTo>
                      <a:lnTo>
                        <a:pt x="16" y="248"/>
                      </a:lnTo>
                      <a:lnTo>
                        <a:pt x="16" y="246"/>
                      </a:lnTo>
                      <a:lnTo>
                        <a:pt x="17" y="246"/>
                      </a:lnTo>
                      <a:lnTo>
                        <a:pt x="17" y="244"/>
                      </a:lnTo>
                      <a:lnTo>
                        <a:pt x="19" y="244"/>
                      </a:lnTo>
                      <a:lnTo>
                        <a:pt x="19" y="243"/>
                      </a:lnTo>
                      <a:lnTo>
                        <a:pt x="19" y="241"/>
                      </a:lnTo>
                      <a:lnTo>
                        <a:pt x="17" y="239"/>
                      </a:lnTo>
                      <a:lnTo>
                        <a:pt x="17" y="238"/>
                      </a:lnTo>
                      <a:lnTo>
                        <a:pt x="16" y="238"/>
                      </a:lnTo>
                      <a:lnTo>
                        <a:pt x="16" y="236"/>
                      </a:lnTo>
                      <a:lnTo>
                        <a:pt x="17" y="236"/>
                      </a:lnTo>
                      <a:lnTo>
                        <a:pt x="17" y="234"/>
                      </a:lnTo>
                      <a:lnTo>
                        <a:pt x="16" y="234"/>
                      </a:lnTo>
                      <a:lnTo>
                        <a:pt x="16" y="233"/>
                      </a:lnTo>
                      <a:lnTo>
                        <a:pt x="16" y="231"/>
                      </a:lnTo>
                      <a:lnTo>
                        <a:pt x="17" y="230"/>
                      </a:lnTo>
                      <a:lnTo>
                        <a:pt x="17" y="228"/>
                      </a:lnTo>
                      <a:lnTo>
                        <a:pt x="17" y="225"/>
                      </a:lnTo>
                      <a:lnTo>
                        <a:pt x="17" y="223"/>
                      </a:lnTo>
                      <a:lnTo>
                        <a:pt x="19" y="221"/>
                      </a:lnTo>
                      <a:lnTo>
                        <a:pt x="21" y="220"/>
                      </a:lnTo>
                      <a:lnTo>
                        <a:pt x="21" y="218"/>
                      </a:lnTo>
                      <a:lnTo>
                        <a:pt x="21" y="216"/>
                      </a:lnTo>
                      <a:lnTo>
                        <a:pt x="21" y="215"/>
                      </a:lnTo>
                      <a:lnTo>
                        <a:pt x="21" y="213"/>
                      </a:lnTo>
                      <a:lnTo>
                        <a:pt x="22" y="211"/>
                      </a:lnTo>
                      <a:lnTo>
                        <a:pt x="22" y="210"/>
                      </a:lnTo>
                      <a:lnTo>
                        <a:pt x="22" y="208"/>
                      </a:lnTo>
                      <a:lnTo>
                        <a:pt x="24" y="207"/>
                      </a:lnTo>
                      <a:lnTo>
                        <a:pt x="26" y="205"/>
                      </a:lnTo>
                      <a:lnTo>
                        <a:pt x="26" y="203"/>
                      </a:lnTo>
                      <a:lnTo>
                        <a:pt x="27" y="202"/>
                      </a:lnTo>
                      <a:lnTo>
                        <a:pt x="27" y="200"/>
                      </a:lnTo>
                      <a:lnTo>
                        <a:pt x="29" y="197"/>
                      </a:lnTo>
                      <a:lnTo>
                        <a:pt x="29" y="195"/>
                      </a:lnTo>
                      <a:lnTo>
                        <a:pt x="29" y="193"/>
                      </a:lnTo>
                      <a:lnTo>
                        <a:pt x="29" y="190"/>
                      </a:lnTo>
                      <a:lnTo>
                        <a:pt x="29" y="188"/>
                      </a:lnTo>
                      <a:lnTo>
                        <a:pt x="29" y="187"/>
                      </a:lnTo>
                      <a:lnTo>
                        <a:pt x="27" y="185"/>
                      </a:lnTo>
                      <a:lnTo>
                        <a:pt x="27" y="184"/>
                      </a:lnTo>
                      <a:lnTo>
                        <a:pt x="27" y="182"/>
                      </a:lnTo>
                      <a:lnTo>
                        <a:pt x="29" y="180"/>
                      </a:lnTo>
                      <a:lnTo>
                        <a:pt x="29" y="179"/>
                      </a:lnTo>
                      <a:lnTo>
                        <a:pt x="31" y="175"/>
                      </a:lnTo>
                      <a:lnTo>
                        <a:pt x="32" y="175"/>
                      </a:lnTo>
                      <a:lnTo>
                        <a:pt x="32" y="174"/>
                      </a:lnTo>
                      <a:lnTo>
                        <a:pt x="34" y="172"/>
                      </a:lnTo>
                      <a:lnTo>
                        <a:pt x="34" y="170"/>
                      </a:lnTo>
                      <a:lnTo>
                        <a:pt x="36" y="170"/>
                      </a:lnTo>
                      <a:lnTo>
                        <a:pt x="36" y="169"/>
                      </a:lnTo>
                      <a:lnTo>
                        <a:pt x="34" y="165"/>
                      </a:lnTo>
                      <a:lnTo>
                        <a:pt x="34" y="164"/>
                      </a:lnTo>
                      <a:lnTo>
                        <a:pt x="32" y="162"/>
                      </a:lnTo>
                      <a:lnTo>
                        <a:pt x="32" y="161"/>
                      </a:lnTo>
                      <a:lnTo>
                        <a:pt x="29" y="159"/>
                      </a:lnTo>
                      <a:lnTo>
                        <a:pt x="29" y="156"/>
                      </a:lnTo>
                      <a:lnTo>
                        <a:pt x="29" y="154"/>
                      </a:lnTo>
                      <a:lnTo>
                        <a:pt x="29" y="152"/>
                      </a:lnTo>
                      <a:lnTo>
                        <a:pt x="27" y="152"/>
                      </a:lnTo>
                      <a:lnTo>
                        <a:pt x="27" y="151"/>
                      </a:lnTo>
                      <a:lnTo>
                        <a:pt x="27" y="149"/>
                      </a:lnTo>
                      <a:lnTo>
                        <a:pt x="27" y="147"/>
                      </a:lnTo>
                      <a:lnTo>
                        <a:pt x="29" y="146"/>
                      </a:lnTo>
                      <a:lnTo>
                        <a:pt x="31" y="146"/>
                      </a:lnTo>
                      <a:lnTo>
                        <a:pt x="31" y="144"/>
                      </a:lnTo>
                      <a:lnTo>
                        <a:pt x="32" y="144"/>
                      </a:lnTo>
                      <a:lnTo>
                        <a:pt x="32" y="142"/>
                      </a:lnTo>
                      <a:lnTo>
                        <a:pt x="34" y="142"/>
                      </a:lnTo>
                      <a:lnTo>
                        <a:pt x="34" y="141"/>
                      </a:lnTo>
                      <a:lnTo>
                        <a:pt x="36" y="141"/>
                      </a:lnTo>
                      <a:lnTo>
                        <a:pt x="38" y="141"/>
                      </a:lnTo>
                      <a:lnTo>
                        <a:pt x="39" y="139"/>
                      </a:lnTo>
                      <a:lnTo>
                        <a:pt x="41" y="138"/>
                      </a:lnTo>
                      <a:lnTo>
                        <a:pt x="43" y="136"/>
                      </a:lnTo>
                      <a:lnTo>
                        <a:pt x="46" y="134"/>
                      </a:lnTo>
                      <a:lnTo>
                        <a:pt x="48" y="134"/>
                      </a:lnTo>
                      <a:lnTo>
                        <a:pt x="49" y="133"/>
                      </a:lnTo>
                      <a:lnTo>
                        <a:pt x="51" y="131"/>
                      </a:lnTo>
                      <a:lnTo>
                        <a:pt x="51" y="128"/>
                      </a:lnTo>
                      <a:lnTo>
                        <a:pt x="53" y="126"/>
                      </a:lnTo>
                      <a:lnTo>
                        <a:pt x="53" y="124"/>
                      </a:lnTo>
                      <a:lnTo>
                        <a:pt x="53" y="123"/>
                      </a:lnTo>
                      <a:lnTo>
                        <a:pt x="51" y="123"/>
                      </a:lnTo>
                      <a:lnTo>
                        <a:pt x="51" y="121"/>
                      </a:lnTo>
                      <a:lnTo>
                        <a:pt x="53" y="121"/>
                      </a:lnTo>
                      <a:lnTo>
                        <a:pt x="53" y="119"/>
                      </a:lnTo>
                      <a:lnTo>
                        <a:pt x="51" y="119"/>
                      </a:lnTo>
                      <a:lnTo>
                        <a:pt x="53" y="118"/>
                      </a:lnTo>
                      <a:lnTo>
                        <a:pt x="53" y="116"/>
                      </a:lnTo>
                      <a:lnTo>
                        <a:pt x="53" y="115"/>
                      </a:lnTo>
                      <a:lnTo>
                        <a:pt x="53" y="113"/>
                      </a:lnTo>
                      <a:lnTo>
                        <a:pt x="54" y="113"/>
                      </a:lnTo>
                      <a:lnTo>
                        <a:pt x="54" y="111"/>
                      </a:lnTo>
                      <a:lnTo>
                        <a:pt x="54" y="110"/>
                      </a:lnTo>
                      <a:lnTo>
                        <a:pt x="54" y="106"/>
                      </a:lnTo>
                      <a:lnTo>
                        <a:pt x="56" y="105"/>
                      </a:lnTo>
                      <a:lnTo>
                        <a:pt x="56" y="103"/>
                      </a:lnTo>
                      <a:lnTo>
                        <a:pt x="58" y="103"/>
                      </a:lnTo>
                      <a:lnTo>
                        <a:pt x="58" y="101"/>
                      </a:lnTo>
                      <a:lnTo>
                        <a:pt x="58" y="100"/>
                      </a:lnTo>
                      <a:lnTo>
                        <a:pt x="58" y="98"/>
                      </a:lnTo>
                      <a:lnTo>
                        <a:pt x="58" y="97"/>
                      </a:lnTo>
                      <a:lnTo>
                        <a:pt x="60" y="95"/>
                      </a:lnTo>
                      <a:lnTo>
                        <a:pt x="60" y="92"/>
                      </a:lnTo>
                      <a:lnTo>
                        <a:pt x="60" y="90"/>
                      </a:lnTo>
                      <a:lnTo>
                        <a:pt x="61" y="88"/>
                      </a:lnTo>
                      <a:lnTo>
                        <a:pt x="61" y="87"/>
                      </a:lnTo>
                      <a:lnTo>
                        <a:pt x="63" y="85"/>
                      </a:lnTo>
                      <a:lnTo>
                        <a:pt x="65" y="85"/>
                      </a:lnTo>
                      <a:lnTo>
                        <a:pt x="66" y="85"/>
                      </a:lnTo>
                      <a:lnTo>
                        <a:pt x="68" y="83"/>
                      </a:lnTo>
                      <a:lnTo>
                        <a:pt x="70" y="83"/>
                      </a:lnTo>
                      <a:lnTo>
                        <a:pt x="71" y="82"/>
                      </a:lnTo>
                      <a:lnTo>
                        <a:pt x="73" y="82"/>
                      </a:lnTo>
                      <a:lnTo>
                        <a:pt x="76" y="80"/>
                      </a:lnTo>
                      <a:lnTo>
                        <a:pt x="78" y="78"/>
                      </a:lnTo>
                      <a:lnTo>
                        <a:pt x="80" y="78"/>
                      </a:lnTo>
                      <a:lnTo>
                        <a:pt x="81" y="78"/>
                      </a:lnTo>
                      <a:lnTo>
                        <a:pt x="81" y="77"/>
                      </a:lnTo>
                      <a:lnTo>
                        <a:pt x="83" y="77"/>
                      </a:lnTo>
                      <a:lnTo>
                        <a:pt x="83" y="75"/>
                      </a:lnTo>
                      <a:lnTo>
                        <a:pt x="85" y="74"/>
                      </a:lnTo>
                      <a:lnTo>
                        <a:pt x="87" y="70"/>
                      </a:lnTo>
                      <a:lnTo>
                        <a:pt x="88" y="69"/>
                      </a:lnTo>
                      <a:lnTo>
                        <a:pt x="88" y="67"/>
                      </a:lnTo>
                      <a:lnTo>
                        <a:pt x="88" y="64"/>
                      </a:lnTo>
                      <a:lnTo>
                        <a:pt x="90" y="62"/>
                      </a:lnTo>
                      <a:lnTo>
                        <a:pt x="90" y="60"/>
                      </a:lnTo>
                      <a:lnTo>
                        <a:pt x="92" y="60"/>
                      </a:lnTo>
                      <a:lnTo>
                        <a:pt x="92" y="59"/>
                      </a:lnTo>
                      <a:lnTo>
                        <a:pt x="92" y="57"/>
                      </a:lnTo>
                      <a:lnTo>
                        <a:pt x="93" y="57"/>
                      </a:lnTo>
                      <a:lnTo>
                        <a:pt x="93" y="55"/>
                      </a:lnTo>
                      <a:lnTo>
                        <a:pt x="95" y="55"/>
                      </a:lnTo>
                      <a:lnTo>
                        <a:pt x="95" y="54"/>
                      </a:lnTo>
                      <a:lnTo>
                        <a:pt x="95" y="51"/>
                      </a:lnTo>
                      <a:lnTo>
                        <a:pt x="95" y="47"/>
                      </a:lnTo>
                      <a:lnTo>
                        <a:pt x="95" y="46"/>
                      </a:lnTo>
                      <a:lnTo>
                        <a:pt x="95" y="44"/>
                      </a:lnTo>
                      <a:lnTo>
                        <a:pt x="97" y="41"/>
                      </a:lnTo>
                      <a:lnTo>
                        <a:pt x="98" y="39"/>
                      </a:lnTo>
                      <a:lnTo>
                        <a:pt x="100" y="39"/>
                      </a:lnTo>
                      <a:lnTo>
                        <a:pt x="102" y="36"/>
                      </a:lnTo>
                      <a:lnTo>
                        <a:pt x="103" y="36"/>
                      </a:lnTo>
                      <a:lnTo>
                        <a:pt x="103" y="34"/>
                      </a:lnTo>
                      <a:lnTo>
                        <a:pt x="105" y="32"/>
                      </a:lnTo>
                      <a:lnTo>
                        <a:pt x="107" y="32"/>
                      </a:lnTo>
                      <a:lnTo>
                        <a:pt x="108" y="31"/>
                      </a:lnTo>
                      <a:lnTo>
                        <a:pt x="110" y="31"/>
                      </a:lnTo>
                      <a:lnTo>
                        <a:pt x="112" y="29"/>
                      </a:lnTo>
                      <a:lnTo>
                        <a:pt x="114" y="29"/>
                      </a:lnTo>
                      <a:lnTo>
                        <a:pt x="115" y="28"/>
                      </a:lnTo>
                      <a:close/>
                    </a:path>
                  </a:pathLst>
                </a:custGeom>
                <a:solidFill>
                  <a:srgbClr val="F79646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9" name="Freeform 7"/>
                <p:cNvSpPr>
                  <a:spLocks noChangeAspect="1" noEditPoints="1"/>
                </p:cNvSpPr>
                <p:nvPr/>
              </p:nvSpPr>
              <p:spPr bwMode="auto">
                <a:xfrm>
                  <a:off x="4255354" y="5279005"/>
                  <a:ext cx="816339" cy="525195"/>
                </a:xfrm>
                <a:custGeom>
                  <a:avLst/>
                  <a:gdLst>
                    <a:gd name="T0" fmla="*/ 2147483647 w 523"/>
                    <a:gd name="T1" fmla="*/ 2147483647 h 312"/>
                    <a:gd name="T2" fmla="*/ 2147483647 w 523"/>
                    <a:gd name="T3" fmla="*/ 2147483647 h 312"/>
                    <a:gd name="T4" fmla="*/ 2147483647 w 523"/>
                    <a:gd name="T5" fmla="*/ 2147483647 h 312"/>
                    <a:gd name="T6" fmla="*/ 2147483647 w 523"/>
                    <a:gd name="T7" fmla="*/ 2147483647 h 312"/>
                    <a:gd name="T8" fmla="*/ 2147483647 w 523"/>
                    <a:gd name="T9" fmla="*/ 2147483647 h 312"/>
                    <a:gd name="T10" fmla="*/ 2147483647 w 523"/>
                    <a:gd name="T11" fmla="*/ 2147483647 h 312"/>
                    <a:gd name="T12" fmla="*/ 2147483647 w 523"/>
                    <a:gd name="T13" fmla="*/ 2147483647 h 312"/>
                    <a:gd name="T14" fmla="*/ 2147483647 w 523"/>
                    <a:gd name="T15" fmla="*/ 2147483647 h 312"/>
                    <a:gd name="T16" fmla="*/ 2147483647 w 523"/>
                    <a:gd name="T17" fmla="*/ 2147483647 h 312"/>
                    <a:gd name="T18" fmla="*/ 2147483647 w 523"/>
                    <a:gd name="T19" fmla="*/ 2147483647 h 312"/>
                    <a:gd name="T20" fmla="*/ 2147483647 w 523"/>
                    <a:gd name="T21" fmla="*/ 2147483647 h 312"/>
                    <a:gd name="T22" fmla="*/ 2147483647 w 523"/>
                    <a:gd name="T23" fmla="*/ 2147483647 h 312"/>
                    <a:gd name="T24" fmla="*/ 2147483647 w 523"/>
                    <a:gd name="T25" fmla="*/ 2147483647 h 312"/>
                    <a:gd name="T26" fmla="*/ 2147483647 w 523"/>
                    <a:gd name="T27" fmla="*/ 2147483647 h 312"/>
                    <a:gd name="T28" fmla="*/ 2147483647 w 523"/>
                    <a:gd name="T29" fmla="*/ 2147483647 h 312"/>
                    <a:gd name="T30" fmla="*/ 2147483647 w 523"/>
                    <a:gd name="T31" fmla="*/ 2147483647 h 312"/>
                    <a:gd name="T32" fmla="*/ 2147483647 w 523"/>
                    <a:gd name="T33" fmla="*/ 2147483647 h 312"/>
                    <a:gd name="T34" fmla="*/ 2147483647 w 523"/>
                    <a:gd name="T35" fmla="*/ 2147483647 h 312"/>
                    <a:gd name="T36" fmla="*/ 2147483647 w 523"/>
                    <a:gd name="T37" fmla="*/ 2147483647 h 312"/>
                    <a:gd name="T38" fmla="*/ 2147483647 w 523"/>
                    <a:gd name="T39" fmla="*/ 2147483647 h 312"/>
                    <a:gd name="T40" fmla="*/ 2147483647 w 523"/>
                    <a:gd name="T41" fmla="*/ 2147483647 h 312"/>
                    <a:gd name="T42" fmla="*/ 2147483647 w 523"/>
                    <a:gd name="T43" fmla="*/ 2147483647 h 312"/>
                    <a:gd name="T44" fmla="*/ 2147483647 w 523"/>
                    <a:gd name="T45" fmla="*/ 2147483647 h 312"/>
                    <a:gd name="T46" fmla="*/ 2147483647 w 523"/>
                    <a:gd name="T47" fmla="*/ 2147483647 h 312"/>
                    <a:gd name="T48" fmla="*/ 2147483647 w 523"/>
                    <a:gd name="T49" fmla="*/ 2147483647 h 312"/>
                    <a:gd name="T50" fmla="*/ 2147483647 w 523"/>
                    <a:gd name="T51" fmla="*/ 2147483647 h 312"/>
                    <a:gd name="T52" fmla="*/ 2147483647 w 523"/>
                    <a:gd name="T53" fmla="*/ 2147483647 h 312"/>
                    <a:gd name="T54" fmla="*/ 2147483647 w 523"/>
                    <a:gd name="T55" fmla="*/ 2147483647 h 312"/>
                    <a:gd name="T56" fmla="*/ 2147483647 w 523"/>
                    <a:gd name="T57" fmla="*/ 2147483647 h 312"/>
                    <a:gd name="T58" fmla="*/ 2147483647 w 523"/>
                    <a:gd name="T59" fmla="*/ 2147483647 h 312"/>
                    <a:gd name="T60" fmla="*/ 2147483647 w 523"/>
                    <a:gd name="T61" fmla="*/ 2147483647 h 312"/>
                    <a:gd name="T62" fmla="*/ 2147483647 w 523"/>
                    <a:gd name="T63" fmla="*/ 2147483647 h 312"/>
                    <a:gd name="T64" fmla="*/ 2147483647 w 523"/>
                    <a:gd name="T65" fmla="*/ 2147483647 h 312"/>
                    <a:gd name="T66" fmla="*/ 2147483647 w 523"/>
                    <a:gd name="T67" fmla="*/ 2147483647 h 312"/>
                    <a:gd name="T68" fmla="*/ 2147483647 w 523"/>
                    <a:gd name="T69" fmla="*/ 2147483647 h 312"/>
                    <a:gd name="T70" fmla="*/ 2147483647 w 523"/>
                    <a:gd name="T71" fmla="*/ 2147483647 h 312"/>
                    <a:gd name="T72" fmla="*/ 2147483647 w 523"/>
                    <a:gd name="T73" fmla="*/ 2147483647 h 312"/>
                    <a:gd name="T74" fmla="*/ 2147483647 w 523"/>
                    <a:gd name="T75" fmla="*/ 2147483647 h 312"/>
                    <a:gd name="T76" fmla="*/ 2147483647 w 523"/>
                    <a:gd name="T77" fmla="*/ 2147483647 h 312"/>
                    <a:gd name="T78" fmla="*/ 2147483647 w 523"/>
                    <a:gd name="T79" fmla="*/ 2147483647 h 312"/>
                    <a:gd name="T80" fmla="*/ 2147483647 w 523"/>
                    <a:gd name="T81" fmla="*/ 2147483647 h 312"/>
                    <a:gd name="T82" fmla="*/ 2147483647 w 523"/>
                    <a:gd name="T83" fmla="*/ 2147483647 h 312"/>
                    <a:gd name="T84" fmla="*/ 2147483647 w 523"/>
                    <a:gd name="T85" fmla="*/ 2147483647 h 312"/>
                    <a:gd name="T86" fmla="*/ 2147483647 w 523"/>
                    <a:gd name="T87" fmla="*/ 2147483647 h 312"/>
                    <a:gd name="T88" fmla="*/ 2147483647 w 523"/>
                    <a:gd name="T89" fmla="*/ 2147483647 h 312"/>
                    <a:gd name="T90" fmla="*/ 2147483647 w 523"/>
                    <a:gd name="T91" fmla="*/ 2147483647 h 312"/>
                    <a:gd name="T92" fmla="*/ 2147483647 w 523"/>
                    <a:gd name="T93" fmla="*/ 2147483647 h 312"/>
                    <a:gd name="T94" fmla="*/ 2147483647 w 523"/>
                    <a:gd name="T95" fmla="*/ 2147483647 h 312"/>
                    <a:gd name="T96" fmla="*/ 2147483647 w 523"/>
                    <a:gd name="T97" fmla="*/ 2147483647 h 312"/>
                    <a:gd name="T98" fmla="*/ 2147483647 w 523"/>
                    <a:gd name="T99" fmla="*/ 2147483647 h 312"/>
                    <a:gd name="T100" fmla="*/ 2147483647 w 523"/>
                    <a:gd name="T101" fmla="*/ 2147483647 h 312"/>
                    <a:gd name="T102" fmla="*/ 2147483647 w 523"/>
                    <a:gd name="T103" fmla="*/ 2147483647 h 312"/>
                    <a:gd name="T104" fmla="*/ 2147483647 w 523"/>
                    <a:gd name="T105" fmla="*/ 2147483647 h 312"/>
                    <a:gd name="T106" fmla="*/ 2147483647 w 523"/>
                    <a:gd name="T107" fmla="*/ 2147483647 h 312"/>
                    <a:gd name="T108" fmla="*/ 2147483647 w 523"/>
                    <a:gd name="T109" fmla="*/ 2147483647 h 312"/>
                    <a:gd name="T110" fmla="*/ 2147483647 w 523"/>
                    <a:gd name="T111" fmla="*/ 2147483647 h 312"/>
                    <a:gd name="T112" fmla="*/ 2147483647 w 523"/>
                    <a:gd name="T113" fmla="*/ 2147483647 h 312"/>
                    <a:gd name="T114" fmla="*/ 2147483647 w 523"/>
                    <a:gd name="T115" fmla="*/ 2147483647 h 312"/>
                    <a:gd name="T116" fmla="*/ 2147483647 w 523"/>
                    <a:gd name="T117" fmla="*/ 2147483647 h 312"/>
                    <a:gd name="T118" fmla="*/ 2147483647 w 523"/>
                    <a:gd name="T119" fmla="*/ 2147483647 h 312"/>
                    <a:gd name="T120" fmla="*/ 2147483647 w 523"/>
                    <a:gd name="T121" fmla="*/ 2147483647 h 312"/>
                    <a:gd name="T122" fmla="*/ 2147483647 w 523"/>
                    <a:gd name="T123" fmla="*/ 2147483647 h 312"/>
                    <a:gd name="T124" fmla="*/ 2147483647 w 523"/>
                    <a:gd name="T125" fmla="*/ 2147483647 h 31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523"/>
                    <a:gd name="T190" fmla="*/ 0 h 312"/>
                    <a:gd name="T191" fmla="*/ 523 w 523"/>
                    <a:gd name="T192" fmla="*/ 312 h 31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523" h="312">
                      <a:moveTo>
                        <a:pt x="437" y="6"/>
                      </a:moveTo>
                      <a:lnTo>
                        <a:pt x="439" y="6"/>
                      </a:lnTo>
                      <a:lnTo>
                        <a:pt x="439" y="4"/>
                      </a:lnTo>
                      <a:lnTo>
                        <a:pt x="441" y="4"/>
                      </a:lnTo>
                      <a:lnTo>
                        <a:pt x="442" y="4"/>
                      </a:lnTo>
                      <a:lnTo>
                        <a:pt x="442" y="3"/>
                      </a:lnTo>
                      <a:lnTo>
                        <a:pt x="444" y="3"/>
                      </a:lnTo>
                      <a:lnTo>
                        <a:pt x="444" y="4"/>
                      </a:lnTo>
                      <a:lnTo>
                        <a:pt x="446" y="4"/>
                      </a:lnTo>
                      <a:lnTo>
                        <a:pt x="447" y="4"/>
                      </a:lnTo>
                      <a:lnTo>
                        <a:pt x="447" y="3"/>
                      </a:lnTo>
                      <a:lnTo>
                        <a:pt x="449" y="4"/>
                      </a:lnTo>
                      <a:lnTo>
                        <a:pt x="449" y="3"/>
                      </a:lnTo>
                      <a:lnTo>
                        <a:pt x="449" y="4"/>
                      </a:lnTo>
                      <a:lnTo>
                        <a:pt x="451" y="4"/>
                      </a:lnTo>
                      <a:lnTo>
                        <a:pt x="451" y="3"/>
                      </a:lnTo>
                      <a:lnTo>
                        <a:pt x="451" y="4"/>
                      </a:lnTo>
                      <a:lnTo>
                        <a:pt x="451" y="3"/>
                      </a:lnTo>
                      <a:lnTo>
                        <a:pt x="452" y="4"/>
                      </a:lnTo>
                      <a:lnTo>
                        <a:pt x="452" y="3"/>
                      </a:lnTo>
                      <a:lnTo>
                        <a:pt x="452" y="4"/>
                      </a:lnTo>
                      <a:lnTo>
                        <a:pt x="454" y="4"/>
                      </a:lnTo>
                      <a:lnTo>
                        <a:pt x="456" y="4"/>
                      </a:lnTo>
                      <a:lnTo>
                        <a:pt x="454" y="4"/>
                      </a:lnTo>
                      <a:lnTo>
                        <a:pt x="456" y="3"/>
                      </a:lnTo>
                      <a:lnTo>
                        <a:pt x="456" y="4"/>
                      </a:lnTo>
                      <a:lnTo>
                        <a:pt x="456" y="3"/>
                      </a:lnTo>
                      <a:lnTo>
                        <a:pt x="456" y="4"/>
                      </a:lnTo>
                      <a:lnTo>
                        <a:pt x="457" y="4"/>
                      </a:lnTo>
                      <a:lnTo>
                        <a:pt x="459" y="4"/>
                      </a:lnTo>
                      <a:lnTo>
                        <a:pt x="461" y="4"/>
                      </a:lnTo>
                      <a:lnTo>
                        <a:pt x="461" y="3"/>
                      </a:lnTo>
                      <a:lnTo>
                        <a:pt x="462" y="3"/>
                      </a:lnTo>
                      <a:lnTo>
                        <a:pt x="462" y="1"/>
                      </a:lnTo>
                      <a:lnTo>
                        <a:pt x="462" y="3"/>
                      </a:lnTo>
                      <a:lnTo>
                        <a:pt x="464" y="3"/>
                      </a:lnTo>
                      <a:lnTo>
                        <a:pt x="462" y="1"/>
                      </a:lnTo>
                      <a:lnTo>
                        <a:pt x="484" y="1"/>
                      </a:lnTo>
                      <a:lnTo>
                        <a:pt x="490" y="1"/>
                      </a:lnTo>
                      <a:lnTo>
                        <a:pt x="491" y="1"/>
                      </a:lnTo>
                      <a:lnTo>
                        <a:pt x="491" y="0"/>
                      </a:lnTo>
                      <a:lnTo>
                        <a:pt x="493" y="0"/>
                      </a:lnTo>
                      <a:lnTo>
                        <a:pt x="495" y="1"/>
                      </a:lnTo>
                      <a:lnTo>
                        <a:pt x="496" y="1"/>
                      </a:lnTo>
                      <a:lnTo>
                        <a:pt x="498" y="1"/>
                      </a:lnTo>
                      <a:lnTo>
                        <a:pt x="496" y="3"/>
                      </a:lnTo>
                      <a:lnTo>
                        <a:pt x="496" y="4"/>
                      </a:lnTo>
                      <a:lnTo>
                        <a:pt x="496" y="8"/>
                      </a:lnTo>
                      <a:lnTo>
                        <a:pt x="496" y="9"/>
                      </a:lnTo>
                      <a:lnTo>
                        <a:pt x="496" y="13"/>
                      </a:lnTo>
                      <a:lnTo>
                        <a:pt x="496" y="14"/>
                      </a:lnTo>
                      <a:lnTo>
                        <a:pt x="498" y="16"/>
                      </a:lnTo>
                      <a:lnTo>
                        <a:pt x="498" y="18"/>
                      </a:lnTo>
                      <a:lnTo>
                        <a:pt x="498" y="19"/>
                      </a:lnTo>
                      <a:lnTo>
                        <a:pt x="500" y="19"/>
                      </a:lnTo>
                      <a:lnTo>
                        <a:pt x="500" y="21"/>
                      </a:lnTo>
                      <a:lnTo>
                        <a:pt x="501" y="19"/>
                      </a:lnTo>
                      <a:lnTo>
                        <a:pt x="503" y="19"/>
                      </a:lnTo>
                      <a:lnTo>
                        <a:pt x="503" y="18"/>
                      </a:lnTo>
                      <a:lnTo>
                        <a:pt x="503" y="19"/>
                      </a:lnTo>
                      <a:lnTo>
                        <a:pt x="505" y="19"/>
                      </a:lnTo>
                      <a:lnTo>
                        <a:pt x="503" y="21"/>
                      </a:lnTo>
                      <a:lnTo>
                        <a:pt x="505" y="23"/>
                      </a:lnTo>
                      <a:lnTo>
                        <a:pt x="505" y="24"/>
                      </a:lnTo>
                      <a:lnTo>
                        <a:pt x="506" y="24"/>
                      </a:lnTo>
                      <a:lnTo>
                        <a:pt x="506" y="23"/>
                      </a:lnTo>
                      <a:lnTo>
                        <a:pt x="506" y="24"/>
                      </a:lnTo>
                      <a:lnTo>
                        <a:pt x="506" y="26"/>
                      </a:lnTo>
                      <a:lnTo>
                        <a:pt x="506" y="24"/>
                      </a:lnTo>
                      <a:lnTo>
                        <a:pt x="506" y="26"/>
                      </a:lnTo>
                      <a:lnTo>
                        <a:pt x="505" y="27"/>
                      </a:lnTo>
                      <a:lnTo>
                        <a:pt x="503" y="31"/>
                      </a:lnTo>
                      <a:lnTo>
                        <a:pt x="501" y="34"/>
                      </a:lnTo>
                      <a:lnTo>
                        <a:pt x="501" y="36"/>
                      </a:lnTo>
                      <a:lnTo>
                        <a:pt x="500" y="37"/>
                      </a:lnTo>
                      <a:lnTo>
                        <a:pt x="498" y="39"/>
                      </a:lnTo>
                      <a:lnTo>
                        <a:pt x="498" y="41"/>
                      </a:lnTo>
                      <a:lnTo>
                        <a:pt x="498" y="42"/>
                      </a:lnTo>
                      <a:lnTo>
                        <a:pt x="496" y="42"/>
                      </a:lnTo>
                      <a:lnTo>
                        <a:pt x="498" y="44"/>
                      </a:lnTo>
                      <a:lnTo>
                        <a:pt x="498" y="46"/>
                      </a:lnTo>
                      <a:lnTo>
                        <a:pt x="496" y="47"/>
                      </a:lnTo>
                      <a:lnTo>
                        <a:pt x="495" y="49"/>
                      </a:lnTo>
                      <a:lnTo>
                        <a:pt x="495" y="50"/>
                      </a:lnTo>
                      <a:lnTo>
                        <a:pt x="493" y="54"/>
                      </a:lnTo>
                      <a:lnTo>
                        <a:pt x="491" y="54"/>
                      </a:lnTo>
                      <a:lnTo>
                        <a:pt x="491" y="55"/>
                      </a:lnTo>
                      <a:lnTo>
                        <a:pt x="491" y="57"/>
                      </a:lnTo>
                      <a:lnTo>
                        <a:pt x="490" y="59"/>
                      </a:lnTo>
                      <a:lnTo>
                        <a:pt x="491" y="59"/>
                      </a:lnTo>
                      <a:lnTo>
                        <a:pt x="490" y="59"/>
                      </a:lnTo>
                      <a:lnTo>
                        <a:pt x="490" y="60"/>
                      </a:lnTo>
                      <a:lnTo>
                        <a:pt x="490" y="62"/>
                      </a:lnTo>
                      <a:lnTo>
                        <a:pt x="490" y="65"/>
                      </a:lnTo>
                      <a:lnTo>
                        <a:pt x="488" y="65"/>
                      </a:lnTo>
                      <a:lnTo>
                        <a:pt x="490" y="67"/>
                      </a:lnTo>
                      <a:lnTo>
                        <a:pt x="490" y="69"/>
                      </a:lnTo>
                      <a:lnTo>
                        <a:pt x="490" y="70"/>
                      </a:lnTo>
                      <a:lnTo>
                        <a:pt x="490" y="72"/>
                      </a:lnTo>
                      <a:lnTo>
                        <a:pt x="490" y="73"/>
                      </a:lnTo>
                      <a:lnTo>
                        <a:pt x="491" y="73"/>
                      </a:lnTo>
                      <a:lnTo>
                        <a:pt x="493" y="73"/>
                      </a:lnTo>
                      <a:lnTo>
                        <a:pt x="493" y="75"/>
                      </a:lnTo>
                      <a:lnTo>
                        <a:pt x="495" y="75"/>
                      </a:lnTo>
                      <a:lnTo>
                        <a:pt x="496" y="75"/>
                      </a:lnTo>
                      <a:lnTo>
                        <a:pt x="496" y="73"/>
                      </a:lnTo>
                      <a:lnTo>
                        <a:pt x="498" y="73"/>
                      </a:lnTo>
                      <a:lnTo>
                        <a:pt x="498" y="75"/>
                      </a:lnTo>
                      <a:lnTo>
                        <a:pt x="498" y="77"/>
                      </a:lnTo>
                      <a:lnTo>
                        <a:pt x="496" y="78"/>
                      </a:lnTo>
                      <a:lnTo>
                        <a:pt x="496" y="80"/>
                      </a:lnTo>
                      <a:lnTo>
                        <a:pt x="496" y="78"/>
                      </a:lnTo>
                      <a:lnTo>
                        <a:pt x="496" y="80"/>
                      </a:lnTo>
                      <a:lnTo>
                        <a:pt x="496" y="78"/>
                      </a:lnTo>
                      <a:lnTo>
                        <a:pt x="495" y="80"/>
                      </a:lnTo>
                      <a:lnTo>
                        <a:pt x="495" y="82"/>
                      </a:lnTo>
                      <a:lnTo>
                        <a:pt x="493" y="82"/>
                      </a:lnTo>
                      <a:lnTo>
                        <a:pt x="493" y="85"/>
                      </a:lnTo>
                      <a:lnTo>
                        <a:pt x="493" y="87"/>
                      </a:lnTo>
                      <a:lnTo>
                        <a:pt x="493" y="88"/>
                      </a:lnTo>
                      <a:lnTo>
                        <a:pt x="495" y="88"/>
                      </a:lnTo>
                      <a:lnTo>
                        <a:pt x="495" y="90"/>
                      </a:lnTo>
                      <a:lnTo>
                        <a:pt x="495" y="92"/>
                      </a:lnTo>
                      <a:lnTo>
                        <a:pt x="495" y="93"/>
                      </a:lnTo>
                      <a:lnTo>
                        <a:pt x="493" y="93"/>
                      </a:lnTo>
                      <a:lnTo>
                        <a:pt x="495" y="93"/>
                      </a:lnTo>
                      <a:lnTo>
                        <a:pt x="495" y="95"/>
                      </a:lnTo>
                      <a:lnTo>
                        <a:pt x="495" y="96"/>
                      </a:lnTo>
                      <a:lnTo>
                        <a:pt x="496" y="96"/>
                      </a:lnTo>
                      <a:lnTo>
                        <a:pt x="496" y="95"/>
                      </a:lnTo>
                      <a:lnTo>
                        <a:pt x="498" y="95"/>
                      </a:lnTo>
                      <a:lnTo>
                        <a:pt x="498" y="96"/>
                      </a:lnTo>
                      <a:lnTo>
                        <a:pt x="500" y="96"/>
                      </a:lnTo>
                      <a:lnTo>
                        <a:pt x="500" y="98"/>
                      </a:lnTo>
                      <a:lnTo>
                        <a:pt x="498" y="98"/>
                      </a:lnTo>
                      <a:lnTo>
                        <a:pt x="500" y="100"/>
                      </a:lnTo>
                      <a:lnTo>
                        <a:pt x="498" y="100"/>
                      </a:lnTo>
                      <a:lnTo>
                        <a:pt x="498" y="101"/>
                      </a:lnTo>
                      <a:lnTo>
                        <a:pt x="498" y="103"/>
                      </a:lnTo>
                      <a:lnTo>
                        <a:pt x="496" y="105"/>
                      </a:lnTo>
                      <a:lnTo>
                        <a:pt x="496" y="106"/>
                      </a:lnTo>
                      <a:lnTo>
                        <a:pt x="498" y="108"/>
                      </a:lnTo>
                      <a:lnTo>
                        <a:pt x="498" y="110"/>
                      </a:lnTo>
                      <a:lnTo>
                        <a:pt x="500" y="110"/>
                      </a:lnTo>
                      <a:lnTo>
                        <a:pt x="501" y="110"/>
                      </a:lnTo>
                      <a:lnTo>
                        <a:pt x="503" y="110"/>
                      </a:lnTo>
                      <a:lnTo>
                        <a:pt x="503" y="108"/>
                      </a:lnTo>
                      <a:lnTo>
                        <a:pt x="505" y="108"/>
                      </a:lnTo>
                      <a:lnTo>
                        <a:pt x="505" y="106"/>
                      </a:lnTo>
                      <a:lnTo>
                        <a:pt x="503" y="108"/>
                      </a:lnTo>
                      <a:lnTo>
                        <a:pt x="503" y="106"/>
                      </a:lnTo>
                      <a:lnTo>
                        <a:pt x="505" y="106"/>
                      </a:lnTo>
                      <a:lnTo>
                        <a:pt x="506" y="106"/>
                      </a:lnTo>
                      <a:lnTo>
                        <a:pt x="505" y="106"/>
                      </a:lnTo>
                      <a:lnTo>
                        <a:pt x="505" y="108"/>
                      </a:lnTo>
                      <a:lnTo>
                        <a:pt x="506" y="108"/>
                      </a:lnTo>
                      <a:lnTo>
                        <a:pt x="506" y="110"/>
                      </a:lnTo>
                      <a:lnTo>
                        <a:pt x="508" y="110"/>
                      </a:lnTo>
                      <a:lnTo>
                        <a:pt x="508" y="108"/>
                      </a:lnTo>
                      <a:lnTo>
                        <a:pt x="508" y="110"/>
                      </a:lnTo>
                      <a:lnTo>
                        <a:pt x="510" y="108"/>
                      </a:lnTo>
                      <a:lnTo>
                        <a:pt x="510" y="110"/>
                      </a:lnTo>
                      <a:lnTo>
                        <a:pt x="508" y="110"/>
                      </a:lnTo>
                      <a:lnTo>
                        <a:pt x="508" y="111"/>
                      </a:lnTo>
                      <a:lnTo>
                        <a:pt x="506" y="111"/>
                      </a:lnTo>
                      <a:lnTo>
                        <a:pt x="506" y="113"/>
                      </a:lnTo>
                      <a:lnTo>
                        <a:pt x="506" y="115"/>
                      </a:lnTo>
                      <a:lnTo>
                        <a:pt x="508" y="115"/>
                      </a:lnTo>
                      <a:lnTo>
                        <a:pt x="506" y="115"/>
                      </a:lnTo>
                      <a:lnTo>
                        <a:pt x="506" y="116"/>
                      </a:lnTo>
                      <a:lnTo>
                        <a:pt x="506" y="115"/>
                      </a:lnTo>
                      <a:lnTo>
                        <a:pt x="506" y="116"/>
                      </a:lnTo>
                      <a:lnTo>
                        <a:pt x="505" y="116"/>
                      </a:lnTo>
                      <a:lnTo>
                        <a:pt x="505" y="115"/>
                      </a:lnTo>
                      <a:lnTo>
                        <a:pt x="506" y="115"/>
                      </a:lnTo>
                      <a:lnTo>
                        <a:pt x="506" y="113"/>
                      </a:lnTo>
                      <a:lnTo>
                        <a:pt x="505" y="113"/>
                      </a:lnTo>
                      <a:lnTo>
                        <a:pt x="503" y="113"/>
                      </a:lnTo>
                      <a:lnTo>
                        <a:pt x="501" y="113"/>
                      </a:lnTo>
                      <a:lnTo>
                        <a:pt x="501" y="115"/>
                      </a:lnTo>
                      <a:lnTo>
                        <a:pt x="501" y="113"/>
                      </a:lnTo>
                      <a:lnTo>
                        <a:pt x="501" y="115"/>
                      </a:lnTo>
                      <a:lnTo>
                        <a:pt x="500" y="115"/>
                      </a:lnTo>
                      <a:lnTo>
                        <a:pt x="498" y="115"/>
                      </a:lnTo>
                      <a:lnTo>
                        <a:pt x="496" y="116"/>
                      </a:lnTo>
                      <a:lnTo>
                        <a:pt x="496" y="118"/>
                      </a:lnTo>
                      <a:lnTo>
                        <a:pt x="495" y="119"/>
                      </a:lnTo>
                      <a:lnTo>
                        <a:pt x="496" y="121"/>
                      </a:lnTo>
                      <a:lnTo>
                        <a:pt x="496" y="123"/>
                      </a:lnTo>
                      <a:lnTo>
                        <a:pt x="496" y="124"/>
                      </a:lnTo>
                      <a:lnTo>
                        <a:pt x="498" y="124"/>
                      </a:lnTo>
                      <a:lnTo>
                        <a:pt x="500" y="124"/>
                      </a:lnTo>
                      <a:lnTo>
                        <a:pt x="501" y="124"/>
                      </a:lnTo>
                      <a:lnTo>
                        <a:pt x="501" y="123"/>
                      </a:lnTo>
                      <a:lnTo>
                        <a:pt x="501" y="124"/>
                      </a:lnTo>
                      <a:lnTo>
                        <a:pt x="501" y="123"/>
                      </a:lnTo>
                      <a:lnTo>
                        <a:pt x="503" y="123"/>
                      </a:lnTo>
                      <a:lnTo>
                        <a:pt x="503" y="124"/>
                      </a:lnTo>
                      <a:lnTo>
                        <a:pt x="503" y="126"/>
                      </a:lnTo>
                      <a:lnTo>
                        <a:pt x="505" y="126"/>
                      </a:lnTo>
                      <a:lnTo>
                        <a:pt x="503" y="126"/>
                      </a:lnTo>
                      <a:lnTo>
                        <a:pt x="503" y="128"/>
                      </a:lnTo>
                      <a:lnTo>
                        <a:pt x="505" y="128"/>
                      </a:lnTo>
                      <a:lnTo>
                        <a:pt x="503" y="128"/>
                      </a:lnTo>
                      <a:lnTo>
                        <a:pt x="503" y="129"/>
                      </a:lnTo>
                      <a:lnTo>
                        <a:pt x="505" y="129"/>
                      </a:lnTo>
                      <a:lnTo>
                        <a:pt x="505" y="131"/>
                      </a:lnTo>
                      <a:lnTo>
                        <a:pt x="503" y="131"/>
                      </a:lnTo>
                      <a:lnTo>
                        <a:pt x="503" y="129"/>
                      </a:lnTo>
                      <a:lnTo>
                        <a:pt x="501" y="129"/>
                      </a:lnTo>
                      <a:lnTo>
                        <a:pt x="501" y="131"/>
                      </a:lnTo>
                      <a:lnTo>
                        <a:pt x="500" y="131"/>
                      </a:lnTo>
                      <a:lnTo>
                        <a:pt x="501" y="131"/>
                      </a:lnTo>
                      <a:lnTo>
                        <a:pt x="500" y="131"/>
                      </a:lnTo>
                      <a:lnTo>
                        <a:pt x="500" y="133"/>
                      </a:lnTo>
                      <a:lnTo>
                        <a:pt x="501" y="133"/>
                      </a:lnTo>
                      <a:lnTo>
                        <a:pt x="500" y="133"/>
                      </a:lnTo>
                      <a:lnTo>
                        <a:pt x="500" y="134"/>
                      </a:lnTo>
                      <a:lnTo>
                        <a:pt x="501" y="134"/>
                      </a:lnTo>
                      <a:lnTo>
                        <a:pt x="500" y="134"/>
                      </a:lnTo>
                      <a:lnTo>
                        <a:pt x="500" y="136"/>
                      </a:lnTo>
                      <a:lnTo>
                        <a:pt x="498" y="136"/>
                      </a:lnTo>
                      <a:lnTo>
                        <a:pt x="498" y="134"/>
                      </a:lnTo>
                      <a:lnTo>
                        <a:pt x="496" y="134"/>
                      </a:lnTo>
                      <a:lnTo>
                        <a:pt x="495" y="134"/>
                      </a:lnTo>
                      <a:lnTo>
                        <a:pt x="495" y="136"/>
                      </a:lnTo>
                      <a:lnTo>
                        <a:pt x="495" y="138"/>
                      </a:lnTo>
                      <a:lnTo>
                        <a:pt x="493" y="138"/>
                      </a:lnTo>
                      <a:lnTo>
                        <a:pt x="493" y="139"/>
                      </a:lnTo>
                      <a:lnTo>
                        <a:pt x="493" y="141"/>
                      </a:lnTo>
                      <a:lnTo>
                        <a:pt x="493" y="142"/>
                      </a:lnTo>
                      <a:lnTo>
                        <a:pt x="495" y="142"/>
                      </a:lnTo>
                      <a:lnTo>
                        <a:pt x="495" y="144"/>
                      </a:lnTo>
                      <a:lnTo>
                        <a:pt x="495" y="146"/>
                      </a:lnTo>
                      <a:lnTo>
                        <a:pt x="496" y="146"/>
                      </a:lnTo>
                      <a:lnTo>
                        <a:pt x="495" y="147"/>
                      </a:lnTo>
                      <a:lnTo>
                        <a:pt x="496" y="147"/>
                      </a:lnTo>
                      <a:lnTo>
                        <a:pt x="496" y="149"/>
                      </a:lnTo>
                      <a:lnTo>
                        <a:pt x="498" y="149"/>
                      </a:lnTo>
                      <a:lnTo>
                        <a:pt x="500" y="149"/>
                      </a:lnTo>
                      <a:lnTo>
                        <a:pt x="500" y="151"/>
                      </a:lnTo>
                      <a:lnTo>
                        <a:pt x="500" y="152"/>
                      </a:lnTo>
                      <a:lnTo>
                        <a:pt x="498" y="152"/>
                      </a:lnTo>
                      <a:lnTo>
                        <a:pt x="496" y="152"/>
                      </a:lnTo>
                      <a:lnTo>
                        <a:pt x="498" y="152"/>
                      </a:lnTo>
                      <a:lnTo>
                        <a:pt x="496" y="152"/>
                      </a:lnTo>
                      <a:lnTo>
                        <a:pt x="498" y="152"/>
                      </a:lnTo>
                      <a:lnTo>
                        <a:pt x="498" y="151"/>
                      </a:lnTo>
                      <a:lnTo>
                        <a:pt x="496" y="151"/>
                      </a:lnTo>
                      <a:lnTo>
                        <a:pt x="495" y="151"/>
                      </a:lnTo>
                      <a:lnTo>
                        <a:pt x="495" y="152"/>
                      </a:lnTo>
                      <a:lnTo>
                        <a:pt x="495" y="154"/>
                      </a:lnTo>
                      <a:lnTo>
                        <a:pt x="493" y="154"/>
                      </a:lnTo>
                      <a:lnTo>
                        <a:pt x="491" y="156"/>
                      </a:lnTo>
                      <a:lnTo>
                        <a:pt x="493" y="156"/>
                      </a:lnTo>
                      <a:lnTo>
                        <a:pt x="493" y="157"/>
                      </a:lnTo>
                      <a:lnTo>
                        <a:pt x="493" y="159"/>
                      </a:lnTo>
                      <a:lnTo>
                        <a:pt x="495" y="159"/>
                      </a:lnTo>
                      <a:lnTo>
                        <a:pt x="493" y="161"/>
                      </a:lnTo>
                      <a:lnTo>
                        <a:pt x="493" y="162"/>
                      </a:lnTo>
                      <a:lnTo>
                        <a:pt x="493" y="164"/>
                      </a:lnTo>
                      <a:lnTo>
                        <a:pt x="495" y="164"/>
                      </a:lnTo>
                      <a:lnTo>
                        <a:pt x="496" y="165"/>
                      </a:lnTo>
                      <a:lnTo>
                        <a:pt x="495" y="165"/>
                      </a:lnTo>
                      <a:lnTo>
                        <a:pt x="496" y="165"/>
                      </a:lnTo>
                      <a:lnTo>
                        <a:pt x="495" y="165"/>
                      </a:lnTo>
                      <a:lnTo>
                        <a:pt x="496" y="167"/>
                      </a:lnTo>
                      <a:lnTo>
                        <a:pt x="495" y="167"/>
                      </a:lnTo>
                      <a:lnTo>
                        <a:pt x="493" y="169"/>
                      </a:lnTo>
                      <a:lnTo>
                        <a:pt x="495" y="169"/>
                      </a:lnTo>
                      <a:lnTo>
                        <a:pt x="495" y="170"/>
                      </a:lnTo>
                      <a:lnTo>
                        <a:pt x="495" y="172"/>
                      </a:lnTo>
                      <a:lnTo>
                        <a:pt x="496" y="172"/>
                      </a:lnTo>
                      <a:lnTo>
                        <a:pt x="498" y="172"/>
                      </a:lnTo>
                      <a:lnTo>
                        <a:pt x="498" y="174"/>
                      </a:lnTo>
                      <a:lnTo>
                        <a:pt x="500" y="174"/>
                      </a:lnTo>
                      <a:lnTo>
                        <a:pt x="498" y="174"/>
                      </a:lnTo>
                      <a:lnTo>
                        <a:pt x="496" y="175"/>
                      </a:lnTo>
                      <a:lnTo>
                        <a:pt x="496" y="177"/>
                      </a:lnTo>
                      <a:lnTo>
                        <a:pt x="498" y="177"/>
                      </a:lnTo>
                      <a:lnTo>
                        <a:pt x="500" y="177"/>
                      </a:lnTo>
                      <a:lnTo>
                        <a:pt x="500" y="179"/>
                      </a:lnTo>
                      <a:lnTo>
                        <a:pt x="498" y="179"/>
                      </a:lnTo>
                      <a:lnTo>
                        <a:pt x="498" y="180"/>
                      </a:lnTo>
                      <a:lnTo>
                        <a:pt x="496" y="180"/>
                      </a:lnTo>
                      <a:lnTo>
                        <a:pt x="495" y="182"/>
                      </a:lnTo>
                      <a:lnTo>
                        <a:pt x="495" y="184"/>
                      </a:lnTo>
                      <a:lnTo>
                        <a:pt x="495" y="185"/>
                      </a:lnTo>
                      <a:lnTo>
                        <a:pt x="495" y="188"/>
                      </a:lnTo>
                      <a:lnTo>
                        <a:pt x="495" y="190"/>
                      </a:lnTo>
                      <a:lnTo>
                        <a:pt x="496" y="190"/>
                      </a:lnTo>
                      <a:lnTo>
                        <a:pt x="496" y="188"/>
                      </a:lnTo>
                      <a:lnTo>
                        <a:pt x="496" y="190"/>
                      </a:lnTo>
                      <a:lnTo>
                        <a:pt x="496" y="192"/>
                      </a:lnTo>
                      <a:lnTo>
                        <a:pt x="496" y="190"/>
                      </a:lnTo>
                      <a:lnTo>
                        <a:pt x="496" y="192"/>
                      </a:lnTo>
                      <a:lnTo>
                        <a:pt x="496" y="193"/>
                      </a:lnTo>
                      <a:lnTo>
                        <a:pt x="495" y="193"/>
                      </a:lnTo>
                      <a:lnTo>
                        <a:pt x="495" y="195"/>
                      </a:lnTo>
                      <a:lnTo>
                        <a:pt x="495" y="197"/>
                      </a:lnTo>
                      <a:lnTo>
                        <a:pt x="493" y="197"/>
                      </a:lnTo>
                      <a:lnTo>
                        <a:pt x="493" y="198"/>
                      </a:lnTo>
                      <a:lnTo>
                        <a:pt x="495" y="198"/>
                      </a:lnTo>
                      <a:lnTo>
                        <a:pt x="493" y="198"/>
                      </a:lnTo>
                      <a:lnTo>
                        <a:pt x="495" y="198"/>
                      </a:lnTo>
                      <a:lnTo>
                        <a:pt x="493" y="198"/>
                      </a:lnTo>
                      <a:lnTo>
                        <a:pt x="493" y="200"/>
                      </a:lnTo>
                      <a:lnTo>
                        <a:pt x="493" y="202"/>
                      </a:lnTo>
                      <a:lnTo>
                        <a:pt x="491" y="202"/>
                      </a:lnTo>
                      <a:lnTo>
                        <a:pt x="491" y="205"/>
                      </a:lnTo>
                      <a:lnTo>
                        <a:pt x="491" y="206"/>
                      </a:lnTo>
                      <a:lnTo>
                        <a:pt x="491" y="208"/>
                      </a:lnTo>
                      <a:lnTo>
                        <a:pt x="491" y="210"/>
                      </a:lnTo>
                      <a:lnTo>
                        <a:pt x="493" y="210"/>
                      </a:lnTo>
                      <a:lnTo>
                        <a:pt x="491" y="208"/>
                      </a:lnTo>
                      <a:lnTo>
                        <a:pt x="493" y="208"/>
                      </a:lnTo>
                      <a:lnTo>
                        <a:pt x="493" y="210"/>
                      </a:lnTo>
                      <a:lnTo>
                        <a:pt x="491" y="210"/>
                      </a:lnTo>
                      <a:lnTo>
                        <a:pt x="490" y="211"/>
                      </a:lnTo>
                      <a:lnTo>
                        <a:pt x="488" y="213"/>
                      </a:lnTo>
                      <a:lnTo>
                        <a:pt x="488" y="215"/>
                      </a:lnTo>
                      <a:lnTo>
                        <a:pt x="486" y="218"/>
                      </a:lnTo>
                      <a:lnTo>
                        <a:pt x="488" y="220"/>
                      </a:lnTo>
                      <a:lnTo>
                        <a:pt x="488" y="218"/>
                      </a:lnTo>
                      <a:lnTo>
                        <a:pt x="488" y="220"/>
                      </a:lnTo>
                      <a:lnTo>
                        <a:pt x="486" y="220"/>
                      </a:lnTo>
                      <a:lnTo>
                        <a:pt x="484" y="221"/>
                      </a:lnTo>
                      <a:lnTo>
                        <a:pt x="483" y="223"/>
                      </a:lnTo>
                      <a:lnTo>
                        <a:pt x="483" y="225"/>
                      </a:lnTo>
                      <a:lnTo>
                        <a:pt x="483" y="226"/>
                      </a:lnTo>
                      <a:lnTo>
                        <a:pt x="484" y="226"/>
                      </a:lnTo>
                      <a:lnTo>
                        <a:pt x="483" y="226"/>
                      </a:lnTo>
                      <a:lnTo>
                        <a:pt x="484" y="226"/>
                      </a:lnTo>
                      <a:lnTo>
                        <a:pt x="483" y="226"/>
                      </a:lnTo>
                      <a:lnTo>
                        <a:pt x="483" y="228"/>
                      </a:lnTo>
                      <a:lnTo>
                        <a:pt x="481" y="229"/>
                      </a:lnTo>
                      <a:lnTo>
                        <a:pt x="481" y="231"/>
                      </a:lnTo>
                      <a:lnTo>
                        <a:pt x="481" y="233"/>
                      </a:lnTo>
                      <a:lnTo>
                        <a:pt x="483" y="233"/>
                      </a:lnTo>
                      <a:lnTo>
                        <a:pt x="483" y="234"/>
                      </a:lnTo>
                      <a:lnTo>
                        <a:pt x="483" y="233"/>
                      </a:lnTo>
                      <a:lnTo>
                        <a:pt x="483" y="234"/>
                      </a:lnTo>
                      <a:lnTo>
                        <a:pt x="481" y="236"/>
                      </a:lnTo>
                      <a:lnTo>
                        <a:pt x="481" y="238"/>
                      </a:lnTo>
                      <a:lnTo>
                        <a:pt x="479" y="238"/>
                      </a:lnTo>
                      <a:lnTo>
                        <a:pt x="479" y="239"/>
                      </a:lnTo>
                      <a:lnTo>
                        <a:pt x="479" y="241"/>
                      </a:lnTo>
                      <a:lnTo>
                        <a:pt x="479" y="239"/>
                      </a:lnTo>
                      <a:lnTo>
                        <a:pt x="478" y="239"/>
                      </a:lnTo>
                      <a:lnTo>
                        <a:pt x="478" y="241"/>
                      </a:lnTo>
                      <a:lnTo>
                        <a:pt x="476" y="243"/>
                      </a:lnTo>
                      <a:lnTo>
                        <a:pt x="476" y="244"/>
                      </a:lnTo>
                      <a:lnTo>
                        <a:pt x="474" y="244"/>
                      </a:lnTo>
                      <a:lnTo>
                        <a:pt x="473" y="244"/>
                      </a:lnTo>
                      <a:lnTo>
                        <a:pt x="468" y="246"/>
                      </a:lnTo>
                      <a:lnTo>
                        <a:pt x="461" y="249"/>
                      </a:lnTo>
                      <a:lnTo>
                        <a:pt x="449" y="257"/>
                      </a:lnTo>
                      <a:lnTo>
                        <a:pt x="444" y="259"/>
                      </a:lnTo>
                      <a:lnTo>
                        <a:pt x="442" y="261"/>
                      </a:lnTo>
                      <a:lnTo>
                        <a:pt x="441" y="262"/>
                      </a:lnTo>
                      <a:lnTo>
                        <a:pt x="439" y="264"/>
                      </a:lnTo>
                      <a:lnTo>
                        <a:pt x="435" y="266"/>
                      </a:lnTo>
                      <a:lnTo>
                        <a:pt x="432" y="269"/>
                      </a:lnTo>
                      <a:lnTo>
                        <a:pt x="429" y="271"/>
                      </a:lnTo>
                      <a:lnTo>
                        <a:pt x="429" y="272"/>
                      </a:lnTo>
                      <a:lnTo>
                        <a:pt x="427" y="272"/>
                      </a:lnTo>
                      <a:lnTo>
                        <a:pt x="425" y="274"/>
                      </a:lnTo>
                      <a:lnTo>
                        <a:pt x="424" y="275"/>
                      </a:lnTo>
                      <a:lnTo>
                        <a:pt x="419" y="279"/>
                      </a:lnTo>
                      <a:lnTo>
                        <a:pt x="419" y="280"/>
                      </a:lnTo>
                      <a:lnTo>
                        <a:pt x="415" y="282"/>
                      </a:lnTo>
                      <a:lnTo>
                        <a:pt x="412" y="287"/>
                      </a:lnTo>
                      <a:lnTo>
                        <a:pt x="410" y="289"/>
                      </a:lnTo>
                      <a:lnTo>
                        <a:pt x="408" y="290"/>
                      </a:lnTo>
                      <a:lnTo>
                        <a:pt x="407" y="292"/>
                      </a:lnTo>
                      <a:lnTo>
                        <a:pt x="405" y="295"/>
                      </a:lnTo>
                      <a:lnTo>
                        <a:pt x="402" y="297"/>
                      </a:lnTo>
                      <a:lnTo>
                        <a:pt x="397" y="303"/>
                      </a:lnTo>
                      <a:lnTo>
                        <a:pt x="392" y="308"/>
                      </a:lnTo>
                      <a:lnTo>
                        <a:pt x="392" y="310"/>
                      </a:lnTo>
                      <a:lnTo>
                        <a:pt x="390" y="310"/>
                      </a:lnTo>
                      <a:lnTo>
                        <a:pt x="388" y="310"/>
                      </a:lnTo>
                      <a:lnTo>
                        <a:pt x="390" y="310"/>
                      </a:lnTo>
                      <a:lnTo>
                        <a:pt x="390" y="308"/>
                      </a:lnTo>
                      <a:lnTo>
                        <a:pt x="388" y="308"/>
                      </a:lnTo>
                      <a:lnTo>
                        <a:pt x="388" y="307"/>
                      </a:lnTo>
                      <a:lnTo>
                        <a:pt x="386" y="308"/>
                      </a:lnTo>
                      <a:lnTo>
                        <a:pt x="385" y="307"/>
                      </a:lnTo>
                      <a:lnTo>
                        <a:pt x="383" y="307"/>
                      </a:lnTo>
                      <a:lnTo>
                        <a:pt x="381" y="307"/>
                      </a:lnTo>
                      <a:lnTo>
                        <a:pt x="381" y="305"/>
                      </a:lnTo>
                      <a:lnTo>
                        <a:pt x="380" y="305"/>
                      </a:lnTo>
                      <a:lnTo>
                        <a:pt x="378" y="305"/>
                      </a:lnTo>
                      <a:lnTo>
                        <a:pt x="380" y="305"/>
                      </a:lnTo>
                      <a:lnTo>
                        <a:pt x="380" y="303"/>
                      </a:lnTo>
                      <a:lnTo>
                        <a:pt x="378" y="303"/>
                      </a:lnTo>
                      <a:lnTo>
                        <a:pt x="378" y="302"/>
                      </a:lnTo>
                      <a:lnTo>
                        <a:pt x="376" y="300"/>
                      </a:lnTo>
                      <a:lnTo>
                        <a:pt x="375" y="300"/>
                      </a:lnTo>
                      <a:lnTo>
                        <a:pt x="373" y="300"/>
                      </a:lnTo>
                      <a:lnTo>
                        <a:pt x="373" y="298"/>
                      </a:lnTo>
                      <a:lnTo>
                        <a:pt x="371" y="298"/>
                      </a:lnTo>
                      <a:lnTo>
                        <a:pt x="370" y="298"/>
                      </a:lnTo>
                      <a:lnTo>
                        <a:pt x="368" y="298"/>
                      </a:lnTo>
                      <a:lnTo>
                        <a:pt x="366" y="298"/>
                      </a:lnTo>
                      <a:lnTo>
                        <a:pt x="366" y="300"/>
                      </a:lnTo>
                      <a:lnTo>
                        <a:pt x="365" y="300"/>
                      </a:lnTo>
                      <a:lnTo>
                        <a:pt x="363" y="300"/>
                      </a:lnTo>
                      <a:lnTo>
                        <a:pt x="363" y="302"/>
                      </a:lnTo>
                      <a:lnTo>
                        <a:pt x="361" y="302"/>
                      </a:lnTo>
                      <a:lnTo>
                        <a:pt x="359" y="302"/>
                      </a:lnTo>
                      <a:lnTo>
                        <a:pt x="358" y="302"/>
                      </a:lnTo>
                      <a:lnTo>
                        <a:pt x="358" y="303"/>
                      </a:lnTo>
                      <a:lnTo>
                        <a:pt x="356" y="303"/>
                      </a:lnTo>
                      <a:lnTo>
                        <a:pt x="354" y="303"/>
                      </a:lnTo>
                      <a:lnTo>
                        <a:pt x="353" y="303"/>
                      </a:lnTo>
                      <a:lnTo>
                        <a:pt x="353" y="305"/>
                      </a:lnTo>
                      <a:lnTo>
                        <a:pt x="354" y="305"/>
                      </a:lnTo>
                      <a:lnTo>
                        <a:pt x="354" y="307"/>
                      </a:lnTo>
                      <a:lnTo>
                        <a:pt x="356" y="307"/>
                      </a:lnTo>
                      <a:lnTo>
                        <a:pt x="356" y="308"/>
                      </a:lnTo>
                      <a:lnTo>
                        <a:pt x="358" y="308"/>
                      </a:lnTo>
                      <a:lnTo>
                        <a:pt x="359" y="308"/>
                      </a:lnTo>
                      <a:lnTo>
                        <a:pt x="359" y="310"/>
                      </a:lnTo>
                      <a:lnTo>
                        <a:pt x="359" y="312"/>
                      </a:lnTo>
                      <a:lnTo>
                        <a:pt x="361" y="312"/>
                      </a:lnTo>
                      <a:lnTo>
                        <a:pt x="359" y="312"/>
                      </a:lnTo>
                      <a:lnTo>
                        <a:pt x="358" y="312"/>
                      </a:lnTo>
                      <a:lnTo>
                        <a:pt x="358" y="310"/>
                      </a:lnTo>
                      <a:lnTo>
                        <a:pt x="359" y="310"/>
                      </a:lnTo>
                      <a:lnTo>
                        <a:pt x="358" y="310"/>
                      </a:lnTo>
                      <a:lnTo>
                        <a:pt x="356" y="310"/>
                      </a:lnTo>
                      <a:lnTo>
                        <a:pt x="356" y="308"/>
                      </a:lnTo>
                      <a:lnTo>
                        <a:pt x="354" y="308"/>
                      </a:lnTo>
                      <a:lnTo>
                        <a:pt x="354" y="307"/>
                      </a:lnTo>
                      <a:lnTo>
                        <a:pt x="353" y="307"/>
                      </a:lnTo>
                      <a:lnTo>
                        <a:pt x="353" y="305"/>
                      </a:lnTo>
                      <a:lnTo>
                        <a:pt x="351" y="307"/>
                      </a:lnTo>
                      <a:lnTo>
                        <a:pt x="353" y="307"/>
                      </a:lnTo>
                      <a:lnTo>
                        <a:pt x="351" y="307"/>
                      </a:lnTo>
                      <a:lnTo>
                        <a:pt x="353" y="307"/>
                      </a:lnTo>
                      <a:lnTo>
                        <a:pt x="353" y="308"/>
                      </a:lnTo>
                      <a:lnTo>
                        <a:pt x="351" y="308"/>
                      </a:lnTo>
                      <a:lnTo>
                        <a:pt x="353" y="308"/>
                      </a:lnTo>
                      <a:lnTo>
                        <a:pt x="351" y="308"/>
                      </a:lnTo>
                      <a:lnTo>
                        <a:pt x="351" y="307"/>
                      </a:lnTo>
                      <a:lnTo>
                        <a:pt x="349" y="307"/>
                      </a:lnTo>
                      <a:lnTo>
                        <a:pt x="349" y="305"/>
                      </a:lnTo>
                      <a:lnTo>
                        <a:pt x="351" y="305"/>
                      </a:lnTo>
                      <a:lnTo>
                        <a:pt x="349" y="305"/>
                      </a:lnTo>
                      <a:lnTo>
                        <a:pt x="351" y="303"/>
                      </a:lnTo>
                      <a:lnTo>
                        <a:pt x="349" y="303"/>
                      </a:lnTo>
                      <a:lnTo>
                        <a:pt x="348" y="303"/>
                      </a:lnTo>
                      <a:lnTo>
                        <a:pt x="349" y="303"/>
                      </a:lnTo>
                      <a:lnTo>
                        <a:pt x="349" y="302"/>
                      </a:lnTo>
                      <a:lnTo>
                        <a:pt x="351" y="302"/>
                      </a:lnTo>
                      <a:lnTo>
                        <a:pt x="349" y="302"/>
                      </a:lnTo>
                      <a:lnTo>
                        <a:pt x="351" y="300"/>
                      </a:lnTo>
                      <a:lnTo>
                        <a:pt x="349" y="300"/>
                      </a:lnTo>
                      <a:lnTo>
                        <a:pt x="351" y="300"/>
                      </a:lnTo>
                      <a:lnTo>
                        <a:pt x="349" y="300"/>
                      </a:lnTo>
                      <a:lnTo>
                        <a:pt x="351" y="300"/>
                      </a:lnTo>
                      <a:lnTo>
                        <a:pt x="351" y="298"/>
                      </a:lnTo>
                      <a:lnTo>
                        <a:pt x="349" y="298"/>
                      </a:lnTo>
                      <a:lnTo>
                        <a:pt x="351" y="298"/>
                      </a:lnTo>
                      <a:lnTo>
                        <a:pt x="351" y="297"/>
                      </a:lnTo>
                      <a:lnTo>
                        <a:pt x="351" y="298"/>
                      </a:lnTo>
                      <a:lnTo>
                        <a:pt x="353" y="298"/>
                      </a:lnTo>
                      <a:lnTo>
                        <a:pt x="354" y="298"/>
                      </a:lnTo>
                      <a:lnTo>
                        <a:pt x="353" y="298"/>
                      </a:lnTo>
                      <a:lnTo>
                        <a:pt x="354" y="298"/>
                      </a:lnTo>
                      <a:lnTo>
                        <a:pt x="354" y="300"/>
                      </a:lnTo>
                      <a:lnTo>
                        <a:pt x="356" y="300"/>
                      </a:lnTo>
                      <a:lnTo>
                        <a:pt x="354" y="300"/>
                      </a:lnTo>
                      <a:lnTo>
                        <a:pt x="354" y="302"/>
                      </a:lnTo>
                      <a:lnTo>
                        <a:pt x="354" y="300"/>
                      </a:lnTo>
                      <a:lnTo>
                        <a:pt x="356" y="300"/>
                      </a:lnTo>
                      <a:lnTo>
                        <a:pt x="354" y="302"/>
                      </a:lnTo>
                      <a:lnTo>
                        <a:pt x="356" y="302"/>
                      </a:lnTo>
                      <a:lnTo>
                        <a:pt x="356" y="300"/>
                      </a:lnTo>
                      <a:lnTo>
                        <a:pt x="356" y="298"/>
                      </a:lnTo>
                      <a:lnTo>
                        <a:pt x="354" y="298"/>
                      </a:lnTo>
                      <a:lnTo>
                        <a:pt x="356" y="298"/>
                      </a:lnTo>
                      <a:lnTo>
                        <a:pt x="354" y="298"/>
                      </a:lnTo>
                      <a:lnTo>
                        <a:pt x="356" y="298"/>
                      </a:lnTo>
                      <a:lnTo>
                        <a:pt x="356" y="297"/>
                      </a:lnTo>
                      <a:lnTo>
                        <a:pt x="354" y="297"/>
                      </a:lnTo>
                      <a:lnTo>
                        <a:pt x="356" y="297"/>
                      </a:lnTo>
                      <a:lnTo>
                        <a:pt x="354" y="297"/>
                      </a:lnTo>
                      <a:lnTo>
                        <a:pt x="356" y="297"/>
                      </a:lnTo>
                      <a:lnTo>
                        <a:pt x="354" y="297"/>
                      </a:lnTo>
                      <a:lnTo>
                        <a:pt x="354" y="295"/>
                      </a:lnTo>
                      <a:lnTo>
                        <a:pt x="356" y="295"/>
                      </a:lnTo>
                      <a:lnTo>
                        <a:pt x="356" y="297"/>
                      </a:lnTo>
                      <a:lnTo>
                        <a:pt x="358" y="297"/>
                      </a:lnTo>
                      <a:lnTo>
                        <a:pt x="356" y="297"/>
                      </a:lnTo>
                      <a:lnTo>
                        <a:pt x="358" y="297"/>
                      </a:lnTo>
                      <a:lnTo>
                        <a:pt x="359" y="297"/>
                      </a:lnTo>
                      <a:lnTo>
                        <a:pt x="361" y="297"/>
                      </a:lnTo>
                      <a:lnTo>
                        <a:pt x="363" y="297"/>
                      </a:lnTo>
                      <a:lnTo>
                        <a:pt x="363" y="295"/>
                      </a:lnTo>
                      <a:lnTo>
                        <a:pt x="361" y="295"/>
                      </a:lnTo>
                      <a:lnTo>
                        <a:pt x="363" y="295"/>
                      </a:lnTo>
                      <a:lnTo>
                        <a:pt x="363" y="294"/>
                      </a:lnTo>
                      <a:lnTo>
                        <a:pt x="365" y="294"/>
                      </a:lnTo>
                      <a:lnTo>
                        <a:pt x="363" y="294"/>
                      </a:lnTo>
                      <a:lnTo>
                        <a:pt x="363" y="292"/>
                      </a:lnTo>
                      <a:lnTo>
                        <a:pt x="365" y="292"/>
                      </a:lnTo>
                      <a:lnTo>
                        <a:pt x="366" y="292"/>
                      </a:lnTo>
                      <a:lnTo>
                        <a:pt x="365" y="292"/>
                      </a:lnTo>
                      <a:lnTo>
                        <a:pt x="365" y="290"/>
                      </a:lnTo>
                      <a:lnTo>
                        <a:pt x="366" y="290"/>
                      </a:lnTo>
                      <a:lnTo>
                        <a:pt x="368" y="290"/>
                      </a:lnTo>
                      <a:lnTo>
                        <a:pt x="366" y="289"/>
                      </a:lnTo>
                      <a:lnTo>
                        <a:pt x="368" y="289"/>
                      </a:lnTo>
                      <a:lnTo>
                        <a:pt x="368" y="287"/>
                      </a:lnTo>
                      <a:lnTo>
                        <a:pt x="368" y="285"/>
                      </a:lnTo>
                      <a:lnTo>
                        <a:pt x="370" y="285"/>
                      </a:lnTo>
                      <a:lnTo>
                        <a:pt x="368" y="285"/>
                      </a:lnTo>
                      <a:lnTo>
                        <a:pt x="368" y="287"/>
                      </a:lnTo>
                      <a:lnTo>
                        <a:pt x="368" y="285"/>
                      </a:lnTo>
                      <a:lnTo>
                        <a:pt x="366" y="287"/>
                      </a:lnTo>
                      <a:lnTo>
                        <a:pt x="365" y="287"/>
                      </a:lnTo>
                      <a:lnTo>
                        <a:pt x="363" y="287"/>
                      </a:lnTo>
                      <a:lnTo>
                        <a:pt x="365" y="287"/>
                      </a:lnTo>
                      <a:lnTo>
                        <a:pt x="365" y="285"/>
                      </a:lnTo>
                      <a:lnTo>
                        <a:pt x="366" y="285"/>
                      </a:lnTo>
                      <a:lnTo>
                        <a:pt x="368" y="285"/>
                      </a:lnTo>
                      <a:lnTo>
                        <a:pt x="368" y="284"/>
                      </a:lnTo>
                      <a:lnTo>
                        <a:pt x="370" y="282"/>
                      </a:lnTo>
                      <a:lnTo>
                        <a:pt x="368" y="282"/>
                      </a:lnTo>
                      <a:lnTo>
                        <a:pt x="368" y="280"/>
                      </a:lnTo>
                      <a:lnTo>
                        <a:pt x="370" y="279"/>
                      </a:lnTo>
                      <a:lnTo>
                        <a:pt x="370" y="277"/>
                      </a:lnTo>
                      <a:lnTo>
                        <a:pt x="370" y="279"/>
                      </a:lnTo>
                      <a:lnTo>
                        <a:pt x="371" y="277"/>
                      </a:lnTo>
                      <a:lnTo>
                        <a:pt x="371" y="279"/>
                      </a:lnTo>
                      <a:lnTo>
                        <a:pt x="371" y="277"/>
                      </a:lnTo>
                      <a:lnTo>
                        <a:pt x="371" y="275"/>
                      </a:lnTo>
                      <a:lnTo>
                        <a:pt x="370" y="277"/>
                      </a:lnTo>
                      <a:lnTo>
                        <a:pt x="370" y="275"/>
                      </a:lnTo>
                      <a:lnTo>
                        <a:pt x="368" y="275"/>
                      </a:lnTo>
                      <a:lnTo>
                        <a:pt x="368" y="277"/>
                      </a:lnTo>
                      <a:lnTo>
                        <a:pt x="368" y="275"/>
                      </a:lnTo>
                      <a:lnTo>
                        <a:pt x="368" y="274"/>
                      </a:lnTo>
                      <a:lnTo>
                        <a:pt x="370" y="274"/>
                      </a:lnTo>
                      <a:lnTo>
                        <a:pt x="370" y="272"/>
                      </a:lnTo>
                      <a:lnTo>
                        <a:pt x="368" y="272"/>
                      </a:lnTo>
                      <a:lnTo>
                        <a:pt x="368" y="274"/>
                      </a:lnTo>
                      <a:lnTo>
                        <a:pt x="368" y="272"/>
                      </a:lnTo>
                      <a:lnTo>
                        <a:pt x="368" y="271"/>
                      </a:lnTo>
                      <a:lnTo>
                        <a:pt x="370" y="271"/>
                      </a:lnTo>
                      <a:lnTo>
                        <a:pt x="368" y="271"/>
                      </a:lnTo>
                      <a:lnTo>
                        <a:pt x="370" y="269"/>
                      </a:lnTo>
                      <a:lnTo>
                        <a:pt x="371" y="269"/>
                      </a:lnTo>
                      <a:lnTo>
                        <a:pt x="371" y="267"/>
                      </a:lnTo>
                      <a:lnTo>
                        <a:pt x="370" y="267"/>
                      </a:lnTo>
                      <a:lnTo>
                        <a:pt x="370" y="269"/>
                      </a:lnTo>
                      <a:lnTo>
                        <a:pt x="368" y="269"/>
                      </a:lnTo>
                      <a:lnTo>
                        <a:pt x="370" y="269"/>
                      </a:lnTo>
                      <a:lnTo>
                        <a:pt x="368" y="269"/>
                      </a:lnTo>
                      <a:lnTo>
                        <a:pt x="368" y="267"/>
                      </a:lnTo>
                      <a:lnTo>
                        <a:pt x="370" y="267"/>
                      </a:lnTo>
                      <a:lnTo>
                        <a:pt x="368" y="267"/>
                      </a:lnTo>
                      <a:lnTo>
                        <a:pt x="368" y="269"/>
                      </a:lnTo>
                      <a:lnTo>
                        <a:pt x="366" y="269"/>
                      </a:lnTo>
                      <a:lnTo>
                        <a:pt x="368" y="267"/>
                      </a:lnTo>
                      <a:lnTo>
                        <a:pt x="368" y="266"/>
                      </a:lnTo>
                      <a:lnTo>
                        <a:pt x="370" y="266"/>
                      </a:lnTo>
                      <a:lnTo>
                        <a:pt x="368" y="266"/>
                      </a:lnTo>
                      <a:lnTo>
                        <a:pt x="368" y="264"/>
                      </a:lnTo>
                      <a:lnTo>
                        <a:pt x="368" y="262"/>
                      </a:lnTo>
                      <a:lnTo>
                        <a:pt x="368" y="261"/>
                      </a:lnTo>
                      <a:lnTo>
                        <a:pt x="370" y="262"/>
                      </a:lnTo>
                      <a:lnTo>
                        <a:pt x="370" y="261"/>
                      </a:lnTo>
                      <a:lnTo>
                        <a:pt x="368" y="261"/>
                      </a:lnTo>
                      <a:lnTo>
                        <a:pt x="368" y="259"/>
                      </a:lnTo>
                      <a:lnTo>
                        <a:pt x="368" y="257"/>
                      </a:lnTo>
                      <a:lnTo>
                        <a:pt x="370" y="257"/>
                      </a:lnTo>
                      <a:lnTo>
                        <a:pt x="368" y="257"/>
                      </a:lnTo>
                      <a:lnTo>
                        <a:pt x="370" y="257"/>
                      </a:lnTo>
                      <a:lnTo>
                        <a:pt x="371" y="257"/>
                      </a:lnTo>
                      <a:lnTo>
                        <a:pt x="371" y="256"/>
                      </a:lnTo>
                      <a:lnTo>
                        <a:pt x="370" y="254"/>
                      </a:lnTo>
                      <a:lnTo>
                        <a:pt x="371" y="254"/>
                      </a:lnTo>
                      <a:lnTo>
                        <a:pt x="373" y="254"/>
                      </a:lnTo>
                      <a:lnTo>
                        <a:pt x="373" y="252"/>
                      </a:lnTo>
                      <a:lnTo>
                        <a:pt x="373" y="254"/>
                      </a:lnTo>
                      <a:lnTo>
                        <a:pt x="375" y="254"/>
                      </a:lnTo>
                      <a:lnTo>
                        <a:pt x="375" y="256"/>
                      </a:lnTo>
                      <a:lnTo>
                        <a:pt x="376" y="256"/>
                      </a:lnTo>
                      <a:lnTo>
                        <a:pt x="375" y="256"/>
                      </a:lnTo>
                      <a:lnTo>
                        <a:pt x="376" y="254"/>
                      </a:lnTo>
                      <a:lnTo>
                        <a:pt x="376" y="252"/>
                      </a:lnTo>
                      <a:lnTo>
                        <a:pt x="378" y="252"/>
                      </a:lnTo>
                      <a:lnTo>
                        <a:pt x="380" y="252"/>
                      </a:lnTo>
                      <a:lnTo>
                        <a:pt x="380" y="254"/>
                      </a:lnTo>
                      <a:lnTo>
                        <a:pt x="380" y="252"/>
                      </a:lnTo>
                      <a:lnTo>
                        <a:pt x="380" y="251"/>
                      </a:lnTo>
                      <a:lnTo>
                        <a:pt x="381" y="251"/>
                      </a:lnTo>
                      <a:lnTo>
                        <a:pt x="380" y="251"/>
                      </a:lnTo>
                      <a:lnTo>
                        <a:pt x="380" y="249"/>
                      </a:lnTo>
                      <a:lnTo>
                        <a:pt x="381" y="249"/>
                      </a:lnTo>
                      <a:lnTo>
                        <a:pt x="381" y="248"/>
                      </a:lnTo>
                      <a:lnTo>
                        <a:pt x="381" y="246"/>
                      </a:lnTo>
                      <a:lnTo>
                        <a:pt x="383" y="246"/>
                      </a:lnTo>
                      <a:lnTo>
                        <a:pt x="383" y="244"/>
                      </a:lnTo>
                      <a:lnTo>
                        <a:pt x="385" y="244"/>
                      </a:lnTo>
                      <a:lnTo>
                        <a:pt x="385" y="246"/>
                      </a:lnTo>
                      <a:lnTo>
                        <a:pt x="386" y="246"/>
                      </a:lnTo>
                      <a:lnTo>
                        <a:pt x="386" y="244"/>
                      </a:lnTo>
                      <a:lnTo>
                        <a:pt x="388" y="246"/>
                      </a:lnTo>
                      <a:lnTo>
                        <a:pt x="386" y="246"/>
                      </a:lnTo>
                      <a:lnTo>
                        <a:pt x="388" y="246"/>
                      </a:lnTo>
                      <a:lnTo>
                        <a:pt x="390" y="246"/>
                      </a:lnTo>
                      <a:lnTo>
                        <a:pt x="392" y="246"/>
                      </a:lnTo>
                      <a:lnTo>
                        <a:pt x="393" y="246"/>
                      </a:lnTo>
                      <a:lnTo>
                        <a:pt x="393" y="244"/>
                      </a:lnTo>
                      <a:lnTo>
                        <a:pt x="392" y="243"/>
                      </a:lnTo>
                      <a:lnTo>
                        <a:pt x="392" y="241"/>
                      </a:lnTo>
                      <a:lnTo>
                        <a:pt x="390" y="241"/>
                      </a:lnTo>
                      <a:lnTo>
                        <a:pt x="390" y="239"/>
                      </a:lnTo>
                      <a:lnTo>
                        <a:pt x="390" y="238"/>
                      </a:lnTo>
                      <a:lnTo>
                        <a:pt x="388" y="238"/>
                      </a:lnTo>
                      <a:lnTo>
                        <a:pt x="390" y="236"/>
                      </a:lnTo>
                      <a:lnTo>
                        <a:pt x="390" y="234"/>
                      </a:lnTo>
                      <a:lnTo>
                        <a:pt x="388" y="234"/>
                      </a:lnTo>
                      <a:lnTo>
                        <a:pt x="388" y="233"/>
                      </a:lnTo>
                      <a:lnTo>
                        <a:pt x="386" y="234"/>
                      </a:lnTo>
                      <a:lnTo>
                        <a:pt x="386" y="233"/>
                      </a:lnTo>
                      <a:lnTo>
                        <a:pt x="386" y="231"/>
                      </a:lnTo>
                      <a:lnTo>
                        <a:pt x="386" y="229"/>
                      </a:lnTo>
                      <a:lnTo>
                        <a:pt x="386" y="231"/>
                      </a:lnTo>
                      <a:lnTo>
                        <a:pt x="385" y="231"/>
                      </a:lnTo>
                      <a:lnTo>
                        <a:pt x="385" y="233"/>
                      </a:lnTo>
                      <a:lnTo>
                        <a:pt x="383" y="233"/>
                      </a:lnTo>
                      <a:lnTo>
                        <a:pt x="383" y="231"/>
                      </a:lnTo>
                      <a:lnTo>
                        <a:pt x="381" y="231"/>
                      </a:lnTo>
                      <a:lnTo>
                        <a:pt x="381" y="233"/>
                      </a:lnTo>
                      <a:lnTo>
                        <a:pt x="381" y="231"/>
                      </a:lnTo>
                      <a:lnTo>
                        <a:pt x="380" y="233"/>
                      </a:lnTo>
                      <a:lnTo>
                        <a:pt x="378" y="233"/>
                      </a:lnTo>
                      <a:lnTo>
                        <a:pt x="376" y="233"/>
                      </a:lnTo>
                      <a:lnTo>
                        <a:pt x="376" y="231"/>
                      </a:lnTo>
                      <a:lnTo>
                        <a:pt x="376" y="229"/>
                      </a:lnTo>
                      <a:lnTo>
                        <a:pt x="378" y="229"/>
                      </a:lnTo>
                      <a:lnTo>
                        <a:pt x="378" y="228"/>
                      </a:lnTo>
                      <a:lnTo>
                        <a:pt x="376" y="228"/>
                      </a:lnTo>
                      <a:lnTo>
                        <a:pt x="376" y="229"/>
                      </a:lnTo>
                      <a:lnTo>
                        <a:pt x="375" y="229"/>
                      </a:lnTo>
                      <a:lnTo>
                        <a:pt x="375" y="228"/>
                      </a:lnTo>
                      <a:lnTo>
                        <a:pt x="375" y="229"/>
                      </a:lnTo>
                      <a:lnTo>
                        <a:pt x="373" y="231"/>
                      </a:lnTo>
                      <a:lnTo>
                        <a:pt x="373" y="229"/>
                      </a:lnTo>
                      <a:lnTo>
                        <a:pt x="371" y="229"/>
                      </a:lnTo>
                      <a:lnTo>
                        <a:pt x="370" y="229"/>
                      </a:lnTo>
                      <a:lnTo>
                        <a:pt x="371" y="231"/>
                      </a:lnTo>
                      <a:lnTo>
                        <a:pt x="370" y="231"/>
                      </a:lnTo>
                      <a:lnTo>
                        <a:pt x="370" y="233"/>
                      </a:lnTo>
                      <a:lnTo>
                        <a:pt x="370" y="231"/>
                      </a:lnTo>
                      <a:lnTo>
                        <a:pt x="370" y="229"/>
                      </a:lnTo>
                      <a:lnTo>
                        <a:pt x="368" y="229"/>
                      </a:lnTo>
                      <a:lnTo>
                        <a:pt x="366" y="228"/>
                      </a:lnTo>
                      <a:lnTo>
                        <a:pt x="365" y="229"/>
                      </a:lnTo>
                      <a:lnTo>
                        <a:pt x="366" y="229"/>
                      </a:lnTo>
                      <a:lnTo>
                        <a:pt x="365" y="229"/>
                      </a:lnTo>
                      <a:lnTo>
                        <a:pt x="363" y="229"/>
                      </a:lnTo>
                      <a:lnTo>
                        <a:pt x="361" y="229"/>
                      </a:lnTo>
                      <a:lnTo>
                        <a:pt x="361" y="231"/>
                      </a:lnTo>
                      <a:lnTo>
                        <a:pt x="359" y="231"/>
                      </a:lnTo>
                      <a:lnTo>
                        <a:pt x="358" y="231"/>
                      </a:lnTo>
                      <a:lnTo>
                        <a:pt x="356" y="231"/>
                      </a:lnTo>
                      <a:lnTo>
                        <a:pt x="354" y="233"/>
                      </a:lnTo>
                      <a:lnTo>
                        <a:pt x="354" y="231"/>
                      </a:lnTo>
                      <a:lnTo>
                        <a:pt x="353" y="231"/>
                      </a:lnTo>
                      <a:lnTo>
                        <a:pt x="353" y="229"/>
                      </a:lnTo>
                      <a:lnTo>
                        <a:pt x="354" y="229"/>
                      </a:lnTo>
                      <a:lnTo>
                        <a:pt x="354" y="228"/>
                      </a:lnTo>
                      <a:lnTo>
                        <a:pt x="353" y="228"/>
                      </a:lnTo>
                      <a:lnTo>
                        <a:pt x="351" y="228"/>
                      </a:lnTo>
                      <a:lnTo>
                        <a:pt x="353" y="228"/>
                      </a:lnTo>
                      <a:lnTo>
                        <a:pt x="351" y="228"/>
                      </a:lnTo>
                      <a:lnTo>
                        <a:pt x="351" y="229"/>
                      </a:lnTo>
                      <a:lnTo>
                        <a:pt x="349" y="229"/>
                      </a:lnTo>
                      <a:lnTo>
                        <a:pt x="349" y="231"/>
                      </a:lnTo>
                      <a:lnTo>
                        <a:pt x="351" y="231"/>
                      </a:lnTo>
                      <a:lnTo>
                        <a:pt x="351" y="233"/>
                      </a:lnTo>
                      <a:lnTo>
                        <a:pt x="349" y="233"/>
                      </a:lnTo>
                      <a:lnTo>
                        <a:pt x="349" y="231"/>
                      </a:lnTo>
                      <a:lnTo>
                        <a:pt x="348" y="231"/>
                      </a:lnTo>
                      <a:lnTo>
                        <a:pt x="348" y="229"/>
                      </a:lnTo>
                      <a:lnTo>
                        <a:pt x="346" y="229"/>
                      </a:lnTo>
                      <a:lnTo>
                        <a:pt x="344" y="228"/>
                      </a:lnTo>
                      <a:lnTo>
                        <a:pt x="344" y="229"/>
                      </a:lnTo>
                      <a:lnTo>
                        <a:pt x="343" y="231"/>
                      </a:lnTo>
                      <a:lnTo>
                        <a:pt x="343" y="229"/>
                      </a:lnTo>
                      <a:lnTo>
                        <a:pt x="341" y="229"/>
                      </a:lnTo>
                      <a:lnTo>
                        <a:pt x="341" y="228"/>
                      </a:lnTo>
                      <a:lnTo>
                        <a:pt x="339" y="228"/>
                      </a:lnTo>
                      <a:lnTo>
                        <a:pt x="339" y="229"/>
                      </a:lnTo>
                      <a:lnTo>
                        <a:pt x="341" y="229"/>
                      </a:lnTo>
                      <a:lnTo>
                        <a:pt x="339" y="229"/>
                      </a:lnTo>
                      <a:lnTo>
                        <a:pt x="336" y="229"/>
                      </a:lnTo>
                      <a:lnTo>
                        <a:pt x="336" y="228"/>
                      </a:lnTo>
                      <a:lnTo>
                        <a:pt x="334" y="228"/>
                      </a:lnTo>
                      <a:lnTo>
                        <a:pt x="332" y="228"/>
                      </a:lnTo>
                      <a:lnTo>
                        <a:pt x="332" y="229"/>
                      </a:lnTo>
                      <a:lnTo>
                        <a:pt x="331" y="231"/>
                      </a:lnTo>
                      <a:lnTo>
                        <a:pt x="331" y="229"/>
                      </a:lnTo>
                      <a:lnTo>
                        <a:pt x="331" y="228"/>
                      </a:lnTo>
                      <a:lnTo>
                        <a:pt x="331" y="226"/>
                      </a:lnTo>
                      <a:lnTo>
                        <a:pt x="329" y="226"/>
                      </a:lnTo>
                      <a:lnTo>
                        <a:pt x="329" y="228"/>
                      </a:lnTo>
                      <a:lnTo>
                        <a:pt x="329" y="229"/>
                      </a:lnTo>
                      <a:lnTo>
                        <a:pt x="327" y="229"/>
                      </a:lnTo>
                      <a:lnTo>
                        <a:pt x="327" y="228"/>
                      </a:lnTo>
                      <a:lnTo>
                        <a:pt x="326" y="228"/>
                      </a:lnTo>
                      <a:lnTo>
                        <a:pt x="324" y="228"/>
                      </a:lnTo>
                      <a:lnTo>
                        <a:pt x="322" y="228"/>
                      </a:lnTo>
                      <a:lnTo>
                        <a:pt x="322" y="226"/>
                      </a:lnTo>
                      <a:lnTo>
                        <a:pt x="321" y="226"/>
                      </a:lnTo>
                      <a:lnTo>
                        <a:pt x="319" y="226"/>
                      </a:lnTo>
                      <a:lnTo>
                        <a:pt x="317" y="226"/>
                      </a:lnTo>
                      <a:lnTo>
                        <a:pt x="316" y="225"/>
                      </a:lnTo>
                      <a:lnTo>
                        <a:pt x="314" y="225"/>
                      </a:lnTo>
                      <a:lnTo>
                        <a:pt x="314" y="226"/>
                      </a:lnTo>
                      <a:lnTo>
                        <a:pt x="314" y="228"/>
                      </a:lnTo>
                      <a:lnTo>
                        <a:pt x="312" y="228"/>
                      </a:lnTo>
                      <a:lnTo>
                        <a:pt x="312" y="226"/>
                      </a:lnTo>
                      <a:lnTo>
                        <a:pt x="310" y="226"/>
                      </a:lnTo>
                      <a:lnTo>
                        <a:pt x="310" y="225"/>
                      </a:lnTo>
                      <a:lnTo>
                        <a:pt x="309" y="223"/>
                      </a:lnTo>
                      <a:lnTo>
                        <a:pt x="307" y="223"/>
                      </a:lnTo>
                      <a:lnTo>
                        <a:pt x="307" y="225"/>
                      </a:lnTo>
                      <a:lnTo>
                        <a:pt x="305" y="225"/>
                      </a:lnTo>
                      <a:lnTo>
                        <a:pt x="304" y="223"/>
                      </a:lnTo>
                      <a:lnTo>
                        <a:pt x="305" y="221"/>
                      </a:lnTo>
                      <a:lnTo>
                        <a:pt x="304" y="221"/>
                      </a:lnTo>
                      <a:lnTo>
                        <a:pt x="304" y="220"/>
                      </a:lnTo>
                      <a:lnTo>
                        <a:pt x="302" y="220"/>
                      </a:lnTo>
                      <a:lnTo>
                        <a:pt x="300" y="220"/>
                      </a:lnTo>
                      <a:lnTo>
                        <a:pt x="300" y="218"/>
                      </a:lnTo>
                      <a:lnTo>
                        <a:pt x="302" y="218"/>
                      </a:lnTo>
                      <a:lnTo>
                        <a:pt x="300" y="216"/>
                      </a:lnTo>
                      <a:lnTo>
                        <a:pt x="300" y="215"/>
                      </a:lnTo>
                      <a:lnTo>
                        <a:pt x="299" y="215"/>
                      </a:lnTo>
                      <a:lnTo>
                        <a:pt x="299" y="213"/>
                      </a:lnTo>
                      <a:lnTo>
                        <a:pt x="297" y="213"/>
                      </a:lnTo>
                      <a:lnTo>
                        <a:pt x="297" y="211"/>
                      </a:lnTo>
                      <a:lnTo>
                        <a:pt x="295" y="211"/>
                      </a:lnTo>
                      <a:lnTo>
                        <a:pt x="294" y="211"/>
                      </a:lnTo>
                      <a:lnTo>
                        <a:pt x="294" y="210"/>
                      </a:lnTo>
                      <a:lnTo>
                        <a:pt x="292" y="210"/>
                      </a:lnTo>
                      <a:lnTo>
                        <a:pt x="294" y="210"/>
                      </a:lnTo>
                      <a:lnTo>
                        <a:pt x="292" y="208"/>
                      </a:lnTo>
                      <a:lnTo>
                        <a:pt x="292" y="206"/>
                      </a:lnTo>
                      <a:lnTo>
                        <a:pt x="292" y="205"/>
                      </a:lnTo>
                      <a:lnTo>
                        <a:pt x="290" y="206"/>
                      </a:lnTo>
                      <a:lnTo>
                        <a:pt x="290" y="205"/>
                      </a:lnTo>
                      <a:lnTo>
                        <a:pt x="290" y="203"/>
                      </a:lnTo>
                      <a:lnTo>
                        <a:pt x="289" y="203"/>
                      </a:lnTo>
                      <a:lnTo>
                        <a:pt x="289" y="202"/>
                      </a:lnTo>
                      <a:lnTo>
                        <a:pt x="290" y="202"/>
                      </a:lnTo>
                      <a:lnTo>
                        <a:pt x="289" y="200"/>
                      </a:lnTo>
                      <a:lnTo>
                        <a:pt x="287" y="200"/>
                      </a:lnTo>
                      <a:lnTo>
                        <a:pt x="285" y="198"/>
                      </a:lnTo>
                      <a:lnTo>
                        <a:pt x="283" y="200"/>
                      </a:lnTo>
                      <a:lnTo>
                        <a:pt x="282" y="200"/>
                      </a:lnTo>
                      <a:lnTo>
                        <a:pt x="282" y="198"/>
                      </a:lnTo>
                      <a:lnTo>
                        <a:pt x="282" y="197"/>
                      </a:lnTo>
                      <a:lnTo>
                        <a:pt x="280" y="197"/>
                      </a:lnTo>
                      <a:lnTo>
                        <a:pt x="278" y="197"/>
                      </a:lnTo>
                      <a:lnTo>
                        <a:pt x="278" y="195"/>
                      </a:lnTo>
                      <a:lnTo>
                        <a:pt x="280" y="195"/>
                      </a:lnTo>
                      <a:lnTo>
                        <a:pt x="280" y="193"/>
                      </a:lnTo>
                      <a:lnTo>
                        <a:pt x="282" y="193"/>
                      </a:lnTo>
                      <a:lnTo>
                        <a:pt x="282" y="192"/>
                      </a:lnTo>
                      <a:lnTo>
                        <a:pt x="280" y="190"/>
                      </a:lnTo>
                      <a:lnTo>
                        <a:pt x="278" y="188"/>
                      </a:lnTo>
                      <a:lnTo>
                        <a:pt x="277" y="188"/>
                      </a:lnTo>
                      <a:lnTo>
                        <a:pt x="277" y="187"/>
                      </a:lnTo>
                      <a:lnTo>
                        <a:pt x="277" y="185"/>
                      </a:lnTo>
                      <a:lnTo>
                        <a:pt x="275" y="185"/>
                      </a:lnTo>
                      <a:lnTo>
                        <a:pt x="273" y="184"/>
                      </a:lnTo>
                      <a:lnTo>
                        <a:pt x="272" y="184"/>
                      </a:lnTo>
                      <a:lnTo>
                        <a:pt x="272" y="182"/>
                      </a:lnTo>
                      <a:lnTo>
                        <a:pt x="270" y="182"/>
                      </a:lnTo>
                      <a:lnTo>
                        <a:pt x="270" y="184"/>
                      </a:lnTo>
                      <a:lnTo>
                        <a:pt x="268" y="185"/>
                      </a:lnTo>
                      <a:lnTo>
                        <a:pt x="268" y="184"/>
                      </a:lnTo>
                      <a:lnTo>
                        <a:pt x="267" y="184"/>
                      </a:lnTo>
                      <a:lnTo>
                        <a:pt x="267" y="182"/>
                      </a:lnTo>
                      <a:lnTo>
                        <a:pt x="268" y="182"/>
                      </a:lnTo>
                      <a:lnTo>
                        <a:pt x="268" y="180"/>
                      </a:lnTo>
                      <a:lnTo>
                        <a:pt x="267" y="180"/>
                      </a:lnTo>
                      <a:lnTo>
                        <a:pt x="265" y="180"/>
                      </a:lnTo>
                      <a:lnTo>
                        <a:pt x="265" y="179"/>
                      </a:lnTo>
                      <a:lnTo>
                        <a:pt x="263" y="179"/>
                      </a:lnTo>
                      <a:lnTo>
                        <a:pt x="265" y="177"/>
                      </a:lnTo>
                      <a:lnTo>
                        <a:pt x="265" y="175"/>
                      </a:lnTo>
                      <a:lnTo>
                        <a:pt x="263" y="175"/>
                      </a:lnTo>
                      <a:lnTo>
                        <a:pt x="262" y="175"/>
                      </a:lnTo>
                      <a:lnTo>
                        <a:pt x="262" y="174"/>
                      </a:lnTo>
                      <a:lnTo>
                        <a:pt x="262" y="172"/>
                      </a:lnTo>
                      <a:lnTo>
                        <a:pt x="260" y="172"/>
                      </a:lnTo>
                      <a:lnTo>
                        <a:pt x="258" y="172"/>
                      </a:lnTo>
                      <a:lnTo>
                        <a:pt x="256" y="172"/>
                      </a:lnTo>
                      <a:lnTo>
                        <a:pt x="256" y="170"/>
                      </a:lnTo>
                      <a:lnTo>
                        <a:pt x="256" y="169"/>
                      </a:lnTo>
                      <a:lnTo>
                        <a:pt x="255" y="170"/>
                      </a:lnTo>
                      <a:lnTo>
                        <a:pt x="255" y="169"/>
                      </a:lnTo>
                      <a:lnTo>
                        <a:pt x="253" y="167"/>
                      </a:lnTo>
                      <a:lnTo>
                        <a:pt x="251" y="167"/>
                      </a:lnTo>
                      <a:lnTo>
                        <a:pt x="250" y="167"/>
                      </a:lnTo>
                      <a:lnTo>
                        <a:pt x="248" y="167"/>
                      </a:lnTo>
                      <a:lnTo>
                        <a:pt x="246" y="167"/>
                      </a:lnTo>
                      <a:lnTo>
                        <a:pt x="246" y="165"/>
                      </a:lnTo>
                      <a:lnTo>
                        <a:pt x="245" y="165"/>
                      </a:lnTo>
                      <a:lnTo>
                        <a:pt x="243" y="164"/>
                      </a:lnTo>
                      <a:lnTo>
                        <a:pt x="243" y="162"/>
                      </a:lnTo>
                      <a:lnTo>
                        <a:pt x="241" y="162"/>
                      </a:lnTo>
                      <a:lnTo>
                        <a:pt x="240" y="162"/>
                      </a:lnTo>
                      <a:lnTo>
                        <a:pt x="240" y="161"/>
                      </a:lnTo>
                      <a:lnTo>
                        <a:pt x="241" y="161"/>
                      </a:lnTo>
                      <a:lnTo>
                        <a:pt x="240" y="161"/>
                      </a:lnTo>
                      <a:lnTo>
                        <a:pt x="240" y="159"/>
                      </a:lnTo>
                      <a:lnTo>
                        <a:pt x="240" y="157"/>
                      </a:lnTo>
                      <a:lnTo>
                        <a:pt x="238" y="157"/>
                      </a:lnTo>
                      <a:lnTo>
                        <a:pt x="236" y="157"/>
                      </a:lnTo>
                      <a:lnTo>
                        <a:pt x="236" y="159"/>
                      </a:lnTo>
                      <a:lnTo>
                        <a:pt x="234" y="157"/>
                      </a:lnTo>
                      <a:lnTo>
                        <a:pt x="233" y="156"/>
                      </a:lnTo>
                      <a:lnTo>
                        <a:pt x="234" y="156"/>
                      </a:lnTo>
                      <a:lnTo>
                        <a:pt x="234" y="154"/>
                      </a:lnTo>
                      <a:lnTo>
                        <a:pt x="233" y="154"/>
                      </a:lnTo>
                      <a:lnTo>
                        <a:pt x="233" y="152"/>
                      </a:lnTo>
                      <a:lnTo>
                        <a:pt x="231" y="154"/>
                      </a:lnTo>
                      <a:lnTo>
                        <a:pt x="231" y="156"/>
                      </a:lnTo>
                      <a:lnTo>
                        <a:pt x="229" y="156"/>
                      </a:lnTo>
                      <a:lnTo>
                        <a:pt x="228" y="156"/>
                      </a:lnTo>
                      <a:lnTo>
                        <a:pt x="228" y="154"/>
                      </a:lnTo>
                      <a:lnTo>
                        <a:pt x="228" y="152"/>
                      </a:lnTo>
                      <a:lnTo>
                        <a:pt x="226" y="152"/>
                      </a:lnTo>
                      <a:lnTo>
                        <a:pt x="226" y="151"/>
                      </a:lnTo>
                      <a:lnTo>
                        <a:pt x="224" y="151"/>
                      </a:lnTo>
                      <a:lnTo>
                        <a:pt x="224" y="149"/>
                      </a:lnTo>
                      <a:lnTo>
                        <a:pt x="224" y="147"/>
                      </a:lnTo>
                      <a:lnTo>
                        <a:pt x="223" y="147"/>
                      </a:lnTo>
                      <a:lnTo>
                        <a:pt x="221" y="147"/>
                      </a:lnTo>
                      <a:lnTo>
                        <a:pt x="219" y="147"/>
                      </a:lnTo>
                      <a:lnTo>
                        <a:pt x="218" y="147"/>
                      </a:lnTo>
                      <a:lnTo>
                        <a:pt x="216" y="149"/>
                      </a:lnTo>
                      <a:lnTo>
                        <a:pt x="214" y="149"/>
                      </a:lnTo>
                      <a:lnTo>
                        <a:pt x="214" y="147"/>
                      </a:lnTo>
                      <a:lnTo>
                        <a:pt x="214" y="146"/>
                      </a:lnTo>
                      <a:lnTo>
                        <a:pt x="214" y="144"/>
                      </a:lnTo>
                      <a:lnTo>
                        <a:pt x="213" y="144"/>
                      </a:lnTo>
                      <a:lnTo>
                        <a:pt x="213" y="146"/>
                      </a:lnTo>
                      <a:lnTo>
                        <a:pt x="211" y="146"/>
                      </a:lnTo>
                      <a:lnTo>
                        <a:pt x="209" y="146"/>
                      </a:lnTo>
                      <a:lnTo>
                        <a:pt x="209" y="144"/>
                      </a:lnTo>
                      <a:lnTo>
                        <a:pt x="211" y="142"/>
                      </a:lnTo>
                      <a:lnTo>
                        <a:pt x="211" y="141"/>
                      </a:lnTo>
                      <a:lnTo>
                        <a:pt x="209" y="141"/>
                      </a:lnTo>
                      <a:lnTo>
                        <a:pt x="207" y="141"/>
                      </a:lnTo>
                      <a:lnTo>
                        <a:pt x="207" y="142"/>
                      </a:lnTo>
                      <a:lnTo>
                        <a:pt x="207" y="144"/>
                      </a:lnTo>
                      <a:lnTo>
                        <a:pt x="206" y="144"/>
                      </a:lnTo>
                      <a:lnTo>
                        <a:pt x="206" y="142"/>
                      </a:lnTo>
                      <a:lnTo>
                        <a:pt x="206" y="141"/>
                      </a:lnTo>
                      <a:lnTo>
                        <a:pt x="204" y="139"/>
                      </a:lnTo>
                      <a:lnTo>
                        <a:pt x="202" y="139"/>
                      </a:lnTo>
                      <a:lnTo>
                        <a:pt x="202" y="141"/>
                      </a:lnTo>
                      <a:lnTo>
                        <a:pt x="201" y="142"/>
                      </a:lnTo>
                      <a:lnTo>
                        <a:pt x="199" y="141"/>
                      </a:lnTo>
                      <a:lnTo>
                        <a:pt x="197" y="141"/>
                      </a:lnTo>
                      <a:lnTo>
                        <a:pt x="196" y="141"/>
                      </a:lnTo>
                      <a:lnTo>
                        <a:pt x="194" y="141"/>
                      </a:lnTo>
                      <a:lnTo>
                        <a:pt x="194" y="142"/>
                      </a:lnTo>
                      <a:lnTo>
                        <a:pt x="196" y="144"/>
                      </a:lnTo>
                      <a:lnTo>
                        <a:pt x="194" y="144"/>
                      </a:lnTo>
                      <a:lnTo>
                        <a:pt x="192" y="144"/>
                      </a:lnTo>
                      <a:lnTo>
                        <a:pt x="192" y="142"/>
                      </a:lnTo>
                      <a:lnTo>
                        <a:pt x="191" y="142"/>
                      </a:lnTo>
                      <a:lnTo>
                        <a:pt x="191" y="144"/>
                      </a:lnTo>
                      <a:lnTo>
                        <a:pt x="189" y="144"/>
                      </a:lnTo>
                      <a:lnTo>
                        <a:pt x="189" y="142"/>
                      </a:lnTo>
                      <a:lnTo>
                        <a:pt x="189" y="141"/>
                      </a:lnTo>
                      <a:lnTo>
                        <a:pt x="189" y="139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6" y="141"/>
                      </a:lnTo>
                      <a:lnTo>
                        <a:pt x="187" y="142"/>
                      </a:lnTo>
                      <a:lnTo>
                        <a:pt x="187" y="144"/>
                      </a:lnTo>
                      <a:lnTo>
                        <a:pt x="186" y="144"/>
                      </a:lnTo>
                      <a:lnTo>
                        <a:pt x="184" y="142"/>
                      </a:lnTo>
                      <a:lnTo>
                        <a:pt x="184" y="141"/>
                      </a:lnTo>
                      <a:lnTo>
                        <a:pt x="184" y="139"/>
                      </a:lnTo>
                      <a:lnTo>
                        <a:pt x="184" y="138"/>
                      </a:lnTo>
                      <a:lnTo>
                        <a:pt x="182" y="138"/>
                      </a:lnTo>
                      <a:lnTo>
                        <a:pt x="180" y="138"/>
                      </a:lnTo>
                      <a:lnTo>
                        <a:pt x="180" y="139"/>
                      </a:lnTo>
                      <a:lnTo>
                        <a:pt x="179" y="139"/>
                      </a:lnTo>
                      <a:lnTo>
                        <a:pt x="179" y="138"/>
                      </a:lnTo>
                      <a:lnTo>
                        <a:pt x="180" y="138"/>
                      </a:lnTo>
                      <a:lnTo>
                        <a:pt x="180" y="136"/>
                      </a:lnTo>
                      <a:lnTo>
                        <a:pt x="180" y="134"/>
                      </a:lnTo>
                      <a:lnTo>
                        <a:pt x="179" y="134"/>
                      </a:lnTo>
                      <a:lnTo>
                        <a:pt x="177" y="133"/>
                      </a:lnTo>
                      <a:lnTo>
                        <a:pt x="175" y="133"/>
                      </a:lnTo>
                      <a:lnTo>
                        <a:pt x="174" y="133"/>
                      </a:lnTo>
                      <a:lnTo>
                        <a:pt x="175" y="131"/>
                      </a:lnTo>
                      <a:lnTo>
                        <a:pt x="177" y="131"/>
                      </a:lnTo>
                      <a:lnTo>
                        <a:pt x="179" y="133"/>
                      </a:lnTo>
                      <a:lnTo>
                        <a:pt x="179" y="131"/>
                      </a:lnTo>
                      <a:lnTo>
                        <a:pt x="177" y="129"/>
                      </a:lnTo>
                      <a:lnTo>
                        <a:pt x="175" y="131"/>
                      </a:lnTo>
                      <a:lnTo>
                        <a:pt x="174" y="129"/>
                      </a:lnTo>
                      <a:lnTo>
                        <a:pt x="172" y="129"/>
                      </a:lnTo>
                      <a:lnTo>
                        <a:pt x="172" y="128"/>
                      </a:lnTo>
                      <a:lnTo>
                        <a:pt x="174" y="128"/>
                      </a:lnTo>
                      <a:lnTo>
                        <a:pt x="174" y="126"/>
                      </a:lnTo>
                      <a:lnTo>
                        <a:pt x="172" y="126"/>
                      </a:lnTo>
                      <a:lnTo>
                        <a:pt x="172" y="128"/>
                      </a:lnTo>
                      <a:lnTo>
                        <a:pt x="170" y="128"/>
                      </a:lnTo>
                      <a:lnTo>
                        <a:pt x="169" y="128"/>
                      </a:lnTo>
                      <a:lnTo>
                        <a:pt x="167" y="126"/>
                      </a:lnTo>
                      <a:lnTo>
                        <a:pt x="167" y="128"/>
                      </a:lnTo>
                      <a:lnTo>
                        <a:pt x="165" y="128"/>
                      </a:lnTo>
                      <a:lnTo>
                        <a:pt x="164" y="126"/>
                      </a:lnTo>
                      <a:lnTo>
                        <a:pt x="165" y="124"/>
                      </a:lnTo>
                      <a:lnTo>
                        <a:pt x="164" y="124"/>
                      </a:lnTo>
                      <a:lnTo>
                        <a:pt x="164" y="123"/>
                      </a:lnTo>
                      <a:lnTo>
                        <a:pt x="162" y="123"/>
                      </a:lnTo>
                      <a:lnTo>
                        <a:pt x="162" y="124"/>
                      </a:lnTo>
                      <a:lnTo>
                        <a:pt x="160" y="124"/>
                      </a:lnTo>
                      <a:lnTo>
                        <a:pt x="158" y="124"/>
                      </a:lnTo>
                      <a:lnTo>
                        <a:pt x="158" y="123"/>
                      </a:lnTo>
                      <a:lnTo>
                        <a:pt x="160" y="123"/>
                      </a:lnTo>
                      <a:lnTo>
                        <a:pt x="160" y="121"/>
                      </a:lnTo>
                      <a:lnTo>
                        <a:pt x="158" y="121"/>
                      </a:lnTo>
                      <a:lnTo>
                        <a:pt x="157" y="121"/>
                      </a:lnTo>
                      <a:lnTo>
                        <a:pt x="157" y="123"/>
                      </a:lnTo>
                      <a:lnTo>
                        <a:pt x="155" y="126"/>
                      </a:lnTo>
                      <a:lnTo>
                        <a:pt x="153" y="126"/>
                      </a:lnTo>
                      <a:lnTo>
                        <a:pt x="152" y="124"/>
                      </a:lnTo>
                      <a:lnTo>
                        <a:pt x="152" y="123"/>
                      </a:lnTo>
                      <a:lnTo>
                        <a:pt x="148" y="124"/>
                      </a:lnTo>
                      <a:lnTo>
                        <a:pt x="148" y="123"/>
                      </a:lnTo>
                      <a:lnTo>
                        <a:pt x="148" y="121"/>
                      </a:lnTo>
                      <a:lnTo>
                        <a:pt x="150" y="121"/>
                      </a:lnTo>
                      <a:lnTo>
                        <a:pt x="152" y="121"/>
                      </a:lnTo>
                      <a:lnTo>
                        <a:pt x="152" y="119"/>
                      </a:lnTo>
                      <a:lnTo>
                        <a:pt x="150" y="119"/>
                      </a:lnTo>
                      <a:lnTo>
                        <a:pt x="148" y="119"/>
                      </a:lnTo>
                      <a:lnTo>
                        <a:pt x="147" y="119"/>
                      </a:lnTo>
                      <a:lnTo>
                        <a:pt x="145" y="119"/>
                      </a:lnTo>
                      <a:lnTo>
                        <a:pt x="145" y="121"/>
                      </a:lnTo>
                      <a:lnTo>
                        <a:pt x="147" y="121"/>
                      </a:lnTo>
                      <a:lnTo>
                        <a:pt x="147" y="123"/>
                      </a:lnTo>
                      <a:lnTo>
                        <a:pt x="147" y="124"/>
                      </a:lnTo>
                      <a:lnTo>
                        <a:pt x="145" y="124"/>
                      </a:lnTo>
                      <a:lnTo>
                        <a:pt x="143" y="123"/>
                      </a:lnTo>
                      <a:lnTo>
                        <a:pt x="142" y="123"/>
                      </a:lnTo>
                      <a:lnTo>
                        <a:pt x="140" y="123"/>
                      </a:lnTo>
                      <a:lnTo>
                        <a:pt x="140" y="124"/>
                      </a:lnTo>
                      <a:lnTo>
                        <a:pt x="138" y="123"/>
                      </a:lnTo>
                      <a:lnTo>
                        <a:pt x="138" y="119"/>
                      </a:lnTo>
                      <a:lnTo>
                        <a:pt x="137" y="119"/>
                      </a:lnTo>
                      <a:lnTo>
                        <a:pt x="137" y="121"/>
                      </a:lnTo>
                      <a:lnTo>
                        <a:pt x="137" y="123"/>
                      </a:lnTo>
                      <a:lnTo>
                        <a:pt x="135" y="121"/>
                      </a:lnTo>
                      <a:lnTo>
                        <a:pt x="133" y="119"/>
                      </a:lnTo>
                      <a:lnTo>
                        <a:pt x="133" y="118"/>
                      </a:lnTo>
                      <a:lnTo>
                        <a:pt x="133" y="116"/>
                      </a:lnTo>
                      <a:lnTo>
                        <a:pt x="131" y="116"/>
                      </a:lnTo>
                      <a:lnTo>
                        <a:pt x="130" y="118"/>
                      </a:lnTo>
                      <a:lnTo>
                        <a:pt x="128" y="118"/>
                      </a:lnTo>
                      <a:lnTo>
                        <a:pt x="130" y="119"/>
                      </a:lnTo>
                      <a:lnTo>
                        <a:pt x="128" y="119"/>
                      </a:lnTo>
                      <a:lnTo>
                        <a:pt x="125" y="119"/>
                      </a:lnTo>
                      <a:lnTo>
                        <a:pt x="123" y="119"/>
                      </a:lnTo>
                      <a:lnTo>
                        <a:pt x="123" y="118"/>
                      </a:lnTo>
                      <a:lnTo>
                        <a:pt x="121" y="118"/>
                      </a:lnTo>
                      <a:lnTo>
                        <a:pt x="120" y="118"/>
                      </a:lnTo>
                      <a:lnTo>
                        <a:pt x="118" y="118"/>
                      </a:lnTo>
                      <a:lnTo>
                        <a:pt x="118" y="119"/>
                      </a:lnTo>
                      <a:lnTo>
                        <a:pt x="116" y="119"/>
                      </a:lnTo>
                      <a:lnTo>
                        <a:pt x="115" y="119"/>
                      </a:lnTo>
                      <a:lnTo>
                        <a:pt x="113" y="119"/>
                      </a:lnTo>
                      <a:lnTo>
                        <a:pt x="113" y="118"/>
                      </a:lnTo>
                      <a:lnTo>
                        <a:pt x="111" y="118"/>
                      </a:lnTo>
                      <a:lnTo>
                        <a:pt x="110" y="118"/>
                      </a:lnTo>
                      <a:lnTo>
                        <a:pt x="110" y="119"/>
                      </a:lnTo>
                      <a:lnTo>
                        <a:pt x="110" y="121"/>
                      </a:lnTo>
                      <a:lnTo>
                        <a:pt x="108" y="121"/>
                      </a:lnTo>
                      <a:lnTo>
                        <a:pt x="108" y="119"/>
                      </a:lnTo>
                      <a:lnTo>
                        <a:pt x="108" y="118"/>
                      </a:lnTo>
                      <a:lnTo>
                        <a:pt x="106" y="118"/>
                      </a:lnTo>
                      <a:lnTo>
                        <a:pt x="104" y="118"/>
                      </a:lnTo>
                      <a:lnTo>
                        <a:pt x="104" y="119"/>
                      </a:lnTo>
                      <a:lnTo>
                        <a:pt x="103" y="119"/>
                      </a:lnTo>
                      <a:lnTo>
                        <a:pt x="103" y="118"/>
                      </a:lnTo>
                      <a:lnTo>
                        <a:pt x="103" y="116"/>
                      </a:lnTo>
                      <a:lnTo>
                        <a:pt x="103" y="115"/>
                      </a:lnTo>
                      <a:lnTo>
                        <a:pt x="101" y="115"/>
                      </a:lnTo>
                      <a:lnTo>
                        <a:pt x="99" y="115"/>
                      </a:lnTo>
                      <a:lnTo>
                        <a:pt x="98" y="115"/>
                      </a:lnTo>
                      <a:lnTo>
                        <a:pt x="96" y="115"/>
                      </a:lnTo>
                      <a:lnTo>
                        <a:pt x="94" y="115"/>
                      </a:lnTo>
                      <a:lnTo>
                        <a:pt x="94" y="113"/>
                      </a:lnTo>
                      <a:lnTo>
                        <a:pt x="94" y="111"/>
                      </a:lnTo>
                      <a:lnTo>
                        <a:pt x="93" y="111"/>
                      </a:lnTo>
                      <a:lnTo>
                        <a:pt x="91" y="113"/>
                      </a:lnTo>
                      <a:lnTo>
                        <a:pt x="89" y="113"/>
                      </a:lnTo>
                      <a:lnTo>
                        <a:pt x="89" y="115"/>
                      </a:lnTo>
                      <a:lnTo>
                        <a:pt x="88" y="115"/>
                      </a:lnTo>
                      <a:lnTo>
                        <a:pt x="86" y="115"/>
                      </a:lnTo>
                      <a:lnTo>
                        <a:pt x="86" y="111"/>
                      </a:lnTo>
                      <a:lnTo>
                        <a:pt x="84" y="111"/>
                      </a:lnTo>
                      <a:lnTo>
                        <a:pt x="84" y="110"/>
                      </a:lnTo>
                      <a:lnTo>
                        <a:pt x="84" y="111"/>
                      </a:lnTo>
                      <a:lnTo>
                        <a:pt x="82" y="111"/>
                      </a:lnTo>
                      <a:lnTo>
                        <a:pt x="82" y="113"/>
                      </a:lnTo>
                      <a:lnTo>
                        <a:pt x="82" y="115"/>
                      </a:lnTo>
                      <a:lnTo>
                        <a:pt x="82" y="116"/>
                      </a:lnTo>
                      <a:lnTo>
                        <a:pt x="81" y="116"/>
                      </a:lnTo>
                      <a:lnTo>
                        <a:pt x="79" y="115"/>
                      </a:lnTo>
                      <a:lnTo>
                        <a:pt x="79" y="113"/>
                      </a:lnTo>
                      <a:lnTo>
                        <a:pt x="81" y="111"/>
                      </a:lnTo>
                      <a:lnTo>
                        <a:pt x="81" y="110"/>
                      </a:lnTo>
                      <a:lnTo>
                        <a:pt x="81" y="108"/>
                      </a:lnTo>
                      <a:lnTo>
                        <a:pt x="79" y="108"/>
                      </a:lnTo>
                      <a:lnTo>
                        <a:pt x="77" y="110"/>
                      </a:lnTo>
                      <a:lnTo>
                        <a:pt x="76" y="110"/>
                      </a:lnTo>
                      <a:lnTo>
                        <a:pt x="76" y="108"/>
                      </a:lnTo>
                      <a:lnTo>
                        <a:pt x="76" y="106"/>
                      </a:lnTo>
                      <a:lnTo>
                        <a:pt x="77" y="106"/>
                      </a:lnTo>
                      <a:lnTo>
                        <a:pt x="77" y="105"/>
                      </a:lnTo>
                      <a:lnTo>
                        <a:pt x="77" y="103"/>
                      </a:lnTo>
                      <a:lnTo>
                        <a:pt x="76" y="103"/>
                      </a:lnTo>
                      <a:lnTo>
                        <a:pt x="74" y="103"/>
                      </a:lnTo>
                      <a:lnTo>
                        <a:pt x="72" y="105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4" y="108"/>
                      </a:lnTo>
                      <a:lnTo>
                        <a:pt x="72" y="110"/>
                      </a:lnTo>
                      <a:lnTo>
                        <a:pt x="72" y="111"/>
                      </a:lnTo>
                      <a:lnTo>
                        <a:pt x="69" y="111"/>
                      </a:lnTo>
                      <a:lnTo>
                        <a:pt x="67" y="111"/>
                      </a:lnTo>
                      <a:lnTo>
                        <a:pt x="66" y="111"/>
                      </a:lnTo>
                      <a:lnTo>
                        <a:pt x="66" y="110"/>
                      </a:lnTo>
                      <a:lnTo>
                        <a:pt x="66" y="108"/>
                      </a:lnTo>
                      <a:lnTo>
                        <a:pt x="64" y="108"/>
                      </a:lnTo>
                      <a:lnTo>
                        <a:pt x="64" y="110"/>
                      </a:lnTo>
                      <a:lnTo>
                        <a:pt x="64" y="111"/>
                      </a:lnTo>
                      <a:lnTo>
                        <a:pt x="62" y="113"/>
                      </a:lnTo>
                      <a:lnTo>
                        <a:pt x="61" y="113"/>
                      </a:lnTo>
                      <a:lnTo>
                        <a:pt x="59" y="111"/>
                      </a:lnTo>
                      <a:lnTo>
                        <a:pt x="57" y="111"/>
                      </a:lnTo>
                      <a:lnTo>
                        <a:pt x="55" y="111"/>
                      </a:lnTo>
                      <a:lnTo>
                        <a:pt x="55" y="113"/>
                      </a:lnTo>
                      <a:lnTo>
                        <a:pt x="54" y="113"/>
                      </a:lnTo>
                      <a:lnTo>
                        <a:pt x="52" y="113"/>
                      </a:lnTo>
                      <a:lnTo>
                        <a:pt x="52" y="115"/>
                      </a:lnTo>
                      <a:lnTo>
                        <a:pt x="50" y="116"/>
                      </a:lnTo>
                      <a:lnTo>
                        <a:pt x="49" y="115"/>
                      </a:lnTo>
                      <a:lnTo>
                        <a:pt x="49" y="113"/>
                      </a:lnTo>
                      <a:lnTo>
                        <a:pt x="50" y="111"/>
                      </a:lnTo>
                      <a:lnTo>
                        <a:pt x="52" y="110"/>
                      </a:lnTo>
                      <a:lnTo>
                        <a:pt x="52" y="108"/>
                      </a:lnTo>
                      <a:lnTo>
                        <a:pt x="50" y="106"/>
                      </a:lnTo>
                      <a:lnTo>
                        <a:pt x="49" y="106"/>
                      </a:lnTo>
                      <a:lnTo>
                        <a:pt x="47" y="106"/>
                      </a:lnTo>
                      <a:lnTo>
                        <a:pt x="45" y="106"/>
                      </a:lnTo>
                      <a:lnTo>
                        <a:pt x="45" y="105"/>
                      </a:lnTo>
                      <a:lnTo>
                        <a:pt x="45" y="103"/>
                      </a:lnTo>
                      <a:lnTo>
                        <a:pt x="44" y="103"/>
                      </a:lnTo>
                      <a:lnTo>
                        <a:pt x="44" y="105"/>
                      </a:lnTo>
                      <a:lnTo>
                        <a:pt x="42" y="105"/>
                      </a:lnTo>
                      <a:lnTo>
                        <a:pt x="42" y="108"/>
                      </a:lnTo>
                      <a:lnTo>
                        <a:pt x="40" y="108"/>
                      </a:lnTo>
                      <a:lnTo>
                        <a:pt x="39" y="110"/>
                      </a:lnTo>
                      <a:lnTo>
                        <a:pt x="37" y="110"/>
                      </a:lnTo>
                      <a:lnTo>
                        <a:pt x="35" y="110"/>
                      </a:lnTo>
                      <a:lnTo>
                        <a:pt x="35" y="108"/>
                      </a:lnTo>
                      <a:lnTo>
                        <a:pt x="33" y="108"/>
                      </a:lnTo>
                      <a:lnTo>
                        <a:pt x="32" y="108"/>
                      </a:lnTo>
                      <a:lnTo>
                        <a:pt x="32" y="110"/>
                      </a:lnTo>
                      <a:lnTo>
                        <a:pt x="32" y="111"/>
                      </a:lnTo>
                      <a:lnTo>
                        <a:pt x="33" y="111"/>
                      </a:lnTo>
                      <a:lnTo>
                        <a:pt x="33" y="113"/>
                      </a:lnTo>
                      <a:lnTo>
                        <a:pt x="33" y="115"/>
                      </a:lnTo>
                      <a:lnTo>
                        <a:pt x="32" y="115"/>
                      </a:lnTo>
                      <a:lnTo>
                        <a:pt x="30" y="115"/>
                      </a:lnTo>
                      <a:lnTo>
                        <a:pt x="30" y="113"/>
                      </a:lnTo>
                      <a:lnTo>
                        <a:pt x="28" y="111"/>
                      </a:lnTo>
                      <a:lnTo>
                        <a:pt x="27" y="111"/>
                      </a:lnTo>
                      <a:lnTo>
                        <a:pt x="25" y="111"/>
                      </a:lnTo>
                      <a:lnTo>
                        <a:pt x="25" y="113"/>
                      </a:lnTo>
                      <a:lnTo>
                        <a:pt x="23" y="113"/>
                      </a:lnTo>
                      <a:lnTo>
                        <a:pt x="22" y="113"/>
                      </a:lnTo>
                      <a:lnTo>
                        <a:pt x="20" y="115"/>
                      </a:lnTo>
                      <a:lnTo>
                        <a:pt x="20" y="116"/>
                      </a:lnTo>
                      <a:lnTo>
                        <a:pt x="18" y="116"/>
                      </a:lnTo>
                      <a:lnTo>
                        <a:pt x="18" y="115"/>
                      </a:lnTo>
                      <a:lnTo>
                        <a:pt x="18" y="113"/>
                      </a:lnTo>
                      <a:lnTo>
                        <a:pt x="18" y="111"/>
                      </a:lnTo>
                      <a:lnTo>
                        <a:pt x="17" y="111"/>
                      </a:lnTo>
                      <a:lnTo>
                        <a:pt x="15" y="110"/>
                      </a:lnTo>
                      <a:lnTo>
                        <a:pt x="15" y="111"/>
                      </a:lnTo>
                      <a:lnTo>
                        <a:pt x="13" y="111"/>
                      </a:lnTo>
                      <a:lnTo>
                        <a:pt x="12" y="111"/>
                      </a:lnTo>
                      <a:lnTo>
                        <a:pt x="12" y="113"/>
                      </a:lnTo>
                      <a:lnTo>
                        <a:pt x="10" y="113"/>
                      </a:lnTo>
                      <a:lnTo>
                        <a:pt x="8" y="113"/>
                      </a:lnTo>
                      <a:lnTo>
                        <a:pt x="8" y="110"/>
                      </a:lnTo>
                      <a:lnTo>
                        <a:pt x="6" y="110"/>
                      </a:lnTo>
                      <a:lnTo>
                        <a:pt x="3" y="111"/>
                      </a:lnTo>
                      <a:lnTo>
                        <a:pt x="1" y="111"/>
                      </a:lnTo>
                      <a:lnTo>
                        <a:pt x="0" y="110"/>
                      </a:lnTo>
                      <a:lnTo>
                        <a:pt x="1" y="110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08"/>
                      </a:lnTo>
                      <a:lnTo>
                        <a:pt x="3" y="108"/>
                      </a:lnTo>
                      <a:lnTo>
                        <a:pt x="1" y="108"/>
                      </a:lnTo>
                      <a:lnTo>
                        <a:pt x="3" y="108"/>
                      </a:lnTo>
                      <a:lnTo>
                        <a:pt x="3" y="106"/>
                      </a:lnTo>
                      <a:lnTo>
                        <a:pt x="1" y="105"/>
                      </a:lnTo>
                      <a:lnTo>
                        <a:pt x="3" y="105"/>
                      </a:lnTo>
                      <a:lnTo>
                        <a:pt x="3" y="106"/>
                      </a:lnTo>
                      <a:lnTo>
                        <a:pt x="5" y="106"/>
                      </a:lnTo>
                      <a:lnTo>
                        <a:pt x="5" y="105"/>
                      </a:lnTo>
                      <a:lnTo>
                        <a:pt x="6" y="105"/>
                      </a:lnTo>
                      <a:lnTo>
                        <a:pt x="3" y="103"/>
                      </a:lnTo>
                      <a:lnTo>
                        <a:pt x="5" y="101"/>
                      </a:lnTo>
                      <a:lnTo>
                        <a:pt x="5" y="103"/>
                      </a:lnTo>
                      <a:lnTo>
                        <a:pt x="6" y="103"/>
                      </a:lnTo>
                      <a:lnTo>
                        <a:pt x="6" y="101"/>
                      </a:lnTo>
                      <a:lnTo>
                        <a:pt x="5" y="101"/>
                      </a:lnTo>
                      <a:lnTo>
                        <a:pt x="5" y="100"/>
                      </a:lnTo>
                      <a:lnTo>
                        <a:pt x="3" y="100"/>
                      </a:lnTo>
                      <a:lnTo>
                        <a:pt x="5" y="100"/>
                      </a:lnTo>
                      <a:lnTo>
                        <a:pt x="5" y="101"/>
                      </a:lnTo>
                      <a:lnTo>
                        <a:pt x="6" y="101"/>
                      </a:lnTo>
                      <a:lnTo>
                        <a:pt x="8" y="101"/>
                      </a:lnTo>
                      <a:lnTo>
                        <a:pt x="6" y="101"/>
                      </a:lnTo>
                      <a:lnTo>
                        <a:pt x="6" y="100"/>
                      </a:lnTo>
                      <a:lnTo>
                        <a:pt x="5" y="98"/>
                      </a:lnTo>
                      <a:lnTo>
                        <a:pt x="6" y="98"/>
                      </a:lnTo>
                      <a:lnTo>
                        <a:pt x="6" y="100"/>
                      </a:lnTo>
                      <a:lnTo>
                        <a:pt x="8" y="100"/>
                      </a:lnTo>
                      <a:lnTo>
                        <a:pt x="8" y="98"/>
                      </a:lnTo>
                      <a:lnTo>
                        <a:pt x="8" y="96"/>
                      </a:lnTo>
                      <a:lnTo>
                        <a:pt x="10" y="96"/>
                      </a:lnTo>
                      <a:lnTo>
                        <a:pt x="10" y="95"/>
                      </a:lnTo>
                      <a:lnTo>
                        <a:pt x="12" y="95"/>
                      </a:lnTo>
                      <a:lnTo>
                        <a:pt x="12" y="93"/>
                      </a:lnTo>
                      <a:lnTo>
                        <a:pt x="10" y="93"/>
                      </a:lnTo>
                      <a:lnTo>
                        <a:pt x="10" y="92"/>
                      </a:lnTo>
                      <a:lnTo>
                        <a:pt x="12" y="92"/>
                      </a:lnTo>
                      <a:lnTo>
                        <a:pt x="13" y="92"/>
                      </a:lnTo>
                      <a:lnTo>
                        <a:pt x="13" y="90"/>
                      </a:lnTo>
                      <a:lnTo>
                        <a:pt x="15" y="90"/>
                      </a:lnTo>
                      <a:lnTo>
                        <a:pt x="17" y="90"/>
                      </a:lnTo>
                      <a:lnTo>
                        <a:pt x="15" y="90"/>
                      </a:lnTo>
                      <a:lnTo>
                        <a:pt x="13" y="90"/>
                      </a:lnTo>
                      <a:lnTo>
                        <a:pt x="13" y="88"/>
                      </a:lnTo>
                      <a:lnTo>
                        <a:pt x="15" y="88"/>
                      </a:lnTo>
                      <a:lnTo>
                        <a:pt x="17" y="88"/>
                      </a:lnTo>
                      <a:lnTo>
                        <a:pt x="17" y="87"/>
                      </a:lnTo>
                      <a:lnTo>
                        <a:pt x="15" y="87"/>
                      </a:lnTo>
                      <a:lnTo>
                        <a:pt x="17" y="87"/>
                      </a:lnTo>
                      <a:lnTo>
                        <a:pt x="17" y="85"/>
                      </a:lnTo>
                      <a:lnTo>
                        <a:pt x="15" y="85"/>
                      </a:lnTo>
                      <a:lnTo>
                        <a:pt x="13" y="85"/>
                      </a:lnTo>
                      <a:lnTo>
                        <a:pt x="15" y="83"/>
                      </a:lnTo>
                      <a:lnTo>
                        <a:pt x="13" y="83"/>
                      </a:lnTo>
                      <a:lnTo>
                        <a:pt x="13" y="82"/>
                      </a:lnTo>
                      <a:lnTo>
                        <a:pt x="15" y="83"/>
                      </a:lnTo>
                      <a:lnTo>
                        <a:pt x="17" y="83"/>
                      </a:lnTo>
                      <a:lnTo>
                        <a:pt x="17" y="82"/>
                      </a:lnTo>
                      <a:lnTo>
                        <a:pt x="15" y="82"/>
                      </a:lnTo>
                      <a:lnTo>
                        <a:pt x="13" y="82"/>
                      </a:lnTo>
                      <a:lnTo>
                        <a:pt x="13" y="80"/>
                      </a:lnTo>
                      <a:lnTo>
                        <a:pt x="15" y="80"/>
                      </a:lnTo>
                      <a:lnTo>
                        <a:pt x="13" y="80"/>
                      </a:lnTo>
                      <a:lnTo>
                        <a:pt x="13" y="78"/>
                      </a:lnTo>
                      <a:lnTo>
                        <a:pt x="13" y="77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3" y="75"/>
                      </a:lnTo>
                      <a:lnTo>
                        <a:pt x="13" y="73"/>
                      </a:lnTo>
                      <a:lnTo>
                        <a:pt x="12" y="73"/>
                      </a:lnTo>
                      <a:lnTo>
                        <a:pt x="12" y="75"/>
                      </a:lnTo>
                      <a:lnTo>
                        <a:pt x="10" y="75"/>
                      </a:lnTo>
                      <a:lnTo>
                        <a:pt x="10" y="73"/>
                      </a:lnTo>
                      <a:lnTo>
                        <a:pt x="12" y="73"/>
                      </a:lnTo>
                      <a:lnTo>
                        <a:pt x="12" y="72"/>
                      </a:lnTo>
                      <a:lnTo>
                        <a:pt x="10" y="72"/>
                      </a:lnTo>
                      <a:lnTo>
                        <a:pt x="10" y="70"/>
                      </a:lnTo>
                      <a:lnTo>
                        <a:pt x="10" y="72"/>
                      </a:lnTo>
                      <a:lnTo>
                        <a:pt x="8" y="72"/>
                      </a:lnTo>
                      <a:lnTo>
                        <a:pt x="10" y="70"/>
                      </a:lnTo>
                      <a:lnTo>
                        <a:pt x="8" y="70"/>
                      </a:lnTo>
                      <a:lnTo>
                        <a:pt x="8" y="69"/>
                      </a:lnTo>
                      <a:lnTo>
                        <a:pt x="8" y="70"/>
                      </a:lnTo>
                      <a:lnTo>
                        <a:pt x="10" y="70"/>
                      </a:lnTo>
                      <a:lnTo>
                        <a:pt x="10" y="69"/>
                      </a:lnTo>
                      <a:lnTo>
                        <a:pt x="10" y="67"/>
                      </a:lnTo>
                      <a:lnTo>
                        <a:pt x="10" y="65"/>
                      </a:lnTo>
                      <a:lnTo>
                        <a:pt x="10" y="67"/>
                      </a:lnTo>
                      <a:lnTo>
                        <a:pt x="12" y="67"/>
                      </a:lnTo>
                      <a:lnTo>
                        <a:pt x="12" y="65"/>
                      </a:lnTo>
                      <a:lnTo>
                        <a:pt x="10" y="65"/>
                      </a:lnTo>
                      <a:lnTo>
                        <a:pt x="12" y="65"/>
                      </a:lnTo>
                      <a:lnTo>
                        <a:pt x="12" y="64"/>
                      </a:lnTo>
                      <a:lnTo>
                        <a:pt x="10" y="64"/>
                      </a:lnTo>
                      <a:lnTo>
                        <a:pt x="10" y="62"/>
                      </a:lnTo>
                      <a:lnTo>
                        <a:pt x="10" y="64"/>
                      </a:lnTo>
                      <a:lnTo>
                        <a:pt x="8" y="62"/>
                      </a:lnTo>
                      <a:lnTo>
                        <a:pt x="10" y="62"/>
                      </a:lnTo>
                      <a:lnTo>
                        <a:pt x="10" y="60"/>
                      </a:lnTo>
                      <a:lnTo>
                        <a:pt x="10" y="59"/>
                      </a:lnTo>
                      <a:lnTo>
                        <a:pt x="12" y="59"/>
                      </a:lnTo>
                      <a:lnTo>
                        <a:pt x="10" y="57"/>
                      </a:lnTo>
                      <a:lnTo>
                        <a:pt x="12" y="57"/>
                      </a:lnTo>
                      <a:lnTo>
                        <a:pt x="12" y="55"/>
                      </a:lnTo>
                      <a:lnTo>
                        <a:pt x="13" y="55"/>
                      </a:lnTo>
                      <a:lnTo>
                        <a:pt x="12" y="55"/>
                      </a:lnTo>
                      <a:lnTo>
                        <a:pt x="10" y="55"/>
                      </a:lnTo>
                      <a:lnTo>
                        <a:pt x="12" y="55"/>
                      </a:lnTo>
                      <a:lnTo>
                        <a:pt x="12" y="54"/>
                      </a:lnTo>
                      <a:lnTo>
                        <a:pt x="10" y="54"/>
                      </a:lnTo>
                      <a:lnTo>
                        <a:pt x="12" y="54"/>
                      </a:lnTo>
                      <a:lnTo>
                        <a:pt x="12" y="52"/>
                      </a:lnTo>
                      <a:lnTo>
                        <a:pt x="12" y="50"/>
                      </a:lnTo>
                      <a:lnTo>
                        <a:pt x="10" y="50"/>
                      </a:lnTo>
                      <a:lnTo>
                        <a:pt x="12" y="49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3" y="49"/>
                      </a:lnTo>
                      <a:lnTo>
                        <a:pt x="13" y="47"/>
                      </a:lnTo>
                      <a:lnTo>
                        <a:pt x="12" y="47"/>
                      </a:lnTo>
                      <a:lnTo>
                        <a:pt x="13" y="46"/>
                      </a:lnTo>
                      <a:lnTo>
                        <a:pt x="13" y="47"/>
                      </a:lnTo>
                      <a:lnTo>
                        <a:pt x="13" y="46"/>
                      </a:lnTo>
                      <a:lnTo>
                        <a:pt x="13" y="44"/>
                      </a:lnTo>
                      <a:lnTo>
                        <a:pt x="15" y="44"/>
                      </a:lnTo>
                      <a:lnTo>
                        <a:pt x="15" y="42"/>
                      </a:lnTo>
                      <a:lnTo>
                        <a:pt x="13" y="42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3" y="37"/>
                      </a:lnTo>
                      <a:lnTo>
                        <a:pt x="15" y="37"/>
                      </a:lnTo>
                      <a:lnTo>
                        <a:pt x="15" y="36"/>
                      </a:lnTo>
                      <a:lnTo>
                        <a:pt x="13" y="36"/>
                      </a:lnTo>
                      <a:lnTo>
                        <a:pt x="15" y="36"/>
                      </a:lnTo>
                      <a:lnTo>
                        <a:pt x="15" y="34"/>
                      </a:lnTo>
                      <a:lnTo>
                        <a:pt x="17" y="34"/>
                      </a:lnTo>
                      <a:lnTo>
                        <a:pt x="17" y="32"/>
                      </a:lnTo>
                      <a:lnTo>
                        <a:pt x="17" y="31"/>
                      </a:lnTo>
                      <a:lnTo>
                        <a:pt x="18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18" y="26"/>
                      </a:lnTo>
                      <a:lnTo>
                        <a:pt x="20" y="26"/>
                      </a:lnTo>
                      <a:lnTo>
                        <a:pt x="18" y="26"/>
                      </a:lnTo>
                      <a:lnTo>
                        <a:pt x="20" y="27"/>
                      </a:lnTo>
                      <a:lnTo>
                        <a:pt x="20" y="26"/>
                      </a:lnTo>
                      <a:lnTo>
                        <a:pt x="20" y="27"/>
                      </a:lnTo>
                      <a:lnTo>
                        <a:pt x="22" y="27"/>
                      </a:lnTo>
                      <a:lnTo>
                        <a:pt x="23" y="27"/>
                      </a:lnTo>
                      <a:lnTo>
                        <a:pt x="25" y="27"/>
                      </a:lnTo>
                      <a:lnTo>
                        <a:pt x="25" y="29"/>
                      </a:lnTo>
                      <a:lnTo>
                        <a:pt x="27" y="29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30" y="31"/>
                      </a:lnTo>
                      <a:lnTo>
                        <a:pt x="32" y="31"/>
                      </a:lnTo>
                      <a:lnTo>
                        <a:pt x="33" y="31"/>
                      </a:lnTo>
                      <a:lnTo>
                        <a:pt x="35" y="31"/>
                      </a:lnTo>
                      <a:lnTo>
                        <a:pt x="37" y="31"/>
                      </a:lnTo>
                      <a:lnTo>
                        <a:pt x="37" y="29"/>
                      </a:lnTo>
                      <a:lnTo>
                        <a:pt x="39" y="29"/>
                      </a:lnTo>
                      <a:lnTo>
                        <a:pt x="40" y="29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2" y="26"/>
                      </a:lnTo>
                      <a:lnTo>
                        <a:pt x="44" y="26"/>
                      </a:lnTo>
                      <a:lnTo>
                        <a:pt x="45" y="26"/>
                      </a:lnTo>
                      <a:lnTo>
                        <a:pt x="47" y="26"/>
                      </a:lnTo>
                      <a:lnTo>
                        <a:pt x="47" y="27"/>
                      </a:lnTo>
                      <a:lnTo>
                        <a:pt x="47" y="26"/>
                      </a:lnTo>
                      <a:lnTo>
                        <a:pt x="49" y="26"/>
                      </a:lnTo>
                      <a:lnTo>
                        <a:pt x="49" y="27"/>
                      </a:lnTo>
                      <a:lnTo>
                        <a:pt x="50" y="26"/>
                      </a:lnTo>
                      <a:lnTo>
                        <a:pt x="50" y="27"/>
                      </a:lnTo>
                      <a:lnTo>
                        <a:pt x="52" y="27"/>
                      </a:lnTo>
                      <a:lnTo>
                        <a:pt x="52" y="26"/>
                      </a:lnTo>
                      <a:lnTo>
                        <a:pt x="54" y="26"/>
                      </a:lnTo>
                      <a:lnTo>
                        <a:pt x="54" y="27"/>
                      </a:lnTo>
                      <a:lnTo>
                        <a:pt x="55" y="29"/>
                      </a:lnTo>
                      <a:lnTo>
                        <a:pt x="55" y="31"/>
                      </a:lnTo>
                      <a:lnTo>
                        <a:pt x="55" y="29"/>
                      </a:lnTo>
                      <a:lnTo>
                        <a:pt x="55" y="31"/>
                      </a:lnTo>
                      <a:lnTo>
                        <a:pt x="57" y="31"/>
                      </a:lnTo>
                      <a:lnTo>
                        <a:pt x="57" y="32"/>
                      </a:lnTo>
                      <a:lnTo>
                        <a:pt x="59" y="32"/>
                      </a:lnTo>
                      <a:lnTo>
                        <a:pt x="59" y="34"/>
                      </a:lnTo>
                      <a:lnTo>
                        <a:pt x="61" y="32"/>
                      </a:lnTo>
                      <a:lnTo>
                        <a:pt x="61" y="34"/>
                      </a:lnTo>
                      <a:lnTo>
                        <a:pt x="62" y="34"/>
                      </a:lnTo>
                      <a:lnTo>
                        <a:pt x="62" y="36"/>
                      </a:lnTo>
                      <a:lnTo>
                        <a:pt x="64" y="36"/>
                      </a:lnTo>
                      <a:lnTo>
                        <a:pt x="66" y="36"/>
                      </a:lnTo>
                      <a:lnTo>
                        <a:pt x="67" y="36"/>
                      </a:lnTo>
                      <a:lnTo>
                        <a:pt x="67" y="37"/>
                      </a:lnTo>
                      <a:lnTo>
                        <a:pt x="69" y="37"/>
                      </a:lnTo>
                      <a:lnTo>
                        <a:pt x="69" y="39"/>
                      </a:lnTo>
                      <a:lnTo>
                        <a:pt x="71" y="39"/>
                      </a:lnTo>
                      <a:lnTo>
                        <a:pt x="72" y="39"/>
                      </a:lnTo>
                      <a:lnTo>
                        <a:pt x="74" y="39"/>
                      </a:lnTo>
                      <a:lnTo>
                        <a:pt x="76" y="39"/>
                      </a:lnTo>
                      <a:lnTo>
                        <a:pt x="76" y="37"/>
                      </a:lnTo>
                      <a:lnTo>
                        <a:pt x="77" y="37"/>
                      </a:lnTo>
                      <a:lnTo>
                        <a:pt x="79" y="37"/>
                      </a:lnTo>
                      <a:lnTo>
                        <a:pt x="79" y="36"/>
                      </a:lnTo>
                      <a:lnTo>
                        <a:pt x="81" y="36"/>
                      </a:lnTo>
                      <a:lnTo>
                        <a:pt x="82" y="36"/>
                      </a:lnTo>
                      <a:lnTo>
                        <a:pt x="82" y="37"/>
                      </a:lnTo>
                      <a:lnTo>
                        <a:pt x="84" y="37"/>
                      </a:lnTo>
                      <a:lnTo>
                        <a:pt x="86" y="37"/>
                      </a:lnTo>
                      <a:lnTo>
                        <a:pt x="88" y="37"/>
                      </a:lnTo>
                      <a:lnTo>
                        <a:pt x="88" y="36"/>
                      </a:lnTo>
                      <a:lnTo>
                        <a:pt x="89" y="36"/>
                      </a:lnTo>
                      <a:lnTo>
                        <a:pt x="89" y="37"/>
                      </a:lnTo>
                      <a:lnTo>
                        <a:pt x="89" y="36"/>
                      </a:lnTo>
                      <a:lnTo>
                        <a:pt x="91" y="36"/>
                      </a:lnTo>
                      <a:lnTo>
                        <a:pt x="91" y="37"/>
                      </a:lnTo>
                      <a:lnTo>
                        <a:pt x="93" y="36"/>
                      </a:lnTo>
                      <a:lnTo>
                        <a:pt x="94" y="36"/>
                      </a:lnTo>
                      <a:lnTo>
                        <a:pt x="96" y="36"/>
                      </a:lnTo>
                      <a:lnTo>
                        <a:pt x="98" y="36"/>
                      </a:lnTo>
                      <a:lnTo>
                        <a:pt x="99" y="36"/>
                      </a:lnTo>
                      <a:lnTo>
                        <a:pt x="101" y="36"/>
                      </a:lnTo>
                      <a:lnTo>
                        <a:pt x="103" y="36"/>
                      </a:lnTo>
                      <a:lnTo>
                        <a:pt x="104" y="36"/>
                      </a:lnTo>
                      <a:lnTo>
                        <a:pt x="104" y="34"/>
                      </a:lnTo>
                      <a:lnTo>
                        <a:pt x="104" y="36"/>
                      </a:lnTo>
                      <a:lnTo>
                        <a:pt x="106" y="36"/>
                      </a:lnTo>
                      <a:lnTo>
                        <a:pt x="108" y="36"/>
                      </a:lnTo>
                      <a:lnTo>
                        <a:pt x="110" y="36"/>
                      </a:lnTo>
                      <a:lnTo>
                        <a:pt x="111" y="36"/>
                      </a:lnTo>
                      <a:lnTo>
                        <a:pt x="111" y="37"/>
                      </a:lnTo>
                      <a:lnTo>
                        <a:pt x="113" y="37"/>
                      </a:lnTo>
                      <a:lnTo>
                        <a:pt x="113" y="39"/>
                      </a:lnTo>
                      <a:lnTo>
                        <a:pt x="115" y="39"/>
                      </a:lnTo>
                      <a:lnTo>
                        <a:pt x="116" y="39"/>
                      </a:lnTo>
                      <a:lnTo>
                        <a:pt x="116" y="41"/>
                      </a:lnTo>
                      <a:lnTo>
                        <a:pt x="116" y="42"/>
                      </a:lnTo>
                      <a:lnTo>
                        <a:pt x="118" y="42"/>
                      </a:lnTo>
                      <a:lnTo>
                        <a:pt x="118" y="41"/>
                      </a:lnTo>
                      <a:lnTo>
                        <a:pt x="120" y="41"/>
                      </a:lnTo>
                      <a:lnTo>
                        <a:pt x="121" y="41"/>
                      </a:lnTo>
                      <a:lnTo>
                        <a:pt x="123" y="41"/>
                      </a:lnTo>
                      <a:lnTo>
                        <a:pt x="125" y="41"/>
                      </a:lnTo>
                      <a:lnTo>
                        <a:pt x="126" y="41"/>
                      </a:lnTo>
                      <a:lnTo>
                        <a:pt x="126" y="42"/>
                      </a:lnTo>
                      <a:lnTo>
                        <a:pt x="128" y="42"/>
                      </a:lnTo>
                      <a:lnTo>
                        <a:pt x="130" y="42"/>
                      </a:lnTo>
                      <a:lnTo>
                        <a:pt x="130" y="44"/>
                      </a:lnTo>
                      <a:lnTo>
                        <a:pt x="131" y="44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5" y="42"/>
                      </a:lnTo>
                      <a:lnTo>
                        <a:pt x="137" y="42"/>
                      </a:lnTo>
                      <a:lnTo>
                        <a:pt x="138" y="42"/>
                      </a:lnTo>
                      <a:lnTo>
                        <a:pt x="138" y="44"/>
                      </a:lnTo>
                      <a:lnTo>
                        <a:pt x="140" y="44"/>
                      </a:lnTo>
                      <a:lnTo>
                        <a:pt x="142" y="44"/>
                      </a:lnTo>
                      <a:lnTo>
                        <a:pt x="143" y="44"/>
                      </a:lnTo>
                      <a:lnTo>
                        <a:pt x="145" y="44"/>
                      </a:lnTo>
                      <a:lnTo>
                        <a:pt x="147" y="44"/>
                      </a:lnTo>
                      <a:lnTo>
                        <a:pt x="147" y="46"/>
                      </a:lnTo>
                      <a:lnTo>
                        <a:pt x="148" y="46"/>
                      </a:lnTo>
                      <a:lnTo>
                        <a:pt x="150" y="46"/>
                      </a:lnTo>
                      <a:lnTo>
                        <a:pt x="152" y="46"/>
                      </a:lnTo>
                      <a:lnTo>
                        <a:pt x="153" y="46"/>
                      </a:lnTo>
                      <a:lnTo>
                        <a:pt x="155" y="46"/>
                      </a:lnTo>
                      <a:lnTo>
                        <a:pt x="157" y="44"/>
                      </a:lnTo>
                      <a:lnTo>
                        <a:pt x="158" y="46"/>
                      </a:lnTo>
                      <a:lnTo>
                        <a:pt x="160" y="47"/>
                      </a:lnTo>
                      <a:lnTo>
                        <a:pt x="162" y="47"/>
                      </a:lnTo>
                      <a:lnTo>
                        <a:pt x="164" y="47"/>
                      </a:lnTo>
                      <a:lnTo>
                        <a:pt x="165" y="47"/>
                      </a:lnTo>
                      <a:lnTo>
                        <a:pt x="165" y="49"/>
                      </a:lnTo>
                      <a:lnTo>
                        <a:pt x="165" y="50"/>
                      </a:lnTo>
                      <a:lnTo>
                        <a:pt x="167" y="50"/>
                      </a:lnTo>
                      <a:lnTo>
                        <a:pt x="167" y="52"/>
                      </a:lnTo>
                      <a:lnTo>
                        <a:pt x="169" y="52"/>
                      </a:lnTo>
                      <a:lnTo>
                        <a:pt x="170" y="52"/>
                      </a:lnTo>
                      <a:lnTo>
                        <a:pt x="172" y="54"/>
                      </a:lnTo>
                      <a:lnTo>
                        <a:pt x="174" y="54"/>
                      </a:lnTo>
                      <a:lnTo>
                        <a:pt x="174" y="55"/>
                      </a:lnTo>
                      <a:lnTo>
                        <a:pt x="175" y="55"/>
                      </a:lnTo>
                      <a:lnTo>
                        <a:pt x="177" y="55"/>
                      </a:lnTo>
                      <a:lnTo>
                        <a:pt x="179" y="57"/>
                      </a:lnTo>
                      <a:lnTo>
                        <a:pt x="179" y="55"/>
                      </a:lnTo>
                      <a:lnTo>
                        <a:pt x="180" y="55"/>
                      </a:lnTo>
                      <a:lnTo>
                        <a:pt x="180" y="57"/>
                      </a:lnTo>
                      <a:lnTo>
                        <a:pt x="182" y="57"/>
                      </a:lnTo>
                      <a:lnTo>
                        <a:pt x="184" y="57"/>
                      </a:lnTo>
                      <a:lnTo>
                        <a:pt x="186" y="57"/>
                      </a:lnTo>
                      <a:lnTo>
                        <a:pt x="186" y="59"/>
                      </a:lnTo>
                      <a:lnTo>
                        <a:pt x="187" y="59"/>
                      </a:lnTo>
                      <a:lnTo>
                        <a:pt x="189" y="57"/>
                      </a:lnTo>
                      <a:lnTo>
                        <a:pt x="189" y="59"/>
                      </a:lnTo>
                      <a:lnTo>
                        <a:pt x="189" y="57"/>
                      </a:lnTo>
                      <a:lnTo>
                        <a:pt x="192" y="57"/>
                      </a:lnTo>
                      <a:lnTo>
                        <a:pt x="194" y="57"/>
                      </a:lnTo>
                      <a:lnTo>
                        <a:pt x="194" y="59"/>
                      </a:lnTo>
                      <a:lnTo>
                        <a:pt x="196" y="59"/>
                      </a:lnTo>
                      <a:lnTo>
                        <a:pt x="196" y="57"/>
                      </a:lnTo>
                      <a:lnTo>
                        <a:pt x="197" y="57"/>
                      </a:lnTo>
                      <a:lnTo>
                        <a:pt x="199" y="57"/>
                      </a:lnTo>
                      <a:lnTo>
                        <a:pt x="201" y="57"/>
                      </a:lnTo>
                      <a:lnTo>
                        <a:pt x="202" y="57"/>
                      </a:lnTo>
                      <a:lnTo>
                        <a:pt x="204" y="57"/>
                      </a:lnTo>
                      <a:lnTo>
                        <a:pt x="204" y="55"/>
                      </a:lnTo>
                      <a:lnTo>
                        <a:pt x="206" y="55"/>
                      </a:lnTo>
                      <a:lnTo>
                        <a:pt x="207" y="55"/>
                      </a:lnTo>
                      <a:lnTo>
                        <a:pt x="209" y="57"/>
                      </a:lnTo>
                      <a:lnTo>
                        <a:pt x="209" y="59"/>
                      </a:lnTo>
                      <a:lnTo>
                        <a:pt x="211" y="57"/>
                      </a:lnTo>
                      <a:lnTo>
                        <a:pt x="213" y="57"/>
                      </a:lnTo>
                      <a:lnTo>
                        <a:pt x="214" y="57"/>
                      </a:lnTo>
                      <a:lnTo>
                        <a:pt x="216" y="57"/>
                      </a:lnTo>
                      <a:lnTo>
                        <a:pt x="218" y="59"/>
                      </a:lnTo>
                      <a:lnTo>
                        <a:pt x="218" y="57"/>
                      </a:lnTo>
                      <a:lnTo>
                        <a:pt x="219" y="59"/>
                      </a:lnTo>
                      <a:lnTo>
                        <a:pt x="221" y="57"/>
                      </a:lnTo>
                      <a:lnTo>
                        <a:pt x="223" y="57"/>
                      </a:lnTo>
                      <a:lnTo>
                        <a:pt x="223" y="59"/>
                      </a:lnTo>
                      <a:lnTo>
                        <a:pt x="223" y="60"/>
                      </a:lnTo>
                      <a:lnTo>
                        <a:pt x="224" y="60"/>
                      </a:lnTo>
                      <a:lnTo>
                        <a:pt x="226" y="60"/>
                      </a:lnTo>
                      <a:lnTo>
                        <a:pt x="226" y="62"/>
                      </a:lnTo>
                      <a:lnTo>
                        <a:pt x="226" y="64"/>
                      </a:lnTo>
                      <a:lnTo>
                        <a:pt x="228" y="65"/>
                      </a:lnTo>
                      <a:lnTo>
                        <a:pt x="228" y="67"/>
                      </a:lnTo>
                      <a:lnTo>
                        <a:pt x="229" y="67"/>
                      </a:lnTo>
                      <a:lnTo>
                        <a:pt x="231" y="69"/>
                      </a:lnTo>
                      <a:lnTo>
                        <a:pt x="229" y="69"/>
                      </a:lnTo>
                      <a:lnTo>
                        <a:pt x="231" y="69"/>
                      </a:lnTo>
                      <a:lnTo>
                        <a:pt x="233" y="69"/>
                      </a:lnTo>
                      <a:lnTo>
                        <a:pt x="233" y="67"/>
                      </a:lnTo>
                      <a:lnTo>
                        <a:pt x="231" y="65"/>
                      </a:lnTo>
                      <a:lnTo>
                        <a:pt x="233" y="65"/>
                      </a:lnTo>
                      <a:lnTo>
                        <a:pt x="233" y="64"/>
                      </a:lnTo>
                      <a:lnTo>
                        <a:pt x="234" y="64"/>
                      </a:lnTo>
                      <a:lnTo>
                        <a:pt x="236" y="64"/>
                      </a:lnTo>
                      <a:lnTo>
                        <a:pt x="238" y="64"/>
                      </a:lnTo>
                      <a:lnTo>
                        <a:pt x="240" y="64"/>
                      </a:lnTo>
                      <a:lnTo>
                        <a:pt x="241" y="64"/>
                      </a:lnTo>
                      <a:lnTo>
                        <a:pt x="243" y="64"/>
                      </a:lnTo>
                      <a:lnTo>
                        <a:pt x="243" y="62"/>
                      </a:lnTo>
                      <a:lnTo>
                        <a:pt x="245" y="62"/>
                      </a:lnTo>
                      <a:lnTo>
                        <a:pt x="245" y="60"/>
                      </a:lnTo>
                      <a:lnTo>
                        <a:pt x="245" y="62"/>
                      </a:lnTo>
                      <a:lnTo>
                        <a:pt x="246" y="60"/>
                      </a:lnTo>
                      <a:lnTo>
                        <a:pt x="246" y="62"/>
                      </a:lnTo>
                      <a:lnTo>
                        <a:pt x="246" y="60"/>
                      </a:lnTo>
                      <a:lnTo>
                        <a:pt x="246" y="62"/>
                      </a:lnTo>
                      <a:lnTo>
                        <a:pt x="246" y="60"/>
                      </a:lnTo>
                      <a:lnTo>
                        <a:pt x="248" y="60"/>
                      </a:lnTo>
                      <a:lnTo>
                        <a:pt x="246" y="59"/>
                      </a:lnTo>
                      <a:lnTo>
                        <a:pt x="248" y="59"/>
                      </a:lnTo>
                      <a:lnTo>
                        <a:pt x="248" y="57"/>
                      </a:lnTo>
                      <a:lnTo>
                        <a:pt x="248" y="55"/>
                      </a:lnTo>
                      <a:lnTo>
                        <a:pt x="250" y="55"/>
                      </a:lnTo>
                      <a:lnTo>
                        <a:pt x="248" y="55"/>
                      </a:lnTo>
                      <a:lnTo>
                        <a:pt x="248" y="54"/>
                      </a:lnTo>
                      <a:lnTo>
                        <a:pt x="246" y="54"/>
                      </a:lnTo>
                      <a:lnTo>
                        <a:pt x="246" y="52"/>
                      </a:lnTo>
                      <a:lnTo>
                        <a:pt x="246" y="50"/>
                      </a:lnTo>
                      <a:lnTo>
                        <a:pt x="245" y="50"/>
                      </a:lnTo>
                      <a:lnTo>
                        <a:pt x="243" y="50"/>
                      </a:lnTo>
                      <a:lnTo>
                        <a:pt x="243" y="49"/>
                      </a:lnTo>
                      <a:lnTo>
                        <a:pt x="245" y="49"/>
                      </a:lnTo>
                      <a:lnTo>
                        <a:pt x="243" y="49"/>
                      </a:lnTo>
                      <a:lnTo>
                        <a:pt x="245" y="49"/>
                      </a:lnTo>
                      <a:lnTo>
                        <a:pt x="245" y="47"/>
                      </a:lnTo>
                      <a:lnTo>
                        <a:pt x="246" y="47"/>
                      </a:lnTo>
                      <a:lnTo>
                        <a:pt x="245" y="47"/>
                      </a:lnTo>
                      <a:lnTo>
                        <a:pt x="245" y="46"/>
                      </a:lnTo>
                      <a:lnTo>
                        <a:pt x="243" y="46"/>
                      </a:lnTo>
                      <a:lnTo>
                        <a:pt x="243" y="44"/>
                      </a:lnTo>
                      <a:lnTo>
                        <a:pt x="241" y="44"/>
                      </a:lnTo>
                      <a:lnTo>
                        <a:pt x="241" y="42"/>
                      </a:lnTo>
                      <a:lnTo>
                        <a:pt x="241" y="41"/>
                      </a:lnTo>
                      <a:lnTo>
                        <a:pt x="243" y="41"/>
                      </a:lnTo>
                      <a:lnTo>
                        <a:pt x="243" y="39"/>
                      </a:lnTo>
                      <a:lnTo>
                        <a:pt x="245" y="39"/>
                      </a:lnTo>
                      <a:lnTo>
                        <a:pt x="245" y="37"/>
                      </a:lnTo>
                      <a:lnTo>
                        <a:pt x="246" y="37"/>
                      </a:lnTo>
                      <a:lnTo>
                        <a:pt x="245" y="37"/>
                      </a:lnTo>
                      <a:lnTo>
                        <a:pt x="245" y="36"/>
                      </a:lnTo>
                      <a:lnTo>
                        <a:pt x="246" y="36"/>
                      </a:lnTo>
                      <a:lnTo>
                        <a:pt x="245" y="36"/>
                      </a:lnTo>
                      <a:lnTo>
                        <a:pt x="245" y="34"/>
                      </a:lnTo>
                      <a:lnTo>
                        <a:pt x="246" y="34"/>
                      </a:lnTo>
                      <a:lnTo>
                        <a:pt x="246" y="32"/>
                      </a:lnTo>
                      <a:lnTo>
                        <a:pt x="248" y="32"/>
                      </a:lnTo>
                      <a:lnTo>
                        <a:pt x="250" y="31"/>
                      </a:lnTo>
                      <a:lnTo>
                        <a:pt x="251" y="31"/>
                      </a:lnTo>
                      <a:lnTo>
                        <a:pt x="253" y="31"/>
                      </a:lnTo>
                      <a:lnTo>
                        <a:pt x="255" y="31"/>
                      </a:lnTo>
                      <a:lnTo>
                        <a:pt x="253" y="29"/>
                      </a:lnTo>
                      <a:lnTo>
                        <a:pt x="255" y="29"/>
                      </a:lnTo>
                      <a:lnTo>
                        <a:pt x="256" y="29"/>
                      </a:lnTo>
                      <a:lnTo>
                        <a:pt x="258" y="29"/>
                      </a:lnTo>
                      <a:lnTo>
                        <a:pt x="260" y="29"/>
                      </a:lnTo>
                      <a:lnTo>
                        <a:pt x="260" y="27"/>
                      </a:lnTo>
                      <a:lnTo>
                        <a:pt x="260" y="26"/>
                      </a:lnTo>
                      <a:lnTo>
                        <a:pt x="262" y="26"/>
                      </a:lnTo>
                      <a:lnTo>
                        <a:pt x="262" y="24"/>
                      </a:lnTo>
                      <a:lnTo>
                        <a:pt x="263" y="26"/>
                      </a:lnTo>
                      <a:lnTo>
                        <a:pt x="265" y="26"/>
                      </a:lnTo>
                      <a:lnTo>
                        <a:pt x="270" y="24"/>
                      </a:lnTo>
                      <a:lnTo>
                        <a:pt x="272" y="26"/>
                      </a:lnTo>
                      <a:lnTo>
                        <a:pt x="272" y="27"/>
                      </a:lnTo>
                      <a:lnTo>
                        <a:pt x="273" y="27"/>
                      </a:lnTo>
                      <a:lnTo>
                        <a:pt x="275" y="29"/>
                      </a:lnTo>
                      <a:lnTo>
                        <a:pt x="275" y="27"/>
                      </a:lnTo>
                      <a:lnTo>
                        <a:pt x="275" y="26"/>
                      </a:lnTo>
                      <a:lnTo>
                        <a:pt x="275" y="24"/>
                      </a:lnTo>
                      <a:lnTo>
                        <a:pt x="277" y="24"/>
                      </a:lnTo>
                      <a:lnTo>
                        <a:pt x="278" y="26"/>
                      </a:lnTo>
                      <a:lnTo>
                        <a:pt x="278" y="27"/>
                      </a:lnTo>
                      <a:lnTo>
                        <a:pt x="278" y="29"/>
                      </a:lnTo>
                      <a:lnTo>
                        <a:pt x="278" y="31"/>
                      </a:lnTo>
                      <a:lnTo>
                        <a:pt x="280" y="29"/>
                      </a:lnTo>
                      <a:lnTo>
                        <a:pt x="280" y="27"/>
                      </a:lnTo>
                      <a:lnTo>
                        <a:pt x="282" y="26"/>
                      </a:lnTo>
                      <a:lnTo>
                        <a:pt x="283" y="26"/>
                      </a:lnTo>
                      <a:lnTo>
                        <a:pt x="283" y="27"/>
                      </a:lnTo>
                      <a:lnTo>
                        <a:pt x="285" y="29"/>
                      </a:lnTo>
                      <a:lnTo>
                        <a:pt x="285" y="27"/>
                      </a:lnTo>
                      <a:lnTo>
                        <a:pt x="285" y="26"/>
                      </a:lnTo>
                      <a:lnTo>
                        <a:pt x="287" y="26"/>
                      </a:lnTo>
                      <a:lnTo>
                        <a:pt x="289" y="24"/>
                      </a:lnTo>
                      <a:lnTo>
                        <a:pt x="290" y="24"/>
                      </a:lnTo>
                      <a:lnTo>
                        <a:pt x="292" y="24"/>
                      </a:lnTo>
                      <a:lnTo>
                        <a:pt x="294" y="24"/>
                      </a:lnTo>
                      <a:lnTo>
                        <a:pt x="294" y="26"/>
                      </a:lnTo>
                      <a:lnTo>
                        <a:pt x="295" y="26"/>
                      </a:lnTo>
                      <a:lnTo>
                        <a:pt x="297" y="26"/>
                      </a:lnTo>
                      <a:lnTo>
                        <a:pt x="295" y="24"/>
                      </a:lnTo>
                      <a:lnTo>
                        <a:pt x="295" y="23"/>
                      </a:lnTo>
                      <a:lnTo>
                        <a:pt x="297" y="21"/>
                      </a:lnTo>
                      <a:lnTo>
                        <a:pt x="299" y="19"/>
                      </a:lnTo>
                      <a:lnTo>
                        <a:pt x="300" y="18"/>
                      </a:lnTo>
                      <a:lnTo>
                        <a:pt x="300" y="16"/>
                      </a:lnTo>
                      <a:lnTo>
                        <a:pt x="302" y="16"/>
                      </a:lnTo>
                      <a:lnTo>
                        <a:pt x="302" y="14"/>
                      </a:lnTo>
                      <a:lnTo>
                        <a:pt x="302" y="13"/>
                      </a:lnTo>
                      <a:lnTo>
                        <a:pt x="304" y="11"/>
                      </a:lnTo>
                      <a:lnTo>
                        <a:pt x="304" y="9"/>
                      </a:lnTo>
                      <a:lnTo>
                        <a:pt x="305" y="9"/>
                      </a:lnTo>
                      <a:lnTo>
                        <a:pt x="307" y="9"/>
                      </a:lnTo>
                      <a:lnTo>
                        <a:pt x="309" y="9"/>
                      </a:lnTo>
                      <a:lnTo>
                        <a:pt x="310" y="9"/>
                      </a:lnTo>
                      <a:lnTo>
                        <a:pt x="312" y="9"/>
                      </a:lnTo>
                      <a:lnTo>
                        <a:pt x="312" y="8"/>
                      </a:lnTo>
                      <a:lnTo>
                        <a:pt x="310" y="8"/>
                      </a:lnTo>
                      <a:lnTo>
                        <a:pt x="309" y="8"/>
                      </a:lnTo>
                      <a:lnTo>
                        <a:pt x="307" y="6"/>
                      </a:lnTo>
                      <a:lnTo>
                        <a:pt x="309" y="6"/>
                      </a:lnTo>
                      <a:lnTo>
                        <a:pt x="309" y="4"/>
                      </a:lnTo>
                      <a:lnTo>
                        <a:pt x="310" y="3"/>
                      </a:lnTo>
                      <a:lnTo>
                        <a:pt x="310" y="4"/>
                      </a:lnTo>
                      <a:lnTo>
                        <a:pt x="312" y="4"/>
                      </a:lnTo>
                      <a:lnTo>
                        <a:pt x="312" y="6"/>
                      </a:lnTo>
                      <a:lnTo>
                        <a:pt x="312" y="8"/>
                      </a:lnTo>
                      <a:lnTo>
                        <a:pt x="312" y="6"/>
                      </a:lnTo>
                      <a:lnTo>
                        <a:pt x="314" y="6"/>
                      </a:lnTo>
                      <a:lnTo>
                        <a:pt x="316" y="6"/>
                      </a:lnTo>
                      <a:lnTo>
                        <a:pt x="317" y="6"/>
                      </a:lnTo>
                      <a:lnTo>
                        <a:pt x="319" y="6"/>
                      </a:lnTo>
                      <a:lnTo>
                        <a:pt x="319" y="4"/>
                      </a:lnTo>
                      <a:lnTo>
                        <a:pt x="319" y="6"/>
                      </a:lnTo>
                      <a:lnTo>
                        <a:pt x="321" y="6"/>
                      </a:lnTo>
                      <a:lnTo>
                        <a:pt x="322" y="6"/>
                      </a:lnTo>
                      <a:lnTo>
                        <a:pt x="322" y="8"/>
                      </a:lnTo>
                      <a:lnTo>
                        <a:pt x="322" y="9"/>
                      </a:lnTo>
                      <a:lnTo>
                        <a:pt x="324" y="9"/>
                      </a:lnTo>
                      <a:lnTo>
                        <a:pt x="326" y="9"/>
                      </a:lnTo>
                      <a:lnTo>
                        <a:pt x="327" y="9"/>
                      </a:lnTo>
                      <a:lnTo>
                        <a:pt x="329" y="11"/>
                      </a:lnTo>
                      <a:lnTo>
                        <a:pt x="331" y="13"/>
                      </a:lnTo>
                      <a:lnTo>
                        <a:pt x="329" y="13"/>
                      </a:lnTo>
                      <a:lnTo>
                        <a:pt x="329" y="14"/>
                      </a:lnTo>
                      <a:lnTo>
                        <a:pt x="331" y="13"/>
                      </a:lnTo>
                      <a:lnTo>
                        <a:pt x="331" y="14"/>
                      </a:lnTo>
                      <a:lnTo>
                        <a:pt x="332" y="16"/>
                      </a:lnTo>
                      <a:lnTo>
                        <a:pt x="334" y="16"/>
                      </a:lnTo>
                      <a:lnTo>
                        <a:pt x="334" y="14"/>
                      </a:lnTo>
                      <a:lnTo>
                        <a:pt x="332" y="14"/>
                      </a:lnTo>
                      <a:lnTo>
                        <a:pt x="334" y="14"/>
                      </a:lnTo>
                      <a:lnTo>
                        <a:pt x="332" y="14"/>
                      </a:lnTo>
                      <a:lnTo>
                        <a:pt x="332" y="13"/>
                      </a:lnTo>
                      <a:lnTo>
                        <a:pt x="334" y="13"/>
                      </a:lnTo>
                      <a:lnTo>
                        <a:pt x="332" y="11"/>
                      </a:lnTo>
                      <a:lnTo>
                        <a:pt x="334" y="11"/>
                      </a:lnTo>
                      <a:lnTo>
                        <a:pt x="334" y="9"/>
                      </a:lnTo>
                      <a:lnTo>
                        <a:pt x="336" y="9"/>
                      </a:lnTo>
                      <a:lnTo>
                        <a:pt x="336" y="8"/>
                      </a:lnTo>
                      <a:lnTo>
                        <a:pt x="338" y="8"/>
                      </a:lnTo>
                      <a:lnTo>
                        <a:pt x="339" y="8"/>
                      </a:lnTo>
                      <a:lnTo>
                        <a:pt x="341" y="8"/>
                      </a:lnTo>
                      <a:lnTo>
                        <a:pt x="339" y="6"/>
                      </a:lnTo>
                      <a:lnTo>
                        <a:pt x="341" y="6"/>
                      </a:lnTo>
                      <a:lnTo>
                        <a:pt x="343" y="6"/>
                      </a:lnTo>
                      <a:lnTo>
                        <a:pt x="343" y="8"/>
                      </a:lnTo>
                      <a:lnTo>
                        <a:pt x="343" y="9"/>
                      </a:lnTo>
                      <a:lnTo>
                        <a:pt x="344" y="8"/>
                      </a:lnTo>
                      <a:lnTo>
                        <a:pt x="344" y="9"/>
                      </a:lnTo>
                      <a:lnTo>
                        <a:pt x="346" y="9"/>
                      </a:lnTo>
                      <a:lnTo>
                        <a:pt x="348" y="11"/>
                      </a:lnTo>
                      <a:lnTo>
                        <a:pt x="348" y="9"/>
                      </a:lnTo>
                      <a:lnTo>
                        <a:pt x="349" y="9"/>
                      </a:lnTo>
                      <a:lnTo>
                        <a:pt x="349" y="8"/>
                      </a:lnTo>
                      <a:lnTo>
                        <a:pt x="349" y="6"/>
                      </a:lnTo>
                      <a:lnTo>
                        <a:pt x="349" y="8"/>
                      </a:lnTo>
                      <a:lnTo>
                        <a:pt x="348" y="8"/>
                      </a:lnTo>
                      <a:lnTo>
                        <a:pt x="348" y="6"/>
                      </a:lnTo>
                      <a:lnTo>
                        <a:pt x="349" y="6"/>
                      </a:lnTo>
                      <a:lnTo>
                        <a:pt x="351" y="6"/>
                      </a:lnTo>
                      <a:lnTo>
                        <a:pt x="349" y="8"/>
                      </a:lnTo>
                      <a:lnTo>
                        <a:pt x="349" y="9"/>
                      </a:lnTo>
                      <a:lnTo>
                        <a:pt x="351" y="9"/>
                      </a:lnTo>
                      <a:lnTo>
                        <a:pt x="351" y="8"/>
                      </a:lnTo>
                      <a:lnTo>
                        <a:pt x="353" y="8"/>
                      </a:lnTo>
                      <a:lnTo>
                        <a:pt x="353" y="9"/>
                      </a:lnTo>
                      <a:lnTo>
                        <a:pt x="353" y="8"/>
                      </a:lnTo>
                      <a:lnTo>
                        <a:pt x="354" y="8"/>
                      </a:lnTo>
                      <a:lnTo>
                        <a:pt x="354" y="9"/>
                      </a:lnTo>
                      <a:lnTo>
                        <a:pt x="354" y="8"/>
                      </a:lnTo>
                      <a:lnTo>
                        <a:pt x="356" y="8"/>
                      </a:lnTo>
                      <a:lnTo>
                        <a:pt x="356" y="6"/>
                      </a:lnTo>
                      <a:lnTo>
                        <a:pt x="356" y="8"/>
                      </a:lnTo>
                      <a:lnTo>
                        <a:pt x="358" y="8"/>
                      </a:lnTo>
                      <a:lnTo>
                        <a:pt x="358" y="6"/>
                      </a:lnTo>
                      <a:lnTo>
                        <a:pt x="359" y="6"/>
                      </a:lnTo>
                      <a:lnTo>
                        <a:pt x="361" y="6"/>
                      </a:lnTo>
                      <a:lnTo>
                        <a:pt x="363" y="6"/>
                      </a:lnTo>
                      <a:lnTo>
                        <a:pt x="363" y="8"/>
                      </a:lnTo>
                      <a:lnTo>
                        <a:pt x="365" y="8"/>
                      </a:lnTo>
                      <a:lnTo>
                        <a:pt x="363" y="6"/>
                      </a:lnTo>
                      <a:lnTo>
                        <a:pt x="363" y="4"/>
                      </a:lnTo>
                      <a:lnTo>
                        <a:pt x="365" y="4"/>
                      </a:lnTo>
                      <a:lnTo>
                        <a:pt x="366" y="4"/>
                      </a:lnTo>
                      <a:lnTo>
                        <a:pt x="368" y="4"/>
                      </a:lnTo>
                      <a:lnTo>
                        <a:pt x="368" y="6"/>
                      </a:lnTo>
                      <a:lnTo>
                        <a:pt x="368" y="8"/>
                      </a:lnTo>
                      <a:lnTo>
                        <a:pt x="366" y="8"/>
                      </a:lnTo>
                      <a:lnTo>
                        <a:pt x="366" y="9"/>
                      </a:lnTo>
                      <a:lnTo>
                        <a:pt x="368" y="8"/>
                      </a:lnTo>
                      <a:lnTo>
                        <a:pt x="368" y="6"/>
                      </a:lnTo>
                      <a:lnTo>
                        <a:pt x="370" y="6"/>
                      </a:lnTo>
                      <a:lnTo>
                        <a:pt x="368" y="6"/>
                      </a:lnTo>
                      <a:lnTo>
                        <a:pt x="368" y="4"/>
                      </a:lnTo>
                      <a:lnTo>
                        <a:pt x="370" y="4"/>
                      </a:lnTo>
                      <a:lnTo>
                        <a:pt x="371" y="4"/>
                      </a:lnTo>
                      <a:lnTo>
                        <a:pt x="370" y="4"/>
                      </a:lnTo>
                      <a:lnTo>
                        <a:pt x="370" y="6"/>
                      </a:lnTo>
                      <a:lnTo>
                        <a:pt x="371" y="6"/>
                      </a:lnTo>
                      <a:lnTo>
                        <a:pt x="373" y="6"/>
                      </a:lnTo>
                      <a:lnTo>
                        <a:pt x="375" y="6"/>
                      </a:lnTo>
                      <a:lnTo>
                        <a:pt x="376" y="6"/>
                      </a:lnTo>
                      <a:lnTo>
                        <a:pt x="376" y="8"/>
                      </a:lnTo>
                      <a:lnTo>
                        <a:pt x="378" y="8"/>
                      </a:lnTo>
                      <a:lnTo>
                        <a:pt x="378" y="9"/>
                      </a:lnTo>
                      <a:lnTo>
                        <a:pt x="380" y="9"/>
                      </a:lnTo>
                      <a:lnTo>
                        <a:pt x="380" y="8"/>
                      </a:lnTo>
                      <a:lnTo>
                        <a:pt x="380" y="9"/>
                      </a:lnTo>
                      <a:lnTo>
                        <a:pt x="380" y="11"/>
                      </a:lnTo>
                      <a:lnTo>
                        <a:pt x="380" y="9"/>
                      </a:lnTo>
                      <a:lnTo>
                        <a:pt x="380" y="11"/>
                      </a:lnTo>
                      <a:lnTo>
                        <a:pt x="381" y="11"/>
                      </a:lnTo>
                      <a:lnTo>
                        <a:pt x="381" y="13"/>
                      </a:lnTo>
                      <a:lnTo>
                        <a:pt x="381" y="11"/>
                      </a:lnTo>
                      <a:lnTo>
                        <a:pt x="383" y="11"/>
                      </a:lnTo>
                      <a:lnTo>
                        <a:pt x="383" y="13"/>
                      </a:lnTo>
                      <a:lnTo>
                        <a:pt x="383" y="14"/>
                      </a:lnTo>
                      <a:lnTo>
                        <a:pt x="385" y="14"/>
                      </a:lnTo>
                      <a:lnTo>
                        <a:pt x="385" y="13"/>
                      </a:lnTo>
                      <a:lnTo>
                        <a:pt x="385" y="14"/>
                      </a:lnTo>
                      <a:lnTo>
                        <a:pt x="386" y="14"/>
                      </a:lnTo>
                      <a:lnTo>
                        <a:pt x="386" y="13"/>
                      </a:lnTo>
                      <a:lnTo>
                        <a:pt x="385" y="13"/>
                      </a:lnTo>
                      <a:lnTo>
                        <a:pt x="386" y="13"/>
                      </a:lnTo>
                      <a:lnTo>
                        <a:pt x="386" y="14"/>
                      </a:lnTo>
                      <a:lnTo>
                        <a:pt x="388" y="14"/>
                      </a:lnTo>
                      <a:lnTo>
                        <a:pt x="388" y="16"/>
                      </a:lnTo>
                      <a:lnTo>
                        <a:pt x="390" y="16"/>
                      </a:lnTo>
                      <a:lnTo>
                        <a:pt x="390" y="18"/>
                      </a:lnTo>
                      <a:lnTo>
                        <a:pt x="390" y="19"/>
                      </a:lnTo>
                      <a:lnTo>
                        <a:pt x="392" y="18"/>
                      </a:lnTo>
                      <a:lnTo>
                        <a:pt x="393" y="18"/>
                      </a:lnTo>
                      <a:lnTo>
                        <a:pt x="393" y="19"/>
                      </a:lnTo>
                      <a:lnTo>
                        <a:pt x="395" y="19"/>
                      </a:lnTo>
                      <a:lnTo>
                        <a:pt x="395" y="21"/>
                      </a:lnTo>
                      <a:lnTo>
                        <a:pt x="393" y="21"/>
                      </a:lnTo>
                      <a:lnTo>
                        <a:pt x="395" y="21"/>
                      </a:lnTo>
                      <a:lnTo>
                        <a:pt x="397" y="21"/>
                      </a:lnTo>
                      <a:lnTo>
                        <a:pt x="398" y="21"/>
                      </a:lnTo>
                      <a:lnTo>
                        <a:pt x="397" y="21"/>
                      </a:lnTo>
                      <a:lnTo>
                        <a:pt x="397" y="23"/>
                      </a:lnTo>
                      <a:lnTo>
                        <a:pt x="398" y="23"/>
                      </a:lnTo>
                      <a:lnTo>
                        <a:pt x="398" y="21"/>
                      </a:lnTo>
                      <a:lnTo>
                        <a:pt x="400" y="21"/>
                      </a:lnTo>
                      <a:lnTo>
                        <a:pt x="400" y="23"/>
                      </a:lnTo>
                      <a:lnTo>
                        <a:pt x="398" y="23"/>
                      </a:lnTo>
                      <a:lnTo>
                        <a:pt x="400" y="23"/>
                      </a:lnTo>
                      <a:lnTo>
                        <a:pt x="402" y="23"/>
                      </a:lnTo>
                      <a:lnTo>
                        <a:pt x="402" y="24"/>
                      </a:lnTo>
                      <a:lnTo>
                        <a:pt x="403" y="24"/>
                      </a:lnTo>
                      <a:lnTo>
                        <a:pt x="403" y="23"/>
                      </a:lnTo>
                      <a:lnTo>
                        <a:pt x="403" y="24"/>
                      </a:lnTo>
                      <a:lnTo>
                        <a:pt x="403" y="23"/>
                      </a:lnTo>
                      <a:lnTo>
                        <a:pt x="405" y="23"/>
                      </a:lnTo>
                      <a:lnTo>
                        <a:pt x="405" y="24"/>
                      </a:lnTo>
                      <a:lnTo>
                        <a:pt x="407" y="26"/>
                      </a:lnTo>
                      <a:lnTo>
                        <a:pt x="407" y="24"/>
                      </a:lnTo>
                      <a:lnTo>
                        <a:pt x="408" y="24"/>
                      </a:lnTo>
                      <a:lnTo>
                        <a:pt x="408" y="23"/>
                      </a:lnTo>
                      <a:lnTo>
                        <a:pt x="408" y="24"/>
                      </a:lnTo>
                      <a:lnTo>
                        <a:pt x="408" y="23"/>
                      </a:lnTo>
                      <a:lnTo>
                        <a:pt x="410" y="24"/>
                      </a:lnTo>
                      <a:lnTo>
                        <a:pt x="412" y="24"/>
                      </a:lnTo>
                      <a:lnTo>
                        <a:pt x="412" y="23"/>
                      </a:lnTo>
                      <a:lnTo>
                        <a:pt x="412" y="21"/>
                      </a:lnTo>
                      <a:lnTo>
                        <a:pt x="414" y="21"/>
                      </a:lnTo>
                      <a:lnTo>
                        <a:pt x="412" y="21"/>
                      </a:lnTo>
                      <a:lnTo>
                        <a:pt x="414" y="21"/>
                      </a:lnTo>
                      <a:lnTo>
                        <a:pt x="414" y="19"/>
                      </a:lnTo>
                      <a:lnTo>
                        <a:pt x="414" y="21"/>
                      </a:lnTo>
                      <a:lnTo>
                        <a:pt x="414" y="19"/>
                      </a:lnTo>
                      <a:lnTo>
                        <a:pt x="415" y="19"/>
                      </a:lnTo>
                      <a:lnTo>
                        <a:pt x="415" y="18"/>
                      </a:lnTo>
                      <a:lnTo>
                        <a:pt x="417" y="18"/>
                      </a:lnTo>
                      <a:lnTo>
                        <a:pt x="417" y="19"/>
                      </a:lnTo>
                      <a:lnTo>
                        <a:pt x="417" y="18"/>
                      </a:lnTo>
                      <a:lnTo>
                        <a:pt x="417" y="19"/>
                      </a:lnTo>
                      <a:lnTo>
                        <a:pt x="419" y="19"/>
                      </a:lnTo>
                      <a:lnTo>
                        <a:pt x="419" y="18"/>
                      </a:lnTo>
                      <a:lnTo>
                        <a:pt x="420" y="19"/>
                      </a:lnTo>
                      <a:lnTo>
                        <a:pt x="420" y="18"/>
                      </a:lnTo>
                      <a:lnTo>
                        <a:pt x="419" y="18"/>
                      </a:lnTo>
                      <a:lnTo>
                        <a:pt x="420" y="18"/>
                      </a:lnTo>
                      <a:lnTo>
                        <a:pt x="422" y="18"/>
                      </a:lnTo>
                      <a:lnTo>
                        <a:pt x="424" y="18"/>
                      </a:lnTo>
                      <a:lnTo>
                        <a:pt x="424" y="16"/>
                      </a:lnTo>
                      <a:lnTo>
                        <a:pt x="424" y="18"/>
                      </a:lnTo>
                      <a:lnTo>
                        <a:pt x="424" y="16"/>
                      </a:lnTo>
                      <a:lnTo>
                        <a:pt x="425" y="16"/>
                      </a:lnTo>
                      <a:lnTo>
                        <a:pt x="427" y="14"/>
                      </a:lnTo>
                      <a:lnTo>
                        <a:pt x="427" y="16"/>
                      </a:lnTo>
                      <a:lnTo>
                        <a:pt x="427" y="14"/>
                      </a:lnTo>
                      <a:lnTo>
                        <a:pt x="429" y="14"/>
                      </a:lnTo>
                      <a:lnTo>
                        <a:pt x="429" y="13"/>
                      </a:lnTo>
                      <a:lnTo>
                        <a:pt x="430" y="13"/>
                      </a:lnTo>
                      <a:lnTo>
                        <a:pt x="430" y="14"/>
                      </a:lnTo>
                      <a:lnTo>
                        <a:pt x="430" y="13"/>
                      </a:lnTo>
                      <a:lnTo>
                        <a:pt x="432" y="13"/>
                      </a:lnTo>
                      <a:lnTo>
                        <a:pt x="430" y="13"/>
                      </a:lnTo>
                      <a:lnTo>
                        <a:pt x="432" y="13"/>
                      </a:lnTo>
                      <a:lnTo>
                        <a:pt x="430" y="11"/>
                      </a:lnTo>
                      <a:lnTo>
                        <a:pt x="432" y="11"/>
                      </a:lnTo>
                      <a:lnTo>
                        <a:pt x="434" y="11"/>
                      </a:lnTo>
                      <a:lnTo>
                        <a:pt x="434" y="9"/>
                      </a:lnTo>
                      <a:lnTo>
                        <a:pt x="435" y="9"/>
                      </a:lnTo>
                      <a:lnTo>
                        <a:pt x="435" y="8"/>
                      </a:lnTo>
                      <a:lnTo>
                        <a:pt x="437" y="6"/>
                      </a:lnTo>
                      <a:close/>
                      <a:moveTo>
                        <a:pt x="508" y="19"/>
                      </a:moveTo>
                      <a:lnTo>
                        <a:pt x="508" y="18"/>
                      </a:lnTo>
                      <a:lnTo>
                        <a:pt x="508" y="19"/>
                      </a:lnTo>
                      <a:close/>
                      <a:moveTo>
                        <a:pt x="508" y="21"/>
                      </a:moveTo>
                      <a:lnTo>
                        <a:pt x="508" y="19"/>
                      </a:lnTo>
                      <a:lnTo>
                        <a:pt x="508" y="21"/>
                      </a:lnTo>
                      <a:close/>
                      <a:moveTo>
                        <a:pt x="508" y="21"/>
                      </a:moveTo>
                      <a:lnTo>
                        <a:pt x="508" y="19"/>
                      </a:lnTo>
                      <a:lnTo>
                        <a:pt x="508" y="21"/>
                      </a:lnTo>
                      <a:close/>
                      <a:moveTo>
                        <a:pt x="506" y="23"/>
                      </a:moveTo>
                      <a:lnTo>
                        <a:pt x="508" y="23"/>
                      </a:lnTo>
                      <a:lnTo>
                        <a:pt x="506" y="23"/>
                      </a:lnTo>
                      <a:close/>
                      <a:moveTo>
                        <a:pt x="500" y="46"/>
                      </a:moveTo>
                      <a:lnTo>
                        <a:pt x="498" y="46"/>
                      </a:lnTo>
                      <a:lnTo>
                        <a:pt x="500" y="46"/>
                      </a:lnTo>
                      <a:close/>
                      <a:moveTo>
                        <a:pt x="500" y="47"/>
                      </a:moveTo>
                      <a:lnTo>
                        <a:pt x="498" y="47"/>
                      </a:lnTo>
                      <a:lnTo>
                        <a:pt x="498" y="46"/>
                      </a:lnTo>
                      <a:lnTo>
                        <a:pt x="500" y="47"/>
                      </a:lnTo>
                      <a:close/>
                      <a:moveTo>
                        <a:pt x="491" y="210"/>
                      </a:moveTo>
                      <a:lnTo>
                        <a:pt x="493" y="210"/>
                      </a:lnTo>
                      <a:lnTo>
                        <a:pt x="491" y="210"/>
                      </a:lnTo>
                      <a:close/>
                      <a:moveTo>
                        <a:pt x="491" y="211"/>
                      </a:moveTo>
                      <a:lnTo>
                        <a:pt x="491" y="210"/>
                      </a:lnTo>
                      <a:lnTo>
                        <a:pt x="491" y="211"/>
                      </a:lnTo>
                      <a:close/>
                      <a:moveTo>
                        <a:pt x="493" y="218"/>
                      </a:moveTo>
                      <a:lnTo>
                        <a:pt x="493" y="216"/>
                      </a:lnTo>
                      <a:lnTo>
                        <a:pt x="493" y="218"/>
                      </a:lnTo>
                      <a:close/>
                      <a:moveTo>
                        <a:pt x="503" y="182"/>
                      </a:moveTo>
                      <a:lnTo>
                        <a:pt x="501" y="182"/>
                      </a:lnTo>
                      <a:lnTo>
                        <a:pt x="503" y="182"/>
                      </a:lnTo>
                      <a:close/>
                      <a:moveTo>
                        <a:pt x="500" y="175"/>
                      </a:moveTo>
                      <a:lnTo>
                        <a:pt x="498" y="175"/>
                      </a:lnTo>
                      <a:lnTo>
                        <a:pt x="500" y="174"/>
                      </a:lnTo>
                      <a:lnTo>
                        <a:pt x="500" y="175"/>
                      </a:lnTo>
                      <a:close/>
                      <a:moveTo>
                        <a:pt x="495" y="187"/>
                      </a:moveTo>
                      <a:lnTo>
                        <a:pt x="496" y="187"/>
                      </a:lnTo>
                      <a:lnTo>
                        <a:pt x="495" y="187"/>
                      </a:lnTo>
                      <a:close/>
                      <a:moveTo>
                        <a:pt x="522" y="121"/>
                      </a:moveTo>
                      <a:lnTo>
                        <a:pt x="523" y="121"/>
                      </a:lnTo>
                      <a:lnTo>
                        <a:pt x="522" y="121"/>
                      </a:lnTo>
                      <a:close/>
                      <a:moveTo>
                        <a:pt x="520" y="123"/>
                      </a:moveTo>
                      <a:lnTo>
                        <a:pt x="518" y="123"/>
                      </a:lnTo>
                      <a:lnTo>
                        <a:pt x="518" y="121"/>
                      </a:lnTo>
                      <a:lnTo>
                        <a:pt x="520" y="121"/>
                      </a:lnTo>
                      <a:lnTo>
                        <a:pt x="520" y="123"/>
                      </a:lnTo>
                      <a:close/>
                      <a:moveTo>
                        <a:pt x="503" y="124"/>
                      </a:moveTo>
                      <a:lnTo>
                        <a:pt x="503" y="123"/>
                      </a:lnTo>
                      <a:lnTo>
                        <a:pt x="503" y="124"/>
                      </a:lnTo>
                      <a:close/>
                      <a:moveTo>
                        <a:pt x="500" y="136"/>
                      </a:moveTo>
                      <a:lnTo>
                        <a:pt x="500" y="134"/>
                      </a:lnTo>
                      <a:lnTo>
                        <a:pt x="500" y="136"/>
                      </a:lnTo>
                      <a:close/>
                      <a:moveTo>
                        <a:pt x="506" y="136"/>
                      </a:moveTo>
                      <a:lnTo>
                        <a:pt x="508" y="136"/>
                      </a:lnTo>
                      <a:lnTo>
                        <a:pt x="510" y="134"/>
                      </a:lnTo>
                      <a:lnTo>
                        <a:pt x="511" y="134"/>
                      </a:lnTo>
                      <a:lnTo>
                        <a:pt x="513" y="134"/>
                      </a:lnTo>
                      <a:lnTo>
                        <a:pt x="513" y="133"/>
                      </a:lnTo>
                      <a:lnTo>
                        <a:pt x="513" y="134"/>
                      </a:lnTo>
                      <a:lnTo>
                        <a:pt x="513" y="133"/>
                      </a:lnTo>
                      <a:lnTo>
                        <a:pt x="513" y="131"/>
                      </a:lnTo>
                      <a:lnTo>
                        <a:pt x="515" y="131"/>
                      </a:lnTo>
                      <a:lnTo>
                        <a:pt x="515" y="133"/>
                      </a:lnTo>
                      <a:lnTo>
                        <a:pt x="517" y="134"/>
                      </a:lnTo>
                      <a:lnTo>
                        <a:pt x="517" y="136"/>
                      </a:lnTo>
                      <a:lnTo>
                        <a:pt x="518" y="136"/>
                      </a:lnTo>
                      <a:lnTo>
                        <a:pt x="520" y="136"/>
                      </a:lnTo>
                      <a:lnTo>
                        <a:pt x="520" y="138"/>
                      </a:lnTo>
                      <a:lnTo>
                        <a:pt x="518" y="138"/>
                      </a:lnTo>
                      <a:lnTo>
                        <a:pt x="518" y="139"/>
                      </a:lnTo>
                      <a:lnTo>
                        <a:pt x="518" y="141"/>
                      </a:lnTo>
                      <a:lnTo>
                        <a:pt x="517" y="141"/>
                      </a:lnTo>
                      <a:lnTo>
                        <a:pt x="515" y="142"/>
                      </a:lnTo>
                      <a:lnTo>
                        <a:pt x="515" y="144"/>
                      </a:lnTo>
                      <a:lnTo>
                        <a:pt x="513" y="146"/>
                      </a:lnTo>
                      <a:lnTo>
                        <a:pt x="513" y="147"/>
                      </a:lnTo>
                      <a:lnTo>
                        <a:pt x="513" y="149"/>
                      </a:lnTo>
                      <a:lnTo>
                        <a:pt x="515" y="149"/>
                      </a:lnTo>
                      <a:lnTo>
                        <a:pt x="515" y="151"/>
                      </a:lnTo>
                      <a:lnTo>
                        <a:pt x="513" y="151"/>
                      </a:lnTo>
                      <a:lnTo>
                        <a:pt x="513" y="152"/>
                      </a:lnTo>
                      <a:lnTo>
                        <a:pt x="511" y="152"/>
                      </a:lnTo>
                      <a:lnTo>
                        <a:pt x="511" y="154"/>
                      </a:lnTo>
                      <a:lnTo>
                        <a:pt x="510" y="156"/>
                      </a:lnTo>
                      <a:lnTo>
                        <a:pt x="508" y="157"/>
                      </a:lnTo>
                      <a:lnTo>
                        <a:pt x="508" y="159"/>
                      </a:lnTo>
                      <a:lnTo>
                        <a:pt x="506" y="161"/>
                      </a:lnTo>
                      <a:lnTo>
                        <a:pt x="506" y="162"/>
                      </a:lnTo>
                      <a:lnTo>
                        <a:pt x="506" y="164"/>
                      </a:lnTo>
                      <a:lnTo>
                        <a:pt x="506" y="165"/>
                      </a:lnTo>
                      <a:lnTo>
                        <a:pt x="506" y="164"/>
                      </a:lnTo>
                      <a:lnTo>
                        <a:pt x="506" y="165"/>
                      </a:lnTo>
                      <a:lnTo>
                        <a:pt x="508" y="165"/>
                      </a:lnTo>
                      <a:lnTo>
                        <a:pt x="508" y="167"/>
                      </a:lnTo>
                      <a:lnTo>
                        <a:pt x="508" y="169"/>
                      </a:lnTo>
                      <a:lnTo>
                        <a:pt x="506" y="169"/>
                      </a:lnTo>
                      <a:lnTo>
                        <a:pt x="506" y="167"/>
                      </a:lnTo>
                      <a:lnTo>
                        <a:pt x="505" y="167"/>
                      </a:lnTo>
                      <a:lnTo>
                        <a:pt x="503" y="169"/>
                      </a:lnTo>
                      <a:lnTo>
                        <a:pt x="503" y="170"/>
                      </a:lnTo>
                      <a:lnTo>
                        <a:pt x="503" y="172"/>
                      </a:lnTo>
                      <a:lnTo>
                        <a:pt x="501" y="172"/>
                      </a:lnTo>
                      <a:lnTo>
                        <a:pt x="501" y="174"/>
                      </a:lnTo>
                      <a:lnTo>
                        <a:pt x="501" y="172"/>
                      </a:lnTo>
                      <a:lnTo>
                        <a:pt x="500" y="172"/>
                      </a:lnTo>
                      <a:lnTo>
                        <a:pt x="500" y="170"/>
                      </a:lnTo>
                      <a:lnTo>
                        <a:pt x="501" y="170"/>
                      </a:lnTo>
                      <a:lnTo>
                        <a:pt x="500" y="170"/>
                      </a:lnTo>
                      <a:lnTo>
                        <a:pt x="500" y="169"/>
                      </a:lnTo>
                      <a:lnTo>
                        <a:pt x="501" y="169"/>
                      </a:lnTo>
                      <a:lnTo>
                        <a:pt x="500" y="169"/>
                      </a:lnTo>
                      <a:lnTo>
                        <a:pt x="500" y="167"/>
                      </a:lnTo>
                      <a:lnTo>
                        <a:pt x="500" y="165"/>
                      </a:lnTo>
                      <a:lnTo>
                        <a:pt x="498" y="165"/>
                      </a:lnTo>
                      <a:lnTo>
                        <a:pt x="500" y="165"/>
                      </a:lnTo>
                      <a:lnTo>
                        <a:pt x="501" y="165"/>
                      </a:lnTo>
                      <a:lnTo>
                        <a:pt x="501" y="164"/>
                      </a:lnTo>
                      <a:lnTo>
                        <a:pt x="501" y="162"/>
                      </a:lnTo>
                      <a:lnTo>
                        <a:pt x="500" y="162"/>
                      </a:lnTo>
                      <a:lnTo>
                        <a:pt x="501" y="161"/>
                      </a:lnTo>
                      <a:lnTo>
                        <a:pt x="501" y="159"/>
                      </a:lnTo>
                      <a:lnTo>
                        <a:pt x="500" y="159"/>
                      </a:lnTo>
                      <a:lnTo>
                        <a:pt x="500" y="157"/>
                      </a:lnTo>
                      <a:lnTo>
                        <a:pt x="501" y="156"/>
                      </a:lnTo>
                      <a:lnTo>
                        <a:pt x="503" y="156"/>
                      </a:lnTo>
                      <a:lnTo>
                        <a:pt x="505" y="156"/>
                      </a:lnTo>
                      <a:lnTo>
                        <a:pt x="505" y="154"/>
                      </a:lnTo>
                      <a:lnTo>
                        <a:pt x="503" y="152"/>
                      </a:lnTo>
                      <a:lnTo>
                        <a:pt x="501" y="152"/>
                      </a:lnTo>
                      <a:lnTo>
                        <a:pt x="501" y="151"/>
                      </a:lnTo>
                      <a:lnTo>
                        <a:pt x="500" y="151"/>
                      </a:lnTo>
                      <a:lnTo>
                        <a:pt x="501" y="151"/>
                      </a:lnTo>
                      <a:lnTo>
                        <a:pt x="501" y="149"/>
                      </a:lnTo>
                      <a:lnTo>
                        <a:pt x="503" y="149"/>
                      </a:lnTo>
                      <a:lnTo>
                        <a:pt x="503" y="147"/>
                      </a:lnTo>
                      <a:lnTo>
                        <a:pt x="503" y="149"/>
                      </a:lnTo>
                      <a:lnTo>
                        <a:pt x="505" y="149"/>
                      </a:lnTo>
                      <a:lnTo>
                        <a:pt x="505" y="147"/>
                      </a:lnTo>
                      <a:lnTo>
                        <a:pt x="505" y="146"/>
                      </a:lnTo>
                      <a:lnTo>
                        <a:pt x="506" y="146"/>
                      </a:lnTo>
                      <a:lnTo>
                        <a:pt x="505" y="146"/>
                      </a:lnTo>
                      <a:lnTo>
                        <a:pt x="503" y="146"/>
                      </a:lnTo>
                      <a:lnTo>
                        <a:pt x="505" y="144"/>
                      </a:lnTo>
                      <a:lnTo>
                        <a:pt x="503" y="144"/>
                      </a:lnTo>
                      <a:lnTo>
                        <a:pt x="505" y="144"/>
                      </a:lnTo>
                      <a:lnTo>
                        <a:pt x="505" y="142"/>
                      </a:lnTo>
                      <a:lnTo>
                        <a:pt x="505" y="141"/>
                      </a:lnTo>
                      <a:lnTo>
                        <a:pt x="503" y="141"/>
                      </a:lnTo>
                      <a:lnTo>
                        <a:pt x="503" y="139"/>
                      </a:lnTo>
                      <a:lnTo>
                        <a:pt x="505" y="138"/>
                      </a:lnTo>
                      <a:lnTo>
                        <a:pt x="505" y="139"/>
                      </a:lnTo>
                      <a:lnTo>
                        <a:pt x="505" y="138"/>
                      </a:lnTo>
                      <a:lnTo>
                        <a:pt x="503" y="138"/>
                      </a:lnTo>
                      <a:lnTo>
                        <a:pt x="501" y="138"/>
                      </a:lnTo>
                      <a:lnTo>
                        <a:pt x="503" y="138"/>
                      </a:lnTo>
                      <a:lnTo>
                        <a:pt x="503" y="136"/>
                      </a:lnTo>
                      <a:lnTo>
                        <a:pt x="505" y="136"/>
                      </a:lnTo>
                      <a:lnTo>
                        <a:pt x="506" y="136"/>
                      </a:lnTo>
                      <a:close/>
                      <a:moveTo>
                        <a:pt x="520" y="134"/>
                      </a:moveTo>
                      <a:lnTo>
                        <a:pt x="518" y="134"/>
                      </a:lnTo>
                      <a:lnTo>
                        <a:pt x="520" y="134"/>
                      </a:lnTo>
                      <a:close/>
                      <a:moveTo>
                        <a:pt x="500" y="139"/>
                      </a:moveTo>
                      <a:lnTo>
                        <a:pt x="501" y="139"/>
                      </a:lnTo>
                      <a:lnTo>
                        <a:pt x="500" y="139"/>
                      </a:lnTo>
                      <a:close/>
                      <a:moveTo>
                        <a:pt x="501" y="147"/>
                      </a:moveTo>
                      <a:lnTo>
                        <a:pt x="501" y="146"/>
                      </a:lnTo>
                      <a:lnTo>
                        <a:pt x="501" y="147"/>
                      </a:lnTo>
                      <a:close/>
                      <a:moveTo>
                        <a:pt x="517" y="152"/>
                      </a:moveTo>
                      <a:lnTo>
                        <a:pt x="518" y="152"/>
                      </a:lnTo>
                      <a:lnTo>
                        <a:pt x="517" y="152"/>
                      </a:lnTo>
                      <a:close/>
                      <a:moveTo>
                        <a:pt x="510" y="159"/>
                      </a:moveTo>
                      <a:lnTo>
                        <a:pt x="510" y="161"/>
                      </a:lnTo>
                      <a:lnTo>
                        <a:pt x="510" y="159"/>
                      </a:lnTo>
                      <a:close/>
                      <a:moveTo>
                        <a:pt x="503" y="172"/>
                      </a:moveTo>
                      <a:lnTo>
                        <a:pt x="505" y="172"/>
                      </a:lnTo>
                      <a:lnTo>
                        <a:pt x="503" y="172"/>
                      </a:lnTo>
                      <a:close/>
                      <a:moveTo>
                        <a:pt x="503" y="174"/>
                      </a:moveTo>
                      <a:lnTo>
                        <a:pt x="505" y="172"/>
                      </a:lnTo>
                      <a:lnTo>
                        <a:pt x="505" y="174"/>
                      </a:lnTo>
                      <a:lnTo>
                        <a:pt x="503" y="174"/>
                      </a:lnTo>
                      <a:close/>
                      <a:moveTo>
                        <a:pt x="506" y="174"/>
                      </a:moveTo>
                      <a:lnTo>
                        <a:pt x="506" y="172"/>
                      </a:lnTo>
                      <a:lnTo>
                        <a:pt x="506" y="174"/>
                      </a:lnTo>
                      <a:close/>
                      <a:moveTo>
                        <a:pt x="501" y="110"/>
                      </a:moveTo>
                      <a:lnTo>
                        <a:pt x="501" y="108"/>
                      </a:lnTo>
                      <a:lnTo>
                        <a:pt x="503" y="108"/>
                      </a:lnTo>
                      <a:lnTo>
                        <a:pt x="501" y="110"/>
                      </a:lnTo>
                      <a:close/>
                      <a:moveTo>
                        <a:pt x="515" y="113"/>
                      </a:moveTo>
                      <a:lnTo>
                        <a:pt x="515" y="111"/>
                      </a:lnTo>
                      <a:lnTo>
                        <a:pt x="515" y="113"/>
                      </a:lnTo>
                      <a:close/>
                      <a:moveTo>
                        <a:pt x="517" y="113"/>
                      </a:moveTo>
                      <a:lnTo>
                        <a:pt x="517" y="111"/>
                      </a:lnTo>
                      <a:lnTo>
                        <a:pt x="517" y="113"/>
                      </a:lnTo>
                      <a:close/>
                      <a:moveTo>
                        <a:pt x="510" y="115"/>
                      </a:moveTo>
                      <a:lnTo>
                        <a:pt x="508" y="115"/>
                      </a:lnTo>
                      <a:lnTo>
                        <a:pt x="510" y="115"/>
                      </a:lnTo>
                      <a:close/>
                    </a:path>
                  </a:pathLst>
                </a:custGeom>
                <a:solidFill>
                  <a:srgbClr val="F79646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0" name="Freeform 8"/>
                <p:cNvSpPr>
                  <a:spLocks noChangeAspect="1" noEditPoints="1"/>
                </p:cNvSpPr>
                <p:nvPr/>
              </p:nvSpPr>
              <p:spPr bwMode="auto">
                <a:xfrm>
                  <a:off x="4355724" y="4322279"/>
                  <a:ext cx="1328225" cy="853024"/>
                </a:xfrm>
                <a:custGeom>
                  <a:avLst/>
                  <a:gdLst>
                    <a:gd name="T0" fmla="*/ 2147483647 w 850"/>
                    <a:gd name="T1" fmla="*/ 2147483647 h 510"/>
                    <a:gd name="T2" fmla="*/ 2147483647 w 850"/>
                    <a:gd name="T3" fmla="*/ 2147483647 h 510"/>
                    <a:gd name="T4" fmla="*/ 2147483647 w 850"/>
                    <a:gd name="T5" fmla="*/ 2147483647 h 510"/>
                    <a:gd name="T6" fmla="*/ 2147483647 w 850"/>
                    <a:gd name="T7" fmla="*/ 2147483647 h 510"/>
                    <a:gd name="T8" fmla="*/ 2147483647 w 850"/>
                    <a:gd name="T9" fmla="*/ 2147483647 h 510"/>
                    <a:gd name="T10" fmla="*/ 2147483647 w 850"/>
                    <a:gd name="T11" fmla="*/ 2147483647 h 510"/>
                    <a:gd name="T12" fmla="*/ 2147483647 w 850"/>
                    <a:gd name="T13" fmla="*/ 2147483647 h 510"/>
                    <a:gd name="T14" fmla="*/ 2147483647 w 850"/>
                    <a:gd name="T15" fmla="*/ 2147483647 h 510"/>
                    <a:gd name="T16" fmla="*/ 2147483647 w 850"/>
                    <a:gd name="T17" fmla="*/ 2147483647 h 510"/>
                    <a:gd name="T18" fmla="*/ 2147483647 w 850"/>
                    <a:gd name="T19" fmla="*/ 2147483647 h 510"/>
                    <a:gd name="T20" fmla="*/ 2147483647 w 850"/>
                    <a:gd name="T21" fmla="*/ 2147483647 h 510"/>
                    <a:gd name="T22" fmla="*/ 2147483647 w 850"/>
                    <a:gd name="T23" fmla="*/ 2147483647 h 510"/>
                    <a:gd name="T24" fmla="*/ 2147483647 w 850"/>
                    <a:gd name="T25" fmla="*/ 2147483647 h 510"/>
                    <a:gd name="T26" fmla="*/ 2147483647 w 850"/>
                    <a:gd name="T27" fmla="*/ 2147483647 h 510"/>
                    <a:gd name="T28" fmla="*/ 2147483647 w 850"/>
                    <a:gd name="T29" fmla="*/ 2147483647 h 510"/>
                    <a:gd name="T30" fmla="*/ 2147483647 w 850"/>
                    <a:gd name="T31" fmla="*/ 2147483647 h 510"/>
                    <a:gd name="T32" fmla="*/ 2147483647 w 850"/>
                    <a:gd name="T33" fmla="*/ 2147483647 h 510"/>
                    <a:gd name="T34" fmla="*/ 2147483647 w 850"/>
                    <a:gd name="T35" fmla="*/ 2147483647 h 510"/>
                    <a:gd name="T36" fmla="*/ 2147483647 w 850"/>
                    <a:gd name="T37" fmla="*/ 2147483647 h 510"/>
                    <a:gd name="T38" fmla="*/ 2147483647 w 850"/>
                    <a:gd name="T39" fmla="*/ 2147483647 h 510"/>
                    <a:gd name="T40" fmla="*/ 2147483647 w 850"/>
                    <a:gd name="T41" fmla="*/ 2147483647 h 510"/>
                    <a:gd name="T42" fmla="*/ 2147483647 w 850"/>
                    <a:gd name="T43" fmla="*/ 2147483647 h 510"/>
                    <a:gd name="T44" fmla="*/ 2147483647 w 850"/>
                    <a:gd name="T45" fmla="*/ 2147483647 h 510"/>
                    <a:gd name="T46" fmla="*/ 2147483647 w 850"/>
                    <a:gd name="T47" fmla="*/ 2147483647 h 510"/>
                    <a:gd name="T48" fmla="*/ 2147483647 w 850"/>
                    <a:gd name="T49" fmla="*/ 2147483647 h 510"/>
                    <a:gd name="T50" fmla="*/ 2147483647 w 850"/>
                    <a:gd name="T51" fmla="*/ 2147483647 h 510"/>
                    <a:gd name="T52" fmla="*/ 2147483647 w 850"/>
                    <a:gd name="T53" fmla="*/ 2147483647 h 510"/>
                    <a:gd name="T54" fmla="*/ 2147483647 w 850"/>
                    <a:gd name="T55" fmla="*/ 2147483647 h 510"/>
                    <a:gd name="T56" fmla="*/ 2147483647 w 850"/>
                    <a:gd name="T57" fmla="*/ 2147483647 h 510"/>
                    <a:gd name="T58" fmla="*/ 2147483647 w 850"/>
                    <a:gd name="T59" fmla="*/ 2147483647 h 510"/>
                    <a:gd name="T60" fmla="*/ 2147483647 w 850"/>
                    <a:gd name="T61" fmla="*/ 2147483647 h 510"/>
                    <a:gd name="T62" fmla="*/ 2147483647 w 850"/>
                    <a:gd name="T63" fmla="*/ 2147483647 h 510"/>
                    <a:gd name="T64" fmla="*/ 2147483647 w 850"/>
                    <a:gd name="T65" fmla="*/ 2147483647 h 510"/>
                    <a:gd name="T66" fmla="*/ 2147483647 w 850"/>
                    <a:gd name="T67" fmla="*/ 2147483647 h 510"/>
                    <a:gd name="T68" fmla="*/ 2147483647 w 850"/>
                    <a:gd name="T69" fmla="*/ 2147483647 h 510"/>
                    <a:gd name="T70" fmla="*/ 2147483647 w 850"/>
                    <a:gd name="T71" fmla="*/ 2147483647 h 510"/>
                    <a:gd name="T72" fmla="*/ 2147483647 w 850"/>
                    <a:gd name="T73" fmla="*/ 2147483647 h 510"/>
                    <a:gd name="T74" fmla="*/ 2147483647 w 850"/>
                    <a:gd name="T75" fmla="*/ 2147483647 h 510"/>
                    <a:gd name="T76" fmla="*/ 2147483647 w 850"/>
                    <a:gd name="T77" fmla="*/ 2147483647 h 510"/>
                    <a:gd name="T78" fmla="*/ 2147483647 w 850"/>
                    <a:gd name="T79" fmla="*/ 2147483647 h 510"/>
                    <a:gd name="T80" fmla="*/ 2147483647 w 850"/>
                    <a:gd name="T81" fmla="*/ 2147483647 h 510"/>
                    <a:gd name="T82" fmla="*/ 2147483647 w 850"/>
                    <a:gd name="T83" fmla="*/ 2147483647 h 510"/>
                    <a:gd name="T84" fmla="*/ 2147483647 w 850"/>
                    <a:gd name="T85" fmla="*/ 2147483647 h 510"/>
                    <a:gd name="T86" fmla="*/ 2147483647 w 850"/>
                    <a:gd name="T87" fmla="*/ 2147483647 h 510"/>
                    <a:gd name="T88" fmla="*/ 2147483647 w 850"/>
                    <a:gd name="T89" fmla="*/ 2147483647 h 510"/>
                    <a:gd name="T90" fmla="*/ 2147483647 w 850"/>
                    <a:gd name="T91" fmla="*/ 2147483647 h 510"/>
                    <a:gd name="T92" fmla="*/ 2147483647 w 850"/>
                    <a:gd name="T93" fmla="*/ 2147483647 h 510"/>
                    <a:gd name="T94" fmla="*/ 2147483647 w 850"/>
                    <a:gd name="T95" fmla="*/ 2147483647 h 510"/>
                    <a:gd name="T96" fmla="*/ 2147483647 w 850"/>
                    <a:gd name="T97" fmla="*/ 2147483647 h 510"/>
                    <a:gd name="T98" fmla="*/ 2147483647 w 850"/>
                    <a:gd name="T99" fmla="*/ 2147483647 h 510"/>
                    <a:gd name="T100" fmla="*/ 2147483647 w 850"/>
                    <a:gd name="T101" fmla="*/ 2147483647 h 510"/>
                    <a:gd name="T102" fmla="*/ 2147483647 w 850"/>
                    <a:gd name="T103" fmla="*/ 2147483647 h 510"/>
                    <a:gd name="T104" fmla="*/ 2147483647 w 850"/>
                    <a:gd name="T105" fmla="*/ 2147483647 h 510"/>
                    <a:gd name="T106" fmla="*/ 2147483647 w 850"/>
                    <a:gd name="T107" fmla="*/ 2147483647 h 510"/>
                    <a:gd name="T108" fmla="*/ 2147483647 w 850"/>
                    <a:gd name="T109" fmla="*/ 2147483647 h 510"/>
                    <a:gd name="T110" fmla="*/ 2147483647 w 850"/>
                    <a:gd name="T111" fmla="*/ 2147483647 h 510"/>
                    <a:gd name="T112" fmla="*/ 2147483647 w 850"/>
                    <a:gd name="T113" fmla="*/ 2147483647 h 510"/>
                    <a:gd name="T114" fmla="*/ 2147483647 w 850"/>
                    <a:gd name="T115" fmla="*/ 2147483647 h 510"/>
                    <a:gd name="T116" fmla="*/ 2147483647 w 850"/>
                    <a:gd name="T117" fmla="*/ 2147483647 h 510"/>
                    <a:gd name="T118" fmla="*/ 2147483647 w 850"/>
                    <a:gd name="T119" fmla="*/ 2147483647 h 510"/>
                    <a:gd name="T120" fmla="*/ 2147483647 w 850"/>
                    <a:gd name="T121" fmla="*/ 2147483647 h 510"/>
                    <a:gd name="T122" fmla="*/ 2147483647 w 850"/>
                    <a:gd name="T123" fmla="*/ 2147483647 h 510"/>
                    <a:gd name="T124" fmla="*/ 2147483647 w 850"/>
                    <a:gd name="T125" fmla="*/ 2147483647 h 51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50"/>
                    <a:gd name="T190" fmla="*/ 0 h 510"/>
                    <a:gd name="T191" fmla="*/ 850 w 850"/>
                    <a:gd name="T192" fmla="*/ 510 h 51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50" h="510">
                      <a:moveTo>
                        <a:pt x="714" y="261"/>
                      </a:moveTo>
                      <a:lnTo>
                        <a:pt x="716" y="261"/>
                      </a:lnTo>
                      <a:lnTo>
                        <a:pt x="716" y="262"/>
                      </a:lnTo>
                      <a:lnTo>
                        <a:pt x="716" y="264"/>
                      </a:lnTo>
                      <a:lnTo>
                        <a:pt x="714" y="264"/>
                      </a:lnTo>
                      <a:lnTo>
                        <a:pt x="714" y="266"/>
                      </a:lnTo>
                      <a:lnTo>
                        <a:pt x="716" y="266"/>
                      </a:lnTo>
                      <a:lnTo>
                        <a:pt x="716" y="264"/>
                      </a:lnTo>
                      <a:lnTo>
                        <a:pt x="718" y="264"/>
                      </a:lnTo>
                      <a:lnTo>
                        <a:pt x="719" y="264"/>
                      </a:lnTo>
                      <a:lnTo>
                        <a:pt x="721" y="264"/>
                      </a:lnTo>
                      <a:lnTo>
                        <a:pt x="721" y="262"/>
                      </a:lnTo>
                      <a:lnTo>
                        <a:pt x="723" y="262"/>
                      </a:lnTo>
                      <a:lnTo>
                        <a:pt x="723" y="261"/>
                      </a:lnTo>
                      <a:lnTo>
                        <a:pt x="725" y="261"/>
                      </a:lnTo>
                      <a:lnTo>
                        <a:pt x="725" y="259"/>
                      </a:lnTo>
                      <a:lnTo>
                        <a:pt x="726" y="259"/>
                      </a:lnTo>
                      <a:lnTo>
                        <a:pt x="726" y="261"/>
                      </a:lnTo>
                      <a:lnTo>
                        <a:pt x="728" y="261"/>
                      </a:lnTo>
                      <a:lnTo>
                        <a:pt x="730" y="262"/>
                      </a:lnTo>
                      <a:lnTo>
                        <a:pt x="731" y="262"/>
                      </a:lnTo>
                      <a:lnTo>
                        <a:pt x="730" y="264"/>
                      </a:lnTo>
                      <a:lnTo>
                        <a:pt x="731" y="264"/>
                      </a:lnTo>
                      <a:lnTo>
                        <a:pt x="730" y="264"/>
                      </a:lnTo>
                      <a:lnTo>
                        <a:pt x="731" y="264"/>
                      </a:lnTo>
                      <a:lnTo>
                        <a:pt x="733" y="264"/>
                      </a:lnTo>
                      <a:lnTo>
                        <a:pt x="735" y="262"/>
                      </a:lnTo>
                      <a:lnTo>
                        <a:pt x="735" y="264"/>
                      </a:lnTo>
                      <a:lnTo>
                        <a:pt x="736" y="262"/>
                      </a:lnTo>
                      <a:lnTo>
                        <a:pt x="738" y="262"/>
                      </a:lnTo>
                      <a:lnTo>
                        <a:pt x="738" y="261"/>
                      </a:lnTo>
                      <a:lnTo>
                        <a:pt x="740" y="261"/>
                      </a:lnTo>
                      <a:lnTo>
                        <a:pt x="741" y="261"/>
                      </a:lnTo>
                      <a:lnTo>
                        <a:pt x="743" y="261"/>
                      </a:lnTo>
                      <a:lnTo>
                        <a:pt x="745" y="261"/>
                      </a:lnTo>
                      <a:lnTo>
                        <a:pt x="745" y="259"/>
                      </a:lnTo>
                      <a:lnTo>
                        <a:pt x="745" y="258"/>
                      </a:lnTo>
                      <a:lnTo>
                        <a:pt x="746" y="258"/>
                      </a:lnTo>
                      <a:lnTo>
                        <a:pt x="748" y="258"/>
                      </a:lnTo>
                      <a:lnTo>
                        <a:pt x="748" y="256"/>
                      </a:lnTo>
                      <a:lnTo>
                        <a:pt x="750" y="256"/>
                      </a:lnTo>
                      <a:lnTo>
                        <a:pt x="752" y="256"/>
                      </a:lnTo>
                      <a:lnTo>
                        <a:pt x="753" y="256"/>
                      </a:lnTo>
                      <a:lnTo>
                        <a:pt x="753" y="254"/>
                      </a:lnTo>
                      <a:lnTo>
                        <a:pt x="753" y="253"/>
                      </a:lnTo>
                      <a:lnTo>
                        <a:pt x="755" y="253"/>
                      </a:lnTo>
                      <a:lnTo>
                        <a:pt x="755" y="251"/>
                      </a:lnTo>
                      <a:lnTo>
                        <a:pt x="757" y="251"/>
                      </a:lnTo>
                      <a:lnTo>
                        <a:pt x="758" y="251"/>
                      </a:lnTo>
                      <a:lnTo>
                        <a:pt x="758" y="249"/>
                      </a:lnTo>
                      <a:lnTo>
                        <a:pt x="760" y="249"/>
                      </a:lnTo>
                      <a:lnTo>
                        <a:pt x="762" y="249"/>
                      </a:lnTo>
                      <a:lnTo>
                        <a:pt x="763" y="248"/>
                      </a:lnTo>
                      <a:lnTo>
                        <a:pt x="765" y="248"/>
                      </a:lnTo>
                      <a:lnTo>
                        <a:pt x="767" y="248"/>
                      </a:lnTo>
                      <a:lnTo>
                        <a:pt x="768" y="248"/>
                      </a:lnTo>
                      <a:lnTo>
                        <a:pt x="770" y="248"/>
                      </a:lnTo>
                      <a:lnTo>
                        <a:pt x="772" y="248"/>
                      </a:lnTo>
                      <a:lnTo>
                        <a:pt x="774" y="248"/>
                      </a:lnTo>
                      <a:lnTo>
                        <a:pt x="774" y="246"/>
                      </a:lnTo>
                      <a:lnTo>
                        <a:pt x="775" y="246"/>
                      </a:lnTo>
                      <a:lnTo>
                        <a:pt x="777" y="246"/>
                      </a:lnTo>
                      <a:lnTo>
                        <a:pt x="779" y="246"/>
                      </a:lnTo>
                      <a:lnTo>
                        <a:pt x="780" y="244"/>
                      </a:lnTo>
                      <a:lnTo>
                        <a:pt x="782" y="244"/>
                      </a:lnTo>
                      <a:lnTo>
                        <a:pt x="782" y="243"/>
                      </a:lnTo>
                      <a:lnTo>
                        <a:pt x="784" y="244"/>
                      </a:lnTo>
                      <a:lnTo>
                        <a:pt x="785" y="244"/>
                      </a:lnTo>
                      <a:lnTo>
                        <a:pt x="785" y="243"/>
                      </a:lnTo>
                      <a:lnTo>
                        <a:pt x="787" y="243"/>
                      </a:lnTo>
                      <a:lnTo>
                        <a:pt x="787" y="241"/>
                      </a:lnTo>
                      <a:lnTo>
                        <a:pt x="789" y="241"/>
                      </a:lnTo>
                      <a:lnTo>
                        <a:pt x="789" y="243"/>
                      </a:lnTo>
                      <a:lnTo>
                        <a:pt x="790" y="243"/>
                      </a:lnTo>
                      <a:lnTo>
                        <a:pt x="792" y="243"/>
                      </a:lnTo>
                      <a:lnTo>
                        <a:pt x="794" y="243"/>
                      </a:lnTo>
                      <a:lnTo>
                        <a:pt x="794" y="244"/>
                      </a:lnTo>
                      <a:lnTo>
                        <a:pt x="795" y="244"/>
                      </a:lnTo>
                      <a:lnTo>
                        <a:pt x="794" y="244"/>
                      </a:lnTo>
                      <a:lnTo>
                        <a:pt x="795" y="244"/>
                      </a:lnTo>
                      <a:lnTo>
                        <a:pt x="795" y="246"/>
                      </a:lnTo>
                      <a:lnTo>
                        <a:pt x="795" y="248"/>
                      </a:lnTo>
                      <a:lnTo>
                        <a:pt x="795" y="249"/>
                      </a:lnTo>
                      <a:lnTo>
                        <a:pt x="797" y="249"/>
                      </a:lnTo>
                      <a:lnTo>
                        <a:pt x="797" y="251"/>
                      </a:lnTo>
                      <a:lnTo>
                        <a:pt x="795" y="251"/>
                      </a:lnTo>
                      <a:lnTo>
                        <a:pt x="797" y="253"/>
                      </a:lnTo>
                      <a:lnTo>
                        <a:pt x="797" y="251"/>
                      </a:lnTo>
                      <a:lnTo>
                        <a:pt x="799" y="253"/>
                      </a:lnTo>
                      <a:lnTo>
                        <a:pt x="801" y="254"/>
                      </a:lnTo>
                      <a:lnTo>
                        <a:pt x="801" y="256"/>
                      </a:lnTo>
                      <a:lnTo>
                        <a:pt x="802" y="256"/>
                      </a:lnTo>
                      <a:lnTo>
                        <a:pt x="804" y="256"/>
                      </a:lnTo>
                      <a:lnTo>
                        <a:pt x="804" y="258"/>
                      </a:lnTo>
                      <a:lnTo>
                        <a:pt x="802" y="258"/>
                      </a:lnTo>
                      <a:lnTo>
                        <a:pt x="802" y="259"/>
                      </a:lnTo>
                      <a:lnTo>
                        <a:pt x="804" y="259"/>
                      </a:lnTo>
                      <a:lnTo>
                        <a:pt x="802" y="259"/>
                      </a:lnTo>
                      <a:lnTo>
                        <a:pt x="802" y="261"/>
                      </a:lnTo>
                      <a:lnTo>
                        <a:pt x="804" y="261"/>
                      </a:lnTo>
                      <a:lnTo>
                        <a:pt x="806" y="261"/>
                      </a:lnTo>
                      <a:lnTo>
                        <a:pt x="807" y="261"/>
                      </a:lnTo>
                      <a:lnTo>
                        <a:pt x="807" y="262"/>
                      </a:lnTo>
                      <a:lnTo>
                        <a:pt x="809" y="262"/>
                      </a:lnTo>
                      <a:lnTo>
                        <a:pt x="809" y="261"/>
                      </a:lnTo>
                      <a:lnTo>
                        <a:pt x="811" y="259"/>
                      </a:lnTo>
                      <a:lnTo>
                        <a:pt x="811" y="261"/>
                      </a:lnTo>
                      <a:lnTo>
                        <a:pt x="812" y="261"/>
                      </a:lnTo>
                      <a:lnTo>
                        <a:pt x="814" y="261"/>
                      </a:lnTo>
                      <a:lnTo>
                        <a:pt x="814" y="262"/>
                      </a:lnTo>
                      <a:lnTo>
                        <a:pt x="814" y="264"/>
                      </a:lnTo>
                      <a:lnTo>
                        <a:pt x="814" y="262"/>
                      </a:lnTo>
                      <a:lnTo>
                        <a:pt x="816" y="262"/>
                      </a:lnTo>
                      <a:lnTo>
                        <a:pt x="816" y="264"/>
                      </a:lnTo>
                      <a:lnTo>
                        <a:pt x="817" y="262"/>
                      </a:lnTo>
                      <a:lnTo>
                        <a:pt x="817" y="261"/>
                      </a:lnTo>
                      <a:lnTo>
                        <a:pt x="819" y="261"/>
                      </a:lnTo>
                      <a:lnTo>
                        <a:pt x="821" y="261"/>
                      </a:lnTo>
                      <a:lnTo>
                        <a:pt x="822" y="261"/>
                      </a:lnTo>
                      <a:lnTo>
                        <a:pt x="822" y="259"/>
                      </a:lnTo>
                      <a:lnTo>
                        <a:pt x="824" y="259"/>
                      </a:lnTo>
                      <a:lnTo>
                        <a:pt x="826" y="261"/>
                      </a:lnTo>
                      <a:lnTo>
                        <a:pt x="826" y="259"/>
                      </a:lnTo>
                      <a:lnTo>
                        <a:pt x="826" y="258"/>
                      </a:lnTo>
                      <a:lnTo>
                        <a:pt x="828" y="258"/>
                      </a:lnTo>
                      <a:lnTo>
                        <a:pt x="829" y="258"/>
                      </a:lnTo>
                      <a:lnTo>
                        <a:pt x="829" y="259"/>
                      </a:lnTo>
                      <a:lnTo>
                        <a:pt x="829" y="261"/>
                      </a:lnTo>
                      <a:lnTo>
                        <a:pt x="831" y="261"/>
                      </a:lnTo>
                      <a:lnTo>
                        <a:pt x="831" y="259"/>
                      </a:lnTo>
                      <a:lnTo>
                        <a:pt x="833" y="259"/>
                      </a:lnTo>
                      <a:lnTo>
                        <a:pt x="834" y="259"/>
                      </a:lnTo>
                      <a:lnTo>
                        <a:pt x="836" y="259"/>
                      </a:lnTo>
                      <a:lnTo>
                        <a:pt x="836" y="261"/>
                      </a:lnTo>
                      <a:lnTo>
                        <a:pt x="838" y="261"/>
                      </a:lnTo>
                      <a:lnTo>
                        <a:pt x="838" y="259"/>
                      </a:lnTo>
                      <a:lnTo>
                        <a:pt x="839" y="259"/>
                      </a:lnTo>
                      <a:lnTo>
                        <a:pt x="839" y="261"/>
                      </a:lnTo>
                      <a:lnTo>
                        <a:pt x="841" y="261"/>
                      </a:lnTo>
                      <a:lnTo>
                        <a:pt x="843" y="261"/>
                      </a:lnTo>
                      <a:lnTo>
                        <a:pt x="844" y="261"/>
                      </a:lnTo>
                      <a:lnTo>
                        <a:pt x="844" y="262"/>
                      </a:lnTo>
                      <a:lnTo>
                        <a:pt x="846" y="262"/>
                      </a:lnTo>
                      <a:lnTo>
                        <a:pt x="846" y="264"/>
                      </a:lnTo>
                      <a:lnTo>
                        <a:pt x="848" y="266"/>
                      </a:lnTo>
                      <a:lnTo>
                        <a:pt x="848" y="267"/>
                      </a:lnTo>
                      <a:lnTo>
                        <a:pt x="850" y="267"/>
                      </a:lnTo>
                      <a:lnTo>
                        <a:pt x="848" y="267"/>
                      </a:lnTo>
                      <a:lnTo>
                        <a:pt x="848" y="269"/>
                      </a:lnTo>
                      <a:lnTo>
                        <a:pt x="846" y="271"/>
                      </a:lnTo>
                      <a:lnTo>
                        <a:pt x="844" y="271"/>
                      </a:lnTo>
                      <a:lnTo>
                        <a:pt x="846" y="271"/>
                      </a:lnTo>
                      <a:lnTo>
                        <a:pt x="844" y="272"/>
                      </a:lnTo>
                      <a:lnTo>
                        <a:pt x="843" y="272"/>
                      </a:lnTo>
                      <a:lnTo>
                        <a:pt x="841" y="274"/>
                      </a:lnTo>
                      <a:lnTo>
                        <a:pt x="839" y="276"/>
                      </a:lnTo>
                      <a:lnTo>
                        <a:pt x="839" y="277"/>
                      </a:lnTo>
                      <a:lnTo>
                        <a:pt x="841" y="277"/>
                      </a:lnTo>
                      <a:lnTo>
                        <a:pt x="841" y="279"/>
                      </a:lnTo>
                      <a:lnTo>
                        <a:pt x="839" y="279"/>
                      </a:lnTo>
                      <a:lnTo>
                        <a:pt x="839" y="281"/>
                      </a:lnTo>
                      <a:lnTo>
                        <a:pt x="838" y="282"/>
                      </a:lnTo>
                      <a:lnTo>
                        <a:pt x="838" y="281"/>
                      </a:lnTo>
                      <a:lnTo>
                        <a:pt x="836" y="281"/>
                      </a:lnTo>
                      <a:lnTo>
                        <a:pt x="834" y="281"/>
                      </a:lnTo>
                      <a:lnTo>
                        <a:pt x="834" y="282"/>
                      </a:lnTo>
                      <a:lnTo>
                        <a:pt x="833" y="282"/>
                      </a:lnTo>
                      <a:lnTo>
                        <a:pt x="834" y="282"/>
                      </a:lnTo>
                      <a:lnTo>
                        <a:pt x="833" y="282"/>
                      </a:lnTo>
                      <a:lnTo>
                        <a:pt x="831" y="282"/>
                      </a:lnTo>
                      <a:lnTo>
                        <a:pt x="829" y="284"/>
                      </a:lnTo>
                      <a:lnTo>
                        <a:pt x="828" y="284"/>
                      </a:lnTo>
                      <a:lnTo>
                        <a:pt x="826" y="284"/>
                      </a:lnTo>
                      <a:lnTo>
                        <a:pt x="826" y="282"/>
                      </a:lnTo>
                      <a:lnTo>
                        <a:pt x="824" y="282"/>
                      </a:lnTo>
                      <a:lnTo>
                        <a:pt x="824" y="284"/>
                      </a:lnTo>
                      <a:lnTo>
                        <a:pt x="822" y="284"/>
                      </a:lnTo>
                      <a:lnTo>
                        <a:pt x="822" y="285"/>
                      </a:lnTo>
                      <a:lnTo>
                        <a:pt x="821" y="285"/>
                      </a:lnTo>
                      <a:lnTo>
                        <a:pt x="819" y="285"/>
                      </a:lnTo>
                      <a:lnTo>
                        <a:pt x="819" y="284"/>
                      </a:lnTo>
                      <a:lnTo>
                        <a:pt x="819" y="282"/>
                      </a:lnTo>
                      <a:lnTo>
                        <a:pt x="817" y="282"/>
                      </a:lnTo>
                      <a:lnTo>
                        <a:pt x="816" y="284"/>
                      </a:lnTo>
                      <a:lnTo>
                        <a:pt x="814" y="284"/>
                      </a:lnTo>
                      <a:lnTo>
                        <a:pt x="812" y="285"/>
                      </a:lnTo>
                      <a:lnTo>
                        <a:pt x="812" y="287"/>
                      </a:lnTo>
                      <a:lnTo>
                        <a:pt x="811" y="287"/>
                      </a:lnTo>
                      <a:lnTo>
                        <a:pt x="811" y="285"/>
                      </a:lnTo>
                      <a:lnTo>
                        <a:pt x="809" y="285"/>
                      </a:lnTo>
                      <a:lnTo>
                        <a:pt x="807" y="285"/>
                      </a:lnTo>
                      <a:lnTo>
                        <a:pt x="807" y="287"/>
                      </a:lnTo>
                      <a:lnTo>
                        <a:pt x="807" y="285"/>
                      </a:lnTo>
                      <a:lnTo>
                        <a:pt x="806" y="287"/>
                      </a:lnTo>
                      <a:lnTo>
                        <a:pt x="804" y="287"/>
                      </a:lnTo>
                      <a:lnTo>
                        <a:pt x="804" y="289"/>
                      </a:lnTo>
                      <a:lnTo>
                        <a:pt x="802" y="289"/>
                      </a:lnTo>
                      <a:lnTo>
                        <a:pt x="802" y="290"/>
                      </a:lnTo>
                      <a:lnTo>
                        <a:pt x="801" y="290"/>
                      </a:lnTo>
                      <a:lnTo>
                        <a:pt x="801" y="289"/>
                      </a:lnTo>
                      <a:lnTo>
                        <a:pt x="801" y="290"/>
                      </a:lnTo>
                      <a:lnTo>
                        <a:pt x="799" y="290"/>
                      </a:lnTo>
                      <a:lnTo>
                        <a:pt x="797" y="290"/>
                      </a:lnTo>
                      <a:lnTo>
                        <a:pt x="795" y="290"/>
                      </a:lnTo>
                      <a:lnTo>
                        <a:pt x="795" y="292"/>
                      </a:lnTo>
                      <a:lnTo>
                        <a:pt x="794" y="292"/>
                      </a:lnTo>
                      <a:lnTo>
                        <a:pt x="794" y="294"/>
                      </a:lnTo>
                      <a:lnTo>
                        <a:pt x="792" y="294"/>
                      </a:lnTo>
                      <a:lnTo>
                        <a:pt x="794" y="294"/>
                      </a:lnTo>
                      <a:lnTo>
                        <a:pt x="792" y="294"/>
                      </a:lnTo>
                      <a:lnTo>
                        <a:pt x="792" y="295"/>
                      </a:lnTo>
                      <a:lnTo>
                        <a:pt x="790" y="295"/>
                      </a:lnTo>
                      <a:lnTo>
                        <a:pt x="789" y="295"/>
                      </a:lnTo>
                      <a:lnTo>
                        <a:pt x="789" y="297"/>
                      </a:lnTo>
                      <a:lnTo>
                        <a:pt x="789" y="299"/>
                      </a:lnTo>
                      <a:lnTo>
                        <a:pt x="789" y="300"/>
                      </a:lnTo>
                      <a:lnTo>
                        <a:pt x="789" y="302"/>
                      </a:lnTo>
                      <a:lnTo>
                        <a:pt x="787" y="302"/>
                      </a:lnTo>
                      <a:lnTo>
                        <a:pt x="787" y="304"/>
                      </a:lnTo>
                      <a:lnTo>
                        <a:pt x="787" y="305"/>
                      </a:lnTo>
                      <a:lnTo>
                        <a:pt x="787" y="307"/>
                      </a:lnTo>
                      <a:lnTo>
                        <a:pt x="787" y="308"/>
                      </a:lnTo>
                      <a:lnTo>
                        <a:pt x="787" y="310"/>
                      </a:lnTo>
                      <a:lnTo>
                        <a:pt x="785" y="310"/>
                      </a:lnTo>
                      <a:lnTo>
                        <a:pt x="785" y="312"/>
                      </a:lnTo>
                      <a:lnTo>
                        <a:pt x="784" y="312"/>
                      </a:lnTo>
                      <a:lnTo>
                        <a:pt x="784" y="313"/>
                      </a:lnTo>
                      <a:lnTo>
                        <a:pt x="782" y="313"/>
                      </a:lnTo>
                      <a:lnTo>
                        <a:pt x="780" y="315"/>
                      </a:lnTo>
                      <a:lnTo>
                        <a:pt x="780" y="317"/>
                      </a:lnTo>
                      <a:lnTo>
                        <a:pt x="780" y="318"/>
                      </a:lnTo>
                      <a:lnTo>
                        <a:pt x="780" y="320"/>
                      </a:lnTo>
                      <a:lnTo>
                        <a:pt x="782" y="320"/>
                      </a:lnTo>
                      <a:lnTo>
                        <a:pt x="784" y="320"/>
                      </a:lnTo>
                      <a:lnTo>
                        <a:pt x="785" y="320"/>
                      </a:lnTo>
                      <a:lnTo>
                        <a:pt x="785" y="322"/>
                      </a:lnTo>
                      <a:lnTo>
                        <a:pt x="785" y="323"/>
                      </a:lnTo>
                      <a:lnTo>
                        <a:pt x="787" y="323"/>
                      </a:lnTo>
                      <a:lnTo>
                        <a:pt x="790" y="325"/>
                      </a:lnTo>
                      <a:lnTo>
                        <a:pt x="789" y="325"/>
                      </a:lnTo>
                      <a:lnTo>
                        <a:pt x="790" y="325"/>
                      </a:lnTo>
                      <a:lnTo>
                        <a:pt x="790" y="327"/>
                      </a:lnTo>
                      <a:lnTo>
                        <a:pt x="790" y="328"/>
                      </a:lnTo>
                      <a:lnTo>
                        <a:pt x="792" y="328"/>
                      </a:lnTo>
                      <a:lnTo>
                        <a:pt x="792" y="330"/>
                      </a:lnTo>
                      <a:lnTo>
                        <a:pt x="794" y="330"/>
                      </a:lnTo>
                      <a:lnTo>
                        <a:pt x="795" y="331"/>
                      </a:lnTo>
                      <a:lnTo>
                        <a:pt x="794" y="331"/>
                      </a:lnTo>
                      <a:lnTo>
                        <a:pt x="794" y="330"/>
                      </a:lnTo>
                      <a:lnTo>
                        <a:pt x="794" y="331"/>
                      </a:lnTo>
                      <a:lnTo>
                        <a:pt x="794" y="330"/>
                      </a:lnTo>
                      <a:lnTo>
                        <a:pt x="792" y="331"/>
                      </a:lnTo>
                      <a:lnTo>
                        <a:pt x="790" y="331"/>
                      </a:lnTo>
                      <a:lnTo>
                        <a:pt x="789" y="331"/>
                      </a:lnTo>
                      <a:lnTo>
                        <a:pt x="787" y="331"/>
                      </a:lnTo>
                      <a:lnTo>
                        <a:pt x="785" y="331"/>
                      </a:lnTo>
                      <a:lnTo>
                        <a:pt x="785" y="333"/>
                      </a:lnTo>
                      <a:lnTo>
                        <a:pt x="784" y="333"/>
                      </a:lnTo>
                      <a:lnTo>
                        <a:pt x="784" y="331"/>
                      </a:lnTo>
                      <a:lnTo>
                        <a:pt x="785" y="331"/>
                      </a:lnTo>
                      <a:lnTo>
                        <a:pt x="784" y="331"/>
                      </a:lnTo>
                      <a:lnTo>
                        <a:pt x="785" y="331"/>
                      </a:lnTo>
                      <a:lnTo>
                        <a:pt x="784" y="330"/>
                      </a:lnTo>
                      <a:lnTo>
                        <a:pt x="782" y="330"/>
                      </a:lnTo>
                      <a:lnTo>
                        <a:pt x="780" y="330"/>
                      </a:lnTo>
                      <a:lnTo>
                        <a:pt x="780" y="331"/>
                      </a:lnTo>
                      <a:lnTo>
                        <a:pt x="780" y="330"/>
                      </a:lnTo>
                      <a:lnTo>
                        <a:pt x="780" y="328"/>
                      </a:lnTo>
                      <a:lnTo>
                        <a:pt x="779" y="328"/>
                      </a:lnTo>
                      <a:lnTo>
                        <a:pt x="777" y="328"/>
                      </a:lnTo>
                      <a:lnTo>
                        <a:pt x="777" y="330"/>
                      </a:lnTo>
                      <a:lnTo>
                        <a:pt x="775" y="330"/>
                      </a:lnTo>
                      <a:lnTo>
                        <a:pt x="774" y="330"/>
                      </a:lnTo>
                      <a:lnTo>
                        <a:pt x="774" y="331"/>
                      </a:lnTo>
                      <a:lnTo>
                        <a:pt x="774" y="333"/>
                      </a:lnTo>
                      <a:lnTo>
                        <a:pt x="772" y="333"/>
                      </a:lnTo>
                      <a:lnTo>
                        <a:pt x="770" y="333"/>
                      </a:lnTo>
                      <a:lnTo>
                        <a:pt x="768" y="335"/>
                      </a:lnTo>
                      <a:lnTo>
                        <a:pt x="767" y="335"/>
                      </a:lnTo>
                      <a:lnTo>
                        <a:pt x="765" y="335"/>
                      </a:lnTo>
                      <a:lnTo>
                        <a:pt x="765" y="336"/>
                      </a:lnTo>
                      <a:lnTo>
                        <a:pt x="765" y="335"/>
                      </a:lnTo>
                      <a:lnTo>
                        <a:pt x="763" y="335"/>
                      </a:lnTo>
                      <a:lnTo>
                        <a:pt x="763" y="336"/>
                      </a:lnTo>
                      <a:lnTo>
                        <a:pt x="763" y="338"/>
                      </a:lnTo>
                      <a:lnTo>
                        <a:pt x="763" y="340"/>
                      </a:lnTo>
                      <a:lnTo>
                        <a:pt x="765" y="338"/>
                      </a:lnTo>
                      <a:lnTo>
                        <a:pt x="767" y="338"/>
                      </a:lnTo>
                      <a:lnTo>
                        <a:pt x="765" y="338"/>
                      </a:lnTo>
                      <a:lnTo>
                        <a:pt x="767" y="340"/>
                      </a:lnTo>
                      <a:lnTo>
                        <a:pt x="765" y="340"/>
                      </a:lnTo>
                      <a:lnTo>
                        <a:pt x="763" y="340"/>
                      </a:lnTo>
                      <a:lnTo>
                        <a:pt x="763" y="341"/>
                      </a:lnTo>
                      <a:lnTo>
                        <a:pt x="762" y="341"/>
                      </a:lnTo>
                      <a:lnTo>
                        <a:pt x="762" y="343"/>
                      </a:lnTo>
                      <a:lnTo>
                        <a:pt x="763" y="343"/>
                      </a:lnTo>
                      <a:lnTo>
                        <a:pt x="762" y="343"/>
                      </a:lnTo>
                      <a:lnTo>
                        <a:pt x="762" y="345"/>
                      </a:lnTo>
                      <a:lnTo>
                        <a:pt x="762" y="343"/>
                      </a:lnTo>
                      <a:lnTo>
                        <a:pt x="760" y="343"/>
                      </a:lnTo>
                      <a:lnTo>
                        <a:pt x="760" y="341"/>
                      </a:lnTo>
                      <a:lnTo>
                        <a:pt x="760" y="343"/>
                      </a:lnTo>
                      <a:lnTo>
                        <a:pt x="760" y="341"/>
                      </a:lnTo>
                      <a:lnTo>
                        <a:pt x="758" y="343"/>
                      </a:lnTo>
                      <a:lnTo>
                        <a:pt x="758" y="345"/>
                      </a:lnTo>
                      <a:lnTo>
                        <a:pt x="760" y="345"/>
                      </a:lnTo>
                      <a:lnTo>
                        <a:pt x="758" y="345"/>
                      </a:lnTo>
                      <a:lnTo>
                        <a:pt x="760" y="345"/>
                      </a:lnTo>
                      <a:lnTo>
                        <a:pt x="758" y="345"/>
                      </a:lnTo>
                      <a:lnTo>
                        <a:pt x="757" y="345"/>
                      </a:lnTo>
                      <a:lnTo>
                        <a:pt x="757" y="343"/>
                      </a:lnTo>
                      <a:lnTo>
                        <a:pt x="757" y="345"/>
                      </a:lnTo>
                      <a:lnTo>
                        <a:pt x="757" y="343"/>
                      </a:lnTo>
                      <a:lnTo>
                        <a:pt x="755" y="343"/>
                      </a:lnTo>
                      <a:lnTo>
                        <a:pt x="753" y="343"/>
                      </a:lnTo>
                      <a:lnTo>
                        <a:pt x="753" y="341"/>
                      </a:lnTo>
                      <a:lnTo>
                        <a:pt x="753" y="343"/>
                      </a:lnTo>
                      <a:lnTo>
                        <a:pt x="753" y="345"/>
                      </a:lnTo>
                      <a:lnTo>
                        <a:pt x="753" y="346"/>
                      </a:lnTo>
                      <a:lnTo>
                        <a:pt x="755" y="346"/>
                      </a:lnTo>
                      <a:lnTo>
                        <a:pt x="753" y="346"/>
                      </a:lnTo>
                      <a:lnTo>
                        <a:pt x="752" y="346"/>
                      </a:lnTo>
                      <a:lnTo>
                        <a:pt x="752" y="345"/>
                      </a:lnTo>
                      <a:lnTo>
                        <a:pt x="750" y="345"/>
                      </a:lnTo>
                      <a:lnTo>
                        <a:pt x="748" y="345"/>
                      </a:lnTo>
                      <a:lnTo>
                        <a:pt x="748" y="346"/>
                      </a:lnTo>
                      <a:lnTo>
                        <a:pt x="748" y="348"/>
                      </a:lnTo>
                      <a:lnTo>
                        <a:pt x="748" y="350"/>
                      </a:lnTo>
                      <a:lnTo>
                        <a:pt x="750" y="350"/>
                      </a:lnTo>
                      <a:lnTo>
                        <a:pt x="748" y="350"/>
                      </a:lnTo>
                      <a:lnTo>
                        <a:pt x="750" y="350"/>
                      </a:lnTo>
                      <a:lnTo>
                        <a:pt x="750" y="351"/>
                      </a:lnTo>
                      <a:lnTo>
                        <a:pt x="748" y="350"/>
                      </a:lnTo>
                      <a:lnTo>
                        <a:pt x="748" y="351"/>
                      </a:lnTo>
                      <a:lnTo>
                        <a:pt x="748" y="350"/>
                      </a:lnTo>
                      <a:lnTo>
                        <a:pt x="748" y="351"/>
                      </a:lnTo>
                      <a:lnTo>
                        <a:pt x="746" y="351"/>
                      </a:lnTo>
                      <a:lnTo>
                        <a:pt x="745" y="351"/>
                      </a:lnTo>
                      <a:lnTo>
                        <a:pt x="743" y="351"/>
                      </a:lnTo>
                      <a:lnTo>
                        <a:pt x="743" y="350"/>
                      </a:lnTo>
                      <a:lnTo>
                        <a:pt x="741" y="350"/>
                      </a:lnTo>
                      <a:lnTo>
                        <a:pt x="740" y="350"/>
                      </a:lnTo>
                      <a:lnTo>
                        <a:pt x="738" y="351"/>
                      </a:lnTo>
                      <a:lnTo>
                        <a:pt x="736" y="351"/>
                      </a:lnTo>
                      <a:lnTo>
                        <a:pt x="736" y="353"/>
                      </a:lnTo>
                      <a:lnTo>
                        <a:pt x="735" y="354"/>
                      </a:lnTo>
                      <a:lnTo>
                        <a:pt x="733" y="354"/>
                      </a:lnTo>
                      <a:lnTo>
                        <a:pt x="731" y="354"/>
                      </a:lnTo>
                      <a:lnTo>
                        <a:pt x="730" y="354"/>
                      </a:lnTo>
                      <a:lnTo>
                        <a:pt x="730" y="356"/>
                      </a:lnTo>
                      <a:lnTo>
                        <a:pt x="728" y="358"/>
                      </a:lnTo>
                      <a:lnTo>
                        <a:pt x="728" y="359"/>
                      </a:lnTo>
                      <a:lnTo>
                        <a:pt x="728" y="361"/>
                      </a:lnTo>
                      <a:lnTo>
                        <a:pt x="730" y="363"/>
                      </a:lnTo>
                      <a:lnTo>
                        <a:pt x="730" y="364"/>
                      </a:lnTo>
                      <a:lnTo>
                        <a:pt x="730" y="363"/>
                      </a:lnTo>
                      <a:lnTo>
                        <a:pt x="731" y="364"/>
                      </a:lnTo>
                      <a:lnTo>
                        <a:pt x="731" y="363"/>
                      </a:lnTo>
                      <a:lnTo>
                        <a:pt x="731" y="364"/>
                      </a:lnTo>
                      <a:lnTo>
                        <a:pt x="731" y="366"/>
                      </a:lnTo>
                      <a:lnTo>
                        <a:pt x="730" y="366"/>
                      </a:lnTo>
                      <a:lnTo>
                        <a:pt x="731" y="366"/>
                      </a:lnTo>
                      <a:lnTo>
                        <a:pt x="731" y="368"/>
                      </a:lnTo>
                      <a:lnTo>
                        <a:pt x="731" y="369"/>
                      </a:lnTo>
                      <a:lnTo>
                        <a:pt x="731" y="371"/>
                      </a:lnTo>
                      <a:lnTo>
                        <a:pt x="731" y="372"/>
                      </a:lnTo>
                      <a:lnTo>
                        <a:pt x="730" y="372"/>
                      </a:lnTo>
                      <a:lnTo>
                        <a:pt x="728" y="374"/>
                      </a:lnTo>
                      <a:lnTo>
                        <a:pt x="728" y="372"/>
                      </a:lnTo>
                      <a:lnTo>
                        <a:pt x="728" y="374"/>
                      </a:lnTo>
                      <a:lnTo>
                        <a:pt x="726" y="372"/>
                      </a:lnTo>
                      <a:lnTo>
                        <a:pt x="725" y="372"/>
                      </a:lnTo>
                      <a:lnTo>
                        <a:pt x="723" y="372"/>
                      </a:lnTo>
                      <a:lnTo>
                        <a:pt x="723" y="374"/>
                      </a:lnTo>
                      <a:lnTo>
                        <a:pt x="721" y="374"/>
                      </a:lnTo>
                      <a:lnTo>
                        <a:pt x="719" y="374"/>
                      </a:lnTo>
                      <a:lnTo>
                        <a:pt x="719" y="372"/>
                      </a:lnTo>
                      <a:lnTo>
                        <a:pt x="718" y="372"/>
                      </a:lnTo>
                      <a:lnTo>
                        <a:pt x="719" y="372"/>
                      </a:lnTo>
                      <a:lnTo>
                        <a:pt x="718" y="372"/>
                      </a:lnTo>
                      <a:lnTo>
                        <a:pt x="718" y="371"/>
                      </a:lnTo>
                      <a:lnTo>
                        <a:pt x="716" y="371"/>
                      </a:lnTo>
                      <a:lnTo>
                        <a:pt x="718" y="371"/>
                      </a:lnTo>
                      <a:lnTo>
                        <a:pt x="716" y="371"/>
                      </a:lnTo>
                      <a:lnTo>
                        <a:pt x="716" y="369"/>
                      </a:lnTo>
                      <a:lnTo>
                        <a:pt x="714" y="369"/>
                      </a:lnTo>
                      <a:lnTo>
                        <a:pt x="713" y="371"/>
                      </a:lnTo>
                      <a:lnTo>
                        <a:pt x="713" y="369"/>
                      </a:lnTo>
                      <a:lnTo>
                        <a:pt x="713" y="371"/>
                      </a:lnTo>
                      <a:lnTo>
                        <a:pt x="711" y="371"/>
                      </a:lnTo>
                      <a:lnTo>
                        <a:pt x="709" y="371"/>
                      </a:lnTo>
                      <a:lnTo>
                        <a:pt x="709" y="369"/>
                      </a:lnTo>
                      <a:lnTo>
                        <a:pt x="708" y="369"/>
                      </a:lnTo>
                      <a:lnTo>
                        <a:pt x="708" y="368"/>
                      </a:lnTo>
                      <a:lnTo>
                        <a:pt x="708" y="369"/>
                      </a:lnTo>
                      <a:lnTo>
                        <a:pt x="706" y="369"/>
                      </a:lnTo>
                      <a:lnTo>
                        <a:pt x="706" y="368"/>
                      </a:lnTo>
                      <a:lnTo>
                        <a:pt x="704" y="368"/>
                      </a:lnTo>
                      <a:lnTo>
                        <a:pt x="704" y="369"/>
                      </a:lnTo>
                      <a:lnTo>
                        <a:pt x="703" y="369"/>
                      </a:lnTo>
                      <a:lnTo>
                        <a:pt x="704" y="368"/>
                      </a:lnTo>
                      <a:lnTo>
                        <a:pt x="703" y="368"/>
                      </a:lnTo>
                      <a:lnTo>
                        <a:pt x="701" y="368"/>
                      </a:lnTo>
                      <a:lnTo>
                        <a:pt x="699" y="368"/>
                      </a:lnTo>
                      <a:lnTo>
                        <a:pt x="698" y="368"/>
                      </a:lnTo>
                      <a:lnTo>
                        <a:pt x="696" y="368"/>
                      </a:lnTo>
                      <a:lnTo>
                        <a:pt x="694" y="368"/>
                      </a:lnTo>
                      <a:lnTo>
                        <a:pt x="692" y="368"/>
                      </a:lnTo>
                      <a:lnTo>
                        <a:pt x="694" y="368"/>
                      </a:lnTo>
                      <a:lnTo>
                        <a:pt x="692" y="368"/>
                      </a:lnTo>
                      <a:lnTo>
                        <a:pt x="692" y="366"/>
                      </a:lnTo>
                      <a:lnTo>
                        <a:pt x="691" y="366"/>
                      </a:lnTo>
                      <a:lnTo>
                        <a:pt x="689" y="366"/>
                      </a:lnTo>
                      <a:lnTo>
                        <a:pt x="687" y="368"/>
                      </a:lnTo>
                      <a:lnTo>
                        <a:pt x="686" y="368"/>
                      </a:lnTo>
                      <a:lnTo>
                        <a:pt x="684" y="368"/>
                      </a:lnTo>
                      <a:lnTo>
                        <a:pt x="679" y="369"/>
                      </a:lnTo>
                      <a:lnTo>
                        <a:pt x="677" y="369"/>
                      </a:lnTo>
                      <a:lnTo>
                        <a:pt x="676" y="369"/>
                      </a:lnTo>
                      <a:lnTo>
                        <a:pt x="676" y="371"/>
                      </a:lnTo>
                      <a:lnTo>
                        <a:pt x="674" y="371"/>
                      </a:lnTo>
                      <a:lnTo>
                        <a:pt x="672" y="371"/>
                      </a:lnTo>
                      <a:lnTo>
                        <a:pt x="670" y="371"/>
                      </a:lnTo>
                      <a:lnTo>
                        <a:pt x="670" y="372"/>
                      </a:lnTo>
                      <a:lnTo>
                        <a:pt x="670" y="374"/>
                      </a:lnTo>
                      <a:lnTo>
                        <a:pt x="670" y="372"/>
                      </a:lnTo>
                      <a:lnTo>
                        <a:pt x="669" y="372"/>
                      </a:lnTo>
                      <a:lnTo>
                        <a:pt x="667" y="372"/>
                      </a:lnTo>
                      <a:lnTo>
                        <a:pt x="665" y="372"/>
                      </a:lnTo>
                      <a:lnTo>
                        <a:pt x="664" y="374"/>
                      </a:lnTo>
                      <a:lnTo>
                        <a:pt x="662" y="374"/>
                      </a:lnTo>
                      <a:lnTo>
                        <a:pt x="662" y="376"/>
                      </a:lnTo>
                      <a:lnTo>
                        <a:pt x="660" y="376"/>
                      </a:lnTo>
                      <a:lnTo>
                        <a:pt x="662" y="376"/>
                      </a:lnTo>
                      <a:lnTo>
                        <a:pt x="662" y="377"/>
                      </a:lnTo>
                      <a:lnTo>
                        <a:pt x="660" y="377"/>
                      </a:lnTo>
                      <a:lnTo>
                        <a:pt x="662" y="379"/>
                      </a:lnTo>
                      <a:lnTo>
                        <a:pt x="660" y="379"/>
                      </a:lnTo>
                      <a:lnTo>
                        <a:pt x="660" y="381"/>
                      </a:lnTo>
                      <a:lnTo>
                        <a:pt x="659" y="381"/>
                      </a:lnTo>
                      <a:lnTo>
                        <a:pt x="659" y="382"/>
                      </a:lnTo>
                      <a:lnTo>
                        <a:pt x="657" y="382"/>
                      </a:lnTo>
                      <a:lnTo>
                        <a:pt x="657" y="384"/>
                      </a:lnTo>
                      <a:lnTo>
                        <a:pt x="659" y="384"/>
                      </a:lnTo>
                      <a:lnTo>
                        <a:pt x="659" y="382"/>
                      </a:lnTo>
                      <a:lnTo>
                        <a:pt x="659" y="384"/>
                      </a:lnTo>
                      <a:lnTo>
                        <a:pt x="659" y="386"/>
                      </a:lnTo>
                      <a:lnTo>
                        <a:pt x="657" y="386"/>
                      </a:lnTo>
                      <a:lnTo>
                        <a:pt x="657" y="387"/>
                      </a:lnTo>
                      <a:lnTo>
                        <a:pt x="655" y="389"/>
                      </a:lnTo>
                      <a:lnTo>
                        <a:pt x="655" y="387"/>
                      </a:lnTo>
                      <a:lnTo>
                        <a:pt x="654" y="387"/>
                      </a:lnTo>
                      <a:lnTo>
                        <a:pt x="652" y="387"/>
                      </a:lnTo>
                      <a:lnTo>
                        <a:pt x="650" y="389"/>
                      </a:lnTo>
                      <a:lnTo>
                        <a:pt x="649" y="389"/>
                      </a:lnTo>
                      <a:lnTo>
                        <a:pt x="649" y="391"/>
                      </a:lnTo>
                      <a:lnTo>
                        <a:pt x="650" y="391"/>
                      </a:lnTo>
                      <a:lnTo>
                        <a:pt x="649" y="391"/>
                      </a:lnTo>
                      <a:lnTo>
                        <a:pt x="649" y="392"/>
                      </a:lnTo>
                      <a:lnTo>
                        <a:pt x="647" y="394"/>
                      </a:lnTo>
                      <a:lnTo>
                        <a:pt x="647" y="392"/>
                      </a:lnTo>
                      <a:lnTo>
                        <a:pt x="647" y="391"/>
                      </a:lnTo>
                      <a:lnTo>
                        <a:pt x="645" y="391"/>
                      </a:lnTo>
                      <a:lnTo>
                        <a:pt x="645" y="392"/>
                      </a:lnTo>
                      <a:lnTo>
                        <a:pt x="645" y="391"/>
                      </a:lnTo>
                      <a:lnTo>
                        <a:pt x="643" y="391"/>
                      </a:lnTo>
                      <a:lnTo>
                        <a:pt x="643" y="389"/>
                      </a:lnTo>
                      <a:lnTo>
                        <a:pt x="645" y="389"/>
                      </a:lnTo>
                      <a:lnTo>
                        <a:pt x="645" y="387"/>
                      </a:lnTo>
                      <a:lnTo>
                        <a:pt x="643" y="386"/>
                      </a:lnTo>
                      <a:lnTo>
                        <a:pt x="642" y="386"/>
                      </a:lnTo>
                      <a:lnTo>
                        <a:pt x="640" y="386"/>
                      </a:lnTo>
                      <a:lnTo>
                        <a:pt x="640" y="387"/>
                      </a:lnTo>
                      <a:lnTo>
                        <a:pt x="638" y="387"/>
                      </a:lnTo>
                      <a:lnTo>
                        <a:pt x="640" y="387"/>
                      </a:lnTo>
                      <a:lnTo>
                        <a:pt x="638" y="386"/>
                      </a:lnTo>
                      <a:lnTo>
                        <a:pt x="638" y="387"/>
                      </a:lnTo>
                      <a:lnTo>
                        <a:pt x="638" y="389"/>
                      </a:lnTo>
                      <a:lnTo>
                        <a:pt x="637" y="389"/>
                      </a:lnTo>
                      <a:lnTo>
                        <a:pt x="638" y="389"/>
                      </a:lnTo>
                      <a:lnTo>
                        <a:pt x="637" y="389"/>
                      </a:lnTo>
                      <a:lnTo>
                        <a:pt x="637" y="391"/>
                      </a:lnTo>
                      <a:lnTo>
                        <a:pt x="638" y="391"/>
                      </a:lnTo>
                      <a:lnTo>
                        <a:pt x="637" y="391"/>
                      </a:lnTo>
                      <a:lnTo>
                        <a:pt x="637" y="392"/>
                      </a:lnTo>
                      <a:lnTo>
                        <a:pt x="637" y="391"/>
                      </a:lnTo>
                      <a:lnTo>
                        <a:pt x="635" y="391"/>
                      </a:lnTo>
                      <a:lnTo>
                        <a:pt x="633" y="391"/>
                      </a:lnTo>
                      <a:lnTo>
                        <a:pt x="630" y="391"/>
                      </a:lnTo>
                      <a:lnTo>
                        <a:pt x="627" y="392"/>
                      </a:lnTo>
                      <a:lnTo>
                        <a:pt x="625" y="392"/>
                      </a:lnTo>
                      <a:lnTo>
                        <a:pt x="620" y="395"/>
                      </a:lnTo>
                      <a:lnTo>
                        <a:pt x="616" y="397"/>
                      </a:lnTo>
                      <a:lnTo>
                        <a:pt x="613" y="399"/>
                      </a:lnTo>
                      <a:lnTo>
                        <a:pt x="610" y="400"/>
                      </a:lnTo>
                      <a:lnTo>
                        <a:pt x="606" y="402"/>
                      </a:lnTo>
                      <a:lnTo>
                        <a:pt x="603" y="404"/>
                      </a:lnTo>
                      <a:lnTo>
                        <a:pt x="603" y="405"/>
                      </a:lnTo>
                      <a:lnTo>
                        <a:pt x="600" y="407"/>
                      </a:lnTo>
                      <a:lnTo>
                        <a:pt x="598" y="407"/>
                      </a:lnTo>
                      <a:lnTo>
                        <a:pt x="594" y="409"/>
                      </a:lnTo>
                      <a:lnTo>
                        <a:pt x="593" y="410"/>
                      </a:lnTo>
                      <a:lnTo>
                        <a:pt x="591" y="412"/>
                      </a:lnTo>
                      <a:lnTo>
                        <a:pt x="589" y="412"/>
                      </a:lnTo>
                      <a:lnTo>
                        <a:pt x="588" y="414"/>
                      </a:lnTo>
                      <a:lnTo>
                        <a:pt x="586" y="415"/>
                      </a:lnTo>
                      <a:lnTo>
                        <a:pt x="583" y="417"/>
                      </a:lnTo>
                      <a:lnTo>
                        <a:pt x="581" y="418"/>
                      </a:lnTo>
                      <a:lnTo>
                        <a:pt x="579" y="418"/>
                      </a:lnTo>
                      <a:lnTo>
                        <a:pt x="579" y="420"/>
                      </a:lnTo>
                      <a:lnTo>
                        <a:pt x="579" y="422"/>
                      </a:lnTo>
                      <a:lnTo>
                        <a:pt x="579" y="423"/>
                      </a:lnTo>
                      <a:lnTo>
                        <a:pt x="578" y="423"/>
                      </a:lnTo>
                      <a:lnTo>
                        <a:pt x="578" y="425"/>
                      </a:lnTo>
                      <a:lnTo>
                        <a:pt x="578" y="427"/>
                      </a:lnTo>
                      <a:lnTo>
                        <a:pt x="579" y="427"/>
                      </a:lnTo>
                      <a:lnTo>
                        <a:pt x="578" y="427"/>
                      </a:lnTo>
                      <a:lnTo>
                        <a:pt x="578" y="428"/>
                      </a:lnTo>
                      <a:lnTo>
                        <a:pt x="576" y="428"/>
                      </a:lnTo>
                      <a:lnTo>
                        <a:pt x="578" y="428"/>
                      </a:lnTo>
                      <a:lnTo>
                        <a:pt x="576" y="428"/>
                      </a:lnTo>
                      <a:lnTo>
                        <a:pt x="574" y="428"/>
                      </a:lnTo>
                      <a:lnTo>
                        <a:pt x="574" y="430"/>
                      </a:lnTo>
                      <a:lnTo>
                        <a:pt x="573" y="430"/>
                      </a:lnTo>
                      <a:lnTo>
                        <a:pt x="571" y="430"/>
                      </a:lnTo>
                      <a:lnTo>
                        <a:pt x="571" y="432"/>
                      </a:lnTo>
                      <a:lnTo>
                        <a:pt x="569" y="432"/>
                      </a:lnTo>
                      <a:lnTo>
                        <a:pt x="567" y="433"/>
                      </a:lnTo>
                      <a:lnTo>
                        <a:pt x="566" y="435"/>
                      </a:lnTo>
                      <a:lnTo>
                        <a:pt x="564" y="435"/>
                      </a:lnTo>
                      <a:lnTo>
                        <a:pt x="562" y="437"/>
                      </a:lnTo>
                      <a:lnTo>
                        <a:pt x="562" y="438"/>
                      </a:lnTo>
                      <a:lnTo>
                        <a:pt x="561" y="438"/>
                      </a:lnTo>
                      <a:lnTo>
                        <a:pt x="559" y="440"/>
                      </a:lnTo>
                      <a:lnTo>
                        <a:pt x="557" y="440"/>
                      </a:lnTo>
                      <a:lnTo>
                        <a:pt x="559" y="441"/>
                      </a:lnTo>
                      <a:lnTo>
                        <a:pt x="557" y="441"/>
                      </a:lnTo>
                      <a:lnTo>
                        <a:pt x="556" y="441"/>
                      </a:lnTo>
                      <a:lnTo>
                        <a:pt x="556" y="443"/>
                      </a:lnTo>
                      <a:lnTo>
                        <a:pt x="554" y="443"/>
                      </a:lnTo>
                      <a:lnTo>
                        <a:pt x="552" y="443"/>
                      </a:lnTo>
                      <a:lnTo>
                        <a:pt x="552" y="445"/>
                      </a:lnTo>
                      <a:lnTo>
                        <a:pt x="549" y="446"/>
                      </a:lnTo>
                      <a:lnTo>
                        <a:pt x="545" y="448"/>
                      </a:lnTo>
                      <a:lnTo>
                        <a:pt x="542" y="450"/>
                      </a:lnTo>
                      <a:lnTo>
                        <a:pt x="540" y="451"/>
                      </a:lnTo>
                      <a:lnTo>
                        <a:pt x="539" y="451"/>
                      </a:lnTo>
                      <a:lnTo>
                        <a:pt x="539" y="453"/>
                      </a:lnTo>
                      <a:lnTo>
                        <a:pt x="537" y="453"/>
                      </a:lnTo>
                      <a:lnTo>
                        <a:pt x="535" y="455"/>
                      </a:lnTo>
                      <a:lnTo>
                        <a:pt x="534" y="455"/>
                      </a:lnTo>
                      <a:lnTo>
                        <a:pt x="529" y="456"/>
                      </a:lnTo>
                      <a:lnTo>
                        <a:pt x="529" y="458"/>
                      </a:lnTo>
                      <a:lnTo>
                        <a:pt x="527" y="458"/>
                      </a:lnTo>
                      <a:lnTo>
                        <a:pt x="525" y="460"/>
                      </a:lnTo>
                      <a:lnTo>
                        <a:pt x="524" y="460"/>
                      </a:lnTo>
                      <a:lnTo>
                        <a:pt x="522" y="461"/>
                      </a:lnTo>
                      <a:lnTo>
                        <a:pt x="520" y="463"/>
                      </a:lnTo>
                      <a:lnTo>
                        <a:pt x="518" y="464"/>
                      </a:lnTo>
                      <a:lnTo>
                        <a:pt x="517" y="466"/>
                      </a:lnTo>
                      <a:lnTo>
                        <a:pt x="515" y="466"/>
                      </a:lnTo>
                      <a:lnTo>
                        <a:pt x="513" y="468"/>
                      </a:lnTo>
                      <a:lnTo>
                        <a:pt x="508" y="471"/>
                      </a:lnTo>
                      <a:lnTo>
                        <a:pt x="507" y="473"/>
                      </a:lnTo>
                      <a:lnTo>
                        <a:pt x="503" y="476"/>
                      </a:lnTo>
                      <a:lnTo>
                        <a:pt x="500" y="479"/>
                      </a:lnTo>
                      <a:lnTo>
                        <a:pt x="498" y="481"/>
                      </a:lnTo>
                      <a:lnTo>
                        <a:pt x="497" y="483"/>
                      </a:lnTo>
                      <a:lnTo>
                        <a:pt x="497" y="484"/>
                      </a:lnTo>
                      <a:lnTo>
                        <a:pt x="495" y="484"/>
                      </a:lnTo>
                      <a:lnTo>
                        <a:pt x="495" y="486"/>
                      </a:lnTo>
                      <a:lnTo>
                        <a:pt x="493" y="486"/>
                      </a:lnTo>
                      <a:lnTo>
                        <a:pt x="493" y="487"/>
                      </a:lnTo>
                      <a:lnTo>
                        <a:pt x="495" y="489"/>
                      </a:lnTo>
                      <a:lnTo>
                        <a:pt x="495" y="491"/>
                      </a:lnTo>
                      <a:lnTo>
                        <a:pt x="493" y="492"/>
                      </a:lnTo>
                      <a:lnTo>
                        <a:pt x="493" y="494"/>
                      </a:lnTo>
                      <a:lnTo>
                        <a:pt x="493" y="496"/>
                      </a:lnTo>
                      <a:lnTo>
                        <a:pt x="493" y="497"/>
                      </a:lnTo>
                      <a:lnTo>
                        <a:pt x="493" y="496"/>
                      </a:lnTo>
                      <a:lnTo>
                        <a:pt x="491" y="496"/>
                      </a:lnTo>
                      <a:lnTo>
                        <a:pt x="491" y="497"/>
                      </a:lnTo>
                      <a:lnTo>
                        <a:pt x="490" y="497"/>
                      </a:lnTo>
                      <a:lnTo>
                        <a:pt x="488" y="499"/>
                      </a:lnTo>
                      <a:lnTo>
                        <a:pt x="486" y="501"/>
                      </a:lnTo>
                      <a:lnTo>
                        <a:pt x="485" y="501"/>
                      </a:lnTo>
                      <a:lnTo>
                        <a:pt x="485" y="502"/>
                      </a:lnTo>
                      <a:lnTo>
                        <a:pt x="481" y="504"/>
                      </a:lnTo>
                      <a:lnTo>
                        <a:pt x="481" y="506"/>
                      </a:lnTo>
                      <a:lnTo>
                        <a:pt x="480" y="506"/>
                      </a:lnTo>
                      <a:lnTo>
                        <a:pt x="478" y="509"/>
                      </a:lnTo>
                      <a:lnTo>
                        <a:pt x="476" y="510"/>
                      </a:lnTo>
                      <a:lnTo>
                        <a:pt x="475" y="509"/>
                      </a:lnTo>
                      <a:lnTo>
                        <a:pt x="476" y="509"/>
                      </a:lnTo>
                      <a:lnTo>
                        <a:pt x="476" y="507"/>
                      </a:lnTo>
                      <a:lnTo>
                        <a:pt x="478" y="507"/>
                      </a:lnTo>
                      <a:lnTo>
                        <a:pt x="480" y="506"/>
                      </a:lnTo>
                      <a:lnTo>
                        <a:pt x="480" y="504"/>
                      </a:lnTo>
                      <a:lnTo>
                        <a:pt x="481" y="504"/>
                      </a:lnTo>
                      <a:lnTo>
                        <a:pt x="483" y="502"/>
                      </a:lnTo>
                      <a:lnTo>
                        <a:pt x="481" y="502"/>
                      </a:lnTo>
                      <a:lnTo>
                        <a:pt x="483" y="502"/>
                      </a:lnTo>
                      <a:lnTo>
                        <a:pt x="481" y="501"/>
                      </a:lnTo>
                      <a:lnTo>
                        <a:pt x="481" y="502"/>
                      </a:lnTo>
                      <a:lnTo>
                        <a:pt x="480" y="502"/>
                      </a:lnTo>
                      <a:lnTo>
                        <a:pt x="480" y="501"/>
                      </a:lnTo>
                      <a:lnTo>
                        <a:pt x="480" y="502"/>
                      </a:lnTo>
                      <a:lnTo>
                        <a:pt x="480" y="504"/>
                      </a:lnTo>
                      <a:lnTo>
                        <a:pt x="478" y="504"/>
                      </a:lnTo>
                      <a:lnTo>
                        <a:pt x="476" y="504"/>
                      </a:lnTo>
                      <a:lnTo>
                        <a:pt x="475" y="504"/>
                      </a:lnTo>
                      <a:lnTo>
                        <a:pt x="473" y="504"/>
                      </a:lnTo>
                      <a:lnTo>
                        <a:pt x="473" y="502"/>
                      </a:lnTo>
                      <a:lnTo>
                        <a:pt x="471" y="502"/>
                      </a:lnTo>
                      <a:lnTo>
                        <a:pt x="469" y="501"/>
                      </a:lnTo>
                      <a:lnTo>
                        <a:pt x="468" y="501"/>
                      </a:lnTo>
                      <a:lnTo>
                        <a:pt x="468" y="499"/>
                      </a:lnTo>
                      <a:lnTo>
                        <a:pt x="466" y="499"/>
                      </a:lnTo>
                      <a:lnTo>
                        <a:pt x="468" y="499"/>
                      </a:lnTo>
                      <a:lnTo>
                        <a:pt x="468" y="497"/>
                      </a:lnTo>
                      <a:lnTo>
                        <a:pt x="469" y="497"/>
                      </a:lnTo>
                      <a:lnTo>
                        <a:pt x="469" y="496"/>
                      </a:lnTo>
                      <a:lnTo>
                        <a:pt x="469" y="494"/>
                      </a:lnTo>
                      <a:lnTo>
                        <a:pt x="468" y="494"/>
                      </a:lnTo>
                      <a:lnTo>
                        <a:pt x="468" y="492"/>
                      </a:lnTo>
                      <a:lnTo>
                        <a:pt x="466" y="492"/>
                      </a:lnTo>
                      <a:lnTo>
                        <a:pt x="466" y="491"/>
                      </a:lnTo>
                      <a:lnTo>
                        <a:pt x="466" y="489"/>
                      </a:lnTo>
                      <a:lnTo>
                        <a:pt x="464" y="489"/>
                      </a:lnTo>
                      <a:lnTo>
                        <a:pt x="464" y="487"/>
                      </a:lnTo>
                      <a:lnTo>
                        <a:pt x="464" y="486"/>
                      </a:lnTo>
                      <a:lnTo>
                        <a:pt x="464" y="484"/>
                      </a:lnTo>
                      <a:lnTo>
                        <a:pt x="464" y="483"/>
                      </a:lnTo>
                      <a:lnTo>
                        <a:pt x="463" y="483"/>
                      </a:lnTo>
                      <a:lnTo>
                        <a:pt x="464" y="483"/>
                      </a:lnTo>
                      <a:lnTo>
                        <a:pt x="463" y="483"/>
                      </a:lnTo>
                      <a:lnTo>
                        <a:pt x="463" y="481"/>
                      </a:lnTo>
                      <a:lnTo>
                        <a:pt x="461" y="481"/>
                      </a:lnTo>
                      <a:lnTo>
                        <a:pt x="461" y="479"/>
                      </a:lnTo>
                      <a:lnTo>
                        <a:pt x="461" y="481"/>
                      </a:lnTo>
                      <a:lnTo>
                        <a:pt x="459" y="481"/>
                      </a:lnTo>
                      <a:lnTo>
                        <a:pt x="459" y="483"/>
                      </a:lnTo>
                      <a:lnTo>
                        <a:pt x="458" y="483"/>
                      </a:lnTo>
                      <a:lnTo>
                        <a:pt x="459" y="483"/>
                      </a:lnTo>
                      <a:lnTo>
                        <a:pt x="459" y="484"/>
                      </a:lnTo>
                      <a:lnTo>
                        <a:pt x="458" y="484"/>
                      </a:lnTo>
                      <a:lnTo>
                        <a:pt x="458" y="483"/>
                      </a:lnTo>
                      <a:lnTo>
                        <a:pt x="456" y="483"/>
                      </a:lnTo>
                      <a:lnTo>
                        <a:pt x="456" y="484"/>
                      </a:lnTo>
                      <a:lnTo>
                        <a:pt x="456" y="486"/>
                      </a:lnTo>
                      <a:lnTo>
                        <a:pt x="454" y="486"/>
                      </a:lnTo>
                      <a:lnTo>
                        <a:pt x="454" y="484"/>
                      </a:lnTo>
                      <a:lnTo>
                        <a:pt x="453" y="484"/>
                      </a:lnTo>
                      <a:lnTo>
                        <a:pt x="451" y="484"/>
                      </a:lnTo>
                      <a:lnTo>
                        <a:pt x="451" y="483"/>
                      </a:lnTo>
                      <a:lnTo>
                        <a:pt x="449" y="483"/>
                      </a:lnTo>
                      <a:lnTo>
                        <a:pt x="449" y="481"/>
                      </a:lnTo>
                      <a:lnTo>
                        <a:pt x="448" y="481"/>
                      </a:lnTo>
                      <a:lnTo>
                        <a:pt x="448" y="479"/>
                      </a:lnTo>
                      <a:lnTo>
                        <a:pt x="446" y="479"/>
                      </a:lnTo>
                      <a:lnTo>
                        <a:pt x="446" y="481"/>
                      </a:lnTo>
                      <a:lnTo>
                        <a:pt x="444" y="481"/>
                      </a:lnTo>
                      <a:lnTo>
                        <a:pt x="442" y="481"/>
                      </a:lnTo>
                      <a:lnTo>
                        <a:pt x="441" y="481"/>
                      </a:lnTo>
                      <a:lnTo>
                        <a:pt x="441" y="483"/>
                      </a:lnTo>
                      <a:lnTo>
                        <a:pt x="439" y="483"/>
                      </a:lnTo>
                      <a:lnTo>
                        <a:pt x="439" y="484"/>
                      </a:lnTo>
                      <a:lnTo>
                        <a:pt x="439" y="486"/>
                      </a:lnTo>
                      <a:lnTo>
                        <a:pt x="437" y="486"/>
                      </a:lnTo>
                      <a:lnTo>
                        <a:pt x="437" y="487"/>
                      </a:lnTo>
                      <a:lnTo>
                        <a:pt x="436" y="487"/>
                      </a:lnTo>
                      <a:lnTo>
                        <a:pt x="436" y="489"/>
                      </a:lnTo>
                      <a:lnTo>
                        <a:pt x="436" y="491"/>
                      </a:lnTo>
                      <a:lnTo>
                        <a:pt x="434" y="491"/>
                      </a:lnTo>
                      <a:lnTo>
                        <a:pt x="432" y="489"/>
                      </a:lnTo>
                      <a:lnTo>
                        <a:pt x="432" y="487"/>
                      </a:lnTo>
                      <a:lnTo>
                        <a:pt x="432" y="486"/>
                      </a:lnTo>
                      <a:lnTo>
                        <a:pt x="431" y="486"/>
                      </a:lnTo>
                      <a:lnTo>
                        <a:pt x="429" y="486"/>
                      </a:lnTo>
                      <a:lnTo>
                        <a:pt x="431" y="486"/>
                      </a:lnTo>
                      <a:lnTo>
                        <a:pt x="429" y="484"/>
                      </a:lnTo>
                      <a:lnTo>
                        <a:pt x="429" y="483"/>
                      </a:lnTo>
                      <a:lnTo>
                        <a:pt x="427" y="483"/>
                      </a:lnTo>
                      <a:lnTo>
                        <a:pt x="429" y="483"/>
                      </a:lnTo>
                      <a:lnTo>
                        <a:pt x="427" y="483"/>
                      </a:lnTo>
                      <a:lnTo>
                        <a:pt x="429" y="481"/>
                      </a:lnTo>
                      <a:lnTo>
                        <a:pt x="429" y="479"/>
                      </a:lnTo>
                      <a:lnTo>
                        <a:pt x="431" y="479"/>
                      </a:lnTo>
                      <a:lnTo>
                        <a:pt x="431" y="478"/>
                      </a:lnTo>
                      <a:lnTo>
                        <a:pt x="431" y="476"/>
                      </a:lnTo>
                      <a:lnTo>
                        <a:pt x="432" y="476"/>
                      </a:lnTo>
                      <a:lnTo>
                        <a:pt x="431" y="476"/>
                      </a:lnTo>
                      <a:lnTo>
                        <a:pt x="431" y="474"/>
                      </a:lnTo>
                      <a:lnTo>
                        <a:pt x="431" y="473"/>
                      </a:lnTo>
                      <a:lnTo>
                        <a:pt x="431" y="471"/>
                      </a:lnTo>
                      <a:lnTo>
                        <a:pt x="432" y="471"/>
                      </a:lnTo>
                      <a:lnTo>
                        <a:pt x="432" y="473"/>
                      </a:lnTo>
                      <a:lnTo>
                        <a:pt x="432" y="471"/>
                      </a:lnTo>
                      <a:lnTo>
                        <a:pt x="432" y="469"/>
                      </a:lnTo>
                      <a:lnTo>
                        <a:pt x="432" y="471"/>
                      </a:lnTo>
                      <a:lnTo>
                        <a:pt x="432" y="469"/>
                      </a:lnTo>
                      <a:lnTo>
                        <a:pt x="434" y="469"/>
                      </a:lnTo>
                      <a:lnTo>
                        <a:pt x="432" y="469"/>
                      </a:lnTo>
                      <a:lnTo>
                        <a:pt x="431" y="469"/>
                      </a:lnTo>
                      <a:lnTo>
                        <a:pt x="431" y="468"/>
                      </a:lnTo>
                      <a:lnTo>
                        <a:pt x="431" y="466"/>
                      </a:lnTo>
                      <a:lnTo>
                        <a:pt x="432" y="464"/>
                      </a:lnTo>
                      <a:lnTo>
                        <a:pt x="432" y="463"/>
                      </a:lnTo>
                      <a:lnTo>
                        <a:pt x="434" y="461"/>
                      </a:lnTo>
                      <a:lnTo>
                        <a:pt x="436" y="461"/>
                      </a:lnTo>
                      <a:lnTo>
                        <a:pt x="436" y="460"/>
                      </a:lnTo>
                      <a:lnTo>
                        <a:pt x="437" y="460"/>
                      </a:lnTo>
                      <a:lnTo>
                        <a:pt x="437" y="458"/>
                      </a:lnTo>
                      <a:lnTo>
                        <a:pt x="437" y="456"/>
                      </a:lnTo>
                      <a:lnTo>
                        <a:pt x="436" y="458"/>
                      </a:lnTo>
                      <a:lnTo>
                        <a:pt x="436" y="456"/>
                      </a:lnTo>
                      <a:lnTo>
                        <a:pt x="434" y="456"/>
                      </a:lnTo>
                      <a:lnTo>
                        <a:pt x="432" y="455"/>
                      </a:lnTo>
                      <a:lnTo>
                        <a:pt x="434" y="455"/>
                      </a:lnTo>
                      <a:lnTo>
                        <a:pt x="432" y="455"/>
                      </a:lnTo>
                      <a:lnTo>
                        <a:pt x="431" y="455"/>
                      </a:lnTo>
                      <a:lnTo>
                        <a:pt x="431" y="453"/>
                      </a:lnTo>
                      <a:lnTo>
                        <a:pt x="431" y="451"/>
                      </a:lnTo>
                      <a:lnTo>
                        <a:pt x="429" y="451"/>
                      </a:lnTo>
                      <a:lnTo>
                        <a:pt x="427" y="451"/>
                      </a:lnTo>
                      <a:lnTo>
                        <a:pt x="426" y="451"/>
                      </a:lnTo>
                      <a:lnTo>
                        <a:pt x="424" y="451"/>
                      </a:lnTo>
                      <a:lnTo>
                        <a:pt x="424" y="453"/>
                      </a:lnTo>
                      <a:lnTo>
                        <a:pt x="422" y="453"/>
                      </a:lnTo>
                      <a:lnTo>
                        <a:pt x="422" y="455"/>
                      </a:lnTo>
                      <a:lnTo>
                        <a:pt x="422" y="453"/>
                      </a:lnTo>
                      <a:lnTo>
                        <a:pt x="421" y="453"/>
                      </a:lnTo>
                      <a:lnTo>
                        <a:pt x="421" y="451"/>
                      </a:lnTo>
                      <a:lnTo>
                        <a:pt x="419" y="450"/>
                      </a:lnTo>
                      <a:lnTo>
                        <a:pt x="419" y="451"/>
                      </a:lnTo>
                      <a:lnTo>
                        <a:pt x="419" y="453"/>
                      </a:lnTo>
                      <a:lnTo>
                        <a:pt x="419" y="451"/>
                      </a:lnTo>
                      <a:lnTo>
                        <a:pt x="417" y="451"/>
                      </a:lnTo>
                      <a:lnTo>
                        <a:pt x="415" y="451"/>
                      </a:lnTo>
                      <a:lnTo>
                        <a:pt x="415" y="453"/>
                      </a:lnTo>
                      <a:lnTo>
                        <a:pt x="415" y="451"/>
                      </a:lnTo>
                      <a:lnTo>
                        <a:pt x="415" y="453"/>
                      </a:lnTo>
                      <a:lnTo>
                        <a:pt x="414" y="453"/>
                      </a:lnTo>
                      <a:lnTo>
                        <a:pt x="414" y="451"/>
                      </a:lnTo>
                      <a:lnTo>
                        <a:pt x="412" y="451"/>
                      </a:lnTo>
                      <a:lnTo>
                        <a:pt x="412" y="453"/>
                      </a:lnTo>
                      <a:lnTo>
                        <a:pt x="410" y="453"/>
                      </a:lnTo>
                      <a:lnTo>
                        <a:pt x="410" y="451"/>
                      </a:lnTo>
                      <a:lnTo>
                        <a:pt x="409" y="451"/>
                      </a:lnTo>
                      <a:lnTo>
                        <a:pt x="407" y="450"/>
                      </a:lnTo>
                      <a:lnTo>
                        <a:pt x="405" y="450"/>
                      </a:lnTo>
                      <a:lnTo>
                        <a:pt x="404" y="450"/>
                      </a:lnTo>
                      <a:lnTo>
                        <a:pt x="404" y="451"/>
                      </a:lnTo>
                      <a:lnTo>
                        <a:pt x="405" y="451"/>
                      </a:lnTo>
                      <a:lnTo>
                        <a:pt x="404" y="451"/>
                      </a:lnTo>
                      <a:lnTo>
                        <a:pt x="404" y="450"/>
                      </a:lnTo>
                      <a:lnTo>
                        <a:pt x="402" y="451"/>
                      </a:lnTo>
                      <a:lnTo>
                        <a:pt x="402" y="450"/>
                      </a:lnTo>
                      <a:lnTo>
                        <a:pt x="400" y="451"/>
                      </a:lnTo>
                      <a:lnTo>
                        <a:pt x="399" y="451"/>
                      </a:lnTo>
                      <a:lnTo>
                        <a:pt x="397" y="451"/>
                      </a:lnTo>
                      <a:lnTo>
                        <a:pt x="395" y="451"/>
                      </a:lnTo>
                      <a:lnTo>
                        <a:pt x="393" y="451"/>
                      </a:lnTo>
                      <a:lnTo>
                        <a:pt x="392" y="451"/>
                      </a:lnTo>
                      <a:lnTo>
                        <a:pt x="392" y="450"/>
                      </a:lnTo>
                      <a:lnTo>
                        <a:pt x="390" y="450"/>
                      </a:lnTo>
                      <a:lnTo>
                        <a:pt x="388" y="450"/>
                      </a:lnTo>
                      <a:lnTo>
                        <a:pt x="390" y="448"/>
                      </a:lnTo>
                      <a:lnTo>
                        <a:pt x="388" y="448"/>
                      </a:lnTo>
                      <a:lnTo>
                        <a:pt x="387" y="448"/>
                      </a:lnTo>
                      <a:lnTo>
                        <a:pt x="387" y="450"/>
                      </a:lnTo>
                      <a:lnTo>
                        <a:pt x="385" y="450"/>
                      </a:lnTo>
                      <a:lnTo>
                        <a:pt x="385" y="451"/>
                      </a:lnTo>
                      <a:lnTo>
                        <a:pt x="383" y="451"/>
                      </a:lnTo>
                      <a:lnTo>
                        <a:pt x="382" y="451"/>
                      </a:lnTo>
                      <a:lnTo>
                        <a:pt x="380" y="451"/>
                      </a:lnTo>
                      <a:lnTo>
                        <a:pt x="380" y="453"/>
                      </a:lnTo>
                      <a:lnTo>
                        <a:pt x="378" y="453"/>
                      </a:lnTo>
                      <a:lnTo>
                        <a:pt x="378" y="451"/>
                      </a:lnTo>
                      <a:lnTo>
                        <a:pt x="377" y="451"/>
                      </a:lnTo>
                      <a:lnTo>
                        <a:pt x="375" y="451"/>
                      </a:lnTo>
                      <a:lnTo>
                        <a:pt x="373" y="451"/>
                      </a:lnTo>
                      <a:lnTo>
                        <a:pt x="372" y="451"/>
                      </a:lnTo>
                      <a:lnTo>
                        <a:pt x="370" y="451"/>
                      </a:lnTo>
                      <a:lnTo>
                        <a:pt x="370" y="453"/>
                      </a:lnTo>
                      <a:lnTo>
                        <a:pt x="368" y="453"/>
                      </a:lnTo>
                      <a:lnTo>
                        <a:pt x="366" y="453"/>
                      </a:lnTo>
                      <a:lnTo>
                        <a:pt x="365" y="453"/>
                      </a:lnTo>
                      <a:lnTo>
                        <a:pt x="363" y="453"/>
                      </a:lnTo>
                      <a:lnTo>
                        <a:pt x="363" y="451"/>
                      </a:lnTo>
                      <a:lnTo>
                        <a:pt x="361" y="451"/>
                      </a:lnTo>
                      <a:lnTo>
                        <a:pt x="361" y="450"/>
                      </a:lnTo>
                      <a:lnTo>
                        <a:pt x="360" y="450"/>
                      </a:lnTo>
                      <a:lnTo>
                        <a:pt x="361" y="450"/>
                      </a:lnTo>
                      <a:lnTo>
                        <a:pt x="361" y="448"/>
                      </a:lnTo>
                      <a:lnTo>
                        <a:pt x="360" y="448"/>
                      </a:lnTo>
                      <a:lnTo>
                        <a:pt x="360" y="446"/>
                      </a:lnTo>
                      <a:lnTo>
                        <a:pt x="361" y="446"/>
                      </a:lnTo>
                      <a:lnTo>
                        <a:pt x="360" y="445"/>
                      </a:lnTo>
                      <a:lnTo>
                        <a:pt x="361" y="445"/>
                      </a:lnTo>
                      <a:lnTo>
                        <a:pt x="361" y="443"/>
                      </a:lnTo>
                      <a:lnTo>
                        <a:pt x="360" y="443"/>
                      </a:lnTo>
                      <a:lnTo>
                        <a:pt x="361" y="443"/>
                      </a:lnTo>
                      <a:lnTo>
                        <a:pt x="360" y="441"/>
                      </a:lnTo>
                      <a:lnTo>
                        <a:pt x="360" y="440"/>
                      </a:lnTo>
                      <a:lnTo>
                        <a:pt x="361" y="440"/>
                      </a:lnTo>
                      <a:lnTo>
                        <a:pt x="363" y="440"/>
                      </a:lnTo>
                      <a:lnTo>
                        <a:pt x="363" y="438"/>
                      </a:lnTo>
                      <a:lnTo>
                        <a:pt x="363" y="437"/>
                      </a:lnTo>
                      <a:lnTo>
                        <a:pt x="361" y="435"/>
                      </a:lnTo>
                      <a:lnTo>
                        <a:pt x="363" y="435"/>
                      </a:lnTo>
                      <a:lnTo>
                        <a:pt x="365" y="435"/>
                      </a:lnTo>
                      <a:lnTo>
                        <a:pt x="365" y="433"/>
                      </a:lnTo>
                      <a:lnTo>
                        <a:pt x="366" y="433"/>
                      </a:lnTo>
                      <a:lnTo>
                        <a:pt x="366" y="432"/>
                      </a:lnTo>
                      <a:lnTo>
                        <a:pt x="366" y="430"/>
                      </a:lnTo>
                      <a:lnTo>
                        <a:pt x="366" y="428"/>
                      </a:lnTo>
                      <a:lnTo>
                        <a:pt x="368" y="427"/>
                      </a:lnTo>
                      <a:lnTo>
                        <a:pt x="366" y="427"/>
                      </a:lnTo>
                      <a:lnTo>
                        <a:pt x="366" y="425"/>
                      </a:lnTo>
                      <a:lnTo>
                        <a:pt x="368" y="425"/>
                      </a:lnTo>
                      <a:lnTo>
                        <a:pt x="368" y="423"/>
                      </a:lnTo>
                      <a:lnTo>
                        <a:pt x="368" y="422"/>
                      </a:lnTo>
                      <a:lnTo>
                        <a:pt x="370" y="422"/>
                      </a:lnTo>
                      <a:lnTo>
                        <a:pt x="372" y="420"/>
                      </a:lnTo>
                      <a:lnTo>
                        <a:pt x="370" y="420"/>
                      </a:lnTo>
                      <a:lnTo>
                        <a:pt x="372" y="420"/>
                      </a:lnTo>
                      <a:lnTo>
                        <a:pt x="370" y="420"/>
                      </a:lnTo>
                      <a:lnTo>
                        <a:pt x="368" y="420"/>
                      </a:lnTo>
                      <a:lnTo>
                        <a:pt x="368" y="418"/>
                      </a:lnTo>
                      <a:lnTo>
                        <a:pt x="368" y="420"/>
                      </a:lnTo>
                      <a:lnTo>
                        <a:pt x="366" y="420"/>
                      </a:lnTo>
                      <a:lnTo>
                        <a:pt x="366" y="418"/>
                      </a:lnTo>
                      <a:lnTo>
                        <a:pt x="365" y="418"/>
                      </a:lnTo>
                      <a:lnTo>
                        <a:pt x="365" y="417"/>
                      </a:lnTo>
                      <a:lnTo>
                        <a:pt x="363" y="417"/>
                      </a:lnTo>
                      <a:lnTo>
                        <a:pt x="363" y="415"/>
                      </a:lnTo>
                      <a:lnTo>
                        <a:pt x="361" y="415"/>
                      </a:lnTo>
                      <a:lnTo>
                        <a:pt x="361" y="414"/>
                      </a:lnTo>
                      <a:lnTo>
                        <a:pt x="361" y="412"/>
                      </a:lnTo>
                      <a:lnTo>
                        <a:pt x="360" y="412"/>
                      </a:lnTo>
                      <a:lnTo>
                        <a:pt x="360" y="410"/>
                      </a:lnTo>
                      <a:lnTo>
                        <a:pt x="358" y="410"/>
                      </a:lnTo>
                      <a:lnTo>
                        <a:pt x="358" y="409"/>
                      </a:lnTo>
                      <a:lnTo>
                        <a:pt x="356" y="409"/>
                      </a:lnTo>
                      <a:lnTo>
                        <a:pt x="358" y="407"/>
                      </a:lnTo>
                      <a:lnTo>
                        <a:pt x="358" y="405"/>
                      </a:lnTo>
                      <a:lnTo>
                        <a:pt x="358" y="404"/>
                      </a:lnTo>
                      <a:lnTo>
                        <a:pt x="358" y="402"/>
                      </a:lnTo>
                      <a:lnTo>
                        <a:pt x="356" y="400"/>
                      </a:lnTo>
                      <a:lnTo>
                        <a:pt x="355" y="400"/>
                      </a:lnTo>
                      <a:lnTo>
                        <a:pt x="356" y="400"/>
                      </a:lnTo>
                      <a:lnTo>
                        <a:pt x="355" y="400"/>
                      </a:lnTo>
                      <a:lnTo>
                        <a:pt x="355" y="399"/>
                      </a:lnTo>
                      <a:lnTo>
                        <a:pt x="355" y="400"/>
                      </a:lnTo>
                      <a:lnTo>
                        <a:pt x="353" y="399"/>
                      </a:lnTo>
                      <a:lnTo>
                        <a:pt x="353" y="400"/>
                      </a:lnTo>
                      <a:lnTo>
                        <a:pt x="353" y="399"/>
                      </a:lnTo>
                      <a:lnTo>
                        <a:pt x="351" y="399"/>
                      </a:lnTo>
                      <a:lnTo>
                        <a:pt x="351" y="397"/>
                      </a:lnTo>
                      <a:lnTo>
                        <a:pt x="350" y="397"/>
                      </a:lnTo>
                      <a:lnTo>
                        <a:pt x="350" y="395"/>
                      </a:lnTo>
                      <a:lnTo>
                        <a:pt x="348" y="395"/>
                      </a:lnTo>
                      <a:lnTo>
                        <a:pt x="348" y="394"/>
                      </a:lnTo>
                      <a:lnTo>
                        <a:pt x="346" y="394"/>
                      </a:lnTo>
                      <a:lnTo>
                        <a:pt x="346" y="392"/>
                      </a:lnTo>
                      <a:lnTo>
                        <a:pt x="346" y="391"/>
                      </a:lnTo>
                      <a:lnTo>
                        <a:pt x="345" y="391"/>
                      </a:lnTo>
                      <a:lnTo>
                        <a:pt x="343" y="391"/>
                      </a:lnTo>
                      <a:lnTo>
                        <a:pt x="345" y="391"/>
                      </a:lnTo>
                      <a:lnTo>
                        <a:pt x="343" y="391"/>
                      </a:lnTo>
                      <a:lnTo>
                        <a:pt x="345" y="391"/>
                      </a:lnTo>
                      <a:lnTo>
                        <a:pt x="345" y="389"/>
                      </a:lnTo>
                      <a:lnTo>
                        <a:pt x="343" y="389"/>
                      </a:lnTo>
                      <a:lnTo>
                        <a:pt x="343" y="387"/>
                      </a:lnTo>
                      <a:lnTo>
                        <a:pt x="343" y="386"/>
                      </a:lnTo>
                      <a:lnTo>
                        <a:pt x="341" y="386"/>
                      </a:lnTo>
                      <a:lnTo>
                        <a:pt x="343" y="386"/>
                      </a:lnTo>
                      <a:lnTo>
                        <a:pt x="343" y="384"/>
                      </a:lnTo>
                      <a:lnTo>
                        <a:pt x="341" y="384"/>
                      </a:lnTo>
                      <a:lnTo>
                        <a:pt x="341" y="382"/>
                      </a:lnTo>
                      <a:lnTo>
                        <a:pt x="341" y="381"/>
                      </a:lnTo>
                      <a:lnTo>
                        <a:pt x="339" y="382"/>
                      </a:lnTo>
                      <a:lnTo>
                        <a:pt x="338" y="382"/>
                      </a:lnTo>
                      <a:lnTo>
                        <a:pt x="338" y="381"/>
                      </a:lnTo>
                      <a:lnTo>
                        <a:pt x="336" y="381"/>
                      </a:lnTo>
                      <a:lnTo>
                        <a:pt x="336" y="379"/>
                      </a:lnTo>
                      <a:lnTo>
                        <a:pt x="336" y="377"/>
                      </a:lnTo>
                      <a:lnTo>
                        <a:pt x="334" y="377"/>
                      </a:lnTo>
                      <a:lnTo>
                        <a:pt x="334" y="379"/>
                      </a:lnTo>
                      <a:lnTo>
                        <a:pt x="334" y="377"/>
                      </a:lnTo>
                      <a:lnTo>
                        <a:pt x="333" y="377"/>
                      </a:lnTo>
                      <a:lnTo>
                        <a:pt x="333" y="376"/>
                      </a:lnTo>
                      <a:lnTo>
                        <a:pt x="333" y="374"/>
                      </a:lnTo>
                      <a:lnTo>
                        <a:pt x="333" y="376"/>
                      </a:lnTo>
                      <a:lnTo>
                        <a:pt x="334" y="374"/>
                      </a:lnTo>
                      <a:lnTo>
                        <a:pt x="333" y="374"/>
                      </a:lnTo>
                      <a:lnTo>
                        <a:pt x="334" y="374"/>
                      </a:lnTo>
                      <a:lnTo>
                        <a:pt x="334" y="372"/>
                      </a:lnTo>
                      <a:lnTo>
                        <a:pt x="336" y="372"/>
                      </a:lnTo>
                      <a:lnTo>
                        <a:pt x="338" y="371"/>
                      </a:lnTo>
                      <a:lnTo>
                        <a:pt x="336" y="371"/>
                      </a:lnTo>
                      <a:lnTo>
                        <a:pt x="336" y="369"/>
                      </a:lnTo>
                      <a:lnTo>
                        <a:pt x="338" y="369"/>
                      </a:lnTo>
                      <a:lnTo>
                        <a:pt x="336" y="369"/>
                      </a:lnTo>
                      <a:lnTo>
                        <a:pt x="336" y="368"/>
                      </a:lnTo>
                      <a:lnTo>
                        <a:pt x="336" y="366"/>
                      </a:lnTo>
                      <a:lnTo>
                        <a:pt x="336" y="364"/>
                      </a:lnTo>
                      <a:lnTo>
                        <a:pt x="338" y="364"/>
                      </a:lnTo>
                      <a:lnTo>
                        <a:pt x="338" y="363"/>
                      </a:lnTo>
                      <a:lnTo>
                        <a:pt x="338" y="361"/>
                      </a:lnTo>
                      <a:lnTo>
                        <a:pt x="336" y="361"/>
                      </a:lnTo>
                      <a:lnTo>
                        <a:pt x="336" y="359"/>
                      </a:lnTo>
                      <a:lnTo>
                        <a:pt x="334" y="359"/>
                      </a:lnTo>
                      <a:lnTo>
                        <a:pt x="334" y="358"/>
                      </a:lnTo>
                      <a:lnTo>
                        <a:pt x="333" y="356"/>
                      </a:lnTo>
                      <a:lnTo>
                        <a:pt x="331" y="356"/>
                      </a:lnTo>
                      <a:lnTo>
                        <a:pt x="333" y="356"/>
                      </a:lnTo>
                      <a:lnTo>
                        <a:pt x="333" y="354"/>
                      </a:lnTo>
                      <a:lnTo>
                        <a:pt x="331" y="353"/>
                      </a:lnTo>
                      <a:lnTo>
                        <a:pt x="333" y="353"/>
                      </a:lnTo>
                      <a:lnTo>
                        <a:pt x="331" y="353"/>
                      </a:lnTo>
                      <a:lnTo>
                        <a:pt x="331" y="351"/>
                      </a:lnTo>
                      <a:lnTo>
                        <a:pt x="333" y="351"/>
                      </a:lnTo>
                      <a:lnTo>
                        <a:pt x="333" y="350"/>
                      </a:lnTo>
                      <a:lnTo>
                        <a:pt x="333" y="348"/>
                      </a:lnTo>
                      <a:lnTo>
                        <a:pt x="333" y="346"/>
                      </a:lnTo>
                      <a:lnTo>
                        <a:pt x="331" y="345"/>
                      </a:lnTo>
                      <a:lnTo>
                        <a:pt x="331" y="343"/>
                      </a:lnTo>
                      <a:lnTo>
                        <a:pt x="333" y="343"/>
                      </a:lnTo>
                      <a:lnTo>
                        <a:pt x="331" y="343"/>
                      </a:lnTo>
                      <a:lnTo>
                        <a:pt x="331" y="341"/>
                      </a:lnTo>
                      <a:lnTo>
                        <a:pt x="333" y="341"/>
                      </a:lnTo>
                      <a:lnTo>
                        <a:pt x="331" y="340"/>
                      </a:lnTo>
                      <a:lnTo>
                        <a:pt x="333" y="340"/>
                      </a:lnTo>
                      <a:lnTo>
                        <a:pt x="333" y="341"/>
                      </a:lnTo>
                      <a:lnTo>
                        <a:pt x="333" y="340"/>
                      </a:lnTo>
                      <a:lnTo>
                        <a:pt x="333" y="338"/>
                      </a:lnTo>
                      <a:lnTo>
                        <a:pt x="334" y="336"/>
                      </a:lnTo>
                      <a:lnTo>
                        <a:pt x="336" y="336"/>
                      </a:lnTo>
                      <a:lnTo>
                        <a:pt x="336" y="338"/>
                      </a:lnTo>
                      <a:lnTo>
                        <a:pt x="336" y="336"/>
                      </a:lnTo>
                      <a:lnTo>
                        <a:pt x="334" y="336"/>
                      </a:lnTo>
                      <a:lnTo>
                        <a:pt x="334" y="335"/>
                      </a:lnTo>
                      <a:lnTo>
                        <a:pt x="333" y="335"/>
                      </a:lnTo>
                      <a:lnTo>
                        <a:pt x="333" y="333"/>
                      </a:lnTo>
                      <a:lnTo>
                        <a:pt x="331" y="333"/>
                      </a:lnTo>
                      <a:lnTo>
                        <a:pt x="333" y="333"/>
                      </a:lnTo>
                      <a:lnTo>
                        <a:pt x="333" y="331"/>
                      </a:lnTo>
                      <a:lnTo>
                        <a:pt x="334" y="333"/>
                      </a:lnTo>
                      <a:lnTo>
                        <a:pt x="334" y="331"/>
                      </a:lnTo>
                      <a:lnTo>
                        <a:pt x="333" y="331"/>
                      </a:lnTo>
                      <a:lnTo>
                        <a:pt x="334" y="330"/>
                      </a:lnTo>
                      <a:lnTo>
                        <a:pt x="333" y="330"/>
                      </a:lnTo>
                      <a:lnTo>
                        <a:pt x="331" y="330"/>
                      </a:lnTo>
                      <a:lnTo>
                        <a:pt x="329" y="330"/>
                      </a:lnTo>
                      <a:lnTo>
                        <a:pt x="329" y="328"/>
                      </a:lnTo>
                      <a:lnTo>
                        <a:pt x="331" y="328"/>
                      </a:lnTo>
                      <a:lnTo>
                        <a:pt x="331" y="327"/>
                      </a:lnTo>
                      <a:lnTo>
                        <a:pt x="331" y="325"/>
                      </a:lnTo>
                      <a:lnTo>
                        <a:pt x="331" y="323"/>
                      </a:lnTo>
                      <a:lnTo>
                        <a:pt x="331" y="322"/>
                      </a:lnTo>
                      <a:lnTo>
                        <a:pt x="329" y="322"/>
                      </a:lnTo>
                      <a:lnTo>
                        <a:pt x="329" y="320"/>
                      </a:lnTo>
                      <a:lnTo>
                        <a:pt x="329" y="318"/>
                      </a:lnTo>
                      <a:lnTo>
                        <a:pt x="328" y="318"/>
                      </a:lnTo>
                      <a:lnTo>
                        <a:pt x="328" y="317"/>
                      </a:lnTo>
                      <a:lnTo>
                        <a:pt x="328" y="315"/>
                      </a:lnTo>
                      <a:lnTo>
                        <a:pt x="328" y="313"/>
                      </a:lnTo>
                      <a:lnTo>
                        <a:pt x="326" y="313"/>
                      </a:lnTo>
                      <a:lnTo>
                        <a:pt x="326" y="312"/>
                      </a:lnTo>
                      <a:lnTo>
                        <a:pt x="324" y="312"/>
                      </a:lnTo>
                      <a:lnTo>
                        <a:pt x="323" y="312"/>
                      </a:lnTo>
                      <a:lnTo>
                        <a:pt x="324" y="310"/>
                      </a:lnTo>
                      <a:lnTo>
                        <a:pt x="323" y="312"/>
                      </a:lnTo>
                      <a:lnTo>
                        <a:pt x="323" y="310"/>
                      </a:lnTo>
                      <a:lnTo>
                        <a:pt x="321" y="310"/>
                      </a:lnTo>
                      <a:lnTo>
                        <a:pt x="321" y="308"/>
                      </a:lnTo>
                      <a:lnTo>
                        <a:pt x="321" y="307"/>
                      </a:lnTo>
                      <a:lnTo>
                        <a:pt x="319" y="305"/>
                      </a:lnTo>
                      <a:lnTo>
                        <a:pt x="319" y="307"/>
                      </a:lnTo>
                      <a:lnTo>
                        <a:pt x="317" y="307"/>
                      </a:lnTo>
                      <a:lnTo>
                        <a:pt x="316" y="307"/>
                      </a:lnTo>
                      <a:lnTo>
                        <a:pt x="314" y="305"/>
                      </a:lnTo>
                      <a:lnTo>
                        <a:pt x="312" y="304"/>
                      </a:lnTo>
                      <a:lnTo>
                        <a:pt x="311" y="304"/>
                      </a:lnTo>
                      <a:lnTo>
                        <a:pt x="309" y="304"/>
                      </a:lnTo>
                      <a:lnTo>
                        <a:pt x="307" y="304"/>
                      </a:lnTo>
                      <a:lnTo>
                        <a:pt x="307" y="302"/>
                      </a:lnTo>
                      <a:lnTo>
                        <a:pt x="306" y="302"/>
                      </a:lnTo>
                      <a:lnTo>
                        <a:pt x="304" y="302"/>
                      </a:lnTo>
                      <a:lnTo>
                        <a:pt x="304" y="300"/>
                      </a:lnTo>
                      <a:lnTo>
                        <a:pt x="304" y="299"/>
                      </a:lnTo>
                      <a:lnTo>
                        <a:pt x="304" y="297"/>
                      </a:lnTo>
                      <a:lnTo>
                        <a:pt x="304" y="295"/>
                      </a:lnTo>
                      <a:lnTo>
                        <a:pt x="302" y="295"/>
                      </a:lnTo>
                      <a:lnTo>
                        <a:pt x="301" y="295"/>
                      </a:lnTo>
                      <a:lnTo>
                        <a:pt x="299" y="295"/>
                      </a:lnTo>
                      <a:lnTo>
                        <a:pt x="299" y="294"/>
                      </a:lnTo>
                      <a:lnTo>
                        <a:pt x="297" y="294"/>
                      </a:lnTo>
                      <a:lnTo>
                        <a:pt x="297" y="292"/>
                      </a:lnTo>
                      <a:lnTo>
                        <a:pt x="299" y="292"/>
                      </a:lnTo>
                      <a:lnTo>
                        <a:pt x="299" y="290"/>
                      </a:lnTo>
                      <a:lnTo>
                        <a:pt x="299" y="289"/>
                      </a:lnTo>
                      <a:lnTo>
                        <a:pt x="297" y="287"/>
                      </a:lnTo>
                      <a:lnTo>
                        <a:pt x="296" y="287"/>
                      </a:lnTo>
                      <a:lnTo>
                        <a:pt x="296" y="289"/>
                      </a:lnTo>
                      <a:lnTo>
                        <a:pt x="296" y="290"/>
                      </a:lnTo>
                      <a:lnTo>
                        <a:pt x="294" y="290"/>
                      </a:lnTo>
                      <a:lnTo>
                        <a:pt x="294" y="289"/>
                      </a:lnTo>
                      <a:lnTo>
                        <a:pt x="292" y="289"/>
                      </a:lnTo>
                      <a:lnTo>
                        <a:pt x="290" y="287"/>
                      </a:lnTo>
                      <a:lnTo>
                        <a:pt x="290" y="289"/>
                      </a:lnTo>
                      <a:lnTo>
                        <a:pt x="289" y="290"/>
                      </a:lnTo>
                      <a:lnTo>
                        <a:pt x="287" y="290"/>
                      </a:lnTo>
                      <a:lnTo>
                        <a:pt x="287" y="289"/>
                      </a:lnTo>
                      <a:lnTo>
                        <a:pt x="285" y="290"/>
                      </a:lnTo>
                      <a:lnTo>
                        <a:pt x="284" y="290"/>
                      </a:lnTo>
                      <a:lnTo>
                        <a:pt x="284" y="292"/>
                      </a:lnTo>
                      <a:lnTo>
                        <a:pt x="282" y="290"/>
                      </a:lnTo>
                      <a:lnTo>
                        <a:pt x="280" y="290"/>
                      </a:lnTo>
                      <a:lnTo>
                        <a:pt x="280" y="292"/>
                      </a:lnTo>
                      <a:lnTo>
                        <a:pt x="279" y="292"/>
                      </a:lnTo>
                      <a:lnTo>
                        <a:pt x="277" y="292"/>
                      </a:lnTo>
                      <a:lnTo>
                        <a:pt x="275" y="292"/>
                      </a:lnTo>
                      <a:lnTo>
                        <a:pt x="274" y="292"/>
                      </a:lnTo>
                      <a:lnTo>
                        <a:pt x="272" y="292"/>
                      </a:lnTo>
                      <a:lnTo>
                        <a:pt x="272" y="290"/>
                      </a:lnTo>
                      <a:lnTo>
                        <a:pt x="270" y="290"/>
                      </a:lnTo>
                      <a:lnTo>
                        <a:pt x="269" y="290"/>
                      </a:lnTo>
                      <a:lnTo>
                        <a:pt x="267" y="290"/>
                      </a:lnTo>
                      <a:lnTo>
                        <a:pt x="267" y="292"/>
                      </a:lnTo>
                      <a:lnTo>
                        <a:pt x="265" y="292"/>
                      </a:lnTo>
                      <a:lnTo>
                        <a:pt x="263" y="292"/>
                      </a:lnTo>
                      <a:lnTo>
                        <a:pt x="263" y="290"/>
                      </a:lnTo>
                      <a:lnTo>
                        <a:pt x="262" y="290"/>
                      </a:lnTo>
                      <a:lnTo>
                        <a:pt x="262" y="289"/>
                      </a:lnTo>
                      <a:lnTo>
                        <a:pt x="260" y="289"/>
                      </a:lnTo>
                      <a:lnTo>
                        <a:pt x="258" y="289"/>
                      </a:lnTo>
                      <a:lnTo>
                        <a:pt x="257" y="289"/>
                      </a:lnTo>
                      <a:lnTo>
                        <a:pt x="255" y="289"/>
                      </a:lnTo>
                      <a:lnTo>
                        <a:pt x="255" y="290"/>
                      </a:lnTo>
                      <a:lnTo>
                        <a:pt x="255" y="292"/>
                      </a:lnTo>
                      <a:lnTo>
                        <a:pt x="253" y="292"/>
                      </a:lnTo>
                      <a:lnTo>
                        <a:pt x="252" y="292"/>
                      </a:lnTo>
                      <a:lnTo>
                        <a:pt x="250" y="290"/>
                      </a:lnTo>
                      <a:lnTo>
                        <a:pt x="248" y="290"/>
                      </a:lnTo>
                      <a:lnTo>
                        <a:pt x="248" y="292"/>
                      </a:lnTo>
                      <a:lnTo>
                        <a:pt x="247" y="292"/>
                      </a:lnTo>
                      <a:lnTo>
                        <a:pt x="247" y="290"/>
                      </a:lnTo>
                      <a:lnTo>
                        <a:pt x="245" y="290"/>
                      </a:lnTo>
                      <a:lnTo>
                        <a:pt x="245" y="289"/>
                      </a:lnTo>
                      <a:lnTo>
                        <a:pt x="243" y="289"/>
                      </a:lnTo>
                      <a:lnTo>
                        <a:pt x="241" y="287"/>
                      </a:lnTo>
                      <a:lnTo>
                        <a:pt x="240" y="287"/>
                      </a:lnTo>
                      <a:lnTo>
                        <a:pt x="240" y="289"/>
                      </a:lnTo>
                      <a:lnTo>
                        <a:pt x="238" y="290"/>
                      </a:lnTo>
                      <a:lnTo>
                        <a:pt x="236" y="290"/>
                      </a:lnTo>
                      <a:lnTo>
                        <a:pt x="236" y="289"/>
                      </a:lnTo>
                      <a:lnTo>
                        <a:pt x="235" y="289"/>
                      </a:lnTo>
                      <a:lnTo>
                        <a:pt x="235" y="287"/>
                      </a:lnTo>
                      <a:lnTo>
                        <a:pt x="233" y="287"/>
                      </a:lnTo>
                      <a:lnTo>
                        <a:pt x="231" y="287"/>
                      </a:lnTo>
                      <a:lnTo>
                        <a:pt x="230" y="289"/>
                      </a:lnTo>
                      <a:lnTo>
                        <a:pt x="228" y="292"/>
                      </a:lnTo>
                      <a:lnTo>
                        <a:pt x="226" y="294"/>
                      </a:lnTo>
                      <a:lnTo>
                        <a:pt x="225" y="294"/>
                      </a:lnTo>
                      <a:lnTo>
                        <a:pt x="225" y="292"/>
                      </a:lnTo>
                      <a:lnTo>
                        <a:pt x="223" y="292"/>
                      </a:lnTo>
                      <a:lnTo>
                        <a:pt x="221" y="292"/>
                      </a:lnTo>
                      <a:lnTo>
                        <a:pt x="220" y="292"/>
                      </a:lnTo>
                      <a:lnTo>
                        <a:pt x="220" y="290"/>
                      </a:lnTo>
                      <a:lnTo>
                        <a:pt x="220" y="289"/>
                      </a:lnTo>
                      <a:lnTo>
                        <a:pt x="220" y="287"/>
                      </a:lnTo>
                      <a:lnTo>
                        <a:pt x="220" y="285"/>
                      </a:lnTo>
                      <a:lnTo>
                        <a:pt x="218" y="285"/>
                      </a:lnTo>
                      <a:lnTo>
                        <a:pt x="218" y="284"/>
                      </a:lnTo>
                      <a:lnTo>
                        <a:pt x="216" y="284"/>
                      </a:lnTo>
                      <a:lnTo>
                        <a:pt x="216" y="282"/>
                      </a:lnTo>
                      <a:lnTo>
                        <a:pt x="216" y="281"/>
                      </a:lnTo>
                      <a:lnTo>
                        <a:pt x="214" y="281"/>
                      </a:lnTo>
                      <a:lnTo>
                        <a:pt x="213" y="279"/>
                      </a:lnTo>
                      <a:lnTo>
                        <a:pt x="211" y="277"/>
                      </a:lnTo>
                      <a:lnTo>
                        <a:pt x="209" y="277"/>
                      </a:lnTo>
                      <a:lnTo>
                        <a:pt x="208" y="277"/>
                      </a:lnTo>
                      <a:lnTo>
                        <a:pt x="206" y="279"/>
                      </a:lnTo>
                      <a:lnTo>
                        <a:pt x="204" y="277"/>
                      </a:lnTo>
                      <a:lnTo>
                        <a:pt x="203" y="277"/>
                      </a:lnTo>
                      <a:lnTo>
                        <a:pt x="201" y="277"/>
                      </a:lnTo>
                      <a:lnTo>
                        <a:pt x="199" y="277"/>
                      </a:lnTo>
                      <a:lnTo>
                        <a:pt x="196" y="276"/>
                      </a:lnTo>
                      <a:lnTo>
                        <a:pt x="194" y="276"/>
                      </a:lnTo>
                      <a:lnTo>
                        <a:pt x="193" y="276"/>
                      </a:lnTo>
                      <a:lnTo>
                        <a:pt x="191" y="276"/>
                      </a:lnTo>
                      <a:lnTo>
                        <a:pt x="189" y="274"/>
                      </a:lnTo>
                      <a:lnTo>
                        <a:pt x="187" y="274"/>
                      </a:lnTo>
                      <a:lnTo>
                        <a:pt x="186" y="274"/>
                      </a:lnTo>
                      <a:lnTo>
                        <a:pt x="184" y="274"/>
                      </a:lnTo>
                      <a:lnTo>
                        <a:pt x="184" y="272"/>
                      </a:lnTo>
                      <a:lnTo>
                        <a:pt x="182" y="272"/>
                      </a:lnTo>
                      <a:lnTo>
                        <a:pt x="181" y="272"/>
                      </a:lnTo>
                      <a:lnTo>
                        <a:pt x="179" y="271"/>
                      </a:lnTo>
                      <a:lnTo>
                        <a:pt x="177" y="269"/>
                      </a:lnTo>
                      <a:lnTo>
                        <a:pt x="177" y="267"/>
                      </a:lnTo>
                      <a:lnTo>
                        <a:pt x="176" y="267"/>
                      </a:lnTo>
                      <a:lnTo>
                        <a:pt x="176" y="266"/>
                      </a:lnTo>
                      <a:lnTo>
                        <a:pt x="174" y="266"/>
                      </a:lnTo>
                      <a:lnTo>
                        <a:pt x="172" y="266"/>
                      </a:lnTo>
                      <a:lnTo>
                        <a:pt x="171" y="267"/>
                      </a:lnTo>
                      <a:lnTo>
                        <a:pt x="169" y="266"/>
                      </a:lnTo>
                      <a:lnTo>
                        <a:pt x="167" y="266"/>
                      </a:lnTo>
                      <a:lnTo>
                        <a:pt x="165" y="266"/>
                      </a:lnTo>
                      <a:lnTo>
                        <a:pt x="164" y="266"/>
                      </a:lnTo>
                      <a:lnTo>
                        <a:pt x="162" y="266"/>
                      </a:lnTo>
                      <a:lnTo>
                        <a:pt x="160" y="266"/>
                      </a:lnTo>
                      <a:lnTo>
                        <a:pt x="160" y="264"/>
                      </a:lnTo>
                      <a:lnTo>
                        <a:pt x="159" y="264"/>
                      </a:lnTo>
                      <a:lnTo>
                        <a:pt x="157" y="266"/>
                      </a:lnTo>
                      <a:lnTo>
                        <a:pt x="155" y="267"/>
                      </a:lnTo>
                      <a:lnTo>
                        <a:pt x="154" y="267"/>
                      </a:lnTo>
                      <a:lnTo>
                        <a:pt x="152" y="269"/>
                      </a:lnTo>
                      <a:lnTo>
                        <a:pt x="152" y="267"/>
                      </a:lnTo>
                      <a:lnTo>
                        <a:pt x="150" y="267"/>
                      </a:lnTo>
                      <a:lnTo>
                        <a:pt x="149" y="267"/>
                      </a:lnTo>
                      <a:lnTo>
                        <a:pt x="149" y="269"/>
                      </a:lnTo>
                      <a:lnTo>
                        <a:pt x="147" y="269"/>
                      </a:lnTo>
                      <a:lnTo>
                        <a:pt x="145" y="267"/>
                      </a:lnTo>
                      <a:lnTo>
                        <a:pt x="144" y="267"/>
                      </a:lnTo>
                      <a:lnTo>
                        <a:pt x="142" y="266"/>
                      </a:lnTo>
                      <a:lnTo>
                        <a:pt x="140" y="266"/>
                      </a:lnTo>
                      <a:lnTo>
                        <a:pt x="138" y="266"/>
                      </a:lnTo>
                      <a:lnTo>
                        <a:pt x="137" y="266"/>
                      </a:lnTo>
                      <a:lnTo>
                        <a:pt x="135" y="266"/>
                      </a:lnTo>
                      <a:lnTo>
                        <a:pt x="133" y="266"/>
                      </a:lnTo>
                      <a:lnTo>
                        <a:pt x="132" y="266"/>
                      </a:lnTo>
                      <a:lnTo>
                        <a:pt x="132" y="264"/>
                      </a:lnTo>
                      <a:lnTo>
                        <a:pt x="130" y="262"/>
                      </a:lnTo>
                      <a:lnTo>
                        <a:pt x="128" y="261"/>
                      </a:lnTo>
                      <a:lnTo>
                        <a:pt x="127" y="261"/>
                      </a:lnTo>
                      <a:lnTo>
                        <a:pt x="125" y="261"/>
                      </a:lnTo>
                      <a:lnTo>
                        <a:pt x="123" y="262"/>
                      </a:lnTo>
                      <a:lnTo>
                        <a:pt x="122" y="262"/>
                      </a:lnTo>
                      <a:lnTo>
                        <a:pt x="120" y="262"/>
                      </a:lnTo>
                      <a:lnTo>
                        <a:pt x="118" y="262"/>
                      </a:lnTo>
                      <a:lnTo>
                        <a:pt x="117" y="262"/>
                      </a:lnTo>
                      <a:lnTo>
                        <a:pt x="117" y="261"/>
                      </a:lnTo>
                      <a:lnTo>
                        <a:pt x="115" y="259"/>
                      </a:lnTo>
                      <a:lnTo>
                        <a:pt x="113" y="259"/>
                      </a:lnTo>
                      <a:lnTo>
                        <a:pt x="113" y="258"/>
                      </a:lnTo>
                      <a:lnTo>
                        <a:pt x="111" y="258"/>
                      </a:lnTo>
                      <a:lnTo>
                        <a:pt x="110" y="256"/>
                      </a:lnTo>
                      <a:lnTo>
                        <a:pt x="106" y="256"/>
                      </a:lnTo>
                      <a:lnTo>
                        <a:pt x="106" y="254"/>
                      </a:lnTo>
                      <a:lnTo>
                        <a:pt x="105" y="254"/>
                      </a:lnTo>
                      <a:lnTo>
                        <a:pt x="103" y="254"/>
                      </a:lnTo>
                      <a:lnTo>
                        <a:pt x="101" y="254"/>
                      </a:lnTo>
                      <a:lnTo>
                        <a:pt x="100" y="254"/>
                      </a:lnTo>
                      <a:lnTo>
                        <a:pt x="98" y="253"/>
                      </a:lnTo>
                      <a:lnTo>
                        <a:pt x="96" y="253"/>
                      </a:lnTo>
                      <a:lnTo>
                        <a:pt x="95" y="253"/>
                      </a:lnTo>
                      <a:lnTo>
                        <a:pt x="93" y="253"/>
                      </a:lnTo>
                      <a:lnTo>
                        <a:pt x="93" y="254"/>
                      </a:lnTo>
                      <a:lnTo>
                        <a:pt x="91" y="254"/>
                      </a:lnTo>
                      <a:lnTo>
                        <a:pt x="91" y="258"/>
                      </a:lnTo>
                      <a:lnTo>
                        <a:pt x="91" y="259"/>
                      </a:lnTo>
                      <a:lnTo>
                        <a:pt x="89" y="259"/>
                      </a:lnTo>
                      <a:lnTo>
                        <a:pt x="89" y="261"/>
                      </a:lnTo>
                      <a:lnTo>
                        <a:pt x="91" y="262"/>
                      </a:lnTo>
                      <a:lnTo>
                        <a:pt x="91" y="264"/>
                      </a:lnTo>
                      <a:lnTo>
                        <a:pt x="89" y="264"/>
                      </a:lnTo>
                      <a:lnTo>
                        <a:pt x="88" y="264"/>
                      </a:lnTo>
                      <a:lnTo>
                        <a:pt x="88" y="266"/>
                      </a:lnTo>
                      <a:lnTo>
                        <a:pt x="86" y="266"/>
                      </a:lnTo>
                      <a:lnTo>
                        <a:pt x="84" y="267"/>
                      </a:lnTo>
                      <a:lnTo>
                        <a:pt x="84" y="266"/>
                      </a:lnTo>
                      <a:lnTo>
                        <a:pt x="84" y="264"/>
                      </a:lnTo>
                      <a:lnTo>
                        <a:pt x="84" y="262"/>
                      </a:lnTo>
                      <a:lnTo>
                        <a:pt x="83" y="262"/>
                      </a:lnTo>
                      <a:lnTo>
                        <a:pt x="83" y="261"/>
                      </a:lnTo>
                      <a:lnTo>
                        <a:pt x="81" y="261"/>
                      </a:lnTo>
                      <a:lnTo>
                        <a:pt x="79" y="262"/>
                      </a:lnTo>
                      <a:lnTo>
                        <a:pt x="78" y="262"/>
                      </a:lnTo>
                      <a:lnTo>
                        <a:pt x="76" y="262"/>
                      </a:lnTo>
                      <a:lnTo>
                        <a:pt x="74" y="262"/>
                      </a:lnTo>
                      <a:lnTo>
                        <a:pt x="73" y="262"/>
                      </a:lnTo>
                      <a:lnTo>
                        <a:pt x="71" y="262"/>
                      </a:lnTo>
                      <a:lnTo>
                        <a:pt x="69" y="262"/>
                      </a:lnTo>
                      <a:lnTo>
                        <a:pt x="68" y="261"/>
                      </a:lnTo>
                      <a:lnTo>
                        <a:pt x="66" y="261"/>
                      </a:lnTo>
                      <a:lnTo>
                        <a:pt x="64" y="261"/>
                      </a:lnTo>
                      <a:lnTo>
                        <a:pt x="62" y="261"/>
                      </a:lnTo>
                      <a:lnTo>
                        <a:pt x="61" y="261"/>
                      </a:lnTo>
                      <a:lnTo>
                        <a:pt x="59" y="262"/>
                      </a:lnTo>
                      <a:lnTo>
                        <a:pt x="57" y="262"/>
                      </a:lnTo>
                      <a:lnTo>
                        <a:pt x="56" y="261"/>
                      </a:lnTo>
                      <a:lnTo>
                        <a:pt x="54" y="261"/>
                      </a:lnTo>
                      <a:lnTo>
                        <a:pt x="52" y="259"/>
                      </a:lnTo>
                      <a:lnTo>
                        <a:pt x="51" y="258"/>
                      </a:lnTo>
                      <a:lnTo>
                        <a:pt x="51" y="256"/>
                      </a:lnTo>
                      <a:lnTo>
                        <a:pt x="49" y="256"/>
                      </a:lnTo>
                      <a:lnTo>
                        <a:pt x="49" y="258"/>
                      </a:lnTo>
                      <a:lnTo>
                        <a:pt x="47" y="258"/>
                      </a:lnTo>
                      <a:lnTo>
                        <a:pt x="46" y="259"/>
                      </a:lnTo>
                      <a:lnTo>
                        <a:pt x="44" y="259"/>
                      </a:lnTo>
                      <a:lnTo>
                        <a:pt x="42" y="261"/>
                      </a:lnTo>
                      <a:lnTo>
                        <a:pt x="41" y="262"/>
                      </a:lnTo>
                      <a:lnTo>
                        <a:pt x="39" y="262"/>
                      </a:lnTo>
                      <a:lnTo>
                        <a:pt x="37" y="262"/>
                      </a:lnTo>
                      <a:lnTo>
                        <a:pt x="35" y="262"/>
                      </a:lnTo>
                      <a:lnTo>
                        <a:pt x="34" y="261"/>
                      </a:lnTo>
                      <a:lnTo>
                        <a:pt x="32" y="261"/>
                      </a:lnTo>
                      <a:lnTo>
                        <a:pt x="30" y="259"/>
                      </a:lnTo>
                      <a:lnTo>
                        <a:pt x="29" y="259"/>
                      </a:lnTo>
                      <a:lnTo>
                        <a:pt x="27" y="259"/>
                      </a:lnTo>
                      <a:lnTo>
                        <a:pt x="25" y="261"/>
                      </a:lnTo>
                      <a:lnTo>
                        <a:pt x="24" y="261"/>
                      </a:lnTo>
                      <a:lnTo>
                        <a:pt x="22" y="258"/>
                      </a:lnTo>
                      <a:lnTo>
                        <a:pt x="20" y="258"/>
                      </a:lnTo>
                      <a:lnTo>
                        <a:pt x="19" y="256"/>
                      </a:lnTo>
                      <a:lnTo>
                        <a:pt x="17" y="256"/>
                      </a:lnTo>
                      <a:lnTo>
                        <a:pt x="13" y="258"/>
                      </a:lnTo>
                      <a:lnTo>
                        <a:pt x="12" y="258"/>
                      </a:lnTo>
                      <a:lnTo>
                        <a:pt x="10" y="259"/>
                      </a:lnTo>
                      <a:lnTo>
                        <a:pt x="8" y="259"/>
                      </a:lnTo>
                      <a:lnTo>
                        <a:pt x="8" y="261"/>
                      </a:lnTo>
                      <a:lnTo>
                        <a:pt x="7" y="261"/>
                      </a:lnTo>
                      <a:lnTo>
                        <a:pt x="7" y="262"/>
                      </a:lnTo>
                      <a:lnTo>
                        <a:pt x="5" y="262"/>
                      </a:lnTo>
                      <a:lnTo>
                        <a:pt x="5" y="264"/>
                      </a:lnTo>
                      <a:lnTo>
                        <a:pt x="3" y="264"/>
                      </a:lnTo>
                      <a:lnTo>
                        <a:pt x="2" y="266"/>
                      </a:lnTo>
                      <a:lnTo>
                        <a:pt x="2" y="264"/>
                      </a:lnTo>
                      <a:lnTo>
                        <a:pt x="2" y="262"/>
                      </a:lnTo>
                      <a:lnTo>
                        <a:pt x="0" y="262"/>
                      </a:lnTo>
                      <a:lnTo>
                        <a:pt x="0" y="261"/>
                      </a:lnTo>
                      <a:lnTo>
                        <a:pt x="0" y="259"/>
                      </a:lnTo>
                      <a:lnTo>
                        <a:pt x="2" y="258"/>
                      </a:lnTo>
                      <a:lnTo>
                        <a:pt x="2" y="256"/>
                      </a:lnTo>
                      <a:lnTo>
                        <a:pt x="3" y="256"/>
                      </a:lnTo>
                      <a:lnTo>
                        <a:pt x="5" y="254"/>
                      </a:lnTo>
                      <a:lnTo>
                        <a:pt x="7" y="253"/>
                      </a:lnTo>
                      <a:lnTo>
                        <a:pt x="8" y="253"/>
                      </a:lnTo>
                      <a:lnTo>
                        <a:pt x="10" y="253"/>
                      </a:lnTo>
                      <a:lnTo>
                        <a:pt x="10" y="249"/>
                      </a:lnTo>
                      <a:lnTo>
                        <a:pt x="12" y="249"/>
                      </a:lnTo>
                      <a:lnTo>
                        <a:pt x="15" y="248"/>
                      </a:lnTo>
                      <a:lnTo>
                        <a:pt x="19" y="248"/>
                      </a:lnTo>
                      <a:lnTo>
                        <a:pt x="20" y="248"/>
                      </a:lnTo>
                      <a:lnTo>
                        <a:pt x="22" y="246"/>
                      </a:lnTo>
                      <a:lnTo>
                        <a:pt x="24" y="246"/>
                      </a:lnTo>
                      <a:lnTo>
                        <a:pt x="25" y="244"/>
                      </a:lnTo>
                      <a:lnTo>
                        <a:pt x="25" y="243"/>
                      </a:lnTo>
                      <a:lnTo>
                        <a:pt x="27" y="243"/>
                      </a:lnTo>
                      <a:lnTo>
                        <a:pt x="27" y="241"/>
                      </a:lnTo>
                      <a:lnTo>
                        <a:pt x="29" y="241"/>
                      </a:lnTo>
                      <a:lnTo>
                        <a:pt x="29" y="239"/>
                      </a:lnTo>
                      <a:lnTo>
                        <a:pt x="30" y="239"/>
                      </a:lnTo>
                      <a:lnTo>
                        <a:pt x="32" y="238"/>
                      </a:lnTo>
                      <a:lnTo>
                        <a:pt x="34" y="238"/>
                      </a:lnTo>
                      <a:lnTo>
                        <a:pt x="35" y="236"/>
                      </a:lnTo>
                      <a:lnTo>
                        <a:pt x="37" y="235"/>
                      </a:lnTo>
                      <a:lnTo>
                        <a:pt x="39" y="235"/>
                      </a:lnTo>
                      <a:lnTo>
                        <a:pt x="41" y="233"/>
                      </a:lnTo>
                      <a:lnTo>
                        <a:pt x="42" y="233"/>
                      </a:lnTo>
                      <a:lnTo>
                        <a:pt x="44" y="233"/>
                      </a:lnTo>
                      <a:lnTo>
                        <a:pt x="44" y="231"/>
                      </a:lnTo>
                      <a:lnTo>
                        <a:pt x="46" y="231"/>
                      </a:lnTo>
                      <a:lnTo>
                        <a:pt x="46" y="230"/>
                      </a:lnTo>
                      <a:lnTo>
                        <a:pt x="47" y="230"/>
                      </a:lnTo>
                      <a:lnTo>
                        <a:pt x="49" y="230"/>
                      </a:lnTo>
                      <a:lnTo>
                        <a:pt x="51" y="228"/>
                      </a:lnTo>
                      <a:lnTo>
                        <a:pt x="54" y="226"/>
                      </a:lnTo>
                      <a:lnTo>
                        <a:pt x="56" y="226"/>
                      </a:lnTo>
                      <a:lnTo>
                        <a:pt x="57" y="225"/>
                      </a:lnTo>
                      <a:lnTo>
                        <a:pt x="59" y="225"/>
                      </a:lnTo>
                      <a:lnTo>
                        <a:pt x="61" y="223"/>
                      </a:lnTo>
                      <a:lnTo>
                        <a:pt x="62" y="221"/>
                      </a:lnTo>
                      <a:lnTo>
                        <a:pt x="64" y="221"/>
                      </a:lnTo>
                      <a:lnTo>
                        <a:pt x="64" y="220"/>
                      </a:lnTo>
                      <a:lnTo>
                        <a:pt x="66" y="218"/>
                      </a:lnTo>
                      <a:lnTo>
                        <a:pt x="68" y="218"/>
                      </a:lnTo>
                      <a:lnTo>
                        <a:pt x="68" y="216"/>
                      </a:lnTo>
                      <a:lnTo>
                        <a:pt x="68" y="215"/>
                      </a:lnTo>
                      <a:lnTo>
                        <a:pt x="69" y="215"/>
                      </a:lnTo>
                      <a:lnTo>
                        <a:pt x="71" y="213"/>
                      </a:lnTo>
                      <a:lnTo>
                        <a:pt x="73" y="212"/>
                      </a:lnTo>
                      <a:lnTo>
                        <a:pt x="73" y="210"/>
                      </a:lnTo>
                      <a:lnTo>
                        <a:pt x="73" y="208"/>
                      </a:lnTo>
                      <a:lnTo>
                        <a:pt x="74" y="207"/>
                      </a:lnTo>
                      <a:lnTo>
                        <a:pt x="74" y="205"/>
                      </a:lnTo>
                      <a:lnTo>
                        <a:pt x="74" y="203"/>
                      </a:lnTo>
                      <a:lnTo>
                        <a:pt x="76" y="202"/>
                      </a:lnTo>
                      <a:lnTo>
                        <a:pt x="76" y="200"/>
                      </a:lnTo>
                      <a:lnTo>
                        <a:pt x="78" y="198"/>
                      </a:lnTo>
                      <a:lnTo>
                        <a:pt x="79" y="197"/>
                      </a:lnTo>
                      <a:lnTo>
                        <a:pt x="81" y="197"/>
                      </a:lnTo>
                      <a:lnTo>
                        <a:pt x="81" y="195"/>
                      </a:lnTo>
                      <a:lnTo>
                        <a:pt x="83" y="195"/>
                      </a:lnTo>
                      <a:lnTo>
                        <a:pt x="83" y="193"/>
                      </a:lnTo>
                      <a:lnTo>
                        <a:pt x="84" y="193"/>
                      </a:lnTo>
                      <a:lnTo>
                        <a:pt x="86" y="192"/>
                      </a:lnTo>
                      <a:lnTo>
                        <a:pt x="88" y="190"/>
                      </a:lnTo>
                      <a:lnTo>
                        <a:pt x="88" y="189"/>
                      </a:lnTo>
                      <a:lnTo>
                        <a:pt x="88" y="187"/>
                      </a:lnTo>
                      <a:lnTo>
                        <a:pt x="89" y="185"/>
                      </a:lnTo>
                      <a:lnTo>
                        <a:pt x="89" y="184"/>
                      </a:lnTo>
                      <a:lnTo>
                        <a:pt x="91" y="182"/>
                      </a:lnTo>
                      <a:lnTo>
                        <a:pt x="93" y="182"/>
                      </a:lnTo>
                      <a:lnTo>
                        <a:pt x="95" y="182"/>
                      </a:lnTo>
                      <a:lnTo>
                        <a:pt x="96" y="180"/>
                      </a:lnTo>
                      <a:lnTo>
                        <a:pt x="98" y="179"/>
                      </a:lnTo>
                      <a:lnTo>
                        <a:pt x="100" y="177"/>
                      </a:lnTo>
                      <a:lnTo>
                        <a:pt x="100" y="175"/>
                      </a:lnTo>
                      <a:lnTo>
                        <a:pt x="101" y="174"/>
                      </a:lnTo>
                      <a:lnTo>
                        <a:pt x="101" y="172"/>
                      </a:lnTo>
                      <a:lnTo>
                        <a:pt x="101" y="170"/>
                      </a:lnTo>
                      <a:lnTo>
                        <a:pt x="100" y="170"/>
                      </a:lnTo>
                      <a:lnTo>
                        <a:pt x="100" y="169"/>
                      </a:lnTo>
                      <a:lnTo>
                        <a:pt x="100" y="167"/>
                      </a:lnTo>
                      <a:lnTo>
                        <a:pt x="98" y="167"/>
                      </a:lnTo>
                      <a:lnTo>
                        <a:pt x="98" y="166"/>
                      </a:lnTo>
                      <a:lnTo>
                        <a:pt x="96" y="166"/>
                      </a:lnTo>
                      <a:lnTo>
                        <a:pt x="96" y="164"/>
                      </a:lnTo>
                      <a:lnTo>
                        <a:pt x="96" y="162"/>
                      </a:lnTo>
                      <a:lnTo>
                        <a:pt x="98" y="161"/>
                      </a:lnTo>
                      <a:lnTo>
                        <a:pt x="98" y="159"/>
                      </a:lnTo>
                      <a:lnTo>
                        <a:pt x="100" y="159"/>
                      </a:lnTo>
                      <a:lnTo>
                        <a:pt x="101" y="159"/>
                      </a:lnTo>
                      <a:lnTo>
                        <a:pt x="105" y="159"/>
                      </a:lnTo>
                      <a:lnTo>
                        <a:pt x="106" y="161"/>
                      </a:lnTo>
                      <a:lnTo>
                        <a:pt x="106" y="159"/>
                      </a:lnTo>
                      <a:lnTo>
                        <a:pt x="108" y="159"/>
                      </a:lnTo>
                      <a:lnTo>
                        <a:pt x="110" y="157"/>
                      </a:lnTo>
                      <a:lnTo>
                        <a:pt x="110" y="156"/>
                      </a:lnTo>
                      <a:lnTo>
                        <a:pt x="111" y="156"/>
                      </a:lnTo>
                      <a:lnTo>
                        <a:pt x="111" y="154"/>
                      </a:lnTo>
                      <a:lnTo>
                        <a:pt x="113" y="154"/>
                      </a:lnTo>
                      <a:lnTo>
                        <a:pt x="113" y="152"/>
                      </a:lnTo>
                      <a:lnTo>
                        <a:pt x="113" y="151"/>
                      </a:lnTo>
                      <a:lnTo>
                        <a:pt x="113" y="149"/>
                      </a:lnTo>
                      <a:lnTo>
                        <a:pt x="115" y="148"/>
                      </a:lnTo>
                      <a:lnTo>
                        <a:pt x="117" y="146"/>
                      </a:lnTo>
                      <a:lnTo>
                        <a:pt x="118" y="144"/>
                      </a:lnTo>
                      <a:lnTo>
                        <a:pt x="118" y="143"/>
                      </a:lnTo>
                      <a:lnTo>
                        <a:pt x="118" y="141"/>
                      </a:lnTo>
                      <a:lnTo>
                        <a:pt x="120" y="139"/>
                      </a:lnTo>
                      <a:lnTo>
                        <a:pt x="120" y="138"/>
                      </a:lnTo>
                      <a:lnTo>
                        <a:pt x="120" y="136"/>
                      </a:lnTo>
                      <a:lnTo>
                        <a:pt x="118" y="134"/>
                      </a:lnTo>
                      <a:lnTo>
                        <a:pt x="118" y="133"/>
                      </a:lnTo>
                      <a:lnTo>
                        <a:pt x="118" y="131"/>
                      </a:lnTo>
                      <a:lnTo>
                        <a:pt x="117" y="131"/>
                      </a:lnTo>
                      <a:lnTo>
                        <a:pt x="117" y="129"/>
                      </a:lnTo>
                      <a:lnTo>
                        <a:pt x="118" y="129"/>
                      </a:lnTo>
                      <a:lnTo>
                        <a:pt x="117" y="126"/>
                      </a:lnTo>
                      <a:lnTo>
                        <a:pt x="117" y="125"/>
                      </a:lnTo>
                      <a:lnTo>
                        <a:pt x="118" y="125"/>
                      </a:lnTo>
                      <a:lnTo>
                        <a:pt x="120" y="125"/>
                      </a:lnTo>
                      <a:lnTo>
                        <a:pt x="122" y="125"/>
                      </a:lnTo>
                      <a:lnTo>
                        <a:pt x="123" y="125"/>
                      </a:lnTo>
                      <a:lnTo>
                        <a:pt x="123" y="123"/>
                      </a:lnTo>
                      <a:lnTo>
                        <a:pt x="125" y="123"/>
                      </a:lnTo>
                      <a:lnTo>
                        <a:pt x="125" y="121"/>
                      </a:lnTo>
                      <a:lnTo>
                        <a:pt x="127" y="121"/>
                      </a:lnTo>
                      <a:lnTo>
                        <a:pt x="127" y="120"/>
                      </a:lnTo>
                      <a:lnTo>
                        <a:pt x="127" y="118"/>
                      </a:lnTo>
                      <a:lnTo>
                        <a:pt x="127" y="116"/>
                      </a:lnTo>
                      <a:lnTo>
                        <a:pt x="128" y="115"/>
                      </a:lnTo>
                      <a:lnTo>
                        <a:pt x="128" y="113"/>
                      </a:lnTo>
                      <a:lnTo>
                        <a:pt x="130" y="113"/>
                      </a:lnTo>
                      <a:lnTo>
                        <a:pt x="130" y="111"/>
                      </a:lnTo>
                      <a:lnTo>
                        <a:pt x="132" y="111"/>
                      </a:lnTo>
                      <a:lnTo>
                        <a:pt x="132" y="110"/>
                      </a:lnTo>
                      <a:lnTo>
                        <a:pt x="133" y="110"/>
                      </a:lnTo>
                      <a:lnTo>
                        <a:pt x="135" y="110"/>
                      </a:lnTo>
                      <a:lnTo>
                        <a:pt x="137" y="110"/>
                      </a:lnTo>
                      <a:lnTo>
                        <a:pt x="138" y="110"/>
                      </a:lnTo>
                      <a:lnTo>
                        <a:pt x="138" y="108"/>
                      </a:lnTo>
                      <a:lnTo>
                        <a:pt x="140" y="108"/>
                      </a:lnTo>
                      <a:lnTo>
                        <a:pt x="142" y="106"/>
                      </a:lnTo>
                      <a:lnTo>
                        <a:pt x="142" y="105"/>
                      </a:lnTo>
                      <a:lnTo>
                        <a:pt x="142" y="103"/>
                      </a:lnTo>
                      <a:lnTo>
                        <a:pt x="142" y="102"/>
                      </a:lnTo>
                      <a:lnTo>
                        <a:pt x="140" y="100"/>
                      </a:lnTo>
                      <a:lnTo>
                        <a:pt x="140" y="97"/>
                      </a:lnTo>
                      <a:lnTo>
                        <a:pt x="142" y="93"/>
                      </a:lnTo>
                      <a:lnTo>
                        <a:pt x="140" y="93"/>
                      </a:lnTo>
                      <a:lnTo>
                        <a:pt x="140" y="92"/>
                      </a:lnTo>
                      <a:lnTo>
                        <a:pt x="142" y="92"/>
                      </a:lnTo>
                      <a:lnTo>
                        <a:pt x="140" y="90"/>
                      </a:lnTo>
                      <a:lnTo>
                        <a:pt x="140" y="88"/>
                      </a:lnTo>
                      <a:lnTo>
                        <a:pt x="142" y="85"/>
                      </a:lnTo>
                      <a:lnTo>
                        <a:pt x="142" y="83"/>
                      </a:lnTo>
                      <a:lnTo>
                        <a:pt x="144" y="82"/>
                      </a:lnTo>
                      <a:lnTo>
                        <a:pt x="144" y="80"/>
                      </a:lnTo>
                      <a:lnTo>
                        <a:pt x="145" y="79"/>
                      </a:lnTo>
                      <a:lnTo>
                        <a:pt x="147" y="77"/>
                      </a:lnTo>
                      <a:lnTo>
                        <a:pt x="150" y="75"/>
                      </a:lnTo>
                      <a:lnTo>
                        <a:pt x="150" y="74"/>
                      </a:lnTo>
                      <a:lnTo>
                        <a:pt x="152" y="74"/>
                      </a:lnTo>
                      <a:lnTo>
                        <a:pt x="154" y="72"/>
                      </a:lnTo>
                      <a:lnTo>
                        <a:pt x="154" y="70"/>
                      </a:lnTo>
                      <a:lnTo>
                        <a:pt x="155" y="67"/>
                      </a:lnTo>
                      <a:lnTo>
                        <a:pt x="157" y="67"/>
                      </a:lnTo>
                      <a:lnTo>
                        <a:pt x="157" y="65"/>
                      </a:lnTo>
                      <a:lnTo>
                        <a:pt x="159" y="64"/>
                      </a:lnTo>
                      <a:lnTo>
                        <a:pt x="160" y="64"/>
                      </a:lnTo>
                      <a:lnTo>
                        <a:pt x="162" y="62"/>
                      </a:lnTo>
                      <a:lnTo>
                        <a:pt x="165" y="57"/>
                      </a:lnTo>
                      <a:lnTo>
                        <a:pt x="165" y="56"/>
                      </a:lnTo>
                      <a:lnTo>
                        <a:pt x="167" y="54"/>
                      </a:lnTo>
                      <a:lnTo>
                        <a:pt x="167" y="52"/>
                      </a:lnTo>
                      <a:lnTo>
                        <a:pt x="171" y="51"/>
                      </a:lnTo>
                      <a:lnTo>
                        <a:pt x="172" y="51"/>
                      </a:lnTo>
                      <a:lnTo>
                        <a:pt x="177" y="49"/>
                      </a:lnTo>
                      <a:lnTo>
                        <a:pt x="182" y="49"/>
                      </a:lnTo>
                      <a:lnTo>
                        <a:pt x="184" y="49"/>
                      </a:lnTo>
                      <a:lnTo>
                        <a:pt x="186" y="49"/>
                      </a:lnTo>
                      <a:lnTo>
                        <a:pt x="187" y="47"/>
                      </a:lnTo>
                      <a:lnTo>
                        <a:pt x="189" y="47"/>
                      </a:lnTo>
                      <a:lnTo>
                        <a:pt x="191" y="46"/>
                      </a:lnTo>
                      <a:lnTo>
                        <a:pt x="194" y="44"/>
                      </a:lnTo>
                      <a:lnTo>
                        <a:pt x="194" y="42"/>
                      </a:lnTo>
                      <a:lnTo>
                        <a:pt x="196" y="41"/>
                      </a:lnTo>
                      <a:lnTo>
                        <a:pt x="196" y="39"/>
                      </a:lnTo>
                      <a:lnTo>
                        <a:pt x="198" y="36"/>
                      </a:lnTo>
                      <a:lnTo>
                        <a:pt x="198" y="34"/>
                      </a:lnTo>
                      <a:lnTo>
                        <a:pt x="199" y="31"/>
                      </a:lnTo>
                      <a:lnTo>
                        <a:pt x="199" y="29"/>
                      </a:lnTo>
                      <a:lnTo>
                        <a:pt x="201" y="29"/>
                      </a:lnTo>
                      <a:lnTo>
                        <a:pt x="201" y="28"/>
                      </a:lnTo>
                      <a:lnTo>
                        <a:pt x="203" y="26"/>
                      </a:lnTo>
                      <a:lnTo>
                        <a:pt x="203" y="24"/>
                      </a:lnTo>
                      <a:lnTo>
                        <a:pt x="203" y="23"/>
                      </a:lnTo>
                      <a:lnTo>
                        <a:pt x="204" y="23"/>
                      </a:lnTo>
                      <a:lnTo>
                        <a:pt x="206" y="23"/>
                      </a:lnTo>
                      <a:lnTo>
                        <a:pt x="206" y="21"/>
                      </a:lnTo>
                      <a:lnTo>
                        <a:pt x="208" y="21"/>
                      </a:lnTo>
                      <a:lnTo>
                        <a:pt x="209" y="21"/>
                      </a:lnTo>
                      <a:lnTo>
                        <a:pt x="209" y="19"/>
                      </a:lnTo>
                      <a:lnTo>
                        <a:pt x="211" y="19"/>
                      </a:lnTo>
                      <a:lnTo>
                        <a:pt x="213" y="19"/>
                      </a:lnTo>
                      <a:lnTo>
                        <a:pt x="213" y="18"/>
                      </a:lnTo>
                      <a:lnTo>
                        <a:pt x="214" y="18"/>
                      </a:lnTo>
                      <a:lnTo>
                        <a:pt x="216" y="18"/>
                      </a:lnTo>
                      <a:lnTo>
                        <a:pt x="218" y="16"/>
                      </a:lnTo>
                      <a:lnTo>
                        <a:pt x="220" y="16"/>
                      </a:lnTo>
                      <a:lnTo>
                        <a:pt x="220" y="14"/>
                      </a:lnTo>
                      <a:lnTo>
                        <a:pt x="221" y="14"/>
                      </a:lnTo>
                      <a:lnTo>
                        <a:pt x="226" y="13"/>
                      </a:lnTo>
                      <a:lnTo>
                        <a:pt x="228" y="13"/>
                      </a:lnTo>
                      <a:lnTo>
                        <a:pt x="230" y="13"/>
                      </a:lnTo>
                      <a:lnTo>
                        <a:pt x="231" y="11"/>
                      </a:lnTo>
                      <a:lnTo>
                        <a:pt x="233" y="11"/>
                      </a:lnTo>
                      <a:lnTo>
                        <a:pt x="235" y="8"/>
                      </a:lnTo>
                      <a:lnTo>
                        <a:pt x="236" y="8"/>
                      </a:lnTo>
                      <a:lnTo>
                        <a:pt x="238" y="8"/>
                      </a:lnTo>
                      <a:lnTo>
                        <a:pt x="238" y="6"/>
                      </a:lnTo>
                      <a:lnTo>
                        <a:pt x="240" y="5"/>
                      </a:lnTo>
                      <a:lnTo>
                        <a:pt x="240" y="3"/>
                      </a:lnTo>
                      <a:lnTo>
                        <a:pt x="241" y="3"/>
                      </a:lnTo>
                      <a:lnTo>
                        <a:pt x="243" y="3"/>
                      </a:lnTo>
                      <a:lnTo>
                        <a:pt x="245" y="1"/>
                      </a:lnTo>
                      <a:lnTo>
                        <a:pt x="247" y="1"/>
                      </a:lnTo>
                      <a:lnTo>
                        <a:pt x="248" y="1"/>
                      </a:lnTo>
                      <a:lnTo>
                        <a:pt x="250" y="0"/>
                      </a:lnTo>
                      <a:lnTo>
                        <a:pt x="252" y="0"/>
                      </a:lnTo>
                      <a:lnTo>
                        <a:pt x="253" y="1"/>
                      </a:lnTo>
                      <a:lnTo>
                        <a:pt x="255" y="1"/>
                      </a:lnTo>
                      <a:lnTo>
                        <a:pt x="258" y="3"/>
                      </a:lnTo>
                      <a:lnTo>
                        <a:pt x="258" y="5"/>
                      </a:lnTo>
                      <a:lnTo>
                        <a:pt x="260" y="5"/>
                      </a:lnTo>
                      <a:lnTo>
                        <a:pt x="260" y="6"/>
                      </a:lnTo>
                      <a:lnTo>
                        <a:pt x="262" y="6"/>
                      </a:lnTo>
                      <a:lnTo>
                        <a:pt x="262" y="8"/>
                      </a:lnTo>
                      <a:lnTo>
                        <a:pt x="263" y="8"/>
                      </a:lnTo>
                      <a:lnTo>
                        <a:pt x="265" y="8"/>
                      </a:lnTo>
                      <a:lnTo>
                        <a:pt x="267" y="8"/>
                      </a:lnTo>
                      <a:lnTo>
                        <a:pt x="269" y="8"/>
                      </a:lnTo>
                      <a:lnTo>
                        <a:pt x="272" y="8"/>
                      </a:lnTo>
                      <a:lnTo>
                        <a:pt x="275" y="8"/>
                      </a:lnTo>
                      <a:lnTo>
                        <a:pt x="277" y="8"/>
                      </a:lnTo>
                      <a:lnTo>
                        <a:pt x="279" y="8"/>
                      </a:lnTo>
                      <a:lnTo>
                        <a:pt x="280" y="10"/>
                      </a:lnTo>
                      <a:lnTo>
                        <a:pt x="282" y="8"/>
                      </a:lnTo>
                      <a:lnTo>
                        <a:pt x="285" y="8"/>
                      </a:lnTo>
                      <a:lnTo>
                        <a:pt x="287" y="10"/>
                      </a:lnTo>
                      <a:lnTo>
                        <a:pt x="289" y="10"/>
                      </a:lnTo>
                      <a:lnTo>
                        <a:pt x="289" y="11"/>
                      </a:lnTo>
                      <a:lnTo>
                        <a:pt x="290" y="13"/>
                      </a:lnTo>
                      <a:lnTo>
                        <a:pt x="294" y="13"/>
                      </a:lnTo>
                      <a:lnTo>
                        <a:pt x="296" y="13"/>
                      </a:lnTo>
                      <a:lnTo>
                        <a:pt x="297" y="13"/>
                      </a:lnTo>
                      <a:lnTo>
                        <a:pt x="299" y="13"/>
                      </a:lnTo>
                      <a:lnTo>
                        <a:pt x="301" y="13"/>
                      </a:lnTo>
                      <a:lnTo>
                        <a:pt x="302" y="14"/>
                      </a:lnTo>
                      <a:lnTo>
                        <a:pt x="304" y="14"/>
                      </a:lnTo>
                      <a:lnTo>
                        <a:pt x="306" y="14"/>
                      </a:lnTo>
                      <a:lnTo>
                        <a:pt x="309" y="14"/>
                      </a:lnTo>
                      <a:lnTo>
                        <a:pt x="311" y="14"/>
                      </a:lnTo>
                      <a:lnTo>
                        <a:pt x="314" y="14"/>
                      </a:lnTo>
                      <a:lnTo>
                        <a:pt x="316" y="13"/>
                      </a:lnTo>
                      <a:lnTo>
                        <a:pt x="319" y="13"/>
                      </a:lnTo>
                      <a:lnTo>
                        <a:pt x="321" y="13"/>
                      </a:lnTo>
                      <a:lnTo>
                        <a:pt x="323" y="14"/>
                      </a:lnTo>
                      <a:lnTo>
                        <a:pt x="324" y="14"/>
                      </a:lnTo>
                      <a:lnTo>
                        <a:pt x="326" y="13"/>
                      </a:lnTo>
                      <a:lnTo>
                        <a:pt x="326" y="14"/>
                      </a:lnTo>
                      <a:lnTo>
                        <a:pt x="328" y="14"/>
                      </a:lnTo>
                      <a:lnTo>
                        <a:pt x="329" y="14"/>
                      </a:lnTo>
                      <a:lnTo>
                        <a:pt x="331" y="13"/>
                      </a:lnTo>
                      <a:lnTo>
                        <a:pt x="333" y="13"/>
                      </a:lnTo>
                      <a:lnTo>
                        <a:pt x="334" y="11"/>
                      </a:lnTo>
                      <a:lnTo>
                        <a:pt x="336" y="11"/>
                      </a:lnTo>
                      <a:lnTo>
                        <a:pt x="338" y="11"/>
                      </a:lnTo>
                      <a:lnTo>
                        <a:pt x="339" y="11"/>
                      </a:lnTo>
                      <a:lnTo>
                        <a:pt x="341" y="13"/>
                      </a:lnTo>
                      <a:lnTo>
                        <a:pt x="343" y="13"/>
                      </a:lnTo>
                      <a:lnTo>
                        <a:pt x="343" y="14"/>
                      </a:lnTo>
                      <a:lnTo>
                        <a:pt x="343" y="16"/>
                      </a:lnTo>
                      <a:lnTo>
                        <a:pt x="345" y="16"/>
                      </a:lnTo>
                      <a:lnTo>
                        <a:pt x="346" y="18"/>
                      </a:lnTo>
                      <a:lnTo>
                        <a:pt x="348" y="18"/>
                      </a:lnTo>
                      <a:lnTo>
                        <a:pt x="350" y="18"/>
                      </a:lnTo>
                      <a:lnTo>
                        <a:pt x="351" y="18"/>
                      </a:lnTo>
                      <a:lnTo>
                        <a:pt x="353" y="19"/>
                      </a:lnTo>
                      <a:lnTo>
                        <a:pt x="355" y="19"/>
                      </a:lnTo>
                      <a:lnTo>
                        <a:pt x="356" y="19"/>
                      </a:lnTo>
                      <a:lnTo>
                        <a:pt x="358" y="18"/>
                      </a:lnTo>
                      <a:lnTo>
                        <a:pt x="360" y="16"/>
                      </a:lnTo>
                      <a:lnTo>
                        <a:pt x="361" y="16"/>
                      </a:lnTo>
                      <a:lnTo>
                        <a:pt x="363" y="16"/>
                      </a:lnTo>
                      <a:lnTo>
                        <a:pt x="365" y="16"/>
                      </a:lnTo>
                      <a:lnTo>
                        <a:pt x="366" y="16"/>
                      </a:lnTo>
                      <a:lnTo>
                        <a:pt x="366" y="18"/>
                      </a:lnTo>
                      <a:lnTo>
                        <a:pt x="366" y="19"/>
                      </a:lnTo>
                      <a:lnTo>
                        <a:pt x="365" y="21"/>
                      </a:lnTo>
                      <a:lnTo>
                        <a:pt x="363" y="21"/>
                      </a:lnTo>
                      <a:lnTo>
                        <a:pt x="361" y="21"/>
                      </a:lnTo>
                      <a:lnTo>
                        <a:pt x="361" y="23"/>
                      </a:lnTo>
                      <a:lnTo>
                        <a:pt x="361" y="26"/>
                      </a:lnTo>
                      <a:lnTo>
                        <a:pt x="361" y="28"/>
                      </a:lnTo>
                      <a:lnTo>
                        <a:pt x="361" y="29"/>
                      </a:lnTo>
                      <a:lnTo>
                        <a:pt x="361" y="31"/>
                      </a:lnTo>
                      <a:lnTo>
                        <a:pt x="361" y="33"/>
                      </a:lnTo>
                      <a:lnTo>
                        <a:pt x="361" y="36"/>
                      </a:lnTo>
                      <a:lnTo>
                        <a:pt x="363" y="37"/>
                      </a:lnTo>
                      <a:lnTo>
                        <a:pt x="363" y="39"/>
                      </a:lnTo>
                      <a:lnTo>
                        <a:pt x="365" y="39"/>
                      </a:lnTo>
                      <a:lnTo>
                        <a:pt x="365" y="41"/>
                      </a:lnTo>
                      <a:lnTo>
                        <a:pt x="365" y="42"/>
                      </a:lnTo>
                      <a:lnTo>
                        <a:pt x="365" y="44"/>
                      </a:lnTo>
                      <a:lnTo>
                        <a:pt x="366" y="46"/>
                      </a:lnTo>
                      <a:lnTo>
                        <a:pt x="368" y="47"/>
                      </a:lnTo>
                      <a:lnTo>
                        <a:pt x="368" y="49"/>
                      </a:lnTo>
                      <a:lnTo>
                        <a:pt x="370" y="47"/>
                      </a:lnTo>
                      <a:lnTo>
                        <a:pt x="370" y="49"/>
                      </a:lnTo>
                      <a:lnTo>
                        <a:pt x="372" y="49"/>
                      </a:lnTo>
                      <a:lnTo>
                        <a:pt x="373" y="49"/>
                      </a:lnTo>
                      <a:lnTo>
                        <a:pt x="375" y="47"/>
                      </a:lnTo>
                      <a:lnTo>
                        <a:pt x="377" y="46"/>
                      </a:lnTo>
                      <a:lnTo>
                        <a:pt x="378" y="46"/>
                      </a:lnTo>
                      <a:lnTo>
                        <a:pt x="378" y="44"/>
                      </a:lnTo>
                      <a:lnTo>
                        <a:pt x="380" y="42"/>
                      </a:lnTo>
                      <a:lnTo>
                        <a:pt x="382" y="39"/>
                      </a:lnTo>
                      <a:lnTo>
                        <a:pt x="382" y="37"/>
                      </a:lnTo>
                      <a:lnTo>
                        <a:pt x="383" y="37"/>
                      </a:lnTo>
                      <a:lnTo>
                        <a:pt x="383" y="36"/>
                      </a:lnTo>
                      <a:lnTo>
                        <a:pt x="383" y="34"/>
                      </a:lnTo>
                      <a:lnTo>
                        <a:pt x="385" y="34"/>
                      </a:lnTo>
                      <a:lnTo>
                        <a:pt x="387" y="34"/>
                      </a:lnTo>
                      <a:lnTo>
                        <a:pt x="388" y="34"/>
                      </a:lnTo>
                      <a:lnTo>
                        <a:pt x="390" y="34"/>
                      </a:lnTo>
                      <a:lnTo>
                        <a:pt x="390" y="36"/>
                      </a:lnTo>
                      <a:lnTo>
                        <a:pt x="392" y="36"/>
                      </a:lnTo>
                      <a:lnTo>
                        <a:pt x="393" y="39"/>
                      </a:lnTo>
                      <a:lnTo>
                        <a:pt x="393" y="44"/>
                      </a:lnTo>
                      <a:lnTo>
                        <a:pt x="393" y="46"/>
                      </a:lnTo>
                      <a:lnTo>
                        <a:pt x="393" y="47"/>
                      </a:lnTo>
                      <a:lnTo>
                        <a:pt x="393" y="49"/>
                      </a:lnTo>
                      <a:lnTo>
                        <a:pt x="393" y="51"/>
                      </a:lnTo>
                      <a:lnTo>
                        <a:pt x="393" y="52"/>
                      </a:lnTo>
                      <a:lnTo>
                        <a:pt x="393" y="54"/>
                      </a:lnTo>
                      <a:lnTo>
                        <a:pt x="393" y="56"/>
                      </a:lnTo>
                      <a:lnTo>
                        <a:pt x="393" y="57"/>
                      </a:lnTo>
                      <a:lnTo>
                        <a:pt x="395" y="57"/>
                      </a:lnTo>
                      <a:lnTo>
                        <a:pt x="397" y="59"/>
                      </a:lnTo>
                      <a:lnTo>
                        <a:pt x="399" y="59"/>
                      </a:lnTo>
                      <a:lnTo>
                        <a:pt x="399" y="60"/>
                      </a:lnTo>
                      <a:lnTo>
                        <a:pt x="400" y="60"/>
                      </a:lnTo>
                      <a:lnTo>
                        <a:pt x="402" y="60"/>
                      </a:lnTo>
                      <a:lnTo>
                        <a:pt x="402" y="59"/>
                      </a:lnTo>
                      <a:lnTo>
                        <a:pt x="402" y="57"/>
                      </a:lnTo>
                      <a:lnTo>
                        <a:pt x="402" y="56"/>
                      </a:lnTo>
                      <a:lnTo>
                        <a:pt x="402" y="54"/>
                      </a:lnTo>
                      <a:lnTo>
                        <a:pt x="402" y="52"/>
                      </a:lnTo>
                      <a:lnTo>
                        <a:pt x="402" y="51"/>
                      </a:lnTo>
                      <a:lnTo>
                        <a:pt x="402" y="49"/>
                      </a:lnTo>
                      <a:lnTo>
                        <a:pt x="400" y="47"/>
                      </a:lnTo>
                      <a:lnTo>
                        <a:pt x="400" y="46"/>
                      </a:lnTo>
                      <a:lnTo>
                        <a:pt x="400" y="44"/>
                      </a:lnTo>
                      <a:lnTo>
                        <a:pt x="402" y="44"/>
                      </a:lnTo>
                      <a:lnTo>
                        <a:pt x="402" y="42"/>
                      </a:lnTo>
                      <a:lnTo>
                        <a:pt x="404" y="41"/>
                      </a:lnTo>
                      <a:lnTo>
                        <a:pt x="404" y="39"/>
                      </a:lnTo>
                      <a:lnTo>
                        <a:pt x="404" y="37"/>
                      </a:lnTo>
                      <a:lnTo>
                        <a:pt x="404" y="36"/>
                      </a:lnTo>
                      <a:lnTo>
                        <a:pt x="405" y="36"/>
                      </a:lnTo>
                      <a:lnTo>
                        <a:pt x="407" y="34"/>
                      </a:lnTo>
                      <a:lnTo>
                        <a:pt x="409" y="36"/>
                      </a:lnTo>
                      <a:lnTo>
                        <a:pt x="410" y="36"/>
                      </a:lnTo>
                      <a:lnTo>
                        <a:pt x="412" y="34"/>
                      </a:lnTo>
                      <a:lnTo>
                        <a:pt x="414" y="34"/>
                      </a:lnTo>
                      <a:lnTo>
                        <a:pt x="415" y="34"/>
                      </a:lnTo>
                      <a:lnTo>
                        <a:pt x="417" y="34"/>
                      </a:lnTo>
                      <a:lnTo>
                        <a:pt x="419" y="36"/>
                      </a:lnTo>
                      <a:lnTo>
                        <a:pt x="421" y="34"/>
                      </a:lnTo>
                      <a:lnTo>
                        <a:pt x="422" y="36"/>
                      </a:lnTo>
                      <a:lnTo>
                        <a:pt x="424" y="36"/>
                      </a:lnTo>
                      <a:lnTo>
                        <a:pt x="426" y="34"/>
                      </a:lnTo>
                      <a:lnTo>
                        <a:pt x="427" y="34"/>
                      </a:lnTo>
                      <a:lnTo>
                        <a:pt x="427" y="33"/>
                      </a:lnTo>
                      <a:lnTo>
                        <a:pt x="429" y="33"/>
                      </a:lnTo>
                      <a:lnTo>
                        <a:pt x="431" y="33"/>
                      </a:lnTo>
                      <a:lnTo>
                        <a:pt x="432" y="33"/>
                      </a:lnTo>
                      <a:lnTo>
                        <a:pt x="434" y="33"/>
                      </a:lnTo>
                      <a:lnTo>
                        <a:pt x="436" y="33"/>
                      </a:lnTo>
                      <a:lnTo>
                        <a:pt x="437" y="33"/>
                      </a:lnTo>
                      <a:lnTo>
                        <a:pt x="439" y="33"/>
                      </a:lnTo>
                      <a:lnTo>
                        <a:pt x="441" y="33"/>
                      </a:lnTo>
                      <a:lnTo>
                        <a:pt x="442" y="33"/>
                      </a:lnTo>
                      <a:lnTo>
                        <a:pt x="442" y="31"/>
                      </a:lnTo>
                      <a:lnTo>
                        <a:pt x="444" y="31"/>
                      </a:lnTo>
                      <a:lnTo>
                        <a:pt x="446" y="31"/>
                      </a:lnTo>
                      <a:lnTo>
                        <a:pt x="448" y="31"/>
                      </a:lnTo>
                      <a:lnTo>
                        <a:pt x="449" y="31"/>
                      </a:lnTo>
                      <a:lnTo>
                        <a:pt x="451" y="31"/>
                      </a:lnTo>
                      <a:lnTo>
                        <a:pt x="453" y="31"/>
                      </a:lnTo>
                      <a:lnTo>
                        <a:pt x="454" y="31"/>
                      </a:lnTo>
                      <a:lnTo>
                        <a:pt x="456" y="31"/>
                      </a:lnTo>
                      <a:lnTo>
                        <a:pt x="458" y="31"/>
                      </a:lnTo>
                      <a:lnTo>
                        <a:pt x="458" y="33"/>
                      </a:lnTo>
                      <a:lnTo>
                        <a:pt x="459" y="33"/>
                      </a:lnTo>
                      <a:lnTo>
                        <a:pt x="461" y="33"/>
                      </a:lnTo>
                      <a:lnTo>
                        <a:pt x="463" y="33"/>
                      </a:lnTo>
                      <a:lnTo>
                        <a:pt x="464" y="33"/>
                      </a:lnTo>
                      <a:lnTo>
                        <a:pt x="464" y="31"/>
                      </a:lnTo>
                      <a:lnTo>
                        <a:pt x="463" y="29"/>
                      </a:lnTo>
                      <a:lnTo>
                        <a:pt x="461" y="28"/>
                      </a:lnTo>
                      <a:lnTo>
                        <a:pt x="461" y="26"/>
                      </a:lnTo>
                      <a:lnTo>
                        <a:pt x="461" y="24"/>
                      </a:lnTo>
                      <a:lnTo>
                        <a:pt x="461" y="23"/>
                      </a:lnTo>
                      <a:lnTo>
                        <a:pt x="463" y="23"/>
                      </a:lnTo>
                      <a:lnTo>
                        <a:pt x="464" y="23"/>
                      </a:lnTo>
                      <a:lnTo>
                        <a:pt x="464" y="24"/>
                      </a:lnTo>
                      <a:lnTo>
                        <a:pt x="466" y="24"/>
                      </a:lnTo>
                      <a:lnTo>
                        <a:pt x="466" y="26"/>
                      </a:lnTo>
                      <a:lnTo>
                        <a:pt x="468" y="28"/>
                      </a:lnTo>
                      <a:lnTo>
                        <a:pt x="468" y="29"/>
                      </a:lnTo>
                      <a:lnTo>
                        <a:pt x="469" y="29"/>
                      </a:lnTo>
                      <a:lnTo>
                        <a:pt x="471" y="31"/>
                      </a:lnTo>
                      <a:lnTo>
                        <a:pt x="473" y="33"/>
                      </a:lnTo>
                      <a:lnTo>
                        <a:pt x="475" y="33"/>
                      </a:lnTo>
                      <a:lnTo>
                        <a:pt x="475" y="34"/>
                      </a:lnTo>
                      <a:lnTo>
                        <a:pt x="476" y="34"/>
                      </a:lnTo>
                      <a:lnTo>
                        <a:pt x="478" y="34"/>
                      </a:lnTo>
                      <a:lnTo>
                        <a:pt x="480" y="33"/>
                      </a:lnTo>
                      <a:lnTo>
                        <a:pt x="481" y="33"/>
                      </a:lnTo>
                      <a:lnTo>
                        <a:pt x="481" y="31"/>
                      </a:lnTo>
                      <a:lnTo>
                        <a:pt x="483" y="31"/>
                      </a:lnTo>
                      <a:lnTo>
                        <a:pt x="485" y="31"/>
                      </a:lnTo>
                      <a:lnTo>
                        <a:pt x="485" y="29"/>
                      </a:lnTo>
                      <a:lnTo>
                        <a:pt x="486" y="28"/>
                      </a:lnTo>
                      <a:lnTo>
                        <a:pt x="486" y="24"/>
                      </a:lnTo>
                      <a:lnTo>
                        <a:pt x="486" y="23"/>
                      </a:lnTo>
                      <a:lnTo>
                        <a:pt x="490" y="24"/>
                      </a:lnTo>
                      <a:lnTo>
                        <a:pt x="490" y="26"/>
                      </a:lnTo>
                      <a:lnTo>
                        <a:pt x="490" y="28"/>
                      </a:lnTo>
                      <a:lnTo>
                        <a:pt x="490" y="29"/>
                      </a:lnTo>
                      <a:lnTo>
                        <a:pt x="491" y="29"/>
                      </a:lnTo>
                      <a:lnTo>
                        <a:pt x="491" y="31"/>
                      </a:lnTo>
                      <a:lnTo>
                        <a:pt x="493" y="31"/>
                      </a:lnTo>
                      <a:lnTo>
                        <a:pt x="495" y="31"/>
                      </a:lnTo>
                      <a:lnTo>
                        <a:pt x="497" y="29"/>
                      </a:lnTo>
                      <a:lnTo>
                        <a:pt x="497" y="28"/>
                      </a:lnTo>
                      <a:lnTo>
                        <a:pt x="497" y="26"/>
                      </a:lnTo>
                      <a:lnTo>
                        <a:pt x="498" y="26"/>
                      </a:lnTo>
                      <a:lnTo>
                        <a:pt x="498" y="24"/>
                      </a:lnTo>
                      <a:lnTo>
                        <a:pt x="497" y="24"/>
                      </a:lnTo>
                      <a:lnTo>
                        <a:pt x="497" y="23"/>
                      </a:lnTo>
                      <a:lnTo>
                        <a:pt x="497" y="21"/>
                      </a:lnTo>
                      <a:lnTo>
                        <a:pt x="498" y="21"/>
                      </a:lnTo>
                      <a:lnTo>
                        <a:pt x="498" y="19"/>
                      </a:lnTo>
                      <a:lnTo>
                        <a:pt x="500" y="19"/>
                      </a:lnTo>
                      <a:lnTo>
                        <a:pt x="502" y="19"/>
                      </a:lnTo>
                      <a:lnTo>
                        <a:pt x="503" y="19"/>
                      </a:lnTo>
                      <a:lnTo>
                        <a:pt x="507" y="19"/>
                      </a:lnTo>
                      <a:lnTo>
                        <a:pt x="508" y="19"/>
                      </a:lnTo>
                      <a:lnTo>
                        <a:pt x="510" y="19"/>
                      </a:lnTo>
                      <a:lnTo>
                        <a:pt x="512" y="18"/>
                      </a:lnTo>
                      <a:lnTo>
                        <a:pt x="513" y="18"/>
                      </a:lnTo>
                      <a:lnTo>
                        <a:pt x="513" y="19"/>
                      </a:lnTo>
                      <a:lnTo>
                        <a:pt x="515" y="19"/>
                      </a:lnTo>
                      <a:lnTo>
                        <a:pt x="515" y="21"/>
                      </a:lnTo>
                      <a:lnTo>
                        <a:pt x="517" y="23"/>
                      </a:lnTo>
                      <a:lnTo>
                        <a:pt x="518" y="24"/>
                      </a:lnTo>
                      <a:lnTo>
                        <a:pt x="520" y="24"/>
                      </a:lnTo>
                      <a:lnTo>
                        <a:pt x="522" y="24"/>
                      </a:lnTo>
                      <a:lnTo>
                        <a:pt x="522" y="23"/>
                      </a:lnTo>
                      <a:lnTo>
                        <a:pt x="524" y="23"/>
                      </a:lnTo>
                      <a:lnTo>
                        <a:pt x="524" y="21"/>
                      </a:lnTo>
                      <a:lnTo>
                        <a:pt x="524" y="19"/>
                      </a:lnTo>
                      <a:lnTo>
                        <a:pt x="525" y="19"/>
                      </a:lnTo>
                      <a:lnTo>
                        <a:pt x="527" y="19"/>
                      </a:lnTo>
                      <a:lnTo>
                        <a:pt x="529" y="19"/>
                      </a:lnTo>
                      <a:lnTo>
                        <a:pt x="529" y="18"/>
                      </a:lnTo>
                      <a:lnTo>
                        <a:pt x="530" y="19"/>
                      </a:lnTo>
                      <a:lnTo>
                        <a:pt x="532" y="18"/>
                      </a:lnTo>
                      <a:lnTo>
                        <a:pt x="534" y="18"/>
                      </a:lnTo>
                      <a:lnTo>
                        <a:pt x="535" y="16"/>
                      </a:lnTo>
                      <a:lnTo>
                        <a:pt x="535" y="18"/>
                      </a:lnTo>
                      <a:lnTo>
                        <a:pt x="537" y="18"/>
                      </a:lnTo>
                      <a:lnTo>
                        <a:pt x="537" y="19"/>
                      </a:lnTo>
                      <a:lnTo>
                        <a:pt x="539" y="19"/>
                      </a:lnTo>
                      <a:lnTo>
                        <a:pt x="539" y="21"/>
                      </a:lnTo>
                      <a:lnTo>
                        <a:pt x="539" y="23"/>
                      </a:lnTo>
                      <a:lnTo>
                        <a:pt x="537" y="23"/>
                      </a:lnTo>
                      <a:lnTo>
                        <a:pt x="539" y="24"/>
                      </a:lnTo>
                      <a:lnTo>
                        <a:pt x="539" y="26"/>
                      </a:lnTo>
                      <a:lnTo>
                        <a:pt x="540" y="26"/>
                      </a:lnTo>
                      <a:lnTo>
                        <a:pt x="540" y="28"/>
                      </a:lnTo>
                      <a:lnTo>
                        <a:pt x="542" y="28"/>
                      </a:lnTo>
                      <a:lnTo>
                        <a:pt x="544" y="28"/>
                      </a:lnTo>
                      <a:lnTo>
                        <a:pt x="545" y="29"/>
                      </a:lnTo>
                      <a:lnTo>
                        <a:pt x="547" y="29"/>
                      </a:lnTo>
                      <a:lnTo>
                        <a:pt x="547" y="31"/>
                      </a:lnTo>
                      <a:lnTo>
                        <a:pt x="549" y="31"/>
                      </a:lnTo>
                      <a:lnTo>
                        <a:pt x="551" y="31"/>
                      </a:lnTo>
                      <a:lnTo>
                        <a:pt x="551" y="33"/>
                      </a:lnTo>
                      <a:lnTo>
                        <a:pt x="552" y="34"/>
                      </a:lnTo>
                      <a:lnTo>
                        <a:pt x="554" y="34"/>
                      </a:lnTo>
                      <a:lnTo>
                        <a:pt x="556" y="34"/>
                      </a:lnTo>
                      <a:lnTo>
                        <a:pt x="556" y="36"/>
                      </a:lnTo>
                      <a:lnTo>
                        <a:pt x="556" y="37"/>
                      </a:lnTo>
                      <a:lnTo>
                        <a:pt x="556" y="39"/>
                      </a:lnTo>
                      <a:lnTo>
                        <a:pt x="557" y="39"/>
                      </a:lnTo>
                      <a:lnTo>
                        <a:pt x="557" y="41"/>
                      </a:lnTo>
                      <a:lnTo>
                        <a:pt x="557" y="42"/>
                      </a:lnTo>
                      <a:lnTo>
                        <a:pt x="557" y="44"/>
                      </a:lnTo>
                      <a:lnTo>
                        <a:pt x="556" y="44"/>
                      </a:lnTo>
                      <a:lnTo>
                        <a:pt x="556" y="46"/>
                      </a:lnTo>
                      <a:lnTo>
                        <a:pt x="554" y="46"/>
                      </a:lnTo>
                      <a:lnTo>
                        <a:pt x="554" y="47"/>
                      </a:lnTo>
                      <a:lnTo>
                        <a:pt x="552" y="47"/>
                      </a:lnTo>
                      <a:lnTo>
                        <a:pt x="552" y="49"/>
                      </a:lnTo>
                      <a:lnTo>
                        <a:pt x="552" y="51"/>
                      </a:lnTo>
                      <a:lnTo>
                        <a:pt x="552" y="52"/>
                      </a:lnTo>
                      <a:lnTo>
                        <a:pt x="552" y="54"/>
                      </a:lnTo>
                      <a:lnTo>
                        <a:pt x="552" y="56"/>
                      </a:lnTo>
                      <a:lnTo>
                        <a:pt x="552" y="57"/>
                      </a:lnTo>
                      <a:lnTo>
                        <a:pt x="552" y="59"/>
                      </a:lnTo>
                      <a:lnTo>
                        <a:pt x="552" y="60"/>
                      </a:lnTo>
                      <a:lnTo>
                        <a:pt x="552" y="62"/>
                      </a:lnTo>
                      <a:lnTo>
                        <a:pt x="554" y="62"/>
                      </a:lnTo>
                      <a:lnTo>
                        <a:pt x="554" y="64"/>
                      </a:lnTo>
                      <a:lnTo>
                        <a:pt x="556" y="64"/>
                      </a:lnTo>
                      <a:lnTo>
                        <a:pt x="557" y="64"/>
                      </a:lnTo>
                      <a:lnTo>
                        <a:pt x="557" y="65"/>
                      </a:lnTo>
                      <a:lnTo>
                        <a:pt x="559" y="65"/>
                      </a:lnTo>
                      <a:lnTo>
                        <a:pt x="559" y="67"/>
                      </a:lnTo>
                      <a:lnTo>
                        <a:pt x="561" y="67"/>
                      </a:lnTo>
                      <a:lnTo>
                        <a:pt x="562" y="67"/>
                      </a:lnTo>
                      <a:lnTo>
                        <a:pt x="564" y="67"/>
                      </a:lnTo>
                      <a:lnTo>
                        <a:pt x="564" y="69"/>
                      </a:lnTo>
                      <a:lnTo>
                        <a:pt x="566" y="69"/>
                      </a:lnTo>
                      <a:lnTo>
                        <a:pt x="566" y="70"/>
                      </a:lnTo>
                      <a:lnTo>
                        <a:pt x="567" y="72"/>
                      </a:lnTo>
                      <a:lnTo>
                        <a:pt x="566" y="72"/>
                      </a:lnTo>
                      <a:lnTo>
                        <a:pt x="567" y="74"/>
                      </a:lnTo>
                      <a:lnTo>
                        <a:pt x="567" y="75"/>
                      </a:lnTo>
                      <a:lnTo>
                        <a:pt x="567" y="77"/>
                      </a:lnTo>
                      <a:lnTo>
                        <a:pt x="569" y="77"/>
                      </a:lnTo>
                      <a:lnTo>
                        <a:pt x="569" y="79"/>
                      </a:lnTo>
                      <a:lnTo>
                        <a:pt x="571" y="80"/>
                      </a:lnTo>
                      <a:lnTo>
                        <a:pt x="571" y="82"/>
                      </a:lnTo>
                      <a:lnTo>
                        <a:pt x="569" y="82"/>
                      </a:lnTo>
                      <a:lnTo>
                        <a:pt x="571" y="83"/>
                      </a:lnTo>
                      <a:lnTo>
                        <a:pt x="569" y="83"/>
                      </a:lnTo>
                      <a:lnTo>
                        <a:pt x="569" y="85"/>
                      </a:lnTo>
                      <a:lnTo>
                        <a:pt x="567" y="85"/>
                      </a:lnTo>
                      <a:lnTo>
                        <a:pt x="566" y="85"/>
                      </a:lnTo>
                      <a:lnTo>
                        <a:pt x="564" y="85"/>
                      </a:lnTo>
                      <a:lnTo>
                        <a:pt x="564" y="87"/>
                      </a:lnTo>
                      <a:lnTo>
                        <a:pt x="562" y="87"/>
                      </a:lnTo>
                      <a:lnTo>
                        <a:pt x="562" y="88"/>
                      </a:lnTo>
                      <a:lnTo>
                        <a:pt x="562" y="90"/>
                      </a:lnTo>
                      <a:lnTo>
                        <a:pt x="562" y="92"/>
                      </a:lnTo>
                      <a:lnTo>
                        <a:pt x="561" y="92"/>
                      </a:lnTo>
                      <a:lnTo>
                        <a:pt x="559" y="92"/>
                      </a:lnTo>
                      <a:lnTo>
                        <a:pt x="559" y="93"/>
                      </a:lnTo>
                      <a:lnTo>
                        <a:pt x="559" y="95"/>
                      </a:lnTo>
                      <a:lnTo>
                        <a:pt x="559" y="97"/>
                      </a:lnTo>
                      <a:lnTo>
                        <a:pt x="559" y="98"/>
                      </a:lnTo>
                      <a:lnTo>
                        <a:pt x="557" y="102"/>
                      </a:lnTo>
                      <a:lnTo>
                        <a:pt x="559" y="105"/>
                      </a:lnTo>
                      <a:lnTo>
                        <a:pt x="562" y="106"/>
                      </a:lnTo>
                      <a:lnTo>
                        <a:pt x="561" y="106"/>
                      </a:lnTo>
                      <a:lnTo>
                        <a:pt x="562" y="108"/>
                      </a:lnTo>
                      <a:lnTo>
                        <a:pt x="564" y="108"/>
                      </a:lnTo>
                      <a:lnTo>
                        <a:pt x="564" y="110"/>
                      </a:lnTo>
                      <a:lnTo>
                        <a:pt x="566" y="110"/>
                      </a:lnTo>
                      <a:lnTo>
                        <a:pt x="566" y="111"/>
                      </a:lnTo>
                      <a:lnTo>
                        <a:pt x="566" y="113"/>
                      </a:lnTo>
                      <a:lnTo>
                        <a:pt x="564" y="115"/>
                      </a:lnTo>
                      <a:lnTo>
                        <a:pt x="566" y="115"/>
                      </a:lnTo>
                      <a:lnTo>
                        <a:pt x="566" y="116"/>
                      </a:lnTo>
                      <a:lnTo>
                        <a:pt x="566" y="118"/>
                      </a:lnTo>
                      <a:lnTo>
                        <a:pt x="566" y="121"/>
                      </a:lnTo>
                      <a:lnTo>
                        <a:pt x="567" y="120"/>
                      </a:lnTo>
                      <a:lnTo>
                        <a:pt x="567" y="121"/>
                      </a:lnTo>
                      <a:lnTo>
                        <a:pt x="569" y="121"/>
                      </a:lnTo>
                      <a:lnTo>
                        <a:pt x="569" y="123"/>
                      </a:lnTo>
                      <a:lnTo>
                        <a:pt x="567" y="123"/>
                      </a:lnTo>
                      <a:lnTo>
                        <a:pt x="567" y="125"/>
                      </a:lnTo>
                      <a:lnTo>
                        <a:pt x="567" y="126"/>
                      </a:lnTo>
                      <a:lnTo>
                        <a:pt x="569" y="126"/>
                      </a:lnTo>
                      <a:lnTo>
                        <a:pt x="567" y="128"/>
                      </a:lnTo>
                      <a:lnTo>
                        <a:pt x="569" y="128"/>
                      </a:lnTo>
                      <a:lnTo>
                        <a:pt x="569" y="129"/>
                      </a:lnTo>
                      <a:lnTo>
                        <a:pt x="569" y="131"/>
                      </a:lnTo>
                      <a:lnTo>
                        <a:pt x="571" y="131"/>
                      </a:lnTo>
                      <a:lnTo>
                        <a:pt x="571" y="133"/>
                      </a:lnTo>
                      <a:lnTo>
                        <a:pt x="571" y="131"/>
                      </a:lnTo>
                      <a:lnTo>
                        <a:pt x="573" y="131"/>
                      </a:lnTo>
                      <a:lnTo>
                        <a:pt x="574" y="131"/>
                      </a:lnTo>
                      <a:lnTo>
                        <a:pt x="573" y="133"/>
                      </a:lnTo>
                      <a:lnTo>
                        <a:pt x="573" y="134"/>
                      </a:lnTo>
                      <a:lnTo>
                        <a:pt x="574" y="134"/>
                      </a:lnTo>
                      <a:lnTo>
                        <a:pt x="574" y="136"/>
                      </a:lnTo>
                      <a:lnTo>
                        <a:pt x="576" y="136"/>
                      </a:lnTo>
                      <a:lnTo>
                        <a:pt x="576" y="138"/>
                      </a:lnTo>
                      <a:lnTo>
                        <a:pt x="576" y="139"/>
                      </a:lnTo>
                      <a:lnTo>
                        <a:pt x="578" y="139"/>
                      </a:lnTo>
                      <a:lnTo>
                        <a:pt x="578" y="141"/>
                      </a:lnTo>
                      <a:lnTo>
                        <a:pt x="576" y="141"/>
                      </a:lnTo>
                      <a:lnTo>
                        <a:pt x="578" y="141"/>
                      </a:lnTo>
                      <a:lnTo>
                        <a:pt x="578" y="143"/>
                      </a:lnTo>
                      <a:lnTo>
                        <a:pt x="578" y="144"/>
                      </a:lnTo>
                      <a:lnTo>
                        <a:pt x="579" y="144"/>
                      </a:lnTo>
                      <a:lnTo>
                        <a:pt x="579" y="146"/>
                      </a:lnTo>
                      <a:lnTo>
                        <a:pt x="579" y="148"/>
                      </a:lnTo>
                      <a:lnTo>
                        <a:pt x="579" y="149"/>
                      </a:lnTo>
                      <a:lnTo>
                        <a:pt x="578" y="149"/>
                      </a:lnTo>
                      <a:lnTo>
                        <a:pt x="579" y="149"/>
                      </a:lnTo>
                      <a:lnTo>
                        <a:pt x="579" y="151"/>
                      </a:lnTo>
                      <a:lnTo>
                        <a:pt x="581" y="151"/>
                      </a:lnTo>
                      <a:lnTo>
                        <a:pt x="581" y="152"/>
                      </a:lnTo>
                      <a:lnTo>
                        <a:pt x="581" y="151"/>
                      </a:lnTo>
                      <a:lnTo>
                        <a:pt x="583" y="151"/>
                      </a:lnTo>
                      <a:lnTo>
                        <a:pt x="584" y="151"/>
                      </a:lnTo>
                      <a:lnTo>
                        <a:pt x="586" y="151"/>
                      </a:lnTo>
                      <a:lnTo>
                        <a:pt x="588" y="152"/>
                      </a:lnTo>
                      <a:lnTo>
                        <a:pt x="588" y="151"/>
                      </a:lnTo>
                      <a:lnTo>
                        <a:pt x="589" y="151"/>
                      </a:lnTo>
                      <a:lnTo>
                        <a:pt x="591" y="149"/>
                      </a:lnTo>
                      <a:lnTo>
                        <a:pt x="593" y="149"/>
                      </a:lnTo>
                      <a:lnTo>
                        <a:pt x="593" y="148"/>
                      </a:lnTo>
                      <a:lnTo>
                        <a:pt x="594" y="148"/>
                      </a:lnTo>
                      <a:lnTo>
                        <a:pt x="596" y="148"/>
                      </a:lnTo>
                      <a:lnTo>
                        <a:pt x="594" y="148"/>
                      </a:lnTo>
                      <a:lnTo>
                        <a:pt x="594" y="146"/>
                      </a:lnTo>
                      <a:lnTo>
                        <a:pt x="596" y="146"/>
                      </a:lnTo>
                      <a:lnTo>
                        <a:pt x="598" y="146"/>
                      </a:lnTo>
                      <a:lnTo>
                        <a:pt x="600" y="146"/>
                      </a:lnTo>
                      <a:lnTo>
                        <a:pt x="600" y="148"/>
                      </a:lnTo>
                      <a:lnTo>
                        <a:pt x="600" y="146"/>
                      </a:lnTo>
                      <a:lnTo>
                        <a:pt x="601" y="146"/>
                      </a:lnTo>
                      <a:lnTo>
                        <a:pt x="603" y="146"/>
                      </a:lnTo>
                      <a:lnTo>
                        <a:pt x="603" y="148"/>
                      </a:lnTo>
                      <a:lnTo>
                        <a:pt x="605" y="148"/>
                      </a:lnTo>
                      <a:lnTo>
                        <a:pt x="605" y="149"/>
                      </a:lnTo>
                      <a:lnTo>
                        <a:pt x="606" y="149"/>
                      </a:lnTo>
                      <a:lnTo>
                        <a:pt x="606" y="148"/>
                      </a:lnTo>
                      <a:lnTo>
                        <a:pt x="606" y="149"/>
                      </a:lnTo>
                      <a:lnTo>
                        <a:pt x="608" y="149"/>
                      </a:lnTo>
                      <a:lnTo>
                        <a:pt x="608" y="148"/>
                      </a:lnTo>
                      <a:lnTo>
                        <a:pt x="610" y="148"/>
                      </a:lnTo>
                      <a:lnTo>
                        <a:pt x="611" y="148"/>
                      </a:lnTo>
                      <a:lnTo>
                        <a:pt x="611" y="146"/>
                      </a:lnTo>
                      <a:lnTo>
                        <a:pt x="613" y="146"/>
                      </a:lnTo>
                      <a:lnTo>
                        <a:pt x="613" y="148"/>
                      </a:lnTo>
                      <a:lnTo>
                        <a:pt x="613" y="149"/>
                      </a:lnTo>
                      <a:lnTo>
                        <a:pt x="615" y="149"/>
                      </a:lnTo>
                      <a:lnTo>
                        <a:pt x="613" y="149"/>
                      </a:lnTo>
                      <a:lnTo>
                        <a:pt x="615" y="151"/>
                      </a:lnTo>
                      <a:lnTo>
                        <a:pt x="616" y="151"/>
                      </a:lnTo>
                      <a:lnTo>
                        <a:pt x="616" y="152"/>
                      </a:lnTo>
                      <a:lnTo>
                        <a:pt x="616" y="154"/>
                      </a:lnTo>
                      <a:lnTo>
                        <a:pt x="618" y="152"/>
                      </a:lnTo>
                      <a:lnTo>
                        <a:pt x="620" y="152"/>
                      </a:lnTo>
                      <a:lnTo>
                        <a:pt x="621" y="152"/>
                      </a:lnTo>
                      <a:lnTo>
                        <a:pt x="623" y="152"/>
                      </a:lnTo>
                      <a:lnTo>
                        <a:pt x="623" y="154"/>
                      </a:lnTo>
                      <a:lnTo>
                        <a:pt x="625" y="154"/>
                      </a:lnTo>
                      <a:lnTo>
                        <a:pt x="625" y="156"/>
                      </a:lnTo>
                      <a:lnTo>
                        <a:pt x="627" y="156"/>
                      </a:lnTo>
                      <a:lnTo>
                        <a:pt x="627" y="157"/>
                      </a:lnTo>
                      <a:lnTo>
                        <a:pt x="625" y="159"/>
                      </a:lnTo>
                      <a:lnTo>
                        <a:pt x="625" y="161"/>
                      </a:lnTo>
                      <a:lnTo>
                        <a:pt x="625" y="162"/>
                      </a:lnTo>
                      <a:lnTo>
                        <a:pt x="627" y="162"/>
                      </a:lnTo>
                      <a:lnTo>
                        <a:pt x="627" y="164"/>
                      </a:lnTo>
                      <a:lnTo>
                        <a:pt x="627" y="166"/>
                      </a:lnTo>
                      <a:lnTo>
                        <a:pt x="625" y="166"/>
                      </a:lnTo>
                      <a:lnTo>
                        <a:pt x="625" y="167"/>
                      </a:lnTo>
                      <a:lnTo>
                        <a:pt x="625" y="169"/>
                      </a:lnTo>
                      <a:lnTo>
                        <a:pt x="623" y="169"/>
                      </a:lnTo>
                      <a:lnTo>
                        <a:pt x="623" y="170"/>
                      </a:lnTo>
                      <a:lnTo>
                        <a:pt x="621" y="170"/>
                      </a:lnTo>
                      <a:lnTo>
                        <a:pt x="621" y="172"/>
                      </a:lnTo>
                      <a:lnTo>
                        <a:pt x="623" y="172"/>
                      </a:lnTo>
                      <a:lnTo>
                        <a:pt x="621" y="172"/>
                      </a:lnTo>
                      <a:lnTo>
                        <a:pt x="621" y="174"/>
                      </a:lnTo>
                      <a:lnTo>
                        <a:pt x="621" y="175"/>
                      </a:lnTo>
                      <a:lnTo>
                        <a:pt x="620" y="175"/>
                      </a:lnTo>
                      <a:lnTo>
                        <a:pt x="618" y="175"/>
                      </a:lnTo>
                      <a:lnTo>
                        <a:pt x="616" y="175"/>
                      </a:lnTo>
                      <a:lnTo>
                        <a:pt x="615" y="174"/>
                      </a:lnTo>
                      <a:lnTo>
                        <a:pt x="615" y="175"/>
                      </a:lnTo>
                      <a:lnTo>
                        <a:pt x="615" y="177"/>
                      </a:lnTo>
                      <a:lnTo>
                        <a:pt x="615" y="179"/>
                      </a:lnTo>
                      <a:lnTo>
                        <a:pt x="615" y="180"/>
                      </a:lnTo>
                      <a:lnTo>
                        <a:pt x="615" y="182"/>
                      </a:lnTo>
                      <a:lnTo>
                        <a:pt x="615" y="184"/>
                      </a:lnTo>
                      <a:lnTo>
                        <a:pt x="613" y="184"/>
                      </a:lnTo>
                      <a:lnTo>
                        <a:pt x="613" y="185"/>
                      </a:lnTo>
                      <a:lnTo>
                        <a:pt x="611" y="187"/>
                      </a:lnTo>
                      <a:lnTo>
                        <a:pt x="610" y="189"/>
                      </a:lnTo>
                      <a:lnTo>
                        <a:pt x="610" y="190"/>
                      </a:lnTo>
                      <a:lnTo>
                        <a:pt x="611" y="190"/>
                      </a:lnTo>
                      <a:lnTo>
                        <a:pt x="611" y="192"/>
                      </a:lnTo>
                      <a:lnTo>
                        <a:pt x="611" y="193"/>
                      </a:lnTo>
                      <a:lnTo>
                        <a:pt x="613" y="193"/>
                      </a:lnTo>
                      <a:lnTo>
                        <a:pt x="613" y="195"/>
                      </a:lnTo>
                      <a:lnTo>
                        <a:pt x="611" y="195"/>
                      </a:lnTo>
                      <a:lnTo>
                        <a:pt x="611" y="197"/>
                      </a:lnTo>
                      <a:lnTo>
                        <a:pt x="611" y="198"/>
                      </a:lnTo>
                      <a:lnTo>
                        <a:pt x="613" y="198"/>
                      </a:lnTo>
                      <a:lnTo>
                        <a:pt x="613" y="200"/>
                      </a:lnTo>
                      <a:lnTo>
                        <a:pt x="613" y="202"/>
                      </a:lnTo>
                      <a:lnTo>
                        <a:pt x="615" y="203"/>
                      </a:lnTo>
                      <a:lnTo>
                        <a:pt x="616" y="203"/>
                      </a:lnTo>
                      <a:lnTo>
                        <a:pt x="616" y="205"/>
                      </a:lnTo>
                      <a:lnTo>
                        <a:pt x="616" y="207"/>
                      </a:lnTo>
                      <a:lnTo>
                        <a:pt x="615" y="207"/>
                      </a:lnTo>
                      <a:lnTo>
                        <a:pt x="615" y="205"/>
                      </a:lnTo>
                      <a:lnTo>
                        <a:pt x="613" y="205"/>
                      </a:lnTo>
                      <a:lnTo>
                        <a:pt x="613" y="207"/>
                      </a:lnTo>
                      <a:lnTo>
                        <a:pt x="611" y="207"/>
                      </a:lnTo>
                      <a:lnTo>
                        <a:pt x="610" y="207"/>
                      </a:lnTo>
                      <a:lnTo>
                        <a:pt x="610" y="208"/>
                      </a:lnTo>
                      <a:lnTo>
                        <a:pt x="610" y="210"/>
                      </a:lnTo>
                      <a:lnTo>
                        <a:pt x="611" y="210"/>
                      </a:lnTo>
                      <a:lnTo>
                        <a:pt x="611" y="212"/>
                      </a:lnTo>
                      <a:lnTo>
                        <a:pt x="610" y="212"/>
                      </a:lnTo>
                      <a:lnTo>
                        <a:pt x="608" y="212"/>
                      </a:lnTo>
                      <a:lnTo>
                        <a:pt x="606" y="212"/>
                      </a:lnTo>
                      <a:lnTo>
                        <a:pt x="606" y="213"/>
                      </a:lnTo>
                      <a:lnTo>
                        <a:pt x="608" y="213"/>
                      </a:lnTo>
                      <a:lnTo>
                        <a:pt x="610" y="213"/>
                      </a:lnTo>
                      <a:lnTo>
                        <a:pt x="611" y="213"/>
                      </a:lnTo>
                      <a:lnTo>
                        <a:pt x="613" y="213"/>
                      </a:lnTo>
                      <a:lnTo>
                        <a:pt x="615" y="213"/>
                      </a:lnTo>
                      <a:lnTo>
                        <a:pt x="615" y="215"/>
                      </a:lnTo>
                      <a:lnTo>
                        <a:pt x="616" y="215"/>
                      </a:lnTo>
                      <a:lnTo>
                        <a:pt x="616" y="216"/>
                      </a:lnTo>
                      <a:lnTo>
                        <a:pt x="618" y="216"/>
                      </a:lnTo>
                      <a:lnTo>
                        <a:pt x="616" y="218"/>
                      </a:lnTo>
                      <a:lnTo>
                        <a:pt x="615" y="218"/>
                      </a:lnTo>
                      <a:lnTo>
                        <a:pt x="613" y="220"/>
                      </a:lnTo>
                      <a:lnTo>
                        <a:pt x="613" y="221"/>
                      </a:lnTo>
                      <a:lnTo>
                        <a:pt x="611" y="221"/>
                      </a:lnTo>
                      <a:lnTo>
                        <a:pt x="611" y="220"/>
                      </a:lnTo>
                      <a:lnTo>
                        <a:pt x="611" y="221"/>
                      </a:lnTo>
                      <a:lnTo>
                        <a:pt x="610" y="223"/>
                      </a:lnTo>
                      <a:lnTo>
                        <a:pt x="610" y="225"/>
                      </a:lnTo>
                      <a:lnTo>
                        <a:pt x="610" y="226"/>
                      </a:lnTo>
                      <a:lnTo>
                        <a:pt x="608" y="226"/>
                      </a:lnTo>
                      <a:lnTo>
                        <a:pt x="610" y="226"/>
                      </a:lnTo>
                      <a:lnTo>
                        <a:pt x="610" y="228"/>
                      </a:lnTo>
                      <a:lnTo>
                        <a:pt x="608" y="228"/>
                      </a:lnTo>
                      <a:lnTo>
                        <a:pt x="606" y="228"/>
                      </a:lnTo>
                      <a:lnTo>
                        <a:pt x="606" y="230"/>
                      </a:lnTo>
                      <a:lnTo>
                        <a:pt x="608" y="230"/>
                      </a:lnTo>
                      <a:lnTo>
                        <a:pt x="608" y="231"/>
                      </a:lnTo>
                      <a:lnTo>
                        <a:pt x="606" y="231"/>
                      </a:lnTo>
                      <a:lnTo>
                        <a:pt x="608" y="231"/>
                      </a:lnTo>
                      <a:lnTo>
                        <a:pt x="608" y="233"/>
                      </a:lnTo>
                      <a:lnTo>
                        <a:pt x="606" y="233"/>
                      </a:lnTo>
                      <a:lnTo>
                        <a:pt x="606" y="235"/>
                      </a:lnTo>
                      <a:lnTo>
                        <a:pt x="608" y="235"/>
                      </a:lnTo>
                      <a:lnTo>
                        <a:pt x="608" y="236"/>
                      </a:lnTo>
                      <a:lnTo>
                        <a:pt x="610" y="236"/>
                      </a:lnTo>
                      <a:lnTo>
                        <a:pt x="610" y="238"/>
                      </a:lnTo>
                      <a:lnTo>
                        <a:pt x="611" y="238"/>
                      </a:lnTo>
                      <a:lnTo>
                        <a:pt x="611" y="239"/>
                      </a:lnTo>
                      <a:lnTo>
                        <a:pt x="611" y="241"/>
                      </a:lnTo>
                      <a:lnTo>
                        <a:pt x="611" y="243"/>
                      </a:lnTo>
                      <a:lnTo>
                        <a:pt x="613" y="243"/>
                      </a:lnTo>
                      <a:lnTo>
                        <a:pt x="613" y="244"/>
                      </a:lnTo>
                      <a:lnTo>
                        <a:pt x="615" y="244"/>
                      </a:lnTo>
                      <a:lnTo>
                        <a:pt x="616" y="244"/>
                      </a:lnTo>
                      <a:lnTo>
                        <a:pt x="618" y="246"/>
                      </a:lnTo>
                      <a:lnTo>
                        <a:pt x="618" y="244"/>
                      </a:lnTo>
                      <a:lnTo>
                        <a:pt x="620" y="244"/>
                      </a:lnTo>
                      <a:lnTo>
                        <a:pt x="620" y="246"/>
                      </a:lnTo>
                      <a:lnTo>
                        <a:pt x="621" y="246"/>
                      </a:lnTo>
                      <a:lnTo>
                        <a:pt x="623" y="246"/>
                      </a:lnTo>
                      <a:lnTo>
                        <a:pt x="621" y="248"/>
                      </a:lnTo>
                      <a:lnTo>
                        <a:pt x="623" y="248"/>
                      </a:lnTo>
                      <a:lnTo>
                        <a:pt x="625" y="248"/>
                      </a:lnTo>
                      <a:lnTo>
                        <a:pt x="623" y="249"/>
                      </a:lnTo>
                      <a:lnTo>
                        <a:pt x="627" y="251"/>
                      </a:lnTo>
                      <a:lnTo>
                        <a:pt x="627" y="253"/>
                      </a:lnTo>
                      <a:lnTo>
                        <a:pt x="628" y="251"/>
                      </a:lnTo>
                      <a:lnTo>
                        <a:pt x="628" y="253"/>
                      </a:lnTo>
                      <a:lnTo>
                        <a:pt x="630" y="253"/>
                      </a:lnTo>
                      <a:lnTo>
                        <a:pt x="632" y="253"/>
                      </a:lnTo>
                      <a:lnTo>
                        <a:pt x="633" y="254"/>
                      </a:lnTo>
                      <a:lnTo>
                        <a:pt x="635" y="254"/>
                      </a:lnTo>
                      <a:lnTo>
                        <a:pt x="637" y="254"/>
                      </a:lnTo>
                      <a:lnTo>
                        <a:pt x="635" y="254"/>
                      </a:lnTo>
                      <a:lnTo>
                        <a:pt x="635" y="256"/>
                      </a:lnTo>
                      <a:lnTo>
                        <a:pt x="633" y="256"/>
                      </a:lnTo>
                      <a:lnTo>
                        <a:pt x="633" y="258"/>
                      </a:lnTo>
                      <a:lnTo>
                        <a:pt x="635" y="258"/>
                      </a:lnTo>
                      <a:lnTo>
                        <a:pt x="635" y="259"/>
                      </a:lnTo>
                      <a:lnTo>
                        <a:pt x="635" y="261"/>
                      </a:lnTo>
                      <a:lnTo>
                        <a:pt x="637" y="262"/>
                      </a:lnTo>
                      <a:lnTo>
                        <a:pt x="635" y="262"/>
                      </a:lnTo>
                      <a:lnTo>
                        <a:pt x="635" y="264"/>
                      </a:lnTo>
                      <a:lnTo>
                        <a:pt x="637" y="264"/>
                      </a:lnTo>
                      <a:lnTo>
                        <a:pt x="637" y="266"/>
                      </a:lnTo>
                      <a:lnTo>
                        <a:pt x="635" y="266"/>
                      </a:lnTo>
                      <a:lnTo>
                        <a:pt x="637" y="266"/>
                      </a:lnTo>
                      <a:lnTo>
                        <a:pt x="635" y="266"/>
                      </a:lnTo>
                      <a:lnTo>
                        <a:pt x="633" y="266"/>
                      </a:lnTo>
                      <a:lnTo>
                        <a:pt x="632" y="266"/>
                      </a:lnTo>
                      <a:lnTo>
                        <a:pt x="630" y="267"/>
                      </a:lnTo>
                      <a:lnTo>
                        <a:pt x="630" y="266"/>
                      </a:lnTo>
                      <a:lnTo>
                        <a:pt x="630" y="267"/>
                      </a:lnTo>
                      <a:lnTo>
                        <a:pt x="628" y="267"/>
                      </a:lnTo>
                      <a:lnTo>
                        <a:pt x="630" y="267"/>
                      </a:lnTo>
                      <a:lnTo>
                        <a:pt x="630" y="269"/>
                      </a:lnTo>
                      <a:lnTo>
                        <a:pt x="632" y="269"/>
                      </a:lnTo>
                      <a:lnTo>
                        <a:pt x="632" y="271"/>
                      </a:lnTo>
                      <a:lnTo>
                        <a:pt x="632" y="272"/>
                      </a:lnTo>
                      <a:lnTo>
                        <a:pt x="632" y="271"/>
                      </a:lnTo>
                      <a:lnTo>
                        <a:pt x="632" y="272"/>
                      </a:lnTo>
                      <a:lnTo>
                        <a:pt x="633" y="271"/>
                      </a:lnTo>
                      <a:lnTo>
                        <a:pt x="633" y="272"/>
                      </a:lnTo>
                      <a:lnTo>
                        <a:pt x="635" y="272"/>
                      </a:lnTo>
                      <a:lnTo>
                        <a:pt x="637" y="272"/>
                      </a:lnTo>
                      <a:lnTo>
                        <a:pt x="638" y="272"/>
                      </a:lnTo>
                      <a:lnTo>
                        <a:pt x="638" y="274"/>
                      </a:lnTo>
                      <a:lnTo>
                        <a:pt x="640" y="274"/>
                      </a:lnTo>
                      <a:lnTo>
                        <a:pt x="642" y="274"/>
                      </a:lnTo>
                      <a:lnTo>
                        <a:pt x="643" y="274"/>
                      </a:lnTo>
                      <a:lnTo>
                        <a:pt x="643" y="276"/>
                      </a:lnTo>
                      <a:lnTo>
                        <a:pt x="642" y="276"/>
                      </a:lnTo>
                      <a:lnTo>
                        <a:pt x="642" y="277"/>
                      </a:lnTo>
                      <a:lnTo>
                        <a:pt x="640" y="277"/>
                      </a:lnTo>
                      <a:lnTo>
                        <a:pt x="640" y="279"/>
                      </a:lnTo>
                      <a:lnTo>
                        <a:pt x="638" y="281"/>
                      </a:lnTo>
                      <a:lnTo>
                        <a:pt x="640" y="282"/>
                      </a:lnTo>
                      <a:lnTo>
                        <a:pt x="638" y="282"/>
                      </a:lnTo>
                      <a:lnTo>
                        <a:pt x="638" y="284"/>
                      </a:lnTo>
                      <a:lnTo>
                        <a:pt x="638" y="285"/>
                      </a:lnTo>
                      <a:lnTo>
                        <a:pt x="640" y="285"/>
                      </a:lnTo>
                      <a:lnTo>
                        <a:pt x="640" y="287"/>
                      </a:lnTo>
                      <a:lnTo>
                        <a:pt x="642" y="287"/>
                      </a:lnTo>
                      <a:lnTo>
                        <a:pt x="643" y="287"/>
                      </a:lnTo>
                      <a:lnTo>
                        <a:pt x="645" y="285"/>
                      </a:lnTo>
                      <a:lnTo>
                        <a:pt x="645" y="287"/>
                      </a:lnTo>
                      <a:lnTo>
                        <a:pt x="647" y="287"/>
                      </a:lnTo>
                      <a:lnTo>
                        <a:pt x="647" y="285"/>
                      </a:lnTo>
                      <a:lnTo>
                        <a:pt x="649" y="285"/>
                      </a:lnTo>
                      <a:lnTo>
                        <a:pt x="650" y="285"/>
                      </a:lnTo>
                      <a:lnTo>
                        <a:pt x="650" y="287"/>
                      </a:lnTo>
                      <a:lnTo>
                        <a:pt x="652" y="287"/>
                      </a:lnTo>
                      <a:lnTo>
                        <a:pt x="652" y="285"/>
                      </a:lnTo>
                      <a:lnTo>
                        <a:pt x="654" y="285"/>
                      </a:lnTo>
                      <a:lnTo>
                        <a:pt x="655" y="285"/>
                      </a:lnTo>
                      <a:lnTo>
                        <a:pt x="657" y="284"/>
                      </a:lnTo>
                      <a:lnTo>
                        <a:pt x="659" y="284"/>
                      </a:lnTo>
                      <a:lnTo>
                        <a:pt x="660" y="284"/>
                      </a:lnTo>
                      <a:lnTo>
                        <a:pt x="660" y="285"/>
                      </a:lnTo>
                      <a:lnTo>
                        <a:pt x="662" y="285"/>
                      </a:lnTo>
                      <a:lnTo>
                        <a:pt x="662" y="287"/>
                      </a:lnTo>
                      <a:lnTo>
                        <a:pt x="660" y="287"/>
                      </a:lnTo>
                      <a:lnTo>
                        <a:pt x="660" y="289"/>
                      </a:lnTo>
                      <a:lnTo>
                        <a:pt x="662" y="290"/>
                      </a:lnTo>
                      <a:lnTo>
                        <a:pt x="662" y="289"/>
                      </a:lnTo>
                      <a:lnTo>
                        <a:pt x="664" y="289"/>
                      </a:lnTo>
                      <a:lnTo>
                        <a:pt x="664" y="287"/>
                      </a:lnTo>
                      <a:lnTo>
                        <a:pt x="665" y="287"/>
                      </a:lnTo>
                      <a:lnTo>
                        <a:pt x="667" y="287"/>
                      </a:lnTo>
                      <a:lnTo>
                        <a:pt x="669" y="287"/>
                      </a:lnTo>
                      <a:lnTo>
                        <a:pt x="670" y="287"/>
                      </a:lnTo>
                      <a:lnTo>
                        <a:pt x="672" y="285"/>
                      </a:lnTo>
                      <a:lnTo>
                        <a:pt x="672" y="287"/>
                      </a:lnTo>
                      <a:lnTo>
                        <a:pt x="674" y="285"/>
                      </a:lnTo>
                      <a:lnTo>
                        <a:pt x="674" y="287"/>
                      </a:lnTo>
                      <a:lnTo>
                        <a:pt x="674" y="285"/>
                      </a:lnTo>
                      <a:lnTo>
                        <a:pt x="676" y="285"/>
                      </a:lnTo>
                      <a:lnTo>
                        <a:pt x="676" y="284"/>
                      </a:lnTo>
                      <a:lnTo>
                        <a:pt x="677" y="284"/>
                      </a:lnTo>
                      <a:lnTo>
                        <a:pt x="679" y="284"/>
                      </a:lnTo>
                      <a:lnTo>
                        <a:pt x="679" y="282"/>
                      </a:lnTo>
                      <a:lnTo>
                        <a:pt x="681" y="282"/>
                      </a:lnTo>
                      <a:lnTo>
                        <a:pt x="682" y="281"/>
                      </a:lnTo>
                      <a:lnTo>
                        <a:pt x="684" y="281"/>
                      </a:lnTo>
                      <a:lnTo>
                        <a:pt x="684" y="282"/>
                      </a:lnTo>
                      <a:lnTo>
                        <a:pt x="686" y="282"/>
                      </a:lnTo>
                      <a:lnTo>
                        <a:pt x="684" y="282"/>
                      </a:lnTo>
                      <a:lnTo>
                        <a:pt x="684" y="284"/>
                      </a:lnTo>
                      <a:lnTo>
                        <a:pt x="686" y="284"/>
                      </a:lnTo>
                      <a:lnTo>
                        <a:pt x="686" y="285"/>
                      </a:lnTo>
                      <a:lnTo>
                        <a:pt x="687" y="285"/>
                      </a:lnTo>
                      <a:lnTo>
                        <a:pt x="687" y="284"/>
                      </a:lnTo>
                      <a:lnTo>
                        <a:pt x="687" y="282"/>
                      </a:lnTo>
                      <a:lnTo>
                        <a:pt x="689" y="282"/>
                      </a:lnTo>
                      <a:lnTo>
                        <a:pt x="689" y="281"/>
                      </a:lnTo>
                      <a:lnTo>
                        <a:pt x="691" y="281"/>
                      </a:lnTo>
                      <a:lnTo>
                        <a:pt x="691" y="282"/>
                      </a:lnTo>
                      <a:lnTo>
                        <a:pt x="691" y="281"/>
                      </a:lnTo>
                      <a:lnTo>
                        <a:pt x="692" y="281"/>
                      </a:lnTo>
                      <a:lnTo>
                        <a:pt x="692" y="282"/>
                      </a:lnTo>
                      <a:lnTo>
                        <a:pt x="692" y="281"/>
                      </a:lnTo>
                      <a:lnTo>
                        <a:pt x="692" y="282"/>
                      </a:lnTo>
                      <a:lnTo>
                        <a:pt x="694" y="282"/>
                      </a:lnTo>
                      <a:lnTo>
                        <a:pt x="694" y="284"/>
                      </a:lnTo>
                      <a:lnTo>
                        <a:pt x="696" y="284"/>
                      </a:lnTo>
                      <a:lnTo>
                        <a:pt x="696" y="282"/>
                      </a:lnTo>
                      <a:lnTo>
                        <a:pt x="696" y="279"/>
                      </a:lnTo>
                      <a:lnTo>
                        <a:pt x="698" y="279"/>
                      </a:lnTo>
                      <a:lnTo>
                        <a:pt x="698" y="277"/>
                      </a:lnTo>
                      <a:lnTo>
                        <a:pt x="699" y="277"/>
                      </a:lnTo>
                      <a:lnTo>
                        <a:pt x="699" y="279"/>
                      </a:lnTo>
                      <a:lnTo>
                        <a:pt x="701" y="279"/>
                      </a:lnTo>
                      <a:lnTo>
                        <a:pt x="701" y="281"/>
                      </a:lnTo>
                      <a:lnTo>
                        <a:pt x="701" y="279"/>
                      </a:lnTo>
                      <a:lnTo>
                        <a:pt x="701" y="277"/>
                      </a:lnTo>
                      <a:lnTo>
                        <a:pt x="701" y="276"/>
                      </a:lnTo>
                      <a:lnTo>
                        <a:pt x="701" y="277"/>
                      </a:lnTo>
                      <a:lnTo>
                        <a:pt x="701" y="276"/>
                      </a:lnTo>
                      <a:lnTo>
                        <a:pt x="703" y="276"/>
                      </a:lnTo>
                      <a:lnTo>
                        <a:pt x="701" y="274"/>
                      </a:lnTo>
                      <a:lnTo>
                        <a:pt x="701" y="272"/>
                      </a:lnTo>
                      <a:lnTo>
                        <a:pt x="701" y="271"/>
                      </a:lnTo>
                      <a:lnTo>
                        <a:pt x="699" y="271"/>
                      </a:lnTo>
                      <a:lnTo>
                        <a:pt x="698" y="271"/>
                      </a:lnTo>
                      <a:lnTo>
                        <a:pt x="696" y="272"/>
                      </a:lnTo>
                      <a:lnTo>
                        <a:pt x="694" y="272"/>
                      </a:lnTo>
                      <a:lnTo>
                        <a:pt x="692" y="272"/>
                      </a:lnTo>
                      <a:lnTo>
                        <a:pt x="692" y="271"/>
                      </a:lnTo>
                      <a:lnTo>
                        <a:pt x="691" y="271"/>
                      </a:lnTo>
                      <a:lnTo>
                        <a:pt x="692" y="271"/>
                      </a:lnTo>
                      <a:lnTo>
                        <a:pt x="692" y="269"/>
                      </a:lnTo>
                      <a:lnTo>
                        <a:pt x="694" y="269"/>
                      </a:lnTo>
                      <a:lnTo>
                        <a:pt x="696" y="267"/>
                      </a:lnTo>
                      <a:lnTo>
                        <a:pt x="698" y="267"/>
                      </a:lnTo>
                      <a:lnTo>
                        <a:pt x="698" y="266"/>
                      </a:lnTo>
                      <a:lnTo>
                        <a:pt x="699" y="266"/>
                      </a:lnTo>
                      <a:lnTo>
                        <a:pt x="701" y="266"/>
                      </a:lnTo>
                      <a:lnTo>
                        <a:pt x="703" y="266"/>
                      </a:lnTo>
                      <a:lnTo>
                        <a:pt x="703" y="264"/>
                      </a:lnTo>
                      <a:lnTo>
                        <a:pt x="704" y="264"/>
                      </a:lnTo>
                      <a:lnTo>
                        <a:pt x="703" y="264"/>
                      </a:lnTo>
                      <a:lnTo>
                        <a:pt x="701" y="262"/>
                      </a:lnTo>
                      <a:lnTo>
                        <a:pt x="701" y="261"/>
                      </a:lnTo>
                      <a:lnTo>
                        <a:pt x="701" y="262"/>
                      </a:lnTo>
                      <a:lnTo>
                        <a:pt x="701" y="261"/>
                      </a:lnTo>
                      <a:lnTo>
                        <a:pt x="699" y="261"/>
                      </a:lnTo>
                      <a:lnTo>
                        <a:pt x="699" y="259"/>
                      </a:lnTo>
                      <a:lnTo>
                        <a:pt x="701" y="259"/>
                      </a:lnTo>
                      <a:lnTo>
                        <a:pt x="701" y="258"/>
                      </a:lnTo>
                      <a:lnTo>
                        <a:pt x="703" y="258"/>
                      </a:lnTo>
                      <a:lnTo>
                        <a:pt x="703" y="259"/>
                      </a:lnTo>
                      <a:lnTo>
                        <a:pt x="704" y="258"/>
                      </a:lnTo>
                      <a:lnTo>
                        <a:pt x="706" y="258"/>
                      </a:lnTo>
                      <a:lnTo>
                        <a:pt x="706" y="259"/>
                      </a:lnTo>
                      <a:lnTo>
                        <a:pt x="708" y="259"/>
                      </a:lnTo>
                      <a:lnTo>
                        <a:pt x="706" y="259"/>
                      </a:lnTo>
                      <a:lnTo>
                        <a:pt x="706" y="261"/>
                      </a:lnTo>
                      <a:lnTo>
                        <a:pt x="706" y="262"/>
                      </a:lnTo>
                      <a:lnTo>
                        <a:pt x="704" y="262"/>
                      </a:lnTo>
                      <a:lnTo>
                        <a:pt x="704" y="264"/>
                      </a:lnTo>
                      <a:lnTo>
                        <a:pt x="706" y="264"/>
                      </a:lnTo>
                      <a:lnTo>
                        <a:pt x="708" y="264"/>
                      </a:lnTo>
                      <a:lnTo>
                        <a:pt x="709" y="264"/>
                      </a:lnTo>
                      <a:lnTo>
                        <a:pt x="711" y="264"/>
                      </a:lnTo>
                      <a:lnTo>
                        <a:pt x="711" y="262"/>
                      </a:lnTo>
                      <a:lnTo>
                        <a:pt x="713" y="262"/>
                      </a:lnTo>
                      <a:lnTo>
                        <a:pt x="713" y="261"/>
                      </a:lnTo>
                      <a:lnTo>
                        <a:pt x="714" y="261"/>
                      </a:lnTo>
                      <a:lnTo>
                        <a:pt x="713" y="261"/>
                      </a:lnTo>
                      <a:lnTo>
                        <a:pt x="714" y="261"/>
                      </a:lnTo>
                      <a:close/>
                      <a:moveTo>
                        <a:pt x="701" y="369"/>
                      </a:moveTo>
                      <a:lnTo>
                        <a:pt x="703" y="369"/>
                      </a:lnTo>
                      <a:lnTo>
                        <a:pt x="701" y="369"/>
                      </a:lnTo>
                      <a:close/>
                      <a:moveTo>
                        <a:pt x="719" y="374"/>
                      </a:moveTo>
                      <a:lnTo>
                        <a:pt x="719" y="376"/>
                      </a:lnTo>
                      <a:lnTo>
                        <a:pt x="719" y="374"/>
                      </a:lnTo>
                      <a:close/>
                      <a:moveTo>
                        <a:pt x="694" y="376"/>
                      </a:moveTo>
                      <a:lnTo>
                        <a:pt x="696" y="376"/>
                      </a:lnTo>
                      <a:lnTo>
                        <a:pt x="694" y="376"/>
                      </a:lnTo>
                      <a:close/>
                      <a:moveTo>
                        <a:pt x="745" y="366"/>
                      </a:moveTo>
                      <a:lnTo>
                        <a:pt x="745" y="368"/>
                      </a:lnTo>
                      <a:lnTo>
                        <a:pt x="746" y="368"/>
                      </a:lnTo>
                      <a:lnTo>
                        <a:pt x="748" y="368"/>
                      </a:lnTo>
                      <a:lnTo>
                        <a:pt x="748" y="369"/>
                      </a:lnTo>
                      <a:lnTo>
                        <a:pt x="746" y="369"/>
                      </a:lnTo>
                      <a:lnTo>
                        <a:pt x="746" y="371"/>
                      </a:lnTo>
                      <a:lnTo>
                        <a:pt x="746" y="372"/>
                      </a:lnTo>
                      <a:lnTo>
                        <a:pt x="746" y="374"/>
                      </a:lnTo>
                      <a:lnTo>
                        <a:pt x="746" y="372"/>
                      </a:lnTo>
                      <a:lnTo>
                        <a:pt x="746" y="374"/>
                      </a:lnTo>
                      <a:lnTo>
                        <a:pt x="748" y="374"/>
                      </a:lnTo>
                      <a:lnTo>
                        <a:pt x="746" y="374"/>
                      </a:lnTo>
                      <a:lnTo>
                        <a:pt x="745" y="374"/>
                      </a:lnTo>
                      <a:lnTo>
                        <a:pt x="743" y="374"/>
                      </a:lnTo>
                      <a:lnTo>
                        <a:pt x="743" y="376"/>
                      </a:lnTo>
                      <a:lnTo>
                        <a:pt x="741" y="376"/>
                      </a:lnTo>
                      <a:lnTo>
                        <a:pt x="743" y="376"/>
                      </a:lnTo>
                      <a:lnTo>
                        <a:pt x="741" y="376"/>
                      </a:lnTo>
                      <a:lnTo>
                        <a:pt x="741" y="377"/>
                      </a:lnTo>
                      <a:lnTo>
                        <a:pt x="743" y="377"/>
                      </a:lnTo>
                      <a:lnTo>
                        <a:pt x="743" y="379"/>
                      </a:lnTo>
                      <a:lnTo>
                        <a:pt x="745" y="379"/>
                      </a:lnTo>
                      <a:lnTo>
                        <a:pt x="746" y="379"/>
                      </a:lnTo>
                      <a:lnTo>
                        <a:pt x="748" y="379"/>
                      </a:lnTo>
                      <a:lnTo>
                        <a:pt x="748" y="381"/>
                      </a:lnTo>
                      <a:lnTo>
                        <a:pt x="746" y="381"/>
                      </a:lnTo>
                      <a:lnTo>
                        <a:pt x="746" y="382"/>
                      </a:lnTo>
                      <a:lnTo>
                        <a:pt x="746" y="384"/>
                      </a:lnTo>
                      <a:lnTo>
                        <a:pt x="748" y="384"/>
                      </a:lnTo>
                      <a:lnTo>
                        <a:pt x="746" y="384"/>
                      </a:lnTo>
                      <a:lnTo>
                        <a:pt x="746" y="386"/>
                      </a:lnTo>
                      <a:lnTo>
                        <a:pt x="745" y="386"/>
                      </a:lnTo>
                      <a:lnTo>
                        <a:pt x="743" y="386"/>
                      </a:lnTo>
                      <a:lnTo>
                        <a:pt x="743" y="384"/>
                      </a:lnTo>
                      <a:lnTo>
                        <a:pt x="741" y="384"/>
                      </a:lnTo>
                      <a:lnTo>
                        <a:pt x="743" y="382"/>
                      </a:lnTo>
                      <a:lnTo>
                        <a:pt x="743" y="381"/>
                      </a:lnTo>
                      <a:lnTo>
                        <a:pt x="741" y="381"/>
                      </a:lnTo>
                      <a:lnTo>
                        <a:pt x="740" y="381"/>
                      </a:lnTo>
                      <a:lnTo>
                        <a:pt x="738" y="381"/>
                      </a:lnTo>
                      <a:lnTo>
                        <a:pt x="736" y="382"/>
                      </a:lnTo>
                      <a:lnTo>
                        <a:pt x="738" y="382"/>
                      </a:lnTo>
                      <a:lnTo>
                        <a:pt x="736" y="382"/>
                      </a:lnTo>
                      <a:lnTo>
                        <a:pt x="736" y="381"/>
                      </a:lnTo>
                      <a:lnTo>
                        <a:pt x="736" y="382"/>
                      </a:lnTo>
                      <a:lnTo>
                        <a:pt x="735" y="382"/>
                      </a:lnTo>
                      <a:lnTo>
                        <a:pt x="733" y="382"/>
                      </a:lnTo>
                      <a:lnTo>
                        <a:pt x="731" y="382"/>
                      </a:lnTo>
                      <a:lnTo>
                        <a:pt x="731" y="384"/>
                      </a:lnTo>
                      <a:lnTo>
                        <a:pt x="730" y="384"/>
                      </a:lnTo>
                      <a:lnTo>
                        <a:pt x="728" y="384"/>
                      </a:lnTo>
                      <a:lnTo>
                        <a:pt x="728" y="382"/>
                      </a:lnTo>
                      <a:lnTo>
                        <a:pt x="726" y="382"/>
                      </a:lnTo>
                      <a:lnTo>
                        <a:pt x="726" y="381"/>
                      </a:lnTo>
                      <a:lnTo>
                        <a:pt x="726" y="379"/>
                      </a:lnTo>
                      <a:lnTo>
                        <a:pt x="726" y="377"/>
                      </a:lnTo>
                      <a:lnTo>
                        <a:pt x="728" y="377"/>
                      </a:lnTo>
                      <a:lnTo>
                        <a:pt x="728" y="376"/>
                      </a:lnTo>
                      <a:lnTo>
                        <a:pt x="730" y="376"/>
                      </a:lnTo>
                      <a:lnTo>
                        <a:pt x="730" y="374"/>
                      </a:lnTo>
                      <a:lnTo>
                        <a:pt x="731" y="374"/>
                      </a:lnTo>
                      <a:lnTo>
                        <a:pt x="733" y="372"/>
                      </a:lnTo>
                      <a:lnTo>
                        <a:pt x="735" y="372"/>
                      </a:lnTo>
                      <a:lnTo>
                        <a:pt x="735" y="371"/>
                      </a:lnTo>
                      <a:lnTo>
                        <a:pt x="735" y="369"/>
                      </a:lnTo>
                      <a:lnTo>
                        <a:pt x="735" y="368"/>
                      </a:lnTo>
                      <a:lnTo>
                        <a:pt x="736" y="368"/>
                      </a:lnTo>
                      <a:lnTo>
                        <a:pt x="736" y="366"/>
                      </a:lnTo>
                      <a:lnTo>
                        <a:pt x="736" y="364"/>
                      </a:lnTo>
                      <a:lnTo>
                        <a:pt x="738" y="364"/>
                      </a:lnTo>
                      <a:lnTo>
                        <a:pt x="738" y="363"/>
                      </a:lnTo>
                      <a:lnTo>
                        <a:pt x="740" y="363"/>
                      </a:lnTo>
                      <a:lnTo>
                        <a:pt x="740" y="364"/>
                      </a:lnTo>
                      <a:lnTo>
                        <a:pt x="741" y="364"/>
                      </a:lnTo>
                      <a:lnTo>
                        <a:pt x="743" y="364"/>
                      </a:lnTo>
                      <a:lnTo>
                        <a:pt x="745" y="366"/>
                      </a:lnTo>
                      <a:close/>
                      <a:moveTo>
                        <a:pt x="767" y="364"/>
                      </a:moveTo>
                      <a:lnTo>
                        <a:pt x="767" y="366"/>
                      </a:lnTo>
                      <a:lnTo>
                        <a:pt x="768" y="366"/>
                      </a:lnTo>
                      <a:lnTo>
                        <a:pt x="768" y="368"/>
                      </a:lnTo>
                      <a:lnTo>
                        <a:pt x="767" y="368"/>
                      </a:lnTo>
                      <a:lnTo>
                        <a:pt x="767" y="366"/>
                      </a:lnTo>
                      <a:lnTo>
                        <a:pt x="768" y="366"/>
                      </a:lnTo>
                      <a:lnTo>
                        <a:pt x="767" y="366"/>
                      </a:lnTo>
                      <a:lnTo>
                        <a:pt x="767" y="364"/>
                      </a:lnTo>
                      <a:close/>
                      <a:moveTo>
                        <a:pt x="767" y="364"/>
                      </a:moveTo>
                      <a:lnTo>
                        <a:pt x="767" y="366"/>
                      </a:lnTo>
                      <a:lnTo>
                        <a:pt x="767" y="364"/>
                      </a:lnTo>
                      <a:close/>
                      <a:moveTo>
                        <a:pt x="755" y="371"/>
                      </a:moveTo>
                      <a:lnTo>
                        <a:pt x="755" y="369"/>
                      </a:lnTo>
                      <a:lnTo>
                        <a:pt x="757" y="369"/>
                      </a:lnTo>
                      <a:lnTo>
                        <a:pt x="757" y="371"/>
                      </a:lnTo>
                      <a:lnTo>
                        <a:pt x="758" y="371"/>
                      </a:lnTo>
                      <a:lnTo>
                        <a:pt x="758" y="372"/>
                      </a:lnTo>
                      <a:lnTo>
                        <a:pt x="758" y="371"/>
                      </a:lnTo>
                      <a:lnTo>
                        <a:pt x="757" y="371"/>
                      </a:lnTo>
                      <a:lnTo>
                        <a:pt x="757" y="372"/>
                      </a:lnTo>
                      <a:lnTo>
                        <a:pt x="755" y="372"/>
                      </a:lnTo>
                      <a:lnTo>
                        <a:pt x="755" y="371"/>
                      </a:lnTo>
                      <a:lnTo>
                        <a:pt x="753" y="371"/>
                      </a:lnTo>
                      <a:lnTo>
                        <a:pt x="755" y="371"/>
                      </a:lnTo>
                      <a:close/>
                      <a:moveTo>
                        <a:pt x="741" y="351"/>
                      </a:moveTo>
                      <a:lnTo>
                        <a:pt x="743" y="351"/>
                      </a:lnTo>
                      <a:lnTo>
                        <a:pt x="743" y="353"/>
                      </a:lnTo>
                      <a:lnTo>
                        <a:pt x="741" y="353"/>
                      </a:lnTo>
                      <a:lnTo>
                        <a:pt x="741" y="351"/>
                      </a:lnTo>
                      <a:close/>
                      <a:moveTo>
                        <a:pt x="774" y="333"/>
                      </a:moveTo>
                      <a:lnTo>
                        <a:pt x="775" y="331"/>
                      </a:lnTo>
                      <a:lnTo>
                        <a:pt x="775" y="333"/>
                      </a:lnTo>
                      <a:lnTo>
                        <a:pt x="774" y="333"/>
                      </a:lnTo>
                      <a:close/>
                      <a:moveTo>
                        <a:pt x="784" y="335"/>
                      </a:moveTo>
                      <a:lnTo>
                        <a:pt x="784" y="333"/>
                      </a:lnTo>
                      <a:lnTo>
                        <a:pt x="784" y="335"/>
                      </a:lnTo>
                      <a:close/>
                      <a:moveTo>
                        <a:pt x="784" y="335"/>
                      </a:moveTo>
                      <a:lnTo>
                        <a:pt x="784" y="336"/>
                      </a:lnTo>
                      <a:lnTo>
                        <a:pt x="782" y="336"/>
                      </a:lnTo>
                      <a:lnTo>
                        <a:pt x="784" y="335"/>
                      </a:lnTo>
                      <a:close/>
                      <a:moveTo>
                        <a:pt x="762" y="348"/>
                      </a:moveTo>
                      <a:lnTo>
                        <a:pt x="762" y="350"/>
                      </a:lnTo>
                      <a:lnTo>
                        <a:pt x="762" y="348"/>
                      </a:lnTo>
                      <a:lnTo>
                        <a:pt x="762" y="346"/>
                      </a:lnTo>
                      <a:lnTo>
                        <a:pt x="762" y="345"/>
                      </a:lnTo>
                      <a:lnTo>
                        <a:pt x="762" y="346"/>
                      </a:lnTo>
                      <a:lnTo>
                        <a:pt x="763" y="346"/>
                      </a:lnTo>
                      <a:lnTo>
                        <a:pt x="763" y="345"/>
                      </a:lnTo>
                      <a:lnTo>
                        <a:pt x="765" y="345"/>
                      </a:lnTo>
                      <a:lnTo>
                        <a:pt x="765" y="346"/>
                      </a:lnTo>
                      <a:lnTo>
                        <a:pt x="765" y="348"/>
                      </a:lnTo>
                      <a:lnTo>
                        <a:pt x="763" y="346"/>
                      </a:lnTo>
                      <a:lnTo>
                        <a:pt x="763" y="348"/>
                      </a:lnTo>
                      <a:lnTo>
                        <a:pt x="762" y="348"/>
                      </a:lnTo>
                      <a:close/>
                      <a:moveTo>
                        <a:pt x="755" y="348"/>
                      </a:moveTo>
                      <a:lnTo>
                        <a:pt x="755" y="350"/>
                      </a:lnTo>
                      <a:lnTo>
                        <a:pt x="753" y="350"/>
                      </a:lnTo>
                      <a:lnTo>
                        <a:pt x="755" y="348"/>
                      </a:lnTo>
                      <a:close/>
                      <a:moveTo>
                        <a:pt x="657" y="386"/>
                      </a:moveTo>
                      <a:lnTo>
                        <a:pt x="657" y="387"/>
                      </a:lnTo>
                      <a:lnTo>
                        <a:pt x="657" y="386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1" name="Freeform 9"/>
                <p:cNvSpPr>
                  <a:spLocks noChangeAspect="1"/>
                </p:cNvSpPr>
                <p:nvPr/>
              </p:nvSpPr>
              <p:spPr bwMode="auto">
                <a:xfrm>
                  <a:off x="4670215" y="3472599"/>
                  <a:ext cx="1652752" cy="1338078"/>
                </a:xfrm>
                <a:custGeom>
                  <a:avLst/>
                  <a:gdLst>
                    <a:gd name="T0" fmla="*/ 2147483647 w 1061"/>
                    <a:gd name="T1" fmla="*/ 2147483647 h 801"/>
                    <a:gd name="T2" fmla="*/ 2147483647 w 1061"/>
                    <a:gd name="T3" fmla="*/ 2147483647 h 801"/>
                    <a:gd name="T4" fmla="*/ 2147483647 w 1061"/>
                    <a:gd name="T5" fmla="*/ 2147483647 h 801"/>
                    <a:gd name="T6" fmla="*/ 2147483647 w 1061"/>
                    <a:gd name="T7" fmla="*/ 2147483647 h 801"/>
                    <a:gd name="T8" fmla="*/ 2147483647 w 1061"/>
                    <a:gd name="T9" fmla="*/ 2147483647 h 801"/>
                    <a:gd name="T10" fmla="*/ 2147483647 w 1061"/>
                    <a:gd name="T11" fmla="*/ 2147483647 h 801"/>
                    <a:gd name="T12" fmla="*/ 2147483647 w 1061"/>
                    <a:gd name="T13" fmla="*/ 2147483647 h 801"/>
                    <a:gd name="T14" fmla="*/ 2147483647 w 1061"/>
                    <a:gd name="T15" fmla="*/ 2147483647 h 801"/>
                    <a:gd name="T16" fmla="*/ 2147483647 w 1061"/>
                    <a:gd name="T17" fmla="*/ 2147483647 h 801"/>
                    <a:gd name="T18" fmla="*/ 2147483647 w 1061"/>
                    <a:gd name="T19" fmla="*/ 2147483647 h 801"/>
                    <a:gd name="T20" fmla="*/ 2147483647 w 1061"/>
                    <a:gd name="T21" fmla="*/ 2147483647 h 801"/>
                    <a:gd name="T22" fmla="*/ 2147483647 w 1061"/>
                    <a:gd name="T23" fmla="*/ 2147483647 h 801"/>
                    <a:gd name="T24" fmla="*/ 2147483647 w 1061"/>
                    <a:gd name="T25" fmla="*/ 2147483647 h 801"/>
                    <a:gd name="T26" fmla="*/ 2147483647 w 1061"/>
                    <a:gd name="T27" fmla="*/ 2147483647 h 801"/>
                    <a:gd name="T28" fmla="*/ 2147483647 w 1061"/>
                    <a:gd name="T29" fmla="*/ 2147483647 h 801"/>
                    <a:gd name="T30" fmla="*/ 2147483647 w 1061"/>
                    <a:gd name="T31" fmla="*/ 2147483647 h 801"/>
                    <a:gd name="T32" fmla="*/ 2147483647 w 1061"/>
                    <a:gd name="T33" fmla="*/ 2147483647 h 801"/>
                    <a:gd name="T34" fmla="*/ 2147483647 w 1061"/>
                    <a:gd name="T35" fmla="*/ 2147483647 h 801"/>
                    <a:gd name="T36" fmla="*/ 2147483647 w 1061"/>
                    <a:gd name="T37" fmla="*/ 2147483647 h 801"/>
                    <a:gd name="T38" fmla="*/ 2147483647 w 1061"/>
                    <a:gd name="T39" fmla="*/ 2147483647 h 801"/>
                    <a:gd name="T40" fmla="*/ 2147483647 w 1061"/>
                    <a:gd name="T41" fmla="*/ 2147483647 h 801"/>
                    <a:gd name="T42" fmla="*/ 2147483647 w 1061"/>
                    <a:gd name="T43" fmla="*/ 2147483647 h 801"/>
                    <a:gd name="T44" fmla="*/ 2147483647 w 1061"/>
                    <a:gd name="T45" fmla="*/ 2147483647 h 801"/>
                    <a:gd name="T46" fmla="*/ 2147483647 w 1061"/>
                    <a:gd name="T47" fmla="*/ 2147483647 h 801"/>
                    <a:gd name="T48" fmla="*/ 2147483647 w 1061"/>
                    <a:gd name="T49" fmla="*/ 2147483647 h 801"/>
                    <a:gd name="T50" fmla="*/ 2147483647 w 1061"/>
                    <a:gd name="T51" fmla="*/ 2147483647 h 801"/>
                    <a:gd name="T52" fmla="*/ 2147483647 w 1061"/>
                    <a:gd name="T53" fmla="*/ 2147483647 h 801"/>
                    <a:gd name="T54" fmla="*/ 2147483647 w 1061"/>
                    <a:gd name="T55" fmla="*/ 2147483647 h 801"/>
                    <a:gd name="T56" fmla="*/ 2147483647 w 1061"/>
                    <a:gd name="T57" fmla="*/ 2147483647 h 801"/>
                    <a:gd name="T58" fmla="*/ 2147483647 w 1061"/>
                    <a:gd name="T59" fmla="*/ 2147483647 h 801"/>
                    <a:gd name="T60" fmla="*/ 2147483647 w 1061"/>
                    <a:gd name="T61" fmla="*/ 2147483647 h 801"/>
                    <a:gd name="T62" fmla="*/ 2147483647 w 1061"/>
                    <a:gd name="T63" fmla="*/ 2147483647 h 801"/>
                    <a:gd name="T64" fmla="*/ 2147483647 w 1061"/>
                    <a:gd name="T65" fmla="*/ 2147483647 h 801"/>
                    <a:gd name="T66" fmla="*/ 2147483647 w 1061"/>
                    <a:gd name="T67" fmla="*/ 2147483647 h 801"/>
                    <a:gd name="T68" fmla="*/ 2147483647 w 1061"/>
                    <a:gd name="T69" fmla="*/ 2147483647 h 801"/>
                    <a:gd name="T70" fmla="*/ 2147483647 w 1061"/>
                    <a:gd name="T71" fmla="*/ 2147483647 h 801"/>
                    <a:gd name="T72" fmla="*/ 2147483647 w 1061"/>
                    <a:gd name="T73" fmla="*/ 2147483647 h 801"/>
                    <a:gd name="T74" fmla="*/ 2147483647 w 1061"/>
                    <a:gd name="T75" fmla="*/ 2147483647 h 801"/>
                    <a:gd name="T76" fmla="*/ 2147483647 w 1061"/>
                    <a:gd name="T77" fmla="*/ 2147483647 h 801"/>
                    <a:gd name="T78" fmla="*/ 2147483647 w 1061"/>
                    <a:gd name="T79" fmla="*/ 2147483647 h 801"/>
                    <a:gd name="T80" fmla="*/ 2147483647 w 1061"/>
                    <a:gd name="T81" fmla="*/ 2147483647 h 801"/>
                    <a:gd name="T82" fmla="*/ 2147483647 w 1061"/>
                    <a:gd name="T83" fmla="*/ 2147483647 h 801"/>
                    <a:gd name="T84" fmla="*/ 2147483647 w 1061"/>
                    <a:gd name="T85" fmla="*/ 2147483647 h 801"/>
                    <a:gd name="T86" fmla="*/ 2147483647 w 1061"/>
                    <a:gd name="T87" fmla="*/ 2147483647 h 801"/>
                    <a:gd name="T88" fmla="*/ 2147483647 w 1061"/>
                    <a:gd name="T89" fmla="*/ 2147483647 h 801"/>
                    <a:gd name="T90" fmla="*/ 2147483647 w 1061"/>
                    <a:gd name="T91" fmla="*/ 2147483647 h 801"/>
                    <a:gd name="T92" fmla="*/ 2147483647 w 1061"/>
                    <a:gd name="T93" fmla="*/ 2147483647 h 801"/>
                    <a:gd name="T94" fmla="*/ 2147483647 w 1061"/>
                    <a:gd name="T95" fmla="*/ 2147483647 h 801"/>
                    <a:gd name="T96" fmla="*/ 2147483647 w 1061"/>
                    <a:gd name="T97" fmla="*/ 2147483647 h 801"/>
                    <a:gd name="T98" fmla="*/ 2147483647 w 1061"/>
                    <a:gd name="T99" fmla="*/ 2147483647 h 801"/>
                    <a:gd name="T100" fmla="*/ 2147483647 w 1061"/>
                    <a:gd name="T101" fmla="*/ 2147483647 h 801"/>
                    <a:gd name="T102" fmla="*/ 2147483647 w 1061"/>
                    <a:gd name="T103" fmla="*/ 2147483647 h 801"/>
                    <a:gd name="T104" fmla="*/ 2147483647 w 1061"/>
                    <a:gd name="T105" fmla="*/ 2147483647 h 801"/>
                    <a:gd name="T106" fmla="*/ 2147483647 w 1061"/>
                    <a:gd name="T107" fmla="*/ 2147483647 h 801"/>
                    <a:gd name="T108" fmla="*/ 2147483647 w 1061"/>
                    <a:gd name="T109" fmla="*/ 2147483647 h 801"/>
                    <a:gd name="T110" fmla="*/ 2147483647 w 1061"/>
                    <a:gd name="T111" fmla="*/ 2147483647 h 801"/>
                    <a:gd name="T112" fmla="*/ 2147483647 w 1061"/>
                    <a:gd name="T113" fmla="*/ 2147483647 h 801"/>
                    <a:gd name="T114" fmla="*/ 2147483647 w 1061"/>
                    <a:gd name="T115" fmla="*/ 2147483647 h 801"/>
                    <a:gd name="T116" fmla="*/ 2147483647 w 1061"/>
                    <a:gd name="T117" fmla="*/ 2147483647 h 801"/>
                    <a:gd name="T118" fmla="*/ 2147483647 w 1061"/>
                    <a:gd name="T119" fmla="*/ 2147483647 h 801"/>
                    <a:gd name="T120" fmla="*/ 2147483647 w 1061"/>
                    <a:gd name="T121" fmla="*/ 2147483647 h 801"/>
                    <a:gd name="T122" fmla="*/ 2147483647 w 1061"/>
                    <a:gd name="T123" fmla="*/ 2147483647 h 80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061"/>
                    <a:gd name="T187" fmla="*/ 0 h 801"/>
                    <a:gd name="T188" fmla="*/ 1061 w 1061"/>
                    <a:gd name="T189" fmla="*/ 801 h 80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061" h="801">
                      <a:moveTo>
                        <a:pt x="1055" y="189"/>
                      </a:moveTo>
                      <a:lnTo>
                        <a:pt x="1054" y="189"/>
                      </a:lnTo>
                      <a:lnTo>
                        <a:pt x="1052" y="189"/>
                      </a:lnTo>
                      <a:lnTo>
                        <a:pt x="1052" y="190"/>
                      </a:lnTo>
                      <a:lnTo>
                        <a:pt x="1052" y="192"/>
                      </a:lnTo>
                      <a:lnTo>
                        <a:pt x="1050" y="192"/>
                      </a:lnTo>
                      <a:lnTo>
                        <a:pt x="1049" y="192"/>
                      </a:lnTo>
                      <a:lnTo>
                        <a:pt x="1049" y="190"/>
                      </a:lnTo>
                      <a:lnTo>
                        <a:pt x="1049" y="192"/>
                      </a:lnTo>
                      <a:lnTo>
                        <a:pt x="1047" y="192"/>
                      </a:lnTo>
                      <a:lnTo>
                        <a:pt x="1049" y="192"/>
                      </a:lnTo>
                      <a:lnTo>
                        <a:pt x="1047" y="194"/>
                      </a:lnTo>
                      <a:lnTo>
                        <a:pt x="1045" y="194"/>
                      </a:lnTo>
                      <a:lnTo>
                        <a:pt x="1045" y="195"/>
                      </a:lnTo>
                      <a:lnTo>
                        <a:pt x="1044" y="199"/>
                      </a:lnTo>
                      <a:lnTo>
                        <a:pt x="1044" y="200"/>
                      </a:lnTo>
                      <a:lnTo>
                        <a:pt x="1042" y="202"/>
                      </a:lnTo>
                      <a:lnTo>
                        <a:pt x="1042" y="204"/>
                      </a:lnTo>
                      <a:lnTo>
                        <a:pt x="1042" y="205"/>
                      </a:lnTo>
                      <a:lnTo>
                        <a:pt x="1040" y="205"/>
                      </a:lnTo>
                      <a:lnTo>
                        <a:pt x="1039" y="204"/>
                      </a:lnTo>
                      <a:lnTo>
                        <a:pt x="1039" y="202"/>
                      </a:lnTo>
                      <a:lnTo>
                        <a:pt x="1039" y="200"/>
                      </a:lnTo>
                      <a:lnTo>
                        <a:pt x="1039" y="202"/>
                      </a:lnTo>
                      <a:lnTo>
                        <a:pt x="1037" y="202"/>
                      </a:lnTo>
                      <a:lnTo>
                        <a:pt x="1037" y="204"/>
                      </a:lnTo>
                      <a:lnTo>
                        <a:pt x="1037" y="205"/>
                      </a:lnTo>
                      <a:lnTo>
                        <a:pt x="1035" y="205"/>
                      </a:lnTo>
                      <a:lnTo>
                        <a:pt x="1035" y="207"/>
                      </a:lnTo>
                      <a:lnTo>
                        <a:pt x="1034" y="209"/>
                      </a:lnTo>
                      <a:lnTo>
                        <a:pt x="1032" y="210"/>
                      </a:lnTo>
                      <a:lnTo>
                        <a:pt x="1032" y="212"/>
                      </a:lnTo>
                      <a:lnTo>
                        <a:pt x="1030" y="212"/>
                      </a:lnTo>
                      <a:lnTo>
                        <a:pt x="1032" y="212"/>
                      </a:lnTo>
                      <a:lnTo>
                        <a:pt x="1032" y="213"/>
                      </a:lnTo>
                      <a:lnTo>
                        <a:pt x="1034" y="213"/>
                      </a:lnTo>
                      <a:lnTo>
                        <a:pt x="1034" y="215"/>
                      </a:lnTo>
                      <a:lnTo>
                        <a:pt x="1032" y="215"/>
                      </a:lnTo>
                      <a:lnTo>
                        <a:pt x="1032" y="217"/>
                      </a:lnTo>
                      <a:lnTo>
                        <a:pt x="1030" y="217"/>
                      </a:lnTo>
                      <a:lnTo>
                        <a:pt x="1030" y="215"/>
                      </a:lnTo>
                      <a:lnTo>
                        <a:pt x="1028" y="215"/>
                      </a:lnTo>
                      <a:lnTo>
                        <a:pt x="1027" y="215"/>
                      </a:lnTo>
                      <a:lnTo>
                        <a:pt x="1025" y="213"/>
                      </a:lnTo>
                      <a:lnTo>
                        <a:pt x="1025" y="215"/>
                      </a:lnTo>
                      <a:lnTo>
                        <a:pt x="1023" y="215"/>
                      </a:lnTo>
                      <a:lnTo>
                        <a:pt x="1022" y="215"/>
                      </a:lnTo>
                      <a:lnTo>
                        <a:pt x="1020" y="217"/>
                      </a:lnTo>
                      <a:lnTo>
                        <a:pt x="1020" y="218"/>
                      </a:lnTo>
                      <a:lnTo>
                        <a:pt x="1020" y="220"/>
                      </a:lnTo>
                      <a:lnTo>
                        <a:pt x="1020" y="222"/>
                      </a:lnTo>
                      <a:lnTo>
                        <a:pt x="1018" y="223"/>
                      </a:lnTo>
                      <a:lnTo>
                        <a:pt x="1018" y="225"/>
                      </a:lnTo>
                      <a:lnTo>
                        <a:pt x="1018" y="227"/>
                      </a:lnTo>
                      <a:lnTo>
                        <a:pt x="1018" y="228"/>
                      </a:lnTo>
                      <a:lnTo>
                        <a:pt x="1018" y="230"/>
                      </a:lnTo>
                      <a:lnTo>
                        <a:pt x="1017" y="232"/>
                      </a:lnTo>
                      <a:lnTo>
                        <a:pt x="1017" y="233"/>
                      </a:lnTo>
                      <a:lnTo>
                        <a:pt x="1015" y="233"/>
                      </a:lnTo>
                      <a:lnTo>
                        <a:pt x="1015" y="235"/>
                      </a:lnTo>
                      <a:lnTo>
                        <a:pt x="1017" y="235"/>
                      </a:lnTo>
                      <a:lnTo>
                        <a:pt x="1017" y="236"/>
                      </a:lnTo>
                      <a:lnTo>
                        <a:pt x="1020" y="236"/>
                      </a:lnTo>
                      <a:lnTo>
                        <a:pt x="1022" y="236"/>
                      </a:lnTo>
                      <a:lnTo>
                        <a:pt x="1022" y="235"/>
                      </a:lnTo>
                      <a:lnTo>
                        <a:pt x="1022" y="236"/>
                      </a:lnTo>
                      <a:lnTo>
                        <a:pt x="1023" y="236"/>
                      </a:lnTo>
                      <a:lnTo>
                        <a:pt x="1023" y="238"/>
                      </a:lnTo>
                      <a:lnTo>
                        <a:pt x="1023" y="240"/>
                      </a:lnTo>
                      <a:lnTo>
                        <a:pt x="1023" y="241"/>
                      </a:lnTo>
                      <a:lnTo>
                        <a:pt x="1022" y="241"/>
                      </a:lnTo>
                      <a:lnTo>
                        <a:pt x="1022" y="243"/>
                      </a:lnTo>
                      <a:lnTo>
                        <a:pt x="1022" y="245"/>
                      </a:lnTo>
                      <a:lnTo>
                        <a:pt x="1020" y="245"/>
                      </a:lnTo>
                      <a:lnTo>
                        <a:pt x="1020" y="246"/>
                      </a:lnTo>
                      <a:lnTo>
                        <a:pt x="1018" y="245"/>
                      </a:lnTo>
                      <a:lnTo>
                        <a:pt x="1018" y="246"/>
                      </a:lnTo>
                      <a:lnTo>
                        <a:pt x="1017" y="246"/>
                      </a:lnTo>
                      <a:lnTo>
                        <a:pt x="1015" y="245"/>
                      </a:lnTo>
                      <a:lnTo>
                        <a:pt x="1013" y="245"/>
                      </a:lnTo>
                      <a:lnTo>
                        <a:pt x="1013" y="243"/>
                      </a:lnTo>
                      <a:lnTo>
                        <a:pt x="1012" y="243"/>
                      </a:lnTo>
                      <a:lnTo>
                        <a:pt x="1012" y="245"/>
                      </a:lnTo>
                      <a:lnTo>
                        <a:pt x="1010" y="245"/>
                      </a:lnTo>
                      <a:lnTo>
                        <a:pt x="1008" y="245"/>
                      </a:lnTo>
                      <a:lnTo>
                        <a:pt x="1006" y="245"/>
                      </a:lnTo>
                      <a:lnTo>
                        <a:pt x="1005" y="245"/>
                      </a:lnTo>
                      <a:lnTo>
                        <a:pt x="1005" y="243"/>
                      </a:lnTo>
                      <a:lnTo>
                        <a:pt x="1003" y="243"/>
                      </a:lnTo>
                      <a:lnTo>
                        <a:pt x="1001" y="243"/>
                      </a:lnTo>
                      <a:lnTo>
                        <a:pt x="1001" y="245"/>
                      </a:lnTo>
                      <a:lnTo>
                        <a:pt x="1001" y="246"/>
                      </a:lnTo>
                      <a:lnTo>
                        <a:pt x="1000" y="246"/>
                      </a:lnTo>
                      <a:lnTo>
                        <a:pt x="1000" y="248"/>
                      </a:lnTo>
                      <a:lnTo>
                        <a:pt x="1000" y="250"/>
                      </a:lnTo>
                      <a:lnTo>
                        <a:pt x="998" y="250"/>
                      </a:lnTo>
                      <a:lnTo>
                        <a:pt x="998" y="251"/>
                      </a:lnTo>
                      <a:lnTo>
                        <a:pt x="998" y="253"/>
                      </a:lnTo>
                      <a:lnTo>
                        <a:pt x="996" y="253"/>
                      </a:lnTo>
                      <a:lnTo>
                        <a:pt x="995" y="253"/>
                      </a:lnTo>
                      <a:lnTo>
                        <a:pt x="995" y="255"/>
                      </a:lnTo>
                      <a:lnTo>
                        <a:pt x="995" y="256"/>
                      </a:lnTo>
                      <a:lnTo>
                        <a:pt x="995" y="258"/>
                      </a:lnTo>
                      <a:lnTo>
                        <a:pt x="995" y="259"/>
                      </a:lnTo>
                      <a:lnTo>
                        <a:pt x="993" y="259"/>
                      </a:lnTo>
                      <a:lnTo>
                        <a:pt x="993" y="261"/>
                      </a:lnTo>
                      <a:lnTo>
                        <a:pt x="993" y="263"/>
                      </a:lnTo>
                      <a:lnTo>
                        <a:pt x="995" y="263"/>
                      </a:lnTo>
                      <a:lnTo>
                        <a:pt x="995" y="264"/>
                      </a:lnTo>
                      <a:lnTo>
                        <a:pt x="995" y="266"/>
                      </a:lnTo>
                      <a:lnTo>
                        <a:pt x="993" y="266"/>
                      </a:lnTo>
                      <a:lnTo>
                        <a:pt x="993" y="268"/>
                      </a:lnTo>
                      <a:lnTo>
                        <a:pt x="993" y="269"/>
                      </a:lnTo>
                      <a:lnTo>
                        <a:pt x="993" y="271"/>
                      </a:lnTo>
                      <a:lnTo>
                        <a:pt x="995" y="271"/>
                      </a:lnTo>
                      <a:lnTo>
                        <a:pt x="995" y="273"/>
                      </a:lnTo>
                      <a:lnTo>
                        <a:pt x="995" y="274"/>
                      </a:lnTo>
                      <a:lnTo>
                        <a:pt x="995" y="276"/>
                      </a:lnTo>
                      <a:lnTo>
                        <a:pt x="993" y="277"/>
                      </a:lnTo>
                      <a:lnTo>
                        <a:pt x="995" y="277"/>
                      </a:lnTo>
                      <a:lnTo>
                        <a:pt x="995" y="279"/>
                      </a:lnTo>
                      <a:lnTo>
                        <a:pt x="995" y="281"/>
                      </a:lnTo>
                      <a:lnTo>
                        <a:pt x="993" y="282"/>
                      </a:lnTo>
                      <a:lnTo>
                        <a:pt x="991" y="284"/>
                      </a:lnTo>
                      <a:lnTo>
                        <a:pt x="990" y="284"/>
                      </a:lnTo>
                      <a:lnTo>
                        <a:pt x="990" y="286"/>
                      </a:lnTo>
                      <a:lnTo>
                        <a:pt x="991" y="286"/>
                      </a:lnTo>
                      <a:lnTo>
                        <a:pt x="990" y="287"/>
                      </a:lnTo>
                      <a:lnTo>
                        <a:pt x="991" y="287"/>
                      </a:lnTo>
                      <a:lnTo>
                        <a:pt x="991" y="289"/>
                      </a:lnTo>
                      <a:lnTo>
                        <a:pt x="990" y="289"/>
                      </a:lnTo>
                      <a:lnTo>
                        <a:pt x="991" y="291"/>
                      </a:lnTo>
                      <a:lnTo>
                        <a:pt x="990" y="291"/>
                      </a:lnTo>
                      <a:lnTo>
                        <a:pt x="988" y="292"/>
                      </a:lnTo>
                      <a:lnTo>
                        <a:pt x="990" y="292"/>
                      </a:lnTo>
                      <a:lnTo>
                        <a:pt x="991" y="294"/>
                      </a:lnTo>
                      <a:lnTo>
                        <a:pt x="991" y="292"/>
                      </a:lnTo>
                      <a:lnTo>
                        <a:pt x="993" y="292"/>
                      </a:lnTo>
                      <a:lnTo>
                        <a:pt x="995" y="294"/>
                      </a:lnTo>
                      <a:lnTo>
                        <a:pt x="995" y="296"/>
                      </a:lnTo>
                      <a:lnTo>
                        <a:pt x="996" y="296"/>
                      </a:lnTo>
                      <a:lnTo>
                        <a:pt x="998" y="296"/>
                      </a:lnTo>
                      <a:lnTo>
                        <a:pt x="998" y="297"/>
                      </a:lnTo>
                      <a:lnTo>
                        <a:pt x="1000" y="297"/>
                      </a:lnTo>
                      <a:lnTo>
                        <a:pt x="1000" y="299"/>
                      </a:lnTo>
                      <a:lnTo>
                        <a:pt x="1001" y="299"/>
                      </a:lnTo>
                      <a:lnTo>
                        <a:pt x="1001" y="300"/>
                      </a:lnTo>
                      <a:lnTo>
                        <a:pt x="1001" y="302"/>
                      </a:lnTo>
                      <a:lnTo>
                        <a:pt x="1001" y="304"/>
                      </a:lnTo>
                      <a:lnTo>
                        <a:pt x="1003" y="304"/>
                      </a:lnTo>
                      <a:lnTo>
                        <a:pt x="1003" y="305"/>
                      </a:lnTo>
                      <a:lnTo>
                        <a:pt x="1003" y="307"/>
                      </a:lnTo>
                      <a:lnTo>
                        <a:pt x="1005" y="307"/>
                      </a:lnTo>
                      <a:lnTo>
                        <a:pt x="1006" y="307"/>
                      </a:lnTo>
                      <a:lnTo>
                        <a:pt x="1008" y="307"/>
                      </a:lnTo>
                      <a:lnTo>
                        <a:pt x="1008" y="309"/>
                      </a:lnTo>
                      <a:lnTo>
                        <a:pt x="1008" y="310"/>
                      </a:lnTo>
                      <a:lnTo>
                        <a:pt x="1010" y="310"/>
                      </a:lnTo>
                      <a:lnTo>
                        <a:pt x="1010" y="312"/>
                      </a:lnTo>
                      <a:lnTo>
                        <a:pt x="1012" y="310"/>
                      </a:lnTo>
                      <a:lnTo>
                        <a:pt x="1013" y="312"/>
                      </a:lnTo>
                      <a:lnTo>
                        <a:pt x="1013" y="314"/>
                      </a:lnTo>
                      <a:lnTo>
                        <a:pt x="1015" y="312"/>
                      </a:lnTo>
                      <a:lnTo>
                        <a:pt x="1015" y="310"/>
                      </a:lnTo>
                      <a:lnTo>
                        <a:pt x="1015" y="312"/>
                      </a:lnTo>
                      <a:lnTo>
                        <a:pt x="1017" y="314"/>
                      </a:lnTo>
                      <a:lnTo>
                        <a:pt x="1017" y="315"/>
                      </a:lnTo>
                      <a:lnTo>
                        <a:pt x="1018" y="315"/>
                      </a:lnTo>
                      <a:lnTo>
                        <a:pt x="1018" y="317"/>
                      </a:lnTo>
                      <a:lnTo>
                        <a:pt x="1018" y="319"/>
                      </a:lnTo>
                      <a:lnTo>
                        <a:pt x="1020" y="319"/>
                      </a:lnTo>
                      <a:lnTo>
                        <a:pt x="1020" y="320"/>
                      </a:lnTo>
                      <a:lnTo>
                        <a:pt x="1022" y="322"/>
                      </a:lnTo>
                      <a:lnTo>
                        <a:pt x="1023" y="320"/>
                      </a:lnTo>
                      <a:lnTo>
                        <a:pt x="1023" y="322"/>
                      </a:lnTo>
                      <a:lnTo>
                        <a:pt x="1025" y="322"/>
                      </a:lnTo>
                      <a:lnTo>
                        <a:pt x="1027" y="322"/>
                      </a:lnTo>
                      <a:lnTo>
                        <a:pt x="1027" y="323"/>
                      </a:lnTo>
                      <a:lnTo>
                        <a:pt x="1027" y="325"/>
                      </a:lnTo>
                      <a:lnTo>
                        <a:pt x="1027" y="327"/>
                      </a:lnTo>
                      <a:lnTo>
                        <a:pt x="1027" y="328"/>
                      </a:lnTo>
                      <a:lnTo>
                        <a:pt x="1028" y="328"/>
                      </a:lnTo>
                      <a:lnTo>
                        <a:pt x="1028" y="330"/>
                      </a:lnTo>
                      <a:lnTo>
                        <a:pt x="1028" y="332"/>
                      </a:lnTo>
                      <a:lnTo>
                        <a:pt x="1028" y="330"/>
                      </a:lnTo>
                      <a:lnTo>
                        <a:pt x="1028" y="332"/>
                      </a:lnTo>
                      <a:lnTo>
                        <a:pt x="1030" y="332"/>
                      </a:lnTo>
                      <a:lnTo>
                        <a:pt x="1030" y="333"/>
                      </a:lnTo>
                      <a:lnTo>
                        <a:pt x="1027" y="337"/>
                      </a:lnTo>
                      <a:lnTo>
                        <a:pt x="1022" y="340"/>
                      </a:lnTo>
                      <a:lnTo>
                        <a:pt x="1023" y="342"/>
                      </a:lnTo>
                      <a:lnTo>
                        <a:pt x="1025" y="343"/>
                      </a:lnTo>
                      <a:lnTo>
                        <a:pt x="1027" y="343"/>
                      </a:lnTo>
                      <a:lnTo>
                        <a:pt x="1027" y="345"/>
                      </a:lnTo>
                      <a:lnTo>
                        <a:pt x="1025" y="345"/>
                      </a:lnTo>
                      <a:lnTo>
                        <a:pt x="1023" y="345"/>
                      </a:lnTo>
                      <a:lnTo>
                        <a:pt x="1023" y="343"/>
                      </a:lnTo>
                      <a:lnTo>
                        <a:pt x="1022" y="343"/>
                      </a:lnTo>
                      <a:lnTo>
                        <a:pt x="1020" y="343"/>
                      </a:lnTo>
                      <a:lnTo>
                        <a:pt x="1020" y="342"/>
                      </a:lnTo>
                      <a:lnTo>
                        <a:pt x="1018" y="342"/>
                      </a:lnTo>
                      <a:lnTo>
                        <a:pt x="1017" y="342"/>
                      </a:lnTo>
                      <a:lnTo>
                        <a:pt x="1017" y="340"/>
                      </a:lnTo>
                      <a:lnTo>
                        <a:pt x="1015" y="340"/>
                      </a:lnTo>
                      <a:lnTo>
                        <a:pt x="1013" y="340"/>
                      </a:lnTo>
                      <a:lnTo>
                        <a:pt x="1012" y="340"/>
                      </a:lnTo>
                      <a:lnTo>
                        <a:pt x="1010" y="340"/>
                      </a:lnTo>
                      <a:lnTo>
                        <a:pt x="1008" y="340"/>
                      </a:lnTo>
                      <a:lnTo>
                        <a:pt x="1006" y="340"/>
                      </a:lnTo>
                      <a:lnTo>
                        <a:pt x="1005" y="340"/>
                      </a:lnTo>
                      <a:lnTo>
                        <a:pt x="1003" y="340"/>
                      </a:lnTo>
                      <a:lnTo>
                        <a:pt x="1001" y="340"/>
                      </a:lnTo>
                      <a:lnTo>
                        <a:pt x="1001" y="338"/>
                      </a:lnTo>
                      <a:lnTo>
                        <a:pt x="1000" y="338"/>
                      </a:lnTo>
                      <a:lnTo>
                        <a:pt x="998" y="337"/>
                      </a:lnTo>
                      <a:lnTo>
                        <a:pt x="996" y="337"/>
                      </a:lnTo>
                      <a:lnTo>
                        <a:pt x="996" y="338"/>
                      </a:lnTo>
                      <a:lnTo>
                        <a:pt x="995" y="338"/>
                      </a:lnTo>
                      <a:lnTo>
                        <a:pt x="993" y="338"/>
                      </a:lnTo>
                      <a:lnTo>
                        <a:pt x="991" y="338"/>
                      </a:lnTo>
                      <a:lnTo>
                        <a:pt x="991" y="340"/>
                      </a:lnTo>
                      <a:lnTo>
                        <a:pt x="991" y="342"/>
                      </a:lnTo>
                      <a:lnTo>
                        <a:pt x="991" y="340"/>
                      </a:lnTo>
                      <a:lnTo>
                        <a:pt x="990" y="342"/>
                      </a:lnTo>
                      <a:lnTo>
                        <a:pt x="990" y="343"/>
                      </a:lnTo>
                      <a:lnTo>
                        <a:pt x="988" y="343"/>
                      </a:lnTo>
                      <a:lnTo>
                        <a:pt x="990" y="343"/>
                      </a:lnTo>
                      <a:lnTo>
                        <a:pt x="988" y="343"/>
                      </a:lnTo>
                      <a:lnTo>
                        <a:pt x="988" y="345"/>
                      </a:lnTo>
                      <a:lnTo>
                        <a:pt x="988" y="346"/>
                      </a:lnTo>
                      <a:lnTo>
                        <a:pt x="986" y="346"/>
                      </a:lnTo>
                      <a:lnTo>
                        <a:pt x="986" y="348"/>
                      </a:lnTo>
                      <a:lnTo>
                        <a:pt x="985" y="348"/>
                      </a:lnTo>
                      <a:lnTo>
                        <a:pt x="983" y="348"/>
                      </a:lnTo>
                      <a:lnTo>
                        <a:pt x="981" y="348"/>
                      </a:lnTo>
                      <a:lnTo>
                        <a:pt x="979" y="348"/>
                      </a:lnTo>
                      <a:lnTo>
                        <a:pt x="981" y="348"/>
                      </a:lnTo>
                      <a:lnTo>
                        <a:pt x="979" y="348"/>
                      </a:lnTo>
                      <a:lnTo>
                        <a:pt x="979" y="346"/>
                      </a:lnTo>
                      <a:lnTo>
                        <a:pt x="978" y="346"/>
                      </a:lnTo>
                      <a:lnTo>
                        <a:pt x="976" y="346"/>
                      </a:lnTo>
                      <a:lnTo>
                        <a:pt x="976" y="348"/>
                      </a:lnTo>
                      <a:lnTo>
                        <a:pt x="976" y="346"/>
                      </a:lnTo>
                      <a:lnTo>
                        <a:pt x="974" y="346"/>
                      </a:lnTo>
                      <a:lnTo>
                        <a:pt x="976" y="345"/>
                      </a:lnTo>
                      <a:lnTo>
                        <a:pt x="974" y="345"/>
                      </a:lnTo>
                      <a:lnTo>
                        <a:pt x="973" y="345"/>
                      </a:lnTo>
                      <a:lnTo>
                        <a:pt x="973" y="343"/>
                      </a:lnTo>
                      <a:lnTo>
                        <a:pt x="971" y="343"/>
                      </a:lnTo>
                      <a:lnTo>
                        <a:pt x="971" y="342"/>
                      </a:lnTo>
                      <a:lnTo>
                        <a:pt x="971" y="343"/>
                      </a:lnTo>
                      <a:lnTo>
                        <a:pt x="969" y="343"/>
                      </a:lnTo>
                      <a:lnTo>
                        <a:pt x="968" y="343"/>
                      </a:lnTo>
                      <a:lnTo>
                        <a:pt x="968" y="345"/>
                      </a:lnTo>
                      <a:lnTo>
                        <a:pt x="966" y="345"/>
                      </a:lnTo>
                      <a:lnTo>
                        <a:pt x="964" y="345"/>
                      </a:lnTo>
                      <a:lnTo>
                        <a:pt x="964" y="343"/>
                      </a:lnTo>
                      <a:lnTo>
                        <a:pt x="963" y="345"/>
                      </a:lnTo>
                      <a:lnTo>
                        <a:pt x="963" y="346"/>
                      </a:lnTo>
                      <a:lnTo>
                        <a:pt x="974" y="356"/>
                      </a:lnTo>
                      <a:lnTo>
                        <a:pt x="974" y="358"/>
                      </a:lnTo>
                      <a:lnTo>
                        <a:pt x="974" y="360"/>
                      </a:lnTo>
                      <a:lnTo>
                        <a:pt x="974" y="361"/>
                      </a:lnTo>
                      <a:lnTo>
                        <a:pt x="973" y="361"/>
                      </a:lnTo>
                      <a:lnTo>
                        <a:pt x="971" y="361"/>
                      </a:lnTo>
                      <a:lnTo>
                        <a:pt x="969" y="361"/>
                      </a:lnTo>
                      <a:lnTo>
                        <a:pt x="968" y="360"/>
                      </a:lnTo>
                      <a:lnTo>
                        <a:pt x="968" y="361"/>
                      </a:lnTo>
                      <a:lnTo>
                        <a:pt x="968" y="360"/>
                      </a:lnTo>
                      <a:lnTo>
                        <a:pt x="966" y="360"/>
                      </a:lnTo>
                      <a:lnTo>
                        <a:pt x="966" y="358"/>
                      </a:lnTo>
                      <a:lnTo>
                        <a:pt x="964" y="358"/>
                      </a:lnTo>
                      <a:lnTo>
                        <a:pt x="963" y="358"/>
                      </a:lnTo>
                      <a:lnTo>
                        <a:pt x="963" y="356"/>
                      </a:lnTo>
                      <a:lnTo>
                        <a:pt x="963" y="358"/>
                      </a:lnTo>
                      <a:lnTo>
                        <a:pt x="961" y="358"/>
                      </a:lnTo>
                      <a:lnTo>
                        <a:pt x="959" y="358"/>
                      </a:lnTo>
                      <a:lnTo>
                        <a:pt x="959" y="360"/>
                      </a:lnTo>
                      <a:lnTo>
                        <a:pt x="958" y="360"/>
                      </a:lnTo>
                      <a:lnTo>
                        <a:pt x="958" y="358"/>
                      </a:lnTo>
                      <a:lnTo>
                        <a:pt x="958" y="360"/>
                      </a:lnTo>
                      <a:lnTo>
                        <a:pt x="958" y="361"/>
                      </a:lnTo>
                      <a:lnTo>
                        <a:pt x="956" y="361"/>
                      </a:lnTo>
                      <a:lnTo>
                        <a:pt x="956" y="360"/>
                      </a:lnTo>
                      <a:lnTo>
                        <a:pt x="954" y="360"/>
                      </a:lnTo>
                      <a:lnTo>
                        <a:pt x="954" y="361"/>
                      </a:lnTo>
                      <a:lnTo>
                        <a:pt x="954" y="363"/>
                      </a:lnTo>
                      <a:lnTo>
                        <a:pt x="952" y="361"/>
                      </a:lnTo>
                      <a:lnTo>
                        <a:pt x="952" y="363"/>
                      </a:lnTo>
                      <a:lnTo>
                        <a:pt x="951" y="361"/>
                      </a:lnTo>
                      <a:lnTo>
                        <a:pt x="949" y="363"/>
                      </a:lnTo>
                      <a:lnTo>
                        <a:pt x="949" y="361"/>
                      </a:lnTo>
                      <a:lnTo>
                        <a:pt x="947" y="361"/>
                      </a:lnTo>
                      <a:lnTo>
                        <a:pt x="947" y="363"/>
                      </a:lnTo>
                      <a:lnTo>
                        <a:pt x="947" y="361"/>
                      </a:lnTo>
                      <a:lnTo>
                        <a:pt x="947" y="363"/>
                      </a:lnTo>
                      <a:lnTo>
                        <a:pt x="946" y="363"/>
                      </a:lnTo>
                      <a:lnTo>
                        <a:pt x="944" y="365"/>
                      </a:lnTo>
                      <a:lnTo>
                        <a:pt x="944" y="366"/>
                      </a:lnTo>
                      <a:lnTo>
                        <a:pt x="942" y="366"/>
                      </a:lnTo>
                      <a:lnTo>
                        <a:pt x="944" y="368"/>
                      </a:lnTo>
                      <a:lnTo>
                        <a:pt x="942" y="368"/>
                      </a:lnTo>
                      <a:lnTo>
                        <a:pt x="944" y="369"/>
                      </a:lnTo>
                      <a:lnTo>
                        <a:pt x="942" y="369"/>
                      </a:lnTo>
                      <a:lnTo>
                        <a:pt x="944" y="369"/>
                      </a:lnTo>
                      <a:lnTo>
                        <a:pt x="942" y="371"/>
                      </a:lnTo>
                      <a:lnTo>
                        <a:pt x="941" y="373"/>
                      </a:lnTo>
                      <a:lnTo>
                        <a:pt x="939" y="373"/>
                      </a:lnTo>
                      <a:lnTo>
                        <a:pt x="939" y="374"/>
                      </a:lnTo>
                      <a:lnTo>
                        <a:pt x="937" y="374"/>
                      </a:lnTo>
                      <a:lnTo>
                        <a:pt x="937" y="376"/>
                      </a:lnTo>
                      <a:lnTo>
                        <a:pt x="937" y="378"/>
                      </a:lnTo>
                      <a:lnTo>
                        <a:pt x="939" y="378"/>
                      </a:lnTo>
                      <a:lnTo>
                        <a:pt x="939" y="379"/>
                      </a:lnTo>
                      <a:lnTo>
                        <a:pt x="939" y="381"/>
                      </a:lnTo>
                      <a:lnTo>
                        <a:pt x="937" y="383"/>
                      </a:lnTo>
                      <a:lnTo>
                        <a:pt x="937" y="381"/>
                      </a:lnTo>
                      <a:lnTo>
                        <a:pt x="937" y="383"/>
                      </a:lnTo>
                      <a:lnTo>
                        <a:pt x="937" y="384"/>
                      </a:lnTo>
                      <a:lnTo>
                        <a:pt x="939" y="384"/>
                      </a:lnTo>
                      <a:lnTo>
                        <a:pt x="937" y="384"/>
                      </a:lnTo>
                      <a:lnTo>
                        <a:pt x="936" y="386"/>
                      </a:lnTo>
                      <a:lnTo>
                        <a:pt x="936" y="388"/>
                      </a:lnTo>
                      <a:lnTo>
                        <a:pt x="951" y="389"/>
                      </a:lnTo>
                      <a:lnTo>
                        <a:pt x="951" y="391"/>
                      </a:lnTo>
                      <a:lnTo>
                        <a:pt x="949" y="402"/>
                      </a:lnTo>
                      <a:lnTo>
                        <a:pt x="949" y="404"/>
                      </a:lnTo>
                      <a:lnTo>
                        <a:pt x="947" y="404"/>
                      </a:lnTo>
                      <a:lnTo>
                        <a:pt x="947" y="406"/>
                      </a:lnTo>
                      <a:lnTo>
                        <a:pt x="949" y="406"/>
                      </a:lnTo>
                      <a:lnTo>
                        <a:pt x="949" y="407"/>
                      </a:lnTo>
                      <a:lnTo>
                        <a:pt x="949" y="406"/>
                      </a:lnTo>
                      <a:lnTo>
                        <a:pt x="949" y="407"/>
                      </a:lnTo>
                      <a:lnTo>
                        <a:pt x="951" y="407"/>
                      </a:lnTo>
                      <a:lnTo>
                        <a:pt x="952" y="407"/>
                      </a:lnTo>
                      <a:lnTo>
                        <a:pt x="954" y="409"/>
                      </a:lnTo>
                      <a:lnTo>
                        <a:pt x="956" y="409"/>
                      </a:lnTo>
                      <a:lnTo>
                        <a:pt x="958" y="409"/>
                      </a:lnTo>
                      <a:lnTo>
                        <a:pt x="958" y="411"/>
                      </a:lnTo>
                      <a:lnTo>
                        <a:pt x="958" y="414"/>
                      </a:lnTo>
                      <a:lnTo>
                        <a:pt x="958" y="417"/>
                      </a:lnTo>
                      <a:lnTo>
                        <a:pt x="959" y="419"/>
                      </a:lnTo>
                      <a:lnTo>
                        <a:pt x="959" y="420"/>
                      </a:lnTo>
                      <a:lnTo>
                        <a:pt x="961" y="420"/>
                      </a:lnTo>
                      <a:lnTo>
                        <a:pt x="961" y="422"/>
                      </a:lnTo>
                      <a:lnTo>
                        <a:pt x="959" y="422"/>
                      </a:lnTo>
                      <a:lnTo>
                        <a:pt x="959" y="424"/>
                      </a:lnTo>
                      <a:lnTo>
                        <a:pt x="958" y="424"/>
                      </a:lnTo>
                      <a:lnTo>
                        <a:pt x="958" y="422"/>
                      </a:lnTo>
                      <a:lnTo>
                        <a:pt x="958" y="424"/>
                      </a:lnTo>
                      <a:lnTo>
                        <a:pt x="956" y="424"/>
                      </a:lnTo>
                      <a:lnTo>
                        <a:pt x="952" y="424"/>
                      </a:lnTo>
                      <a:lnTo>
                        <a:pt x="951" y="424"/>
                      </a:lnTo>
                      <a:lnTo>
                        <a:pt x="944" y="424"/>
                      </a:lnTo>
                      <a:lnTo>
                        <a:pt x="942" y="424"/>
                      </a:lnTo>
                      <a:lnTo>
                        <a:pt x="942" y="422"/>
                      </a:lnTo>
                      <a:lnTo>
                        <a:pt x="941" y="422"/>
                      </a:lnTo>
                      <a:lnTo>
                        <a:pt x="941" y="420"/>
                      </a:lnTo>
                      <a:lnTo>
                        <a:pt x="939" y="420"/>
                      </a:lnTo>
                      <a:lnTo>
                        <a:pt x="930" y="420"/>
                      </a:lnTo>
                      <a:lnTo>
                        <a:pt x="930" y="422"/>
                      </a:lnTo>
                      <a:lnTo>
                        <a:pt x="929" y="422"/>
                      </a:lnTo>
                      <a:lnTo>
                        <a:pt x="930" y="424"/>
                      </a:lnTo>
                      <a:lnTo>
                        <a:pt x="929" y="424"/>
                      </a:lnTo>
                      <a:lnTo>
                        <a:pt x="929" y="425"/>
                      </a:lnTo>
                      <a:lnTo>
                        <a:pt x="930" y="425"/>
                      </a:lnTo>
                      <a:lnTo>
                        <a:pt x="929" y="425"/>
                      </a:lnTo>
                      <a:lnTo>
                        <a:pt x="930" y="425"/>
                      </a:lnTo>
                      <a:lnTo>
                        <a:pt x="930" y="427"/>
                      </a:lnTo>
                      <a:lnTo>
                        <a:pt x="932" y="427"/>
                      </a:lnTo>
                      <a:lnTo>
                        <a:pt x="932" y="425"/>
                      </a:lnTo>
                      <a:lnTo>
                        <a:pt x="934" y="425"/>
                      </a:lnTo>
                      <a:lnTo>
                        <a:pt x="934" y="427"/>
                      </a:lnTo>
                      <a:lnTo>
                        <a:pt x="936" y="427"/>
                      </a:lnTo>
                      <a:lnTo>
                        <a:pt x="936" y="425"/>
                      </a:lnTo>
                      <a:lnTo>
                        <a:pt x="936" y="427"/>
                      </a:lnTo>
                      <a:lnTo>
                        <a:pt x="937" y="425"/>
                      </a:lnTo>
                      <a:lnTo>
                        <a:pt x="937" y="427"/>
                      </a:lnTo>
                      <a:lnTo>
                        <a:pt x="937" y="429"/>
                      </a:lnTo>
                      <a:lnTo>
                        <a:pt x="939" y="429"/>
                      </a:lnTo>
                      <a:lnTo>
                        <a:pt x="941" y="429"/>
                      </a:lnTo>
                      <a:lnTo>
                        <a:pt x="941" y="430"/>
                      </a:lnTo>
                      <a:lnTo>
                        <a:pt x="942" y="430"/>
                      </a:lnTo>
                      <a:lnTo>
                        <a:pt x="942" y="432"/>
                      </a:lnTo>
                      <a:lnTo>
                        <a:pt x="941" y="432"/>
                      </a:lnTo>
                      <a:lnTo>
                        <a:pt x="942" y="432"/>
                      </a:lnTo>
                      <a:lnTo>
                        <a:pt x="942" y="434"/>
                      </a:lnTo>
                      <a:lnTo>
                        <a:pt x="944" y="434"/>
                      </a:lnTo>
                      <a:lnTo>
                        <a:pt x="946" y="434"/>
                      </a:lnTo>
                      <a:lnTo>
                        <a:pt x="946" y="435"/>
                      </a:lnTo>
                      <a:lnTo>
                        <a:pt x="947" y="435"/>
                      </a:lnTo>
                      <a:lnTo>
                        <a:pt x="947" y="437"/>
                      </a:lnTo>
                      <a:lnTo>
                        <a:pt x="949" y="437"/>
                      </a:lnTo>
                      <a:lnTo>
                        <a:pt x="951" y="437"/>
                      </a:lnTo>
                      <a:lnTo>
                        <a:pt x="949" y="438"/>
                      </a:lnTo>
                      <a:lnTo>
                        <a:pt x="947" y="438"/>
                      </a:lnTo>
                      <a:lnTo>
                        <a:pt x="947" y="440"/>
                      </a:lnTo>
                      <a:lnTo>
                        <a:pt x="946" y="440"/>
                      </a:lnTo>
                      <a:lnTo>
                        <a:pt x="946" y="442"/>
                      </a:lnTo>
                      <a:lnTo>
                        <a:pt x="947" y="442"/>
                      </a:lnTo>
                      <a:lnTo>
                        <a:pt x="947" y="443"/>
                      </a:lnTo>
                      <a:lnTo>
                        <a:pt x="946" y="443"/>
                      </a:lnTo>
                      <a:lnTo>
                        <a:pt x="947" y="443"/>
                      </a:lnTo>
                      <a:lnTo>
                        <a:pt x="947" y="445"/>
                      </a:lnTo>
                      <a:lnTo>
                        <a:pt x="949" y="445"/>
                      </a:lnTo>
                      <a:lnTo>
                        <a:pt x="951" y="445"/>
                      </a:lnTo>
                      <a:lnTo>
                        <a:pt x="951" y="447"/>
                      </a:lnTo>
                      <a:lnTo>
                        <a:pt x="951" y="445"/>
                      </a:lnTo>
                      <a:lnTo>
                        <a:pt x="951" y="447"/>
                      </a:lnTo>
                      <a:lnTo>
                        <a:pt x="952" y="447"/>
                      </a:lnTo>
                      <a:lnTo>
                        <a:pt x="952" y="448"/>
                      </a:lnTo>
                      <a:lnTo>
                        <a:pt x="954" y="448"/>
                      </a:lnTo>
                      <a:lnTo>
                        <a:pt x="954" y="450"/>
                      </a:lnTo>
                      <a:lnTo>
                        <a:pt x="956" y="450"/>
                      </a:lnTo>
                      <a:lnTo>
                        <a:pt x="958" y="452"/>
                      </a:lnTo>
                      <a:lnTo>
                        <a:pt x="956" y="452"/>
                      </a:lnTo>
                      <a:lnTo>
                        <a:pt x="958" y="452"/>
                      </a:lnTo>
                      <a:lnTo>
                        <a:pt x="958" y="453"/>
                      </a:lnTo>
                      <a:lnTo>
                        <a:pt x="958" y="455"/>
                      </a:lnTo>
                      <a:lnTo>
                        <a:pt x="959" y="457"/>
                      </a:lnTo>
                      <a:lnTo>
                        <a:pt x="959" y="455"/>
                      </a:lnTo>
                      <a:lnTo>
                        <a:pt x="959" y="457"/>
                      </a:lnTo>
                      <a:lnTo>
                        <a:pt x="959" y="458"/>
                      </a:lnTo>
                      <a:lnTo>
                        <a:pt x="959" y="460"/>
                      </a:lnTo>
                      <a:lnTo>
                        <a:pt x="958" y="460"/>
                      </a:lnTo>
                      <a:lnTo>
                        <a:pt x="958" y="461"/>
                      </a:lnTo>
                      <a:lnTo>
                        <a:pt x="959" y="461"/>
                      </a:lnTo>
                      <a:lnTo>
                        <a:pt x="961" y="461"/>
                      </a:lnTo>
                      <a:lnTo>
                        <a:pt x="961" y="463"/>
                      </a:lnTo>
                      <a:lnTo>
                        <a:pt x="959" y="463"/>
                      </a:lnTo>
                      <a:lnTo>
                        <a:pt x="961" y="465"/>
                      </a:lnTo>
                      <a:lnTo>
                        <a:pt x="959" y="465"/>
                      </a:lnTo>
                      <a:lnTo>
                        <a:pt x="959" y="463"/>
                      </a:lnTo>
                      <a:lnTo>
                        <a:pt x="959" y="465"/>
                      </a:lnTo>
                      <a:lnTo>
                        <a:pt x="958" y="465"/>
                      </a:lnTo>
                      <a:lnTo>
                        <a:pt x="959" y="465"/>
                      </a:lnTo>
                      <a:lnTo>
                        <a:pt x="959" y="466"/>
                      </a:lnTo>
                      <a:lnTo>
                        <a:pt x="961" y="466"/>
                      </a:lnTo>
                      <a:lnTo>
                        <a:pt x="961" y="468"/>
                      </a:lnTo>
                      <a:lnTo>
                        <a:pt x="959" y="468"/>
                      </a:lnTo>
                      <a:lnTo>
                        <a:pt x="961" y="470"/>
                      </a:lnTo>
                      <a:lnTo>
                        <a:pt x="959" y="470"/>
                      </a:lnTo>
                      <a:lnTo>
                        <a:pt x="959" y="471"/>
                      </a:lnTo>
                      <a:lnTo>
                        <a:pt x="958" y="471"/>
                      </a:lnTo>
                      <a:lnTo>
                        <a:pt x="959" y="471"/>
                      </a:lnTo>
                      <a:lnTo>
                        <a:pt x="959" y="473"/>
                      </a:lnTo>
                      <a:lnTo>
                        <a:pt x="959" y="475"/>
                      </a:lnTo>
                      <a:lnTo>
                        <a:pt x="958" y="475"/>
                      </a:lnTo>
                      <a:lnTo>
                        <a:pt x="956" y="476"/>
                      </a:lnTo>
                      <a:lnTo>
                        <a:pt x="956" y="478"/>
                      </a:lnTo>
                      <a:lnTo>
                        <a:pt x="956" y="479"/>
                      </a:lnTo>
                      <a:lnTo>
                        <a:pt x="956" y="481"/>
                      </a:lnTo>
                      <a:lnTo>
                        <a:pt x="958" y="481"/>
                      </a:lnTo>
                      <a:lnTo>
                        <a:pt x="958" y="483"/>
                      </a:lnTo>
                      <a:lnTo>
                        <a:pt x="956" y="483"/>
                      </a:lnTo>
                      <a:lnTo>
                        <a:pt x="956" y="484"/>
                      </a:lnTo>
                      <a:lnTo>
                        <a:pt x="954" y="486"/>
                      </a:lnTo>
                      <a:lnTo>
                        <a:pt x="952" y="486"/>
                      </a:lnTo>
                      <a:lnTo>
                        <a:pt x="951" y="486"/>
                      </a:lnTo>
                      <a:lnTo>
                        <a:pt x="949" y="484"/>
                      </a:lnTo>
                      <a:lnTo>
                        <a:pt x="947" y="484"/>
                      </a:lnTo>
                      <a:lnTo>
                        <a:pt x="947" y="486"/>
                      </a:lnTo>
                      <a:lnTo>
                        <a:pt x="949" y="486"/>
                      </a:lnTo>
                      <a:lnTo>
                        <a:pt x="949" y="488"/>
                      </a:lnTo>
                      <a:lnTo>
                        <a:pt x="949" y="489"/>
                      </a:lnTo>
                      <a:lnTo>
                        <a:pt x="949" y="491"/>
                      </a:lnTo>
                      <a:lnTo>
                        <a:pt x="947" y="493"/>
                      </a:lnTo>
                      <a:lnTo>
                        <a:pt x="946" y="493"/>
                      </a:lnTo>
                      <a:lnTo>
                        <a:pt x="946" y="494"/>
                      </a:lnTo>
                      <a:lnTo>
                        <a:pt x="944" y="494"/>
                      </a:lnTo>
                      <a:lnTo>
                        <a:pt x="942" y="494"/>
                      </a:lnTo>
                      <a:lnTo>
                        <a:pt x="942" y="496"/>
                      </a:lnTo>
                      <a:lnTo>
                        <a:pt x="942" y="498"/>
                      </a:lnTo>
                      <a:lnTo>
                        <a:pt x="941" y="498"/>
                      </a:lnTo>
                      <a:lnTo>
                        <a:pt x="941" y="499"/>
                      </a:lnTo>
                      <a:lnTo>
                        <a:pt x="939" y="499"/>
                      </a:lnTo>
                      <a:lnTo>
                        <a:pt x="939" y="501"/>
                      </a:lnTo>
                      <a:lnTo>
                        <a:pt x="937" y="499"/>
                      </a:lnTo>
                      <a:lnTo>
                        <a:pt x="937" y="501"/>
                      </a:lnTo>
                      <a:lnTo>
                        <a:pt x="936" y="502"/>
                      </a:lnTo>
                      <a:lnTo>
                        <a:pt x="936" y="504"/>
                      </a:lnTo>
                      <a:lnTo>
                        <a:pt x="936" y="506"/>
                      </a:lnTo>
                      <a:lnTo>
                        <a:pt x="936" y="507"/>
                      </a:lnTo>
                      <a:lnTo>
                        <a:pt x="934" y="507"/>
                      </a:lnTo>
                      <a:lnTo>
                        <a:pt x="936" y="509"/>
                      </a:lnTo>
                      <a:lnTo>
                        <a:pt x="936" y="511"/>
                      </a:lnTo>
                      <a:lnTo>
                        <a:pt x="937" y="512"/>
                      </a:lnTo>
                      <a:lnTo>
                        <a:pt x="937" y="514"/>
                      </a:lnTo>
                      <a:lnTo>
                        <a:pt x="936" y="514"/>
                      </a:lnTo>
                      <a:lnTo>
                        <a:pt x="936" y="516"/>
                      </a:lnTo>
                      <a:lnTo>
                        <a:pt x="936" y="517"/>
                      </a:lnTo>
                      <a:lnTo>
                        <a:pt x="936" y="519"/>
                      </a:lnTo>
                      <a:lnTo>
                        <a:pt x="936" y="521"/>
                      </a:lnTo>
                      <a:lnTo>
                        <a:pt x="934" y="521"/>
                      </a:lnTo>
                      <a:lnTo>
                        <a:pt x="934" y="522"/>
                      </a:lnTo>
                      <a:lnTo>
                        <a:pt x="932" y="522"/>
                      </a:lnTo>
                      <a:lnTo>
                        <a:pt x="930" y="522"/>
                      </a:lnTo>
                      <a:lnTo>
                        <a:pt x="930" y="524"/>
                      </a:lnTo>
                      <a:lnTo>
                        <a:pt x="930" y="525"/>
                      </a:lnTo>
                      <a:lnTo>
                        <a:pt x="929" y="525"/>
                      </a:lnTo>
                      <a:lnTo>
                        <a:pt x="927" y="525"/>
                      </a:lnTo>
                      <a:lnTo>
                        <a:pt x="925" y="525"/>
                      </a:lnTo>
                      <a:lnTo>
                        <a:pt x="924" y="525"/>
                      </a:lnTo>
                      <a:lnTo>
                        <a:pt x="924" y="527"/>
                      </a:lnTo>
                      <a:lnTo>
                        <a:pt x="924" y="529"/>
                      </a:lnTo>
                      <a:lnTo>
                        <a:pt x="922" y="529"/>
                      </a:lnTo>
                      <a:lnTo>
                        <a:pt x="924" y="530"/>
                      </a:lnTo>
                      <a:lnTo>
                        <a:pt x="924" y="532"/>
                      </a:lnTo>
                      <a:lnTo>
                        <a:pt x="922" y="534"/>
                      </a:lnTo>
                      <a:lnTo>
                        <a:pt x="924" y="534"/>
                      </a:lnTo>
                      <a:lnTo>
                        <a:pt x="922" y="534"/>
                      </a:lnTo>
                      <a:lnTo>
                        <a:pt x="922" y="535"/>
                      </a:lnTo>
                      <a:lnTo>
                        <a:pt x="920" y="537"/>
                      </a:lnTo>
                      <a:lnTo>
                        <a:pt x="920" y="539"/>
                      </a:lnTo>
                      <a:lnTo>
                        <a:pt x="920" y="540"/>
                      </a:lnTo>
                      <a:lnTo>
                        <a:pt x="920" y="542"/>
                      </a:lnTo>
                      <a:lnTo>
                        <a:pt x="919" y="542"/>
                      </a:lnTo>
                      <a:lnTo>
                        <a:pt x="920" y="542"/>
                      </a:lnTo>
                      <a:lnTo>
                        <a:pt x="919" y="542"/>
                      </a:lnTo>
                      <a:lnTo>
                        <a:pt x="919" y="544"/>
                      </a:lnTo>
                      <a:lnTo>
                        <a:pt x="919" y="545"/>
                      </a:lnTo>
                      <a:lnTo>
                        <a:pt x="917" y="545"/>
                      </a:lnTo>
                      <a:lnTo>
                        <a:pt x="917" y="547"/>
                      </a:lnTo>
                      <a:lnTo>
                        <a:pt x="917" y="548"/>
                      </a:lnTo>
                      <a:lnTo>
                        <a:pt x="915" y="548"/>
                      </a:lnTo>
                      <a:lnTo>
                        <a:pt x="915" y="550"/>
                      </a:lnTo>
                      <a:lnTo>
                        <a:pt x="914" y="548"/>
                      </a:lnTo>
                      <a:lnTo>
                        <a:pt x="914" y="550"/>
                      </a:lnTo>
                      <a:lnTo>
                        <a:pt x="890" y="550"/>
                      </a:lnTo>
                      <a:lnTo>
                        <a:pt x="882" y="550"/>
                      </a:lnTo>
                      <a:lnTo>
                        <a:pt x="880" y="550"/>
                      </a:lnTo>
                      <a:lnTo>
                        <a:pt x="880" y="552"/>
                      </a:lnTo>
                      <a:lnTo>
                        <a:pt x="880" y="553"/>
                      </a:lnTo>
                      <a:lnTo>
                        <a:pt x="880" y="555"/>
                      </a:lnTo>
                      <a:lnTo>
                        <a:pt x="878" y="557"/>
                      </a:lnTo>
                      <a:lnTo>
                        <a:pt x="880" y="557"/>
                      </a:lnTo>
                      <a:lnTo>
                        <a:pt x="878" y="558"/>
                      </a:lnTo>
                      <a:lnTo>
                        <a:pt x="876" y="558"/>
                      </a:lnTo>
                      <a:lnTo>
                        <a:pt x="876" y="560"/>
                      </a:lnTo>
                      <a:lnTo>
                        <a:pt x="875" y="560"/>
                      </a:lnTo>
                      <a:lnTo>
                        <a:pt x="875" y="562"/>
                      </a:lnTo>
                      <a:lnTo>
                        <a:pt x="873" y="562"/>
                      </a:lnTo>
                      <a:lnTo>
                        <a:pt x="871" y="562"/>
                      </a:lnTo>
                      <a:lnTo>
                        <a:pt x="873" y="562"/>
                      </a:lnTo>
                      <a:lnTo>
                        <a:pt x="873" y="563"/>
                      </a:lnTo>
                      <a:lnTo>
                        <a:pt x="871" y="563"/>
                      </a:lnTo>
                      <a:lnTo>
                        <a:pt x="871" y="565"/>
                      </a:lnTo>
                      <a:lnTo>
                        <a:pt x="873" y="567"/>
                      </a:lnTo>
                      <a:lnTo>
                        <a:pt x="873" y="568"/>
                      </a:lnTo>
                      <a:lnTo>
                        <a:pt x="873" y="570"/>
                      </a:lnTo>
                      <a:lnTo>
                        <a:pt x="875" y="570"/>
                      </a:lnTo>
                      <a:lnTo>
                        <a:pt x="876" y="570"/>
                      </a:lnTo>
                      <a:lnTo>
                        <a:pt x="876" y="571"/>
                      </a:lnTo>
                      <a:lnTo>
                        <a:pt x="876" y="573"/>
                      </a:lnTo>
                      <a:lnTo>
                        <a:pt x="876" y="575"/>
                      </a:lnTo>
                      <a:lnTo>
                        <a:pt x="876" y="576"/>
                      </a:lnTo>
                      <a:lnTo>
                        <a:pt x="876" y="578"/>
                      </a:lnTo>
                      <a:lnTo>
                        <a:pt x="876" y="580"/>
                      </a:lnTo>
                      <a:lnTo>
                        <a:pt x="876" y="581"/>
                      </a:lnTo>
                      <a:lnTo>
                        <a:pt x="875" y="581"/>
                      </a:lnTo>
                      <a:lnTo>
                        <a:pt x="875" y="583"/>
                      </a:lnTo>
                      <a:lnTo>
                        <a:pt x="875" y="581"/>
                      </a:lnTo>
                      <a:lnTo>
                        <a:pt x="875" y="583"/>
                      </a:lnTo>
                      <a:lnTo>
                        <a:pt x="873" y="583"/>
                      </a:lnTo>
                      <a:lnTo>
                        <a:pt x="873" y="585"/>
                      </a:lnTo>
                      <a:lnTo>
                        <a:pt x="873" y="586"/>
                      </a:lnTo>
                      <a:lnTo>
                        <a:pt x="871" y="588"/>
                      </a:lnTo>
                      <a:lnTo>
                        <a:pt x="873" y="588"/>
                      </a:lnTo>
                      <a:lnTo>
                        <a:pt x="875" y="588"/>
                      </a:lnTo>
                      <a:lnTo>
                        <a:pt x="875" y="590"/>
                      </a:lnTo>
                      <a:lnTo>
                        <a:pt x="876" y="590"/>
                      </a:lnTo>
                      <a:lnTo>
                        <a:pt x="876" y="591"/>
                      </a:lnTo>
                      <a:lnTo>
                        <a:pt x="875" y="591"/>
                      </a:lnTo>
                      <a:lnTo>
                        <a:pt x="875" y="593"/>
                      </a:lnTo>
                      <a:lnTo>
                        <a:pt x="873" y="593"/>
                      </a:lnTo>
                      <a:lnTo>
                        <a:pt x="873" y="594"/>
                      </a:lnTo>
                      <a:lnTo>
                        <a:pt x="871" y="594"/>
                      </a:lnTo>
                      <a:lnTo>
                        <a:pt x="871" y="596"/>
                      </a:lnTo>
                      <a:lnTo>
                        <a:pt x="871" y="598"/>
                      </a:lnTo>
                      <a:lnTo>
                        <a:pt x="871" y="599"/>
                      </a:lnTo>
                      <a:lnTo>
                        <a:pt x="870" y="599"/>
                      </a:lnTo>
                      <a:lnTo>
                        <a:pt x="870" y="601"/>
                      </a:lnTo>
                      <a:lnTo>
                        <a:pt x="870" y="603"/>
                      </a:lnTo>
                      <a:lnTo>
                        <a:pt x="868" y="603"/>
                      </a:lnTo>
                      <a:lnTo>
                        <a:pt x="868" y="604"/>
                      </a:lnTo>
                      <a:lnTo>
                        <a:pt x="866" y="604"/>
                      </a:lnTo>
                      <a:lnTo>
                        <a:pt x="865" y="604"/>
                      </a:lnTo>
                      <a:lnTo>
                        <a:pt x="865" y="606"/>
                      </a:lnTo>
                      <a:lnTo>
                        <a:pt x="865" y="608"/>
                      </a:lnTo>
                      <a:lnTo>
                        <a:pt x="865" y="609"/>
                      </a:lnTo>
                      <a:lnTo>
                        <a:pt x="863" y="609"/>
                      </a:lnTo>
                      <a:lnTo>
                        <a:pt x="863" y="611"/>
                      </a:lnTo>
                      <a:lnTo>
                        <a:pt x="863" y="613"/>
                      </a:lnTo>
                      <a:lnTo>
                        <a:pt x="861" y="613"/>
                      </a:lnTo>
                      <a:lnTo>
                        <a:pt x="861" y="614"/>
                      </a:lnTo>
                      <a:lnTo>
                        <a:pt x="861" y="616"/>
                      </a:lnTo>
                      <a:lnTo>
                        <a:pt x="860" y="616"/>
                      </a:lnTo>
                      <a:lnTo>
                        <a:pt x="860" y="617"/>
                      </a:lnTo>
                      <a:lnTo>
                        <a:pt x="858" y="617"/>
                      </a:lnTo>
                      <a:lnTo>
                        <a:pt x="858" y="616"/>
                      </a:lnTo>
                      <a:lnTo>
                        <a:pt x="858" y="617"/>
                      </a:lnTo>
                      <a:lnTo>
                        <a:pt x="856" y="617"/>
                      </a:lnTo>
                      <a:lnTo>
                        <a:pt x="856" y="616"/>
                      </a:lnTo>
                      <a:lnTo>
                        <a:pt x="854" y="617"/>
                      </a:lnTo>
                      <a:lnTo>
                        <a:pt x="854" y="616"/>
                      </a:lnTo>
                      <a:lnTo>
                        <a:pt x="853" y="617"/>
                      </a:lnTo>
                      <a:lnTo>
                        <a:pt x="851" y="617"/>
                      </a:lnTo>
                      <a:lnTo>
                        <a:pt x="849" y="617"/>
                      </a:lnTo>
                      <a:lnTo>
                        <a:pt x="848" y="617"/>
                      </a:lnTo>
                      <a:lnTo>
                        <a:pt x="848" y="619"/>
                      </a:lnTo>
                      <a:lnTo>
                        <a:pt x="846" y="619"/>
                      </a:lnTo>
                      <a:lnTo>
                        <a:pt x="848" y="619"/>
                      </a:lnTo>
                      <a:lnTo>
                        <a:pt x="846" y="619"/>
                      </a:lnTo>
                      <a:lnTo>
                        <a:pt x="844" y="619"/>
                      </a:lnTo>
                      <a:lnTo>
                        <a:pt x="844" y="621"/>
                      </a:lnTo>
                      <a:lnTo>
                        <a:pt x="843" y="621"/>
                      </a:lnTo>
                      <a:lnTo>
                        <a:pt x="844" y="621"/>
                      </a:lnTo>
                      <a:lnTo>
                        <a:pt x="843" y="621"/>
                      </a:lnTo>
                      <a:lnTo>
                        <a:pt x="844" y="622"/>
                      </a:lnTo>
                      <a:lnTo>
                        <a:pt x="846" y="622"/>
                      </a:lnTo>
                      <a:lnTo>
                        <a:pt x="846" y="624"/>
                      </a:lnTo>
                      <a:lnTo>
                        <a:pt x="848" y="624"/>
                      </a:lnTo>
                      <a:lnTo>
                        <a:pt x="849" y="626"/>
                      </a:lnTo>
                      <a:lnTo>
                        <a:pt x="849" y="627"/>
                      </a:lnTo>
                      <a:lnTo>
                        <a:pt x="848" y="626"/>
                      </a:lnTo>
                      <a:lnTo>
                        <a:pt x="848" y="627"/>
                      </a:lnTo>
                      <a:lnTo>
                        <a:pt x="848" y="629"/>
                      </a:lnTo>
                      <a:lnTo>
                        <a:pt x="846" y="629"/>
                      </a:lnTo>
                      <a:lnTo>
                        <a:pt x="846" y="631"/>
                      </a:lnTo>
                      <a:lnTo>
                        <a:pt x="844" y="631"/>
                      </a:lnTo>
                      <a:lnTo>
                        <a:pt x="846" y="631"/>
                      </a:lnTo>
                      <a:lnTo>
                        <a:pt x="846" y="632"/>
                      </a:lnTo>
                      <a:lnTo>
                        <a:pt x="844" y="632"/>
                      </a:lnTo>
                      <a:lnTo>
                        <a:pt x="843" y="632"/>
                      </a:lnTo>
                      <a:lnTo>
                        <a:pt x="841" y="634"/>
                      </a:lnTo>
                      <a:lnTo>
                        <a:pt x="841" y="636"/>
                      </a:lnTo>
                      <a:lnTo>
                        <a:pt x="841" y="637"/>
                      </a:lnTo>
                      <a:lnTo>
                        <a:pt x="839" y="637"/>
                      </a:lnTo>
                      <a:lnTo>
                        <a:pt x="839" y="639"/>
                      </a:lnTo>
                      <a:lnTo>
                        <a:pt x="838" y="640"/>
                      </a:lnTo>
                      <a:lnTo>
                        <a:pt x="839" y="640"/>
                      </a:lnTo>
                      <a:lnTo>
                        <a:pt x="839" y="642"/>
                      </a:lnTo>
                      <a:lnTo>
                        <a:pt x="839" y="644"/>
                      </a:lnTo>
                      <a:lnTo>
                        <a:pt x="839" y="645"/>
                      </a:lnTo>
                      <a:lnTo>
                        <a:pt x="839" y="647"/>
                      </a:lnTo>
                      <a:lnTo>
                        <a:pt x="838" y="647"/>
                      </a:lnTo>
                      <a:lnTo>
                        <a:pt x="838" y="649"/>
                      </a:lnTo>
                      <a:lnTo>
                        <a:pt x="836" y="649"/>
                      </a:lnTo>
                      <a:lnTo>
                        <a:pt x="836" y="650"/>
                      </a:lnTo>
                      <a:lnTo>
                        <a:pt x="836" y="652"/>
                      </a:lnTo>
                      <a:lnTo>
                        <a:pt x="836" y="654"/>
                      </a:lnTo>
                      <a:lnTo>
                        <a:pt x="836" y="655"/>
                      </a:lnTo>
                      <a:lnTo>
                        <a:pt x="836" y="657"/>
                      </a:lnTo>
                      <a:lnTo>
                        <a:pt x="834" y="657"/>
                      </a:lnTo>
                      <a:lnTo>
                        <a:pt x="834" y="659"/>
                      </a:lnTo>
                      <a:lnTo>
                        <a:pt x="834" y="660"/>
                      </a:lnTo>
                      <a:lnTo>
                        <a:pt x="836" y="660"/>
                      </a:lnTo>
                      <a:lnTo>
                        <a:pt x="834" y="660"/>
                      </a:lnTo>
                      <a:lnTo>
                        <a:pt x="834" y="662"/>
                      </a:lnTo>
                      <a:lnTo>
                        <a:pt x="833" y="662"/>
                      </a:lnTo>
                      <a:lnTo>
                        <a:pt x="833" y="660"/>
                      </a:lnTo>
                      <a:lnTo>
                        <a:pt x="831" y="660"/>
                      </a:lnTo>
                      <a:lnTo>
                        <a:pt x="831" y="662"/>
                      </a:lnTo>
                      <a:lnTo>
                        <a:pt x="833" y="662"/>
                      </a:lnTo>
                      <a:lnTo>
                        <a:pt x="831" y="662"/>
                      </a:lnTo>
                      <a:lnTo>
                        <a:pt x="831" y="663"/>
                      </a:lnTo>
                      <a:lnTo>
                        <a:pt x="831" y="665"/>
                      </a:lnTo>
                      <a:lnTo>
                        <a:pt x="831" y="667"/>
                      </a:lnTo>
                      <a:lnTo>
                        <a:pt x="833" y="667"/>
                      </a:lnTo>
                      <a:lnTo>
                        <a:pt x="833" y="668"/>
                      </a:lnTo>
                      <a:lnTo>
                        <a:pt x="834" y="668"/>
                      </a:lnTo>
                      <a:lnTo>
                        <a:pt x="833" y="668"/>
                      </a:lnTo>
                      <a:lnTo>
                        <a:pt x="833" y="670"/>
                      </a:lnTo>
                      <a:lnTo>
                        <a:pt x="831" y="670"/>
                      </a:lnTo>
                      <a:lnTo>
                        <a:pt x="831" y="672"/>
                      </a:lnTo>
                      <a:lnTo>
                        <a:pt x="829" y="672"/>
                      </a:lnTo>
                      <a:lnTo>
                        <a:pt x="829" y="673"/>
                      </a:lnTo>
                      <a:lnTo>
                        <a:pt x="829" y="675"/>
                      </a:lnTo>
                      <a:lnTo>
                        <a:pt x="827" y="675"/>
                      </a:lnTo>
                      <a:lnTo>
                        <a:pt x="826" y="675"/>
                      </a:lnTo>
                      <a:lnTo>
                        <a:pt x="827" y="675"/>
                      </a:lnTo>
                      <a:lnTo>
                        <a:pt x="827" y="677"/>
                      </a:lnTo>
                      <a:lnTo>
                        <a:pt x="826" y="677"/>
                      </a:lnTo>
                      <a:lnTo>
                        <a:pt x="824" y="678"/>
                      </a:lnTo>
                      <a:lnTo>
                        <a:pt x="824" y="680"/>
                      </a:lnTo>
                      <a:lnTo>
                        <a:pt x="822" y="680"/>
                      </a:lnTo>
                      <a:lnTo>
                        <a:pt x="822" y="681"/>
                      </a:lnTo>
                      <a:lnTo>
                        <a:pt x="824" y="680"/>
                      </a:lnTo>
                      <a:lnTo>
                        <a:pt x="824" y="681"/>
                      </a:lnTo>
                      <a:lnTo>
                        <a:pt x="822" y="681"/>
                      </a:lnTo>
                      <a:lnTo>
                        <a:pt x="822" y="683"/>
                      </a:lnTo>
                      <a:lnTo>
                        <a:pt x="824" y="683"/>
                      </a:lnTo>
                      <a:lnTo>
                        <a:pt x="826" y="683"/>
                      </a:lnTo>
                      <a:lnTo>
                        <a:pt x="826" y="685"/>
                      </a:lnTo>
                      <a:lnTo>
                        <a:pt x="827" y="683"/>
                      </a:lnTo>
                      <a:lnTo>
                        <a:pt x="827" y="685"/>
                      </a:lnTo>
                      <a:lnTo>
                        <a:pt x="827" y="683"/>
                      </a:lnTo>
                      <a:lnTo>
                        <a:pt x="829" y="685"/>
                      </a:lnTo>
                      <a:lnTo>
                        <a:pt x="829" y="683"/>
                      </a:lnTo>
                      <a:lnTo>
                        <a:pt x="829" y="685"/>
                      </a:lnTo>
                      <a:lnTo>
                        <a:pt x="829" y="683"/>
                      </a:lnTo>
                      <a:lnTo>
                        <a:pt x="831" y="685"/>
                      </a:lnTo>
                      <a:lnTo>
                        <a:pt x="831" y="686"/>
                      </a:lnTo>
                      <a:lnTo>
                        <a:pt x="833" y="686"/>
                      </a:lnTo>
                      <a:lnTo>
                        <a:pt x="833" y="688"/>
                      </a:lnTo>
                      <a:lnTo>
                        <a:pt x="833" y="690"/>
                      </a:lnTo>
                      <a:lnTo>
                        <a:pt x="831" y="690"/>
                      </a:lnTo>
                      <a:lnTo>
                        <a:pt x="829" y="690"/>
                      </a:lnTo>
                      <a:lnTo>
                        <a:pt x="827" y="691"/>
                      </a:lnTo>
                      <a:lnTo>
                        <a:pt x="826" y="691"/>
                      </a:lnTo>
                      <a:lnTo>
                        <a:pt x="824" y="691"/>
                      </a:lnTo>
                      <a:lnTo>
                        <a:pt x="822" y="691"/>
                      </a:lnTo>
                      <a:lnTo>
                        <a:pt x="822" y="693"/>
                      </a:lnTo>
                      <a:lnTo>
                        <a:pt x="821" y="693"/>
                      </a:lnTo>
                      <a:lnTo>
                        <a:pt x="817" y="695"/>
                      </a:lnTo>
                      <a:lnTo>
                        <a:pt x="816" y="695"/>
                      </a:lnTo>
                      <a:lnTo>
                        <a:pt x="814" y="696"/>
                      </a:lnTo>
                      <a:lnTo>
                        <a:pt x="812" y="696"/>
                      </a:lnTo>
                      <a:lnTo>
                        <a:pt x="811" y="698"/>
                      </a:lnTo>
                      <a:lnTo>
                        <a:pt x="807" y="698"/>
                      </a:lnTo>
                      <a:lnTo>
                        <a:pt x="802" y="701"/>
                      </a:lnTo>
                      <a:lnTo>
                        <a:pt x="800" y="703"/>
                      </a:lnTo>
                      <a:lnTo>
                        <a:pt x="800" y="701"/>
                      </a:lnTo>
                      <a:lnTo>
                        <a:pt x="800" y="703"/>
                      </a:lnTo>
                      <a:lnTo>
                        <a:pt x="799" y="703"/>
                      </a:lnTo>
                      <a:lnTo>
                        <a:pt x="797" y="703"/>
                      </a:lnTo>
                      <a:lnTo>
                        <a:pt x="795" y="703"/>
                      </a:lnTo>
                      <a:lnTo>
                        <a:pt x="794" y="704"/>
                      </a:lnTo>
                      <a:lnTo>
                        <a:pt x="790" y="706"/>
                      </a:lnTo>
                      <a:lnTo>
                        <a:pt x="787" y="708"/>
                      </a:lnTo>
                      <a:lnTo>
                        <a:pt x="785" y="708"/>
                      </a:lnTo>
                      <a:lnTo>
                        <a:pt x="784" y="708"/>
                      </a:lnTo>
                      <a:lnTo>
                        <a:pt x="782" y="709"/>
                      </a:lnTo>
                      <a:lnTo>
                        <a:pt x="778" y="709"/>
                      </a:lnTo>
                      <a:lnTo>
                        <a:pt x="778" y="711"/>
                      </a:lnTo>
                      <a:lnTo>
                        <a:pt x="777" y="711"/>
                      </a:lnTo>
                      <a:lnTo>
                        <a:pt x="775" y="711"/>
                      </a:lnTo>
                      <a:lnTo>
                        <a:pt x="773" y="713"/>
                      </a:lnTo>
                      <a:lnTo>
                        <a:pt x="773" y="714"/>
                      </a:lnTo>
                      <a:lnTo>
                        <a:pt x="772" y="714"/>
                      </a:lnTo>
                      <a:lnTo>
                        <a:pt x="770" y="716"/>
                      </a:lnTo>
                      <a:lnTo>
                        <a:pt x="768" y="716"/>
                      </a:lnTo>
                      <a:lnTo>
                        <a:pt x="767" y="718"/>
                      </a:lnTo>
                      <a:lnTo>
                        <a:pt x="767" y="716"/>
                      </a:lnTo>
                      <a:lnTo>
                        <a:pt x="767" y="718"/>
                      </a:lnTo>
                      <a:lnTo>
                        <a:pt x="765" y="718"/>
                      </a:lnTo>
                      <a:lnTo>
                        <a:pt x="763" y="719"/>
                      </a:lnTo>
                      <a:lnTo>
                        <a:pt x="763" y="718"/>
                      </a:lnTo>
                      <a:lnTo>
                        <a:pt x="762" y="719"/>
                      </a:lnTo>
                      <a:lnTo>
                        <a:pt x="760" y="719"/>
                      </a:lnTo>
                      <a:lnTo>
                        <a:pt x="760" y="721"/>
                      </a:lnTo>
                      <a:lnTo>
                        <a:pt x="760" y="723"/>
                      </a:lnTo>
                      <a:lnTo>
                        <a:pt x="758" y="723"/>
                      </a:lnTo>
                      <a:lnTo>
                        <a:pt x="757" y="723"/>
                      </a:lnTo>
                      <a:lnTo>
                        <a:pt x="757" y="724"/>
                      </a:lnTo>
                      <a:lnTo>
                        <a:pt x="755" y="723"/>
                      </a:lnTo>
                      <a:lnTo>
                        <a:pt x="755" y="724"/>
                      </a:lnTo>
                      <a:lnTo>
                        <a:pt x="753" y="723"/>
                      </a:lnTo>
                      <a:lnTo>
                        <a:pt x="751" y="724"/>
                      </a:lnTo>
                      <a:lnTo>
                        <a:pt x="751" y="726"/>
                      </a:lnTo>
                      <a:lnTo>
                        <a:pt x="750" y="726"/>
                      </a:lnTo>
                      <a:lnTo>
                        <a:pt x="750" y="724"/>
                      </a:lnTo>
                      <a:lnTo>
                        <a:pt x="748" y="724"/>
                      </a:lnTo>
                      <a:lnTo>
                        <a:pt x="748" y="723"/>
                      </a:lnTo>
                      <a:lnTo>
                        <a:pt x="750" y="723"/>
                      </a:lnTo>
                      <a:lnTo>
                        <a:pt x="750" y="721"/>
                      </a:lnTo>
                      <a:lnTo>
                        <a:pt x="750" y="719"/>
                      </a:lnTo>
                      <a:lnTo>
                        <a:pt x="751" y="719"/>
                      </a:lnTo>
                      <a:lnTo>
                        <a:pt x="750" y="719"/>
                      </a:lnTo>
                      <a:lnTo>
                        <a:pt x="751" y="718"/>
                      </a:lnTo>
                      <a:lnTo>
                        <a:pt x="750" y="718"/>
                      </a:lnTo>
                      <a:lnTo>
                        <a:pt x="750" y="719"/>
                      </a:lnTo>
                      <a:lnTo>
                        <a:pt x="750" y="718"/>
                      </a:lnTo>
                      <a:lnTo>
                        <a:pt x="748" y="719"/>
                      </a:lnTo>
                      <a:lnTo>
                        <a:pt x="748" y="718"/>
                      </a:lnTo>
                      <a:lnTo>
                        <a:pt x="746" y="718"/>
                      </a:lnTo>
                      <a:lnTo>
                        <a:pt x="745" y="718"/>
                      </a:lnTo>
                      <a:lnTo>
                        <a:pt x="745" y="719"/>
                      </a:lnTo>
                      <a:lnTo>
                        <a:pt x="743" y="719"/>
                      </a:lnTo>
                      <a:lnTo>
                        <a:pt x="743" y="718"/>
                      </a:lnTo>
                      <a:lnTo>
                        <a:pt x="741" y="719"/>
                      </a:lnTo>
                      <a:lnTo>
                        <a:pt x="741" y="718"/>
                      </a:lnTo>
                      <a:lnTo>
                        <a:pt x="741" y="716"/>
                      </a:lnTo>
                      <a:lnTo>
                        <a:pt x="740" y="716"/>
                      </a:lnTo>
                      <a:lnTo>
                        <a:pt x="738" y="716"/>
                      </a:lnTo>
                      <a:lnTo>
                        <a:pt x="736" y="716"/>
                      </a:lnTo>
                      <a:lnTo>
                        <a:pt x="735" y="718"/>
                      </a:lnTo>
                      <a:lnTo>
                        <a:pt x="733" y="718"/>
                      </a:lnTo>
                      <a:lnTo>
                        <a:pt x="733" y="716"/>
                      </a:lnTo>
                      <a:lnTo>
                        <a:pt x="731" y="716"/>
                      </a:lnTo>
                      <a:lnTo>
                        <a:pt x="730" y="716"/>
                      </a:lnTo>
                      <a:lnTo>
                        <a:pt x="728" y="716"/>
                      </a:lnTo>
                      <a:lnTo>
                        <a:pt x="728" y="718"/>
                      </a:lnTo>
                      <a:lnTo>
                        <a:pt x="726" y="719"/>
                      </a:lnTo>
                      <a:lnTo>
                        <a:pt x="724" y="719"/>
                      </a:lnTo>
                      <a:lnTo>
                        <a:pt x="723" y="719"/>
                      </a:lnTo>
                      <a:lnTo>
                        <a:pt x="723" y="721"/>
                      </a:lnTo>
                      <a:lnTo>
                        <a:pt x="721" y="721"/>
                      </a:lnTo>
                      <a:lnTo>
                        <a:pt x="719" y="721"/>
                      </a:lnTo>
                      <a:lnTo>
                        <a:pt x="719" y="723"/>
                      </a:lnTo>
                      <a:lnTo>
                        <a:pt x="718" y="723"/>
                      </a:lnTo>
                      <a:lnTo>
                        <a:pt x="716" y="723"/>
                      </a:lnTo>
                      <a:lnTo>
                        <a:pt x="714" y="723"/>
                      </a:lnTo>
                      <a:lnTo>
                        <a:pt x="714" y="721"/>
                      </a:lnTo>
                      <a:lnTo>
                        <a:pt x="713" y="723"/>
                      </a:lnTo>
                      <a:lnTo>
                        <a:pt x="711" y="723"/>
                      </a:lnTo>
                      <a:lnTo>
                        <a:pt x="709" y="723"/>
                      </a:lnTo>
                      <a:lnTo>
                        <a:pt x="709" y="724"/>
                      </a:lnTo>
                      <a:lnTo>
                        <a:pt x="709" y="723"/>
                      </a:lnTo>
                      <a:lnTo>
                        <a:pt x="708" y="723"/>
                      </a:lnTo>
                      <a:lnTo>
                        <a:pt x="708" y="721"/>
                      </a:lnTo>
                      <a:lnTo>
                        <a:pt x="706" y="721"/>
                      </a:lnTo>
                      <a:lnTo>
                        <a:pt x="706" y="723"/>
                      </a:lnTo>
                      <a:lnTo>
                        <a:pt x="704" y="723"/>
                      </a:lnTo>
                      <a:lnTo>
                        <a:pt x="702" y="723"/>
                      </a:lnTo>
                      <a:lnTo>
                        <a:pt x="702" y="721"/>
                      </a:lnTo>
                      <a:lnTo>
                        <a:pt x="701" y="721"/>
                      </a:lnTo>
                      <a:lnTo>
                        <a:pt x="701" y="723"/>
                      </a:lnTo>
                      <a:lnTo>
                        <a:pt x="699" y="723"/>
                      </a:lnTo>
                      <a:lnTo>
                        <a:pt x="699" y="724"/>
                      </a:lnTo>
                      <a:lnTo>
                        <a:pt x="699" y="723"/>
                      </a:lnTo>
                      <a:lnTo>
                        <a:pt x="697" y="723"/>
                      </a:lnTo>
                      <a:lnTo>
                        <a:pt x="696" y="723"/>
                      </a:lnTo>
                      <a:lnTo>
                        <a:pt x="694" y="723"/>
                      </a:lnTo>
                      <a:lnTo>
                        <a:pt x="694" y="724"/>
                      </a:lnTo>
                      <a:lnTo>
                        <a:pt x="692" y="724"/>
                      </a:lnTo>
                      <a:lnTo>
                        <a:pt x="691" y="723"/>
                      </a:lnTo>
                      <a:lnTo>
                        <a:pt x="691" y="721"/>
                      </a:lnTo>
                      <a:lnTo>
                        <a:pt x="691" y="723"/>
                      </a:lnTo>
                      <a:lnTo>
                        <a:pt x="689" y="721"/>
                      </a:lnTo>
                      <a:lnTo>
                        <a:pt x="689" y="723"/>
                      </a:lnTo>
                      <a:lnTo>
                        <a:pt x="687" y="723"/>
                      </a:lnTo>
                      <a:lnTo>
                        <a:pt x="686" y="723"/>
                      </a:lnTo>
                      <a:lnTo>
                        <a:pt x="686" y="724"/>
                      </a:lnTo>
                      <a:lnTo>
                        <a:pt x="684" y="724"/>
                      </a:lnTo>
                      <a:lnTo>
                        <a:pt x="682" y="724"/>
                      </a:lnTo>
                      <a:lnTo>
                        <a:pt x="681" y="724"/>
                      </a:lnTo>
                      <a:lnTo>
                        <a:pt x="681" y="726"/>
                      </a:lnTo>
                      <a:lnTo>
                        <a:pt x="681" y="724"/>
                      </a:lnTo>
                      <a:lnTo>
                        <a:pt x="679" y="724"/>
                      </a:lnTo>
                      <a:lnTo>
                        <a:pt x="679" y="726"/>
                      </a:lnTo>
                      <a:lnTo>
                        <a:pt x="677" y="726"/>
                      </a:lnTo>
                      <a:lnTo>
                        <a:pt x="675" y="727"/>
                      </a:lnTo>
                      <a:lnTo>
                        <a:pt x="674" y="727"/>
                      </a:lnTo>
                      <a:lnTo>
                        <a:pt x="672" y="729"/>
                      </a:lnTo>
                      <a:lnTo>
                        <a:pt x="670" y="729"/>
                      </a:lnTo>
                      <a:lnTo>
                        <a:pt x="669" y="729"/>
                      </a:lnTo>
                      <a:lnTo>
                        <a:pt x="669" y="731"/>
                      </a:lnTo>
                      <a:lnTo>
                        <a:pt x="669" y="729"/>
                      </a:lnTo>
                      <a:lnTo>
                        <a:pt x="669" y="731"/>
                      </a:lnTo>
                      <a:lnTo>
                        <a:pt x="667" y="731"/>
                      </a:lnTo>
                      <a:lnTo>
                        <a:pt x="667" y="729"/>
                      </a:lnTo>
                      <a:lnTo>
                        <a:pt x="665" y="729"/>
                      </a:lnTo>
                      <a:lnTo>
                        <a:pt x="664" y="729"/>
                      </a:lnTo>
                      <a:lnTo>
                        <a:pt x="664" y="731"/>
                      </a:lnTo>
                      <a:lnTo>
                        <a:pt x="662" y="731"/>
                      </a:lnTo>
                      <a:lnTo>
                        <a:pt x="660" y="731"/>
                      </a:lnTo>
                      <a:lnTo>
                        <a:pt x="660" y="732"/>
                      </a:lnTo>
                      <a:lnTo>
                        <a:pt x="659" y="732"/>
                      </a:lnTo>
                      <a:lnTo>
                        <a:pt x="659" y="731"/>
                      </a:lnTo>
                      <a:lnTo>
                        <a:pt x="659" y="732"/>
                      </a:lnTo>
                      <a:lnTo>
                        <a:pt x="657" y="732"/>
                      </a:lnTo>
                      <a:lnTo>
                        <a:pt x="657" y="734"/>
                      </a:lnTo>
                      <a:lnTo>
                        <a:pt x="657" y="736"/>
                      </a:lnTo>
                      <a:lnTo>
                        <a:pt x="655" y="734"/>
                      </a:lnTo>
                      <a:lnTo>
                        <a:pt x="655" y="736"/>
                      </a:lnTo>
                      <a:lnTo>
                        <a:pt x="654" y="736"/>
                      </a:lnTo>
                      <a:lnTo>
                        <a:pt x="654" y="737"/>
                      </a:lnTo>
                      <a:lnTo>
                        <a:pt x="652" y="737"/>
                      </a:lnTo>
                      <a:lnTo>
                        <a:pt x="652" y="736"/>
                      </a:lnTo>
                      <a:lnTo>
                        <a:pt x="652" y="737"/>
                      </a:lnTo>
                      <a:lnTo>
                        <a:pt x="652" y="736"/>
                      </a:lnTo>
                      <a:lnTo>
                        <a:pt x="650" y="737"/>
                      </a:lnTo>
                      <a:lnTo>
                        <a:pt x="652" y="737"/>
                      </a:lnTo>
                      <a:lnTo>
                        <a:pt x="650" y="737"/>
                      </a:lnTo>
                      <a:lnTo>
                        <a:pt x="648" y="739"/>
                      </a:lnTo>
                      <a:lnTo>
                        <a:pt x="647" y="739"/>
                      </a:lnTo>
                      <a:lnTo>
                        <a:pt x="645" y="741"/>
                      </a:lnTo>
                      <a:lnTo>
                        <a:pt x="645" y="739"/>
                      </a:lnTo>
                      <a:lnTo>
                        <a:pt x="645" y="741"/>
                      </a:lnTo>
                      <a:lnTo>
                        <a:pt x="645" y="739"/>
                      </a:lnTo>
                      <a:lnTo>
                        <a:pt x="643" y="741"/>
                      </a:lnTo>
                      <a:lnTo>
                        <a:pt x="643" y="739"/>
                      </a:lnTo>
                      <a:lnTo>
                        <a:pt x="643" y="737"/>
                      </a:lnTo>
                      <a:lnTo>
                        <a:pt x="643" y="739"/>
                      </a:lnTo>
                      <a:lnTo>
                        <a:pt x="643" y="737"/>
                      </a:lnTo>
                      <a:lnTo>
                        <a:pt x="642" y="737"/>
                      </a:lnTo>
                      <a:lnTo>
                        <a:pt x="640" y="739"/>
                      </a:lnTo>
                      <a:lnTo>
                        <a:pt x="640" y="737"/>
                      </a:lnTo>
                      <a:lnTo>
                        <a:pt x="640" y="739"/>
                      </a:lnTo>
                      <a:lnTo>
                        <a:pt x="638" y="739"/>
                      </a:lnTo>
                      <a:lnTo>
                        <a:pt x="637" y="739"/>
                      </a:lnTo>
                      <a:lnTo>
                        <a:pt x="635" y="739"/>
                      </a:lnTo>
                      <a:lnTo>
                        <a:pt x="633" y="739"/>
                      </a:lnTo>
                      <a:lnTo>
                        <a:pt x="633" y="741"/>
                      </a:lnTo>
                      <a:lnTo>
                        <a:pt x="632" y="741"/>
                      </a:lnTo>
                      <a:lnTo>
                        <a:pt x="632" y="739"/>
                      </a:lnTo>
                      <a:lnTo>
                        <a:pt x="630" y="739"/>
                      </a:lnTo>
                      <a:lnTo>
                        <a:pt x="628" y="739"/>
                      </a:lnTo>
                      <a:lnTo>
                        <a:pt x="626" y="739"/>
                      </a:lnTo>
                      <a:lnTo>
                        <a:pt x="625" y="739"/>
                      </a:lnTo>
                      <a:lnTo>
                        <a:pt x="625" y="741"/>
                      </a:lnTo>
                      <a:lnTo>
                        <a:pt x="623" y="741"/>
                      </a:lnTo>
                      <a:lnTo>
                        <a:pt x="623" y="742"/>
                      </a:lnTo>
                      <a:lnTo>
                        <a:pt x="621" y="742"/>
                      </a:lnTo>
                      <a:lnTo>
                        <a:pt x="621" y="744"/>
                      </a:lnTo>
                      <a:lnTo>
                        <a:pt x="620" y="744"/>
                      </a:lnTo>
                      <a:lnTo>
                        <a:pt x="618" y="746"/>
                      </a:lnTo>
                      <a:lnTo>
                        <a:pt x="616" y="746"/>
                      </a:lnTo>
                      <a:lnTo>
                        <a:pt x="615" y="746"/>
                      </a:lnTo>
                      <a:lnTo>
                        <a:pt x="613" y="746"/>
                      </a:lnTo>
                      <a:lnTo>
                        <a:pt x="611" y="746"/>
                      </a:lnTo>
                      <a:lnTo>
                        <a:pt x="610" y="746"/>
                      </a:lnTo>
                      <a:lnTo>
                        <a:pt x="610" y="747"/>
                      </a:lnTo>
                      <a:lnTo>
                        <a:pt x="608" y="747"/>
                      </a:lnTo>
                      <a:lnTo>
                        <a:pt x="608" y="749"/>
                      </a:lnTo>
                      <a:lnTo>
                        <a:pt x="606" y="749"/>
                      </a:lnTo>
                      <a:lnTo>
                        <a:pt x="606" y="750"/>
                      </a:lnTo>
                      <a:lnTo>
                        <a:pt x="605" y="750"/>
                      </a:lnTo>
                      <a:lnTo>
                        <a:pt x="603" y="750"/>
                      </a:lnTo>
                      <a:lnTo>
                        <a:pt x="603" y="749"/>
                      </a:lnTo>
                      <a:lnTo>
                        <a:pt x="603" y="750"/>
                      </a:lnTo>
                      <a:lnTo>
                        <a:pt x="601" y="749"/>
                      </a:lnTo>
                      <a:lnTo>
                        <a:pt x="601" y="750"/>
                      </a:lnTo>
                      <a:lnTo>
                        <a:pt x="601" y="749"/>
                      </a:lnTo>
                      <a:lnTo>
                        <a:pt x="599" y="749"/>
                      </a:lnTo>
                      <a:lnTo>
                        <a:pt x="598" y="750"/>
                      </a:lnTo>
                      <a:lnTo>
                        <a:pt x="596" y="750"/>
                      </a:lnTo>
                      <a:lnTo>
                        <a:pt x="594" y="750"/>
                      </a:lnTo>
                      <a:lnTo>
                        <a:pt x="593" y="750"/>
                      </a:lnTo>
                      <a:lnTo>
                        <a:pt x="593" y="752"/>
                      </a:lnTo>
                      <a:lnTo>
                        <a:pt x="591" y="752"/>
                      </a:lnTo>
                      <a:lnTo>
                        <a:pt x="591" y="754"/>
                      </a:lnTo>
                      <a:lnTo>
                        <a:pt x="589" y="754"/>
                      </a:lnTo>
                      <a:lnTo>
                        <a:pt x="589" y="755"/>
                      </a:lnTo>
                      <a:lnTo>
                        <a:pt x="588" y="755"/>
                      </a:lnTo>
                      <a:lnTo>
                        <a:pt x="586" y="754"/>
                      </a:lnTo>
                      <a:lnTo>
                        <a:pt x="586" y="755"/>
                      </a:lnTo>
                      <a:lnTo>
                        <a:pt x="584" y="755"/>
                      </a:lnTo>
                      <a:lnTo>
                        <a:pt x="583" y="757"/>
                      </a:lnTo>
                      <a:lnTo>
                        <a:pt x="581" y="757"/>
                      </a:lnTo>
                      <a:lnTo>
                        <a:pt x="579" y="757"/>
                      </a:lnTo>
                      <a:lnTo>
                        <a:pt x="578" y="757"/>
                      </a:lnTo>
                      <a:lnTo>
                        <a:pt x="578" y="759"/>
                      </a:lnTo>
                      <a:lnTo>
                        <a:pt x="576" y="759"/>
                      </a:lnTo>
                      <a:lnTo>
                        <a:pt x="574" y="759"/>
                      </a:lnTo>
                      <a:lnTo>
                        <a:pt x="572" y="759"/>
                      </a:lnTo>
                      <a:lnTo>
                        <a:pt x="571" y="759"/>
                      </a:lnTo>
                      <a:lnTo>
                        <a:pt x="569" y="759"/>
                      </a:lnTo>
                      <a:lnTo>
                        <a:pt x="567" y="759"/>
                      </a:lnTo>
                      <a:lnTo>
                        <a:pt x="566" y="760"/>
                      </a:lnTo>
                      <a:lnTo>
                        <a:pt x="564" y="760"/>
                      </a:lnTo>
                      <a:lnTo>
                        <a:pt x="562" y="760"/>
                      </a:lnTo>
                      <a:lnTo>
                        <a:pt x="562" y="762"/>
                      </a:lnTo>
                      <a:lnTo>
                        <a:pt x="561" y="762"/>
                      </a:lnTo>
                      <a:lnTo>
                        <a:pt x="559" y="762"/>
                      </a:lnTo>
                      <a:lnTo>
                        <a:pt x="559" y="764"/>
                      </a:lnTo>
                      <a:lnTo>
                        <a:pt x="557" y="764"/>
                      </a:lnTo>
                      <a:lnTo>
                        <a:pt x="557" y="765"/>
                      </a:lnTo>
                      <a:lnTo>
                        <a:pt x="557" y="767"/>
                      </a:lnTo>
                      <a:lnTo>
                        <a:pt x="556" y="767"/>
                      </a:lnTo>
                      <a:lnTo>
                        <a:pt x="554" y="767"/>
                      </a:lnTo>
                      <a:lnTo>
                        <a:pt x="552" y="767"/>
                      </a:lnTo>
                      <a:lnTo>
                        <a:pt x="552" y="769"/>
                      </a:lnTo>
                      <a:lnTo>
                        <a:pt x="550" y="769"/>
                      </a:lnTo>
                      <a:lnTo>
                        <a:pt x="549" y="769"/>
                      </a:lnTo>
                      <a:lnTo>
                        <a:pt x="549" y="770"/>
                      </a:lnTo>
                      <a:lnTo>
                        <a:pt x="549" y="772"/>
                      </a:lnTo>
                      <a:lnTo>
                        <a:pt x="547" y="772"/>
                      </a:lnTo>
                      <a:lnTo>
                        <a:pt x="545" y="772"/>
                      </a:lnTo>
                      <a:lnTo>
                        <a:pt x="544" y="772"/>
                      </a:lnTo>
                      <a:lnTo>
                        <a:pt x="542" y="772"/>
                      </a:lnTo>
                      <a:lnTo>
                        <a:pt x="542" y="773"/>
                      </a:lnTo>
                      <a:lnTo>
                        <a:pt x="540" y="773"/>
                      </a:lnTo>
                      <a:lnTo>
                        <a:pt x="539" y="775"/>
                      </a:lnTo>
                      <a:lnTo>
                        <a:pt x="539" y="773"/>
                      </a:lnTo>
                      <a:lnTo>
                        <a:pt x="537" y="775"/>
                      </a:lnTo>
                      <a:lnTo>
                        <a:pt x="535" y="775"/>
                      </a:lnTo>
                      <a:lnTo>
                        <a:pt x="534" y="775"/>
                      </a:lnTo>
                      <a:lnTo>
                        <a:pt x="535" y="775"/>
                      </a:lnTo>
                      <a:lnTo>
                        <a:pt x="534" y="775"/>
                      </a:lnTo>
                      <a:lnTo>
                        <a:pt x="535" y="773"/>
                      </a:lnTo>
                      <a:lnTo>
                        <a:pt x="534" y="773"/>
                      </a:lnTo>
                      <a:lnTo>
                        <a:pt x="532" y="772"/>
                      </a:lnTo>
                      <a:lnTo>
                        <a:pt x="530" y="772"/>
                      </a:lnTo>
                      <a:lnTo>
                        <a:pt x="530" y="770"/>
                      </a:lnTo>
                      <a:lnTo>
                        <a:pt x="529" y="770"/>
                      </a:lnTo>
                      <a:lnTo>
                        <a:pt x="529" y="772"/>
                      </a:lnTo>
                      <a:lnTo>
                        <a:pt x="527" y="772"/>
                      </a:lnTo>
                      <a:lnTo>
                        <a:pt x="527" y="773"/>
                      </a:lnTo>
                      <a:lnTo>
                        <a:pt x="525" y="773"/>
                      </a:lnTo>
                      <a:lnTo>
                        <a:pt x="525" y="775"/>
                      </a:lnTo>
                      <a:lnTo>
                        <a:pt x="523" y="775"/>
                      </a:lnTo>
                      <a:lnTo>
                        <a:pt x="522" y="775"/>
                      </a:lnTo>
                      <a:lnTo>
                        <a:pt x="520" y="775"/>
                      </a:lnTo>
                      <a:lnTo>
                        <a:pt x="520" y="777"/>
                      </a:lnTo>
                      <a:lnTo>
                        <a:pt x="518" y="777"/>
                      </a:lnTo>
                      <a:lnTo>
                        <a:pt x="518" y="775"/>
                      </a:lnTo>
                      <a:lnTo>
                        <a:pt x="520" y="775"/>
                      </a:lnTo>
                      <a:lnTo>
                        <a:pt x="520" y="773"/>
                      </a:lnTo>
                      <a:lnTo>
                        <a:pt x="520" y="772"/>
                      </a:lnTo>
                      <a:lnTo>
                        <a:pt x="518" y="772"/>
                      </a:lnTo>
                      <a:lnTo>
                        <a:pt x="517" y="772"/>
                      </a:lnTo>
                      <a:lnTo>
                        <a:pt x="518" y="772"/>
                      </a:lnTo>
                      <a:lnTo>
                        <a:pt x="517" y="772"/>
                      </a:lnTo>
                      <a:lnTo>
                        <a:pt x="517" y="773"/>
                      </a:lnTo>
                      <a:lnTo>
                        <a:pt x="515" y="773"/>
                      </a:lnTo>
                      <a:lnTo>
                        <a:pt x="515" y="775"/>
                      </a:lnTo>
                      <a:lnTo>
                        <a:pt x="513" y="775"/>
                      </a:lnTo>
                      <a:lnTo>
                        <a:pt x="512" y="775"/>
                      </a:lnTo>
                      <a:lnTo>
                        <a:pt x="510" y="775"/>
                      </a:lnTo>
                      <a:lnTo>
                        <a:pt x="508" y="775"/>
                      </a:lnTo>
                      <a:lnTo>
                        <a:pt x="508" y="773"/>
                      </a:lnTo>
                      <a:lnTo>
                        <a:pt x="510" y="773"/>
                      </a:lnTo>
                      <a:lnTo>
                        <a:pt x="510" y="772"/>
                      </a:lnTo>
                      <a:lnTo>
                        <a:pt x="510" y="770"/>
                      </a:lnTo>
                      <a:lnTo>
                        <a:pt x="512" y="770"/>
                      </a:lnTo>
                      <a:lnTo>
                        <a:pt x="510" y="770"/>
                      </a:lnTo>
                      <a:lnTo>
                        <a:pt x="510" y="769"/>
                      </a:lnTo>
                      <a:lnTo>
                        <a:pt x="508" y="769"/>
                      </a:lnTo>
                      <a:lnTo>
                        <a:pt x="507" y="770"/>
                      </a:lnTo>
                      <a:lnTo>
                        <a:pt x="507" y="769"/>
                      </a:lnTo>
                      <a:lnTo>
                        <a:pt x="505" y="769"/>
                      </a:lnTo>
                      <a:lnTo>
                        <a:pt x="505" y="770"/>
                      </a:lnTo>
                      <a:lnTo>
                        <a:pt x="503" y="770"/>
                      </a:lnTo>
                      <a:lnTo>
                        <a:pt x="503" y="772"/>
                      </a:lnTo>
                      <a:lnTo>
                        <a:pt x="505" y="772"/>
                      </a:lnTo>
                      <a:lnTo>
                        <a:pt x="505" y="773"/>
                      </a:lnTo>
                      <a:lnTo>
                        <a:pt x="505" y="772"/>
                      </a:lnTo>
                      <a:lnTo>
                        <a:pt x="505" y="773"/>
                      </a:lnTo>
                      <a:lnTo>
                        <a:pt x="507" y="775"/>
                      </a:lnTo>
                      <a:lnTo>
                        <a:pt x="508" y="775"/>
                      </a:lnTo>
                      <a:lnTo>
                        <a:pt x="507" y="775"/>
                      </a:lnTo>
                      <a:lnTo>
                        <a:pt x="507" y="777"/>
                      </a:lnTo>
                      <a:lnTo>
                        <a:pt x="505" y="777"/>
                      </a:lnTo>
                      <a:lnTo>
                        <a:pt x="503" y="777"/>
                      </a:lnTo>
                      <a:lnTo>
                        <a:pt x="502" y="777"/>
                      </a:lnTo>
                      <a:lnTo>
                        <a:pt x="502" y="778"/>
                      </a:lnTo>
                      <a:lnTo>
                        <a:pt x="500" y="778"/>
                      </a:lnTo>
                      <a:lnTo>
                        <a:pt x="498" y="780"/>
                      </a:lnTo>
                      <a:lnTo>
                        <a:pt x="496" y="780"/>
                      </a:lnTo>
                      <a:lnTo>
                        <a:pt x="496" y="782"/>
                      </a:lnTo>
                      <a:lnTo>
                        <a:pt x="495" y="782"/>
                      </a:lnTo>
                      <a:lnTo>
                        <a:pt x="496" y="782"/>
                      </a:lnTo>
                      <a:lnTo>
                        <a:pt x="496" y="783"/>
                      </a:lnTo>
                      <a:lnTo>
                        <a:pt x="498" y="783"/>
                      </a:lnTo>
                      <a:lnTo>
                        <a:pt x="500" y="783"/>
                      </a:lnTo>
                      <a:lnTo>
                        <a:pt x="502" y="782"/>
                      </a:lnTo>
                      <a:lnTo>
                        <a:pt x="503" y="782"/>
                      </a:lnTo>
                      <a:lnTo>
                        <a:pt x="505" y="782"/>
                      </a:lnTo>
                      <a:lnTo>
                        <a:pt x="505" y="783"/>
                      </a:lnTo>
                      <a:lnTo>
                        <a:pt x="505" y="785"/>
                      </a:lnTo>
                      <a:lnTo>
                        <a:pt x="507" y="787"/>
                      </a:lnTo>
                      <a:lnTo>
                        <a:pt x="505" y="787"/>
                      </a:lnTo>
                      <a:lnTo>
                        <a:pt x="505" y="788"/>
                      </a:lnTo>
                      <a:lnTo>
                        <a:pt x="505" y="787"/>
                      </a:lnTo>
                      <a:lnTo>
                        <a:pt x="505" y="788"/>
                      </a:lnTo>
                      <a:lnTo>
                        <a:pt x="505" y="790"/>
                      </a:lnTo>
                      <a:lnTo>
                        <a:pt x="505" y="792"/>
                      </a:lnTo>
                      <a:lnTo>
                        <a:pt x="505" y="790"/>
                      </a:lnTo>
                      <a:lnTo>
                        <a:pt x="503" y="790"/>
                      </a:lnTo>
                      <a:lnTo>
                        <a:pt x="503" y="788"/>
                      </a:lnTo>
                      <a:lnTo>
                        <a:pt x="502" y="788"/>
                      </a:lnTo>
                      <a:lnTo>
                        <a:pt x="502" y="790"/>
                      </a:lnTo>
                      <a:lnTo>
                        <a:pt x="500" y="790"/>
                      </a:lnTo>
                      <a:lnTo>
                        <a:pt x="500" y="793"/>
                      </a:lnTo>
                      <a:lnTo>
                        <a:pt x="500" y="795"/>
                      </a:lnTo>
                      <a:lnTo>
                        <a:pt x="498" y="795"/>
                      </a:lnTo>
                      <a:lnTo>
                        <a:pt x="498" y="793"/>
                      </a:lnTo>
                      <a:lnTo>
                        <a:pt x="496" y="793"/>
                      </a:lnTo>
                      <a:lnTo>
                        <a:pt x="496" y="792"/>
                      </a:lnTo>
                      <a:lnTo>
                        <a:pt x="496" y="793"/>
                      </a:lnTo>
                      <a:lnTo>
                        <a:pt x="496" y="792"/>
                      </a:lnTo>
                      <a:lnTo>
                        <a:pt x="495" y="792"/>
                      </a:lnTo>
                      <a:lnTo>
                        <a:pt x="495" y="793"/>
                      </a:lnTo>
                      <a:lnTo>
                        <a:pt x="495" y="792"/>
                      </a:lnTo>
                      <a:lnTo>
                        <a:pt x="493" y="792"/>
                      </a:lnTo>
                      <a:lnTo>
                        <a:pt x="493" y="793"/>
                      </a:lnTo>
                      <a:lnTo>
                        <a:pt x="491" y="793"/>
                      </a:lnTo>
                      <a:lnTo>
                        <a:pt x="491" y="795"/>
                      </a:lnTo>
                      <a:lnTo>
                        <a:pt x="491" y="796"/>
                      </a:lnTo>
                      <a:lnTo>
                        <a:pt x="490" y="796"/>
                      </a:lnTo>
                      <a:lnTo>
                        <a:pt x="490" y="795"/>
                      </a:lnTo>
                      <a:lnTo>
                        <a:pt x="488" y="795"/>
                      </a:lnTo>
                      <a:lnTo>
                        <a:pt x="488" y="793"/>
                      </a:lnTo>
                      <a:lnTo>
                        <a:pt x="490" y="793"/>
                      </a:lnTo>
                      <a:lnTo>
                        <a:pt x="488" y="793"/>
                      </a:lnTo>
                      <a:lnTo>
                        <a:pt x="488" y="792"/>
                      </a:lnTo>
                      <a:lnTo>
                        <a:pt x="486" y="792"/>
                      </a:lnTo>
                      <a:lnTo>
                        <a:pt x="485" y="793"/>
                      </a:lnTo>
                      <a:lnTo>
                        <a:pt x="483" y="793"/>
                      </a:lnTo>
                      <a:lnTo>
                        <a:pt x="483" y="795"/>
                      </a:lnTo>
                      <a:lnTo>
                        <a:pt x="481" y="795"/>
                      </a:lnTo>
                      <a:lnTo>
                        <a:pt x="480" y="795"/>
                      </a:lnTo>
                      <a:lnTo>
                        <a:pt x="480" y="796"/>
                      </a:lnTo>
                      <a:lnTo>
                        <a:pt x="478" y="796"/>
                      </a:lnTo>
                      <a:lnTo>
                        <a:pt x="478" y="798"/>
                      </a:lnTo>
                      <a:lnTo>
                        <a:pt x="478" y="796"/>
                      </a:lnTo>
                      <a:lnTo>
                        <a:pt x="476" y="798"/>
                      </a:lnTo>
                      <a:lnTo>
                        <a:pt x="476" y="796"/>
                      </a:lnTo>
                      <a:lnTo>
                        <a:pt x="474" y="798"/>
                      </a:lnTo>
                      <a:lnTo>
                        <a:pt x="473" y="798"/>
                      </a:lnTo>
                      <a:lnTo>
                        <a:pt x="471" y="798"/>
                      </a:lnTo>
                      <a:lnTo>
                        <a:pt x="469" y="798"/>
                      </a:lnTo>
                      <a:lnTo>
                        <a:pt x="468" y="798"/>
                      </a:lnTo>
                      <a:lnTo>
                        <a:pt x="468" y="800"/>
                      </a:lnTo>
                      <a:lnTo>
                        <a:pt x="466" y="800"/>
                      </a:lnTo>
                      <a:lnTo>
                        <a:pt x="466" y="801"/>
                      </a:lnTo>
                      <a:lnTo>
                        <a:pt x="464" y="800"/>
                      </a:lnTo>
                      <a:lnTo>
                        <a:pt x="464" y="798"/>
                      </a:lnTo>
                      <a:lnTo>
                        <a:pt x="466" y="798"/>
                      </a:lnTo>
                      <a:lnTo>
                        <a:pt x="466" y="796"/>
                      </a:lnTo>
                      <a:lnTo>
                        <a:pt x="464" y="796"/>
                      </a:lnTo>
                      <a:lnTo>
                        <a:pt x="464" y="795"/>
                      </a:lnTo>
                      <a:lnTo>
                        <a:pt x="463" y="795"/>
                      </a:lnTo>
                      <a:lnTo>
                        <a:pt x="461" y="795"/>
                      </a:lnTo>
                      <a:lnTo>
                        <a:pt x="459" y="796"/>
                      </a:lnTo>
                      <a:lnTo>
                        <a:pt x="458" y="796"/>
                      </a:lnTo>
                      <a:lnTo>
                        <a:pt x="456" y="796"/>
                      </a:lnTo>
                      <a:lnTo>
                        <a:pt x="456" y="798"/>
                      </a:lnTo>
                      <a:lnTo>
                        <a:pt x="454" y="798"/>
                      </a:lnTo>
                      <a:lnTo>
                        <a:pt x="454" y="796"/>
                      </a:lnTo>
                      <a:lnTo>
                        <a:pt x="453" y="796"/>
                      </a:lnTo>
                      <a:lnTo>
                        <a:pt x="451" y="796"/>
                      </a:lnTo>
                      <a:lnTo>
                        <a:pt x="451" y="798"/>
                      </a:lnTo>
                      <a:lnTo>
                        <a:pt x="449" y="798"/>
                      </a:lnTo>
                      <a:lnTo>
                        <a:pt x="449" y="796"/>
                      </a:lnTo>
                      <a:lnTo>
                        <a:pt x="447" y="798"/>
                      </a:lnTo>
                      <a:lnTo>
                        <a:pt x="446" y="798"/>
                      </a:lnTo>
                      <a:lnTo>
                        <a:pt x="444" y="798"/>
                      </a:lnTo>
                      <a:lnTo>
                        <a:pt x="444" y="796"/>
                      </a:lnTo>
                      <a:lnTo>
                        <a:pt x="442" y="796"/>
                      </a:lnTo>
                      <a:lnTo>
                        <a:pt x="442" y="795"/>
                      </a:lnTo>
                      <a:lnTo>
                        <a:pt x="442" y="793"/>
                      </a:lnTo>
                      <a:lnTo>
                        <a:pt x="444" y="793"/>
                      </a:lnTo>
                      <a:lnTo>
                        <a:pt x="442" y="792"/>
                      </a:lnTo>
                      <a:lnTo>
                        <a:pt x="444" y="790"/>
                      </a:lnTo>
                      <a:lnTo>
                        <a:pt x="444" y="788"/>
                      </a:lnTo>
                      <a:lnTo>
                        <a:pt x="446" y="788"/>
                      </a:lnTo>
                      <a:lnTo>
                        <a:pt x="446" y="787"/>
                      </a:lnTo>
                      <a:lnTo>
                        <a:pt x="447" y="787"/>
                      </a:lnTo>
                      <a:lnTo>
                        <a:pt x="447" y="785"/>
                      </a:lnTo>
                      <a:lnTo>
                        <a:pt x="446" y="785"/>
                      </a:lnTo>
                      <a:lnTo>
                        <a:pt x="444" y="785"/>
                      </a:lnTo>
                      <a:lnTo>
                        <a:pt x="442" y="785"/>
                      </a:lnTo>
                      <a:lnTo>
                        <a:pt x="442" y="783"/>
                      </a:lnTo>
                      <a:lnTo>
                        <a:pt x="441" y="783"/>
                      </a:lnTo>
                      <a:lnTo>
                        <a:pt x="439" y="783"/>
                      </a:lnTo>
                      <a:lnTo>
                        <a:pt x="437" y="783"/>
                      </a:lnTo>
                      <a:lnTo>
                        <a:pt x="437" y="782"/>
                      </a:lnTo>
                      <a:lnTo>
                        <a:pt x="436" y="783"/>
                      </a:lnTo>
                      <a:lnTo>
                        <a:pt x="436" y="782"/>
                      </a:lnTo>
                      <a:lnTo>
                        <a:pt x="436" y="783"/>
                      </a:lnTo>
                      <a:lnTo>
                        <a:pt x="436" y="782"/>
                      </a:lnTo>
                      <a:lnTo>
                        <a:pt x="436" y="780"/>
                      </a:lnTo>
                      <a:lnTo>
                        <a:pt x="434" y="780"/>
                      </a:lnTo>
                      <a:lnTo>
                        <a:pt x="434" y="778"/>
                      </a:lnTo>
                      <a:lnTo>
                        <a:pt x="432" y="778"/>
                      </a:lnTo>
                      <a:lnTo>
                        <a:pt x="434" y="778"/>
                      </a:lnTo>
                      <a:lnTo>
                        <a:pt x="434" y="777"/>
                      </a:lnTo>
                      <a:lnTo>
                        <a:pt x="434" y="778"/>
                      </a:lnTo>
                      <a:lnTo>
                        <a:pt x="436" y="777"/>
                      </a:lnTo>
                      <a:lnTo>
                        <a:pt x="437" y="777"/>
                      </a:lnTo>
                      <a:lnTo>
                        <a:pt x="439" y="777"/>
                      </a:lnTo>
                      <a:lnTo>
                        <a:pt x="441" y="777"/>
                      </a:lnTo>
                      <a:lnTo>
                        <a:pt x="439" y="777"/>
                      </a:lnTo>
                      <a:lnTo>
                        <a:pt x="441" y="777"/>
                      </a:lnTo>
                      <a:lnTo>
                        <a:pt x="441" y="775"/>
                      </a:lnTo>
                      <a:lnTo>
                        <a:pt x="439" y="775"/>
                      </a:lnTo>
                      <a:lnTo>
                        <a:pt x="439" y="773"/>
                      </a:lnTo>
                      <a:lnTo>
                        <a:pt x="441" y="773"/>
                      </a:lnTo>
                      <a:lnTo>
                        <a:pt x="439" y="772"/>
                      </a:lnTo>
                      <a:lnTo>
                        <a:pt x="439" y="770"/>
                      </a:lnTo>
                      <a:lnTo>
                        <a:pt x="439" y="769"/>
                      </a:lnTo>
                      <a:lnTo>
                        <a:pt x="437" y="769"/>
                      </a:lnTo>
                      <a:lnTo>
                        <a:pt x="437" y="767"/>
                      </a:lnTo>
                      <a:lnTo>
                        <a:pt x="439" y="767"/>
                      </a:lnTo>
                      <a:lnTo>
                        <a:pt x="439" y="765"/>
                      </a:lnTo>
                      <a:lnTo>
                        <a:pt x="441" y="765"/>
                      </a:lnTo>
                      <a:lnTo>
                        <a:pt x="439" y="765"/>
                      </a:lnTo>
                      <a:lnTo>
                        <a:pt x="437" y="765"/>
                      </a:lnTo>
                      <a:lnTo>
                        <a:pt x="436" y="764"/>
                      </a:lnTo>
                      <a:lnTo>
                        <a:pt x="434" y="764"/>
                      </a:lnTo>
                      <a:lnTo>
                        <a:pt x="432" y="764"/>
                      </a:lnTo>
                      <a:lnTo>
                        <a:pt x="432" y="762"/>
                      </a:lnTo>
                      <a:lnTo>
                        <a:pt x="431" y="764"/>
                      </a:lnTo>
                      <a:lnTo>
                        <a:pt x="431" y="762"/>
                      </a:lnTo>
                      <a:lnTo>
                        <a:pt x="427" y="760"/>
                      </a:lnTo>
                      <a:lnTo>
                        <a:pt x="429" y="759"/>
                      </a:lnTo>
                      <a:lnTo>
                        <a:pt x="427" y="759"/>
                      </a:lnTo>
                      <a:lnTo>
                        <a:pt x="425" y="759"/>
                      </a:lnTo>
                      <a:lnTo>
                        <a:pt x="427" y="757"/>
                      </a:lnTo>
                      <a:lnTo>
                        <a:pt x="425" y="757"/>
                      </a:lnTo>
                      <a:lnTo>
                        <a:pt x="424" y="757"/>
                      </a:lnTo>
                      <a:lnTo>
                        <a:pt x="424" y="755"/>
                      </a:lnTo>
                      <a:lnTo>
                        <a:pt x="422" y="755"/>
                      </a:lnTo>
                      <a:lnTo>
                        <a:pt x="422" y="757"/>
                      </a:lnTo>
                      <a:lnTo>
                        <a:pt x="420" y="755"/>
                      </a:lnTo>
                      <a:lnTo>
                        <a:pt x="419" y="755"/>
                      </a:lnTo>
                      <a:lnTo>
                        <a:pt x="417" y="755"/>
                      </a:lnTo>
                      <a:lnTo>
                        <a:pt x="417" y="754"/>
                      </a:lnTo>
                      <a:lnTo>
                        <a:pt x="415" y="754"/>
                      </a:lnTo>
                      <a:lnTo>
                        <a:pt x="415" y="752"/>
                      </a:lnTo>
                      <a:lnTo>
                        <a:pt x="415" y="750"/>
                      </a:lnTo>
                      <a:lnTo>
                        <a:pt x="415" y="749"/>
                      </a:lnTo>
                      <a:lnTo>
                        <a:pt x="414" y="749"/>
                      </a:lnTo>
                      <a:lnTo>
                        <a:pt x="414" y="747"/>
                      </a:lnTo>
                      <a:lnTo>
                        <a:pt x="412" y="747"/>
                      </a:lnTo>
                      <a:lnTo>
                        <a:pt x="412" y="746"/>
                      </a:lnTo>
                      <a:lnTo>
                        <a:pt x="410" y="746"/>
                      </a:lnTo>
                      <a:lnTo>
                        <a:pt x="410" y="744"/>
                      </a:lnTo>
                      <a:lnTo>
                        <a:pt x="412" y="744"/>
                      </a:lnTo>
                      <a:lnTo>
                        <a:pt x="412" y="742"/>
                      </a:lnTo>
                      <a:lnTo>
                        <a:pt x="410" y="742"/>
                      </a:lnTo>
                      <a:lnTo>
                        <a:pt x="412" y="742"/>
                      </a:lnTo>
                      <a:lnTo>
                        <a:pt x="412" y="741"/>
                      </a:lnTo>
                      <a:lnTo>
                        <a:pt x="410" y="741"/>
                      </a:lnTo>
                      <a:lnTo>
                        <a:pt x="410" y="739"/>
                      </a:lnTo>
                      <a:lnTo>
                        <a:pt x="412" y="739"/>
                      </a:lnTo>
                      <a:lnTo>
                        <a:pt x="414" y="739"/>
                      </a:lnTo>
                      <a:lnTo>
                        <a:pt x="414" y="737"/>
                      </a:lnTo>
                      <a:lnTo>
                        <a:pt x="412" y="737"/>
                      </a:lnTo>
                      <a:lnTo>
                        <a:pt x="414" y="737"/>
                      </a:lnTo>
                      <a:lnTo>
                        <a:pt x="414" y="736"/>
                      </a:lnTo>
                      <a:lnTo>
                        <a:pt x="414" y="734"/>
                      </a:lnTo>
                      <a:lnTo>
                        <a:pt x="415" y="732"/>
                      </a:lnTo>
                      <a:lnTo>
                        <a:pt x="415" y="731"/>
                      </a:lnTo>
                      <a:lnTo>
                        <a:pt x="415" y="732"/>
                      </a:lnTo>
                      <a:lnTo>
                        <a:pt x="417" y="732"/>
                      </a:lnTo>
                      <a:lnTo>
                        <a:pt x="417" y="731"/>
                      </a:lnTo>
                      <a:lnTo>
                        <a:pt x="419" y="729"/>
                      </a:lnTo>
                      <a:lnTo>
                        <a:pt x="420" y="729"/>
                      </a:lnTo>
                      <a:lnTo>
                        <a:pt x="422" y="727"/>
                      </a:lnTo>
                      <a:lnTo>
                        <a:pt x="420" y="727"/>
                      </a:lnTo>
                      <a:lnTo>
                        <a:pt x="420" y="726"/>
                      </a:lnTo>
                      <a:lnTo>
                        <a:pt x="419" y="726"/>
                      </a:lnTo>
                      <a:lnTo>
                        <a:pt x="419" y="724"/>
                      </a:lnTo>
                      <a:lnTo>
                        <a:pt x="417" y="724"/>
                      </a:lnTo>
                      <a:lnTo>
                        <a:pt x="415" y="724"/>
                      </a:lnTo>
                      <a:lnTo>
                        <a:pt x="414" y="724"/>
                      </a:lnTo>
                      <a:lnTo>
                        <a:pt x="412" y="724"/>
                      </a:lnTo>
                      <a:lnTo>
                        <a:pt x="410" y="724"/>
                      </a:lnTo>
                      <a:lnTo>
                        <a:pt x="410" y="723"/>
                      </a:lnTo>
                      <a:lnTo>
                        <a:pt x="412" y="723"/>
                      </a:lnTo>
                      <a:lnTo>
                        <a:pt x="414" y="723"/>
                      </a:lnTo>
                      <a:lnTo>
                        <a:pt x="415" y="723"/>
                      </a:lnTo>
                      <a:lnTo>
                        <a:pt x="415" y="721"/>
                      </a:lnTo>
                      <a:lnTo>
                        <a:pt x="414" y="721"/>
                      </a:lnTo>
                      <a:lnTo>
                        <a:pt x="414" y="719"/>
                      </a:lnTo>
                      <a:lnTo>
                        <a:pt x="414" y="718"/>
                      </a:lnTo>
                      <a:lnTo>
                        <a:pt x="415" y="718"/>
                      </a:lnTo>
                      <a:lnTo>
                        <a:pt x="417" y="718"/>
                      </a:lnTo>
                      <a:lnTo>
                        <a:pt x="417" y="716"/>
                      </a:lnTo>
                      <a:lnTo>
                        <a:pt x="419" y="716"/>
                      </a:lnTo>
                      <a:lnTo>
                        <a:pt x="419" y="718"/>
                      </a:lnTo>
                      <a:lnTo>
                        <a:pt x="420" y="718"/>
                      </a:lnTo>
                      <a:lnTo>
                        <a:pt x="420" y="716"/>
                      </a:lnTo>
                      <a:lnTo>
                        <a:pt x="420" y="714"/>
                      </a:lnTo>
                      <a:lnTo>
                        <a:pt x="419" y="714"/>
                      </a:lnTo>
                      <a:lnTo>
                        <a:pt x="417" y="713"/>
                      </a:lnTo>
                      <a:lnTo>
                        <a:pt x="417" y="711"/>
                      </a:lnTo>
                      <a:lnTo>
                        <a:pt x="417" y="709"/>
                      </a:lnTo>
                      <a:lnTo>
                        <a:pt x="415" y="709"/>
                      </a:lnTo>
                      <a:lnTo>
                        <a:pt x="415" y="708"/>
                      </a:lnTo>
                      <a:lnTo>
                        <a:pt x="415" y="706"/>
                      </a:lnTo>
                      <a:lnTo>
                        <a:pt x="417" y="706"/>
                      </a:lnTo>
                      <a:lnTo>
                        <a:pt x="417" y="704"/>
                      </a:lnTo>
                      <a:lnTo>
                        <a:pt x="415" y="704"/>
                      </a:lnTo>
                      <a:lnTo>
                        <a:pt x="415" y="703"/>
                      </a:lnTo>
                      <a:lnTo>
                        <a:pt x="415" y="701"/>
                      </a:lnTo>
                      <a:lnTo>
                        <a:pt x="414" y="701"/>
                      </a:lnTo>
                      <a:lnTo>
                        <a:pt x="414" y="700"/>
                      </a:lnTo>
                      <a:lnTo>
                        <a:pt x="415" y="698"/>
                      </a:lnTo>
                      <a:lnTo>
                        <a:pt x="417" y="696"/>
                      </a:lnTo>
                      <a:lnTo>
                        <a:pt x="417" y="695"/>
                      </a:lnTo>
                      <a:lnTo>
                        <a:pt x="419" y="695"/>
                      </a:lnTo>
                      <a:lnTo>
                        <a:pt x="419" y="693"/>
                      </a:lnTo>
                      <a:lnTo>
                        <a:pt x="419" y="691"/>
                      </a:lnTo>
                      <a:lnTo>
                        <a:pt x="419" y="690"/>
                      </a:lnTo>
                      <a:lnTo>
                        <a:pt x="419" y="688"/>
                      </a:lnTo>
                      <a:lnTo>
                        <a:pt x="419" y="686"/>
                      </a:lnTo>
                      <a:lnTo>
                        <a:pt x="419" y="685"/>
                      </a:lnTo>
                      <a:lnTo>
                        <a:pt x="420" y="686"/>
                      </a:lnTo>
                      <a:lnTo>
                        <a:pt x="422" y="686"/>
                      </a:lnTo>
                      <a:lnTo>
                        <a:pt x="424" y="686"/>
                      </a:lnTo>
                      <a:lnTo>
                        <a:pt x="425" y="686"/>
                      </a:lnTo>
                      <a:lnTo>
                        <a:pt x="425" y="685"/>
                      </a:lnTo>
                      <a:lnTo>
                        <a:pt x="425" y="683"/>
                      </a:lnTo>
                      <a:lnTo>
                        <a:pt x="427" y="683"/>
                      </a:lnTo>
                      <a:lnTo>
                        <a:pt x="425" y="683"/>
                      </a:lnTo>
                      <a:lnTo>
                        <a:pt x="425" y="681"/>
                      </a:lnTo>
                      <a:lnTo>
                        <a:pt x="427" y="681"/>
                      </a:lnTo>
                      <a:lnTo>
                        <a:pt x="427" y="680"/>
                      </a:lnTo>
                      <a:lnTo>
                        <a:pt x="429" y="680"/>
                      </a:lnTo>
                      <a:lnTo>
                        <a:pt x="429" y="678"/>
                      </a:lnTo>
                      <a:lnTo>
                        <a:pt x="429" y="677"/>
                      </a:lnTo>
                      <a:lnTo>
                        <a:pt x="431" y="677"/>
                      </a:lnTo>
                      <a:lnTo>
                        <a:pt x="431" y="675"/>
                      </a:lnTo>
                      <a:lnTo>
                        <a:pt x="431" y="673"/>
                      </a:lnTo>
                      <a:lnTo>
                        <a:pt x="429" y="673"/>
                      </a:lnTo>
                      <a:lnTo>
                        <a:pt x="429" y="672"/>
                      </a:lnTo>
                      <a:lnTo>
                        <a:pt x="429" y="670"/>
                      </a:lnTo>
                      <a:lnTo>
                        <a:pt x="431" y="668"/>
                      </a:lnTo>
                      <a:lnTo>
                        <a:pt x="431" y="667"/>
                      </a:lnTo>
                      <a:lnTo>
                        <a:pt x="429" y="667"/>
                      </a:lnTo>
                      <a:lnTo>
                        <a:pt x="429" y="665"/>
                      </a:lnTo>
                      <a:lnTo>
                        <a:pt x="427" y="665"/>
                      </a:lnTo>
                      <a:lnTo>
                        <a:pt x="427" y="663"/>
                      </a:lnTo>
                      <a:lnTo>
                        <a:pt x="425" y="663"/>
                      </a:lnTo>
                      <a:lnTo>
                        <a:pt x="424" y="663"/>
                      </a:lnTo>
                      <a:lnTo>
                        <a:pt x="422" y="663"/>
                      </a:lnTo>
                      <a:lnTo>
                        <a:pt x="420" y="665"/>
                      </a:lnTo>
                      <a:lnTo>
                        <a:pt x="420" y="663"/>
                      </a:lnTo>
                      <a:lnTo>
                        <a:pt x="420" y="662"/>
                      </a:lnTo>
                      <a:lnTo>
                        <a:pt x="419" y="662"/>
                      </a:lnTo>
                      <a:lnTo>
                        <a:pt x="417" y="660"/>
                      </a:lnTo>
                      <a:lnTo>
                        <a:pt x="419" y="660"/>
                      </a:lnTo>
                      <a:lnTo>
                        <a:pt x="417" y="660"/>
                      </a:lnTo>
                      <a:lnTo>
                        <a:pt x="417" y="659"/>
                      </a:lnTo>
                      <a:lnTo>
                        <a:pt x="417" y="657"/>
                      </a:lnTo>
                      <a:lnTo>
                        <a:pt x="415" y="657"/>
                      </a:lnTo>
                      <a:lnTo>
                        <a:pt x="415" y="659"/>
                      </a:lnTo>
                      <a:lnTo>
                        <a:pt x="414" y="659"/>
                      </a:lnTo>
                      <a:lnTo>
                        <a:pt x="412" y="659"/>
                      </a:lnTo>
                      <a:lnTo>
                        <a:pt x="412" y="660"/>
                      </a:lnTo>
                      <a:lnTo>
                        <a:pt x="410" y="660"/>
                      </a:lnTo>
                      <a:lnTo>
                        <a:pt x="410" y="659"/>
                      </a:lnTo>
                      <a:lnTo>
                        <a:pt x="410" y="660"/>
                      </a:lnTo>
                      <a:lnTo>
                        <a:pt x="409" y="660"/>
                      </a:lnTo>
                      <a:lnTo>
                        <a:pt x="409" y="659"/>
                      </a:lnTo>
                      <a:lnTo>
                        <a:pt x="407" y="659"/>
                      </a:lnTo>
                      <a:lnTo>
                        <a:pt x="407" y="657"/>
                      </a:lnTo>
                      <a:lnTo>
                        <a:pt x="405" y="657"/>
                      </a:lnTo>
                      <a:lnTo>
                        <a:pt x="404" y="657"/>
                      </a:lnTo>
                      <a:lnTo>
                        <a:pt x="404" y="659"/>
                      </a:lnTo>
                      <a:lnTo>
                        <a:pt x="404" y="657"/>
                      </a:lnTo>
                      <a:lnTo>
                        <a:pt x="402" y="657"/>
                      </a:lnTo>
                      <a:lnTo>
                        <a:pt x="400" y="657"/>
                      </a:lnTo>
                      <a:lnTo>
                        <a:pt x="398" y="657"/>
                      </a:lnTo>
                      <a:lnTo>
                        <a:pt x="398" y="659"/>
                      </a:lnTo>
                      <a:lnTo>
                        <a:pt x="400" y="659"/>
                      </a:lnTo>
                      <a:lnTo>
                        <a:pt x="398" y="659"/>
                      </a:lnTo>
                      <a:lnTo>
                        <a:pt x="397" y="659"/>
                      </a:lnTo>
                      <a:lnTo>
                        <a:pt x="397" y="660"/>
                      </a:lnTo>
                      <a:lnTo>
                        <a:pt x="395" y="660"/>
                      </a:lnTo>
                      <a:lnTo>
                        <a:pt x="393" y="662"/>
                      </a:lnTo>
                      <a:lnTo>
                        <a:pt x="392" y="662"/>
                      </a:lnTo>
                      <a:lnTo>
                        <a:pt x="392" y="663"/>
                      </a:lnTo>
                      <a:lnTo>
                        <a:pt x="390" y="662"/>
                      </a:lnTo>
                      <a:lnTo>
                        <a:pt x="388" y="662"/>
                      </a:lnTo>
                      <a:lnTo>
                        <a:pt x="387" y="662"/>
                      </a:lnTo>
                      <a:lnTo>
                        <a:pt x="385" y="662"/>
                      </a:lnTo>
                      <a:lnTo>
                        <a:pt x="385" y="663"/>
                      </a:lnTo>
                      <a:lnTo>
                        <a:pt x="385" y="662"/>
                      </a:lnTo>
                      <a:lnTo>
                        <a:pt x="383" y="662"/>
                      </a:lnTo>
                      <a:lnTo>
                        <a:pt x="383" y="660"/>
                      </a:lnTo>
                      <a:lnTo>
                        <a:pt x="382" y="660"/>
                      </a:lnTo>
                      <a:lnTo>
                        <a:pt x="383" y="660"/>
                      </a:lnTo>
                      <a:lnTo>
                        <a:pt x="383" y="659"/>
                      </a:lnTo>
                      <a:lnTo>
                        <a:pt x="383" y="657"/>
                      </a:lnTo>
                      <a:lnTo>
                        <a:pt x="383" y="655"/>
                      </a:lnTo>
                      <a:lnTo>
                        <a:pt x="382" y="655"/>
                      </a:lnTo>
                      <a:lnTo>
                        <a:pt x="382" y="654"/>
                      </a:lnTo>
                      <a:lnTo>
                        <a:pt x="382" y="652"/>
                      </a:lnTo>
                      <a:lnTo>
                        <a:pt x="380" y="652"/>
                      </a:lnTo>
                      <a:lnTo>
                        <a:pt x="382" y="652"/>
                      </a:lnTo>
                      <a:lnTo>
                        <a:pt x="382" y="650"/>
                      </a:lnTo>
                      <a:lnTo>
                        <a:pt x="380" y="650"/>
                      </a:lnTo>
                      <a:lnTo>
                        <a:pt x="380" y="649"/>
                      </a:lnTo>
                      <a:lnTo>
                        <a:pt x="380" y="647"/>
                      </a:lnTo>
                      <a:lnTo>
                        <a:pt x="378" y="647"/>
                      </a:lnTo>
                      <a:lnTo>
                        <a:pt x="378" y="645"/>
                      </a:lnTo>
                      <a:lnTo>
                        <a:pt x="377" y="645"/>
                      </a:lnTo>
                      <a:lnTo>
                        <a:pt x="377" y="644"/>
                      </a:lnTo>
                      <a:lnTo>
                        <a:pt x="378" y="642"/>
                      </a:lnTo>
                      <a:lnTo>
                        <a:pt x="377" y="642"/>
                      </a:lnTo>
                      <a:lnTo>
                        <a:pt x="375" y="642"/>
                      </a:lnTo>
                      <a:lnTo>
                        <a:pt x="375" y="644"/>
                      </a:lnTo>
                      <a:lnTo>
                        <a:pt x="375" y="642"/>
                      </a:lnTo>
                      <a:lnTo>
                        <a:pt x="373" y="642"/>
                      </a:lnTo>
                      <a:lnTo>
                        <a:pt x="373" y="640"/>
                      </a:lnTo>
                      <a:lnTo>
                        <a:pt x="373" y="639"/>
                      </a:lnTo>
                      <a:lnTo>
                        <a:pt x="371" y="639"/>
                      </a:lnTo>
                      <a:lnTo>
                        <a:pt x="373" y="637"/>
                      </a:lnTo>
                      <a:lnTo>
                        <a:pt x="371" y="637"/>
                      </a:lnTo>
                      <a:lnTo>
                        <a:pt x="371" y="636"/>
                      </a:lnTo>
                      <a:lnTo>
                        <a:pt x="371" y="634"/>
                      </a:lnTo>
                      <a:lnTo>
                        <a:pt x="373" y="634"/>
                      </a:lnTo>
                      <a:lnTo>
                        <a:pt x="373" y="632"/>
                      </a:lnTo>
                      <a:lnTo>
                        <a:pt x="371" y="632"/>
                      </a:lnTo>
                      <a:lnTo>
                        <a:pt x="371" y="631"/>
                      </a:lnTo>
                      <a:lnTo>
                        <a:pt x="370" y="632"/>
                      </a:lnTo>
                      <a:lnTo>
                        <a:pt x="370" y="629"/>
                      </a:lnTo>
                      <a:lnTo>
                        <a:pt x="370" y="627"/>
                      </a:lnTo>
                      <a:lnTo>
                        <a:pt x="370" y="626"/>
                      </a:lnTo>
                      <a:lnTo>
                        <a:pt x="368" y="626"/>
                      </a:lnTo>
                      <a:lnTo>
                        <a:pt x="370" y="624"/>
                      </a:lnTo>
                      <a:lnTo>
                        <a:pt x="370" y="622"/>
                      </a:lnTo>
                      <a:lnTo>
                        <a:pt x="370" y="621"/>
                      </a:lnTo>
                      <a:lnTo>
                        <a:pt x="368" y="621"/>
                      </a:lnTo>
                      <a:lnTo>
                        <a:pt x="368" y="619"/>
                      </a:lnTo>
                      <a:lnTo>
                        <a:pt x="366" y="619"/>
                      </a:lnTo>
                      <a:lnTo>
                        <a:pt x="365" y="617"/>
                      </a:lnTo>
                      <a:lnTo>
                        <a:pt x="366" y="617"/>
                      </a:lnTo>
                      <a:lnTo>
                        <a:pt x="363" y="616"/>
                      </a:lnTo>
                      <a:lnTo>
                        <a:pt x="361" y="613"/>
                      </a:lnTo>
                      <a:lnTo>
                        <a:pt x="363" y="609"/>
                      </a:lnTo>
                      <a:lnTo>
                        <a:pt x="363" y="608"/>
                      </a:lnTo>
                      <a:lnTo>
                        <a:pt x="363" y="606"/>
                      </a:lnTo>
                      <a:lnTo>
                        <a:pt x="363" y="604"/>
                      </a:lnTo>
                      <a:lnTo>
                        <a:pt x="363" y="603"/>
                      </a:lnTo>
                      <a:lnTo>
                        <a:pt x="365" y="603"/>
                      </a:lnTo>
                      <a:lnTo>
                        <a:pt x="366" y="603"/>
                      </a:lnTo>
                      <a:lnTo>
                        <a:pt x="366" y="601"/>
                      </a:lnTo>
                      <a:lnTo>
                        <a:pt x="366" y="599"/>
                      </a:lnTo>
                      <a:lnTo>
                        <a:pt x="366" y="598"/>
                      </a:lnTo>
                      <a:lnTo>
                        <a:pt x="368" y="598"/>
                      </a:lnTo>
                      <a:lnTo>
                        <a:pt x="368" y="596"/>
                      </a:lnTo>
                      <a:lnTo>
                        <a:pt x="370" y="596"/>
                      </a:lnTo>
                      <a:lnTo>
                        <a:pt x="371" y="596"/>
                      </a:lnTo>
                      <a:lnTo>
                        <a:pt x="373" y="596"/>
                      </a:lnTo>
                      <a:lnTo>
                        <a:pt x="373" y="594"/>
                      </a:lnTo>
                      <a:lnTo>
                        <a:pt x="375" y="594"/>
                      </a:lnTo>
                      <a:lnTo>
                        <a:pt x="373" y="593"/>
                      </a:lnTo>
                      <a:lnTo>
                        <a:pt x="375" y="593"/>
                      </a:lnTo>
                      <a:lnTo>
                        <a:pt x="375" y="591"/>
                      </a:lnTo>
                      <a:lnTo>
                        <a:pt x="373" y="590"/>
                      </a:lnTo>
                      <a:lnTo>
                        <a:pt x="373" y="588"/>
                      </a:lnTo>
                      <a:lnTo>
                        <a:pt x="371" y="588"/>
                      </a:lnTo>
                      <a:lnTo>
                        <a:pt x="371" y="586"/>
                      </a:lnTo>
                      <a:lnTo>
                        <a:pt x="371" y="585"/>
                      </a:lnTo>
                      <a:lnTo>
                        <a:pt x="370" y="583"/>
                      </a:lnTo>
                      <a:lnTo>
                        <a:pt x="371" y="583"/>
                      </a:lnTo>
                      <a:lnTo>
                        <a:pt x="370" y="581"/>
                      </a:lnTo>
                      <a:lnTo>
                        <a:pt x="370" y="580"/>
                      </a:lnTo>
                      <a:lnTo>
                        <a:pt x="368" y="580"/>
                      </a:lnTo>
                      <a:lnTo>
                        <a:pt x="368" y="578"/>
                      </a:lnTo>
                      <a:lnTo>
                        <a:pt x="366" y="578"/>
                      </a:lnTo>
                      <a:lnTo>
                        <a:pt x="365" y="578"/>
                      </a:lnTo>
                      <a:lnTo>
                        <a:pt x="363" y="578"/>
                      </a:lnTo>
                      <a:lnTo>
                        <a:pt x="363" y="576"/>
                      </a:lnTo>
                      <a:lnTo>
                        <a:pt x="361" y="576"/>
                      </a:lnTo>
                      <a:lnTo>
                        <a:pt x="361" y="575"/>
                      </a:lnTo>
                      <a:lnTo>
                        <a:pt x="360" y="575"/>
                      </a:lnTo>
                      <a:lnTo>
                        <a:pt x="358" y="575"/>
                      </a:lnTo>
                      <a:lnTo>
                        <a:pt x="358" y="573"/>
                      </a:lnTo>
                      <a:lnTo>
                        <a:pt x="356" y="573"/>
                      </a:lnTo>
                      <a:lnTo>
                        <a:pt x="356" y="571"/>
                      </a:lnTo>
                      <a:lnTo>
                        <a:pt x="356" y="570"/>
                      </a:lnTo>
                      <a:lnTo>
                        <a:pt x="356" y="568"/>
                      </a:lnTo>
                      <a:lnTo>
                        <a:pt x="356" y="567"/>
                      </a:lnTo>
                      <a:lnTo>
                        <a:pt x="356" y="565"/>
                      </a:lnTo>
                      <a:lnTo>
                        <a:pt x="356" y="563"/>
                      </a:lnTo>
                      <a:lnTo>
                        <a:pt x="356" y="562"/>
                      </a:lnTo>
                      <a:lnTo>
                        <a:pt x="356" y="560"/>
                      </a:lnTo>
                      <a:lnTo>
                        <a:pt x="356" y="558"/>
                      </a:lnTo>
                      <a:lnTo>
                        <a:pt x="358" y="558"/>
                      </a:lnTo>
                      <a:lnTo>
                        <a:pt x="358" y="557"/>
                      </a:lnTo>
                      <a:lnTo>
                        <a:pt x="360" y="557"/>
                      </a:lnTo>
                      <a:lnTo>
                        <a:pt x="360" y="555"/>
                      </a:lnTo>
                      <a:lnTo>
                        <a:pt x="361" y="555"/>
                      </a:lnTo>
                      <a:lnTo>
                        <a:pt x="361" y="553"/>
                      </a:lnTo>
                      <a:lnTo>
                        <a:pt x="361" y="552"/>
                      </a:lnTo>
                      <a:lnTo>
                        <a:pt x="361" y="550"/>
                      </a:lnTo>
                      <a:lnTo>
                        <a:pt x="360" y="550"/>
                      </a:lnTo>
                      <a:lnTo>
                        <a:pt x="360" y="548"/>
                      </a:lnTo>
                      <a:lnTo>
                        <a:pt x="360" y="547"/>
                      </a:lnTo>
                      <a:lnTo>
                        <a:pt x="360" y="545"/>
                      </a:lnTo>
                      <a:lnTo>
                        <a:pt x="358" y="545"/>
                      </a:lnTo>
                      <a:lnTo>
                        <a:pt x="356" y="545"/>
                      </a:lnTo>
                      <a:lnTo>
                        <a:pt x="355" y="544"/>
                      </a:lnTo>
                      <a:lnTo>
                        <a:pt x="355" y="542"/>
                      </a:lnTo>
                      <a:lnTo>
                        <a:pt x="353" y="542"/>
                      </a:lnTo>
                      <a:lnTo>
                        <a:pt x="351" y="542"/>
                      </a:lnTo>
                      <a:lnTo>
                        <a:pt x="351" y="540"/>
                      </a:lnTo>
                      <a:lnTo>
                        <a:pt x="349" y="540"/>
                      </a:lnTo>
                      <a:lnTo>
                        <a:pt x="348" y="539"/>
                      </a:lnTo>
                      <a:lnTo>
                        <a:pt x="346" y="539"/>
                      </a:lnTo>
                      <a:lnTo>
                        <a:pt x="344" y="539"/>
                      </a:lnTo>
                      <a:lnTo>
                        <a:pt x="344" y="537"/>
                      </a:lnTo>
                      <a:lnTo>
                        <a:pt x="343" y="537"/>
                      </a:lnTo>
                      <a:lnTo>
                        <a:pt x="343" y="535"/>
                      </a:lnTo>
                      <a:lnTo>
                        <a:pt x="341" y="534"/>
                      </a:lnTo>
                      <a:lnTo>
                        <a:pt x="343" y="534"/>
                      </a:lnTo>
                      <a:lnTo>
                        <a:pt x="343" y="532"/>
                      </a:lnTo>
                      <a:lnTo>
                        <a:pt x="343" y="530"/>
                      </a:lnTo>
                      <a:lnTo>
                        <a:pt x="341" y="530"/>
                      </a:lnTo>
                      <a:lnTo>
                        <a:pt x="341" y="529"/>
                      </a:lnTo>
                      <a:lnTo>
                        <a:pt x="339" y="529"/>
                      </a:lnTo>
                      <a:lnTo>
                        <a:pt x="339" y="527"/>
                      </a:lnTo>
                      <a:lnTo>
                        <a:pt x="338" y="529"/>
                      </a:lnTo>
                      <a:lnTo>
                        <a:pt x="336" y="529"/>
                      </a:lnTo>
                      <a:lnTo>
                        <a:pt x="334" y="530"/>
                      </a:lnTo>
                      <a:lnTo>
                        <a:pt x="333" y="529"/>
                      </a:lnTo>
                      <a:lnTo>
                        <a:pt x="333" y="530"/>
                      </a:lnTo>
                      <a:lnTo>
                        <a:pt x="331" y="530"/>
                      </a:lnTo>
                      <a:lnTo>
                        <a:pt x="329" y="530"/>
                      </a:lnTo>
                      <a:lnTo>
                        <a:pt x="328" y="530"/>
                      </a:lnTo>
                      <a:lnTo>
                        <a:pt x="328" y="532"/>
                      </a:lnTo>
                      <a:lnTo>
                        <a:pt x="328" y="534"/>
                      </a:lnTo>
                      <a:lnTo>
                        <a:pt x="326" y="534"/>
                      </a:lnTo>
                      <a:lnTo>
                        <a:pt x="326" y="535"/>
                      </a:lnTo>
                      <a:lnTo>
                        <a:pt x="324" y="535"/>
                      </a:lnTo>
                      <a:lnTo>
                        <a:pt x="322" y="535"/>
                      </a:lnTo>
                      <a:lnTo>
                        <a:pt x="321" y="534"/>
                      </a:lnTo>
                      <a:lnTo>
                        <a:pt x="319" y="532"/>
                      </a:lnTo>
                      <a:lnTo>
                        <a:pt x="319" y="530"/>
                      </a:lnTo>
                      <a:lnTo>
                        <a:pt x="317" y="530"/>
                      </a:lnTo>
                      <a:lnTo>
                        <a:pt x="317" y="529"/>
                      </a:lnTo>
                      <a:lnTo>
                        <a:pt x="316" y="529"/>
                      </a:lnTo>
                      <a:lnTo>
                        <a:pt x="314" y="530"/>
                      </a:lnTo>
                      <a:lnTo>
                        <a:pt x="312" y="530"/>
                      </a:lnTo>
                      <a:lnTo>
                        <a:pt x="311" y="530"/>
                      </a:lnTo>
                      <a:lnTo>
                        <a:pt x="307" y="530"/>
                      </a:lnTo>
                      <a:lnTo>
                        <a:pt x="306" y="530"/>
                      </a:lnTo>
                      <a:lnTo>
                        <a:pt x="304" y="530"/>
                      </a:lnTo>
                      <a:lnTo>
                        <a:pt x="302" y="530"/>
                      </a:lnTo>
                      <a:lnTo>
                        <a:pt x="302" y="532"/>
                      </a:lnTo>
                      <a:lnTo>
                        <a:pt x="301" y="532"/>
                      </a:lnTo>
                      <a:lnTo>
                        <a:pt x="301" y="534"/>
                      </a:lnTo>
                      <a:lnTo>
                        <a:pt x="301" y="535"/>
                      </a:lnTo>
                      <a:lnTo>
                        <a:pt x="302" y="535"/>
                      </a:lnTo>
                      <a:lnTo>
                        <a:pt x="302" y="537"/>
                      </a:lnTo>
                      <a:lnTo>
                        <a:pt x="301" y="537"/>
                      </a:lnTo>
                      <a:lnTo>
                        <a:pt x="301" y="539"/>
                      </a:lnTo>
                      <a:lnTo>
                        <a:pt x="301" y="540"/>
                      </a:lnTo>
                      <a:lnTo>
                        <a:pt x="299" y="542"/>
                      </a:lnTo>
                      <a:lnTo>
                        <a:pt x="297" y="542"/>
                      </a:lnTo>
                      <a:lnTo>
                        <a:pt x="295" y="542"/>
                      </a:lnTo>
                      <a:lnTo>
                        <a:pt x="295" y="540"/>
                      </a:lnTo>
                      <a:lnTo>
                        <a:pt x="294" y="540"/>
                      </a:lnTo>
                      <a:lnTo>
                        <a:pt x="294" y="539"/>
                      </a:lnTo>
                      <a:lnTo>
                        <a:pt x="294" y="537"/>
                      </a:lnTo>
                      <a:lnTo>
                        <a:pt x="294" y="535"/>
                      </a:lnTo>
                      <a:lnTo>
                        <a:pt x="290" y="534"/>
                      </a:lnTo>
                      <a:lnTo>
                        <a:pt x="290" y="535"/>
                      </a:lnTo>
                      <a:lnTo>
                        <a:pt x="290" y="539"/>
                      </a:lnTo>
                      <a:lnTo>
                        <a:pt x="289" y="540"/>
                      </a:lnTo>
                      <a:lnTo>
                        <a:pt x="289" y="542"/>
                      </a:lnTo>
                      <a:lnTo>
                        <a:pt x="287" y="542"/>
                      </a:lnTo>
                      <a:lnTo>
                        <a:pt x="285" y="542"/>
                      </a:lnTo>
                      <a:lnTo>
                        <a:pt x="285" y="544"/>
                      </a:lnTo>
                      <a:lnTo>
                        <a:pt x="284" y="544"/>
                      </a:lnTo>
                      <a:lnTo>
                        <a:pt x="282" y="545"/>
                      </a:lnTo>
                      <a:lnTo>
                        <a:pt x="280" y="545"/>
                      </a:lnTo>
                      <a:lnTo>
                        <a:pt x="279" y="545"/>
                      </a:lnTo>
                      <a:lnTo>
                        <a:pt x="279" y="544"/>
                      </a:lnTo>
                      <a:lnTo>
                        <a:pt x="277" y="544"/>
                      </a:lnTo>
                      <a:lnTo>
                        <a:pt x="275" y="542"/>
                      </a:lnTo>
                      <a:lnTo>
                        <a:pt x="273" y="540"/>
                      </a:lnTo>
                      <a:lnTo>
                        <a:pt x="272" y="540"/>
                      </a:lnTo>
                      <a:lnTo>
                        <a:pt x="272" y="539"/>
                      </a:lnTo>
                      <a:lnTo>
                        <a:pt x="270" y="537"/>
                      </a:lnTo>
                      <a:lnTo>
                        <a:pt x="270" y="535"/>
                      </a:lnTo>
                      <a:lnTo>
                        <a:pt x="268" y="535"/>
                      </a:lnTo>
                      <a:lnTo>
                        <a:pt x="268" y="534"/>
                      </a:lnTo>
                      <a:lnTo>
                        <a:pt x="267" y="534"/>
                      </a:lnTo>
                      <a:lnTo>
                        <a:pt x="265" y="534"/>
                      </a:lnTo>
                      <a:lnTo>
                        <a:pt x="265" y="535"/>
                      </a:lnTo>
                      <a:lnTo>
                        <a:pt x="265" y="537"/>
                      </a:lnTo>
                      <a:lnTo>
                        <a:pt x="265" y="539"/>
                      </a:lnTo>
                      <a:lnTo>
                        <a:pt x="267" y="540"/>
                      </a:lnTo>
                      <a:lnTo>
                        <a:pt x="268" y="542"/>
                      </a:lnTo>
                      <a:lnTo>
                        <a:pt x="268" y="544"/>
                      </a:lnTo>
                      <a:lnTo>
                        <a:pt x="267" y="544"/>
                      </a:lnTo>
                      <a:lnTo>
                        <a:pt x="265" y="544"/>
                      </a:lnTo>
                      <a:lnTo>
                        <a:pt x="263" y="544"/>
                      </a:lnTo>
                      <a:lnTo>
                        <a:pt x="262" y="544"/>
                      </a:lnTo>
                      <a:lnTo>
                        <a:pt x="262" y="542"/>
                      </a:lnTo>
                      <a:lnTo>
                        <a:pt x="260" y="542"/>
                      </a:lnTo>
                      <a:lnTo>
                        <a:pt x="258" y="542"/>
                      </a:lnTo>
                      <a:lnTo>
                        <a:pt x="257" y="542"/>
                      </a:lnTo>
                      <a:lnTo>
                        <a:pt x="255" y="542"/>
                      </a:lnTo>
                      <a:lnTo>
                        <a:pt x="253" y="542"/>
                      </a:lnTo>
                      <a:lnTo>
                        <a:pt x="252" y="542"/>
                      </a:lnTo>
                      <a:lnTo>
                        <a:pt x="250" y="542"/>
                      </a:lnTo>
                      <a:lnTo>
                        <a:pt x="248" y="542"/>
                      </a:lnTo>
                      <a:lnTo>
                        <a:pt x="246" y="542"/>
                      </a:lnTo>
                      <a:lnTo>
                        <a:pt x="246" y="544"/>
                      </a:lnTo>
                      <a:lnTo>
                        <a:pt x="245" y="544"/>
                      </a:lnTo>
                      <a:lnTo>
                        <a:pt x="243" y="544"/>
                      </a:lnTo>
                      <a:lnTo>
                        <a:pt x="241" y="544"/>
                      </a:lnTo>
                      <a:lnTo>
                        <a:pt x="240" y="544"/>
                      </a:lnTo>
                      <a:lnTo>
                        <a:pt x="238" y="544"/>
                      </a:lnTo>
                      <a:lnTo>
                        <a:pt x="236" y="544"/>
                      </a:lnTo>
                      <a:lnTo>
                        <a:pt x="235" y="544"/>
                      </a:lnTo>
                      <a:lnTo>
                        <a:pt x="233" y="544"/>
                      </a:lnTo>
                      <a:lnTo>
                        <a:pt x="231" y="544"/>
                      </a:lnTo>
                      <a:lnTo>
                        <a:pt x="231" y="545"/>
                      </a:lnTo>
                      <a:lnTo>
                        <a:pt x="230" y="545"/>
                      </a:lnTo>
                      <a:lnTo>
                        <a:pt x="228" y="547"/>
                      </a:lnTo>
                      <a:lnTo>
                        <a:pt x="226" y="547"/>
                      </a:lnTo>
                      <a:lnTo>
                        <a:pt x="225" y="545"/>
                      </a:lnTo>
                      <a:lnTo>
                        <a:pt x="223" y="547"/>
                      </a:lnTo>
                      <a:lnTo>
                        <a:pt x="221" y="545"/>
                      </a:lnTo>
                      <a:lnTo>
                        <a:pt x="219" y="545"/>
                      </a:lnTo>
                      <a:lnTo>
                        <a:pt x="218" y="545"/>
                      </a:lnTo>
                      <a:lnTo>
                        <a:pt x="216" y="545"/>
                      </a:lnTo>
                      <a:lnTo>
                        <a:pt x="214" y="547"/>
                      </a:lnTo>
                      <a:lnTo>
                        <a:pt x="213" y="547"/>
                      </a:lnTo>
                      <a:lnTo>
                        <a:pt x="211" y="545"/>
                      </a:lnTo>
                      <a:lnTo>
                        <a:pt x="209" y="547"/>
                      </a:lnTo>
                      <a:lnTo>
                        <a:pt x="208" y="547"/>
                      </a:lnTo>
                      <a:lnTo>
                        <a:pt x="208" y="548"/>
                      </a:lnTo>
                      <a:lnTo>
                        <a:pt x="208" y="550"/>
                      </a:lnTo>
                      <a:lnTo>
                        <a:pt x="208" y="552"/>
                      </a:lnTo>
                      <a:lnTo>
                        <a:pt x="206" y="553"/>
                      </a:lnTo>
                      <a:lnTo>
                        <a:pt x="206" y="555"/>
                      </a:lnTo>
                      <a:lnTo>
                        <a:pt x="204" y="555"/>
                      </a:lnTo>
                      <a:lnTo>
                        <a:pt x="204" y="557"/>
                      </a:lnTo>
                      <a:lnTo>
                        <a:pt x="204" y="558"/>
                      </a:lnTo>
                      <a:lnTo>
                        <a:pt x="206" y="560"/>
                      </a:lnTo>
                      <a:lnTo>
                        <a:pt x="206" y="562"/>
                      </a:lnTo>
                      <a:lnTo>
                        <a:pt x="206" y="563"/>
                      </a:lnTo>
                      <a:lnTo>
                        <a:pt x="206" y="565"/>
                      </a:lnTo>
                      <a:lnTo>
                        <a:pt x="206" y="567"/>
                      </a:lnTo>
                      <a:lnTo>
                        <a:pt x="206" y="568"/>
                      </a:lnTo>
                      <a:lnTo>
                        <a:pt x="206" y="570"/>
                      </a:lnTo>
                      <a:lnTo>
                        <a:pt x="206" y="571"/>
                      </a:lnTo>
                      <a:lnTo>
                        <a:pt x="204" y="571"/>
                      </a:lnTo>
                      <a:lnTo>
                        <a:pt x="203" y="571"/>
                      </a:lnTo>
                      <a:lnTo>
                        <a:pt x="203" y="570"/>
                      </a:lnTo>
                      <a:lnTo>
                        <a:pt x="201" y="570"/>
                      </a:lnTo>
                      <a:lnTo>
                        <a:pt x="199" y="568"/>
                      </a:lnTo>
                      <a:lnTo>
                        <a:pt x="197" y="568"/>
                      </a:lnTo>
                      <a:lnTo>
                        <a:pt x="197" y="567"/>
                      </a:lnTo>
                      <a:lnTo>
                        <a:pt x="197" y="565"/>
                      </a:lnTo>
                      <a:lnTo>
                        <a:pt x="197" y="563"/>
                      </a:lnTo>
                      <a:lnTo>
                        <a:pt x="197" y="562"/>
                      </a:lnTo>
                      <a:lnTo>
                        <a:pt x="197" y="560"/>
                      </a:lnTo>
                      <a:lnTo>
                        <a:pt x="197" y="558"/>
                      </a:lnTo>
                      <a:lnTo>
                        <a:pt x="197" y="557"/>
                      </a:lnTo>
                      <a:lnTo>
                        <a:pt x="197" y="555"/>
                      </a:lnTo>
                      <a:lnTo>
                        <a:pt x="197" y="550"/>
                      </a:lnTo>
                      <a:lnTo>
                        <a:pt x="196" y="547"/>
                      </a:lnTo>
                      <a:lnTo>
                        <a:pt x="194" y="547"/>
                      </a:lnTo>
                      <a:lnTo>
                        <a:pt x="194" y="545"/>
                      </a:lnTo>
                      <a:lnTo>
                        <a:pt x="192" y="545"/>
                      </a:lnTo>
                      <a:lnTo>
                        <a:pt x="191" y="545"/>
                      </a:lnTo>
                      <a:lnTo>
                        <a:pt x="189" y="545"/>
                      </a:lnTo>
                      <a:lnTo>
                        <a:pt x="187" y="545"/>
                      </a:lnTo>
                      <a:lnTo>
                        <a:pt x="187" y="547"/>
                      </a:lnTo>
                      <a:lnTo>
                        <a:pt x="187" y="548"/>
                      </a:lnTo>
                      <a:lnTo>
                        <a:pt x="186" y="548"/>
                      </a:lnTo>
                      <a:lnTo>
                        <a:pt x="186" y="550"/>
                      </a:lnTo>
                      <a:lnTo>
                        <a:pt x="184" y="553"/>
                      </a:lnTo>
                      <a:lnTo>
                        <a:pt x="182" y="555"/>
                      </a:lnTo>
                      <a:lnTo>
                        <a:pt x="182" y="557"/>
                      </a:lnTo>
                      <a:lnTo>
                        <a:pt x="181" y="557"/>
                      </a:lnTo>
                      <a:lnTo>
                        <a:pt x="179" y="558"/>
                      </a:lnTo>
                      <a:lnTo>
                        <a:pt x="177" y="560"/>
                      </a:lnTo>
                      <a:lnTo>
                        <a:pt x="176" y="560"/>
                      </a:lnTo>
                      <a:lnTo>
                        <a:pt x="174" y="560"/>
                      </a:lnTo>
                      <a:lnTo>
                        <a:pt x="174" y="558"/>
                      </a:lnTo>
                      <a:lnTo>
                        <a:pt x="172" y="560"/>
                      </a:lnTo>
                      <a:lnTo>
                        <a:pt x="172" y="558"/>
                      </a:lnTo>
                      <a:lnTo>
                        <a:pt x="170" y="557"/>
                      </a:lnTo>
                      <a:lnTo>
                        <a:pt x="169" y="555"/>
                      </a:lnTo>
                      <a:lnTo>
                        <a:pt x="169" y="553"/>
                      </a:lnTo>
                      <a:lnTo>
                        <a:pt x="169" y="552"/>
                      </a:lnTo>
                      <a:lnTo>
                        <a:pt x="169" y="550"/>
                      </a:lnTo>
                      <a:lnTo>
                        <a:pt x="167" y="550"/>
                      </a:lnTo>
                      <a:lnTo>
                        <a:pt x="167" y="548"/>
                      </a:lnTo>
                      <a:lnTo>
                        <a:pt x="165" y="547"/>
                      </a:lnTo>
                      <a:lnTo>
                        <a:pt x="165" y="544"/>
                      </a:lnTo>
                      <a:lnTo>
                        <a:pt x="165" y="542"/>
                      </a:lnTo>
                      <a:lnTo>
                        <a:pt x="165" y="540"/>
                      </a:lnTo>
                      <a:lnTo>
                        <a:pt x="165" y="539"/>
                      </a:lnTo>
                      <a:lnTo>
                        <a:pt x="165" y="537"/>
                      </a:lnTo>
                      <a:lnTo>
                        <a:pt x="165" y="534"/>
                      </a:lnTo>
                      <a:lnTo>
                        <a:pt x="165" y="532"/>
                      </a:lnTo>
                      <a:lnTo>
                        <a:pt x="167" y="532"/>
                      </a:lnTo>
                      <a:lnTo>
                        <a:pt x="169" y="532"/>
                      </a:lnTo>
                      <a:lnTo>
                        <a:pt x="170" y="530"/>
                      </a:lnTo>
                      <a:lnTo>
                        <a:pt x="170" y="529"/>
                      </a:lnTo>
                      <a:lnTo>
                        <a:pt x="170" y="527"/>
                      </a:lnTo>
                      <a:lnTo>
                        <a:pt x="169" y="527"/>
                      </a:lnTo>
                      <a:lnTo>
                        <a:pt x="167" y="527"/>
                      </a:lnTo>
                      <a:lnTo>
                        <a:pt x="165" y="527"/>
                      </a:lnTo>
                      <a:lnTo>
                        <a:pt x="164" y="527"/>
                      </a:lnTo>
                      <a:lnTo>
                        <a:pt x="162" y="529"/>
                      </a:lnTo>
                      <a:lnTo>
                        <a:pt x="160" y="530"/>
                      </a:lnTo>
                      <a:lnTo>
                        <a:pt x="159" y="530"/>
                      </a:lnTo>
                      <a:lnTo>
                        <a:pt x="157" y="530"/>
                      </a:lnTo>
                      <a:lnTo>
                        <a:pt x="155" y="529"/>
                      </a:lnTo>
                      <a:lnTo>
                        <a:pt x="154" y="529"/>
                      </a:lnTo>
                      <a:lnTo>
                        <a:pt x="152" y="529"/>
                      </a:lnTo>
                      <a:lnTo>
                        <a:pt x="150" y="529"/>
                      </a:lnTo>
                      <a:lnTo>
                        <a:pt x="149" y="527"/>
                      </a:lnTo>
                      <a:lnTo>
                        <a:pt x="147" y="527"/>
                      </a:lnTo>
                      <a:lnTo>
                        <a:pt x="147" y="525"/>
                      </a:lnTo>
                      <a:lnTo>
                        <a:pt x="147" y="524"/>
                      </a:lnTo>
                      <a:lnTo>
                        <a:pt x="145" y="524"/>
                      </a:lnTo>
                      <a:lnTo>
                        <a:pt x="143" y="522"/>
                      </a:lnTo>
                      <a:lnTo>
                        <a:pt x="142" y="522"/>
                      </a:lnTo>
                      <a:lnTo>
                        <a:pt x="140" y="522"/>
                      </a:lnTo>
                      <a:lnTo>
                        <a:pt x="138" y="522"/>
                      </a:lnTo>
                      <a:lnTo>
                        <a:pt x="137" y="524"/>
                      </a:lnTo>
                      <a:lnTo>
                        <a:pt x="135" y="524"/>
                      </a:lnTo>
                      <a:lnTo>
                        <a:pt x="133" y="525"/>
                      </a:lnTo>
                      <a:lnTo>
                        <a:pt x="132" y="525"/>
                      </a:lnTo>
                      <a:lnTo>
                        <a:pt x="130" y="525"/>
                      </a:lnTo>
                      <a:lnTo>
                        <a:pt x="130" y="524"/>
                      </a:lnTo>
                      <a:lnTo>
                        <a:pt x="128" y="525"/>
                      </a:lnTo>
                      <a:lnTo>
                        <a:pt x="127" y="525"/>
                      </a:lnTo>
                      <a:lnTo>
                        <a:pt x="125" y="524"/>
                      </a:lnTo>
                      <a:lnTo>
                        <a:pt x="123" y="524"/>
                      </a:lnTo>
                      <a:lnTo>
                        <a:pt x="120" y="524"/>
                      </a:lnTo>
                      <a:lnTo>
                        <a:pt x="118" y="525"/>
                      </a:lnTo>
                      <a:lnTo>
                        <a:pt x="115" y="525"/>
                      </a:lnTo>
                      <a:lnTo>
                        <a:pt x="113" y="525"/>
                      </a:lnTo>
                      <a:lnTo>
                        <a:pt x="110" y="525"/>
                      </a:lnTo>
                      <a:lnTo>
                        <a:pt x="108" y="525"/>
                      </a:lnTo>
                      <a:lnTo>
                        <a:pt x="106" y="525"/>
                      </a:lnTo>
                      <a:lnTo>
                        <a:pt x="105" y="524"/>
                      </a:lnTo>
                      <a:lnTo>
                        <a:pt x="103" y="524"/>
                      </a:lnTo>
                      <a:lnTo>
                        <a:pt x="101" y="524"/>
                      </a:lnTo>
                      <a:lnTo>
                        <a:pt x="100" y="524"/>
                      </a:lnTo>
                      <a:lnTo>
                        <a:pt x="98" y="524"/>
                      </a:lnTo>
                      <a:lnTo>
                        <a:pt x="94" y="524"/>
                      </a:lnTo>
                      <a:lnTo>
                        <a:pt x="93" y="522"/>
                      </a:lnTo>
                      <a:lnTo>
                        <a:pt x="93" y="521"/>
                      </a:lnTo>
                      <a:lnTo>
                        <a:pt x="91" y="521"/>
                      </a:lnTo>
                      <a:lnTo>
                        <a:pt x="89" y="519"/>
                      </a:lnTo>
                      <a:lnTo>
                        <a:pt x="86" y="519"/>
                      </a:lnTo>
                      <a:lnTo>
                        <a:pt x="84" y="521"/>
                      </a:lnTo>
                      <a:lnTo>
                        <a:pt x="83" y="519"/>
                      </a:lnTo>
                      <a:lnTo>
                        <a:pt x="81" y="519"/>
                      </a:lnTo>
                      <a:lnTo>
                        <a:pt x="79" y="519"/>
                      </a:lnTo>
                      <a:lnTo>
                        <a:pt x="76" y="519"/>
                      </a:lnTo>
                      <a:lnTo>
                        <a:pt x="73" y="519"/>
                      </a:lnTo>
                      <a:lnTo>
                        <a:pt x="71" y="519"/>
                      </a:lnTo>
                      <a:lnTo>
                        <a:pt x="69" y="519"/>
                      </a:lnTo>
                      <a:lnTo>
                        <a:pt x="67" y="519"/>
                      </a:lnTo>
                      <a:lnTo>
                        <a:pt x="66" y="519"/>
                      </a:lnTo>
                      <a:lnTo>
                        <a:pt x="66" y="517"/>
                      </a:lnTo>
                      <a:lnTo>
                        <a:pt x="64" y="517"/>
                      </a:lnTo>
                      <a:lnTo>
                        <a:pt x="64" y="516"/>
                      </a:lnTo>
                      <a:lnTo>
                        <a:pt x="62" y="516"/>
                      </a:lnTo>
                      <a:lnTo>
                        <a:pt x="62" y="514"/>
                      </a:lnTo>
                      <a:lnTo>
                        <a:pt x="59" y="512"/>
                      </a:lnTo>
                      <a:lnTo>
                        <a:pt x="57" y="512"/>
                      </a:lnTo>
                      <a:lnTo>
                        <a:pt x="56" y="511"/>
                      </a:lnTo>
                      <a:lnTo>
                        <a:pt x="54" y="511"/>
                      </a:lnTo>
                      <a:lnTo>
                        <a:pt x="52" y="512"/>
                      </a:lnTo>
                      <a:lnTo>
                        <a:pt x="51" y="512"/>
                      </a:lnTo>
                      <a:lnTo>
                        <a:pt x="49" y="512"/>
                      </a:lnTo>
                      <a:lnTo>
                        <a:pt x="47" y="514"/>
                      </a:lnTo>
                      <a:lnTo>
                        <a:pt x="45" y="514"/>
                      </a:lnTo>
                      <a:lnTo>
                        <a:pt x="44" y="514"/>
                      </a:lnTo>
                      <a:lnTo>
                        <a:pt x="44" y="516"/>
                      </a:lnTo>
                      <a:lnTo>
                        <a:pt x="42" y="517"/>
                      </a:lnTo>
                      <a:lnTo>
                        <a:pt x="42" y="519"/>
                      </a:lnTo>
                      <a:lnTo>
                        <a:pt x="40" y="519"/>
                      </a:lnTo>
                      <a:lnTo>
                        <a:pt x="39" y="519"/>
                      </a:lnTo>
                      <a:lnTo>
                        <a:pt x="37" y="522"/>
                      </a:lnTo>
                      <a:lnTo>
                        <a:pt x="35" y="522"/>
                      </a:lnTo>
                      <a:lnTo>
                        <a:pt x="34" y="524"/>
                      </a:lnTo>
                      <a:lnTo>
                        <a:pt x="32" y="524"/>
                      </a:lnTo>
                      <a:lnTo>
                        <a:pt x="30" y="524"/>
                      </a:lnTo>
                      <a:lnTo>
                        <a:pt x="25" y="525"/>
                      </a:lnTo>
                      <a:lnTo>
                        <a:pt x="24" y="525"/>
                      </a:lnTo>
                      <a:lnTo>
                        <a:pt x="24" y="527"/>
                      </a:lnTo>
                      <a:lnTo>
                        <a:pt x="22" y="527"/>
                      </a:lnTo>
                      <a:lnTo>
                        <a:pt x="20" y="529"/>
                      </a:lnTo>
                      <a:lnTo>
                        <a:pt x="18" y="529"/>
                      </a:lnTo>
                      <a:lnTo>
                        <a:pt x="17" y="529"/>
                      </a:lnTo>
                      <a:lnTo>
                        <a:pt x="17" y="530"/>
                      </a:lnTo>
                      <a:lnTo>
                        <a:pt x="15" y="530"/>
                      </a:lnTo>
                      <a:lnTo>
                        <a:pt x="13" y="530"/>
                      </a:lnTo>
                      <a:lnTo>
                        <a:pt x="13" y="532"/>
                      </a:lnTo>
                      <a:lnTo>
                        <a:pt x="12" y="532"/>
                      </a:lnTo>
                      <a:lnTo>
                        <a:pt x="10" y="532"/>
                      </a:lnTo>
                      <a:lnTo>
                        <a:pt x="10" y="534"/>
                      </a:lnTo>
                      <a:lnTo>
                        <a:pt x="8" y="534"/>
                      </a:lnTo>
                      <a:lnTo>
                        <a:pt x="7" y="534"/>
                      </a:lnTo>
                      <a:lnTo>
                        <a:pt x="7" y="535"/>
                      </a:lnTo>
                      <a:lnTo>
                        <a:pt x="7" y="537"/>
                      </a:lnTo>
                      <a:lnTo>
                        <a:pt x="5" y="539"/>
                      </a:lnTo>
                      <a:lnTo>
                        <a:pt x="3" y="539"/>
                      </a:lnTo>
                      <a:lnTo>
                        <a:pt x="3" y="537"/>
                      </a:lnTo>
                      <a:lnTo>
                        <a:pt x="3" y="535"/>
                      </a:lnTo>
                      <a:lnTo>
                        <a:pt x="3" y="534"/>
                      </a:lnTo>
                      <a:lnTo>
                        <a:pt x="3" y="532"/>
                      </a:lnTo>
                      <a:lnTo>
                        <a:pt x="3" y="530"/>
                      </a:lnTo>
                      <a:lnTo>
                        <a:pt x="3" y="529"/>
                      </a:lnTo>
                      <a:lnTo>
                        <a:pt x="2" y="527"/>
                      </a:lnTo>
                      <a:lnTo>
                        <a:pt x="3" y="527"/>
                      </a:lnTo>
                      <a:lnTo>
                        <a:pt x="3" y="525"/>
                      </a:lnTo>
                      <a:lnTo>
                        <a:pt x="5" y="524"/>
                      </a:lnTo>
                      <a:lnTo>
                        <a:pt x="5" y="522"/>
                      </a:lnTo>
                      <a:lnTo>
                        <a:pt x="3" y="522"/>
                      </a:lnTo>
                      <a:lnTo>
                        <a:pt x="3" y="521"/>
                      </a:lnTo>
                      <a:lnTo>
                        <a:pt x="3" y="519"/>
                      </a:lnTo>
                      <a:lnTo>
                        <a:pt x="3" y="516"/>
                      </a:lnTo>
                      <a:lnTo>
                        <a:pt x="2" y="514"/>
                      </a:lnTo>
                      <a:lnTo>
                        <a:pt x="2" y="512"/>
                      </a:lnTo>
                      <a:lnTo>
                        <a:pt x="2" y="511"/>
                      </a:lnTo>
                      <a:lnTo>
                        <a:pt x="2" y="509"/>
                      </a:lnTo>
                      <a:lnTo>
                        <a:pt x="0" y="507"/>
                      </a:lnTo>
                      <a:lnTo>
                        <a:pt x="0" y="506"/>
                      </a:lnTo>
                      <a:lnTo>
                        <a:pt x="2" y="506"/>
                      </a:lnTo>
                      <a:lnTo>
                        <a:pt x="0" y="504"/>
                      </a:lnTo>
                      <a:lnTo>
                        <a:pt x="2" y="502"/>
                      </a:lnTo>
                      <a:lnTo>
                        <a:pt x="3" y="501"/>
                      </a:lnTo>
                      <a:lnTo>
                        <a:pt x="3" y="499"/>
                      </a:lnTo>
                      <a:lnTo>
                        <a:pt x="3" y="498"/>
                      </a:lnTo>
                      <a:lnTo>
                        <a:pt x="5" y="496"/>
                      </a:lnTo>
                      <a:lnTo>
                        <a:pt x="5" y="494"/>
                      </a:lnTo>
                      <a:lnTo>
                        <a:pt x="5" y="493"/>
                      </a:lnTo>
                      <a:lnTo>
                        <a:pt x="7" y="493"/>
                      </a:lnTo>
                      <a:lnTo>
                        <a:pt x="8" y="493"/>
                      </a:lnTo>
                      <a:lnTo>
                        <a:pt x="10" y="493"/>
                      </a:lnTo>
                      <a:lnTo>
                        <a:pt x="10" y="494"/>
                      </a:lnTo>
                      <a:lnTo>
                        <a:pt x="10" y="493"/>
                      </a:lnTo>
                      <a:lnTo>
                        <a:pt x="12" y="493"/>
                      </a:lnTo>
                      <a:lnTo>
                        <a:pt x="12" y="491"/>
                      </a:lnTo>
                      <a:lnTo>
                        <a:pt x="12" y="489"/>
                      </a:lnTo>
                      <a:lnTo>
                        <a:pt x="10" y="488"/>
                      </a:lnTo>
                      <a:lnTo>
                        <a:pt x="8" y="484"/>
                      </a:lnTo>
                      <a:lnTo>
                        <a:pt x="8" y="483"/>
                      </a:lnTo>
                      <a:lnTo>
                        <a:pt x="10" y="483"/>
                      </a:lnTo>
                      <a:lnTo>
                        <a:pt x="12" y="483"/>
                      </a:lnTo>
                      <a:lnTo>
                        <a:pt x="13" y="483"/>
                      </a:lnTo>
                      <a:lnTo>
                        <a:pt x="15" y="483"/>
                      </a:lnTo>
                      <a:lnTo>
                        <a:pt x="18" y="484"/>
                      </a:lnTo>
                      <a:lnTo>
                        <a:pt x="20" y="484"/>
                      </a:lnTo>
                      <a:lnTo>
                        <a:pt x="22" y="483"/>
                      </a:lnTo>
                      <a:lnTo>
                        <a:pt x="20" y="483"/>
                      </a:lnTo>
                      <a:lnTo>
                        <a:pt x="20" y="481"/>
                      </a:lnTo>
                      <a:lnTo>
                        <a:pt x="17" y="479"/>
                      </a:lnTo>
                      <a:lnTo>
                        <a:pt x="17" y="478"/>
                      </a:lnTo>
                      <a:lnTo>
                        <a:pt x="17" y="476"/>
                      </a:lnTo>
                      <a:lnTo>
                        <a:pt x="17" y="475"/>
                      </a:lnTo>
                      <a:lnTo>
                        <a:pt x="18" y="473"/>
                      </a:lnTo>
                      <a:lnTo>
                        <a:pt x="20" y="471"/>
                      </a:lnTo>
                      <a:lnTo>
                        <a:pt x="20" y="470"/>
                      </a:lnTo>
                      <a:lnTo>
                        <a:pt x="20" y="468"/>
                      </a:lnTo>
                      <a:lnTo>
                        <a:pt x="20" y="466"/>
                      </a:lnTo>
                      <a:lnTo>
                        <a:pt x="22" y="466"/>
                      </a:lnTo>
                      <a:lnTo>
                        <a:pt x="22" y="465"/>
                      </a:lnTo>
                      <a:lnTo>
                        <a:pt x="24" y="465"/>
                      </a:lnTo>
                      <a:lnTo>
                        <a:pt x="24" y="463"/>
                      </a:lnTo>
                      <a:lnTo>
                        <a:pt x="25" y="463"/>
                      </a:lnTo>
                      <a:lnTo>
                        <a:pt x="27" y="463"/>
                      </a:lnTo>
                      <a:lnTo>
                        <a:pt x="27" y="461"/>
                      </a:lnTo>
                      <a:lnTo>
                        <a:pt x="29" y="461"/>
                      </a:lnTo>
                      <a:lnTo>
                        <a:pt x="29" y="460"/>
                      </a:lnTo>
                      <a:lnTo>
                        <a:pt x="29" y="458"/>
                      </a:lnTo>
                      <a:lnTo>
                        <a:pt x="29" y="457"/>
                      </a:lnTo>
                      <a:lnTo>
                        <a:pt x="30" y="457"/>
                      </a:lnTo>
                      <a:lnTo>
                        <a:pt x="32" y="457"/>
                      </a:lnTo>
                      <a:lnTo>
                        <a:pt x="32" y="455"/>
                      </a:lnTo>
                      <a:lnTo>
                        <a:pt x="34" y="455"/>
                      </a:lnTo>
                      <a:lnTo>
                        <a:pt x="35" y="455"/>
                      </a:lnTo>
                      <a:lnTo>
                        <a:pt x="35" y="453"/>
                      </a:lnTo>
                      <a:lnTo>
                        <a:pt x="35" y="452"/>
                      </a:lnTo>
                      <a:lnTo>
                        <a:pt x="37" y="452"/>
                      </a:lnTo>
                      <a:lnTo>
                        <a:pt x="39" y="452"/>
                      </a:lnTo>
                      <a:lnTo>
                        <a:pt x="40" y="452"/>
                      </a:lnTo>
                      <a:lnTo>
                        <a:pt x="42" y="452"/>
                      </a:lnTo>
                      <a:lnTo>
                        <a:pt x="44" y="452"/>
                      </a:lnTo>
                      <a:lnTo>
                        <a:pt x="45" y="450"/>
                      </a:lnTo>
                      <a:lnTo>
                        <a:pt x="47" y="450"/>
                      </a:lnTo>
                      <a:lnTo>
                        <a:pt x="47" y="448"/>
                      </a:lnTo>
                      <a:lnTo>
                        <a:pt x="49" y="448"/>
                      </a:lnTo>
                      <a:lnTo>
                        <a:pt x="49" y="447"/>
                      </a:lnTo>
                      <a:lnTo>
                        <a:pt x="51" y="445"/>
                      </a:lnTo>
                      <a:lnTo>
                        <a:pt x="51" y="443"/>
                      </a:lnTo>
                      <a:lnTo>
                        <a:pt x="52" y="442"/>
                      </a:lnTo>
                      <a:lnTo>
                        <a:pt x="52" y="440"/>
                      </a:lnTo>
                      <a:lnTo>
                        <a:pt x="52" y="438"/>
                      </a:lnTo>
                      <a:lnTo>
                        <a:pt x="52" y="437"/>
                      </a:lnTo>
                      <a:lnTo>
                        <a:pt x="51" y="437"/>
                      </a:lnTo>
                      <a:lnTo>
                        <a:pt x="51" y="435"/>
                      </a:lnTo>
                      <a:lnTo>
                        <a:pt x="51" y="434"/>
                      </a:lnTo>
                      <a:lnTo>
                        <a:pt x="52" y="432"/>
                      </a:lnTo>
                      <a:lnTo>
                        <a:pt x="54" y="432"/>
                      </a:lnTo>
                      <a:lnTo>
                        <a:pt x="56" y="432"/>
                      </a:lnTo>
                      <a:lnTo>
                        <a:pt x="56" y="430"/>
                      </a:lnTo>
                      <a:lnTo>
                        <a:pt x="57" y="430"/>
                      </a:lnTo>
                      <a:lnTo>
                        <a:pt x="57" y="429"/>
                      </a:lnTo>
                      <a:lnTo>
                        <a:pt x="57" y="427"/>
                      </a:lnTo>
                      <a:lnTo>
                        <a:pt x="59" y="424"/>
                      </a:lnTo>
                      <a:lnTo>
                        <a:pt x="61" y="422"/>
                      </a:lnTo>
                      <a:lnTo>
                        <a:pt x="62" y="422"/>
                      </a:lnTo>
                      <a:lnTo>
                        <a:pt x="64" y="422"/>
                      </a:lnTo>
                      <a:lnTo>
                        <a:pt x="64" y="420"/>
                      </a:lnTo>
                      <a:lnTo>
                        <a:pt x="66" y="419"/>
                      </a:lnTo>
                      <a:lnTo>
                        <a:pt x="66" y="417"/>
                      </a:lnTo>
                      <a:lnTo>
                        <a:pt x="66" y="415"/>
                      </a:lnTo>
                      <a:lnTo>
                        <a:pt x="67" y="414"/>
                      </a:lnTo>
                      <a:lnTo>
                        <a:pt x="69" y="412"/>
                      </a:lnTo>
                      <a:lnTo>
                        <a:pt x="69" y="411"/>
                      </a:lnTo>
                      <a:lnTo>
                        <a:pt x="71" y="411"/>
                      </a:lnTo>
                      <a:lnTo>
                        <a:pt x="73" y="411"/>
                      </a:lnTo>
                      <a:lnTo>
                        <a:pt x="74" y="411"/>
                      </a:lnTo>
                      <a:lnTo>
                        <a:pt x="74" y="409"/>
                      </a:lnTo>
                      <a:lnTo>
                        <a:pt x="76" y="409"/>
                      </a:lnTo>
                      <a:lnTo>
                        <a:pt x="78" y="409"/>
                      </a:lnTo>
                      <a:lnTo>
                        <a:pt x="79" y="409"/>
                      </a:lnTo>
                      <a:lnTo>
                        <a:pt x="81" y="409"/>
                      </a:lnTo>
                      <a:lnTo>
                        <a:pt x="83" y="409"/>
                      </a:lnTo>
                      <a:lnTo>
                        <a:pt x="84" y="407"/>
                      </a:lnTo>
                      <a:lnTo>
                        <a:pt x="88" y="409"/>
                      </a:lnTo>
                      <a:lnTo>
                        <a:pt x="89" y="409"/>
                      </a:lnTo>
                      <a:lnTo>
                        <a:pt x="91" y="409"/>
                      </a:lnTo>
                      <a:lnTo>
                        <a:pt x="93" y="407"/>
                      </a:lnTo>
                      <a:lnTo>
                        <a:pt x="94" y="406"/>
                      </a:lnTo>
                      <a:lnTo>
                        <a:pt x="94" y="404"/>
                      </a:lnTo>
                      <a:lnTo>
                        <a:pt x="96" y="404"/>
                      </a:lnTo>
                      <a:lnTo>
                        <a:pt x="96" y="402"/>
                      </a:lnTo>
                      <a:lnTo>
                        <a:pt x="98" y="402"/>
                      </a:lnTo>
                      <a:lnTo>
                        <a:pt x="100" y="402"/>
                      </a:lnTo>
                      <a:lnTo>
                        <a:pt x="101" y="402"/>
                      </a:lnTo>
                      <a:lnTo>
                        <a:pt x="101" y="404"/>
                      </a:lnTo>
                      <a:lnTo>
                        <a:pt x="103" y="404"/>
                      </a:lnTo>
                      <a:lnTo>
                        <a:pt x="105" y="404"/>
                      </a:lnTo>
                      <a:lnTo>
                        <a:pt x="106" y="404"/>
                      </a:lnTo>
                      <a:lnTo>
                        <a:pt x="108" y="404"/>
                      </a:lnTo>
                      <a:lnTo>
                        <a:pt x="110" y="404"/>
                      </a:lnTo>
                      <a:lnTo>
                        <a:pt x="110" y="402"/>
                      </a:lnTo>
                      <a:lnTo>
                        <a:pt x="111" y="402"/>
                      </a:lnTo>
                      <a:lnTo>
                        <a:pt x="111" y="404"/>
                      </a:lnTo>
                      <a:lnTo>
                        <a:pt x="113" y="404"/>
                      </a:lnTo>
                      <a:lnTo>
                        <a:pt x="115" y="406"/>
                      </a:lnTo>
                      <a:lnTo>
                        <a:pt x="116" y="406"/>
                      </a:lnTo>
                      <a:lnTo>
                        <a:pt x="118" y="406"/>
                      </a:lnTo>
                      <a:lnTo>
                        <a:pt x="120" y="406"/>
                      </a:lnTo>
                      <a:lnTo>
                        <a:pt x="120" y="404"/>
                      </a:lnTo>
                      <a:lnTo>
                        <a:pt x="121" y="404"/>
                      </a:lnTo>
                      <a:lnTo>
                        <a:pt x="121" y="402"/>
                      </a:lnTo>
                      <a:lnTo>
                        <a:pt x="123" y="404"/>
                      </a:lnTo>
                      <a:lnTo>
                        <a:pt x="125" y="404"/>
                      </a:lnTo>
                      <a:lnTo>
                        <a:pt x="125" y="402"/>
                      </a:lnTo>
                      <a:lnTo>
                        <a:pt x="127" y="402"/>
                      </a:lnTo>
                      <a:lnTo>
                        <a:pt x="128" y="401"/>
                      </a:lnTo>
                      <a:lnTo>
                        <a:pt x="130" y="401"/>
                      </a:lnTo>
                      <a:lnTo>
                        <a:pt x="132" y="401"/>
                      </a:lnTo>
                      <a:lnTo>
                        <a:pt x="132" y="402"/>
                      </a:lnTo>
                      <a:lnTo>
                        <a:pt x="133" y="402"/>
                      </a:lnTo>
                      <a:lnTo>
                        <a:pt x="133" y="401"/>
                      </a:lnTo>
                      <a:lnTo>
                        <a:pt x="132" y="399"/>
                      </a:lnTo>
                      <a:lnTo>
                        <a:pt x="133" y="397"/>
                      </a:lnTo>
                      <a:lnTo>
                        <a:pt x="137" y="397"/>
                      </a:lnTo>
                      <a:lnTo>
                        <a:pt x="138" y="397"/>
                      </a:lnTo>
                      <a:lnTo>
                        <a:pt x="140" y="397"/>
                      </a:lnTo>
                      <a:lnTo>
                        <a:pt x="142" y="397"/>
                      </a:lnTo>
                      <a:lnTo>
                        <a:pt x="142" y="396"/>
                      </a:lnTo>
                      <a:lnTo>
                        <a:pt x="143" y="396"/>
                      </a:lnTo>
                      <a:lnTo>
                        <a:pt x="142" y="394"/>
                      </a:lnTo>
                      <a:lnTo>
                        <a:pt x="142" y="392"/>
                      </a:lnTo>
                      <a:lnTo>
                        <a:pt x="143" y="392"/>
                      </a:lnTo>
                      <a:lnTo>
                        <a:pt x="145" y="392"/>
                      </a:lnTo>
                      <a:lnTo>
                        <a:pt x="147" y="392"/>
                      </a:lnTo>
                      <a:lnTo>
                        <a:pt x="149" y="392"/>
                      </a:lnTo>
                      <a:lnTo>
                        <a:pt x="149" y="394"/>
                      </a:lnTo>
                      <a:lnTo>
                        <a:pt x="149" y="396"/>
                      </a:lnTo>
                      <a:lnTo>
                        <a:pt x="149" y="397"/>
                      </a:lnTo>
                      <a:lnTo>
                        <a:pt x="149" y="399"/>
                      </a:lnTo>
                      <a:lnTo>
                        <a:pt x="150" y="401"/>
                      </a:lnTo>
                      <a:lnTo>
                        <a:pt x="152" y="401"/>
                      </a:lnTo>
                      <a:lnTo>
                        <a:pt x="152" y="402"/>
                      </a:lnTo>
                      <a:lnTo>
                        <a:pt x="154" y="402"/>
                      </a:lnTo>
                      <a:lnTo>
                        <a:pt x="154" y="406"/>
                      </a:lnTo>
                      <a:lnTo>
                        <a:pt x="155" y="406"/>
                      </a:lnTo>
                      <a:lnTo>
                        <a:pt x="157" y="406"/>
                      </a:lnTo>
                      <a:lnTo>
                        <a:pt x="159" y="406"/>
                      </a:lnTo>
                      <a:lnTo>
                        <a:pt x="159" y="404"/>
                      </a:lnTo>
                      <a:lnTo>
                        <a:pt x="160" y="402"/>
                      </a:lnTo>
                      <a:lnTo>
                        <a:pt x="162" y="402"/>
                      </a:lnTo>
                      <a:lnTo>
                        <a:pt x="162" y="401"/>
                      </a:lnTo>
                      <a:lnTo>
                        <a:pt x="162" y="399"/>
                      </a:lnTo>
                      <a:lnTo>
                        <a:pt x="164" y="399"/>
                      </a:lnTo>
                      <a:lnTo>
                        <a:pt x="165" y="399"/>
                      </a:lnTo>
                      <a:lnTo>
                        <a:pt x="167" y="399"/>
                      </a:lnTo>
                      <a:lnTo>
                        <a:pt x="167" y="397"/>
                      </a:lnTo>
                      <a:lnTo>
                        <a:pt x="167" y="396"/>
                      </a:lnTo>
                      <a:lnTo>
                        <a:pt x="169" y="396"/>
                      </a:lnTo>
                      <a:lnTo>
                        <a:pt x="170" y="396"/>
                      </a:lnTo>
                      <a:lnTo>
                        <a:pt x="170" y="394"/>
                      </a:lnTo>
                      <a:lnTo>
                        <a:pt x="172" y="392"/>
                      </a:lnTo>
                      <a:lnTo>
                        <a:pt x="172" y="391"/>
                      </a:lnTo>
                      <a:lnTo>
                        <a:pt x="174" y="389"/>
                      </a:lnTo>
                      <a:lnTo>
                        <a:pt x="176" y="389"/>
                      </a:lnTo>
                      <a:lnTo>
                        <a:pt x="176" y="388"/>
                      </a:lnTo>
                      <a:lnTo>
                        <a:pt x="176" y="386"/>
                      </a:lnTo>
                      <a:lnTo>
                        <a:pt x="174" y="386"/>
                      </a:lnTo>
                      <a:lnTo>
                        <a:pt x="174" y="384"/>
                      </a:lnTo>
                      <a:lnTo>
                        <a:pt x="176" y="384"/>
                      </a:lnTo>
                      <a:lnTo>
                        <a:pt x="177" y="386"/>
                      </a:lnTo>
                      <a:lnTo>
                        <a:pt x="177" y="384"/>
                      </a:lnTo>
                      <a:lnTo>
                        <a:pt x="179" y="384"/>
                      </a:lnTo>
                      <a:lnTo>
                        <a:pt x="181" y="383"/>
                      </a:lnTo>
                      <a:lnTo>
                        <a:pt x="182" y="383"/>
                      </a:lnTo>
                      <a:lnTo>
                        <a:pt x="184" y="383"/>
                      </a:lnTo>
                      <a:lnTo>
                        <a:pt x="184" y="384"/>
                      </a:lnTo>
                      <a:lnTo>
                        <a:pt x="186" y="384"/>
                      </a:lnTo>
                      <a:lnTo>
                        <a:pt x="187" y="384"/>
                      </a:lnTo>
                      <a:lnTo>
                        <a:pt x="189" y="384"/>
                      </a:lnTo>
                      <a:lnTo>
                        <a:pt x="189" y="383"/>
                      </a:lnTo>
                      <a:lnTo>
                        <a:pt x="191" y="381"/>
                      </a:lnTo>
                      <a:lnTo>
                        <a:pt x="189" y="381"/>
                      </a:lnTo>
                      <a:lnTo>
                        <a:pt x="191" y="381"/>
                      </a:lnTo>
                      <a:lnTo>
                        <a:pt x="192" y="381"/>
                      </a:lnTo>
                      <a:lnTo>
                        <a:pt x="194" y="381"/>
                      </a:lnTo>
                      <a:lnTo>
                        <a:pt x="194" y="379"/>
                      </a:lnTo>
                      <a:lnTo>
                        <a:pt x="196" y="379"/>
                      </a:lnTo>
                      <a:lnTo>
                        <a:pt x="196" y="378"/>
                      </a:lnTo>
                      <a:lnTo>
                        <a:pt x="197" y="378"/>
                      </a:lnTo>
                      <a:lnTo>
                        <a:pt x="197" y="376"/>
                      </a:lnTo>
                      <a:lnTo>
                        <a:pt x="199" y="376"/>
                      </a:lnTo>
                      <a:lnTo>
                        <a:pt x="201" y="374"/>
                      </a:lnTo>
                      <a:lnTo>
                        <a:pt x="203" y="374"/>
                      </a:lnTo>
                      <a:lnTo>
                        <a:pt x="203" y="376"/>
                      </a:lnTo>
                      <a:lnTo>
                        <a:pt x="204" y="376"/>
                      </a:lnTo>
                      <a:lnTo>
                        <a:pt x="206" y="376"/>
                      </a:lnTo>
                      <a:lnTo>
                        <a:pt x="206" y="378"/>
                      </a:lnTo>
                      <a:lnTo>
                        <a:pt x="208" y="378"/>
                      </a:lnTo>
                      <a:lnTo>
                        <a:pt x="209" y="378"/>
                      </a:lnTo>
                      <a:lnTo>
                        <a:pt x="209" y="379"/>
                      </a:lnTo>
                      <a:lnTo>
                        <a:pt x="211" y="381"/>
                      </a:lnTo>
                      <a:lnTo>
                        <a:pt x="213" y="381"/>
                      </a:lnTo>
                      <a:lnTo>
                        <a:pt x="213" y="379"/>
                      </a:lnTo>
                      <a:lnTo>
                        <a:pt x="214" y="379"/>
                      </a:lnTo>
                      <a:lnTo>
                        <a:pt x="216" y="379"/>
                      </a:lnTo>
                      <a:lnTo>
                        <a:pt x="218" y="378"/>
                      </a:lnTo>
                      <a:lnTo>
                        <a:pt x="218" y="379"/>
                      </a:lnTo>
                      <a:lnTo>
                        <a:pt x="219" y="379"/>
                      </a:lnTo>
                      <a:lnTo>
                        <a:pt x="221" y="378"/>
                      </a:lnTo>
                      <a:lnTo>
                        <a:pt x="223" y="379"/>
                      </a:lnTo>
                      <a:lnTo>
                        <a:pt x="225" y="378"/>
                      </a:lnTo>
                      <a:lnTo>
                        <a:pt x="225" y="379"/>
                      </a:lnTo>
                      <a:lnTo>
                        <a:pt x="226" y="379"/>
                      </a:lnTo>
                      <a:lnTo>
                        <a:pt x="226" y="378"/>
                      </a:lnTo>
                      <a:lnTo>
                        <a:pt x="228" y="378"/>
                      </a:lnTo>
                      <a:lnTo>
                        <a:pt x="228" y="376"/>
                      </a:lnTo>
                      <a:lnTo>
                        <a:pt x="230" y="376"/>
                      </a:lnTo>
                      <a:lnTo>
                        <a:pt x="231" y="376"/>
                      </a:lnTo>
                      <a:lnTo>
                        <a:pt x="231" y="378"/>
                      </a:lnTo>
                      <a:lnTo>
                        <a:pt x="233" y="378"/>
                      </a:lnTo>
                      <a:lnTo>
                        <a:pt x="233" y="376"/>
                      </a:lnTo>
                      <a:lnTo>
                        <a:pt x="236" y="376"/>
                      </a:lnTo>
                      <a:lnTo>
                        <a:pt x="236" y="378"/>
                      </a:lnTo>
                      <a:lnTo>
                        <a:pt x="236" y="379"/>
                      </a:lnTo>
                      <a:lnTo>
                        <a:pt x="238" y="379"/>
                      </a:lnTo>
                      <a:lnTo>
                        <a:pt x="240" y="379"/>
                      </a:lnTo>
                      <a:lnTo>
                        <a:pt x="241" y="379"/>
                      </a:lnTo>
                      <a:lnTo>
                        <a:pt x="243" y="379"/>
                      </a:lnTo>
                      <a:lnTo>
                        <a:pt x="243" y="381"/>
                      </a:lnTo>
                      <a:lnTo>
                        <a:pt x="243" y="383"/>
                      </a:lnTo>
                      <a:lnTo>
                        <a:pt x="243" y="381"/>
                      </a:lnTo>
                      <a:lnTo>
                        <a:pt x="245" y="381"/>
                      </a:lnTo>
                      <a:lnTo>
                        <a:pt x="246" y="379"/>
                      </a:lnTo>
                      <a:lnTo>
                        <a:pt x="246" y="381"/>
                      </a:lnTo>
                      <a:lnTo>
                        <a:pt x="248" y="381"/>
                      </a:lnTo>
                      <a:lnTo>
                        <a:pt x="250" y="379"/>
                      </a:lnTo>
                      <a:lnTo>
                        <a:pt x="250" y="381"/>
                      </a:lnTo>
                      <a:lnTo>
                        <a:pt x="252" y="381"/>
                      </a:lnTo>
                      <a:lnTo>
                        <a:pt x="253" y="381"/>
                      </a:lnTo>
                      <a:lnTo>
                        <a:pt x="255" y="381"/>
                      </a:lnTo>
                      <a:lnTo>
                        <a:pt x="257" y="381"/>
                      </a:lnTo>
                      <a:lnTo>
                        <a:pt x="258" y="383"/>
                      </a:lnTo>
                      <a:lnTo>
                        <a:pt x="260" y="383"/>
                      </a:lnTo>
                      <a:lnTo>
                        <a:pt x="260" y="381"/>
                      </a:lnTo>
                      <a:lnTo>
                        <a:pt x="258" y="381"/>
                      </a:lnTo>
                      <a:lnTo>
                        <a:pt x="260" y="379"/>
                      </a:lnTo>
                      <a:lnTo>
                        <a:pt x="262" y="379"/>
                      </a:lnTo>
                      <a:lnTo>
                        <a:pt x="262" y="378"/>
                      </a:lnTo>
                      <a:lnTo>
                        <a:pt x="263" y="378"/>
                      </a:lnTo>
                      <a:lnTo>
                        <a:pt x="263" y="376"/>
                      </a:lnTo>
                      <a:lnTo>
                        <a:pt x="263" y="378"/>
                      </a:lnTo>
                      <a:lnTo>
                        <a:pt x="265" y="378"/>
                      </a:lnTo>
                      <a:lnTo>
                        <a:pt x="263" y="378"/>
                      </a:lnTo>
                      <a:lnTo>
                        <a:pt x="265" y="378"/>
                      </a:lnTo>
                      <a:lnTo>
                        <a:pt x="268" y="378"/>
                      </a:lnTo>
                      <a:lnTo>
                        <a:pt x="267" y="379"/>
                      </a:lnTo>
                      <a:lnTo>
                        <a:pt x="268" y="379"/>
                      </a:lnTo>
                      <a:lnTo>
                        <a:pt x="270" y="379"/>
                      </a:lnTo>
                      <a:lnTo>
                        <a:pt x="272" y="381"/>
                      </a:lnTo>
                      <a:lnTo>
                        <a:pt x="273" y="381"/>
                      </a:lnTo>
                      <a:lnTo>
                        <a:pt x="273" y="383"/>
                      </a:lnTo>
                      <a:lnTo>
                        <a:pt x="275" y="383"/>
                      </a:lnTo>
                      <a:lnTo>
                        <a:pt x="275" y="384"/>
                      </a:lnTo>
                      <a:lnTo>
                        <a:pt x="277" y="384"/>
                      </a:lnTo>
                      <a:lnTo>
                        <a:pt x="277" y="386"/>
                      </a:lnTo>
                      <a:lnTo>
                        <a:pt x="279" y="386"/>
                      </a:lnTo>
                      <a:lnTo>
                        <a:pt x="280" y="386"/>
                      </a:lnTo>
                      <a:lnTo>
                        <a:pt x="282" y="386"/>
                      </a:lnTo>
                      <a:lnTo>
                        <a:pt x="284" y="384"/>
                      </a:lnTo>
                      <a:lnTo>
                        <a:pt x="285" y="386"/>
                      </a:lnTo>
                      <a:lnTo>
                        <a:pt x="285" y="388"/>
                      </a:lnTo>
                      <a:lnTo>
                        <a:pt x="287" y="388"/>
                      </a:lnTo>
                      <a:lnTo>
                        <a:pt x="287" y="389"/>
                      </a:lnTo>
                      <a:lnTo>
                        <a:pt x="289" y="389"/>
                      </a:lnTo>
                      <a:lnTo>
                        <a:pt x="290" y="388"/>
                      </a:lnTo>
                      <a:lnTo>
                        <a:pt x="290" y="389"/>
                      </a:lnTo>
                      <a:lnTo>
                        <a:pt x="290" y="391"/>
                      </a:lnTo>
                      <a:lnTo>
                        <a:pt x="292" y="391"/>
                      </a:lnTo>
                      <a:lnTo>
                        <a:pt x="292" y="392"/>
                      </a:lnTo>
                      <a:lnTo>
                        <a:pt x="294" y="392"/>
                      </a:lnTo>
                      <a:lnTo>
                        <a:pt x="295" y="391"/>
                      </a:lnTo>
                      <a:lnTo>
                        <a:pt x="295" y="392"/>
                      </a:lnTo>
                      <a:lnTo>
                        <a:pt x="295" y="391"/>
                      </a:lnTo>
                      <a:lnTo>
                        <a:pt x="297" y="389"/>
                      </a:lnTo>
                      <a:lnTo>
                        <a:pt x="299" y="391"/>
                      </a:lnTo>
                      <a:lnTo>
                        <a:pt x="299" y="389"/>
                      </a:lnTo>
                      <a:lnTo>
                        <a:pt x="301" y="389"/>
                      </a:lnTo>
                      <a:lnTo>
                        <a:pt x="301" y="391"/>
                      </a:lnTo>
                      <a:lnTo>
                        <a:pt x="302" y="391"/>
                      </a:lnTo>
                      <a:lnTo>
                        <a:pt x="302" y="389"/>
                      </a:lnTo>
                      <a:lnTo>
                        <a:pt x="301" y="389"/>
                      </a:lnTo>
                      <a:lnTo>
                        <a:pt x="302" y="389"/>
                      </a:lnTo>
                      <a:lnTo>
                        <a:pt x="302" y="388"/>
                      </a:lnTo>
                      <a:lnTo>
                        <a:pt x="304" y="388"/>
                      </a:lnTo>
                      <a:lnTo>
                        <a:pt x="306" y="388"/>
                      </a:lnTo>
                      <a:lnTo>
                        <a:pt x="304" y="388"/>
                      </a:lnTo>
                      <a:lnTo>
                        <a:pt x="304" y="386"/>
                      </a:lnTo>
                      <a:lnTo>
                        <a:pt x="306" y="386"/>
                      </a:lnTo>
                      <a:lnTo>
                        <a:pt x="306" y="384"/>
                      </a:lnTo>
                      <a:lnTo>
                        <a:pt x="307" y="384"/>
                      </a:lnTo>
                      <a:lnTo>
                        <a:pt x="309" y="386"/>
                      </a:lnTo>
                      <a:lnTo>
                        <a:pt x="311" y="386"/>
                      </a:lnTo>
                      <a:lnTo>
                        <a:pt x="311" y="384"/>
                      </a:lnTo>
                      <a:lnTo>
                        <a:pt x="312" y="384"/>
                      </a:lnTo>
                      <a:lnTo>
                        <a:pt x="312" y="383"/>
                      </a:lnTo>
                      <a:lnTo>
                        <a:pt x="312" y="381"/>
                      </a:lnTo>
                      <a:lnTo>
                        <a:pt x="314" y="381"/>
                      </a:lnTo>
                      <a:lnTo>
                        <a:pt x="314" y="379"/>
                      </a:lnTo>
                      <a:lnTo>
                        <a:pt x="316" y="381"/>
                      </a:lnTo>
                      <a:lnTo>
                        <a:pt x="316" y="379"/>
                      </a:lnTo>
                      <a:lnTo>
                        <a:pt x="316" y="381"/>
                      </a:lnTo>
                      <a:lnTo>
                        <a:pt x="317" y="381"/>
                      </a:lnTo>
                      <a:lnTo>
                        <a:pt x="319" y="379"/>
                      </a:lnTo>
                      <a:lnTo>
                        <a:pt x="321" y="379"/>
                      </a:lnTo>
                      <a:lnTo>
                        <a:pt x="321" y="378"/>
                      </a:lnTo>
                      <a:lnTo>
                        <a:pt x="322" y="376"/>
                      </a:lnTo>
                      <a:lnTo>
                        <a:pt x="322" y="378"/>
                      </a:lnTo>
                      <a:lnTo>
                        <a:pt x="324" y="378"/>
                      </a:lnTo>
                      <a:lnTo>
                        <a:pt x="324" y="376"/>
                      </a:lnTo>
                      <a:lnTo>
                        <a:pt x="326" y="376"/>
                      </a:lnTo>
                      <a:lnTo>
                        <a:pt x="326" y="374"/>
                      </a:lnTo>
                      <a:lnTo>
                        <a:pt x="324" y="374"/>
                      </a:lnTo>
                      <a:lnTo>
                        <a:pt x="324" y="373"/>
                      </a:lnTo>
                      <a:lnTo>
                        <a:pt x="322" y="373"/>
                      </a:lnTo>
                      <a:lnTo>
                        <a:pt x="324" y="373"/>
                      </a:lnTo>
                      <a:lnTo>
                        <a:pt x="324" y="371"/>
                      </a:lnTo>
                      <a:lnTo>
                        <a:pt x="324" y="369"/>
                      </a:lnTo>
                      <a:lnTo>
                        <a:pt x="326" y="369"/>
                      </a:lnTo>
                      <a:lnTo>
                        <a:pt x="326" y="371"/>
                      </a:lnTo>
                      <a:lnTo>
                        <a:pt x="326" y="369"/>
                      </a:lnTo>
                      <a:lnTo>
                        <a:pt x="328" y="369"/>
                      </a:lnTo>
                      <a:lnTo>
                        <a:pt x="328" y="368"/>
                      </a:lnTo>
                      <a:lnTo>
                        <a:pt x="329" y="368"/>
                      </a:lnTo>
                      <a:lnTo>
                        <a:pt x="328" y="368"/>
                      </a:lnTo>
                      <a:lnTo>
                        <a:pt x="329" y="368"/>
                      </a:lnTo>
                      <a:lnTo>
                        <a:pt x="329" y="366"/>
                      </a:lnTo>
                      <a:lnTo>
                        <a:pt x="331" y="366"/>
                      </a:lnTo>
                      <a:lnTo>
                        <a:pt x="331" y="365"/>
                      </a:lnTo>
                      <a:lnTo>
                        <a:pt x="333" y="365"/>
                      </a:lnTo>
                      <a:lnTo>
                        <a:pt x="333" y="366"/>
                      </a:lnTo>
                      <a:lnTo>
                        <a:pt x="333" y="368"/>
                      </a:lnTo>
                      <a:lnTo>
                        <a:pt x="334" y="368"/>
                      </a:lnTo>
                      <a:lnTo>
                        <a:pt x="333" y="368"/>
                      </a:lnTo>
                      <a:lnTo>
                        <a:pt x="333" y="366"/>
                      </a:lnTo>
                      <a:lnTo>
                        <a:pt x="334" y="366"/>
                      </a:lnTo>
                      <a:lnTo>
                        <a:pt x="334" y="365"/>
                      </a:lnTo>
                      <a:lnTo>
                        <a:pt x="336" y="365"/>
                      </a:lnTo>
                      <a:lnTo>
                        <a:pt x="338" y="365"/>
                      </a:lnTo>
                      <a:lnTo>
                        <a:pt x="338" y="363"/>
                      </a:lnTo>
                      <a:lnTo>
                        <a:pt x="339" y="363"/>
                      </a:lnTo>
                      <a:lnTo>
                        <a:pt x="341" y="361"/>
                      </a:lnTo>
                      <a:lnTo>
                        <a:pt x="343" y="361"/>
                      </a:lnTo>
                      <a:lnTo>
                        <a:pt x="343" y="363"/>
                      </a:lnTo>
                      <a:lnTo>
                        <a:pt x="343" y="361"/>
                      </a:lnTo>
                      <a:lnTo>
                        <a:pt x="343" y="360"/>
                      </a:lnTo>
                      <a:lnTo>
                        <a:pt x="344" y="360"/>
                      </a:lnTo>
                      <a:lnTo>
                        <a:pt x="346" y="360"/>
                      </a:lnTo>
                      <a:lnTo>
                        <a:pt x="344" y="360"/>
                      </a:lnTo>
                      <a:lnTo>
                        <a:pt x="346" y="358"/>
                      </a:lnTo>
                      <a:lnTo>
                        <a:pt x="348" y="358"/>
                      </a:lnTo>
                      <a:lnTo>
                        <a:pt x="349" y="356"/>
                      </a:lnTo>
                      <a:lnTo>
                        <a:pt x="349" y="355"/>
                      </a:lnTo>
                      <a:lnTo>
                        <a:pt x="349" y="356"/>
                      </a:lnTo>
                      <a:lnTo>
                        <a:pt x="349" y="355"/>
                      </a:lnTo>
                      <a:lnTo>
                        <a:pt x="351" y="355"/>
                      </a:lnTo>
                      <a:lnTo>
                        <a:pt x="353" y="353"/>
                      </a:lnTo>
                      <a:lnTo>
                        <a:pt x="355" y="353"/>
                      </a:lnTo>
                      <a:lnTo>
                        <a:pt x="356" y="353"/>
                      </a:lnTo>
                      <a:lnTo>
                        <a:pt x="356" y="351"/>
                      </a:lnTo>
                      <a:lnTo>
                        <a:pt x="356" y="350"/>
                      </a:lnTo>
                      <a:lnTo>
                        <a:pt x="356" y="351"/>
                      </a:lnTo>
                      <a:lnTo>
                        <a:pt x="356" y="350"/>
                      </a:lnTo>
                      <a:lnTo>
                        <a:pt x="355" y="350"/>
                      </a:lnTo>
                      <a:lnTo>
                        <a:pt x="356" y="350"/>
                      </a:lnTo>
                      <a:lnTo>
                        <a:pt x="356" y="348"/>
                      </a:lnTo>
                      <a:lnTo>
                        <a:pt x="355" y="348"/>
                      </a:lnTo>
                      <a:lnTo>
                        <a:pt x="355" y="346"/>
                      </a:lnTo>
                      <a:lnTo>
                        <a:pt x="355" y="348"/>
                      </a:lnTo>
                      <a:lnTo>
                        <a:pt x="355" y="346"/>
                      </a:lnTo>
                      <a:lnTo>
                        <a:pt x="353" y="346"/>
                      </a:lnTo>
                      <a:lnTo>
                        <a:pt x="353" y="345"/>
                      </a:lnTo>
                      <a:lnTo>
                        <a:pt x="355" y="345"/>
                      </a:lnTo>
                      <a:lnTo>
                        <a:pt x="355" y="343"/>
                      </a:lnTo>
                      <a:lnTo>
                        <a:pt x="353" y="343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3" y="342"/>
                      </a:lnTo>
                      <a:lnTo>
                        <a:pt x="351" y="342"/>
                      </a:lnTo>
                      <a:lnTo>
                        <a:pt x="351" y="340"/>
                      </a:lnTo>
                      <a:lnTo>
                        <a:pt x="351" y="342"/>
                      </a:lnTo>
                      <a:lnTo>
                        <a:pt x="351" y="340"/>
                      </a:lnTo>
                      <a:lnTo>
                        <a:pt x="351" y="338"/>
                      </a:lnTo>
                      <a:lnTo>
                        <a:pt x="351" y="337"/>
                      </a:lnTo>
                      <a:lnTo>
                        <a:pt x="349" y="337"/>
                      </a:lnTo>
                      <a:lnTo>
                        <a:pt x="349" y="335"/>
                      </a:lnTo>
                      <a:lnTo>
                        <a:pt x="349" y="333"/>
                      </a:lnTo>
                      <a:lnTo>
                        <a:pt x="349" y="332"/>
                      </a:lnTo>
                      <a:lnTo>
                        <a:pt x="348" y="332"/>
                      </a:lnTo>
                      <a:lnTo>
                        <a:pt x="348" y="330"/>
                      </a:lnTo>
                      <a:lnTo>
                        <a:pt x="349" y="330"/>
                      </a:lnTo>
                      <a:lnTo>
                        <a:pt x="351" y="330"/>
                      </a:lnTo>
                      <a:lnTo>
                        <a:pt x="351" y="328"/>
                      </a:lnTo>
                      <a:lnTo>
                        <a:pt x="349" y="328"/>
                      </a:lnTo>
                      <a:lnTo>
                        <a:pt x="351" y="328"/>
                      </a:lnTo>
                      <a:lnTo>
                        <a:pt x="349" y="328"/>
                      </a:lnTo>
                      <a:lnTo>
                        <a:pt x="349" y="327"/>
                      </a:lnTo>
                      <a:lnTo>
                        <a:pt x="351" y="327"/>
                      </a:lnTo>
                      <a:lnTo>
                        <a:pt x="351" y="325"/>
                      </a:lnTo>
                      <a:lnTo>
                        <a:pt x="353" y="325"/>
                      </a:lnTo>
                      <a:lnTo>
                        <a:pt x="351" y="325"/>
                      </a:lnTo>
                      <a:lnTo>
                        <a:pt x="351" y="323"/>
                      </a:lnTo>
                      <a:lnTo>
                        <a:pt x="351" y="322"/>
                      </a:lnTo>
                      <a:lnTo>
                        <a:pt x="353" y="322"/>
                      </a:lnTo>
                      <a:lnTo>
                        <a:pt x="355" y="320"/>
                      </a:lnTo>
                      <a:lnTo>
                        <a:pt x="355" y="319"/>
                      </a:lnTo>
                      <a:lnTo>
                        <a:pt x="355" y="317"/>
                      </a:lnTo>
                      <a:lnTo>
                        <a:pt x="356" y="317"/>
                      </a:lnTo>
                      <a:lnTo>
                        <a:pt x="358" y="317"/>
                      </a:lnTo>
                      <a:lnTo>
                        <a:pt x="358" y="315"/>
                      </a:lnTo>
                      <a:lnTo>
                        <a:pt x="356" y="315"/>
                      </a:lnTo>
                      <a:lnTo>
                        <a:pt x="358" y="315"/>
                      </a:lnTo>
                      <a:lnTo>
                        <a:pt x="356" y="315"/>
                      </a:lnTo>
                      <a:lnTo>
                        <a:pt x="358" y="314"/>
                      </a:lnTo>
                      <a:lnTo>
                        <a:pt x="358" y="312"/>
                      </a:lnTo>
                      <a:lnTo>
                        <a:pt x="358" y="310"/>
                      </a:lnTo>
                      <a:lnTo>
                        <a:pt x="358" y="309"/>
                      </a:lnTo>
                      <a:lnTo>
                        <a:pt x="356" y="309"/>
                      </a:lnTo>
                      <a:lnTo>
                        <a:pt x="356" y="307"/>
                      </a:lnTo>
                      <a:lnTo>
                        <a:pt x="355" y="305"/>
                      </a:lnTo>
                      <a:lnTo>
                        <a:pt x="355" y="304"/>
                      </a:lnTo>
                      <a:lnTo>
                        <a:pt x="353" y="304"/>
                      </a:lnTo>
                      <a:lnTo>
                        <a:pt x="353" y="302"/>
                      </a:lnTo>
                      <a:lnTo>
                        <a:pt x="351" y="302"/>
                      </a:lnTo>
                      <a:lnTo>
                        <a:pt x="351" y="304"/>
                      </a:lnTo>
                      <a:lnTo>
                        <a:pt x="349" y="302"/>
                      </a:lnTo>
                      <a:lnTo>
                        <a:pt x="348" y="302"/>
                      </a:lnTo>
                      <a:lnTo>
                        <a:pt x="346" y="302"/>
                      </a:lnTo>
                      <a:lnTo>
                        <a:pt x="344" y="302"/>
                      </a:lnTo>
                      <a:lnTo>
                        <a:pt x="343" y="302"/>
                      </a:lnTo>
                      <a:lnTo>
                        <a:pt x="343" y="304"/>
                      </a:lnTo>
                      <a:lnTo>
                        <a:pt x="341" y="304"/>
                      </a:lnTo>
                      <a:lnTo>
                        <a:pt x="339" y="304"/>
                      </a:lnTo>
                      <a:lnTo>
                        <a:pt x="339" y="302"/>
                      </a:lnTo>
                      <a:lnTo>
                        <a:pt x="338" y="302"/>
                      </a:lnTo>
                      <a:lnTo>
                        <a:pt x="338" y="304"/>
                      </a:lnTo>
                      <a:lnTo>
                        <a:pt x="336" y="304"/>
                      </a:lnTo>
                      <a:lnTo>
                        <a:pt x="336" y="302"/>
                      </a:lnTo>
                      <a:lnTo>
                        <a:pt x="336" y="300"/>
                      </a:lnTo>
                      <a:lnTo>
                        <a:pt x="336" y="299"/>
                      </a:lnTo>
                      <a:lnTo>
                        <a:pt x="334" y="299"/>
                      </a:lnTo>
                      <a:lnTo>
                        <a:pt x="334" y="297"/>
                      </a:lnTo>
                      <a:lnTo>
                        <a:pt x="333" y="297"/>
                      </a:lnTo>
                      <a:lnTo>
                        <a:pt x="333" y="296"/>
                      </a:lnTo>
                      <a:lnTo>
                        <a:pt x="333" y="297"/>
                      </a:lnTo>
                      <a:lnTo>
                        <a:pt x="333" y="296"/>
                      </a:lnTo>
                      <a:lnTo>
                        <a:pt x="334" y="296"/>
                      </a:lnTo>
                      <a:lnTo>
                        <a:pt x="334" y="294"/>
                      </a:lnTo>
                      <a:lnTo>
                        <a:pt x="333" y="292"/>
                      </a:lnTo>
                      <a:lnTo>
                        <a:pt x="334" y="292"/>
                      </a:lnTo>
                      <a:lnTo>
                        <a:pt x="333" y="292"/>
                      </a:lnTo>
                      <a:lnTo>
                        <a:pt x="333" y="291"/>
                      </a:lnTo>
                      <a:lnTo>
                        <a:pt x="334" y="291"/>
                      </a:lnTo>
                      <a:lnTo>
                        <a:pt x="333" y="289"/>
                      </a:lnTo>
                      <a:lnTo>
                        <a:pt x="334" y="289"/>
                      </a:lnTo>
                      <a:lnTo>
                        <a:pt x="334" y="291"/>
                      </a:lnTo>
                      <a:lnTo>
                        <a:pt x="334" y="289"/>
                      </a:lnTo>
                      <a:lnTo>
                        <a:pt x="334" y="287"/>
                      </a:lnTo>
                      <a:lnTo>
                        <a:pt x="334" y="286"/>
                      </a:lnTo>
                      <a:lnTo>
                        <a:pt x="336" y="286"/>
                      </a:lnTo>
                      <a:lnTo>
                        <a:pt x="334" y="286"/>
                      </a:lnTo>
                      <a:lnTo>
                        <a:pt x="334" y="284"/>
                      </a:lnTo>
                      <a:lnTo>
                        <a:pt x="336" y="284"/>
                      </a:lnTo>
                      <a:lnTo>
                        <a:pt x="336" y="286"/>
                      </a:lnTo>
                      <a:lnTo>
                        <a:pt x="338" y="286"/>
                      </a:lnTo>
                      <a:lnTo>
                        <a:pt x="338" y="287"/>
                      </a:lnTo>
                      <a:lnTo>
                        <a:pt x="339" y="286"/>
                      </a:lnTo>
                      <a:lnTo>
                        <a:pt x="339" y="287"/>
                      </a:lnTo>
                      <a:lnTo>
                        <a:pt x="341" y="287"/>
                      </a:lnTo>
                      <a:lnTo>
                        <a:pt x="339" y="287"/>
                      </a:lnTo>
                      <a:lnTo>
                        <a:pt x="339" y="286"/>
                      </a:lnTo>
                      <a:lnTo>
                        <a:pt x="341" y="286"/>
                      </a:lnTo>
                      <a:lnTo>
                        <a:pt x="341" y="287"/>
                      </a:lnTo>
                      <a:lnTo>
                        <a:pt x="341" y="286"/>
                      </a:lnTo>
                      <a:lnTo>
                        <a:pt x="343" y="286"/>
                      </a:lnTo>
                      <a:lnTo>
                        <a:pt x="341" y="286"/>
                      </a:lnTo>
                      <a:lnTo>
                        <a:pt x="341" y="284"/>
                      </a:lnTo>
                      <a:lnTo>
                        <a:pt x="343" y="284"/>
                      </a:lnTo>
                      <a:lnTo>
                        <a:pt x="344" y="284"/>
                      </a:lnTo>
                      <a:lnTo>
                        <a:pt x="343" y="282"/>
                      </a:lnTo>
                      <a:lnTo>
                        <a:pt x="344" y="282"/>
                      </a:lnTo>
                      <a:lnTo>
                        <a:pt x="344" y="281"/>
                      </a:lnTo>
                      <a:lnTo>
                        <a:pt x="343" y="281"/>
                      </a:lnTo>
                      <a:lnTo>
                        <a:pt x="343" y="279"/>
                      </a:lnTo>
                      <a:lnTo>
                        <a:pt x="344" y="279"/>
                      </a:lnTo>
                      <a:lnTo>
                        <a:pt x="343" y="279"/>
                      </a:lnTo>
                      <a:lnTo>
                        <a:pt x="344" y="279"/>
                      </a:lnTo>
                      <a:lnTo>
                        <a:pt x="344" y="277"/>
                      </a:lnTo>
                      <a:lnTo>
                        <a:pt x="346" y="277"/>
                      </a:lnTo>
                      <a:lnTo>
                        <a:pt x="348" y="277"/>
                      </a:lnTo>
                      <a:lnTo>
                        <a:pt x="348" y="276"/>
                      </a:lnTo>
                      <a:lnTo>
                        <a:pt x="348" y="274"/>
                      </a:lnTo>
                      <a:lnTo>
                        <a:pt x="349" y="274"/>
                      </a:lnTo>
                      <a:lnTo>
                        <a:pt x="349" y="273"/>
                      </a:lnTo>
                      <a:lnTo>
                        <a:pt x="349" y="274"/>
                      </a:lnTo>
                      <a:lnTo>
                        <a:pt x="351" y="274"/>
                      </a:lnTo>
                      <a:lnTo>
                        <a:pt x="351" y="273"/>
                      </a:lnTo>
                      <a:lnTo>
                        <a:pt x="349" y="273"/>
                      </a:lnTo>
                      <a:lnTo>
                        <a:pt x="349" y="271"/>
                      </a:lnTo>
                      <a:lnTo>
                        <a:pt x="349" y="273"/>
                      </a:lnTo>
                      <a:lnTo>
                        <a:pt x="349" y="271"/>
                      </a:lnTo>
                      <a:lnTo>
                        <a:pt x="351" y="271"/>
                      </a:lnTo>
                      <a:lnTo>
                        <a:pt x="351" y="273"/>
                      </a:lnTo>
                      <a:lnTo>
                        <a:pt x="351" y="271"/>
                      </a:lnTo>
                      <a:lnTo>
                        <a:pt x="349" y="271"/>
                      </a:lnTo>
                      <a:lnTo>
                        <a:pt x="351" y="271"/>
                      </a:lnTo>
                      <a:lnTo>
                        <a:pt x="349" y="271"/>
                      </a:lnTo>
                      <a:lnTo>
                        <a:pt x="349" y="269"/>
                      </a:lnTo>
                      <a:lnTo>
                        <a:pt x="351" y="269"/>
                      </a:lnTo>
                      <a:lnTo>
                        <a:pt x="353" y="269"/>
                      </a:lnTo>
                      <a:lnTo>
                        <a:pt x="353" y="268"/>
                      </a:lnTo>
                      <a:lnTo>
                        <a:pt x="353" y="269"/>
                      </a:lnTo>
                      <a:lnTo>
                        <a:pt x="353" y="268"/>
                      </a:lnTo>
                      <a:lnTo>
                        <a:pt x="353" y="269"/>
                      </a:lnTo>
                      <a:lnTo>
                        <a:pt x="355" y="268"/>
                      </a:lnTo>
                      <a:lnTo>
                        <a:pt x="355" y="269"/>
                      </a:lnTo>
                      <a:lnTo>
                        <a:pt x="355" y="268"/>
                      </a:lnTo>
                      <a:lnTo>
                        <a:pt x="356" y="268"/>
                      </a:lnTo>
                      <a:lnTo>
                        <a:pt x="356" y="266"/>
                      </a:lnTo>
                      <a:lnTo>
                        <a:pt x="358" y="266"/>
                      </a:lnTo>
                      <a:lnTo>
                        <a:pt x="356" y="266"/>
                      </a:lnTo>
                      <a:lnTo>
                        <a:pt x="358" y="266"/>
                      </a:lnTo>
                      <a:lnTo>
                        <a:pt x="358" y="264"/>
                      </a:lnTo>
                      <a:lnTo>
                        <a:pt x="356" y="266"/>
                      </a:lnTo>
                      <a:lnTo>
                        <a:pt x="356" y="264"/>
                      </a:lnTo>
                      <a:lnTo>
                        <a:pt x="358" y="264"/>
                      </a:lnTo>
                      <a:lnTo>
                        <a:pt x="358" y="263"/>
                      </a:lnTo>
                      <a:lnTo>
                        <a:pt x="360" y="263"/>
                      </a:lnTo>
                      <a:lnTo>
                        <a:pt x="360" y="264"/>
                      </a:lnTo>
                      <a:lnTo>
                        <a:pt x="360" y="263"/>
                      </a:lnTo>
                      <a:lnTo>
                        <a:pt x="360" y="264"/>
                      </a:lnTo>
                      <a:lnTo>
                        <a:pt x="360" y="263"/>
                      </a:lnTo>
                      <a:lnTo>
                        <a:pt x="360" y="264"/>
                      </a:lnTo>
                      <a:lnTo>
                        <a:pt x="360" y="263"/>
                      </a:lnTo>
                      <a:lnTo>
                        <a:pt x="361" y="263"/>
                      </a:lnTo>
                      <a:lnTo>
                        <a:pt x="363" y="263"/>
                      </a:lnTo>
                      <a:lnTo>
                        <a:pt x="361" y="263"/>
                      </a:lnTo>
                      <a:lnTo>
                        <a:pt x="361" y="261"/>
                      </a:lnTo>
                      <a:lnTo>
                        <a:pt x="363" y="263"/>
                      </a:lnTo>
                      <a:lnTo>
                        <a:pt x="363" y="261"/>
                      </a:lnTo>
                      <a:lnTo>
                        <a:pt x="365" y="261"/>
                      </a:lnTo>
                      <a:lnTo>
                        <a:pt x="363" y="261"/>
                      </a:lnTo>
                      <a:lnTo>
                        <a:pt x="365" y="261"/>
                      </a:lnTo>
                      <a:lnTo>
                        <a:pt x="366" y="261"/>
                      </a:lnTo>
                      <a:lnTo>
                        <a:pt x="365" y="261"/>
                      </a:lnTo>
                      <a:lnTo>
                        <a:pt x="365" y="259"/>
                      </a:lnTo>
                      <a:lnTo>
                        <a:pt x="366" y="259"/>
                      </a:lnTo>
                      <a:lnTo>
                        <a:pt x="366" y="261"/>
                      </a:lnTo>
                      <a:lnTo>
                        <a:pt x="366" y="259"/>
                      </a:lnTo>
                      <a:lnTo>
                        <a:pt x="366" y="258"/>
                      </a:lnTo>
                      <a:lnTo>
                        <a:pt x="368" y="258"/>
                      </a:lnTo>
                      <a:lnTo>
                        <a:pt x="368" y="259"/>
                      </a:lnTo>
                      <a:lnTo>
                        <a:pt x="368" y="258"/>
                      </a:lnTo>
                      <a:lnTo>
                        <a:pt x="370" y="258"/>
                      </a:lnTo>
                      <a:lnTo>
                        <a:pt x="368" y="258"/>
                      </a:lnTo>
                      <a:lnTo>
                        <a:pt x="370" y="256"/>
                      </a:lnTo>
                      <a:lnTo>
                        <a:pt x="370" y="258"/>
                      </a:lnTo>
                      <a:lnTo>
                        <a:pt x="370" y="256"/>
                      </a:lnTo>
                      <a:lnTo>
                        <a:pt x="371" y="256"/>
                      </a:lnTo>
                      <a:lnTo>
                        <a:pt x="371" y="255"/>
                      </a:lnTo>
                      <a:lnTo>
                        <a:pt x="370" y="255"/>
                      </a:lnTo>
                      <a:lnTo>
                        <a:pt x="370" y="256"/>
                      </a:lnTo>
                      <a:lnTo>
                        <a:pt x="370" y="255"/>
                      </a:lnTo>
                      <a:lnTo>
                        <a:pt x="371" y="255"/>
                      </a:lnTo>
                      <a:lnTo>
                        <a:pt x="371" y="253"/>
                      </a:lnTo>
                      <a:lnTo>
                        <a:pt x="370" y="251"/>
                      </a:lnTo>
                      <a:lnTo>
                        <a:pt x="368" y="251"/>
                      </a:lnTo>
                      <a:lnTo>
                        <a:pt x="370" y="251"/>
                      </a:lnTo>
                      <a:lnTo>
                        <a:pt x="370" y="250"/>
                      </a:lnTo>
                      <a:lnTo>
                        <a:pt x="368" y="250"/>
                      </a:lnTo>
                      <a:lnTo>
                        <a:pt x="368" y="248"/>
                      </a:lnTo>
                      <a:lnTo>
                        <a:pt x="366" y="248"/>
                      </a:lnTo>
                      <a:lnTo>
                        <a:pt x="368" y="248"/>
                      </a:lnTo>
                      <a:lnTo>
                        <a:pt x="368" y="246"/>
                      </a:lnTo>
                      <a:lnTo>
                        <a:pt x="366" y="246"/>
                      </a:lnTo>
                      <a:lnTo>
                        <a:pt x="366" y="245"/>
                      </a:lnTo>
                      <a:lnTo>
                        <a:pt x="366" y="246"/>
                      </a:lnTo>
                      <a:lnTo>
                        <a:pt x="365" y="246"/>
                      </a:lnTo>
                      <a:lnTo>
                        <a:pt x="365" y="245"/>
                      </a:lnTo>
                      <a:lnTo>
                        <a:pt x="365" y="243"/>
                      </a:lnTo>
                      <a:lnTo>
                        <a:pt x="363" y="241"/>
                      </a:lnTo>
                      <a:lnTo>
                        <a:pt x="365" y="241"/>
                      </a:lnTo>
                      <a:lnTo>
                        <a:pt x="365" y="240"/>
                      </a:lnTo>
                      <a:lnTo>
                        <a:pt x="365" y="238"/>
                      </a:lnTo>
                      <a:lnTo>
                        <a:pt x="363" y="238"/>
                      </a:lnTo>
                      <a:lnTo>
                        <a:pt x="365" y="238"/>
                      </a:lnTo>
                      <a:lnTo>
                        <a:pt x="363" y="238"/>
                      </a:lnTo>
                      <a:lnTo>
                        <a:pt x="363" y="236"/>
                      </a:lnTo>
                      <a:lnTo>
                        <a:pt x="363" y="235"/>
                      </a:lnTo>
                      <a:lnTo>
                        <a:pt x="361" y="233"/>
                      </a:lnTo>
                      <a:lnTo>
                        <a:pt x="363" y="233"/>
                      </a:lnTo>
                      <a:lnTo>
                        <a:pt x="361" y="233"/>
                      </a:lnTo>
                      <a:lnTo>
                        <a:pt x="361" y="232"/>
                      </a:lnTo>
                      <a:lnTo>
                        <a:pt x="363" y="232"/>
                      </a:lnTo>
                      <a:lnTo>
                        <a:pt x="363" y="230"/>
                      </a:lnTo>
                      <a:lnTo>
                        <a:pt x="361" y="230"/>
                      </a:lnTo>
                      <a:lnTo>
                        <a:pt x="363" y="230"/>
                      </a:lnTo>
                      <a:lnTo>
                        <a:pt x="363" y="228"/>
                      </a:lnTo>
                      <a:lnTo>
                        <a:pt x="361" y="228"/>
                      </a:lnTo>
                      <a:lnTo>
                        <a:pt x="361" y="227"/>
                      </a:lnTo>
                      <a:lnTo>
                        <a:pt x="360" y="228"/>
                      </a:lnTo>
                      <a:lnTo>
                        <a:pt x="360" y="227"/>
                      </a:lnTo>
                      <a:lnTo>
                        <a:pt x="360" y="225"/>
                      </a:lnTo>
                      <a:lnTo>
                        <a:pt x="360" y="223"/>
                      </a:lnTo>
                      <a:lnTo>
                        <a:pt x="358" y="223"/>
                      </a:lnTo>
                      <a:lnTo>
                        <a:pt x="358" y="222"/>
                      </a:lnTo>
                      <a:lnTo>
                        <a:pt x="356" y="222"/>
                      </a:lnTo>
                      <a:lnTo>
                        <a:pt x="356" y="220"/>
                      </a:lnTo>
                      <a:lnTo>
                        <a:pt x="356" y="222"/>
                      </a:lnTo>
                      <a:lnTo>
                        <a:pt x="356" y="220"/>
                      </a:lnTo>
                      <a:lnTo>
                        <a:pt x="355" y="220"/>
                      </a:lnTo>
                      <a:lnTo>
                        <a:pt x="353" y="218"/>
                      </a:lnTo>
                      <a:lnTo>
                        <a:pt x="353" y="220"/>
                      </a:lnTo>
                      <a:lnTo>
                        <a:pt x="353" y="218"/>
                      </a:lnTo>
                      <a:lnTo>
                        <a:pt x="355" y="218"/>
                      </a:lnTo>
                      <a:lnTo>
                        <a:pt x="353" y="218"/>
                      </a:lnTo>
                      <a:lnTo>
                        <a:pt x="351" y="218"/>
                      </a:lnTo>
                      <a:lnTo>
                        <a:pt x="353" y="218"/>
                      </a:lnTo>
                      <a:lnTo>
                        <a:pt x="351" y="218"/>
                      </a:lnTo>
                      <a:lnTo>
                        <a:pt x="351" y="217"/>
                      </a:lnTo>
                      <a:lnTo>
                        <a:pt x="349" y="217"/>
                      </a:lnTo>
                      <a:lnTo>
                        <a:pt x="349" y="218"/>
                      </a:lnTo>
                      <a:lnTo>
                        <a:pt x="348" y="217"/>
                      </a:lnTo>
                      <a:lnTo>
                        <a:pt x="348" y="218"/>
                      </a:lnTo>
                      <a:lnTo>
                        <a:pt x="348" y="217"/>
                      </a:lnTo>
                      <a:lnTo>
                        <a:pt x="348" y="215"/>
                      </a:lnTo>
                      <a:lnTo>
                        <a:pt x="346" y="215"/>
                      </a:lnTo>
                      <a:lnTo>
                        <a:pt x="348" y="217"/>
                      </a:lnTo>
                      <a:lnTo>
                        <a:pt x="346" y="217"/>
                      </a:lnTo>
                      <a:lnTo>
                        <a:pt x="346" y="215"/>
                      </a:lnTo>
                      <a:lnTo>
                        <a:pt x="344" y="215"/>
                      </a:lnTo>
                      <a:lnTo>
                        <a:pt x="344" y="213"/>
                      </a:lnTo>
                      <a:lnTo>
                        <a:pt x="346" y="213"/>
                      </a:lnTo>
                      <a:lnTo>
                        <a:pt x="344" y="213"/>
                      </a:lnTo>
                      <a:lnTo>
                        <a:pt x="343" y="213"/>
                      </a:lnTo>
                      <a:lnTo>
                        <a:pt x="343" y="212"/>
                      </a:lnTo>
                      <a:lnTo>
                        <a:pt x="341" y="212"/>
                      </a:lnTo>
                      <a:lnTo>
                        <a:pt x="341" y="210"/>
                      </a:lnTo>
                      <a:lnTo>
                        <a:pt x="341" y="209"/>
                      </a:lnTo>
                      <a:lnTo>
                        <a:pt x="339" y="209"/>
                      </a:lnTo>
                      <a:lnTo>
                        <a:pt x="341" y="209"/>
                      </a:lnTo>
                      <a:lnTo>
                        <a:pt x="341" y="207"/>
                      </a:lnTo>
                      <a:lnTo>
                        <a:pt x="341" y="205"/>
                      </a:lnTo>
                      <a:lnTo>
                        <a:pt x="341" y="204"/>
                      </a:lnTo>
                      <a:lnTo>
                        <a:pt x="343" y="204"/>
                      </a:lnTo>
                      <a:lnTo>
                        <a:pt x="343" y="202"/>
                      </a:lnTo>
                      <a:lnTo>
                        <a:pt x="343" y="200"/>
                      </a:lnTo>
                      <a:lnTo>
                        <a:pt x="344" y="200"/>
                      </a:lnTo>
                      <a:lnTo>
                        <a:pt x="343" y="200"/>
                      </a:lnTo>
                      <a:lnTo>
                        <a:pt x="343" y="199"/>
                      </a:lnTo>
                      <a:lnTo>
                        <a:pt x="344" y="199"/>
                      </a:lnTo>
                      <a:lnTo>
                        <a:pt x="344" y="197"/>
                      </a:lnTo>
                      <a:lnTo>
                        <a:pt x="346" y="197"/>
                      </a:lnTo>
                      <a:lnTo>
                        <a:pt x="346" y="195"/>
                      </a:lnTo>
                      <a:lnTo>
                        <a:pt x="348" y="195"/>
                      </a:lnTo>
                      <a:lnTo>
                        <a:pt x="348" y="194"/>
                      </a:lnTo>
                      <a:lnTo>
                        <a:pt x="349" y="192"/>
                      </a:lnTo>
                      <a:lnTo>
                        <a:pt x="349" y="190"/>
                      </a:lnTo>
                      <a:lnTo>
                        <a:pt x="351" y="190"/>
                      </a:lnTo>
                      <a:lnTo>
                        <a:pt x="349" y="190"/>
                      </a:lnTo>
                      <a:lnTo>
                        <a:pt x="349" y="189"/>
                      </a:lnTo>
                      <a:lnTo>
                        <a:pt x="351" y="189"/>
                      </a:lnTo>
                      <a:lnTo>
                        <a:pt x="351" y="187"/>
                      </a:lnTo>
                      <a:lnTo>
                        <a:pt x="353" y="186"/>
                      </a:lnTo>
                      <a:lnTo>
                        <a:pt x="353" y="184"/>
                      </a:lnTo>
                      <a:lnTo>
                        <a:pt x="353" y="182"/>
                      </a:lnTo>
                      <a:lnTo>
                        <a:pt x="353" y="181"/>
                      </a:lnTo>
                      <a:lnTo>
                        <a:pt x="353" y="179"/>
                      </a:lnTo>
                      <a:lnTo>
                        <a:pt x="351" y="179"/>
                      </a:lnTo>
                      <a:lnTo>
                        <a:pt x="353" y="179"/>
                      </a:lnTo>
                      <a:lnTo>
                        <a:pt x="353" y="177"/>
                      </a:lnTo>
                      <a:lnTo>
                        <a:pt x="351" y="177"/>
                      </a:lnTo>
                      <a:lnTo>
                        <a:pt x="351" y="176"/>
                      </a:lnTo>
                      <a:lnTo>
                        <a:pt x="351" y="174"/>
                      </a:lnTo>
                      <a:lnTo>
                        <a:pt x="349" y="174"/>
                      </a:lnTo>
                      <a:lnTo>
                        <a:pt x="351" y="174"/>
                      </a:lnTo>
                      <a:lnTo>
                        <a:pt x="351" y="172"/>
                      </a:lnTo>
                      <a:lnTo>
                        <a:pt x="353" y="172"/>
                      </a:lnTo>
                      <a:lnTo>
                        <a:pt x="353" y="171"/>
                      </a:lnTo>
                      <a:lnTo>
                        <a:pt x="351" y="171"/>
                      </a:lnTo>
                      <a:lnTo>
                        <a:pt x="353" y="171"/>
                      </a:lnTo>
                      <a:lnTo>
                        <a:pt x="355" y="171"/>
                      </a:lnTo>
                      <a:lnTo>
                        <a:pt x="355" y="169"/>
                      </a:lnTo>
                      <a:lnTo>
                        <a:pt x="355" y="167"/>
                      </a:lnTo>
                      <a:lnTo>
                        <a:pt x="355" y="166"/>
                      </a:lnTo>
                      <a:lnTo>
                        <a:pt x="355" y="164"/>
                      </a:lnTo>
                      <a:lnTo>
                        <a:pt x="355" y="166"/>
                      </a:lnTo>
                      <a:lnTo>
                        <a:pt x="355" y="164"/>
                      </a:lnTo>
                      <a:lnTo>
                        <a:pt x="356" y="164"/>
                      </a:lnTo>
                      <a:lnTo>
                        <a:pt x="355" y="164"/>
                      </a:lnTo>
                      <a:lnTo>
                        <a:pt x="356" y="164"/>
                      </a:lnTo>
                      <a:lnTo>
                        <a:pt x="355" y="164"/>
                      </a:lnTo>
                      <a:lnTo>
                        <a:pt x="356" y="164"/>
                      </a:lnTo>
                      <a:lnTo>
                        <a:pt x="356" y="163"/>
                      </a:lnTo>
                      <a:lnTo>
                        <a:pt x="358" y="163"/>
                      </a:lnTo>
                      <a:lnTo>
                        <a:pt x="358" y="164"/>
                      </a:lnTo>
                      <a:lnTo>
                        <a:pt x="358" y="163"/>
                      </a:lnTo>
                      <a:lnTo>
                        <a:pt x="358" y="164"/>
                      </a:lnTo>
                      <a:lnTo>
                        <a:pt x="360" y="164"/>
                      </a:lnTo>
                      <a:lnTo>
                        <a:pt x="361" y="164"/>
                      </a:lnTo>
                      <a:lnTo>
                        <a:pt x="361" y="163"/>
                      </a:lnTo>
                      <a:lnTo>
                        <a:pt x="361" y="164"/>
                      </a:lnTo>
                      <a:lnTo>
                        <a:pt x="363" y="164"/>
                      </a:lnTo>
                      <a:lnTo>
                        <a:pt x="363" y="163"/>
                      </a:lnTo>
                      <a:lnTo>
                        <a:pt x="363" y="164"/>
                      </a:lnTo>
                      <a:lnTo>
                        <a:pt x="363" y="163"/>
                      </a:lnTo>
                      <a:lnTo>
                        <a:pt x="365" y="163"/>
                      </a:lnTo>
                      <a:lnTo>
                        <a:pt x="365" y="161"/>
                      </a:lnTo>
                      <a:lnTo>
                        <a:pt x="366" y="161"/>
                      </a:lnTo>
                      <a:lnTo>
                        <a:pt x="365" y="161"/>
                      </a:lnTo>
                      <a:lnTo>
                        <a:pt x="366" y="161"/>
                      </a:lnTo>
                      <a:lnTo>
                        <a:pt x="366" y="159"/>
                      </a:lnTo>
                      <a:lnTo>
                        <a:pt x="368" y="159"/>
                      </a:lnTo>
                      <a:lnTo>
                        <a:pt x="368" y="158"/>
                      </a:lnTo>
                      <a:lnTo>
                        <a:pt x="368" y="156"/>
                      </a:lnTo>
                      <a:lnTo>
                        <a:pt x="370" y="158"/>
                      </a:lnTo>
                      <a:lnTo>
                        <a:pt x="370" y="156"/>
                      </a:lnTo>
                      <a:lnTo>
                        <a:pt x="371" y="156"/>
                      </a:lnTo>
                      <a:lnTo>
                        <a:pt x="370" y="156"/>
                      </a:lnTo>
                      <a:lnTo>
                        <a:pt x="371" y="156"/>
                      </a:lnTo>
                      <a:lnTo>
                        <a:pt x="371" y="158"/>
                      </a:lnTo>
                      <a:lnTo>
                        <a:pt x="373" y="158"/>
                      </a:lnTo>
                      <a:lnTo>
                        <a:pt x="373" y="159"/>
                      </a:lnTo>
                      <a:lnTo>
                        <a:pt x="375" y="158"/>
                      </a:lnTo>
                      <a:lnTo>
                        <a:pt x="375" y="159"/>
                      </a:lnTo>
                      <a:lnTo>
                        <a:pt x="377" y="158"/>
                      </a:lnTo>
                      <a:lnTo>
                        <a:pt x="378" y="158"/>
                      </a:lnTo>
                      <a:lnTo>
                        <a:pt x="378" y="156"/>
                      </a:lnTo>
                      <a:lnTo>
                        <a:pt x="380" y="156"/>
                      </a:lnTo>
                      <a:lnTo>
                        <a:pt x="382" y="156"/>
                      </a:lnTo>
                      <a:lnTo>
                        <a:pt x="383" y="156"/>
                      </a:lnTo>
                      <a:lnTo>
                        <a:pt x="388" y="154"/>
                      </a:lnTo>
                      <a:lnTo>
                        <a:pt x="392" y="153"/>
                      </a:lnTo>
                      <a:lnTo>
                        <a:pt x="395" y="153"/>
                      </a:lnTo>
                      <a:lnTo>
                        <a:pt x="397" y="153"/>
                      </a:lnTo>
                      <a:lnTo>
                        <a:pt x="400" y="151"/>
                      </a:lnTo>
                      <a:lnTo>
                        <a:pt x="402" y="151"/>
                      </a:lnTo>
                      <a:lnTo>
                        <a:pt x="402" y="149"/>
                      </a:lnTo>
                      <a:lnTo>
                        <a:pt x="402" y="148"/>
                      </a:lnTo>
                      <a:lnTo>
                        <a:pt x="400" y="146"/>
                      </a:lnTo>
                      <a:lnTo>
                        <a:pt x="400" y="144"/>
                      </a:lnTo>
                      <a:lnTo>
                        <a:pt x="402" y="144"/>
                      </a:lnTo>
                      <a:lnTo>
                        <a:pt x="402" y="143"/>
                      </a:lnTo>
                      <a:lnTo>
                        <a:pt x="400" y="141"/>
                      </a:lnTo>
                      <a:lnTo>
                        <a:pt x="400" y="140"/>
                      </a:lnTo>
                      <a:lnTo>
                        <a:pt x="400" y="138"/>
                      </a:lnTo>
                      <a:lnTo>
                        <a:pt x="400" y="136"/>
                      </a:lnTo>
                      <a:lnTo>
                        <a:pt x="398" y="136"/>
                      </a:lnTo>
                      <a:lnTo>
                        <a:pt x="398" y="135"/>
                      </a:lnTo>
                      <a:lnTo>
                        <a:pt x="397" y="133"/>
                      </a:lnTo>
                      <a:lnTo>
                        <a:pt x="398" y="131"/>
                      </a:lnTo>
                      <a:lnTo>
                        <a:pt x="398" y="130"/>
                      </a:lnTo>
                      <a:lnTo>
                        <a:pt x="397" y="130"/>
                      </a:lnTo>
                      <a:lnTo>
                        <a:pt x="397" y="128"/>
                      </a:lnTo>
                      <a:lnTo>
                        <a:pt x="397" y="126"/>
                      </a:lnTo>
                      <a:lnTo>
                        <a:pt x="395" y="126"/>
                      </a:lnTo>
                      <a:lnTo>
                        <a:pt x="393" y="126"/>
                      </a:lnTo>
                      <a:lnTo>
                        <a:pt x="393" y="125"/>
                      </a:lnTo>
                      <a:lnTo>
                        <a:pt x="392" y="125"/>
                      </a:lnTo>
                      <a:lnTo>
                        <a:pt x="390" y="123"/>
                      </a:lnTo>
                      <a:lnTo>
                        <a:pt x="388" y="123"/>
                      </a:lnTo>
                      <a:lnTo>
                        <a:pt x="388" y="121"/>
                      </a:lnTo>
                      <a:lnTo>
                        <a:pt x="388" y="120"/>
                      </a:lnTo>
                      <a:lnTo>
                        <a:pt x="388" y="118"/>
                      </a:lnTo>
                      <a:lnTo>
                        <a:pt x="390" y="117"/>
                      </a:lnTo>
                      <a:lnTo>
                        <a:pt x="390" y="115"/>
                      </a:lnTo>
                      <a:lnTo>
                        <a:pt x="390" y="113"/>
                      </a:lnTo>
                      <a:lnTo>
                        <a:pt x="390" y="112"/>
                      </a:lnTo>
                      <a:lnTo>
                        <a:pt x="390" y="110"/>
                      </a:lnTo>
                      <a:lnTo>
                        <a:pt x="392" y="110"/>
                      </a:lnTo>
                      <a:lnTo>
                        <a:pt x="392" y="108"/>
                      </a:lnTo>
                      <a:lnTo>
                        <a:pt x="393" y="107"/>
                      </a:lnTo>
                      <a:lnTo>
                        <a:pt x="395" y="107"/>
                      </a:lnTo>
                      <a:lnTo>
                        <a:pt x="397" y="105"/>
                      </a:lnTo>
                      <a:lnTo>
                        <a:pt x="398" y="105"/>
                      </a:lnTo>
                      <a:lnTo>
                        <a:pt x="398" y="103"/>
                      </a:lnTo>
                      <a:lnTo>
                        <a:pt x="397" y="103"/>
                      </a:lnTo>
                      <a:lnTo>
                        <a:pt x="397" y="102"/>
                      </a:lnTo>
                      <a:lnTo>
                        <a:pt x="398" y="102"/>
                      </a:lnTo>
                      <a:lnTo>
                        <a:pt x="398" y="100"/>
                      </a:lnTo>
                      <a:lnTo>
                        <a:pt x="397" y="98"/>
                      </a:lnTo>
                      <a:lnTo>
                        <a:pt x="395" y="97"/>
                      </a:lnTo>
                      <a:lnTo>
                        <a:pt x="393" y="97"/>
                      </a:lnTo>
                      <a:lnTo>
                        <a:pt x="393" y="95"/>
                      </a:lnTo>
                      <a:lnTo>
                        <a:pt x="395" y="95"/>
                      </a:lnTo>
                      <a:lnTo>
                        <a:pt x="393" y="94"/>
                      </a:lnTo>
                      <a:lnTo>
                        <a:pt x="393" y="92"/>
                      </a:lnTo>
                      <a:lnTo>
                        <a:pt x="392" y="92"/>
                      </a:lnTo>
                      <a:lnTo>
                        <a:pt x="392" y="94"/>
                      </a:lnTo>
                      <a:lnTo>
                        <a:pt x="390" y="94"/>
                      </a:lnTo>
                      <a:lnTo>
                        <a:pt x="390" y="92"/>
                      </a:lnTo>
                      <a:lnTo>
                        <a:pt x="390" y="90"/>
                      </a:lnTo>
                      <a:lnTo>
                        <a:pt x="390" y="89"/>
                      </a:lnTo>
                      <a:lnTo>
                        <a:pt x="390" y="87"/>
                      </a:lnTo>
                      <a:lnTo>
                        <a:pt x="392" y="87"/>
                      </a:lnTo>
                      <a:lnTo>
                        <a:pt x="392" y="85"/>
                      </a:lnTo>
                      <a:lnTo>
                        <a:pt x="392" y="84"/>
                      </a:lnTo>
                      <a:lnTo>
                        <a:pt x="393" y="84"/>
                      </a:lnTo>
                      <a:lnTo>
                        <a:pt x="393" y="82"/>
                      </a:lnTo>
                      <a:lnTo>
                        <a:pt x="395" y="80"/>
                      </a:lnTo>
                      <a:lnTo>
                        <a:pt x="393" y="80"/>
                      </a:lnTo>
                      <a:lnTo>
                        <a:pt x="393" y="79"/>
                      </a:lnTo>
                      <a:lnTo>
                        <a:pt x="392" y="79"/>
                      </a:lnTo>
                      <a:lnTo>
                        <a:pt x="392" y="77"/>
                      </a:lnTo>
                      <a:lnTo>
                        <a:pt x="390" y="77"/>
                      </a:lnTo>
                      <a:lnTo>
                        <a:pt x="390" y="75"/>
                      </a:lnTo>
                      <a:lnTo>
                        <a:pt x="392" y="75"/>
                      </a:lnTo>
                      <a:lnTo>
                        <a:pt x="392" y="74"/>
                      </a:lnTo>
                      <a:lnTo>
                        <a:pt x="393" y="74"/>
                      </a:lnTo>
                      <a:lnTo>
                        <a:pt x="395" y="72"/>
                      </a:lnTo>
                      <a:lnTo>
                        <a:pt x="397" y="72"/>
                      </a:lnTo>
                      <a:lnTo>
                        <a:pt x="397" y="71"/>
                      </a:lnTo>
                      <a:lnTo>
                        <a:pt x="398" y="71"/>
                      </a:lnTo>
                      <a:lnTo>
                        <a:pt x="400" y="71"/>
                      </a:lnTo>
                      <a:lnTo>
                        <a:pt x="402" y="71"/>
                      </a:lnTo>
                      <a:lnTo>
                        <a:pt x="402" y="72"/>
                      </a:lnTo>
                      <a:lnTo>
                        <a:pt x="404" y="72"/>
                      </a:lnTo>
                      <a:lnTo>
                        <a:pt x="405" y="72"/>
                      </a:lnTo>
                      <a:lnTo>
                        <a:pt x="407" y="74"/>
                      </a:lnTo>
                      <a:lnTo>
                        <a:pt x="409" y="74"/>
                      </a:lnTo>
                      <a:lnTo>
                        <a:pt x="410" y="74"/>
                      </a:lnTo>
                      <a:lnTo>
                        <a:pt x="412" y="74"/>
                      </a:lnTo>
                      <a:lnTo>
                        <a:pt x="412" y="75"/>
                      </a:lnTo>
                      <a:lnTo>
                        <a:pt x="414" y="75"/>
                      </a:lnTo>
                      <a:lnTo>
                        <a:pt x="415" y="75"/>
                      </a:lnTo>
                      <a:lnTo>
                        <a:pt x="417" y="77"/>
                      </a:lnTo>
                      <a:lnTo>
                        <a:pt x="417" y="79"/>
                      </a:lnTo>
                      <a:lnTo>
                        <a:pt x="419" y="79"/>
                      </a:lnTo>
                      <a:lnTo>
                        <a:pt x="420" y="77"/>
                      </a:lnTo>
                      <a:lnTo>
                        <a:pt x="420" y="79"/>
                      </a:lnTo>
                      <a:lnTo>
                        <a:pt x="422" y="79"/>
                      </a:lnTo>
                      <a:lnTo>
                        <a:pt x="422" y="77"/>
                      </a:lnTo>
                      <a:lnTo>
                        <a:pt x="424" y="77"/>
                      </a:lnTo>
                      <a:lnTo>
                        <a:pt x="425" y="77"/>
                      </a:lnTo>
                      <a:lnTo>
                        <a:pt x="425" y="75"/>
                      </a:lnTo>
                      <a:lnTo>
                        <a:pt x="427" y="75"/>
                      </a:lnTo>
                      <a:lnTo>
                        <a:pt x="429" y="75"/>
                      </a:lnTo>
                      <a:lnTo>
                        <a:pt x="431" y="75"/>
                      </a:lnTo>
                      <a:lnTo>
                        <a:pt x="431" y="74"/>
                      </a:lnTo>
                      <a:lnTo>
                        <a:pt x="431" y="72"/>
                      </a:lnTo>
                      <a:lnTo>
                        <a:pt x="429" y="72"/>
                      </a:lnTo>
                      <a:lnTo>
                        <a:pt x="429" y="71"/>
                      </a:lnTo>
                      <a:lnTo>
                        <a:pt x="429" y="69"/>
                      </a:lnTo>
                      <a:lnTo>
                        <a:pt x="429" y="67"/>
                      </a:lnTo>
                      <a:lnTo>
                        <a:pt x="427" y="67"/>
                      </a:lnTo>
                      <a:lnTo>
                        <a:pt x="427" y="66"/>
                      </a:lnTo>
                      <a:lnTo>
                        <a:pt x="427" y="64"/>
                      </a:lnTo>
                      <a:lnTo>
                        <a:pt x="427" y="62"/>
                      </a:lnTo>
                      <a:lnTo>
                        <a:pt x="427" y="61"/>
                      </a:lnTo>
                      <a:lnTo>
                        <a:pt x="427" y="59"/>
                      </a:lnTo>
                      <a:lnTo>
                        <a:pt x="429" y="59"/>
                      </a:lnTo>
                      <a:lnTo>
                        <a:pt x="429" y="57"/>
                      </a:lnTo>
                      <a:lnTo>
                        <a:pt x="429" y="56"/>
                      </a:lnTo>
                      <a:lnTo>
                        <a:pt x="429" y="54"/>
                      </a:lnTo>
                      <a:lnTo>
                        <a:pt x="427" y="54"/>
                      </a:lnTo>
                      <a:lnTo>
                        <a:pt x="425" y="54"/>
                      </a:lnTo>
                      <a:lnTo>
                        <a:pt x="425" y="53"/>
                      </a:lnTo>
                      <a:lnTo>
                        <a:pt x="425" y="51"/>
                      </a:lnTo>
                      <a:lnTo>
                        <a:pt x="427" y="49"/>
                      </a:lnTo>
                      <a:lnTo>
                        <a:pt x="427" y="48"/>
                      </a:lnTo>
                      <a:lnTo>
                        <a:pt x="429" y="46"/>
                      </a:lnTo>
                      <a:lnTo>
                        <a:pt x="431" y="46"/>
                      </a:lnTo>
                      <a:lnTo>
                        <a:pt x="431" y="44"/>
                      </a:lnTo>
                      <a:lnTo>
                        <a:pt x="431" y="43"/>
                      </a:lnTo>
                      <a:lnTo>
                        <a:pt x="432" y="43"/>
                      </a:lnTo>
                      <a:lnTo>
                        <a:pt x="434" y="43"/>
                      </a:lnTo>
                      <a:lnTo>
                        <a:pt x="434" y="44"/>
                      </a:lnTo>
                      <a:lnTo>
                        <a:pt x="434" y="46"/>
                      </a:lnTo>
                      <a:lnTo>
                        <a:pt x="436" y="46"/>
                      </a:lnTo>
                      <a:lnTo>
                        <a:pt x="437" y="46"/>
                      </a:lnTo>
                      <a:lnTo>
                        <a:pt x="437" y="48"/>
                      </a:lnTo>
                      <a:lnTo>
                        <a:pt x="439" y="48"/>
                      </a:lnTo>
                      <a:lnTo>
                        <a:pt x="441" y="48"/>
                      </a:lnTo>
                      <a:lnTo>
                        <a:pt x="441" y="49"/>
                      </a:lnTo>
                      <a:lnTo>
                        <a:pt x="442" y="49"/>
                      </a:lnTo>
                      <a:lnTo>
                        <a:pt x="442" y="51"/>
                      </a:lnTo>
                      <a:lnTo>
                        <a:pt x="444" y="51"/>
                      </a:lnTo>
                      <a:lnTo>
                        <a:pt x="446" y="51"/>
                      </a:lnTo>
                      <a:lnTo>
                        <a:pt x="447" y="53"/>
                      </a:lnTo>
                      <a:lnTo>
                        <a:pt x="447" y="54"/>
                      </a:lnTo>
                      <a:lnTo>
                        <a:pt x="447" y="56"/>
                      </a:lnTo>
                      <a:lnTo>
                        <a:pt x="449" y="57"/>
                      </a:lnTo>
                      <a:lnTo>
                        <a:pt x="451" y="57"/>
                      </a:lnTo>
                      <a:lnTo>
                        <a:pt x="449" y="57"/>
                      </a:lnTo>
                      <a:lnTo>
                        <a:pt x="449" y="59"/>
                      </a:lnTo>
                      <a:lnTo>
                        <a:pt x="447" y="61"/>
                      </a:lnTo>
                      <a:lnTo>
                        <a:pt x="449" y="61"/>
                      </a:lnTo>
                      <a:lnTo>
                        <a:pt x="449" y="62"/>
                      </a:lnTo>
                      <a:lnTo>
                        <a:pt x="451" y="62"/>
                      </a:lnTo>
                      <a:lnTo>
                        <a:pt x="451" y="64"/>
                      </a:lnTo>
                      <a:lnTo>
                        <a:pt x="453" y="64"/>
                      </a:lnTo>
                      <a:lnTo>
                        <a:pt x="454" y="64"/>
                      </a:lnTo>
                      <a:lnTo>
                        <a:pt x="454" y="62"/>
                      </a:lnTo>
                      <a:lnTo>
                        <a:pt x="456" y="62"/>
                      </a:lnTo>
                      <a:lnTo>
                        <a:pt x="458" y="64"/>
                      </a:lnTo>
                      <a:lnTo>
                        <a:pt x="458" y="66"/>
                      </a:lnTo>
                      <a:lnTo>
                        <a:pt x="459" y="64"/>
                      </a:lnTo>
                      <a:lnTo>
                        <a:pt x="461" y="66"/>
                      </a:lnTo>
                      <a:lnTo>
                        <a:pt x="463" y="66"/>
                      </a:lnTo>
                      <a:lnTo>
                        <a:pt x="463" y="64"/>
                      </a:lnTo>
                      <a:lnTo>
                        <a:pt x="463" y="62"/>
                      </a:lnTo>
                      <a:lnTo>
                        <a:pt x="463" y="61"/>
                      </a:lnTo>
                      <a:lnTo>
                        <a:pt x="463" y="62"/>
                      </a:lnTo>
                      <a:lnTo>
                        <a:pt x="464" y="62"/>
                      </a:lnTo>
                      <a:lnTo>
                        <a:pt x="464" y="64"/>
                      </a:lnTo>
                      <a:lnTo>
                        <a:pt x="466" y="64"/>
                      </a:lnTo>
                      <a:lnTo>
                        <a:pt x="466" y="62"/>
                      </a:lnTo>
                      <a:lnTo>
                        <a:pt x="468" y="62"/>
                      </a:lnTo>
                      <a:lnTo>
                        <a:pt x="468" y="64"/>
                      </a:lnTo>
                      <a:lnTo>
                        <a:pt x="469" y="64"/>
                      </a:lnTo>
                      <a:lnTo>
                        <a:pt x="471" y="64"/>
                      </a:lnTo>
                      <a:lnTo>
                        <a:pt x="471" y="62"/>
                      </a:lnTo>
                      <a:lnTo>
                        <a:pt x="471" y="61"/>
                      </a:lnTo>
                      <a:lnTo>
                        <a:pt x="473" y="62"/>
                      </a:lnTo>
                      <a:lnTo>
                        <a:pt x="473" y="61"/>
                      </a:lnTo>
                      <a:lnTo>
                        <a:pt x="473" y="59"/>
                      </a:lnTo>
                      <a:lnTo>
                        <a:pt x="474" y="59"/>
                      </a:lnTo>
                      <a:lnTo>
                        <a:pt x="474" y="57"/>
                      </a:lnTo>
                      <a:lnTo>
                        <a:pt x="474" y="59"/>
                      </a:lnTo>
                      <a:lnTo>
                        <a:pt x="476" y="59"/>
                      </a:lnTo>
                      <a:lnTo>
                        <a:pt x="478" y="61"/>
                      </a:lnTo>
                      <a:lnTo>
                        <a:pt x="478" y="62"/>
                      </a:lnTo>
                      <a:lnTo>
                        <a:pt x="478" y="64"/>
                      </a:lnTo>
                      <a:lnTo>
                        <a:pt x="480" y="64"/>
                      </a:lnTo>
                      <a:lnTo>
                        <a:pt x="481" y="66"/>
                      </a:lnTo>
                      <a:lnTo>
                        <a:pt x="481" y="67"/>
                      </a:lnTo>
                      <a:lnTo>
                        <a:pt x="481" y="69"/>
                      </a:lnTo>
                      <a:lnTo>
                        <a:pt x="481" y="71"/>
                      </a:lnTo>
                      <a:lnTo>
                        <a:pt x="481" y="72"/>
                      </a:lnTo>
                      <a:lnTo>
                        <a:pt x="481" y="74"/>
                      </a:lnTo>
                      <a:lnTo>
                        <a:pt x="480" y="74"/>
                      </a:lnTo>
                      <a:lnTo>
                        <a:pt x="480" y="75"/>
                      </a:lnTo>
                      <a:lnTo>
                        <a:pt x="478" y="77"/>
                      </a:lnTo>
                      <a:lnTo>
                        <a:pt x="476" y="77"/>
                      </a:lnTo>
                      <a:lnTo>
                        <a:pt x="476" y="79"/>
                      </a:lnTo>
                      <a:lnTo>
                        <a:pt x="476" y="80"/>
                      </a:lnTo>
                      <a:lnTo>
                        <a:pt x="474" y="80"/>
                      </a:lnTo>
                      <a:lnTo>
                        <a:pt x="474" y="82"/>
                      </a:lnTo>
                      <a:lnTo>
                        <a:pt x="474" y="84"/>
                      </a:lnTo>
                      <a:lnTo>
                        <a:pt x="474" y="85"/>
                      </a:lnTo>
                      <a:lnTo>
                        <a:pt x="473" y="85"/>
                      </a:lnTo>
                      <a:lnTo>
                        <a:pt x="473" y="87"/>
                      </a:lnTo>
                      <a:lnTo>
                        <a:pt x="471" y="87"/>
                      </a:lnTo>
                      <a:lnTo>
                        <a:pt x="469" y="87"/>
                      </a:lnTo>
                      <a:lnTo>
                        <a:pt x="469" y="89"/>
                      </a:lnTo>
                      <a:lnTo>
                        <a:pt x="468" y="87"/>
                      </a:lnTo>
                      <a:lnTo>
                        <a:pt x="468" y="89"/>
                      </a:lnTo>
                      <a:lnTo>
                        <a:pt x="469" y="90"/>
                      </a:lnTo>
                      <a:lnTo>
                        <a:pt x="469" y="92"/>
                      </a:lnTo>
                      <a:lnTo>
                        <a:pt x="469" y="94"/>
                      </a:lnTo>
                      <a:lnTo>
                        <a:pt x="471" y="92"/>
                      </a:lnTo>
                      <a:lnTo>
                        <a:pt x="471" y="94"/>
                      </a:lnTo>
                      <a:lnTo>
                        <a:pt x="471" y="95"/>
                      </a:lnTo>
                      <a:lnTo>
                        <a:pt x="473" y="94"/>
                      </a:lnTo>
                      <a:lnTo>
                        <a:pt x="474" y="94"/>
                      </a:lnTo>
                      <a:lnTo>
                        <a:pt x="473" y="92"/>
                      </a:lnTo>
                      <a:lnTo>
                        <a:pt x="474" y="92"/>
                      </a:lnTo>
                      <a:lnTo>
                        <a:pt x="474" y="90"/>
                      </a:lnTo>
                      <a:lnTo>
                        <a:pt x="476" y="90"/>
                      </a:lnTo>
                      <a:lnTo>
                        <a:pt x="476" y="89"/>
                      </a:lnTo>
                      <a:lnTo>
                        <a:pt x="478" y="89"/>
                      </a:lnTo>
                      <a:lnTo>
                        <a:pt x="480" y="89"/>
                      </a:lnTo>
                      <a:lnTo>
                        <a:pt x="480" y="87"/>
                      </a:lnTo>
                      <a:lnTo>
                        <a:pt x="481" y="87"/>
                      </a:lnTo>
                      <a:lnTo>
                        <a:pt x="481" y="85"/>
                      </a:lnTo>
                      <a:lnTo>
                        <a:pt x="481" y="84"/>
                      </a:lnTo>
                      <a:lnTo>
                        <a:pt x="483" y="84"/>
                      </a:lnTo>
                      <a:lnTo>
                        <a:pt x="483" y="82"/>
                      </a:lnTo>
                      <a:lnTo>
                        <a:pt x="485" y="82"/>
                      </a:lnTo>
                      <a:lnTo>
                        <a:pt x="486" y="82"/>
                      </a:lnTo>
                      <a:lnTo>
                        <a:pt x="488" y="84"/>
                      </a:lnTo>
                      <a:lnTo>
                        <a:pt x="490" y="84"/>
                      </a:lnTo>
                      <a:lnTo>
                        <a:pt x="491" y="85"/>
                      </a:lnTo>
                      <a:lnTo>
                        <a:pt x="491" y="84"/>
                      </a:lnTo>
                      <a:lnTo>
                        <a:pt x="493" y="84"/>
                      </a:lnTo>
                      <a:lnTo>
                        <a:pt x="493" y="82"/>
                      </a:lnTo>
                      <a:lnTo>
                        <a:pt x="495" y="82"/>
                      </a:lnTo>
                      <a:lnTo>
                        <a:pt x="495" y="80"/>
                      </a:lnTo>
                      <a:lnTo>
                        <a:pt x="496" y="80"/>
                      </a:lnTo>
                      <a:lnTo>
                        <a:pt x="498" y="80"/>
                      </a:lnTo>
                      <a:lnTo>
                        <a:pt x="500" y="80"/>
                      </a:lnTo>
                      <a:lnTo>
                        <a:pt x="502" y="80"/>
                      </a:lnTo>
                      <a:lnTo>
                        <a:pt x="502" y="82"/>
                      </a:lnTo>
                      <a:lnTo>
                        <a:pt x="502" y="80"/>
                      </a:lnTo>
                      <a:lnTo>
                        <a:pt x="503" y="80"/>
                      </a:lnTo>
                      <a:lnTo>
                        <a:pt x="505" y="80"/>
                      </a:lnTo>
                      <a:lnTo>
                        <a:pt x="505" y="79"/>
                      </a:lnTo>
                      <a:lnTo>
                        <a:pt x="507" y="79"/>
                      </a:lnTo>
                      <a:lnTo>
                        <a:pt x="508" y="79"/>
                      </a:lnTo>
                      <a:lnTo>
                        <a:pt x="507" y="79"/>
                      </a:lnTo>
                      <a:lnTo>
                        <a:pt x="508" y="77"/>
                      </a:lnTo>
                      <a:lnTo>
                        <a:pt x="508" y="79"/>
                      </a:lnTo>
                      <a:lnTo>
                        <a:pt x="508" y="77"/>
                      </a:lnTo>
                      <a:lnTo>
                        <a:pt x="510" y="77"/>
                      </a:lnTo>
                      <a:lnTo>
                        <a:pt x="510" y="75"/>
                      </a:lnTo>
                      <a:lnTo>
                        <a:pt x="512" y="75"/>
                      </a:lnTo>
                      <a:lnTo>
                        <a:pt x="512" y="74"/>
                      </a:lnTo>
                      <a:lnTo>
                        <a:pt x="510" y="74"/>
                      </a:lnTo>
                      <a:lnTo>
                        <a:pt x="512" y="74"/>
                      </a:lnTo>
                      <a:lnTo>
                        <a:pt x="512" y="72"/>
                      </a:lnTo>
                      <a:lnTo>
                        <a:pt x="512" y="74"/>
                      </a:lnTo>
                      <a:lnTo>
                        <a:pt x="512" y="72"/>
                      </a:lnTo>
                      <a:lnTo>
                        <a:pt x="513" y="72"/>
                      </a:lnTo>
                      <a:lnTo>
                        <a:pt x="515" y="72"/>
                      </a:lnTo>
                      <a:lnTo>
                        <a:pt x="515" y="71"/>
                      </a:lnTo>
                      <a:lnTo>
                        <a:pt x="515" y="69"/>
                      </a:lnTo>
                      <a:lnTo>
                        <a:pt x="515" y="71"/>
                      </a:lnTo>
                      <a:lnTo>
                        <a:pt x="515" y="69"/>
                      </a:lnTo>
                      <a:lnTo>
                        <a:pt x="517" y="69"/>
                      </a:lnTo>
                      <a:lnTo>
                        <a:pt x="517" y="71"/>
                      </a:lnTo>
                      <a:lnTo>
                        <a:pt x="517" y="69"/>
                      </a:lnTo>
                      <a:lnTo>
                        <a:pt x="517" y="67"/>
                      </a:lnTo>
                      <a:lnTo>
                        <a:pt x="518" y="67"/>
                      </a:lnTo>
                      <a:lnTo>
                        <a:pt x="520" y="66"/>
                      </a:lnTo>
                      <a:lnTo>
                        <a:pt x="520" y="64"/>
                      </a:lnTo>
                      <a:lnTo>
                        <a:pt x="522" y="66"/>
                      </a:lnTo>
                      <a:lnTo>
                        <a:pt x="522" y="64"/>
                      </a:lnTo>
                      <a:lnTo>
                        <a:pt x="523" y="64"/>
                      </a:lnTo>
                      <a:lnTo>
                        <a:pt x="523" y="66"/>
                      </a:lnTo>
                      <a:lnTo>
                        <a:pt x="525" y="66"/>
                      </a:lnTo>
                      <a:lnTo>
                        <a:pt x="527" y="66"/>
                      </a:lnTo>
                      <a:lnTo>
                        <a:pt x="529" y="66"/>
                      </a:lnTo>
                      <a:lnTo>
                        <a:pt x="530" y="66"/>
                      </a:lnTo>
                      <a:lnTo>
                        <a:pt x="530" y="64"/>
                      </a:lnTo>
                      <a:lnTo>
                        <a:pt x="532" y="64"/>
                      </a:lnTo>
                      <a:lnTo>
                        <a:pt x="532" y="62"/>
                      </a:lnTo>
                      <a:lnTo>
                        <a:pt x="534" y="62"/>
                      </a:lnTo>
                      <a:lnTo>
                        <a:pt x="534" y="64"/>
                      </a:lnTo>
                      <a:lnTo>
                        <a:pt x="534" y="62"/>
                      </a:lnTo>
                      <a:lnTo>
                        <a:pt x="535" y="62"/>
                      </a:lnTo>
                      <a:lnTo>
                        <a:pt x="537" y="61"/>
                      </a:lnTo>
                      <a:lnTo>
                        <a:pt x="539" y="61"/>
                      </a:lnTo>
                      <a:lnTo>
                        <a:pt x="539" y="59"/>
                      </a:lnTo>
                      <a:lnTo>
                        <a:pt x="539" y="57"/>
                      </a:lnTo>
                      <a:lnTo>
                        <a:pt x="539" y="59"/>
                      </a:lnTo>
                      <a:lnTo>
                        <a:pt x="540" y="59"/>
                      </a:lnTo>
                      <a:lnTo>
                        <a:pt x="540" y="57"/>
                      </a:lnTo>
                      <a:lnTo>
                        <a:pt x="542" y="57"/>
                      </a:lnTo>
                      <a:lnTo>
                        <a:pt x="542" y="56"/>
                      </a:lnTo>
                      <a:lnTo>
                        <a:pt x="544" y="56"/>
                      </a:lnTo>
                      <a:lnTo>
                        <a:pt x="544" y="54"/>
                      </a:lnTo>
                      <a:lnTo>
                        <a:pt x="544" y="56"/>
                      </a:lnTo>
                      <a:lnTo>
                        <a:pt x="544" y="54"/>
                      </a:lnTo>
                      <a:lnTo>
                        <a:pt x="545" y="54"/>
                      </a:lnTo>
                      <a:lnTo>
                        <a:pt x="547" y="54"/>
                      </a:lnTo>
                      <a:lnTo>
                        <a:pt x="545" y="54"/>
                      </a:lnTo>
                      <a:lnTo>
                        <a:pt x="545" y="53"/>
                      </a:lnTo>
                      <a:lnTo>
                        <a:pt x="547" y="53"/>
                      </a:lnTo>
                      <a:lnTo>
                        <a:pt x="547" y="51"/>
                      </a:lnTo>
                      <a:lnTo>
                        <a:pt x="549" y="53"/>
                      </a:lnTo>
                      <a:lnTo>
                        <a:pt x="549" y="51"/>
                      </a:lnTo>
                      <a:lnTo>
                        <a:pt x="550" y="51"/>
                      </a:lnTo>
                      <a:lnTo>
                        <a:pt x="550" y="49"/>
                      </a:lnTo>
                      <a:lnTo>
                        <a:pt x="552" y="49"/>
                      </a:lnTo>
                      <a:lnTo>
                        <a:pt x="552" y="48"/>
                      </a:lnTo>
                      <a:lnTo>
                        <a:pt x="554" y="48"/>
                      </a:lnTo>
                      <a:lnTo>
                        <a:pt x="554" y="46"/>
                      </a:lnTo>
                      <a:lnTo>
                        <a:pt x="554" y="48"/>
                      </a:lnTo>
                      <a:lnTo>
                        <a:pt x="554" y="46"/>
                      </a:lnTo>
                      <a:lnTo>
                        <a:pt x="556" y="48"/>
                      </a:lnTo>
                      <a:lnTo>
                        <a:pt x="556" y="46"/>
                      </a:lnTo>
                      <a:lnTo>
                        <a:pt x="557" y="46"/>
                      </a:lnTo>
                      <a:lnTo>
                        <a:pt x="559" y="46"/>
                      </a:lnTo>
                      <a:lnTo>
                        <a:pt x="561" y="46"/>
                      </a:lnTo>
                      <a:lnTo>
                        <a:pt x="561" y="48"/>
                      </a:lnTo>
                      <a:lnTo>
                        <a:pt x="561" y="46"/>
                      </a:lnTo>
                      <a:lnTo>
                        <a:pt x="561" y="48"/>
                      </a:lnTo>
                      <a:lnTo>
                        <a:pt x="562" y="48"/>
                      </a:lnTo>
                      <a:lnTo>
                        <a:pt x="564" y="48"/>
                      </a:lnTo>
                      <a:lnTo>
                        <a:pt x="566" y="48"/>
                      </a:lnTo>
                      <a:lnTo>
                        <a:pt x="566" y="46"/>
                      </a:lnTo>
                      <a:lnTo>
                        <a:pt x="567" y="46"/>
                      </a:lnTo>
                      <a:lnTo>
                        <a:pt x="567" y="44"/>
                      </a:lnTo>
                      <a:lnTo>
                        <a:pt x="567" y="43"/>
                      </a:lnTo>
                      <a:lnTo>
                        <a:pt x="569" y="43"/>
                      </a:lnTo>
                      <a:lnTo>
                        <a:pt x="569" y="41"/>
                      </a:lnTo>
                      <a:lnTo>
                        <a:pt x="569" y="43"/>
                      </a:lnTo>
                      <a:lnTo>
                        <a:pt x="569" y="41"/>
                      </a:lnTo>
                      <a:lnTo>
                        <a:pt x="571" y="41"/>
                      </a:lnTo>
                      <a:lnTo>
                        <a:pt x="572" y="39"/>
                      </a:lnTo>
                      <a:lnTo>
                        <a:pt x="574" y="39"/>
                      </a:lnTo>
                      <a:lnTo>
                        <a:pt x="576" y="38"/>
                      </a:lnTo>
                      <a:lnTo>
                        <a:pt x="574" y="38"/>
                      </a:lnTo>
                      <a:lnTo>
                        <a:pt x="576" y="38"/>
                      </a:lnTo>
                      <a:lnTo>
                        <a:pt x="576" y="36"/>
                      </a:lnTo>
                      <a:lnTo>
                        <a:pt x="578" y="36"/>
                      </a:lnTo>
                      <a:lnTo>
                        <a:pt x="579" y="36"/>
                      </a:lnTo>
                      <a:lnTo>
                        <a:pt x="581" y="34"/>
                      </a:lnTo>
                      <a:lnTo>
                        <a:pt x="583" y="34"/>
                      </a:lnTo>
                      <a:lnTo>
                        <a:pt x="583" y="33"/>
                      </a:lnTo>
                      <a:lnTo>
                        <a:pt x="583" y="34"/>
                      </a:lnTo>
                      <a:lnTo>
                        <a:pt x="584" y="33"/>
                      </a:lnTo>
                      <a:lnTo>
                        <a:pt x="586" y="33"/>
                      </a:lnTo>
                      <a:lnTo>
                        <a:pt x="584" y="33"/>
                      </a:lnTo>
                      <a:lnTo>
                        <a:pt x="586" y="33"/>
                      </a:lnTo>
                      <a:lnTo>
                        <a:pt x="586" y="31"/>
                      </a:lnTo>
                      <a:lnTo>
                        <a:pt x="588" y="31"/>
                      </a:lnTo>
                      <a:lnTo>
                        <a:pt x="588" y="30"/>
                      </a:lnTo>
                      <a:lnTo>
                        <a:pt x="588" y="31"/>
                      </a:lnTo>
                      <a:lnTo>
                        <a:pt x="586" y="31"/>
                      </a:lnTo>
                      <a:lnTo>
                        <a:pt x="588" y="30"/>
                      </a:lnTo>
                      <a:lnTo>
                        <a:pt x="588" y="28"/>
                      </a:lnTo>
                      <a:lnTo>
                        <a:pt x="589" y="28"/>
                      </a:lnTo>
                      <a:lnTo>
                        <a:pt x="589" y="26"/>
                      </a:lnTo>
                      <a:lnTo>
                        <a:pt x="589" y="28"/>
                      </a:lnTo>
                      <a:lnTo>
                        <a:pt x="589" y="26"/>
                      </a:lnTo>
                      <a:lnTo>
                        <a:pt x="589" y="25"/>
                      </a:lnTo>
                      <a:lnTo>
                        <a:pt x="591" y="25"/>
                      </a:lnTo>
                      <a:lnTo>
                        <a:pt x="591" y="23"/>
                      </a:lnTo>
                      <a:lnTo>
                        <a:pt x="593" y="23"/>
                      </a:lnTo>
                      <a:lnTo>
                        <a:pt x="594" y="23"/>
                      </a:lnTo>
                      <a:lnTo>
                        <a:pt x="594" y="21"/>
                      </a:lnTo>
                      <a:lnTo>
                        <a:pt x="596" y="21"/>
                      </a:lnTo>
                      <a:lnTo>
                        <a:pt x="598" y="21"/>
                      </a:lnTo>
                      <a:lnTo>
                        <a:pt x="598" y="20"/>
                      </a:lnTo>
                      <a:lnTo>
                        <a:pt x="599" y="20"/>
                      </a:lnTo>
                      <a:lnTo>
                        <a:pt x="601" y="18"/>
                      </a:lnTo>
                      <a:lnTo>
                        <a:pt x="601" y="20"/>
                      </a:lnTo>
                      <a:lnTo>
                        <a:pt x="601" y="18"/>
                      </a:lnTo>
                      <a:lnTo>
                        <a:pt x="603" y="18"/>
                      </a:lnTo>
                      <a:lnTo>
                        <a:pt x="603" y="16"/>
                      </a:lnTo>
                      <a:lnTo>
                        <a:pt x="605" y="16"/>
                      </a:lnTo>
                      <a:lnTo>
                        <a:pt x="606" y="16"/>
                      </a:lnTo>
                      <a:lnTo>
                        <a:pt x="605" y="15"/>
                      </a:lnTo>
                      <a:lnTo>
                        <a:pt x="606" y="15"/>
                      </a:lnTo>
                      <a:lnTo>
                        <a:pt x="608" y="15"/>
                      </a:lnTo>
                      <a:lnTo>
                        <a:pt x="608" y="13"/>
                      </a:lnTo>
                      <a:lnTo>
                        <a:pt x="608" y="15"/>
                      </a:lnTo>
                      <a:lnTo>
                        <a:pt x="608" y="13"/>
                      </a:lnTo>
                      <a:lnTo>
                        <a:pt x="610" y="13"/>
                      </a:lnTo>
                      <a:lnTo>
                        <a:pt x="608" y="13"/>
                      </a:lnTo>
                      <a:lnTo>
                        <a:pt x="610" y="13"/>
                      </a:lnTo>
                      <a:lnTo>
                        <a:pt x="610" y="11"/>
                      </a:lnTo>
                      <a:lnTo>
                        <a:pt x="611" y="11"/>
                      </a:lnTo>
                      <a:lnTo>
                        <a:pt x="613" y="11"/>
                      </a:lnTo>
                      <a:lnTo>
                        <a:pt x="613" y="10"/>
                      </a:lnTo>
                      <a:lnTo>
                        <a:pt x="615" y="10"/>
                      </a:lnTo>
                      <a:lnTo>
                        <a:pt x="615" y="8"/>
                      </a:lnTo>
                      <a:lnTo>
                        <a:pt x="616" y="10"/>
                      </a:lnTo>
                      <a:lnTo>
                        <a:pt x="616" y="8"/>
                      </a:lnTo>
                      <a:lnTo>
                        <a:pt x="618" y="8"/>
                      </a:lnTo>
                      <a:lnTo>
                        <a:pt x="620" y="8"/>
                      </a:lnTo>
                      <a:lnTo>
                        <a:pt x="621" y="8"/>
                      </a:lnTo>
                      <a:lnTo>
                        <a:pt x="623" y="8"/>
                      </a:lnTo>
                      <a:lnTo>
                        <a:pt x="623" y="7"/>
                      </a:lnTo>
                      <a:lnTo>
                        <a:pt x="625" y="7"/>
                      </a:lnTo>
                      <a:lnTo>
                        <a:pt x="626" y="7"/>
                      </a:lnTo>
                      <a:lnTo>
                        <a:pt x="628" y="5"/>
                      </a:lnTo>
                      <a:lnTo>
                        <a:pt x="630" y="3"/>
                      </a:lnTo>
                      <a:lnTo>
                        <a:pt x="632" y="3"/>
                      </a:lnTo>
                      <a:lnTo>
                        <a:pt x="633" y="3"/>
                      </a:lnTo>
                      <a:lnTo>
                        <a:pt x="632" y="3"/>
                      </a:lnTo>
                      <a:lnTo>
                        <a:pt x="633" y="3"/>
                      </a:lnTo>
                      <a:lnTo>
                        <a:pt x="635" y="3"/>
                      </a:lnTo>
                      <a:lnTo>
                        <a:pt x="635" y="2"/>
                      </a:lnTo>
                      <a:lnTo>
                        <a:pt x="637" y="2"/>
                      </a:lnTo>
                      <a:lnTo>
                        <a:pt x="638" y="0"/>
                      </a:lnTo>
                      <a:lnTo>
                        <a:pt x="640" y="2"/>
                      </a:lnTo>
                      <a:lnTo>
                        <a:pt x="642" y="2"/>
                      </a:lnTo>
                      <a:lnTo>
                        <a:pt x="642" y="0"/>
                      </a:lnTo>
                      <a:lnTo>
                        <a:pt x="642" y="2"/>
                      </a:lnTo>
                      <a:lnTo>
                        <a:pt x="642" y="0"/>
                      </a:lnTo>
                      <a:lnTo>
                        <a:pt x="643" y="0"/>
                      </a:lnTo>
                      <a:lnTo>
                        <a:pt x="643" y="2"/>
                      </a:lnTo>
                      <a:lnTo>
                        <a:pt x="645" y="2"/>
                      </a:lnTo>
                      <a:lnTo>
                        <a:pt x="645" y="0"/>
                      </a:lnTo>
                      <a:lnTo>
                        <a:pt x="647" y="0"/>
                      </a:lnTo>
                      <a:lnTo>
                        <a:pt x="648" y="0"/>
                      </a:lnTo>
                      <a:lnTo>
                        <a:pt x="647" y="0"/>
                      </a:lnTo>
                      <a:lnTo>
                        <a:pt x="648" y="0"/>
                      </a:lnTo>
                      <a:lnTo>
                        <a:pt x="648" y="2"/>
                      </a:lnTo>
                      <a:lnTo>
                        <a:pt x="650" y="2"/>
                      </a:lnTo>
                      <a:lnTo>
                        <a:pt x="652" y="2"/>
                      </a:lnTo>
                      <a:lnTo>
                        <a:pt x="652" y="3"/>
                      </a:lnTo>
                      <a:lnTo>
                        <a:pt x="654" y="3"/>
                      </a:lnTo>
                      <a:lnTo>
                        <a:pt x="654" y="2"/>
                      </a:lnTo>
                      <a:lnTo>
                        <a:pt x="655" y="2"/>
                      </a:lnTo>
                      <a:lnTo>
                        <a:pt x="655" y="3"/>
                      </a:lnTo>
                      <a:lnTo>
                        <a:pt x="657" y="3"/>
                      </a:lnTo>
                      <a:lnTo>
                        <a:pt x="657" y="2"/>
                      </a:lnTo>
                      <a:lnTo>
                        <a:pt x="659" y="2"/>
                      </a:lnTo>
                      <a:lnTo>
                        <a:pt x="659" y="3"/>
                      </a:lnTo>
                      <a:lnTo>
                        <a:pt x="660" y="3"/>
                      </a:lnTo>
                      <a:lnTo>
                        <a:pt x="662" y="3"/>
                      </a:lnTo>
                      <a:lnTo>
                        <a:pt x="660" y="3"/>
                      </a:lnTo>
                      <a:lnTo>
                        <a:pt x="662" y="3"/>
                      </a:lnTo>
                      <a:lnTo>
                        <a:pt x="660" y="3"/>
                      </a:lnTo>
                      <a:lnTo>
                        <a:pt x="662" y="5"/>
                      </a:lnTo>
                      <a:lnTo>
                        <a:pt x="662" y="3"/>
                      </a:lnTo>
                      <a:lnTo>
                        <a:pt x="664" y="3"/>
                      </a:lnTo>
                      <a:lnTo>
                        <a:pt x="662" y="3"/>
                      </a:lnTo>
                      <a:lnTo>
                        <a:pt x="662" y="5"/>
                      </a:lnTo>
                      <a:lnTo>
                        <a:pt x="664" y="5"/>
                      </a:lnTo>
                      <a:lnTo>
                        <a:pt x="664" y="3"/>
                      </a:lnTo>
                      <a:lnTo>
                        <a:pt x="664" y="5"/>
                      </a:lnTo>
                      <a:lnTo>
                        <a:pt x="664" y="3"/>
                      </a:lnTo>
                      <a:lnTo>
                        <a:pt x="665" y="3"/>
                      </a:lnTo>
                      <a:lnTo>
                        <a:pt x="665" y="5"/>
                      </a:lnTo>
                      <a:lnTo>
                        <a:pt x="665" y="3"/>
                      </a:lnTo>
                      <a:lnTo>
                        <a:pt x="667" y="3"/>
                      </a:lnTo>
                      <a:lnTo>
                        <a:pt x="669" y="2"/>
                      </a:lnTo>
                      <a:lnTo>
                        <a:pt x="669" y="3"/>
                      </a:lnTo>
                      <a:lnTo>
                        <a:pt x="670" y="3"/>
                      </a:lnTo>
                      <a:lnTo>
                        <a:pt x="672" y="3"/>
                      </a:lnTo>
                      <a:lnTo>
                        <a:pt x="672" y="5"/>
                      </a:lnTo>
                      <a:lnTo>
                        <a:pt x="674" y="5"/>
                      </a:lnTo>
                      <a:lnTo>
                        <a:pt x="674" y="7"/>
                      </a:lnTo>
                      <a:lnTo>
                        <a:pt x="674" y="5"/>
                      </a:lnTo>
                      <a:lnTo>
                        <a:pt x="675" y="7"/>
                      </a:lnTo>
                      <a:lnTo>
                        <a:pt x="675" y="5"/>
                      </a:lnTo>
                      <a:lnTo>
                        <a:pt x="675" y="7"/>
                      </a:lnTo>
                      <a:lnTo>
                        <a:pt x="677" y="7"/>
                      </a:lnTo>
                      <a:lnTo>
                        <a:pt x="677" y="5"/>
                      </a:lnTo>
                      <a:lnTo>
                        <a:pt x="679" y="5"/>
                      </a:lnTo>
                      <a:lnTo>
                        <a:pt x="679" y="7"/>
                      </a:lnTo>
                      <a:lnTo>
                        <a:pt x="681" y="7"/>
                      </a:lnTo>
                      <a:lnTo>
                        <a:pt x="682" y="7"/>
                      </a:lnTo>
                      <a:lnTo>
                        <a:pt x="682" y="8"/>
                      </a:lnTo>
                      <a:lnTo>
                        <a:pt x="682" y="7"/>
                      </a:lnTo>
                      <a:lnTo>
                        <a:pt x="684" y="7"/>
                      </a:lnTo>
                      <a:lnTo>
                        <a:pt x="686" y="7"/>
                      </a:lnTo>
                      <a:lnTo>
                        <a:pt x="686" y="8"/>
                      </a:lnTo>
                      <a:lnTo>
                        <a:pt x="687" y="8"/>
                      </a:lnTo>
                      <a:lnTo>
                        <a:pt x="687" y="10"/>
                      </a:lnTo>
                      <a:lnTo>
                        <a:pt x="687" y="8"/>
                      </a:lnTo>
                      <a:lnTo>
                        <a:pt x="689" y="8"/>
                      </a:lnTo>
                      <a:lnTo>
                        <a:pt x="689" y="10"/>
                      </a:lnTo>
                      <a:lnTo>
                        <a:pt x="687" y="10"/>
                      </a:lnTo>
                      <a:lnTo>
                        <a:pt x="687" y="11"/>
                      </a:lnTo>
                      <a:lnTo>
                        <a:pt x="686" y="13"/>
                      </a:lnTo>
                      <a:lnTo>
                        <a:pt x="684" y="18"/>
                      </a:lnTo>
                      <a:lnTo>
                        <a:pt x="682" y="23"/>
                      </a:lnTo>
                      <a:lnTo>
                        <a:pt x="681" y="25"/>
                      </a:lnTo>
                      <a:lnTo>
                        <a:pt x="681" y="26"/>
                      </a:lnTo>
                      <a:lnTo>
                        <a:pt x="681" y="28"/>
                      </a:lnTo>
                      <a:lnTo>
                        <a:pt x="679" y="30"/>
                      </a:lnTo>
                      <a:lnTo>
                        <a:pt x="681" y="30"/>
                      </a:lnTo>
                      <a:lnTo>
                        <a:pt x="679" y="31"/>
                      </a:lnTo>
                      <a:lnTo>
                        <a:pt x="679" y="33"/>
                      </a:lnTo>
                      <a:lnTo>
                        <a:pt x="681" y="33"/>
                      </a:lnTo>
                      <a:lnTo>
                        <a:pt x="681" y="34"/>
                      </a:lnTo>
                      <a:lnTo>
                        <a:pt x="681" y="36"/>
                      </a:lnTo>
                      <a:lnTo>
                        <a:pt x="681" y="34"/>
                      </a:lnTo>
                      <a:lnTo>
                        <a:pt x="679" y="36"/>
                      </a:lnTo>
                      <a:lnTo>
                        <a:pt x="681" y="36"/>
                      </a:lnTo>
                      <a:lnTo>
                        <a:pt x="679" y="36"/>
                      </a:lnTo>
                      <a:lnTo>
                        <a:pt x="681" y="36"/>
                      </a:lnTo>
                      <a:lnTo>
                        <a:pt x="681" y="38"/>
                      </a:lnTo>
                      <a:lnTo>
                        <a:pt x="679" y="38"/>
                      </a:lnTo>
                      <a:lnTo>
                        <a:pt x="681" y="38"/>
                      </a:lnTo>
                      <a:lnTo>
                        <a:pt x="681" y="39"/>
                      </a:lnTo>
                      <a:lnTo>
                        <a:pt x="682" y="39"/>
                      </a:lnTo>
                      <a:lnTo>
                        <a:pt x="684" y="39"/>
                      </a:lnTo>
                      <a:lnTo>
                        <a:pt x="684" y="41"/>
                      </a:lnTo>
                      <a:lnTo>
                        <a:pt x="686" y="41"/>
                      </a:lnTo>
                      <a:lnTo>
                        <a:pt x="687" y="41"/>
                      </a:lnTo>
                      <a:lnTo>
                        <a:pt x="689" y="41"/>
                      </a:lnTo>
                      <a:lnTo>
                        <a:pt x="691" y="41"/>
                      </a:lnTo>
                      <a:lnTo>
                        <a:pt x="691" y="43"/>
                      </a:lnTo>
                      <a:lnTo>
                        <a:pt x="692" y="43"/>
                      </a:lnTo>
                      <a:lnTo>
                        <a:pt x="694" y="43"/>
                      </a:lnTo>
                      <a:lnTo>
                        <a:pt x="696" y="44"/>
                      </a:lnTo>
                      <a:lnTo>
                        <a:pt x="694" y="44"/>
                      </a:lnTo>
                      <a:lnTo>
                        <a:pt x="694" y="46"/>
                      </a:lnTo>
                      <a:lnTo>
                        <a:pt x="696" y="46"/>
                      </a:lnTo>
                      <a:lnTo>
                        <a:pt x="696" y="44"/>
                      </a:lnTo>
                      <a:lnTo>
                        <a:pt x="697" y="44"/>
                      </a:lnTo>
                      <a:lnTo>
                        <a:pt x="697" y="46"/>
                      </a:lnTo>
                      <a:lnTo>
                        <a:pt x="699" y="46"/>
                      </a:lnTo>
                      <a:lnTo>
                        <a:pt x="699" y="44"/>
                      </a:lnTo>
                      <a:lnTo>
                        <a:pt x="699" y="46"/>
                      </a:lnTo>
                      <a:lnTo>
                        <a:pt x="701" y="46"/>
                      </a:lnTo>
                      <a:lnTo>
                        <a:pt x="702" y="46"/>
                      </a:lnTo>
                      <a:lnTo>
                        <a:pt x="702" y="48"/>
                      </a:lnTo>
                      <a:lnTo>
                        <a:pt x="704" y="48"/>
                      </a:lnTo>
                      <a:lnTo>
                        <a:pt x="706" y="48"/>
                      </a:lnTo>
                      <a:lnTo>
                        <a:pt x="708" y="48"/>
                      </a:lnTo>
                      <a:lnTo>
                        <a:pt x="709" y="49"/>
                      </a:lnTo>
                      <a:lnTo>
                        <a:pt x="711" y="49"/>
                      </a:lnTo>
                      <a:lnTo>
                        <a:pt x="713" y="51"/>
                      </a:lnTo>
                      <a:lnTo>
                        <a:pt x="713" y="53"/>
                      </a:lnTo>
                      <a:lnTo>
                        <a:pt x="714" y="53"/>
                      </a:lnTo>
                      <a:lnTo>
                        <a:pt x="714" y="51"/>
                      </a:lnTo>
                      <a:lnTo>
                        <a:pt x="716" y="51"/>
                      </a:lnTo>
                      <a:lnTo>
                        <a:pt x="718" y="51"/>
                      </a:lnTo>
                      <a:lnTo>
                        <a:pt x="719" y="51"/>
                      </a:lnTo>
                      <a:lnTo>
                        <a:pt x="719" y="49"/>
                      </a:lnTo>
                      <a:lnTo>
                        <a:pt x="718" y="49"/>
                      </a:lnTo>
                      <a:lnTo>
                        <a:pt x="718" y="48"/>
                      </a:lnTo>
                      <a:lnTo>
                        <a:pt x="719" y="49"/>
                      </a:lnTo>
                      <a:lnTo>
                        <a:pt x="719" y="48"/>
                      </a:lnTo>
                      <a:lnTo>
                        <a:pt x="719" y="46"/>
                      </a:lnTo>
                      <a:lnTo>
                        <a:pt x="721" y="46"/>
                      </a:lnTo>
                      <a:lnTo>
                        <a:pt x="721" y="44"/>
                      </a:lnTo>
                      <a:lnTo>
                        <a:pt x="723" y="44"/>
                      </a:lnTo>
                      <a:lnTo>
                        <a:pt x="724" y="44"/>
                      </a:lnTo>
                      <a:lnTo>
                        <a:pt x="724" y="43"/>
                      </a:lnTo>
                      <a:lnTo>
                        <a:pt x="726" y="43"/>
                      </a:lnTo>
                      <a:lnTo>
                        <a:pt x="728" y="43"/>
                      </a:lnTo>
                      <a:lnTo>
                        <a:pt x="730" y="43"/>
                      </a:lnTo>
                      <a:lnTo>
                        <a:pt x="730" y="41"/>
                      </a:lnTo>
                      <a:lnTo>
                        <a:pt x="731" y="41"/>
                      </a:lnTo>
                      <a:lnTo>
                        <a:pt x="733" y="41"/>
                      </a:lnTo>
                      <a:lnTo>
                        <a:pt x="733" y="39"/>
                      </a:lnTo>
                      <a:lnTo>
                        <a:pt x="735" y="39"/>
                      </a:lnTo>
                      <a:lnTo>
                        <a:pt x="735" y="41"/>
                      </a:lnTo>
                      <a:lnTo>
                        <a:pt x="736" y="41"/>
                      </a:lnTo>
                      <a:lnTo>
                        <a:pt x="736" y="39"/>
                      </a:lnTo>
                      <a:lnTo>
                        <a:pt x="738" y="39"/>
                      </a:lnTo>
                      <a:lnTo>
                        <a:pt x="740" y="39"/>
                      </a:lnTo>
                      <a:lnTo>
                        <a:pt x="740" y="38"/>
                      </a:lnTo>
                      <a:lnTo>
                        <a:pt x="740" y="39"/>
                      </a:lnTo>
                      <a:lnTo>
                        <a:pt x="740" y="38"/>
                      </a:lnTo>
                      <a:lnTo>
                        <a:pt x="741" y="38"/>
                      </a:lnTo>
                      <a:lnTo>
                        <a:pt x="741" y="39"/>
                      </a:lnTo>
                      <a:lnTo>
                        <a:pt x="743" y="38"/>
                      </a:lnTo>
                      <a:lnTo>
                        <a:pt x="743" y="39"/>
                      </a:lnTo>
                      <a:lnTo>
                        <a:pt x="743" y="38"/>
                      </a:lnTo>
                      <a:lnTo>
                        <a:pt x="745" y="38"/>
                      </a:lnTo>
                      <a:lnTo>
                        <a:pt x="745" y="39"/>
                      </a:lnTo>
                      <a:lnTo>
                        <a:pt x="746" y="39"/>
                      </a:lnTo>
                      <a:lnTo>
                        <a:pt x="746" y="38"/>
                      </a:lnTo>
                      <a:lnTo>
                        <a:pt x="748" y="38"/>
                      </a:lnTo>
                      <a:lnTo>
                        <a:pt x="748" y="39"/>
                      </a:lnTo>
                      <a:lnTo>
                        <a:pt x="750" y="39"/>
                      </a:lnTo>
                      <a:lnTo>
                        <a:pt x="751" y="39"/>
                      </a:lnTo>
                      <a:lnTo>
                        <a:pt x="751" y="41"/>
                      </a:lnTo>
                      <a:lnTo>
                        <a:pt x="753" y="41"/>
                      </a:lnTo>
                      <a:lnTo>
                        <a:pt x="753" y="39"/>
                      </a:lnTo>
                      <a:lnTo>
                        <a:pt x="753" y="41"/>
                      </a:lnTo>
                      <a:lnTo>
                        <a:pt x="755" y="41"/>
                      </a:lnTo>
                      <a:lnTo>
                        <a:pt x="755" y="43"/>
                      </a:lnTo>
                      <a:lnTo>
                        <a:pt x="755" y="41"/>
                      </a:lnTo>
                      <a:lnTo>
                        <a:pt x="757" y="41"/>
                      </a:lnTo>
                      <a:lnTo>
                        <a:pt x="758" y="41"/>
                      </a:lnTo>
                      <a:lnTo>
                        <a:pt x="760" y="41"/>
                      </a:lnTo>
                      <a:lnTo>
                        <a:pt x="760" y="43"/>
                      </a:lnTo>
                      <a:lnTo>
                        <a:pt x="762" y="43"/>
                      </a:lnTo>
                      <a:lnTo>
                        <a:pt x="763" y="43"/>
                      </a:lnTo>
                      <a:lnTo>
                        <a:pt x="765" y="43"/>
                      </a:lnTo>
                      <a:lnTo>
                        <a:pt x="767" y="43"/>
                      </a:lnTo>
                      <a:lnTo>
                        <a:pt x="768" y="43"/>
                      </a:lnTo>
                      <a:lnTo>
                        <a:pt x="768" y="44"/>
                      </a:lnTo>
                      <a:lnTo>
                        <a:pt x="770" y="44"/>
                      </a:lnTo>
                      <a:lnTo>
                        <a:pt x="770" y="46"/>
                      </a:lnTo>
                      <a:lnTo>
                        <a:pt x="770" y="48"/>
                      </a:lnTo>
                      <a:lnTo>
                        <a:pt x="772" y="48"/>
                      </a:lnTo>
                      <a:lnTo>
                        <a:pt x="772" y="46"/>
                      </a:lnTo>
                      <a:lnTo>
                        <a:pt x="772" y="48"/>
                      </a:lnTo>
                      <a:lnTo>
                        <a:pt x="773" y="48"/>
                      </a:lnTo>
                      <a:lnTo>
                        <a:pt x="773" y="49"/>
                      </a:lnTo>
                      <a:lnTo>
                        <a:pt x="775" y="49"/>
                      </a:lnTo>
                      <a:lnTo>
                        <a:pt x="775" y="48"/>
                      </a:lnTo>
                      <a:lnTo>
                        <a:pt x="775" y="49"/>
                      </a:lnTo>
                      <a:lnTo>
                        <a:pt x="777" y="49"/>
                      </a:lnTo>
                      <a:lnTo>
                        <a:pt x="777" y="51"/>
                      </a:lnTo>
                      <a:lnTo>
                        <a:pt x="778" y="51"/>
                      </a:lnTo>
                      <a:lnTo>
                        <a:pt x="778" y="53"/>
                      </a:lnTo>
                      <a:lnTo>
                        <a:pt x="780" y="53"/>
                      </a:lnTo>
                      <a:lnTo>
                        <a:pt x="780" y="54"/>
                      </a:lnTo>
                      <a:lnTo>
                        <a:pt x="782" y="54"/>
                      </a:lnTo>
                      <a:lnTo>
                        <a:pt x="784" y="56"/>
                      </a:lnTo>
                      <a:lnTo>
                        <a:pt x="785" y="56"/>
                      </a:lnTo>
                      <a:lnTo>
                        <a:pt x="787" y="56"/>
                      </a:lnTo>
                      <a:lnTo>
                        <a:pt x="787" y="57"/>
                      </a:lnTo>
                      <a:lnTo>
                        <a:pt x="789" y="59"/>
                      </a:lnTo>
                      <a:lnTo>
                        <a:pt x="790" y="59"/>
                      </a:lnTo>
                      <a:lnTo>
                        <a:pt x="792" y="59"/>
                      </a:lnTo>
                      <a:lnTo>
                        <a:pt x="792" y="61"/>
                      </a:lnTo>
                      <a:lnTo>
                        <a:pt x="794" y="61"/>
                      </a:lnTo>
                      <a:lnTo>
                        <a:pt x="794" y="62"/>
                      </a:lnTo>
                      <a:lnTo>
                        <a:pt x="795" y="62"/>
                      </a:lnTo>
                      <a:lnTo>
                        <a:pt x="797" y="64"/>
                      </a:lnTo>
                      <a:lnTo>
                        <a:pt x="799" y="64"/>
                      </a:lnTo>
                      <a:lnTo>
                        <a:pt x="799" y="66"/>
                      </a:lnTo>
                      <a:lnTo>
                        <a:pt x="799" y="64"/>
                      </a:lnTo>
                      <a:lnTo>
                        <a:pt x="800" y="64"/>
                      </a:lnTo>
                      <a:lnTo>
                        <a:pt x="800" y="62"/>
                      </a:lnTo>
                      <a:lnTo>
                        <a:pt x="802" y="64"/>
                      </a:lnTo>
                      <a:lnTo>
                        <a:pt x="804" y="64"/>
                      </a:lnTo>
                      <a:lnTo>
                        <a:pt x="804" y="66"/>
                      </a:lnTo>
                      <a:lnTo>
                        <a:pt x="804" y="67"/>
                      </a:lnTo>
                      <a:lnTo>
                        <a:pt x="806" y="66"/>
                      </a:lnTo>
                      <a:lnTo>
                        <a:pt x="806" y="67"/>
                      </a:lnTo>
                      <a:lnTo>
                        <a:pt x="807" y="67"/>
                      </a:lnTo>
                      <a:lnTo>
                        <a:pt x="809" y="69"/>
                      </a:lnTo>
                      <a:lnTo>
                        <a:pt x="811" y="69"/>
                      </a:lnTo>
                      <a:lnTo>
                        <a:pt x="811" y="71"/>
                      </a:lnTo>
                      <a:lnTo>
                        <a:pt x="812" y="71"/>
                      </a:lnTo>
                      <a:lnTo>
                        <a:pt x="812" y="72"/>
                      </a:lnTo>
                      <a:lnTo>
                        <a:pt x="814" y="72"/>
                      </a:lnTo>
                      <a:lnTo>
                        <a:pt x="816" y="72"/>
                      </a:lnTo>
                      <a:lnTo>
                        <a:pt x="816" y="74"/>
                      </a:lnTo>
                      <a:lnTo>
                        <a:pt x="816" y="75"/>
                      </a:lnTo>
                      <a:lnTo>
                        <a:pt x="817" y="75"/>
                      </a:lnTo>
                      <a:lnTo>
                        <a:pt x="819" y="77"/>
                      </a:lnTo>
                      <a:lnTo>
                        <a:pt x="821" y="77"/>
                      </a:lnTo>
                      <a:lnTo>
                        <a:pt x="822" y="77"/>
                      </a:lnTo>
                      <a:lnTo>
                        <a:pt x="824" y="79"/>
                      </a:lnTo>
                      <a:lnTo>
                        <a:pt x="826" y="77"/>
                      </a:lnTo>
                      <a:lnTo>
                        <a:pt x="827" y="79"/>
                      </a:lnTo>
                      <a:lnTo>
                        <a:pt x="829" y="79"/>
                      </a:lnTo>
                      <a:lnTo>
                        <a:pt x="831" y="80"/>
                      </a:lnTo>
                      <a:lnTo>
                        <a:pt x="833" y="80"/>
                      </a:lnTo>
                      <a:lnTo>
                        <a:pt x="833" y="82"/>
                      </a:lnTo>
                      <a:lnTo>
                        <a:pt x="834" y="80"/>
                      </a:lnTo>
                      <a:lnTo>
                        <a:pt x="836" y="80"/>
                      </a:lnTo>
                      <a:lnTo>
                        <a:pt x="836" y="79"/>
                      </a:lnTo>
                      <a:lnTo>
                        <a:pt x="838" y="80"/>
                      </a:lnTo>
                      <a:lnTo>
                        <a:pt x="839" y="79"/>
                      </a:lnTo>
                      <a:lnTo>
                        <a:pt x="841" y="79"/>
                      </a:lnTo>
                      <a:lnTo>
                        <a:pt x="843" y="79"/>
                      </a:lnTo>
                      <a:lnTo>
                        <a:pt x="843" y="80"/>
                      </a:lnTo>
                      <a:lnTo>
                        <a:pt x="844" y="80"/>
                      </a:lnTo>
                      <a:lnTo>
                        <a:pt x="844" y="82"/>
                      </a:lnTo>
                      <a:lnTo>
                        <a:pt x="846" y="82"/>
                      </a:lnTo>
                      <a:lnTo>
                        <a:pt x="846" y="84"/>
                      </a:lnTo>
                      <a:lnTo>
                        <a:pt x="848" y="84"/>
                      </a:lnTo>
                      <a:lnTo>
                        <a:pt x="848" y="85"/>
                      </a:lnTo>
                      <a:lnTo>
                        <a:pt x="849" y="87"/>
                      </a:lnTo>
                      <a:lnTo>
                        <a:pt x="851" y="87"/>
                      </a:lnTo>
                      <a:lnTo>
                        <a:pt x="851" y="85"/>
                      </a:lnTo>
                      <a:lnTo>
                        <a:pt x="854" y="85"/>
                      </a:lnTo>
                      <a:lnTo>
                        <a:pt x="856" y="85"/>
                      </a:lnTo>
                      <a:lnTo>
                        <a:pt x="858" y="85"/>
                      </a:lnTo>
                      <a:lnTo>
                        <a:pt x="860" y="85"/>
                      </a:lnTo>
                      <a:lnTo>
                        <a:pt x="861" y="85"/>
                      </a:lnTo>
                      <a:lnTo>
                        <a:pt x="863" y="87"/>
                      </a:lnTo>
                      <a:lnTo>
                        <a:pt x="863" y="85"/>
                      </a:lnTo>
                      <a:lnTo>
                        <a:pt x="865" y="85"/>
                      </a:lnTo>
                      <a:lnTo>
                        <a:pt x="866" y="85"/>
                      </a:lnTo>
                      <a:lnTo>
                        <a:pt x="866" y="84"/>
                      </a:lnTo>
                      <a:lnTo>
                        <a:pt x="868" y="84"/>
                      </a:lnTo>
                      <a:lnTo>
                        <a:pt x="870" y="84"/>
                      </a:lnTo>
                      <a:lnTo>
                        <a:pt x="870" y="82"/>
                      </a:lnTo>
                      <a:lnTo>
                        <a:pt x="870" y="80"/>
                      </a:lnTo>
                      <a:lnTo>
                        <a:pt x="871" y="80"/>
                      </a:lnTo>
                      <a:lnTo>
                        <a:pt x="873" y="80"/>
                      </a:lnTo>
                      <a:lnTo>
                        <a:pt x="875" y="80"/>
                      </a:lnTo>
                      <a:lnTo>
                        <a:pt x="876" y="79"/>
                      </a:lnTo>
                      <a:lnTo>
                        <a:pt x="905" y="105"/>
                      </a:lnTo>
                      <a:lnTo>
                        <a:pt x="909" y="107"/>
                      </a:lnTo>
                      <a:lnTo>
                        <a:pt x="910" y="110"/>
                      </a:lnTo>
                      <a:lnTo>
                        <a:pt x="917" y="115"/>
                      </a:lnTo>
                      <a:lnTo>
                        <a:pt x="919" y="115"/>
                      </a:lnTo>
                      <a:lnTo>
                        <a:pt x="919" y="117"/>
                      </a:lnTo>
                      <a:lnTo>
                        <a:pt x="922" y="138"/>
                      </a:lnTo>
                      <a:lnTo>
                        <a:pt x="924" y="138"/>
                      </a:lnTo>
                      <a:lnTo>
                        <a:pt x="925" y="138"/>
                      </a:lnTo>
                      <a:lnTo>
                        <a:pt x="927" y="138"/>
                      </a:lnTo>
                      <a:lnTo>
                        <a:pt x="927" y="140"/>
                      </a:lnTo>
                      <a:lnTo>
                        <a:pt x="929" y="140"/>
                      </a:lnTo>
                      <a:lnTo>
                        <a:pt x="929" y="138"/>
                      </a:lnTo>
                      <a:lnTo>
                        <a:pt x="930" y="138"/>
                      </a:lnTo>
                      <a:lnTo>
                        <a:pt x="932" y="138"/>
                      </a:lnTo>
                      <a:lnTo>
                        <a:pt x="934" y="140"/>
                      </a:lnTo>
                      <a:lnTo>
                        <a:pt x="937" y="140"/>
                      </a:lnTo>
                      <a:lnTo>
                        <a:pt x="939" y="141"/>
                      </a:lnTo>
                      <a:lnTo>
                        <a:pt x="941" y="140"/>
                      </a:lnTo>
                      <a:lnTo>
                        <a:pt x="941" y="138"/>
                      </a:lnTo>
                      <a:lnTo>
                        <a:pt x="942" y="138"/>
                      </a:lnTo>
                      <a:lnTo>
                        <a:pt x="944" y="138"/>
                      </a:lnTo>
                      <a:lnTo>
                        <a:pt x="946" y="136"/>
                      </a:lnTo>
                      <a:lnTo>
                        <a:pt x="947" y="136"/>
                      </a:lnTo>
                      <a:lnTo>
                        <a:pt x="949" y="136"/>
                      </a:lnTo>
                      <a:lnTo>
                        <a:pt x="951" y="136"/>
                      </a:lnTo>
                      <a:lnTo>
                        <a:pt x="952" y="136"/>
                      </a:lnTo>
                      <a:lnTo>
                        <a:pt x="952" y="135"/>
                      </a:lnTo>
                      <a:lnTo>
                        <a:pt x="954" y="135"/>
                      </a:lnTo>
                      <a:lnTo>
                        <a:pt x="954" y="133"/>
                      </a:lnTo>
                      <a:lnTo>
                        <a:pt x="954" y="131"/>
                      </a:lnTo>
                      <a:lnTo>
                        <a:pt x="956" y="131"/>
                      </a:lnTo>
                      <a:lnTo>
                        <a:pt x="956" y="130"/>
                      </a:lnTo>
                      <a:lnTo>
                        <a:pt x="958" y="131"/>
                      </a:lnTo>
                      <a:lnTo>
                        <a:pt x="959" y="131"/>
                      </a:lnTo>
                      <a:lnTo>
                        <a:pt x="961" y="131"/>
                      </a:lnTo>
                      <a:lnTo>
                        <a:pt x="961" y="133"/>
                      </a:lnTo>
                      <a:lnTo>
                        <a:pt x="963" y="133"/>
                      </a:lnTo>
                      <a:lnTo>
                        <a:pt x="963" y="135"/>
                      </a:lnTo>
                      <a:lnTo>
                        <a:pt x="963" y="133"/>
                      </a:lnTo>
                      <a:lnTo>
                        <a:pt x="964" y="135"/>
                      </a:lnTo>
                      <a:lnTo>
                        <a:pt x="966" y="133"/>
                      </a:lnTo>
                      <a:lnTo>
                        <a:pt x="968" y="133"/>
                      </a:lnTo>
                      <a:lnTo>
                        <a:pt x="968" y="131"/>
                      </a:lnTo>
                      <a:lnTo>
                        <a:pt x="969" y="131"/>
                      </a:lnTo>
                      <a:lnTo>
                        <a:pt x="969" y="130"/>
                      </a:lnTo>
                      <a:lnTo>
                        <a:pt x="971" y="130"/>
                      </a:lnTo>
                      <a:lnTo>
                        <a:pt x="971" y="131"/>
                      </a:lnTo>
                      <a:lnTo>
                        <a:pt x="973" y="131"/>
                      </a:lnTo>
                      <a:lnTo>
                        <a:pt x="973" y="133"/>
                      </a:lnTo>
                      <a:lnTo>
                        <a:pt x="973" y="135"/>
                      </a:lnTo>
                      <a:lnTo>
                        <a:pt x="974" y="135"/>
                      </a:lnTo>
                      <a:lnTo>
                        <a:pt x="974" y="136"/>
                      </a:lnTo>
                      <a:lnTo>
                        <a:pt x="976" y="136"/>
                      </a:lnTo>
                      <a:lnTo>
                        <a:pt x="976" y="135"/>
                      </a:lnTo>
                      <a:lnTo>
                        <a:pt x="978" y="135"/>
                      </a:lnTo>
                      <a:lnTo>
                        <a:pt x="978" y="133"/>
                      </a:lnTo>
                      <a:lnTo>
                        <a:pt x="976" y="133"/>
                      </a:lnTo>
                      <a:lnTo>
                        <a:pt x="978" y="133"/>
                      </a:lnTo>
                      <a:lnTo>
                        <a:pt x="979" y="133"/>
                      </a:lnTo>
                      <a:lnTo>
                        <a:pt x="979" y="131"/>
                      </a:lnTo>
                      <a:lnTo>
                        <a:pt x="981" y="131"/>
                      </a:lnTo>
                      <a:lnTo>
                        <a:pt x="981" y="133"/>
                      </a:lnTo>
                      <a:lnTo>
                        <a:pt x="983" y="133"/>
                      </a:lnTo>
                      <a:lnTo>
                        <a:pt x="983" y="135"/>
                      </a:lnTo>
                      <a:lnTo>
                        <a:pt x="985" y="135"/>
                      </a:lnTo>
                      <a:lnTo>
                        <a:pt x="985" y="136"/>
                      </a:lnTo>
                      <a:lnTo>
                        <a:pt x="986" y="136"/>
                      </a:lnTo>
                      <a:lnTo>
                        <a:pt x="986" y="138"/>
                      </a:lnTo>
                      <a:lnTo>
                        <a:pt x="988" y="136"/>
                      </a:lnTo>
                      <a:lnTo>
                        <a:pt x="990" y="138"/>
                      </a:lnTo>
                      <a:lnTo>
                        <a:pt x="991" y="138"/>
                      </a:lnTo>
                      <a:lnTo>
                        <a:pt x="991" y="140"/>
                      </a:lnTo>
                      <a:lnTo>
                        <a:pt x="990" y="140"/>
                      </a:lnTo>
                      <a:lnTo>
                        <a:pt x="991" y="140"/>
                      </a:lnTo>
                      <a:lnTo>
                        <a:pt x="991" y="141"/>
                      </a:lnTo>
                      <a:lnTo>
                        <a:pt x="993" y="141"/>
                      </a:lnTo>
                      <a:lnTo>
                        <a:pt x="993" y="143"/>
                      </a:lnTo>
                      <a:lnTo>
                        <a:pt x="995" y="144"/>
                      </a:lnTo>
                      <a:lnTo>
                        <a:pt x="996" y="143"/>
                      </a:lnTo>
                      <a:lnTo>
                        <a:pt x="998" y="143"/>
                      </a:lnTo>
                      <a:lnTo>
                        <a:pt x="998" y="141"/>
                      </a:lnTo>
                      <a:lnTo>
                        <a:pt x="1000" y="141"/>
                      </a:lnTo>
                      <a:lnTo>
                        <a:pt x="1001" y="141"/>
                      </a:lnTo>
                      <a:lnTo>
                        <a:pt x="1003" y="141"/>
                      </a:lnTo>
                      <a:lnTo>
                        <a:pt x="1003" y="140"/>
                      </a:lnTo>
                      <a:lnTo>
                        <a:pt x="1005" y="140"/>
                      </a:lnTo>
                      <a:lnTo>
                        <a:pt x="1005" y="141"/>
                      </a:lnTo>
                      <a:lnTo>
                        <a:pt x="1006" y="141"/>
                      </a:lnTo>
                      <a:lnTo>
                        <a:pt x="1006" y="143"/>
                      </a:lnTo>
                      <a:lnTo>
                        <a:pt x="1006" y="144"/>
                      </a:lnTo>
                      <a:lnTo>
                        <a:pt x="1008" y="144"/>
                      </a:lnTo>
                      <a:lnTo>
                        <a:pt x="1010" y="146"/>
                      </a:lnTo>
                      <a:lnTo>
                        <a:pt x="1010" y="144"/>
                      </a:lnTo>
                      <a:lnTo>
                        <a:pt x="1010" y="146"/>
                      </a:lnTo>
                      <a:lnTo>
                        <a:pt x="1012" y="146"/>
                      </a:lnTo>
                      <a:lnTo>
                        <a:pt x="1012" y="144"/>
                      </a:lnTo>
                      <a:lnTo>
                        <a:pt x="1012" y="146"/>
                      </a:lnTo>
                      <a:lnTo>
                        <a:pt x="1012" y="144"/>
                      </a:lnTo>
                      <a:lnTo>
                        <a:pt x="1013" y="144"/>
                      </a:lnTo>
                      <a:lnTo>
                        <a:pt x="1013" y="146"/>
                      </a:lnTo>
                      <a:lnTo>
                        <a:pt x="1013" y="144"/>
                      </a:lnTo>
                      <a:lnTo>
                        <a:pt x="1013" y="146"/>
                      </a:lnTo>
                      <a:lnTo>
                        <a:pt x="1015" y="146"/>
                      </a:lnTo>
                      <a:lnTo>
                        <a:pt x="1017" y="146"/>
                      </a:lnTo>
                      <a:lnTo>
                        <a:pt x="1018" y="146"/>
                      </a:lnTo>
                      <a:lnTo>
                        <a:pt x="1018" y="144"/>
                      </a:lnTo>
                      <a:lnTo>
                        <a:pt x="1018" y="146"/>
                      </a:lnTo>
                      <a:lnTo>
                        <a:pt x="1020" y="146"/>
                      </a:lnTo>
                      <a:lnTo>
                        <a:pt x="1020" y="144"/>
                      </a:lnTo>
                      <a:lnTo>
                        <a:pt x="1022" y="144"/>
                      </a:lnTo>
                      <a:lnTo>
                        <a:pt x="1022" y="146"/>
                      </a:lnTo>
                      <a:lnTo>
                        <a:pt x="1022" y="144"/>
                      </a:lnTo>
                      <a:lnTo>
                        <a:pt x="1023" y="144"/>
                      </a:lnTo>
                      <a:lnTo>
                        <a:pt x="1025" y="144"/>
                      </a:lnTo>
                      <a:lnTo>
                        <a:pt x="1025" y="146"/>
                      </a:lnTo>
                      <a:lnTo>
                        <a:pt x="1027" y="146"/>
                      </a:lnTo>
                      <a:lnTo>
                        <a:pt x="1027" y="148"/>
                      </a:lnTo>
                      <a:lnTo>
                        <a:pt x="1028" y="148"/>
                      </a:lnTo>
                      <a:lnTo>
                        <a:pt x="1028" y="149"/>
                      </a:lnTo>
                      <a:lnTo>
                        <a:pt x="1030" y="149"/>
                      </a:lnTo>
                      <a:lnTo>
                        <a:pt x="1030" y="151"/>
                      </a:lnTo>
                      <a:lnTo>
                        <a:pt x="1032" y="151"/>
                      </a:lnTo>
                      <a:lnTo>
                        <a:pt x="1032" y="149"/>
                      </a:lnTo>
                      <a:lnTo>
                        <a:pt x="1032" y="151"/>
                      </a:lnTo>
                      <a:lnTo>
                        <a:pt x="1032" y="153"/>
                      </a:lnTo>
                      <a:lnTo>
                        <a:pt x="1030" y="153"/>
                      </a:lnTo>
                      <a:lnTo>
                        <a:pt x="1032" y="154"/>
                      </a:lnTo>
                      <a:lnTo>
                        <a:pt x="1032" y="153"/>
                      </a:lnTo>
                      <a:lnTo>
                        <a:pt x="1032" y="154"/>
                      </a:lnTo>
                      <a:lnTo>
                        <a:pt x="1032" y="153"/>
                      </a:lnTo>
                      <a:lnTo>
                        <a:pt x="1034" y="153"/>
                      </a:lnTo>
                      <a:lnTo>
                        <a:pt x="1034" y="154"/>
                      </a:lnTo>
                      <a:lnTo>
                        <a:pt x="1034" y="153"/>
                      </a:lnTo>
                      <a:lnTo>
                        <a:pt x="1035" y="154"/>
                      </a:lnTo>
                      <a:lnTo>
                        <a:pt x="1035" y="153"/>
                      </a:lnTo>
                      <a:lnTo>
                        <a:pt x="1037" y="153"/>
                      </a:lnTo>
                      <a:lnTo>
                        <a:pt x="1037" y="154"/>
                      </a:lnTo>
                      <a:lnTo>
                        <a:pt x="1039" y="154"/>
                      </a:lnTo>
                      <a:lnTo>
                        <a:pt x="1039" y="153"/>
                      </a:lnTo>
                      <a:lnTo>
                        <a:pt x="1040" y="153"/>
                      </a:lnTo>
                      <a:lnTo>
                        <a:pt x="1040" y="154"/>
                      </a:lnTo>
                      <a:lnTo>
                        <a:pt x="1039" y="154"/>
                      </a:lnTo>
                      <a:lnTo>
                        <a:pt x="1040" y="154"/>
                      </a:lnTo>
                      <a:lnTo>
                        <a:pt x="1040" y="156"/>
                      </a:lnTo>
                      <a:lnTo>
                        <a:pt x="1040" y="154"/>
                      </a:lnTo>
                      <a:lnTo>
                        <a:pt x="1042" y="154"/>
                      </a:lnTo>
                      <a:lnTo>
                        <a:pt x="1040" y="154"/>
                      </a:lnTo>
                      <a:lnTo>
                        <a:pt x="1040" y="156"/>
                      </a:lnTo>
                      <a:lnTo>
                        <a:pt x="1042" y="156"/>
                      </a:lnTo>
                      <a:lnTo>
                        <a:pt x="1040" y="156"/>
                      </a:lnTo>
                      <a:lnTo>
                        <a:pt x="1040" y="158"/>
                      </a:lnTo>
                      <a:lnTo>
                        <a:pt x="1040" y="156"/>
                      </a:lnTo>
                      <a:lnTo>
                        <a:pt x="1042" y="156"/>
                      </a:lnTo>
                      <a:lnTo>
                        <a:pt x="1040" y="158"/>
                      </a:lnTo>
                      <a:lnTo>
                        <a:pt x="1042" y="158"/>
                      </a:lnTo>
                      <a:lnTo>
                        <a:pt x="1042" y="159"/>
                      </a:lnTo>
                      <a:lnTo>
                        <a:pt x="1044" y="159"/>
                      </a:lnTo>
                      <a:lnTo>
                        <a:pt x="1045" y="159"/>
                      </a:lnTo>
                      <a:lnTo>
                        <a:pt x="1044" y="161"/>
                      </a:lnTo>
                      <a:lnTo>
                        <a:pt x="1045" y="161"/>
                      </a:lnTo>
                      <a:lnTo>
                        <a:pt x="1047" y="161"/>
                      </a:lnTo>
                      <a:lnTo>
                        <a:pt x="1047" y="163"/>
                      </a:lnTo>
                      <a:lnTo>
                        <a:pt x="1049" y="163"/>
                      </a:lnTo>
                      <a:lnTo>
                        <a:pt x="1050" y="163"/>
                      </a:lnTo>
                      <a:lnTo>
                        <a:pt x="1052" y="161"/>
                      </a:lnTo>
                      <a:lnTo>
                        <a:pt x="1054" y="163"/>
                      </a:lnTo>
                      <a:lnTo>
                        <a:pt x="1055" y="163"/>
                      </a:lnTo>
                      <a:lnTo>
                        <a:pt x="1054" y="164"/>
                      </a:lnTo>
                      <a:lnTo>
                        <a:pt x="1055" y="164"/>
                      </a:lnTo>
                      <a:lnTo>
                        <a:pt x="1055" y="166"/>
                      </a:lnTo>
                      <a:lnTo>
                        <a:pt x="1057" y="167"/>
                      </a:lnTo>
                      <a:lnTo>
                        <a:pt x="1059" y="169"/>
                      </a:lnTo>
                      <a:lnTo>
                        <a:pt x="1059" y="171"/>
                      </a:lnTo>
                      <a:lnTo>
                        <a:pt x="1061" y="171"/>
                      </a:lnTo>
                      <a:lnTo>
                        <a:pt x="1061" y="172"/>
                      </a:lnTo>
                      <a:lnTo>
                        <a:pt x="1061" y="174"/>
                      </a:lnTo>
                      <a:lnTo>
                        <a:pt x="1059" y="176"/>
                      </a:lnTo>
                      <a:lnTo>
                        <a:pt x="1057" y="176"/>
                      </a:lnTo>
                      <a:lnTo>
                        <a:pt x="1059" y="176"/>
                      </a:lnTo>
                      <a:lnTo>
                        <a:pt x="1059" y="177"/>
                      </a:lnTo>
                      <a:lnTo>
                        <a:pt x="1059" y="179"/>
                      </a:lnTo>
                      <a:lnTo>
                        <a:pt x="1059" y="181"/>
                      </a:lnTo>
                      <a:lnTo>
                        <a:pt x="1057" y="181"/>
                      </a:lnTo>
                      <a:lnTo>
                        <a:pt x="1057" y="182"/>
                      </a:lnTo>
                      <a:lnTo>
                        <a:pt x="1055" y="182"/>
                      </a:lnTo>
                      <a:lnTo>
                        <a:pt x="1054" y="184"/>
                      </a:lnTo>
                      <a:lnTo>
                        <a:pt x="1054" y="186"/>
                      </a:lnTo>
                      <a:lnTo>
                        <a:pt x="1055" y="187"/>
                      </a:lnTo>
                      <a:lnTo>
                        <a:pt x="1055" y="189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2" name="Freeform 12"/>
                <p:cNvSpPr>
                  <a:spLocks noChangeAspect="1"/>
                </p:cNvSpPr>
                <p:nvPr/>
              </p:nvSpPr>
              <p:spPr bwMode="auto">
                <a:xfrm>
                  <a:off x="2629367" y="461924"/>
                  <a:ext cx="879908" cy="1053735"/>
                </a:xfrm>
                <a:custGeom>
                  <a:avLst/>
                  <a:gdLst>
                    <a:gd name="T0" fmla="*/ 2147483647 w 564"/>
                    <a:gd name="T1" fmla="*/ 2147483647 h 630"/>
                    <a:gd name="T2" fmla="*/ 2147483647 w 564"/>
                    <a:gd name="T3" fmla="*/ 2147483647 h 630"/>
                    <a:gd name="T4" fmla="*/ 2147483647 w 564"/>
                    <a:gd name="T5" fmla="*/ 2147483647 h 630"/>
                    <a:gd name="T6" fmla="*/ 2147483647 w 564"/>
                    <a:gd name="T7" fmla="*/ 2147483647 h 630"/>
                    <a:gd name="T8" fmla="*/ 2147483647 w 564"/>
                    <a:gd name="T9" fmla="*/ 2147483647 h 630"/>
                    <a:gd name="T10" fmla="*/ 2147483647 w 564"/>
                    <a:gd name="T11" fmla="*/ 2147483647 h 630"/>
                    <a:gd name="T12" fmla="*/ 2147483647 w 564"/>
                    <a:gd name="T13" fmla="*/ 2147483647 h 630"/>
                    <a:gd name="T14" fmla="*/ 2147483647 w 564"/>
                    <a:gd name="T15" fmla="*/ 2147483647 h 630"/>
                    <a:gd name="T16" fmla="*/ 2147483647 w 564"/>
                    <a:gd name="T17" fmla="*/ 2147483647 h 630"/>
                    <a:gd name="T18" fmla="*/ 2147483647 w 564"/>
                    <a:gd name="T19" fmla="*/ 2147483647 h 630"/>
                    <a:gd name="T20" fmla="*/ 2147483647 w 564"/>
                    <a:gd name="T21" fmla="*/ 2147483647 h 630"/>
                    <a:gd name="T22" fmla="*/ 2147483647 w 564"/>
                    <a:gd name="T23" fmla="*/ 2147483647 h 630"/>
                    <a:gd name="T24" fmla="*/ 2147483647 w 564"/>
                    <a:gd name="T25" fmla="*/ 2147483647 h 630"/>
                    <a:gd name="T26" fmla="*/ 2147483647 w 564"/>
                    <a:gd name="T27" fmla="*/ 2147483647 h 630"/>
                    <a:gd name="T28" fmla="*/ 2147483647 w 564"/>
                    <a:gd name="T29" fmla="*/ 2147483647 h 630"/>
                    <a:gd name="T30" fmla="*/ 2147483647 w 564"/>
                    <a:gd name="T31" fmla="*/ 2147483647 h 630"/>
                    <a:gd name="T32" fmla="*/ 2147483647 w 564"/>
                    <a:gd name="T33" fmla="*/ 2147483647 h 630"/>
                    <a:gd name="T34" fmla="*/ 2147483647 w 564"/>
                    <a:gd name="T35" fmla="*/ 2147483647 h 630"/>
                    <a:gd name="T36" fmla="*/ 2147483647 w 564"/>
                    <a:gd name="T37" fmla="*/ 2147483647 h 630"/>
                    <a:gd name="T38" fmla="*/ 2147483647 w 564"/>
                    <a:gd name="T39" fmla="*/ 2147483647 h 630"/>
                    <a:gd name="T40" fmla="*/ 2147483647 w 564"/>
                    <a:gd name="T41" fmla="*/ 2147483647 h 630"/>
                    <a:gd name="T42" fmla="*/ 2147483647 w 564"/>
                    <a:gd name="T43" fmla="*/ 2147483647 h 630"/>
                    <a:gd name="T44" fmla="*/ 2147483647 w 564"/>
                    <a:gd name="T45" fmla="*/ 2147483647 h 630"/>
                    <a:gd name="T46" fmla="*/ 2147483647 w 564"/>
                    <a:gd name="T47" fmla="*/ 2147483647 h 630"/>
                    <a:gd name="T48" fmla="*/ 2147483647 w 564"/>
                    <a:gd name="T49" fmla="*/ 2147483647 h 630"/>
                    <a:gd name="T50" fmla="*/ 2147483647 w 564"/>
                    <a:gd name="T51" fmla="*/ 2147483647 h 630"/>
                    <a:gd name="T52" fmla="*/ 2147483647 w 564"/>
                    <a:gd name="T53" fmla="*/ 2147483647 h 630"/>
                    <a:gd name="T54" fmla="*/ 2147483647 w 564"/>
                    <a:gd name="T55" fmla="*/ 2147483647 h 630"/>
                    <a:gd name="T56" fmla="*/ 2147483647 w 564"/>
                    <a:gd name="T57" fmla="*/ 2147483647 h 630"/>
                    <a:gd name="T58" fmla="*/ 2147483647 w 564"/>
                    <a:gd name="T59" fmla="*/ 2147483647 h 630"/>
                    <a:gd name="T60" fmla="*/ 2147483647 w 564"/>
                    <a:gd name="T61" fmla="*/ 2147483647 h 630"/>
                    <a:gd name="T62" fmla="*/ 2147483647 w 564"/>
                    <a:gd name="T63" fmla="*/ 2147483647 h 630"/>
                    <a:gd name="T64" fmla="*/ 2147483647 w 564"/>
                    <a:gd name="T65" fmla="*/ 2147483647 h 630"/>
                    <a:gd name="T66" fmla="*/ 2147483647 w 564"/>
                    <a:gd name="T67" fmla="*/ 2147483647 h 630"/>
                    <a:gd name="T68" fmla="*/ 2147483647 w 564"/>
                    <a:gd name="T69" fmla="*/ 2147483647 h 630"/>
                    <a:gd name="T70" fmla="*/ 2147483647 w 564"/>
                    <a:gd name="T71" fmla="*/ 2147483647 h 630"/>
                    <a:gd name="T72" fmla="*/ 2147483647 w 564"/>
                    <a:gd name="T73" fmla="*/ 2147483647 h 630"/>
                    <a:gd name="T74" fmla="*/ 2147483647 w 564"/>
                    <a:gd name="T75" fmla="*/ 2147483647 h 630"/>
                    <a:gd name="T76" fmla="*/ 2147483647 w 564"/>
                    <a:gd name="T77" fmla="*/ 2147483647 h 630"/>
                    <a:gd name="T78" fmla="*/ 2147483647 w 564"/>
                    <a:gd name="T79" fmla="*/ 2147483647 h 630"/>
                    <a:gd name="T80" fmla="*/ 2147483647 w 564"/>
                    <a:gd name="T81" fmla="*/ 2147483647 h 630"/>
                    <a:gd name="T82" fmla="*/ 2147483647 w 564"/>
                    <a:gd name="T83" fmla="*/ 2147483647 h 630"/>
                    <a:gd name="T84" fmla="*/ 2147483647 w 564"/>
                    <a:gd name="T85" fmla="*/ 2147483647 h 630"/>
                    <a:gd name="T86" fmla="*/ 2147483647 w 564"/>
                    <a:gd name="T87" fmla="*/ 2147483647 h 630"/>
                    <a:gd name="T88" fmla="*/ 2147483647 w 564"/>
                    <a:gd name="T89" fmla="*/ 2147483647 h 630"/>
                    <a:gd name="T90" fmla="*/ 2147483647 w 564"/>
                    <a:gd name="T91" fmla="*/ 2147483647 h 630"/>
                    <a:gd name="T92" fmla="*/ 2147483647 w 564"/>
                    <a:gd name="T93" fmla="*/ 2147483647 h 630"/>
                    <a:gd name="T94" fmla="*/ 2147483647 w 564"/>
                    <a:gd name="T95" fmla="*/ 2147483647 h 630"/>
                    <a:gd name="T96" fmla="*/ 2147483647 w 564"/>
                    <a:gd name="T97" fmla="*/ 2147483647 h 630"/>
                    <a:gd name="T98" fmla="*/ 2147483647 w 564"/>
                    <a:gd name="T99" fmla="*/ 2147483647 h 630"/>
                    <a:gd name="T100" fmla="*/ 2147483647 w 564"/>
                    <a:gd name="T101" fmla="*/ 2147483647 h 630"/>
                    <a:gd name="T102" fmla="*/ 2147483647 w 564"/>
                    <a:gd name="T103" fmla="*/ 2147483647 h 630"/>
                    <a:gd name="T104" fmla="*/ 2147483647 w 564"/>
                    <a:gd name="T105" fmla="*/ 2147483647 h 630"/>
                    <a:gd name="T106" fmla="*/ 2147483647 w 564"/>
                    <a:gd name="T107" fmla="*/ 2147483647 h 630"/>
                    <a:gd name="T108" fmla="*/ 2147483647 w 564"/>
                    <a:gd name="T109" fmla="*/ 2147483647 h 630"/>
                    <a:gd name="T110" fmla="*/ 2147483647 w 564"/>
                    <a:gd name="T111" fmla="*/ 2147483647 h 630"/>
                    <a:gd name="T112" fmla="*/ 2147483647 w 564"/>
                    <a:gd name="T113" fmla="*/ 2147483647 h 630"/>
                    <a:gd name="T114" fmla="*/ 2147483647 w 564"/>
                    <a:gd name="T115" fmla="*/ 2147483647 h 630"/>
                    <a:gd name="T116" fmla="*/ 2147483647 w 564"/>
                    <a:gd name="T117" fmla="*/ 2147483647 h 630"/>
                    <a:gd name="T118" fmla="*/ 2147483647 w 564"/>
                    <a:gd name="T119" fmla="*/ 2147483647 h 630"/>
                    <a:gd name="T120" fmla="*/ 2147483647 w 564"/>
                    <a:gd name="T121" fmla="*/ 2147483647 h 630"/>
                    <a:gd name="T122" fmla="*/ 2147483647 w 564"/>
                    <a:gd name="T123" fmla="*/ 2147483647 h 630"/>
                    <a:gd name="T124" fmla="*/ 2147483647 w 564"/>
                    <a:gd name="T125" fmla="*/ 2147483647 h 63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564"/>
                    <a:gd name="T190" fmla="*/ 0 h 630"/>
                    <a:gd name="T191" fmla="*/ 564 w 564"/>
                    <a:gd name="T192" fmla="*/ 630 h 63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564" h="630">
                      <a:moveTo>
                        <a:pt x="319" y="630"/>
                      </a:moveTo>
                      <a:lnTo>
                        <a:pt x="317" y="630"/>
                      </a:lnTo>
                      <a:lnTo>
                        <a:pt x="315" y="629"/>
                      </a:lnTo>
                      <a:lnTo>
                        <a:pt x="314" y="629"/>
                      </a:lnTo>
                      <a:lnTo>
                        <a:pt x="312" y="625"/>
                      </a:lnTo>
                      <a:lnTo>
                        <a:pt x="310" y="624"/>
                      </a:lnTo>
                      <a:lnTo>
                        <a:pt x="310" y="622"/>
                      </a:lnTo>
                      <a:lnTo>
                        <a:pt x="309" y="622"/>
                      </a:lnTo>
                      <a:lnTo>
                        <a:pt x="307" y="620"/>
                      </a:lnTo>
                      <a:lnTo>
                        <a:pt x="305" y="619"/>
                      </a:lnTo>
                      <a:lnTo>
                        <a:pt x="304" y="617"/>
                      </a:lnTo>
                      <a:lnTo>
                        <a:pt x="302" y="617"/>
                      </a:lnTo>
                      <a:lnTo>
                        <a:pt x="300" y="617"/>
                      </a:lnTo>
                      <a:lnTo>
                        <a:pt x="299" y="616"/>
                      </a:lnTo>
                      <a:lnTo>
                        <a:pt x="297" y="616"/>
                      </a:lnTo>
                      <a:lnTo>
                        <a:pt x="295" y="616"/>
                      </a:lnTo>
                      <a:lnTo>
                        <a:pt x="294" y="614"/>
                      </a:lnTo>
                      <a:lnTo>
                        <a:pt x="290" y="612"/>
                      </a:lnTo>
                      <a:lnTo>
                        <a:pt x="288" y="612"/>
                      </a:lnTo>
                      <a:lnTo>
                        <a:pt x="287" y="612"/>
                      </a:lnTo>
                      <a:lnTo>
                        <a:pt x="285" y="614"/>
                      </a:lnTo>
                      <a:lnTo>
                        <a:pt x="283" y="614"/>
                      </a:lnTo>
                      <a:lnTo>
                        <a:pt x="280" y="614"/>
                      </a:lnTo>
                      <a:lnTo>
                        <a:pt x="278" y="614"/>
                      </a:lnTo>
                      <a:lnTo>
                        <a:pt x="278" y="612"/>
                      </a:lnTo>
                      <a:lnTo>
                        <a:pt x="277" y="612"/>
                      </a:lnTo>
                      <a:lnTo>
                        <a:pt x="277" y="611"/>
                      </a:lnTo>
                      <a:lnTo>
                        <a:pt x="277" y="609"/>
                      </a:lnTo>
                      <a:lnTo>
                        <a:pt x="275" y="607"/>
                      </a:lnTo>
                      <a:lnTo>
                        <a:pt x="273" y="606"/>
                      </a:lnTo>
                      <a:lnTo>
                        <a:pt x="273" y="604"/>
                      </a:lnTo>
                      <a:lnTo>
                        <a:pt x="273" y="602"/>
                      </a:lnTo>
                      <a:lnTo>
                        <a:pt x="272" y="599"/>
                      </a:lnTo>
                      <a:lnTo>
                        <a:pt x="270" y="597"/>
                      </a:lnTo>
                      <a:lnTo>
                        <a:pt x="270" y="596"/>
                      </a:lnTo>
                      <a:lnTo>
                        <a:pt x="266" y="591"/>
                      </a:lnTo>
                      <a:lnTo>
                        <a:pt x="265" y="588"/>
                      </a:lnTo>
                      <a:lnTo>
                        <a:pt x="263" y="588"/>
                      </a:lnTo>
                      <a:lnTo>
                        <a:pt x="263" y="586"/>
                      </a:lnTo>
                      <a:lnTo>
                        <a:pt x="261" y="586"/>
                      </a:lnTo>
                      <a:lnTo>
                        <a:pt x="260" y="586"/>
                      </a:lnTo>
                      <a:lnTo>
                        <a:pt x="258" y="586"/>
                      </a:lnTo>
                      <a:lnTo>
                        <a:pt x="258" y="584"/>
                      </a:lnTo>
                      <a:lnTo>
                        <a:pt x="256" y="584"/>
                      </a:lnTo>
                      <a:lnTo>
                        <a:pt x="258" y="583"/>
                      </a:lnTo>
                      <a:lnTo>
                        <a:pt x="256" y="581"/>
                      </a:lnTo>
                      <a:lnTo>
                        <a:pt x="255" y="581"/>
                      </a:lnTo>
                      <a:lnTo>
                        <a:pt x="255" y="579"/>
                      </a:lnTo>
                      <a:lnTo>
                        <a:pt x="253" y="579"/>
                      </a:lnTo>
                      <a:lnTo>
                        <a:pt x="253" y="578"/>
                      </a:lnTo>
                      <a:lnTo>
                        <a:pt x="251" y="578"/>
                      </a:lnTo>
                      <a:lnTo>
                        <a:pt x="250" y="578"/>
                      </a:lnTo>
                      <a:lnTo>
                        <a:pt x="250" y="576"/>
                      </a:lnTo>
                      <a:lnTo>
                        <a:pt x="248" y="576"/>
                      </a:lnTo>
                      <a:lnTo>
                        <a:pt x="246" y="574"/>
                      </a:lnTo>
                      <a:lnTo>
                        <a:pt x="245" y="574"/>
                      </a:lnTo>
                      <a:lnTo>
                        <a:pt x="243" y="574"/>
                      </a:lnTo>
                      <a:lnTo>
                        <a:pt x="243" y="573"/>
                      </a:lnTo>
                      <a:lnTo>
                        <a:pt x="241" y="573"/>
                      </a:lnTo>
                      <a:lnTo>
                        <a:pt x="239" y="571"/>
                      </a:lnTo>
                      <a:lnTo>
                        <a:pt x="238" y="570"/>
                      </a:lnTo>
                      <a:lnTo>
                        <a:pt x="236" y="570"/>
                      </a:lnTo>
                      <a:lnTo>
                        <a:pt x="236" y="568"/>
                      </a:lnTo>
                      <a:lnTo>
                        <a:pt x="234" y="566"/>
                      </a:lnTo>
                      <a:lnTo>
                        <a:pt x="234" y="565"/>
                      </a:lnTo>
                      <a:lnTo>
                        <a:pt x="233" y="565"/>
                      </a:lnTo>
                      <a:lnTo>
                        <a:pt x="233" y="563"/>
                      </a:lnTo>
                      <a:lnTo>
                        <a:pt x="233" y="561"/>
                      </a:lnTo>
                      <a:lnTo>
                        <a:pt x="231" y="561"/>
                      </a:lnTo>
                      <a:lnTo>
                        <a:pt x="229" y="560"/>
                      </a:lnTo>
                      <a:lnTo>
                        <a:pt x="228" y="560"/>
                      </a:lnTo>
                      <a:lnTo>
                        <a:pt x="226" y="560"/>
                      </a:lnTo>
                      <a:lnTo>
                        <a:pt x="224" y="560"/>
                      </a:lnTo>
                      <a:lnTo>
                        <a:pt x="224" y="558"/>
                      </a:lnTo>
                      <a:lnTo>
                        <a:pt x="223" y="558"/>
                      </a:lnTo>
                      <a:lnTo>
                        <a:pt x="221" y="558"/>
                      </a:lnTo>
                      <a:lnTo>
                        <a:pt x="221" y="556"/>
                      </a:lnTo>
                      <a:lnTo>
                        <a:pt x="219" y="555"/>
                      </a:lnTo>
                      <a:lnTo>
                        <a:pt x="221" y="555"/>
                      </a:lnTo>
                      <a:lnTo>
                        <a:pt x="221" y="553"/>
                      </a:lnTo>
                      <a:lnTo>
                        <a:pt x="221" y="551"/>
                      </a:lnTo>
                      <a:lnTo>
                        <a:pt x="221" y="550"/>
                      </a:lnTo>
                      <a:lnTo>
                        <a:pt x="221" y="548"/>
                      </a:lnTo>
                      <a:lnTo>
                        <a:pt x="223" y="548"/>
                      </a:lnTo>
                      <a:lnTo>
                        <a:pt x="224" y="548"/>
                      </a:lnTo>
                      <a:lnTo>
                        <a:pt x="228" y="548"/>
                      </a:lnTo>
                      <a:lnTo>
                        <a:pt x="228" y="550"/>
                      </a:lnTo>
                      <a:lnTo>
                        <a:pt x="229" y="550"/>
                      </a:lnTo>
                      <a:lnTo>
                        <a:pt x="229" y="551"/>
                      </a:lnTo>
                      <a:lnTo>
                        <a:pt x="231" y="551"/>
                      </a:lnTo>
                      <a:lnTo>
                        <a:pt x="231" y="550"/>
                      </a:lnTo>
                      <a:lnTo>
                        <a:pt x="233" y="550"/>
                      </a:lnTo>
                      <a:lnTo>
                        <a:pt x="234" y="550"/>
                      </a:lnTo>
                      <a:lnTo>
                        <a:pt x="233" y="550"/>
                      </a:lnTo>
                      <a:lnTo>
                        <a:pt x="233" y="548"/>
                      </a:lnTo>
                      <a:lnTo>
                        <a:pt x="234" y="547"/>
                      </a:lnTo>
                      <a:lnTo>
                        <a:pt x="234" y="548"/>
                      </a:lnTo>
                      <a:lnTo>
                        <a:pt x="236" y="547"/>
                      </a:lnTo>
                      <a:lnTo>
                        <a:pt x="238" y="545"/>
                      </a:lnTo>
                      <a:lnTo>
                        <a:pt x="238" y="547"/>
                      </a:lnTo>
                      <a:lnTo>
                        <a:pt x="239" y="547"/>
                      </a:lnTo>
                      <a:lnTo>
                        <a:pt x="239" y="545"/>
                      </a:lnTo>
                      <a:lnTo>
                        <a:pt x="241" y="545"/>
                      </a:lnTo>
                      <a:lnTo>
                        <a:pt x="241" y="543"/>
                      </a:lnTo>
                      <a:lnTo>
                        <a:pt x="241" y="542"/>
                      </a:lnTo>
                      <a:lnTo>
                        <a:pt x="239" y="542"/>
                      </a:lnTo>
                      <a:lnTo>
                        <a:pt x="241" y="542"/>
                      </a:lnTo>
                      <a:lnTo>
                        <a:pt x="241" y="540"/>
                      </a:lnTo>
                      <a:lnTo>
                        <a:pt x="239" y="540"/>
                      </a:lnTo>
                      <a:lnTo>
                        <a:pt x="239" y="538"/>
                      </a:lnTo>
                      <a:lnTo>
                        <a:pt x="239" y="537"/>
                      </a:lnTo>
                      <a:lnTo>
                        <a:pt x="238" y="537"/>
                      </a:lnTo>
                      <a:lnTo>
                        <a:pt x="239" y="535"/>
                      </a:lnTo>
                      <a:lnTo>
                        <a:pt x="239" y="532"/>
                      </a:lnTo>
                      <a:lnTo>
                        <a:pt x="241" y="532"/>
                      </a:lnTo>
                      <a:lnTo>
                        <a:pt x="241" y="530"/>
                      </a:lnTo>
                      <a:lnTo>
                        <a:pt x="241" y="528"/>
                      </a:lnTo>
                      <a:lnTo>
                        <a:pt x="243" y="528"/>
                      </a:lnTo>
                      <a:lnTo>
                        <a:pt x="241" y="528"/>
                      </a:lnTo>
                      <a:lnTo>
                        <a:pt x="243" y="527"/>
                      </a:lnTo>
                      <a:lnTo>
                        <a:pt x="245" y="527"/>
                      </a:lnTo>
                      <a:lnTo>
                        <a:pt x="245" y="525"/>
                      </a:lnTo>
                      <a:lnTo>
                        <a:pt x="246" y="525"/>
                      </a:lnTo>
                      <a:lnTo>
                        <a:pt x="246" y="524"/>
                      </a:lnTo>
                      <a:lnTo>
                        <a:pt x="248" y="524"/>
                      </a:lnTo>
                      <a:lnTo>
                        <a:pt x="248" y="522"/>
                      </a:lnTo>
                      <a:lnTo>
                        <a:pt x="250" y="522"/>
                      </a:lnTo>
                      <a:lnTo>
                        <a:pt x="250" y="520"/>
                      </a:lnTo>
                      <a:lnTo>
                        <a:pt x="248" y="520"/>
                      </a:lnTo>
                      <a:lnTo>
                        <a:pt x="250" y="519"/>
                      </a:lnTo>
                      <a:lnTo>
                        <a:pt x="250" y="517"/>
                      </a:lnTo>
                      <a:lnTo>
                        <a:pt x="251" y="515"/>
                      </a:lnTo>
                      <a:lnTo>
                        <a:pt x="250" y="515"/>
                      </a:lnTo>
                      <a:lnTo>
                        <a:pt x="248" y="514"/>
                      </a:lnTo>
                      <a:lnTo>
                        <a:pt x="246" y="514"/>
                      </a:lnTo>
                      <a:lnTo>
                        <a:pt x="245" y="512"/>
                      </a:lnTo>
                      <a:lnTo>
                        <a:pt x="245" y="510"/>
                      </a:lnTo>
                      <a:lnTo>
                        <a:pt x="246" y="509"/>
                      </a:lnTo>
                      <a:lnTo>
                        <a:pt x="245" y="509"/>
                      </a:lnTo>
                      <a:lnTo>
                        <a:pt x="245" y="507"/>
                      </a:lnTo>
                      <a:lnTo>
                        <a:pt x="245" y="505"/>
                      </a:lnTo>
                      <a:lnTo>
                        <a:pt x="245" y="504"/>
                      </a:lnTo>
                      <a:lnTo>
                        <a:pt x="245" y="502"/>
                      </a:lnTo>
                      <a:lnTo>
                        <a:pt x="246" y="502"/>
                      </a:lnTo>
                      <a:lnTo>
                        <a:pt x="245" y="501"/>
                      </a:lnTo>
                      <a:lnTo>
                        <a:pt x="243" y="501"/>
                      </a:lnTo>
                      <a:lnTo>
                        <a:pt x="243" y="499"/>
                      </a:lnTo>
                      <a:lnTo>
                        <a:pt x="241" y="499"/>
                      </a:lnTo>
                      <a:lnTo>
                        <a:pt x="241" y="497"/>
                      </a:lnTo>
                      <a:lnTo>
                        <a:pt x="239" y="496"/>
                      </a:lnTo>
                      <a:lnTo>
                        <a:pt x="238" y="494"/>
                      </a:lnTo>
                      <a:lnTo>
                        <a:pt x="238" y="492"/>
                      </a:lnTo>
                      <a:lnTo>
                        <a:pt x="238" y="491"/>
                      </a:lnTo>
                      <a:lnTo>
                        <a:pt x="236" y="491"/>
                      </a:lnTo>
                      <a:lnTo>
                        <a:pt x="238" y="491"/>
                      </a:lnTo>
                      <a:lnTo>
                        <a:pt x="238" y="489"/>
                      </a:lnTo>
                      <a:lnTo>
                        <a:pt x="238" y="487"/>
                      </a:lnTo>
                      <a:lnTo>
                        <a:pt x="238" y="486"/>
                      </a:lnTo>
                      <a:lnTo>
                        <a:pt x="236" y="486"/>
                      </a:lnTo>
                      <a:lnTo>
                        <a:pt x="236" y="484"/>
                      </a:lnTo>
                      <a:lnTo>
                        <a:pt x="236" y="482"/>
                      </a:lnTo>
                      <a:lnTo>
                        <a:pt x="234" y="482"/>
                      </a:lnTo>
                      <a:lnTo>
                        <a:pt x="234" y="481"/>
                      </a:lnTo>
                      <a:lnTo>
                        <a:pt x="233" y="479"/>
                      </a:lnTo>
                      <a:lnTo>
                        <a:pt x="231" y="479"/>
                      </a:lnTo>
                      <a:lnTo>
                        <a:pt x="229" y="478"/>
                      </a:lnTo>
                      <a:lnTo>
                        <a:pt x="228" y="476"/>
                      </a:lnTo>
                      <a:lnTo>
                        <a:pt x="228" y="474"/>
                      </a:lnTo>
                      <a:lnTo>
                        <a:pt x="228" y="473"/>
                      </a:lnTo>
                      <a:lnTo>
                        <a:pt x="228" y="471"/>
                      </a:lnTo>
                      <a:lnTo>
                        <a:pt x="228" y="469"/>
                      </a:lnTo>
                      <a:lnTo>
                        <a:pt x="228" y="468"/>
                      </a:lnTo>
                      <a:lnTo>
                        <a:pt x="226" y="468"/>
                      </a:lnTo>
                      <a:lnTo>
                        <a:pt x="226" y="466"/>
                      </a:lnTo>
                      <a:lnTo>
                        <a:pt x="226" y="464"/>
                      </a:lnTo>
                      <a:lnTo>
                        <a:pt x="226" y="463"/>
                      </a:lnTo>
                      <a:lnTo>
                        <a:pt x="224" y="461"/>
                      </a:lnTo>
                      <a:lnTo>
                        <a:pt x="224" y="459"/>
                      </a:lnTo>
                      <a:lnTo>
                        <a:pt x="224" y="456"/>
                      </a:lnTo>
                      <a:lnTo>
                        <a:pt x="224" y="455"/>
                      </a:lnTo>
                      <a:lnTo>
                        <a:pt x="224" y="453"/>
                      </a:lnTo>
                      <a:lnTo>
                        <a:pt x="224" y="451"/>
                      </a:lnTo>
                      <a:lnTo>
                        <a:pt x="226" y="451"/>
                      </a:lnTo>
                      <a:lnTo>
                        <a:pt x="226" y="450"/>
                      </a:lnTo>
                      <a:lnTo>
                        <a:pt x="224" y="448"/>
                      </a:lnTo>
                      <a:lnTo>
                        <a:pt x="224" y="446"/>
                      </a:lnTo>
                      <a:lnTo>
                        <a:pt x="223" y="443"/>
                      </a:lnTo>
                      <a:lnTo>
                        <a:pt x="221" y="443"/>
                      </a:lnTo>
                      <a:lnTo>
                        <a:pt x="221" y="445"/>
                      </a:lnTo>
                      <a:lnTo>
                        <a:pt x="219" y="445"/>
                      </a:lnTo>
                      <a:lnTo>
                        <a:pt x="219" y="443"/>
                      </a:lnTo>
                      <a:lnTo>
                        <a:pt x="219" y="440"/>
                      </a:lnTo>
                      <a:lnTo>
                        <a:pt x="218" y="438"/>
                      </a:lnTo>
                      <a:lnTo>
                        <a:pt x="218" y="436"/>
                      </a:lnTo>
                      <a:lnTo>
                        <a:pt x="218" y="435"/>
                      </a:lnTo>
                      <a:lnTo>
                        <a:pt x="219" y="433"/>
                      </a:lnTo>
                      <a:lnTo>
                        <a:pt x="219" y="432"/>
                      </a:lnTo>
                      <a:lnTo>
                        <a:pt x="219" y="430"/>
                      </a:lnTo>
                      <a:lnTo>
                        <a:pt x="219" y="428"/>
                      </a:lnTo>
                      <a:lnTo>
                        <a:pt x="218" y="427"/>
                      </a:lnTo>
                      <a:lnTo>
                        <a:pt x="218" y="425"/>
                      </a:lnTo>
                      <a:lnTo>
                        <a:pt x="218" y="423"/>
                      </a:lnTo>
                      <a:lnTo>
                        <a:pt x="218" y="422"/>
                      </a:lnTo>
                      <a:lnTo>
                        <a:pt x="218" y="420"/>
                      </a:lnTo>
                      <a:lnTo>
                        <a:pt x="219" y="418"/>
                      </a:lnTo>
                      <a:lnTo>
                        <a:pt x="219" y="417"/>
                      </a:lnTo>
                      <a:lnTo>
                        <a:pt x="221" y="417"/>
                      </a:lnTo>
                      <a:lnTo>
                        <a:pt x="223" y="415"/>
                      </a:lnTo>
                      <a:lnTo>
                        <a:pt x="224" y="414"/>
                      </a:lnTo>
                      <a:lnTo>
                        <a:pt x="224" y="412"/>
                      </a:lnTo>
                      <a:lnTo>
                        <a:pt x="224" y="409"/>
                      </a:lnTo>
                      <a:lnTo>
                        <a:pt x="223" y="407"/>
                      </a:lnTo>
                      <a:lnTo>
                        <a:pt x="223" y="405"/>
                      </a:lnTo>
                      <a:lnTo>
                        <a:pt x="223" y="404"/>
                      </a:lnTo>
                      <a:lnTo>
                        <a:pt x="223" y="402"/>
                      </a:lnTo>
                      <a:lnTo>
                        <a:pt x="224" y="400"/>
                      </a:lnTo>
                      <a:lnTo>
                        <a:pt x="226" y="399"/>
                      </a:lnTo>
                      <a:lnTo>
                        <a:pt x="226" y="397"/>
                      </a:lnTo>
                      <a:lnTo>
                        <a:pt x="226" y="395"/>
                      </a:lnTo>
                      <a:lnTo>
                        <a:pt x="226" y="394"/>
                      </a:lnTo>
                      <a:lnTo>
                        <a:pt x="224" y="394"/>
                      </a:lnTo>
                      <a:lnTo>
                        <a:pt x="224" y="392"/>
                      </a:lnTo>
                      <a:lnTo>
                        <a:pt x="223" y="391"/>
                      </a:lnTo>
                      <a:lnTo>
                        <a:pt x="223" y="389"/>
                      </a:lnTo>
                      <a:lnTo>
                        <a:pt x="223" y="387"/>
                      </a:lnTo>
                      <a:lnTo>
                        <a:pt x="224" y="387"/>
                      </a:lnTo>
                      <a:lnTo>
                        <a:pt x="224" y="386"/>
                      </a:lnTo>
                      <a:lnTo>
                        <a:pt x="223" y="384"/>
                      </a:lnTo>
                      <a:lnTo>
                        <a:pt x="223" y="386"/>
                      </a:lnTo>
                      <a:lnTo>
                        <a:pt x="219" y="386"/>
                      </a:lnTo>
                      <a:lnTo>
                        <a:pt x="218" y="384"/>
                      </a:lnTo>
                      <a:lnTo>
                        <a:pt x="216" y="382"/>
                      </a:lnTo>
                      <a:lnTo>
                        <a:pt x="216" y="379"/>
                      </a:lnTo>
                      <a:lnTo>
                        <a:pt x="216" y="377"/>
                      </a:lnTo>
                      <a:lnTo>
                        <a:pt x="216" y="376"/>
                      </a:lnTo>
                      <a:lnTo>
                        <a:pt x="214" y="372"/>
                      </a:lnTo>
                      <a:lnTo>
                        <a:pt x="212" y="368"/>
                      </a:lnTo>
                      <a:lnTo>
                        <a:pt x="212" y="366"/>
                      </a:lnTo>
                      <a:lnTo>
                        <a:pt x="211" y="366"/>
                      </a:lnTo>
                      <a:lnTo>
                        <a:pt x="211" y="364"/>
                      </a:lnTo>
                      <a:lnTo>
                        <a:pt x="211" y="363"/>
                      </a:lnTo>
                      <a:lnTo>
                        <a:pt x="211" y="361"/>
                      </a:lnTo>
                      <a:lnTo>
                        <a:pt x="209" y="359"/>
                      </a:lnTo>
                      <a:lnTo>
                        <a:pt x="209" y="358"/>
                      </a:lnTo>
                      <a:lnTo>
                        <a:pt x="209" y="356"/>
                      </a:lnTo>
                      <a:lnTo>
                        <a:pt x="209" y="354"/>
                      </a:lnTo>
                      <a:lnTo>
                        <a:pt x="207" y="353"/>
                      </a:lnTo>
                      <a:lnTo>
                        <a:pt x="207" y="351"/>
                      </a:lnTo>
                      <a:lnTo>
                        <a:pt x="206" y="351"/>
                      </a:lnTo>
                      <a:lnTo>
                        <a:pt x="204" y="351"/>
                      </a:lnTo>
                      <a:lnTo>
                        <a:pt x="202" y="349"/>
                      </a:lnTo>
                      <a:lnTo>
                        <a:pt x="201" y="348"/>
                      </a:lnTo>
                      <a:lnTo>
                        <a:pt x="199" y="346"/>
                      </a:lnTo>
                      <a:lnTo>
                        <a:pt x="199" y="345"/>
                      </a:lnTo>
                      <a:lnTo>
                        <a:pt x="199" y="343"/>
                      </a:lnTo>
                      <a:lnTo>
                        <a:pt x="194" y="340"/>
                      </a:lnTo>
                      <a:lnTo>
                        <a:pt x="194" y="338"/>
                      </a:lnTo>
                      <a:lnTo>
                        <a:pt x="192" y="338"/>
                      </a:lnTo>
                      <a:lnTo>
                        <a:pt x="194" y="336"/>
                      </a:lnTo>
                      <a:lnTo>
                        <a:pt x="194" y="335"/>
                      </a:lnTo>
                      <a:lnTo>
                        <a:pt x="196" y="333"/>
                      </a:lnTo>
                      <a:lnTo>
                        <a:pt x="197" y="331"/>
                      </a:lnTo>
                      <a:lnTo>
                        <a:pt x="199" y="330"/>
                      </a:lnTo>
                      <a:lnTo>
                        <a:pt x="201" y="328"/>
                      </a:lnTo>
                      <a:lnTo>
                        <a:pt x="201" y="326"/>
                      </a:lnTo>
                      <a:lnTo>
                        <a:pt x="201" y="325"/>
                      </a:lnTo>
                      <a:lnTo>
                        <a:pt x="201" y="323"/>
                      </a:lnTo>
                      <a:lnTo>
                        <a:pt x="201" y="322"/>
                      </a:lnTo>
                      <a:lnTo>
                        <a:pt x="201" y="320"/>
                      </a:lnTo>
                      <a:lnTo>
                        <a:pt x="201" y="318"/>
                      </a:lnTo>
                      <a:lnTo>
                        <a:pt x="201" y="317"/>
                      </a:lnTo>
                      <a:lnTo>
                        <a:pt x="202" y="315"/>
                      </a:lnTo>
                      <a:lnTo>
                        <a:pt x="202" y="313"/>
                      </a:lnTo>
                      <a:lnTo>
                        <a:pt x="202" y="312"/>
                      </a:lnTo>
                      <a:lnTo>
                        <a:pt x="204" y="310"/>
                      </a:lnTo>
                      <a:lnTo>
                        <a:pt x="204" y="308"/>
                      </a:lnTo>
                      <a:lnTo>
                        <a:pt x="202" y="307"/>
                      </a:lnTo>
                      <a:lnTo>
                        <a:pt x="202" y="305"/>
                      </a:lnTo>
                      <a:lnTo>
                        <a:pt x="201" y="305"/>
                      </a:lnTo>
                      <a:lnTo>
                        <a:pt x="199" y="303"/>
                      </a:lnTo>
                      <a:lnTo>
                        <a:pt x="196" y="302"/>
                      </a:lnTo>
                      <a:lnTo>
                        <a:pt x="194" y="302"/>
                      </a:lnTo>
                      <a:lnTo>
                        <a:pt x="192" y="302"/>
                      </a:lnTo>
                      <a:lnTo>
                        <a:pt x="192" y="300"/>
                      </a:lnTo>
                      <a:lnTo>
                        <a:pt x="190" y="300"/>
                      </a:lnTo>
                      <a:lnTo>
                        <a:pt x="189" y="300"/>
                      </a:lnTo>
                      <a:lnTo>
                        <a:pt x="187" y="299"/>
                      </a:lnTo>
                      <a:lnTo>
                        <a:pt x="184" y="299"/>
                      </a:lnTo>
                      <a:lnTo>
                        <a:pt x="182" y="299"/>
                      </a:lnTo>
                      <a:lnTo>
                        <a:pt x="180" y="299"/>
                      </a:lnTo>
                      <a:lnTo>
                        <a:pt x="179" y="299"/>
                      </a:lnTo>
                      <a:lnTo>
                        <a:pt x="177" y="299"/>
                      </a:lnTo>
                      <a:lnTo>
                        <a:pt x="177" y="300"/>
                      </a:lnTo>
                      <a:lnTo>
                        <a:pt x="175" y="299"/>
                      </a:lnTo>
                      <a:lnTo>
                        <a:pt x="175" y="300"/>
                      </a:lnTo>
                      <a:lnTo>
                        <a:pt x="174" y="300"/>
                      </a:lnTo>
                      <a:lnTo>
                        <a:pt x="172" y="299"/>
                      </a:lnTo>
                      <a:lnTo>
                        <a:pt x="170" y="299"/>
                      </a:lnTo>
                      <a:lnTo>
                        <a:pt x="169" y="297"/>
                      </a:lnTo>
                      <a:lnTo>
                        <a:pt x="167" y="295"/>
                      </a:lnTo>
                      <a:lnTo>
                        <a:pt x="165" y="295"/>
                      </a:lnTo>
                      <a:lnTo>
                        <a:pt x="165" y="294"/>
                      </a:lnTo>
                      <a:lnTo>
                        <a:pt x="163" y="292"/>
                      </a:lnTo>
                      <a:lnTo>
                        <a:pt x="163" y="290"/>
                      </a:lnTo>
                      <a:lnTo>
                        <a:pt x="163" y="289"/>
                      </a:lnTo>
                      <a:lnTo>
                        <a:pt x="162" y="289"/>
                      </a:lnTo>
                      <a:lnTo>
                        <a:pt x="163" y="287"/>
                      </a:lnTo>
                      <a:lnTo>
                        <a:pt x="163" y="285"/>
                      </a:lnTo>
                      <a:lnTo>
                        <a:pt x="162" y="285"/>
                      </a:lnTo>
                      <a:lnTo>
                        <a:pt x="160" y="285"/>
                      </a:lnTo>
                      <a:lnTo>
                        <a:pt x="158" y="284"/>
                      </a:lnTo>
                      <a:lnTo>
                        <a:pt x="157" y="284"/>
                      </a:lnTo>
                      <a:lnTo>
                        <a:pt x="155" y="285"/>
                      </a:lnTo>
                      <a:lnTo>
                        <a:pt x="153" y="285"/>
                      </a:lnTo>
                      <a:lnTo>
                        <a:pt x="150" y="287"/>
                      </a:lnTo>
                      <a:lnTo>
                        <a:pt x="148" y="287"/>
                      </a:lnTo>
                      <a:lnTo>
                        <a:pt x="147" y="285"/>
                      </a:lnTo>
                      <a:lnTo>
                        <a:pt x="145" y="285"/>
                      </a:lnTo>
                      <a:lnTo>
                        <a:pt x="143" y="284"/>
                      </a:lnTo>
                      <a:lnTo>
                        <a:pt x="142" y="284"/>
                      </a:lnTo>
                      <a:lnTo>
                        <a:pt x="142" y="282"/>
                      </a:lnTo>
                      <a:lnTo>
                        <a:pt x="140" y="282"/>
                      </a:lnTo>
                      <a:lnTo>
                        <a:pt x="138" y="280"/>
                      </a:lnTo>
                      <a:lnTo>
                        <a:pt x="138" y="279"/>
                      </a:lnTo>
                      <a:lnTo>
                        <a:pt x="138" y="277"/>
                      </a:lnTo>
                      <a:lnTo>
                        <a:pt x="138" y="276"/>
                      </a:lnTo>
                      <a:lnTo>
                        <a:pt x="140" y="276"/>
                      </a:lnTo>
                      <a:lnTo>
                        <a:pt x="140" y="274"/>
                      </a:lnTo>
                      <a:lnTo>
                        <a:pt x="140" y="272"/>
                      </a:lnTo>
                      <a:lnTo>
                        <a:pt x="140" y="271"/>
                      </a:lnTo>
                      <a:lnTo>
                        <a:pt x="138" y="269"/>
                      </a:lnTo>
                      <a:lnTo>
                        <a:pt x="138" y="267"/>
                      </a:lnTo>
                      <a:lnTo>
                        <a:pt x="140" y="266"/>
                      </a:lnTo>
                      <a:lnTo>
                        <a:pt x="140" y="264"/>
                      </a:lnTo>
                      <a:lnTo>
                        <a:pt x="138" y="262"/>
                      </a:lnTo>
                      <a:lnTo>
                        <a:pt x="138" y="261"/>
                      </a:lnTo>
                      <a:lnTo>
                        <a:pt x="136" y="261"/>
                      </a:lnTo>
                      <a:lnTo>
                        <a:pt x="133" y="261"/>
                      </a:lnTo>
                      <a:lnTo>
                        <a:pt x="131" y="261"/>
                      </a:lnTo>
                      <a:lnTo>
                        <a:pt x="130" y="261"/>
                      </a:lnTo>
                      <a:lnTo>
                        <a:pt x="126" y="261"/>
                      </a:lnTo>
                      <a:lnTo>
                        <a:pt x="123" y="262"/>
                      </a:lnTo>
                      <a:lnTo>
                        <a:pt x="121" y="262"/>
                      </a:lnTo>
                      <a:lnTo>
                        <a:pt x="120" y="262"/>
                      </a:lnTo>
                      <a:lnTo>
                        <a:pt x="118" y="262"/>
                      </a:lnTo>
                      <a:lnTo>
                        <a:pt x="116" y="264"/>
                      </a:lnTo>
                      <a:lnTo>
                        <a:pt x="113" y="266"/>
                      </a:lnTo>
                      <a:lnTo>
                        <a:pt x="109" y="266"/>
                      </a:lnTo>
                      <a:lnTo>
                        <a:pt x="106" y="266"/>
                      </a:lnTo>
                      <a:lnTo>
                        <a:pt x="104" y="266"/>
                      </a:lnTo>
                      <a:lnTo>
                        <a:pt x="103" y="266"/>
                      </a:lnTo>
                      <a:lnTo>
                        <a:pt x="101" y="264"/>
                      </a:lnTo>
                      <a:lnTo>
                        <a:pt x="99" y="264"/>
                      </a:lnTo>
                      <a:lnTo>
                        <a:pt x="96" y="262"/>
                      </a:lnTo>
                      <a:lnTo>
                        <a:pt x="94" y="262"/>
                      </a:lnTo>
                      <a:lnTo>
                        <a:pt x="93" y="261"/>
                      </a:lnTo>
                      <a:lnTo>
                        <a:pt x="91" y="261"/>
                      </a:lnTo>
                      <a:lnTo>
                        <a:pt x="89" y="261"/>
                      </a:lnTo>
                      <a:lnTo>
                        <a:pt x="87" y="259"/>
                      </a:lnTo>
                      <a:lnTo>
                        <a:pt x="84" y="259"/>
                      </a:lnTo>
                      <a:lnTo>
                        <a:pt x="84" y="257"/>
                      </a:lnTo>
                      <a:lnTo>
                        <a:pt x="82" y="257"/>
                      </a:lnTo>
                      <a:lnTo>
                        <a:pt x="81" y="257"/>
                      </a:lnTo>
                      <a:lnTo>
                        <a:pt x="79" y="257"/>
                      </a:lnTo>
                      <a:lnTo>
                        <a:pt x="79" y="256"/>
                      </a:lnTo>
                      <a:lnTo>
                        <a:pt x="77" y="256"/>
                      </a:lnTo>
                      <a:lnTo>
                        <a:pt x="77" y="257"/>
                      </a:lnTo>
                      <a:lnTo>
                        <a:pt x="76" y="257"/>
                      </a:lnTo>
                      <a:lnTo>
                        <a:pt x="76" y="256"/>
                      </a:lnTo>
                      <a:lnTo>
                        <a:pt x="76" y="254"/>
                      </a:lnTo>
                      <a:lnTo>
                        <a:pt x="74" y="254"/>
                      </a:lnTo>
                      <a:lnTo>
                        <a:pt x="72" y="254"/>
                      </a:lnTo>
                      <a:lnTo>
                        <a:pt x="74" y="253"/>
                      </a:lnTo>
                      <a:lnTo>
                        <a:pt x="74" y="251"/>
                      </a:lnTo>
                      <a:lnTo>
                        <a:pt x="74" y="249"/>
                      </a:lnTo>
                      <a:lnTo>
                        <a:pt x="74" y="248"/>
                      </a:lnTo>
                      <a:lnTo>
                        <a:pt x="76" y="248"/>
                      </a:lnTo>
                      <a:lnTo>
                        <a:pt x="76" y="246"/>
                      </a:lnTo>
                      <a:lnTo>
                        <a:pt x="77" y="246"/>
                      </a:lnTo>
                      <a:lnTo>
                        <a:pt x="77" y="244"/>
                      </a:lnTo>
                      <a:lnTo>
                        <a:pt x="77" y="243"/>
                      </a:lnTo>
                      <a:lnTo>
                        <a:pt x="79" y="243"/>
                      </a:lnTo>
                      <a:lnTo>
                        <a:pt x="81" y="241"/>
                      </a:lnTo>
                      <a:lnTo>
                        <a:pt x="81" y="239"/>
                      </a:lnTo>
                      <a:lnTo>
                        <a:pt x="79" y="239"/>
                      </a:lnTo>
                      <a:lnTo>
                        <a:pt x="81" y="238"/>
                      </a:lnTo>
                      <a:lnTo>
                        <a:pt x="79" y="236"/>
                      </a:lnTo>
                      <a:lnTo>
                        <a:pt x="79" y="234"/>
                      </a:lnTo>
                      <a:lnTo>
                        <a:pt x="81" y="234"/>
                      </a:lnTo>
                      <a:lnTo>
                        <a:pt x="81" y="233"/>
                      </a:lnTo>
                      <a:lnTo>
                        <a:pt x="79" y="233"/>
                      </a:lnTo>
                      <a:lnTo>
                        <a:pt x="79" y="231"/>
                      </a:lnTo>
                      <a:lnTo>
                        <a:pt x="79" y="230"/>
                      </a:lnTo>
                      <a:lnTo>
                        <a:pt x="77" y="230"/>
                      </a:lnTo>
                      <a:lnTo>
                        <a:pt x="77" y="228"/>
                      </a:lnTo>
                      <a:lnTo>
                        <a:pt x="77" y="226"/>
                      </a:lnTo>
                      <a:lnTo>
                        <a:pt x="77" y="225"/>
                      </a:lnTo>
                      <a:lnTo>
                        <a:pt x="76" y="225"/>
                      </a:lnTo>
                      <a:lnTo>
                        <a:pt x="74" y="223"/>
                      </a:lnTo>
                      <a:lnTo>
                        <a:pt x="74" y="221"/>
                      </a:lnTo>
                      <a:lnTo>
                        <a:pt x="72" y="221"/>
                      </a:lnTo>
                      <a:lnTo>
                        <a:pt x="72" y="220"/>
                      </a:lnTo>
                      <a:lnTo>
                        <a:pt x="72" y="216"/>
                      </a:lnTo>
                      <a:lnTo>
                        <a:pt x="72" y="215"/>
                      </a:lnTo>
                      <a:lnTo>
                        <a:pt x="72" y="213"/>
                      </a:lnTo>
                      <a:lnTo>
                        <a:pt x="71" y="213"/>
                      </a:lnTo>
                      <a:lnTo>
                        <a:pt x="69" y="213"/>
                      </a:lnTo>
                      <a:lnTo>
                        <a:pt x="69" y="212"/>
                      </a:lnTo>
                      <a:lnTo>
                        <a:pt x="67" y="210"/>
                      </a:lnTo>
                      <a:lnTo>
                        <a:pt x="67" y="208"/>
                      </a:lnTo>
                      <a:lnTo>
                        <a:pt x="66" y="208"/>
                      </a:lnTo>
                      <a:lnTo>
                        <a:pt x="66" y="207"/>
                      </a:lnTo>
                      <a:lnTo>
                        <a:pt x="64" y="205"/>
                      </a:lnTo>
                      <a:lnTo>
                        <a:pt x="62" y="203"/>
                      </a:lnTo>
                      <a:lnTo>
                        <a:pt x="62" y="202"/>
                      </a:lnTo>
                      <a:lnTo>
                        <a:pt x="60" y="202"/>
                      </a:lnTo>
                      <a:lnTo>
                        <a:pt x="59" y="200"/>
                      </a:lnTo>
                      <a:lnTo>
                        <a:pt x="57" y="200"/>
                      </a:lnTo>
                      <a:lnTo>
                        <a:pt x="57" y="198"/>
                      </a:lnTo>
                      <a:lnTo>
                        <a:pt x="57" y="197"/>
                      </a:lnTo>
                      <a:lnTo>
                        <a:pt x="57" y="195"/>
                      </a:lnTo>
                      <a:lnTo>
                        <a:pt x="59" y="192"/>
                      </a:lnTo>
                      <a:lnTo>
                        <a:pt x="59" y="190"/>
                      </a:lnTo>
                      <a:lnTo>
                        <a:pt x="59" y="189"/>
                      </a:lnTo>
                      <a:lnTo>
                        <a:pt x="59" y="187"/>
                      </a:lnTo>
                      <a:lnTo>
                        <a:pt x="59" y="185"/>
                      </a:lnTo>
                      <a:lnTo>
                        <a:pt x="55" y="180"/>
                      </a:lnTo>
                      <a:lnTo>
                        <a:pt x="55" y="179"/>
                      </a:lnTo>
                      <a:lnTo>
                        <a:pt x="55" y="177"/>
                      </a:lnTo>
                      <a:lnTo>
                        <a:pt x="57" y="174"/>
                      </a:lnTo>
                      <a:lnTo>
                        <a:pt x="57" y="172"/>
                      </a:lnTo>
                      <a:lnTo>
                        <a:pt x="55" y="172"/>
                      </a:lnTo>
                      <a:lnTo>
                        <a:pt x="55" y="170"/>
                      </a:lnTo>
                      <a:lnTo>
                        <a:pt x="54" y="170"/>
                      </a:lnTo>
                      <a:lnTo>
                        <a:pt x="55" y="170"/>
                      </a:lnTo>
                      <a:lnTo>
                        <a:pt x="55" y="169"/>
                      </a:lnTo>
                      <a:lnTo>
                        <a:pt x="55" y="167"/>
                      </a:lnTo>
                      <a:lnTo>
                        <a:pt x="59" y="164"/>
                      </a:lnTo>
                      <a:lnTo>
                        <a:pt x="60" y="164"/>
                      </a:lnTo>
                      <a:lnTo>
                        <a:pt x="60" y="162"/>
                      </a:lnTo>
                      <a:lnTo>
                        <a:pt x="60" y="161"/>
                      </a:lnTo>
                      <a:lnTo>
                        <a:pt x="60" y="159"/>
                      </a:lnTo>
                      <a:lnTo>
                        <a:pt x="60" y="157"/>
                      </a:lnTo>
                      <a:lnTo>
                        <a:pt x="60" y="156"/>
                      </a:lnTo>
                      <a:lnTo>
                        <a:pt x="59" y="154"/>
                      </a:lnTo>
                      <a:lnTo>
                        <a:pt x="55" y="151"/>
                      </a:lnTo>
                      <a:lnTo>
                        <a:pt x="55" y="149"/>
                      </a:lnTo>
                      <a:lnTo>
                        <a:pt x="54" y="149"/>
                      </a:lnTo>
                      <a:lnTo>
                        <a:pt x="52" y="147"/>
                      </a:lnTo>
                      <a:lnTo>
                        <a:pt x="52" y="146"/>
                      </a:lnTo>
                      <a:lnTo>
                        <a:pt x="52" y="144"/>
                      </a:lnTo>
                      <a:lnTo>
                        <a:pt x="49" y="143"/>
                      </a:lnTo>
                      <a:lnTo>
                        <a:pt x="47" y="143"/>
                      </a:lnTo>
                      <a:lnTo>
                        <a:pt x="47" y="141"/>
                      </a:lnTo>
                      <a:lnTo>
                        <a:pt x="45" y="141"/>
                      </a:lnTo>
                      <a:lnTo>
                        <a:pt x="45" y="139"/>
                      </a:lnTo>
                      <a:lnTo>
                        <a:pt x="44" y="139"/>
                      </a:lnTo>
                      <a:lnTo>
                        <a:pt x="42" y="138"/>
                      </a:lnTo>
                      <a:lnTo>
                        <a:pt x="40" y="138"/>
                      </a:lnTo>
                      <a:lnTo>
                        <a:pt x="38" y="136"/>
                      </a:lnTo>
                      <a:lnTo>
                        <a:pt x="37" y="136"/>
                      </a:lnTo>
                      <a:lnTo>
                        <a:pt x="35" y="136"/>
                      </a:lnTo>
                      <a:lnTo>
                        <a:pt x="33" y="136"/>
                      </a:lnTo>
                      <a:lnTo>
                        <a:pt x="32" y="136"/>
                      </a:lnTo>
                      <a:lnTo>
                        <a:pt x="32" y="134"/>
                      </a:lnTo>
                      <a:lnTo>
                        <a:pt x="30" y="133"/>
                      </a:lnTo>
                      <a:lnTo>
                        <a:pt x="28" y="131"/>
                      </a:lnTo>
                      <a:lnTo>
                        <a:pt x="27" y="129"/>
                      </a:lnTo>
                      <a:lnTo>
                        <a:pt x="25" y="128"/>
                      </a:lnTo>
                      <a:lnTo>
                        <a:pt x="23" y="123"/>
                      </a:lnTo>
                      <a:lnTo>
                        <a:pt x="22" y="121"/>
                      </a:lnTo>
                      <a:lnTo>
                        <a:pt x="20" y="121"/>
                      </a:lnTo>
                      <a:lnTo>
                        <a:pt x="20" y="120"/>
                      </a:lnTo>
                      <a:lnTo>
                        <a:pt x="18" y="118"/>
                      </a:lnTo>
                      <a:lnTo>
                        <a:pt x="17" y="116"/>
                      </a:lnTo>
                      <a:lnTo>
                        <a:pt x="15" y="116"/>
                      </a:lnTo>
                      <a:lnTo>
                        <a:pt x="15" y="115"/>
                      </a:lnTo>
                      <a:lnTo>
                        <a:pt x="13" y="113"/>
                      </a:lnTo>
                      <a:lnTo>
                        <a:pt x="13" y="111"/>
                      </a:lnTo>
                      <a:lnTo>
                        <a:pt x="11" y="110"/>
                      </a:lnTo>
                      <a:lnTo>
                        <a:pt x="11" y="108"/>
                      </a:lnTo>
                      <a:lnTo>
                        <a:pt x="10" y="106"/>
                      </a:lnTo>
                      <a:lnTo>
                        <a:pt x="10" y="105"/>
                      </a:lnTo>
                      <a:lnTo>
                        <a:pt x="8" y="105"/>
                      </a:lnTo>
                      <a:lnTo>
                        <a:pt x="8" y="103"/>
                      </a:lnTo>
                      <a:lnTo>
                        <a:pt x="5" y="101"/>
                      </a:lnTo>
                      <a:lnTo>
                        <a:pt x="3" y="101"/>
                      </a:lnTo>
                      <a:lnTo>
                        <a:pt x="1" y="100"/>
                      </a:lnTo>
                      <a:lnTo>
                        <a:pt x="1" y="97"/>
                      </a:lnTo>
                      <a:lnTo>
                        <a:pt x="1" y="95"/>
                      </a:lnTo>
                      <a:lnTo>
                        <a:pt x="0" y="93"/>
                      </a:lnTo>
                      <a:lnTo>
                        <a:pt x="1" y="92"/>
                      </a:lnTo>
                      <a:lnTo>
                        <a:pt x="3" y="90"/>
                      </a:lnTo>
                      <a:lnTo>
                        <a:pt x="5" y="90"/>
                      </a:lnTo>
                      <a:lnTo>
                        <a:pt x="6" y="90"/>
                      </a:lnTo>
                      <a:lnTo>
                        <a:pt x="8" y="92"/>
                      </a:lnTo>
                      <a:lnTo>
                        <a:pt x="10" y="92"/>
                      </a:lnTo>
                      <a:lnTo>
                        <a:pt x="13" y="93"/>
                      </a:lnTo>
                      <a:lnTo>
                        <a:pt x="13" y="95"/>
                      </a:lnTo>
                      <a:lnTo>
                        <a:pt x="17" y="97"/>
                      </a:lnTo>
                      <a:lnTo>
                        <a:pt x="18" y="101"/>
                      </a:lnTo>
                      <a:lnTo>
                        <a:pt x="18" y="103"/>
                      </a:lnTo>
                      <a:lnTo>
                        <a:pt x="20" y="103"/>
                      </a:lnTo>
                      <a:lnTo>
                        <a:pt x="22" y="105"/>
                      </a:lnTo>
                      <a:lnTo>
                        <a:pt x="23" y="106"/>
                      </a:lnTo>
                      <a:lnTo>
                        <a:pt x="25" y="106"/>
                      </a:lnTo>
                      <a:lnTo>
                        <a:pt x="27" y="106"/>
                      </a:lnTo>
                      <a:lnTo>
                        <a:pt x="28" y="106"/>
                      </a:lnTo>
                      <a:lnTo>
                        <a:pt x="30" y="105"/>
                      </a:lnTo>
                      <a:lnTo>
                        <a:pt x="30" y="106"/>
                      </a:lnTo>
                      <a:lnTo>
                        <a:pt x="32" y="106"/>
                      </a:lnTo>
                      <a:lnTo>
                        <a:pt x="35" y="105"/>
                      </a:lnTo>
                      <a:lnTo>
                        <a:pt x="37" y="105"/>
                      </a:lnTo>
                      <a:lnTo>
                        <a:pt x="38" y="103"/>
                      </a:lnTo>
                      <a:lnTo>
                        <a:pt x="40" y="105"/>
                      </a:lnTo>
                      <a:lnTo>
                        <a:pt x="42" y="103"/>
                      </a:lnTo>
                      <a:lnTo>
                        <a:pt x="47" y="105"/>
                      </a:lnTo>
                      <a:lnTo>
                        <a:pt x="49" y="105"/>
                      </a:lnTo>
                      <a:lnTo>
                        <a:pt x="50" y="105"/>
                      </a:lnTo>
                      <a:lnTo>
                        <a:pt x="50" y="103"/>
                      </a:lnTo>
                      <a:lnTo>
                        <a:pt x="52" y="103"/>
                      </a:lnTo>
                      <a:lnTo>
                        <a:pt x="54" y="103"/>
                      </a:lnTo>
                      <a:lnTo>
                        <a:pt x="54" y="105"/>
                      </a:lnTo>
                      <a:lnTo>
                        <a:pt x="55" y="105"/>
                      </a:lnTo>
                      <a:lnTo>
                        <a:pt x="57" y="105"/>
                      </a:lnTo>
                      <a:lnTo>
                        <a:pt x="59" y="105"/>
                      </a:lnTo>
                      <a:lnTo>
                        <a:pt x="59" y="106"/>
                      </a:lnTo>
                      <a:lnTo>
                        <a:pt x="60" y="105"/>
                      </a:lnTo>
                      <a:lnTo>
                        <a:pt x="62" y="105"/>
                      </a:lnTo>
                      <a:lnTo>
                        <a:pt x="64" y="105"/>
                      </a:lnTo>
                      <a:lnTo>
                        <a:pt x="66" y="106"/>
                      </a:lnTo>
                      <a:lnTo>
                        <a:pt x="67" y="108"/>
                      </a:lnTo>
                      <a:lnTo>
                        <a:pt x="69" y="108"/>
                      </a:lnTo>
                      <a:lnTo>
                        <a:pt x="69" y="110"/>
                      </a:lnTo>
                      <a:lnTo>
                        <a:pt x="69" y="111"/>
                      </a:lnTo>
                      <a:lnTo>
                        <a:pt x="69" y="113"/>
                      </a:lnTo>
                      <a:lnTo>
                        <a:pt x="69" y="115"/>
                      </a:lnTo>
                      <a:lnTo>
                        <a:pt x="71" y="115"/>
                      </a:lnTo>
                      <a:lnTo>
                        <a:pt x="72" y="116"/>
                      </a:lnTo>
                      <a:lnTo>
                        <a:pt x="72" y="118"/>
                      </a:lnTo>
                      <a:lnTo>
                        <a:pt x="74" y="120"/>
                      </a:lnTo>
                      <a:lnTo>
                        <a:pt x="74" y="121"/>
                      </a:lnTo>
                      <a:lnTo>
                        <a:pt x="76" y="121"/>
                      </a:lnTo>
                      <a:lnTo>
                        <a:pt x="76" y="123"/>
                      </a:lnTo>
                      <a:lnTo>
                        <a:pt x="79" y="123"/>
                      </a:lnTo>
                      <a:lnTo>
                        <a:pt x="79" y="124"/>
                      </a:lnTo>
                      <a:lnTo>
                        <a:pt x="79" y="126"/>
                      </a:lnTo>
                      <a:lnTo>
                        <a:pt x="81" y="126"/>
                      </a:lnTo>
                      <a:lnTo>
                        <a:pt x="82" y="128"/>
                      </a:lnTo>
                      <a:lnTo>
                        <a:pt x="82" y="126"/>
                      </a:lnTo>
                      <a:lnTo>
                        <a:pt x="84" y="126"/>
                      </a:lnTo>
                      <a:lnTo>
                        <a:pt x="84" y="124"/>
                      </a:lnTo>
                      <a:lnTo>
                        <a:pt x="86" y="123"/>
                      </a:lnTo>
                      <a:lnTo>
                        <a:pt x="87" y="123"/>
                      </a:lnTo>
                      <a:lnTo>
                        <a:pt x="89" y="123"/>
                      </a:lnTo>
                      <a:lnTo>
                        <a:pt x="91" y="123"/>
                      </a:lnTo>
                      <a:lnTo>
                        <a:pt x="91" y="121"/>
                      </a:lnTo>
                      <a:lnTo>
                        <a:pt x="93" y="121"/>
                      </a:lnTo>
                      <a:lnTo>
                        <a:pt x="94" y="121"/>
                      </a:lnTo>
                      <a:lnTo>
                        <a:pt x="96" y="121"/>
                      </a:lnTo>
                      <a:lnTo>
                        <a:pt x="98" y="121"/>
                      </a:lnTo>
                      <a:lnTo>
                        <a:pt x="98" y="123"/>
                      </a:lnTo>
                      <a:lnTo>
                        <a:pt x="99" y="123"/>
                      </a:lnTo>
                      <a:lnTo>
                        <a:pt x="101" y="121"/>
                      </a:lnTo>
                      <a:lnTo>
                        <a:pt x="101" y="123"/>
                      </a:lnTo>
                      <a:lnTo>
                        <a:pt x="101" y="121"/>
                      </a:lnTo>
                      <a:lnTo>
                        <a:pt x="103" y="121"/>
                      </a:lnTo>
                      <a:lnTo>
                        <a:pt x="103" y="123"/>
                      </a:lnTo>
                      <a:lnTo>
                        <a:pt x="104" y="123"/>
                      </a:lnTo>
                      <a:lnTo>
                        <a:pt x="103" y="123"/>
                      </a:lnTo>
                      <a:lnTo>
                        <a:pt x="103" y="124"/>
                      </a:lnTo>
                      <a:lnTo>
                        <a:pt x="104" y="124"/>
                      </a:lnTo>
                      <a:lnTo>
                        <a:pt x="106" y="124"/>
                      </a:lnTo>
                      <a:lnTo>
                        <a:pt x="108" y="124"/>
                      </a:lnTo>
                      <a:lnTo>
                        <a:pt x="109" y="124"/>
                      </a:lnTo>
                      <a:lnTo>
                        <a:pt x="111" y="123"/>
                      </a:lnTo>
                      <a:lnTo>
                        <a:pt x="109" y="123"/>
                      </a:lnTo>
                      <a:lnTo>
                        <a:pt x="108" y="123"/>
                      </a:lnTo>
                      <a:lnTo>
                        <a:pt x="108" y="121"/>
                      </a:lnTo>
                      <a:lnTo>
                        <a:pt x="108" y="120"/>
                      </a:lnTo>
                      <a:lnTo>
                        <a:pt x="108" y="118"/>
                      </a:lnTo>
                      <a:lnTo>
                        <a:pt x="108" y="116"/>
                      </a:lnTo>
                      <a:lnTo>
                        <a:pt x="108" y="115"/>
                      </a:lnTo>
                      <a:lnTo>
                        <a:pt x="109" y="115"/>
                      </a:lnTo>
                      <a:lnTo>
                        <a:pt x="111" y="115"/>
                      </a:lnTo>
                      <a:lnTo>
                        <a:pt x="111" y="116"/>
                      </a:lnTo>
                      <a:lnTo>
                        <a:pt x="113" y="118"/>
                      </a:lnTo>
                      <a:lnTo>
                        <a:pt x="114" y="120"/>
                      </a:lnTo>
                      <a:lnTo>
                        <a:pt x="116" y="121"/>
                      </a:lnTo>
                      <a:lnTo>
                        <a:pt x="116" y="123"/>
                      </a:lnTo>
                      <a:lnTo>
                        <a:pt x="118" y="123"/>
                      </a:lnTo>
                      <a:lnTo>
                        <a:pt x="118" y="124"/>
                      </a:lnTo>
                      <a:lnTo>
                        <a:pt x="118" y="126"/>
                      </a:lnTo>
                      <a:lnTo>
                        <a:pt x="120" y="128"/>
                      </a:lnTo>
                      <a:lnTo>
                        <a:pt x="120" y="126"/>
                      </a:lnTo>
                      <a:lnTo>
                        <a:pt x="121" y="126"/>
                      </a:lnTo>
                      <a:lnTo>
                        <a:pt x="121" y="128"/>
                      </a:lnTo>
                      <a:lnTo>
                        <a:pt x="121" y="129"/>
                      </a:lnTo>
                      <a:lnTo>
                        <a:pt x="123" y="129"/>
                      </a:lnTo>
                      <a:lnTo>
                        <a:pt x="125" y="129"/>
                      </a:lnTo>
                      <a:lnTo>
                        <a:pt x="125" y="131"/>
                      </a:lnTo>
                      <a:lnTo>
                        <a:pt x="126" y="129"/>
                      </a:lnTo>
                      <a:lnTo>
                        <a:pt x="126" y="131"/>
                      </a:lnTo>
                      <a:lnTo>
                        <a:pt x="126" y="129"/>
                      </a:lnTo>
                      <a:lnTo>
                        <a:pt x="126" y="128"/>
                      </a:lnTo>
                      <a:lnTo>
                        <a:pt x="128" y="128"/>
                      </a:lnTo>
                      <a:lnTo>
                        <a:pt x="130" y="128"/>
                      </a:lnTo>
                      <a:lnTo>
                        <a:pt x="130" y="129"/>
                      </a:lnTo>
                      <a:lnTo>
                        <a:pt x="131" y="129"/>
                      </a:lnTo>
                      <a:lnTo>
                        <a:pt x="133" y="129"/>
                      </a:lnTo>
                      <a:lnTo>
                        <a:pt x="133" y="128"/>
                      </a:lnTo>
                      <a:lnTo>
                        <a:pt x="131" y="128"/>
                      </a:lnTo>
                      <a:lnTo>
                        <a:pt x="131" y="126"/>
                      </a:lnTo>
                      <a:lnTo>
                        <a:pt x="133" y="126"/>
                      </a:lnTo>
                      <a:lnTo>
                        <a:pt x="135" y="124"/>
                      </a:lnTo>
                      <a:lnTo>
                        <a:pt x="133" y="123"/>
                      </a:lnTo>
                      <a:lnTo>
                        <a:pt x="135" y="123"/>
                      </a:lnTo>
                      <a:lnTo>
                        <a:pt x="133" y="123"/>
                      </a:lnTo>
                      <a:lnTo>
                        <a:pt x="131" y="121"/>
                      </a:lnTo>
                      <a:lnTo>
                        <a:pt x="131" y="120"/>
                      </a:lnTo>
                      <a:lnTo>
                        <a:pt x="133" y="120"/>
                      </a:lnTo>
                      <a:lnTo>
                        <a:pt x="133" y="118"/>
                      </a:lnTo>
                      <a:lnTo>
                        <a:pt x="135" y="118"/>
                      </a:lnTo>
                      <a:lnTo>
                        <a:pt x="136" y="118"/>
                      </a:lnTo>
                      <a:lnTo>
                        <a:pt x="138" y="118"/>
                      </a:lnTo>
                      <a:lnTo>
                        <a:pt x="138" y="120"/>
                      </a:lnTo>
                      <a:lnTo>
                        <a:pt x="140" y="120"/>
                      </a:lnTo>
                      <a:lnTo>
                        <a:pt x="142" y="120"/>
                      </a:lnTo>
                      <a:lnTo>
                        <a:pt x="143" y="120"/>
                      </a:lnTo>
                      <a:lnTo>
                        <a:pt x="143" y="118"/>
                      </a:lnTo>
                      <a:lnTo>
                        <a:pt x="145" y="118"/>
                      </a:lnTo>
                      <a:lnTo>
                        <a:pt x="145" y="120"/>
                      </a:lnTo>
                      <a:lnTo>
                        <a:pt x="147" y="120"/>
                      </a:lnTo>
                      <a:lnTo>
                        <a:pt x="147" y="118"/>
                      </a:lnTo>
                      <a:lnTo>
                        <a:pt x="147" y="120"/>
                      </a:lnTo>
                      <a:lnTo>
                        <a:pt x="148" y="120"/>
                      </a:lnTo>
                      <a:lnTo>
                        <a:pt x="150" y="120"/>
                      </a:lnTo>
                      <a:lnTo>
                        <a:pt x="152" y="121"/>
                      </a:lnTo>
                      <a:lnTo>
                        <a:pt x="153" y="121"/>
                      </a:lnTo>
                      <a:lnTo>
                        <a:pt x="153" y="123"/>
                      </a:lnTo>
                      <a:lnTo>
                        <a:pt x="152" y="124"/>
                      </a:lnTo>
                      <a:lnTo>
                        <a:pt x="153" y="124"/>
                      </a:lnTo>
                      <a:lnTo>
                        <a:pt x="152" y="126"/>
                      </a:lnTo>
                      <a:lnTo>
                        <a:pt x="152" y="128"/>
                      </a:lnTo>
                      <a:lnTo>
                        <a:pt x="152" y="129"/>
                      </a:lnTo>
                      <a:lnTo>
                        <a:pt x="152" y="131"/>
                      </a:lnTo>
                      <a:lnTo>
                        <a:pt x="153" y="131"/>
                      </a:lnTo>
                      <a:lnTo>
                        <a:pt x="153" y="133"/>
                      </a:lnTo>
                      <a:lnTo>
                        <a:pt x="153" y="134"/>
                      </a:lnTo>
                      <a:lnTo>
                        <a:pt x="155" y="134"/>
                      </a:lnTo>
                      <a:lnTo>
                        <a:pt x="155" y="133"/>
                      </a:lnTo>
                      <a:lnTo>
                        <a:pt x="157" y="133"/>
                      </a:lnTo>
                      <a:lnTo>
                        <a:pt x="157" y="134"/>
                      </a:lnTo>
                      <a:lnTo>
                        <a:pt x="158" y="134"/>
                      </a:lnTo>
                      <a:lnTo>
                        <a:pt x="160" y="134"/>
                      </a:lnTo>
                      <a:lnTo>
                        <a:pt x="162" y="134"/>
                      </a:lnTo>
                      <a:lnTo>
                        <a:pt x="163" y="134"/>
                      </a:lnTo>
                      <a:lnTo>
                        <a:pt x="163" y="136"/>
                      </a:lnTo>
                      <a:lnTo>
                        <a:pt x="165" y="136"/>
                      </a:lnTo>
                      <a:lnTo>
                        <a:pt x="165" y="138"/>
                      </a:lnTo>
                      <a:lnTo>
                        <a:pt x="167" y="138"/>
                      </a:lnTo>
                      <a:lnTo>
                        <a:pt x="167" y="139"/>
                      </a:lnTo>
                      <a:lnTo>
                        <a:pt x="169" y="139"/>
                      </a:lnTo>
                      <a:lnTo>
                        <a:pt x="169" y="141"/>
                      </a:lnTo>
                      <a:lnTo>
                        <a:pt x="167" y="141"/>
                      </a:lnTo>
                      <a:lnTo>
                        <a:pt x="167" y="144"/>
                      </a:lnTo>
                      <a:lnTo>
                        <a:pt x="165" y="144"/>
                      </a:lnTo>
                      <a:lnTo>
                        <a:pt x="167" y="146"/>
                      </a:lnTo>
                      <a:lnTo>
                        <a:pt x="169" y="146"/>
                      </a:lnTo>
                      <a:lnTo>
                        <a:pt x="170" y="147"/>
                      </a:lnTo>
                      <a:lnTo>
                        <a:pt x="170" y="149"/>
                      </a:lnTo>
                      <a:lnTo>
                        <a:pt x="172" y="149"/>
                      </a:lnTo>
                      <a:lnTo>
                        <a:pt x="174" y="151"/>
                      </a:lnTo>
                      <a:lnTo>
                        <a:pt x="174" y="152"/>
                      </a:lnTo>
                      <a:lnTo>
                        <a:pt x="175" y="152"/>
                      </a:lnTo>
                      <a:lnTo>
                        <a:pt x="177" y="152"/>
                      </a:lnTo>
                      <a:lnTo>
                        <a:pt x="179" y="152"/>
                      </a:lnTo>
                      <a:lnTo>
                        <a:pt x="179" y="151"/>
                      </a:lnTo>
                      <a:lnTo>
                        <a:pt x="180" y="151"/>
                      </a:lnTo>
                      <a:lnTo>
                        <a:pt x="180" y="149"/>
                      </a:lnTo>
                      <a:lnTo>
                        <a:pt x="180" y="147"/>
                      </a:lnTo>
                      <a:lnTo>
                        <a:pt x="180" y="146"/>
                      </a:lnTo>
                      <a:lnTo>
                        <a:pt x="182" y="146"/>
                      </a:lnTo>
                      <a:lnTo>
                        <a:pt x="184" y="146"/>
                      </a:lnTo>
                      <a:lnTo>
                        <a:pt x="185" y="144"/>
                      </a:lnTo>
                      <a:lnTo>
                        <a:pt x="187" y="143"/>
                      </a:lnTo>
                      <a:lnTo>
                        <a:pt x="189" y="141"/>
                      </a:lnTo>
                      <a:lnTo>
                        <a:pt x="190" y="141"/>
                      </a:lnTo>
                      <a:lnTo>
                        <a:pt x="192" y="141"/>
                      </a:lnTo>
                      <a:lnTo>
                        <a:pt x="192" y="143"/>
                      </a:lnTo>
                      <a:lnTo>
                        <a:pt x="194" y="143"/>
                      </a:lnTo>
                      <a:lnTo>
                        <a:pt x="194" y="144"/>
                      </a:lnTo>
                      <a:lnTo>
                        <a:pt x="196" y="144"/>
                      </a:lnTo>
                      <a:lnTo>
                        <a:pt x="196" y="146"/>
                      </a:lnTo>
                      <a:lnTo>
                        <a:pt x="197" y="146"/>
                      </a:lnTo>
                      <a:lnTo>
                        <a:pt x="199" y="146"/>
                      </a:lnTo>
                      <a:lnTo>
                        <a:pt x="199" y="144"/>
                      </a:lnTo>
                      <a:lnTo>
                        <a:pt x="199" y="143"/>
                      </a:lnTo>
                      <a:lnTo>
                        <a:pt x="199" y="141"/>
                      </a:lnTo>
                      <a:lnTo>
                        <a:pt x="199" y="139"/>
                      </a:lnTo>
                      <a:lnTo>
                        <a:pt x="199" y="138"/>
                      </a:lnTo>
                      <a:lnTo>
                        <a:pt x="199" y="136"/>
                      </a:lnTo>
                      <a:lnTo>
                        <a:pt x="197" y="136"/>
                      </a:lnTo>
                      <a:lnTo>
                        <a:pt x="199" y="136"/>
                      </a:lnTo>
                      <a:lnTo>
                        <a:pt x="199" y="134"/>
                      </a:lnTo>
                      <a:lnTo>
                        <a:pt x="197" y="134"/>
                      </a:lnTo>
                      <a:lnTo>
                        <a:pt x="197" y="133"/>
                      </a:lnTo>
                      <a:lnTo>
                        <a:pt x="196" y="133"/>
                      </a:lnTo>
                      <a:lnTo>
                        <a:pt x="196" y="131"/>
                      </a:lnTo>
                      <a:lnTo>
                        <a:pt x="197" y="129"/>
                      </a:lnTo>
                      <a:lnTo>
                        <a:pt x="196" y="129"/>
                      </a:lnTo>
                      <a:lnTo>
                        <a:pt x="197" y="129"/>
                      </a:lnTo>
                      <a:lnTo>
                        <a:pt x="196" y="128"/>
                      </a:lnTo>
                      <a:lnTo>
                        <a:pt x="194" y="128"/>
                      </a:lnTo>
                      <a:lnTo>
                        <a:pt x="196" y="128"/>
                      </a:lnTo>
                      <a:lnTo>
                        <a:pt x="194" y="126"/>
                      </a:lnTo>
                      <a:lnTo>
                        <a:pt x="194" y="124"/>
                      </a:lnTo>
                      <a:lnTo>
                        <a:pt x="194" y="123"/>
                      </a:lnTo>
                      <a:lnTo>
                        <a:pt x="196" y="121"/>
                      </a:lnTo>
                      <a:lnTo>
                        <a:pt x="197" y="121"/>
                      </a:lnTo>
                      <a:lnTo>
                        <a:pt x="197" y="120"/>
                      </a:lnTo>
                      <a:lnTo>
                        <a:pt x="197" y="118"/>
                      </a:lnTo>
                      <a:lnTo>
                        <a:pt x="196" y="118"/>
                      </a:lnTo>
                      <a:lnTo>
                        <a:pt x="196" y="116"/>
                      </a:lnTo>
                      <a:lnTo>
                        <a:pt x="196" y="115"/>
                      </a:lnTo>
                      <a:lnTo>
                        <a:pt x="197" y="115"/>
                      </a:lnTo>
                      <a:lnTo>
                        <a:pt x="197" y="113"/>
                      </a:lnTo>
                      <a:lnTo>
                        <a:pt x="199" y="113"/>
                      </a:lnTo>
                      <a:lnTo>
                        <a:pt x="201" y="113"/>
                      </a:lnTo>
                      <a:lnTo>
                        <a:pt x="202" y="113"/>
                      </a:lnTo>
                      <a:lnTo>
                        <a:pt x="204" y="113"/>
                      </a:lnTo>
                      <a:lnTo>
                        <a:pt x="206" y="113"/>
                      </a:lnTo>
                      <a:lnTo>
                        <a:pt x="207" y="111"/>
                      </a:lnTo>
                      <a:lnTo>
                        <a:pt x="207" y="113"/>
                      </a:lnTo>
                      <a:lnTo>
                        <a:pt x="207" y="111"/>
                      </a:lnTo>
                      <a:lnTo>
                        <a:pt x="209" y="113"/>
                      </a:lnTo>
                      <a:lnTo>
                        <a:pt x="211" y="113"/>
                      </a:lnTo>
                      <a:lnTo>
                        <a:pt x="211" y="111"/>
                      </a:lnTo>
                      <a:lnTo>
                        <a:pt x="211" y="113"/>
                      </a:lnTo>
                      <a:lnTo>
                        <a:pt x="212" y="113"/>
                      </a:lnTo>
                      <a:lnTo>
                        <a:pt x="212" y="115"/>
                      </a:lnTo>
                      <a:lnTo>
                        <a:pt x="214" y="115"/>
                      </a:lnTo>
                      <a:lnTo>
                        <a:pt x="216" y="115"/>
                      </a:lnTo>
                      <a:lnTo>
                        <a:pt x="216" y="113"/>
                      </a:lnTo>
                      <a:lnTo>
                        <a:pt x="216" y="111"/>
                      </a:lnTo>
                      <a:lnTo>
                        <a:pt x="218" y="113"/>
                      </a:lnTo>
                      <a:lnTo>
                        <a:pt x="218" y="111"/>
                      </a:lnTo>
                      <a:lnTo>
                        <a:pt x="218" y="110"/>
                      </a:lnTo>
                      <a:lnTo>
                        <a:pt x="218" y="108"/>
                      </a:lnTo>
                      <a:lnTo>
                        <a:pt x="216" y="110"/>
                      </a:lnTo>
                      <a:lnTo>
                        <a:pt x="216" y="108"/>
                      </a:lnTo>
                      <a:lnTo>
                        <a:pt x="218" y="106"/>
                      </a:lnTo>
                      <a:lnTo>
                        <a:pt x="216" y="106"/>
                      </a:lnTo>
                      <a:lnTo>
                        <a:pt x="218" y="106"/>
                      </a:lnTo>
                      <a:lnTo>
                        <a:pt x="219" y="106"/>
                      </a:lnTo>
                      <a:lnTo>
                        <a:pt x="219" y="105"/>
                      </a:lnTo>
                      <a:lnTo>
                        <a:pt x="218" y="105"/>
                      </a:lnTo>
                      <a:lnTo>
                        <a:pt x="218" y="103"/>
                      </a:lnTo>
                      <a:lnTo>
                        <a:pt x="219" y="103"/>
                      </a:lnTo>
                      <a:lnTo>
                        <a:pt x="219" y="105"/>
                      </a:lnTo>
                      <a:lnTo>
                        <a:pt x="221" y="105"/>
                      </a:lnTo>
                      <a:lnTo>
                        <a:pt x="221" y="103"/>
                      </a:lnTo>
                      <a:lnTo>
                        <a:pt x="223" y="103"/>
                      </a:lnTo>
                      <a:lnTo>
                        <a:pt x="223" y="105"/>
                      </a:lnTo>
                      <a:lnTo>
                        <a:pt x="224" y="103"/>
                      </a:lnTo>
                      <a:lnTo>
                        <a:pt x="224" y="101"/>
                      </a:lnTo>
                      <a:lnTo>
                        <a:pt x="226" y="101"/>
                      </a:lnTo>
                      <a:lnTo>
                        <a:pt x="224" y="101"/>
                      </a:lnTo>
                      <a:lnTo>
                        <a:pt x="224" y="100"/>
                      </a:lnTo>
                      <a:lnTo>
                        <a:pt x="226" y="100"/>
                      </a:lnTo>
                      <a:lnTo>
                        <a:pt x="228" y="100"/>
                      </a:lnTo>
                      <a:lnTo>
                        <a:pt x="229" y="100"/>
                      </a:lnTo>
                      <a:lnTo>
                        <a:pt x="231" y="100"/>
                      </a:lnTo>
                      <a:lnTo>
                        <a:pt x="233" y="100"/>
                      </a:lnTo>
                      <a:lnTo>
                        <a:pt x="233" y="101"/>
                      </a:lnTo>
                      <a:lnTo>
                        <a:pt x="234" y="101"/>
                      </a:lnTo>
                      <a:lnTo>
                        <a:pt x="236" y="103"/>
                      </a:lnTo>
                      <a:lnTo>
                        <a:pt x="238" y="103"/>
                      </a:lnTo>
                      <a:lnTo>
                        <a:pt x="239" y="103"/>
                      </a:lnTo>
                      <a:lnTo>
                        <a:pt x="241" y="103"/>
                      </a:lnTo>
                      <a:lnTo>
                        <a:pt x="241" y="105"/>
                      </a:lnTo>
                      <a:lnTo>
                        <a:pt x="243" y="105"/>
                      </a:lnTo>
                      <a:lnTo>
                        <a:pt x="245" y="105"/>
                      </a:lnTo>
                      <a:lnTo>
                        <a:pt x="246" y="105"/>
                      </a:lnTo>
                      <a:lnTo>
                        <a:pt x="246" y="106"/>
                      </a:lnTo>
                      <a:lnTo>
                        <a:pt x="248" y="106"/>
                      </a:lnTo>
                      <a:lnTo>
                        <a:pt x="250" y="106"/>
                      </a:lnTo>
                      <a:lnTo>
                        <a:pt x="251" y="108"/>
                      </a:lnTo>
                      <a:lnTo>
                        <a:pt x="253" y="108"/>
                      </a:lnTo>
                      <a:lnTo>
                        <a:pt x="255" y="110"/>
                      </a:lnTo>
                      <a:lnTo>
                        <a:pt x="255" y="108"/>
                      </a:lnTo>
                      <a:lnTo>
                        <a:pt x="256" y="108"/>
                      </a:lnTo>
                      <a:lnTo>
                        <a:pt x="258" y="108"/>
                      </a:lnTo>
                      <a:lnTo>
                        <a:pt x="258" y="106"/>
                      </a:lnTo>
                      <a:lnTo>
                        <a:pt x="256" y="106"/>
                      </a:lnTo>
                      <a:lnTo>
                        <a:pt x="258" y="106"/>
                      </a:lnTo>
                      <a:lnTo>
                        <a:pt x="256" y="106"/>
                      </a:lnTo>
                      <a:lnTo>
                        <a:pt x="256" y="105"/>
                      </a:lnTo>
                      <a:lnTo>
                        <a:pt x="258" y="105"/>
                      </a:lnTo>
                      <a:lnTo>
                        <a:pt x="258" y="106"/>
                      </a:lnTo>
                      <a:lnTo>
                        <a:pt x="258" y="105"/>
                      </a:lnTo>
                      <a:lnTo>
                        <a:pt x="260" y="105"/>
                      </a:lnTo>
                      <a:lnTo>
                        <a:pt x="258" y="105"/>
                      </a:lnTo>
                      <a:lnTo>
                        <a:pt x="260" y="105"/>
                      </a:lnTo>
                      <a:lnTo>
                        <a:pt x="261" y="105"/>
                      </a:lnTo>
                      <a:lnTo>
                        <a:pt x="261" y="103"/>
                      </a:lnTo>
                      <a:lnTo>
                        <a:pt x="261" y="101"/>
                      </a:lnTo>
                      <a:lnTo>
                        <a:pt x="263" y="101"/>
                      </a:lnTo>
                      <a:lnTo>
                        <a:pt x="263" y="103"/>
                      </a:lnTo>
                      <a:lnTo>
                        <a:pt x="265" y="101"/>
                      </a:lnTo>
                      <a:lnTo>
                        <a:pt x="265" y="103"/>
                      </a:lnTo>
                      <a:lnTo>
                        <a:pt x="266" y="101"/>
                      </a:lnTo>
                      <a:lnTo>
                        <a:pt x="268" y="101"/>
                      </a:lnTo>
                      <a:lnTo>
                        <a:pt x="268" y="100"/>
                      </a:lnTo>
                      <a:lnTo>
                        <a:pt x="270" y="100"/>
                      </a:lnTo>
                      <a:lnTo>
                        <a:pt x="270" y="101"/>
                      </a:lnTo>
                      <a:lnTo>
                        <a:pt x="272" y="103"/>
                      </a:lnTo>
                      <a:lnTo>
                        <a:pt x="273" y="105"/>
                      </a:lnTo>
                      <a:lnTo>
                        <a:pt x="273" y="106"/>
                      </a:lnTo>
                      <a:lnTo>
                        <a:pt x="275" y="106"/>
                      </a:lnTo>
                      <a:lnTo>
                        <a:pt x="275" y="105"/>
                      </a:lnTo>
                      <a:lnTo>
                        <a:pt x="275" y="103"/>
                      </a:lnTo>
                      <a:lnTo>
                        <a:pt x="277" y="101"/>
                      </a:lnTo>
                      <a:lnTo>
                        <a:pt x="275" y="101"/>
                      </a:lnTo>
                      <a:lnTo>
                        <a:pt x="277" y="101"/>
                      </a:lnTo>
                      <a:lnTo>
                        <a:pt x="278" y="101"/>
                      </a:lnTo>
                      <a:lnTo>
                        <a:pt x="280" y="101"/>
                      </a:lnTo>
                      <a:lnTo>
                        <a:pt x="280" y="100"/>
                      </a:lnTo>
                      <a:lnTo>
                        <a:pt x="282" y="100"/>
                      </a:lnTo>
                      <a:lnTo>
                        <a:pt x="283" y="100"/>
                      </a:lnTo>
                      <a:lnTo>
                        <a:pt x="283" y="101"/>
                      </a:lnTo>
                      <a:lnTo>
                        <a:pt x="285" y="101"/>
                      </a:lnTo>
                      <a:lnTo>
                        <a:pt x="285" y="100"/>
                      </a:lnTo>
                      <a:lnTo>
                        <a:pt x="285" y="98"/>
                      </a:lnTo>
                      <a:lnTo>
                        <a:pt x="287" y="98"/>
                      </a:lnTo>
                      <a:lnTo>
                        <a:pt x="287" y="97"/>
                      </a:lnTo>
                      <a:lnTo>
                        <a:pt x="287" y="95"/>
                      </a:lnTo>
                      <a:lnTo>
                        <a:pt x="288" y="95"/>
                      </a:lnTo>
                      <a:lnTo>
                        <a:pt x="290" y="95"/>
                      </a:lnTo>
                      <a:lnTo>
                        <a:pt x="290" y="93"/>
                      </a:lnTo>
                      <a:lnTo>
                        <a:pt x="292" y="93"/>
                      </a:lnTo>
                      <a:lnTo>
                        <a:pt x="294" y="93"/>
                      </a:lnTo>
                      <a:lnTo>
                        <a:pt x="294" y="92"/>
                      </a:lnTo>
                      <a:lnTo>
                        <a:pt x="295" y="92"/>
                      </a:lnTo>
                      <a:lnTo>
                        <a:pt x="294" y="93"/>
                      </a:lnTo>
                      <a:lnTo>
                        <a:pt x="295" y="93"/>
                      </a:lnTo>
                      <a:lnTo>
                        <a:pt x="297" y="93"/>
                      </a:lnTo>
                      <a:lnTo>
                        <a:pt x="299" y="93"/>
                      </a:lnTo>
                      <a:lnTo>
                        <a:pt x="299" y="92"/>
                      </a:lnTo>
                      <a:lnTo>
                        <a:pt x="300" y="92"/>
                      </a:lnTo>
                      <a:lnTo>
                        <a:pt x="300" y="93"/>
                      </a:lnTo>
                      <a:lnTo>
                        <a:pt x="302" y="93"/>
                      </a:lnTo>
                      <a:lnTo>
                        <a:pt x="302" y="95"/>
                      </a:lnTo>
                      <a:lnTo>
                        <a:pt x="304" y="95"/>
                      </a:lnTo>
                      <a:lnTo>
                        <a:pt x="304" y="93"/>
                      </a:lnTo>
                      <a:lnTo>
                        <a:pt x="305" y="92"/>
                      </a:lnTo>
                      <a:lnTo>
                        <a:pt x="305" y="93"/>
                      </a:lnTo>
                      <a:lnTo>
                        <a:pt x="307" y="93"/>
                      </a:lnTo>
                      <a:lnTo>
                        <a:pt x="309" y="93"/>
                      </a:lnTo>
                      <a:lnTo>
                        <a:pt x="310" y="93"/>
                      </a:lnTo>
                      <a:lnTo>
                        <a:pt x="310" y="92"/>
                      </a:lnTo>
                      <a:lnTo>
                        <a:pt x="312" y="92"/>
                      </a:lnTo>
                      <a:lnTo>
                        <a:pt x="312" y="90"/>
                      </a:lnTo>
                      <a:lnTo>
                        <a:pt x="314" y="90"/>
                      </a:lnTo>
                      <a:lnTo>
                        <a:pt x="314" y="88"/>
                      </a:lnTo>
                      <a:lnTo>
                        <a:pt x="314" y="87"/>
                      </a:lnTo>
                      <a:lnTo>
                        <a:pt x="315" y="87"/>
                      </a:lnTo>
                      <a:lnTo>
                        <a:pt x="314" y="87"/>
                      </a:lnTo>
                      <a:lnTo>
                        <a:pt x="314" y="85"/>
                      </a:lnTo>
                      <a:lnTo>
                        <a:pt x="314" y="83"/>
                      </a:lnTo>
                      <a:lnTo>
                        <a:pt x="314" y="82"/>
                      </a:lnTo>
                      <a:lnTo>
                        <a:pt x="314" y="80"/>
                      </a:lnTo>
                      <a:lnTo>
                        <a:pt x="314" y="78"/>
                      </a:lnTo>
                      <a:lnTo>
                        <a:pt x="315" y="78"/>
                      </a:lnTo>
                      <a:lnTo>
                        <a:pt x="317" y="78"/>
                      </a:lnTo>
                      <a:lnTo>
                        <a:pt x="317" y="77"/>
                      </a:lnTo>
                      <a:lnTo>
                        <a:pt x="319" y="77"/>
                      </a:lnTo>
                      <a:lnTo>
                        <a:pt x="319" y="75"/>
                      </a:lnTo>
                      <a:lnTo>
                        <a:pt x="321" y="75"/>
                      </a:lnTo>
                      <a:lnTo>
                        <a:pt x="321" y="77"/>
                      </a:lnTo>
                      <a:lnTo>
                        <a:pt x="321" y="75"/>
                      </a:lnTo>
                      <a:lnTo>
                        <a:pt x="322" y="75"/>
                      </a:lnTo>
                      <a:lnTo>
                        <a:pt x="322" y="77"/>
                      </a:lnTo>
                      <a:lnTo>
                        <a:pt x="321" y="77"/>
                      </a:lnTo>
                      <a:lnTo>
                        <a:pt x="322" y="77"/>
                      </a:lnTo>
                      <a:lnTo>
                        <a:pt x="324" y="77"/>
                      </a:lnTo>
                      <a:lnTo>
                        <a:pt x="326" y="77"/>
                      </a:lnTo>
                      <a:lnTo>
                        <a:pt x="327" y="77"/>
                      </a:lnTo>
                      <a:lnTo>
                        <a:pt x="329" y="77"/>
                      </a:lnTo>
                      <a:lnTo>
                        <a:pt x="331" y="77"/>
                      </a:lnTo>
                      <a:lnTo>
                        <a:pt x="332" y="77"/>
                      </a:lnTo>
                      <a:lnTo>
                        <a:pt x="332" y="75"/>
                      </a:lnTo>
                      <a:lnTo>
                        <a:pt x="334" y="75"/>
                      </a:lnTo>
                      <a:lnTo>
                        <a:pt x="334" y="74"/>
                      </a:lnTo>
                      <a:lnTo>
                        <a:pt x="336" y="74"/>
                      </a:lnTo>
                      <a:lnTo>
                        <a:pt x="337" y="74"/>
                      </a:lnTo>
                      <a:lnTo>
                        <a:pt x="337" y="72"/>
                      </a:lnTo>
                      <a:lnTo>
                        <a:pt x="336" y="72"/>
                      </a:lnTo>
                      <a:lnTo>
                        <a:pt x="336" y="70"/>
                      </a:lnTo>
                      <a:lnTo>
                        <a:pt x="334" y="70"/>
                      </a:lnTo>
                      <a:lnTo>
                        <a:pt x="332" y="70"/>
                      </a:lnTo>
                      <a:lnTo>
                        <a:pt x="332" y="69"/>
                      </a:lnTo>
                      <a:lnTo>
                        <a:pt x="332" y="67"/>
                      </a:lnTo>
                      <a:lnTo>
                        <a:pt x="334" y="67"/>
                      </a:lnTo>
                      <a:lnTo>
                        <a:pt x="336" y="67"/>
                      </a:lnTo>
                      <a:lnTo>
                        <a:pt x="337" y="67"/>
                      </a:lnTo>
                      <a:lnTo>
                        <a:pt x="339" y="67"/>
                      </a:lnTo>
                      <a:lnTo>
                        <a:pt x="339" y="69"/>
                      </a:lnTo>
                      <a:lnTo>
                        <a:pt x="339" y="67"/>
                      </a:lnTo>
                      <a:lnTo>
                        <a:pt x="341" y="67"/>
                      </a:lnTo>
                      <a:lnTo>
                        <a:pt x="342" y="69"/>
                      </a:lnTo>
                      <a:lnTo>
                        <a:pt x="342" y="67"/>
                      </a:lnTo>
                      <a:lnTo>
                        <a:pt x="344" y="69"/>
                      </a:lnTo>
                      <a:lnTo>
                        <a:pt x="346" y="69"/>
                      </a:lnTo>
                      <a:lnTo>
                        <a:pt x="348" y="70"/>
                      </a:lnTo>
                      <a:lnTo>
                        <a:pt x="349" y="70"/>
                      </a:lnTo>
                      <a:lnTo>
                        <a:pt x="349" y="72"/>
                      </a:lnTo>
                      <a:lnTo>
                        <a:pt x="349" y="70"/>
                      </a:lnTo>
                      <a:lnTo>
                        <a:pt x="351" y="70"/>
                      </a:lnTo>
                      <a:lnTo>
                        <a:pt x="353" y="70"/>
                      </a:lnTo>
                      <a:lnTo>
                        <a:pt x="353" y="69"/>
                      </a:lnTo>
                      <a:lnTo>
                        <a:pt x="354" y="69"/>
                      </a:lnTo>
                      <a:lnTo>
                        <a:pt x="356" y="69"/>
                      </a:lnTo>
                      <a:lnTo>
                        <a:pt x="358" y="69"/>
                      </a:lnTo>
                      <a:lnTo>
                        <a:pt x="359" y="69"/>
                      </a:lnTo>
                      <a:lnTo>
                        <a:pt x="361" y="69"/>
                      </a:lnTo>
                      <a:lnTo>
                        <a:pt x="363" y="69"/>
                      </a:lnTo>
                      <a:lnTo>
                        <a:pt x="364" y="69"/>
                      </a:lnTo>
                      <a:lnTo>
                        <a:pt x="363" y="67"/>
                      </a:lnTo>
                      <a:lnTo>
                        <a:pt x="364" y="67"/>
                      </a:lnTo>
                      <a:lnTo>
                        <a:pt x="364" y="65"/>
                      </a:lnTo>
                      <a:lnTo>
                        <a:pt x="364" y="67"/>
                      </a:lnTo>
                      <a:lnTo>
                        <a:pt x="366" y="65"/>
                      </a:lnTo>
                      <a:lnTo>
                        <a:pt x="368" y="65"/>
                      </a:lnTo>
                      <a:lnTo>
                        <a:pt x="368" y="64"/>
                      </a:lnTo>
                      <a:lnTo>
                        <a:pt x="368" y="62"/>
                      </a:lnTo>
                      <a:lnTo>
                        <a:pt x="370" y="62"/>
                      </a:lnTo>
                      <a:lnTo>
                        <a:pt x="370" y="60"/>
                      </a:lnTo>
                      <a:lnTo>
                        <a:pt x="368" y="60"/>
                      </a:lnTo>
                      <a:lnTo>
                        <a:pt x="370" y="60"/>
                      </a:lnTo>
                      <a:lnTo>
                        <a:pt x="370" y="59"/>
                      </a:lnTo>
                      <a:lnTo>
                        <a:pt x="370" y="57"/>
                      </a:lnTo>
                      <a:lnTo>
                        <a:pt x="368" y="57"/>
                      </a:lnTo>
                      <a:lnTo>
                        <a:pt x="368" y="55"/>
                      </a:lnTo>
                      <a:lnTo>
                        <a:pt x="370" y="55"/>
                      </a:lnTo>
                      <a:lnTo>
                        <a:pt x="371" y="55"/>
                      </a:lnTo>
                      <a:lnTo>
                        <a:pt x="371" y="54"/>
                      </a:lnTo>
                      <a:lnTo>
                        <a:pt x="371" y="52"/>
                      </a:lnTo>
                      <a:lnTo>
                        <a:pt x="371" y="51"/>
                      </a:lnTo>
                      <a:lnTo>
                        <a:pt x="373" y="51"/>
                      </a:lnTo>
                      <a:lnTo>
                        <a:pt x="375" y="51"/>
                      </a:lnTo>
                      <a:lnTo>
                        <a:pt x="376" y="51"/>
                      </a:lnTo>
                      <a:lnTo>
                        <a:pt x="378" y="51"/>
                      </a:lnTo>
                      <a:lnTo>
                        <a:pt x="380" y="49"/>
                      </a:lnTo>
                      <a:lnTo>
                        <a:pt x="381" y="49"/>
                      </a:lnTo>
                      <a:lnTo>
                        <a:pt x="381" y="47"/>
                      </a:lnTo>
                      <a:lnTo>
                        <a:pt x="383" y="47"/>
                      </a:lnTo>
                      <a:lnTo>
                        <a:pt x="385" y="47"/>
                      </a:lnTo>
                      <a:lnTo>
                        <a:pt x="385" y="46"/>
                      </a:lnTo>
                      <a:lnTo>
                        <a:pt x="386" y="46"/>
                      </a:lnTo>
                      <a:lnTo>
                        <a:pt x="386" y="47"/>
                      </a:lnTo>
                      <a:lnTo>
                        <a:pt x="386" y="46"/>
                      </a:lnTo>
                      <a:lnTo>
                        <a:pt x="388" y="46"/>
                      </a:lnTo>
                      <a:lnTo>
                        <a:pt x="388" y="44"/>
                      </a:lnTo>
                      <a:lnTo>
                        <a:pt x="390" y="46"/>
                      </a:lnTo>
                      <a:lnTo>
                        <a:pt x="390" y="44"/>
                      </a:lnTo>
                      <a:lnTo>
                        <a:pt x="390" y="42"/>
                      </a:lnTo>
                      <a:lnTo>
                        <a:pt x="391" y="41"/>
                      </a:lnTo>
                      <a:lnTo>
                        <a:pt x="393" y="41"/>
                      </a:lnTo>
                      <a:lnTo>
                        <a:pt x="393" y="39"/>
                      </a:lnTo>
                      <a:lnTo>
                        <a:pt x="395" y="39"/>
                      </a:lnTo>
                      <a:lnTo>
                        <a:pt x="395" y="37"/>
                      </a:lnTo>
                      <a:lnTo>
                        <a:pt x="397" y="36"/>
                      </a:lnTo>
                      <a:lnTo>
                        <a:pt x="397" y="34"/>
                      </a:lnTo>
                      <a:lnTo>
                        <a:pt x="398" y="34"/>
                      </a:lnTo>
                      <a:lnTo>
                        <a:pt x="398" y="32"/>
                      </a:lnTo>
                      <a:lnTo>
                        <a:pt x="400" y="31"/>
                      </a:lnTo>
                      <a:lnTo>
                        <a:pt x="402" y="31"/>
                      </a:lnTo>
                      <a:lnTo>
                        <a:pt x="402" y="29"/>
                      </a:lnTo>
                      <a:lnTo>
                        <a:pt x="403" y="28"/>
                      </a:lnTo>
                      <a:lnTo>
                        <a:pt x="402" y="26"/>
                      </a:lnTo>
                      <a:lnTo>
                        <a:pt x="402" y="24"/>
                      </a:lnTo>
                      <a:lnTo>
                        <a:pt x="400" y="24"/>
                      </a:lnTo>
                      <a:lnTo>
                        <a:pt x="400" y="23"/>
                      </a:lnTo>
                      <a:lnTo>
                        <a:pt x="398" y="21"/>
                      </a:lnTo>
                      <a:lnTo>
                        <a:pt x="398" y="19"/>
                      </a:lnTo>
                      <a:lnTo>
                        <a:pt x="397" y="19"/>
                      </a:lnTo>
                      <a:lnTo>
                        <a:pt x="397" y="18"/>
                      </a:lnTo>
                      <a:lnTo>
                        <a:pt x="397" y="16"/>
                      </a:lnTo>
                      <a:lnTo>
                        <a:pt x="397" y="14"/>
                      </a:lnTo>
                      <a:lnTo>
                        <a:pt x="397" y="13"/>
                      </a:lnTo>
                      <a:lnTo>
                        <a:pt x="395" y="13"/>
                      </a:lnTo>
                      <a:lnTo>
                        <a:pt x="395" y="11"/>
                      </a:lnTo>
                      <a:lnTo>
                        <a:pt x="397" y="11"/>
                      </a:lnTo>
                      <a:lnTo>
                        <a:pt x="395" y="10"/>
                      </a:lnTo>
                      <a:lnTo>
                        <a:pt x="395" y="8"/>
                      </a:lnTo>
                      <a:lnTo>
                        <a:pt x="393" y="8"/>
                      </a:lnTo>
                      <a:lnTo>
                        <a:pt x="393" y="6"/>
                      </a:lnTo>
                      <a:lnTo>
                        <a:pt x="391" y="6"/>
                      </a:lnTo>
                      <a:lnTo>
                        <a:pt x="390" y="6"/>
                      </a:lnTo>
                      <a:lnTo>
                        <a:pt x="388" y="6"/>
                      </a:lnTo>
                      <a:lnTo>
                        <a:pt x="388" y="5"/>
                      </a:lnTo>
                      <a:lnTo>
                        <a:pt x="390" y="3"/>
                      </a:lnTo>
                      <a:lnTo>
                        <a:pt x="390" y="5"/>
                      </a:lnTo>
                      <a:lnTo>
                        <a:pt x="391" y="5"/>
                      </a:lnTo>
                      <a:lnTo>
                        <a:pt x="391" y="3"/>
                      </a:lnTo>
                      <a:lnTo>
                        <a:pt x="393" y="3"/>
                      </a:lnTo>
                      <a:lnTo>
                        <a:pt x="395" y="3"/>
                      </a:lnTo>
                      <a:lnTo>
                        <a:pt x="397" y="3"/>
                      </a:lnTo>
                      <a:lnTo>
                        <a:pt x="398" y="3"/>
                      </a:lnTo>
                      <a:lnTo>
                        <a:pt x="398" y="5"/>
                      </a:lnTo>
                      <a:lnTo>
                        <a:pt x="400" y="5"/>
                      </a:lnTo>
                      <a:lnTo>
                        <a:pt x="402" y="5"/>
                      </a:lnTo>
                      <a:lnTo>
                        <a:pt x="402" y="3"/>
                      </a:lnTo>
                      <a:lnTo>
                        <a:pt x="402" y="5"/>
                      </a:lnTo>
                      <a:lnTo>
                        <a:pt x="403" y="6"/>
                      </a:lnTo>
                      <a:lnTo>
                        <a:pt x="405" y="6"/>
                      </a:lnTo>
                      <a:lnTo>
                        <a:pt x="407" y="6"/>
                      </a:lnTo>
                      <a:lnTo>
                        <a:pt x="407" y="5"/>
                      </a:lnTo>
                      <a:lnTo>
                        <a:pt x="408" y="5"/>
                      </a:lnTo>
                      <a:lnTo>
                        <a:pt x="410" y="5"/>
                      </a:lnTo>
                      <a:lnTo>
                        <a:pt x="412" y="5"/>
                      </a:lnTo>
                      <a:lnTo>
                        <a:pt x="413" y="6"/>
                      </a:lnTo>
                      <a:lnTo>
                        <a:pt x="413" y="5"/>
                      </a:lnTo>
                      <a:lnTo>
                        <a:pt x="413" y="6"/>
                      </a:lnTo>
                      <a:lnTo>
                        <a:pt x="415" y="5"/>
                      </a:lnTo>
                      <a:lnTo>
                        <a:pt x="415" y="6"/>
                      </a:lnTo>
                      <a:lnTo>
                        <a:pt x="417" y="8"/>
                      </a:lnTo>
                      <a:lnTo>
                        <a:pt x="417" y="6"/>
                      </a:lnTo>
                      <a:lnTo>
                        <a:pt x="419" y="6"/>
                      </a:lnTo>
                      <a:lnTo>
                        <a:pt x="419" y="5"/>
                      </a:lnTo>
                      <a:lnTo>
                        <a:pt x="420" y="5"/>
                      </a:lnTo>
                      <a:lnTo>
                        <a:pt x="422" y="3"/>
                      </a:lnTo>
                      <a:lnTo>
                        <a:pt x="422" y="5"/>
                      </a:lnTo>
                      <a:lnTo>
                        <a:pt x="424" y="5"/>
                      </a:lnTo>
                      <a:lnTo>
                        <a:pt x="425" y="5"/>
                      </a:lnTo>
                      <a:lnTo>
                        <a:pt x="427" y="5"/>
                      </a:lnTo>
                      <a:lnTo>
                        <a:pt x="429" y="5"/>
                      </a:lnTo>
                      <a:lnTo>
                        <a:pt x="429" y="3"/>
                      </a:lnTo>
                      <a:lnTo>
                        <a:pt x="430" y="3"/>
                      </a:lnTo>
                      <a:lnTo>
                        <a:pt x="432" y="3"/>
                      </a:lnTo>
                      <a:lnTo>
                        <a:pt x="432" y="1"/>
                      </a:lnTo>
                      <a:lnTo>
                        <a:pt x="434" y="1"/>
                      </a:lnTo>
                      <a:lnTo>
                        <a:pt x="435" y="1"/>
                      </a:lnTo>
                      <a:lnTo>
                        <a:pt x="435" y="0"/>
                      </a:lnTo>
                      <a:lnTo>
                        <a:pt x="437" y="0"/>
                      </a:lnTo>
                      <a:lnTo>
                        <a:pt x="439" y="0"/>
                      </a:lnTo>
                      <a:lnTo>
                        <a:pt x="440" y="1"/>
                      </a:lnTo>
                      <a:lnTo>
                        <a:pt x="439" y="1"/>
                      </a:lnTo>
                      <a:lnTo>
                        <a:pt x="440" y="3"/>
                      </a:lnTo>
                      <a:lnTo>
                        <a:pt x="442" y="3"/>
                      </a:lnTo>
                      <a:lnTo>
                        <a:pt x="446" y="1"/>
                      </a:lnTo>
                      <a:lnTo>
                        <a:pt x="446" y="3"/>
                      </a:lnTo>
                      <a:lnTo>
                        <a:pt x="446" y="5"/>
                      </a:lnTo>
                      <a:lnTo>
                        <a:pt x="447" y="5"/>
                      </a:lnTo>
                      <a:lnTo>
                        <a:pt x="447" y="6"/>
                      </a:lnTo>
                      <a:lnTo>
                        <a:pt x="449" y="8"/>
                      </a:lnTo>
                      <a:lnTo>
                        <a:pt x="449" y="10"/>
                      </a:lnTo>
                      <a:lnTo>
                        <a:pt x="449" y="11"/>
                      </a:lnTo>
                      <a:lnTo>
                        <a:pt x="451" y="11"/>
                      </a:lnTo>
                      <a:lnTo>
                        <a:pt x="452" y="11"/>
                      </a:lnTo>
                      <a:lnTo>
                        <a:pt x="452" y="13"/>
                      </a:lnTo>
                      <a:lnTo>
                        <a:pt x="452" y="14"/>
                      </a:lnTo>
                      <a:lnTo>
                        <a:pt x="454" y="14"/>
                      </a:lnTo>
                      <a:lnTo>
                        <a:pt x="456" y="14"/>
                      </a:lnTo>
                      <a:lnTo>
                        <a:pt x="456" y="16"/>
                      </a:lnTo>
                      <a:lnTo>
                        <a:pt x="457" y="16"/>
                      </a:lnTo>
                      <a:lnTo>
                        <a:pt x="459" y="16"/>
                      </a:lnTo>
                      <a:lnTo>
                        <a:pt x="457" y="16"/>
                      </a:lnTo>
                      <a:lnTo>
                        <a:pt x="457" y="18"/>
                      </a:lnTo>
                      <a:lnTo>
                        <a:pt x="459" y="18"/>
                      </a:lnTo>
                      <a:lnTo>
                        <a:pt x="457" y="19"/>
                      </a:lnTo>
                      <a:lnTo>
                        <a:pt x="459" y="19"/>
                      </a:lnTo>
                      <a:lnTo>
                        <a:pt x="457" y="21"/>
                      </a:lnTo>
                      <a:lnTo>
                        <a:pt x="457" y="23"/>
                      </a:lnTo>
                      <a:lnTo>
                        <a:pt x="459" y="26"/>
                      </a:lnTo>
                      <a:lnTo>
                        <a:pt x="459" y="28"/>
                      </a:lnTo>
                      <a:lnTo>
                        <a:pt x="459" y="29"/>
                      </a:lnTo>
                      <a:lnTo>
                        <a:pt x="459" y="31"/>
                      </a:lnTo>
                      <a:lnTo>
                        <a:pt x="457" y="31"/>
                      </a:lnTo>
                      <a:lnTo>
                        <a:pt x="457" y="32"/>
                      </a:lnTo>
                      <a:lnTo>
                        <a:pt x="457" y="34"/>
                      </a:lnTo>
                      <a:lnTo>
                        <a:pt x="457" y="36"/>
                      </a:lnTo>
                      <a:lnTo>
                        <a:pt x="456" y="37"/>
                      </a:lnTo>
                      <a:lnTo>
                        <a:pt x="457" y="37"/>
                      </a:lnTo>
                      <a:lnTo>
                        <a:pt x="456" y="39"/>
                      </a:lnTo>
                      <a:lnTo>
                        <a:pt x="456" y="41"/>
                      </a:lnTo>
                      <a:lnTo>
                        <a:pt x="454" y="41"/>
                      </a:lnTo>
                      <a:lnTo>
                        <a:pt x="456" y="42"/>
                      </a:lnTo>
                      <a:lnTo>
                        <a:pt x="454" y="42"/>
                      </a:lnTo>
                      <a:lnTo>
                        <a:pt x="454" y="44"/>
                      </a:lnTo>
                      <a:lnTo>
                        <a:pt x="456" y="44"/>
                      </a:lnTo>
                      <a:lnTo>
                        <a:pt x="456" y="46"/>
                      </a:lnTo>
                      <a:lnTo>
                        <a:pt x="456" y="47"/>
                      </a:lnTo>
                      <a:lnTo>
                        <a:pt x="456" y="49"/>
                      </a:lnTo>
                      <a:lnTo>
                        <a:pt x="454" y="49"/>
                      </a:lnTo>
                      <a:lnTo>
                        <a:pt x="454" y="51"/>
                      </a:lnTo>
                      <a:lnTo>
                        <a:pt x="456" y="51"/>
                      </a:lnTo>
                      <a:lnTo>
                        <a:pt x="456" y="52"/>
                      </a:lnTo>
                      <a:lnTo>
                        <a:pt x="454" y="52"/>
                      </a:lnTo>
                      <a:lnTo>
                        <a:pt x="452" y="54"/>
                      </a:lnTo>
                      <a:lnTo>
                        <a:pt x="452" y="55"/>
                      </a:lnTo>
                      <a:lnTo>
                        <a:pt x="451" y="57"/>
                      </a:lnTo>
                      <a:lnTo>
                        <a:pt x="451" y="59"/>
                      </a:lnTo>
                      <a:lnTo>
                        <a:pt x="451" y="60"/>
                      </a:lnTo>
                      <a:lnTo>
                        <a:pt x="449" y="60"/>
                      </a:lnTo>
                      <a:lnTo>
                        <a:pt x="449" y="62"/>
                      </a:lnTo>
                      <a:lnTo>
                        <a:pt x="447" y="60"/>
                      </a:lnTo>
                      <a:lnTo>
                        <a:pt x="447" y="62"/>
                      </a:lnTo>
                      <a:lnTo>
                        <a:pt x="446" y="60"/>
                      </a:lnTo>
                      <a:lnTo>
                        <a:pt x="446" y="62"/>
                      </a:lnTo>
                      <a:lnTo>
                        <a:pt x="446" y="64"/>
                      </a:lnTo>
                      <a:lnTo>
                        <a:pt x="444" y="64"/>
                      </a:lnTo>
                      <a:lnTo>
                        <a:pt x="444" y="65"/>
                      </a:lnTo>
                      <a:lnTo>
                        <a:pt x="446" y="65"/>
                      </a:lnTo>
                      <a:lnTo>
                        <a:pt x="444" y="65"/>
                      </a:lnTo>
                      <a:lnTo>
                        <a:pt x="444" y="64"/>
                      </a:lnTo>
                      <a:lnTo>
                        <a:pt x="442" y="64"/>
                      </a:lnTo>
                      <a:lnTo>
                        <a:pt x="442" y="65"/>
                      </a:lnTo>
                      <a:lnTo>
                        <a:pt x="442" y="67"/>
                      </a:lnTo>
                      <a:lnTo>
                        <a:pt x="442" y="69"/>
                      </a:lnTo>
                      <a:lnTo>
                        <a:pt x="442" y="70"/>
                      </a:lnTo>
                      <a:lnTo>
                        <a:pt x="444" y="70"/>
                      </a:lnTo>
                      <a:lnTo>
                        <a:pt x="446" y="70"/>
                      </a:lnTo>
                      <a:lnTo>
                        <a:pt x="447" y="70"/>
                      </a:lnTo>
                      <a:lnTo>
                        <a:pt x="449" y="70"/>
                      </a:lnTo>
                      <a:lnTo>
                        <a:pt x="447" y="69"/>
                      </a:lnTo>
                      <a:lnTo>
                        <a:pt x="449" y="69"/>
                      </a:lnTo>
                      <a:lnTo>
                        <a:pt x="451" y="69"/>
                      </a:lnTo>
                      <a:lnTo>
                        <a:pt x="452" y="69"/>
                      </a:lnTo>
                      <a:lnTo>
                        <a:pt x="451" y="70"/>
                      </a:lnTo>
                      <a:lnTo>
                        <a:pt x="452" y="70"/>
                      </a:lnTo>
                      <a:lnTo>
                        <a:pt x="454" y="70"/>
                      </a:lnTo>
                      <a:lnTo>
                        <a:pt x="456" y="70"/>
                      </a:lnTo>
                      <a:lnTo>
                        <a:pt x="457" y="70"/>
                      </a:lnTo>
                      <a:lnTo>
                        <a:pt x="457" y="72"/>
                      </a:lnTo>
                      <a:lnTo>
                        <a:pt x="459" y="72"/>
                      </a:lnTo>
                      <a:lnTo>
                        <a:pt x="461" y="72"/>
                      </a:lnTo>
                      <a:lnTo>
                        <a:pt x="461" y="70"/>
                      </a:lnTo>
                      <a:lnTo>
                        <a:pt x="462" y="70"/>
                      </a:lnTo>
                      <a:lnTo>
                        <a:pt x="464" y="70"/>
                      </a:lnTo>
                      <a:lnTo>
                        <a:pt x="464" y="72"/>
                      </a:lnTo>
                      <a:lnTo>
                        <a:pt x="466" y="72"/>
                      </a:lnTo>
                      <a:lnTo>
                        <a:pt x="464" y="72"/>
                      </a:lnTo>
                      <a:lnTo>
                        <a:pt x="466" y="72"/>
                      </a:lnTo>
                      <a:lnTo>
                        <a:pt x="467" y="72"/>
                      </a:lnTo>
                      <a:lnTo>
                        <a:pt x="466" y="74"/>
                      </a:lnTo>
                      <a:lnTo>
                        <a:pt x="467" y="74"/>
                      </a:lnTo>
                      <a:lnTo>
                        <a:pt x="467" y="72"/>
                      </a:lnTo>
                      <a:lnTo>
                        <a:pt x="469" y="72"/>
                      </a:lnTo>
                      <a:lnTo>
                        <a:pt x="469" y="74"/>
                      </a:lnTo>
                      <a:lnTo>
                        <a:pt x="469" y="72"/>
                      </a:lnTo>
                      <a:lnTo>
                        <a:pt x="471" y="72"/>
                      </a:lnTo>
                      <a:lnTo>
                        <a:pt x="471" y="74"/>
                      </a:lnTo>
                      <a:lnTo>
                        <a:pt x="471" y="75"/>
                      </a:lnTo>
                      <a:lnTo>
                        <a:pt x="473" y="75"/>
                      </a:lnTo>
                      <a:lnTo>
                        <a:pt x="474" y="75"/>
                      </a:lnTo>
                      <a:lnTo>
                        <a:pt x="474" y="74"/>
                      </a:lnTo>
                      <a:lnTo>
                        <a:pt x="474" y="75"/>
                      </a:lnTo>
                      <a:lnTo>
                        <a:pt x="476" y="75"/>
                      </a:lnTo>
                      <a:lnTo>
                        <a:pt x="476" y="74"/>
                      </a:lnTo>
                      <a:lnTo>
                        <a:pt x="478" y="74"/>
                      </a:lnTo>
                      <a:lnTo>
                        <a:pt x="478" y="75"/>
                      </a:lnTo>
                      <a:lnTo>
                        <a:pt x="479" y="75"/>
                      </a:lnTo>
                      <a:lnTo>
                        <a:pt x="481" y="75"/>
                      </a:lnTo>
                      <a:lnTo>
                        <a:pt x="481" y="77"/>
                      </a:lnTo>
                      <a:lnTo>
                        <a:pt x="483" y="77"/>
                      </a:lnTo>
                      <a:lnTo>
                        <a:pt x="483" y="78"/>
                      </a:lnTo>
                      <a:lnTo>
                        <a:pt x="484" y="78"/>
                      </a:lnTo>
                      <a:lnTo>
                        <a:pt x="484" y="80"/>
                      </a:lnTo>
                      <a:lnTo>
                        <a:pt x="486" y="80"/>
                      </a:lnTo>
                      <a:lnTo>
                        <a:pt x="486" y="82"/>
                      </a:lnTo>
                      <a:lnTo>
                        <a:pt x="488" y="82"/>
                      </a:lnTo>
                      <a:lnTo>
                        <a:pt x="488" y="80"/>
                      </a:lnTo>
                      <a:lnTo>
                        <a:pt x="489" y="82"/>
                      </a:lnTo>
                      <a:lnTo>
                        <a:pt x="488" y="82"/>
                      </a:lnTo>
                      <a:lnTo>
                        <a:pt x="488" y="83"/>
                      </a:lnTo>
                      <a:lnTo>
                        <a:pt x="489" y="85"/>
                      </a:lnTo>
                      <a:lnTo>
                        <a:pt x="488" y="85"/>
                      </a:lnTo>
                      <a:lnTo>
                        <a:pt x="486" y="87"/>
                      </a:lnTo>
                      <a:lnTo>
                        <a:pt x="486" y="88"/>
                      </a:lnTo>
                      <a:lnTo>
                        <a:pt x="484" y="88"/>
                      </a:lnTo>
                      <a:lnTo>
                        <a:pt x="484" y="90"/>
                      </a:lnTo>
                      <a:lnTo>
                        <a:pt x="483" y="90"/>
                      </a:lnTo>
                      <a:lnTo>
                        <a:pt x="484" y="90"/>
                      </a:lnTo>
                      <a:lnTo>
                        <a:pt x="484" y="92"/>
                      </a:lnTo>
                      <a:lnTo>
                        <a:pt x="486" y="92"/>
                      </a:lnTo>
                      <a:lnTo>
                        <a:pt x="484" y="92"/>
                      </a:lnTo>
                      <a:lnTo>
                        <a:pt x="483" y="95"/>
                      </a:lnTo>
                      <a:lnTo>
                        <a:pt x="483" y="97"/>
                      </a:lnTo>
                      <a:lnTo>
                        <a:pt x="484" y="98"/>
                      </a:lnTo>
                      <a:lnTo>
                        <a:pt x="484" y="100"/>
                      </a:lnTo>
                      <a:lnTo>
                        <a:pt x="486" y="101"/>
                      </a:lnTo>
                      <a:lnTo>
                        <a:pt x="488" y="103"/>
                      </a:lnTo>
                      <a:lnTo>
                        <a:pt x="489" y="103"/>
                      </a:lnTo>
                      <a:lnTo>
                        <a:pt x="491" y="103"/>
                      </a:lnTo>
                      <a:lnTo>
                        <a:pt x="493" y="103"/>
                      </a:lnTo>
                      <a:lnTo>
                        <a:pt x="495" y="103"/>
                      </a:lnTo>
                      <a:lnTo>
                        <a:pt x="495" y="105"/>
                      </a:lnTo>
                      <a:lnTo>
                        <a:pt x="493" y="106"/>
                      </a:lnTo>
                      <a:lnTo>
                        <a:pt x="493" y="108"/>
                      </a:lnTo>
                      <a:lnTo>
                        <a:pt x="491" y="108"/>
                      </a:lnTo>
                      <a:lnTo>
                        <a:pt x="491" y="110"/>
                      </a:lnTo>
                      <a:lnTo>
                        <a:pt x="493" y="110"/>
                      </a:lnTo>
                      <a:lnTo>
                        <a:pt x="493" y="111"/>
                      </a:lnTo>
                      <a:lnTo>
                        <a:pt x="495" y="111"/>
                      </a:lnTo>
                      <a:lnTo>
                        <a:pt x="495" y="113"/>
                      </a:lnTo>
                      <a:lnTo>
                        <a:pt x="496" y="113"/>
                      </a:lnTo>
                      <a:lnTo>
                        <a:pt x="496" y="115"/>
                      </a:lnTo>
                      <a:lnTo>
                        <a:pt x="495" y="115"/>
                      </a:lnTo>
                      <a:lnTo>
                        <a:pt x="496" y="115"/>
                      </a:lnTo>
                      <a:lnTo>
                        <a:pt x="498" y="115"/>
                      </a:lnTo>
                      <a:lnTo>
                        <a:pt x="496" y="116"/>
                      </a:lnTo>
                      <a:lnTo>
                        <a:pt x="498" y="116"/>
                      </a:lnTo>
                      <a:lnTo>
                        <a:pt x="498" y="118"/>
                      </a:lnTo>
                      <a:lnTo>
                        <a:pt x="498" y="120"/>
                      </a:lnTo>
                      <a:lnTo>
                        <a:pt x="500" y="120"/>
                      </a:lnTo>
                      <a:lnTo>
                        <a:pt x="500" y="118"/>
                      </a:lnTo>
                      <a:lnTo>
                        <a:pt x="501" y="118"/>
                      </a:lnTo>
                      <a:lnTo>
                        <a:pt x="501" y="120"/>
                      </a:lnTo>
                      <a:lnTo>
                        <a:pt x="503" y="120"/>
                      </a:lnTo>
                      <a:lnTo>
                        <a:pt x="503" y="121"/>
                      </a:lnTo>
                      <a:lnTo>
                        <a:pt x="505" y="121"/>
                      </a:lnTo>
                      <a:lnTo>
                        <a:pt x="503" y="121"/>
                      </a:lnTo>
                      <a:lnTo>
                        <a:pt x="503" y="123"/>
                      </a:lnTo>
                      <a:lnTo>
                        <a:pt x="501" y="123"/>
                      </a:lnTo>
                      <a:lnTo>
                        <a:pt x="501" y="124"/>
                      </a:lnTo>
                      <a:lnTo>
                        <a:pt x="500" y="123"/>
                      </a:lnTo>
                      <a:lnTo>
                        <a:pt x="500" y="124"/>
                      </a:lnTo>
                      <a:lnTo>
                        <a:pt x="500" y="126"/>
                      </a:lnTo>
                      <a:lnTo>
                        <a:pt x="498" y="126"/>
                      </a:lnTo>
                      <a:lnTo>
                        <a:pt x="498" y="124"/>
                      </a:lnTo>
                      <a:lnTo>
                        <a:pt x="498" y="126"/>
                      </a:lnTo>
                      <a:lnTo>
                        <a:pt x="496" y="126"/>
                      </a:lnTo>
                      <a:lnTo>
                        <a:pt x="496" y="128"/>
                      </a:lnTo>
                      <a:lnTo>
                        <a:pt x="496" y="129"/>
                      </a:lnTo>
                      <a:lnTo>
                        <a:pt x="498" y="129"/>
                      </a:lnTo>
                      <a:lnTo>
                        <a:pt x="496" y="129"/>
                      </a:lnTo>
                      <a:lnTo>
                        <a:pt x="498" y="131"/>
                      </a:lnTo>
                      <a:lnTo>
                        <a:pt x="498" y="133"/>
                      </a:lnTo>
                      <a:lnTo>
                        <a:pt x="496" y="133"/>
                      </a:lnTo>
                      <a:lnTo>
                        <a:pt x="496" y="134"/>
                      </a:lnTo>
                      <a:lnTo>
                        <a:pt x="496" y="136"/>
                      </a:lnTo>
                      <a:lnTo>
                        <a:pt x="496" y="134"/>
                      </a:lnTo>
                      <a:lnTo>
                        <a:pt x="495" y="134"/>
                      </a:lnTo>
                      <a:lnTo>
                        <a:pt x="495" y="136"/>
                      </a:lnTo>
                      <a:lnTo>
                        <a:pt x="493" y="136"/>
                      </a:lnTo>
                      <a:lnTo>
                        <a:pt x="493" y="134"/>
                      </a:lnTo>
                      <a:lnTo>
                        <a:pt x="493" y="136"/>
                      </a:lnTo>
                      <a:lnTo>
                        <a:pt x="491" y="136"/>
                      </a:lnTo>
                      <a:lnTo>
                        <a:pt x="489" y="136"/>
                      </a:lnTo>
                      <a:lnTo>
                        <a:pt x="489" y="138"/>
                      </a:lnTo>
                      <a:lnTo>
                        <a:pt x="488" y="138"/>
                      </a:lnTo>
                      <a:lnTo>
                        <a:pt x="488" y="139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9" y="143"/>
                      </a:lnTo>
                      <a:lnTo>
                        <a:pt x="489" y="144"/>
                      </a:lnTo>
                      <a:lnTo>
                        <a:pt x="488" y="144"/>
                      </a:lnTo>
                      <a:lnTo>
                        <a:pt x="486" y="144"/>
                      </a:lnTo>
                      <a:lnTo>
                        <a:pt x="486" y="146"/>
                      </a:lnTo>
                      <a:lnTo>
                        <a:pt x="484" y="146"/>
                      </a:lnTo>
                      <a:lnTo>
                        <a:pt x="484" y="147"/>
                      </a:lnTo>
                      <a:lnTo>
                        <a:pt x="483" y="147"/>
                      </a:lnTo>
                      <a:lnTo>
                        <a:pt x="481" y="147"/>
                      </a:lnTo>
                      <a:lnTo>
                        <a:pt x="481" y="149"/>
                      </a:lnTo>
                      <a:lnTo>
                        <a:pt x="481" y="151"/>
                      </a:lnTo>
                      <a:lnTo>
                        <a:pt x="479" y="151"/>
                      </a:lnTo>
                      <a:lnTo>
                        <a:pt x="481" y="151"/>
                      </a:lnTo>
                      <a:lnTo>
                        <a:pt x="479" y="151"/>
                      </a:lnTo>
                      <a:lnTo>
                        <a:pt x="478" y="151"/>
                      </a:lnTo>
                      <a:lnTo>
                        <a:pt x="476" y="151"/>
                      </a:lnTo>
                      <a:lnTo>
                        <a:pt x="476" y="152"/>
                      </a:lnTo>
                      <a:lnTo>
                        <a:pt x="474" y="152"/>
                      </a:lnTo>
                      <a:lnTo>
                        <a:pt x="473" y="152"/>
                      </a:lnTo>
                      <a:lnTo>
                        <a:pt x="473" y="154"/>
                      </a:lnTo>
                      <a:lnTo>
                        <a:pt x="471" y="154"/>
                      </a:lnTo>
                      <a:lnTo>
                        <a:pt x="471" y="156"/>
                      </a:lnTo>
                      <a:lnTo>
                        <a:pt x="471" y="157"/>
                      </a:lnTo>
                      <a:lnTo>
                        <a:pt x="473" y="157"/>
                      </a:lnTo>
                      <a:lnTo>
                        <a:pt x="473" y="159"/>
                      </a:lnTo>
                      <a:lnTo>
                        <a:pt x="474" y="161"/>
                      </a:lnTo>
                      <a:lnTo>
                        <a:pt x="476" y="161"/>
                      </a:lnTo>
                      <a:lnTo>
                        <a:pt x="476" y="162"/>
                      </a:lnTo>
                      <a:lnTo>
                        <a:pt x="476" y="164"/>
                      </a:lnTo>
                      <a:lnTo>
                        <a:pt x="474" y="164"/>
                      </a:lnTo>
                      <a:lnTo>
                        <a:pt x="476" y="164"/>
                      </a:lnTo>
                      <a:lnTo>
                        <a:pt x="476" y="166"/>
                      </a:lnTo>
                      <a:lnTo>
                        <a:pt x="474" y="166"/>
                      </a:lnTo>
                      <a:lnTo>
                        <a:pt x="474" y="167"/>
                      </a:lnTo>
                      <a:lnTo>
                        <a:pt x="473" y="167"/>
                      </a:lnTo>
                      <a:lnTo>
                        <a:pt x="473" y="169"/>
                      </a:lnTo>
                      <a:lnTo>
                        <a:pt x="474" y="169"/>
                      </a:lnTo>
                      <a:lnTo>
                        <a:pt x="476" y="169"/>
                      </a:lnTo>
                      <a:lnTo>
                        <a:pt x="476" y="170"/>
                      </a:lnTo>
                      <a:lnTo>
                        <a:pt x="474" y="170"/>
                      </a:lnTo>
                      <a:lnTo>
                        <a:pt x="476" y="172"/>
                      </a:lnTo>
                      <a:lnTo>
                        <a:pt x="476" y="174"/>
                      </a:lnTo>
                      <a:lnTo>
                        <a:pt x="476" y="175"/>
                      </a:lnTo>
                      <a:lnTo>
                        <a:pt x="474" y="175"/>
                      </a:lnTo>
                      <a:lnTo>
                        <a:pt x="474" y="177"/>
                      </a:lnTo>
                      <a:lnTo>
                        <a:pt x="474" y="179"/>
                      </a:lnTo>
                      <a:lnTo>
                        <a:pt x="473" y="179"/>
                      </a:lnTo>
                      <a:lnTo>
                        <a:pt x="473" y="180"/>
                      </a:lnTo>
                      <a:lnTo>
                        <a:pt x="473" y="182"/>
                      </a:lnTo>
                      <a:lnTo>
                        <a:pt x="471" y="182"/>
                      </a:lnTo>
                      <a:lnTo>
                        <a:pt x="471" y="184"/>
                      </a:lnTo>
                      <a:lnTo>
                        <a:pt x="469" y="184"/>
                      </a:lnTo>
                      <a:lnTo>
                        <a:pt x="469" y="185"/>
                      </a:lnTo>
                      <a:lnTo>
                        <a:pt x="469" y="187"/>
                      </a:lnTo>
                      <a:lnTo>
                        <a:pt x="469" y="189"/>
                      </a:lnTo>
                      <a:lnTo>
                        <a:pt x="467" y="189"/>
                      </a:lnTo>
                      <a:lnTo>
                        <a:pt x="466" y="190"/>
                      </a:lnTo>
                      <a:lnTo>
                        <a:pt x="466" y="192"/>
                      </a:lnTo>
                      <a:lnTo>
                        <a:pt x="467" y="193"/>
                      </a:lnTo>
                      <a:lnTo>
                        <a:pt x="467" y="195"/>
                      </a:lnTo>
                      <a:lnTo>
                        <a:pt x="466" y="195"/>
                      </a:lnTo>
                      <a:lnTo>
                        <a:pt x="467" y="195"/>
                      </a:lnTo>
                      <a:lnTo>
                        <a:pt x="466" y="195"/>
                      </a:lnTo>
                      <a:lnTo>
                        <a:pt x="466" y="197"/>
                      </a:lnTo>
                      <a:lnTo>
                        <a:pt x="467" y="197"/>
                      </a:lnTo>
                      <a:lnTo>
                        <a:pt x="467" y="198"/>
                      </a:lnTo>
                      <a:lnTo>
                        <a:pt x="466" y="198"/>
                      </a:lnTo>
                      <a:lnTo>
                        <a:pt x="466" y="197"/>
                      </a:lnTo>
                      <a:lnTo>
                        <a:pt x="466" y="198"/>
                      </a:lnTo>
                      <a:lnTo>
                        <a:pt x="464" y="198"/>
                      </a:lnTo>
                      <a:lnTo>
                        <a:pt x="464" y="200"/>
                      </a:lnTo>
                      <a:lnTo>
                        <a:pt x="462" y="200"/>
                      </a:lnTo>
                      <a:lnTo>
                        <a:pt x="462" y="202"/>
                      </a:lnTo>
                      <a:lnTo>
                        <a:pt x="462" y="203"/>
                      </a:lnTo>
                      <a:lnTo>
                        <a:pt x="462" y="205"/>
                      </a:lnTo>
                      <a:lnTo>
                        <a:pt x="462" y="207"/>
                      </a:lnTo>
                      <a:lnTo>
                        <a:pt x="461" y="207"/>
                      </a:lnTo>
                      <a:lnTo>
                        <a:pt x="462" y="207"/>
                      </a:lnTo>
                      <a:lnTo>
                        <a:pt x="462" y="208"/>
                      </a:lnTo>
                      <a:lnTo>
                        <a:pt x="462" y="210"/>
                      </a:lnTo>
                      <a:lnTo>
                        <a:pt x="461" y="212"/>
                      </a:lnTo>
                      <a:lnTo>
                        <a:pt x="462" y="212"/>
                      </a:lnTo>
                      <a:lnTo>
                        <a:pt x="462" y="213"/>
                      </a:lnTo>
                      <a:lnTo>
                        <a:pt x="461" y="213"/>
                      </a:lnTo>
                      <a:lnTo>
                        <a:pt x="459" y="215"/>
                      </a:lnTo>
                      <a:lnTo>
                        <a:pt x="459" y="216"/>
                      </a:lnTo>
                      <a:lnTo>
                        <a:pt x="461" y="216"/>
                      </a:lnTo>
                      <a:lnTo>
                        <a:pt x="461" y="218"/>
                      </a:lnTo>
                      <a:lnTo>
                        <a:pt x="459" y="220"/>
                      </a:lnTo>
                      <a:lnTo>
                        <a:pt x="459" y="221"/>
                      </a:lnTo>
                      <a:lnTo>
                        <a:pt x="459" y="223"/>
                      </a:lnTo>
                      <a:lnTo>
                        <a:pt x="459" y="226"/>
                      </a:lnTo>
                      <a:lnTo>
                        <a:pt x="459" y="228"/>
                      </a:lnTo>
                      <a:lnTo>
                        <a:pt x="459" y="230"/>
                      </a:lnTo>
                      <a:lnTo>
                        <a:pt x="459" y="231"/>
                      </a:lnTo>
                      <a:lnTo>
                        <a:pt x="459" y="233"/>
                      </a:lnTo>
                      <a:lnTo>
                        <a:pt x="459" y="234"/>
                      </a:lnTo>
                      <a:lnTo>
                        <a:pt x="459" y="236"/>
                      </a:lnTo>
                      <a:lnTo>
                        <a:pt x="459" y="238"/>
                      </a:lnTo>
                      <a:lnTo>
                        <a:pt x="461" y="238"/>
                      </a:lnTo>
                      <a:lnTo>
                        <a:pt x="461" y="239"/>
                      </a:lnTo>
                      <a:lnTo>
                        <a:pt x="461" y="241"/>
                      </a:lnTo>
                      <a:lnTo>
                        <a:pt x="461" y="243"/>
                      </a:lnTo>
                      <a:lnTo>
                        <a:pt x="461" y="244"/>
                      </a:lnTo>
                      <a:lnTo>
                        <a:pt x="462" y="244"/>
                      </a:lnTo>
                      <a:lnTo>
                        <a:pt x="461" y="244"/>
                      </a:lnTo>
                      <a:lnTo>
                        <a:pt x="461" y="246"/>
                      </a:lnTo>
                      <a:lnTo>
                        <a:pt x="462" y="246"/>
                      </a:lnTo>
                      <a:lnTo>
                        <a:pt x="464" y="246"/>
                      </a:lnTo>
                      <a:lnTo>
                        <a:pt x="464" y="248"/>
                      </a:lnTo>
                      <a:lnTo>
                        <a:pt x="464" y="249"/>
                      </a:lnTo>
                      <a:lnTo>
                        <a:pt x="464" y="251"/>
                      </a:lnTo>
                      <a:lnTo>
                        <a:pt x="466" y="251"/>
                      </a:lnTo>
                      <a:lnTo>
                        <a:pt x="466" y="253"/>
                      </a:lnTo>
                      <a:lnTo>
                        <a:pt x="466" y="254"/>
                      </a:lnTo>
                      <a:lnTo>
                        <a:pt x="467" y="256"/>
                      </a:lnTo>
                      <a:lnTo>
                        <a:pt x="467" y="257"/>
                      </a:lnTo>
                      <a:lnTo>
                        <a:pt x="467" y="259"/>
                      </a:lnTo>
                      <a:lnTo>
                        <a:pt x="467" y="261"/>
                      </a:lnTo>
                      <a:lnTo>
                        <a:pt x="469" y="261"/>
                      </a:lnTo>
                      <a:lnTo>
                        <a:pt x="467" y="261"/>
                      </a:lnTo>
                      <a:lnTo>
                        <a:pt x="467" y="262"/>
                      </a:lnTo>
                      <a:lnTo>
                        <a:pt x="467" y="264"/>
                      </a:lnTo>
                      <a:lnTo>
                        <a:pt x="467" y="266"/>
                      </a:lnTo>
                      <a:lnTo>
                        <a:pt x="467" y="267"/>
                      </a:lnTo>
                      <a:lnTo>
                        <a:pt x="469" y="267"/>
                      </a:lnTo>
                      <a:lnTo>
                        <a:pt x="471" y="267"/>
                      </a:lnTo>
                      <a:lnTo>
                        <a:pt x="471" y="269"/>
                      </a:lnTo>
                      <a:lnTo>
                        <a:pt x="473" y="269"/>
                      </a:lnTo>
                      <a:lnTo>
                        <a:pt x="473" y="271"/>
                      </a:lnTo>
                      <a:lnTo>
                        <a:pt x="474" y="271"/>
                      </a:lnTo>
                      <a:lnTo>
                        <a:pt x="476" y="271"/>
                      </a:lnTo>
                      <a:lnTo>
                        <a:pt x="476" y="272"/>
                      </a:lnTo>
                      <a:lnTo>
                        <a:pt x="476" y="274"/>
                      </a:lnTo>
                      <a:lnTo>
                        <a:pt x="478" y="274"/>
                      </a:lnTo>
                      <a:lnTo>
                        <a:pt x="479" y="274"/>
                      </a:lnTo>
                      <a:lnTo>
                        <a:pt x="481" y="274"/>
                      </a:lnTo>
                      <a:lnTo>
                        <a:pt x="483" y="274"/>
                      </a:lnTo>
                      <a:lnTo>
                        <a:pt x="484" y="274"/>
                      </a:lnTo>
                      <a:lnTo>
                        <a:pt x="484" y="276"/>
                      </a:lnTo>
                      <a:lnTo>
                        <a:pt x="484" y="277"/>
                      </a:lnTo>
                      <a:lnTo>
                        <a:pt x="484" y="279"/>
                      </a:lnTo>
                      <a:lnTo>
                        <a:pt x="484" y="280"/>
                      </a:lnTo>
                      <a:lnTo>
                        <a:pt x="484" y="282"/>
                      </a:lnTo>
                      <a:lnTo>
                        <a:pt x="483" y="282"/>
                      </a:lnTo>
                      <a:lnTo>
                        <a:pt x="484" y="282"/>
                      </a:lnTo>
                      <a:lnTo>
                        <a:pt x="483" y="284"/>
                      </a:lnTo>
                      <a:lnTo>
                        <a:pt x="483" y="285"/>
                      </a:lnTo>
                      <a:lnTo>
                        <a:pt x="483" y="287"/>
                      </a:lnTo>
                      <a:lnTo>
                        <a:pt x="484" y="287"/>
                      </a:lnTo>
                      <a:lnTo>
                        <a:pt x="484" y="289"/>
                      </a:lnTo>
                      <a:lnTo>
                        <a:pt x="484" y="290"/>
                      </a:lnTo>
                      <a:lnTo>
                        <a:pt x="484" y="292"/>
                      </a:lnTo>
                      <a:lnTo>
                        <a:pt x="483" y="292"/>
                      </a:lnTo>
                      <a:lnTo>
                        <a:pt x="483" y="294"/>
                      </a:lnTo>
                      <a:lnTo>
                        <a:pt x="483" y="295"/>
                      </a:lnTo>
                      <a:lnTo>
                        <a:pt x="483" y="297"/>
                      </a:lnTo>
                      <a:lnTo>
                        <a:pt x="484" y="297"/>
                      </a:lnTo>
                      <a:lnTo>
                        <a:pt x="483" y="297"/>
                      </a:lnTo>
                      <a:lnTo>
                        <a:pt x="484" y="297"/>
                      </a:lnTo>
                      <a:lnTo>
                        <a:pt x="484" y="299"/>
                      </a:lnTo>
                      <a:lnTo>
                        <a:pt x="483" y="299"/>
                      </a:lnTo>
                      <a:lnTo>
                        <a:pt x="483" y="300"/>
                      </a:lnTo>
                      <a:lnTo>
                        <a:pt x="483" y="302"/>
                      </a:lnTo>
                      <a:lnTo>
                        <a:pt x="483" y="303"/>
                      </a:lnTo>
                      <a:lnTo>
                        <a:pt x="483" y="305"/>
                      </a:lnTo>
                      <a:lnTo>
                        <a:pt x="483" y="307"/>
                      </a:lnTo>
                      <a:lnTo>
                        <a:pt x="481" y="307"/>
                      </a:lnTo>
                      <a:lnTo>
                        <a:pt x="481" y="308"/>
                      </a:lnTo>
                      <a:lnTo>
                        <a:pt x="481" y="310"/>
                      </a:lnTo>
                      <a:lnTo>
                        <a:pt x="481" y="312"/>
                      </a:lnTo>
                      <a:lnTo>
                        <a:pt x="483" y="312"/>
                      </a:lnTo>
                      <a:lnTo>
                        <a:pt x="481" y="312"/>
                      </a:lnTo>
                      <a:lnTo>
                        <a:pt x="481" y="313"/>
                      </a:lnTo>
                      <a:lnTo>
                        <a:pt x="483" y="313"/>
                      </a:lnTo>
                      <a:lnTo>
                        <a:pt x="483" y="315"/>
                      </a:lnTo>
                      <a:lnTo>
                        <a:pt x="484" y="315"/>
                      </a:lnTo>
                      <a:lnTo>
                        <a:pt x="486" y="313"/>
                      </a:lnTo>
                      <a:lnTo>
                        <a:pt x="488" y="313"/>
                      </a:lnTo>
                      <a:lnTo>
                        <a:pt x="488" y="315"/>
                      </a:lnTo>
                      <a:lnTo>
                        <a:pt x="489" y="315"/>
                      </a:lnTo>
                      <a:lnTo>
                        <a:pt x="489" y="313"/>
                      </a:lnTo>
                      <a:lnTo>
                        <a:pt x="491" y="313"/>
                      </a:lnTo>
                      <a:lnTo>
                        <a:pt x="491" y="315"/>
                      </a:lnTo>
                      <a:lnTo>
                        <a:pt x="491" y="317"/>
                      </a:lnTo>
                      <a:lnTo>
                        <a:pt x="491" y="318"/>
                      </a:lnTo>
                      <a:lnTo>
                        <a:pt x="489" y="318"/>
                      </a:lnTo>
                      <a:lnTo>
                        <a:pt x="488" y="318"/>
                      </a:lnTo>
                      <a:lnTo>
                        <a:pt x="488" y="320"/>
                      </a:lnTo>
                      <a:lnTo>
                        <a:pt x="488" y="322"/>
                      </a:lnTo>
                      <a:lnTo>
                        <a:pt x="488" y="323"/>
                      </a:lnTo>
                      <a:lnTo>
                        <a:pt x="489" y="323"/>
                      </a:lnTo>
                      <a:lnTo>
                        <a:pt x="489" y="325"/>
                      </a:lnTo>
                      <a:lnTo>
                        <a:pt x="491" y="325"/>
                      </a:lnTo>
                      <a:lnTo>
                        <a:pt x="493" y="325"/>
                      </a:lnTo>
                      <a:lnTo>
                        <a:pt x="493" y="326"/>
                      </a:lnTo>
                      <a:lnTo>
                        <a:pt x="495" y="326"/>
                      </a:lnTo>
                      <a:lnTo>
                        <a:pt x="496" y="326"/>
                      </a:lnTo>
                      <a:lnTo>
                        <a:pt x="498" y="326"/>
                      </a:lnTo>
                      <a:lnTo>
                        <a:pt x="498" y="325"/>
                      </a:lnTo>
                      <a:lnTo>
                        <a:pt x="500" y="325"/>
                      </a:lnTo>
                      <a:lnTo>
                        <a:pt x="500" y="326"/>
                      </a:lnTo>
                      <a:lnTo>
                        <a:pt x="501" y="325"/>
                      </a:lnTo>
                      <a:lnTo>
                        <a:pt x="501" y="326"/>
                      </a:lnTo>
                      <a:lnTo>
                        <a:pt x="503" y="326"/>
                      </a:lnTo>
                      <a:lnTo>
                        <a:pt x="503" y="328"/>
                      </a:lnTo>
                      <a:lnTo>
                        <a:pt x="503" y="330"/>
                      </a:lnTo>
                      <a:lnTo>
                        <a:pt x="505" y="330"/>
                      </a:lnTo>
                      <a:lnTo>
                        <a:pt x="505" y="331"/>
                      </a:lnTo>
                      <a:lnTo>
                        <a:pt x="505" y="330"/>
                      </a:lnTo>
                      <a:lnTo>
                        <a:pt x="506" y="330"/>
                      </a:lnTo>
                      <a:lnTo>
                        <a:pt x="506" y="331"/>
                      </a:lnTo>
                      <a:lnTo>
                        <a:pt x="506" y="333"/>
                      </a:lnTo>
                      <a:lnTo>
                        <a:pt x="506" y="335"/>
                      </a:lnTo>
                      <a:lnTo>
                        <a:pt x="508" y="335"/>
                      </a:lnTo>
                      <a:lnTo>
                        <a:pt x="508" y="336"/>
                      </a:lnTo>
                      <a:lnTo>
                        <a:pt x="510" y="336"/>
                      </a:lnTo>
                      <a:lnTo>
                        <a:pt x="511" y="336"/>
                      </a:lnTo>
                      <a:lnTo>
                        <a:pt x="511" y="338"/>
                      </a:lnTo>
                      <a:lnTo>
                        <a:pt x="513" y="338"/>
                      </a:lnTo>
                      <a:lnTo>
                        <a:pt x="513" y="340"/>
                      </a:lnTo>
                      <a:lnTo>
                        <a:pt x="511" y="340"/>
                      </a:lnTo>
                      <a:lnTo>
                        <a:pt x="511" y="341"/>
                      </a:lnTo>
                      <a:lnTo>
                        <a:pt x="513" y="341"/>
                      </a:lnTo>
                      <a:lnTo>
                        <a:pt x="515" y="341"/>
                      </a:lnTo>
                      <a:lnTo>
                        <a:pt x="515" y="343"/>
                      </a:lnTo>
                      <a:lnTo>
                        <a:pt x="516" y="345"/>
                      </a:lnTo>
                      <a:lnTo>
                        <a:pt x="516" y="346"/>
                      </a:lnTo>
                      <a:lnTo>
                        <a:pt x="518" y="346"/>
                      </a:lnTo>
                      <a:lnTo>
                        <a:pt x="518" y="345"/>
                      </a:lnTo>
                      <a:lnTo>
                        <a:pt x="520" y="345"/>
                      </a:lnTo>
                      <a:lnTo>
                        <a:pt x="522" y="346"/>
                      </a:lnTo>
                      <a:lnTo>
                        <a:pt x="522" y="348"/>
                      </a:lnTo>
                      <a:lnTo>
                        <a:pt x="522" y="349"/>
                      </a:lnTo>
                      <a:lnTo>
                        <a:pt x="523" y="351"/>
                      </a:lnTo>
                      <a:lnTo>
                        <a:pt x="523" y="349"/>
                      </a:lnTo>
                      <a:lnTo>
                        <a:pt x="525" y="349"/>
                      </a:lnTo>
                      <a:lnTo>
                        <a:pt x="525" y="351"/>
                      </a:lnTo>
                      <a:lnTo>
                        <a:pt x="527" y="351"/>
                      </a:lnTo>
                      <a:lnTo>
                        <a:pt x="525" y="351"/>
                      </a:lnTo>
                      <a:lnTo>
                        <a:pt x="525" y="353"/>
                      </a:lnTo>
                      <a:lnTo>
                        <a:pt x="527" y="353"/>
                      </a:lnTo>
                      <a:lnTo>
                        <a:pt x="527" y="354"/>
                      </a:lnTo>
                      <a:lnTo>
                        <a:pt x="527" y="356"/>
                      </a:lnTo>
                      <a:lnTo>
                        <a:pt x="528" y="356"/>
                      </a:lnTo>
                      <a:lnTo>
                        <a:pt x="528" y="358"/>
                      </a:lnTo>
                      <a:lnTo>
                        <a:pt x="530" y="358"/>
                      </a:lnTo>
                      <a:lnTo>
                        <a:pt x="532" y="358"/>
                      </a:lnTo>
                      <a:lnTo>
                        <a:pt x="533" y="358"/>
                      </a:lnTo>
                      <a:lnTo>
                        <a:pt x="533" y="359"/>
                      </a:lnTo>
                      <a:lnTo>
                        <a:pt x="533" y="358"/>
                      </a:lnTo>
                      <a:lnTo>
                        <a:pt x="535" y="358"/>
                      </a:lnTo>
                      <a:lnTo>
                        <a:pt x="535" y="359"/>
                      </a:lnTo>
                      <a:lnTo>
                        <a:pt x="537" y="359"/>
                      </a:lnTo>
                      <a:lnTo>
                        <a:pt x="538" y="361"/>
                      </a:lnTo>
                      <a:lnTo>
                        <a:pt x="540" y="361"/>
                      </a:lnTo>
                      <a:lnTo>
                        <a:pt x="542" y="361"/>
                      </a:lnTo>
                      <a:lnTo>
                        <a:pt x="543" y="361"/>
                      </a:lnTo>
                      <a:lnTo>
                        <a:pt x="545" y="361"/>
                      </a:lnTo>
                      <a:lnTo>
                        <a:pt x="545" y="363"/>
                      </a:lnTo>
                      <a:lnTo>
                        <a:pt x="547" y="363"/>
                      </a:lnTo>
                      <a:lnTo>
                        <a:pt x="549" y="363"/>
                      </a:lnTo>
                      <a:lnTo>
                        <a:pt x="550" y="363"/>
                      </a:lnTo>
                      <a:lnTo>
                        <a:pt x="552" y="363"/>
                      </a:lnTo>
                      <a:lnTo>
                        <a:pt x="554" y="363"/>
                      </a:lnTo>
                      <a:lnTo>
                        <a:pt x="554" y="364"/>
                      </a:lnTo>
                      <a:lnTo>
                        <a:pt x="555" y="364"/>
                      </a:lnTo>
                      <a:lnTo>
                        <a:pt x="557" y="364"/>
                      </a:lnTo>
                      <a:lnTo>
                        <a:pt x="559" y="364"/>
                      </a:lnTo>
                      <a:lnTo>
                        <a:pt x="560" y="364"/>
                      </a:lnTo>
                      <a:lnTo>
                        <a:pt x="560" y="366"/>
                      </a:lnTo>
                      <a:lnTo>
                        <a:pt x="562" y="368"/>
                      </a:lnTo>
                      <a:lnTo>
                        <a:pt x="564" y="368"/>
                      </a:lnTo>
                      <a:lnTo>
                        <a:pt x="564" y="369"/>
                      </a:lnTo>
                      <a:lnTo>
                        <a:pt x="562" y="369"/>
                      </a:lnTo>
                      <a:lnTo>
                        <a:pt x="562" y="371"/>
                      </a:lnTo>
                      <a:lnTo>
                        <a:pt x="560" y="371"/>
                      </a:lnTo>
                      <a:lnTo>
                        <a:pt x="562" y="371"/>
                      </a:lnTo>
                      <a:lnTo>
                        <a:pt x="562" y="372"/>
                      </a:lnTo>
                      <a:lnTo>
                        <a:pt x="562" y="461"/>
                      </a:lnTo>
                      <a:lnTo>
                        <a:pt x="535" y="461"/>
                      </a:lnTo>
                      <a:lnTo>
                        <a:pt x="454" y="461"/>
                      </a:lnTo>
                      <a:lnTo>
                        <a:pt x="454" y="463"/>
                      </a:lnTo>
                      <a:lnTo>
                        <a:pt x="454" y="464"/>
                      </a:lnTo>
                      <a:lnTo>
                        <a:pt x="452" y="468"/>
                      </a:lnTo>
                      <a:lnTo>
                        <a:pt x="452" y="469"/>
                      </a:lnTo>
                      <a:lnTo>
                        <a:pt x="451" y="471"/>
                      </a:lnTo>
                      <a:lnTo>
                        <a:pt x="449" y="473"/>
                      </a:lnTo>
                      <a:lnTo>
                        <a:pt x="447" y="473"/>
                      </a:lnTo>
                      <a:lnTo>
                        <a:pt x="447" y="474"/>
                      </a:lnTo>
                      <a:lnTo>
                        <a:pt x="446" y="476"/>
                      </a:lnTo>
                      <a:lnTo>
                        <a:pt x="446" y="478"/>
                      </a:lnTo>
                      <a:lnTo>
                        <a:pt x="446" y="479"/>
                      </a:lnTo>
                      <a:lnTo>
                        <a:pt x="444" y="481"/>
                      </a:lnTo>
                      <a:lnTo>
                        <a:pt x="446" y="482"/>
                      </a:lnTo>
                      <a:lnTo>
                        <a:pt x="444" y="482"/>
                      </a:lnTo>
                      <a:lnTo>
                        <a:pt x="442" y="484"/>
                      </a:lnTo>
                      <a:lnTo>
                        <a:pt x="442" y="486"/>
                      </a:lnTo>
                      <a:lnTo>
                        <a:pt x="440" y="486"/>
                      </a:lnTo>
                      <a:lnTo>
                        <a:pt x="440" y="487"/>
                      </a:lnTo>
                      <a:lnTo>
                        <a:pt x="439" y="487"/>
                      </a:lnTo>
                      <a:lnTo>
                        <a:pt x="439" y="489"/>
                      </a:lnTo>
                      <a:lnTo>
                        <a:pt x="439" y="491"/>
                      </a:lnTo>
                      <a:lnTo>
                        <a:pt x="437" y="492"/>
                      </a:lnTo>
                      <a:lnTo>
                        <a:pt x="437" y="494"/>
                      </a:lnTo>
                      <a:lnTo>
                        <a:pt x="435" y="496"/>
                      </a:lnTo>
                      <a:lnTo>
                        <a:pt x="437" y="496"/>
                      </a:lnTo>
                      <a:lnTo>
                        <a:pt x="437" y="497"/>
                      </a:lnTo>
                      <a:lnTo>
                        <a:pt x="437" y="499"/>
                      </a:lnTo>
                      <a:lnTo>
                        <a:pt x="435" y="499"/>
                      </a:lnTo>
                      <a:lnTo>
                        <a:pt x="434" y="501"/>
                      </a:lnTo>
                      <a:lnTo>
                        <a:pt x="432" y="502"/>
                      </a:lnTo>
                      <a:lnTo>
                        <a:pt x="434" y="502"/>
                      </a:lnTo>
                      <a:lnTo>
                        <a:pt x="432" y="502"/>
                      </a:lnTo>
                      <a:lnTo>
                        <a:pt x="432" y="504"/>
                      </a:lnTo>
                      <a:lnTo>
                        <a:pt x="430" y="504"/>
                      </a:lnTo>
                      <a:lnTo>
                        <a:pt x="430" y="505"/>
                      </a:lnTo>
                      <a:lnTo>
                        <a:pt x="430" y="509"/>
                      </a:lnTo>
                      <a:lnTo>
                        <a:pt x="429" y="509"/>
                      </a:lnTo>
                      <a:lnTo>
                        <a:pt x="429" y="510"/>
                      </a:lnTo>
                      <a:lnTo>
                        <a:pt x="430" y="510"/>
                      </a:lnTo>
                      <a:lnTo>
                        <a:pt x="430" y="512"/>
                      </a:lnTo>
                      <a:lnTo>
                        <a:pt x="429" y="514"/>
                      </a:lnTo>
                      <a:lnTo>
                        <a:pt x="429" y="515"/>
                      </a:lnTo>
                      <a:lnTo>
                        <a:pt x="427" y="515"/>
                      </a:lnTo>
                      <a:lnTo>
                        <a:pt x="429" y="517"/>
                      </a:lnTo>
                      <a:lnTo>
                        <a:pt x="429" y="519"/>
                      </a:lnTo>
                      <a:lnTo>
                        <a:pt x="427" y="519"/>
                      </a:lnTo>
                      <a:lnTo>
                        <a:pt x="427" y="520"/>
                      </a:lnTo>
                      <a:lnTo>
                        <a:pt x="425" y="522"/>
                      </a:lnTo>
                      <a:lnTo>
                        <a:pt x="425" y="524"/>
                      </a:lnTo>
                      <a:lnTo>
                        <a:pt x="425" y="525"/>
                      </a:lnTo>
                      <a:lnTo>
                        <a:pt x="425" y="527"/>
                      </a:lnTo>
                      <a:lnTo>
                        <a:pt x="424" y="527"/>
                      </a:lnTo>
                      <a:lnTo>
                        <a:pt x="422" y="528"/>
                      </a:lnTo>
                      <a:lnTo>
                        <a:pt x="422" y="530"/>
                      </a:lnTo>
                      <a:lnTo>
                        <a:pt x="420" y="530"/>
                      </a:lnTo>
                      <a:lnTo>
                        <a:pt x="420" y="532"/>
                      </a:lnTo>
                      <a:lnTo>
                        <a:pt x="420" y="533"/>
                      </a:lnTo>
                      <a:lnTo>
                        <a:pt x="420" y="535"/>
                      </a:lnTo>
                      <a:lnTo>
                        <a:pt x="420" y="537"/>
                      </a:lnTo>
                      <a:lnTo>
                        <a:pt x="422" y="537"/>
                      </a:lnTo>
                      <a:lnTo>
                        <a:pt x="422" y="538"/>
                      </a:lnTo>
                      <a:lnTo>
                        <a:pt x="422" y="540"/>
                      </a:lnTo>
                      <a:lnTo>
                        <a:pt x="424" y="540"/>
                      </a:lnTo>
                      <a:lnTo>
                        <a:pt x="424" y="542"/>
                      </a:lnTo>
                      <a:lnTo>
                        <a:pt x="425" y="542"/>
                      </a:lnTo>
                      <a:lnTo>
                        <a:pt x="425" y="543"/>
                      </a:lnTo>
                      <a:lnTo>
                        <a:pt x="427" y="543"/>
                      </a:lnTo>
                      <a:lnTo>
                        <a:pt x="429" y="545"/>
                      </a:lnTo>
                      <a:lnTo>
                        <a:pt x="429" y="547"/>
                      </a:lnTo>
                      <a:lnTo>
                        <a:pt x="429" y="548"/>
                      </a:lnTo>
                      <a:lnTo>
                        <a:pt x="429" y="550"/>
                      </a:lnTo>
                      <a:lnTo>
                        <a:pt x="429" y="551"/>
                      </a:lnTo>
                      <a:lnTo>
                        <a:pt x="425" y="553"/>
                      </a:lnTo>
                      <a:lnTo>
                        <a:pt x="422" y="553"/>
                      </a:lnTo>
                      <a:lnTo>
                        <a:pt x="422" y="555"/>
                      </a:lnTo>
                      <a:lnTo>
                        <a:pt x="420" y="555"/>
                      </a:lnTo>
                      <a:lnTo>
                        <a:pt x="419" y="555"/>
                      </a:lnTo>
                      <a:lnTo>
                        <a:pt x="419" y="556"/>
                      </a:lnTo>
                      <a:lnTo>
                        <a:pt x="417" y="556"/>
                      </a:lnTo>
                      <a:lnTo>
                        <a:pt x="415" y="556"/>
                      </a:lnTo>
                      <a:lnTo>
                        <a:pt x="413" y="556"/>
                      </a:lnTo>
                      <a:lnTo>
                        <a:pt x="412" y="556"/>
                      </a:lnTo>
                      <a:lnTo>
                        <a:pt x="410" y="558"/>
                      </a:lnTo>
                      <a:lnTo>
                        <a:pt x="412" y="558"/>
                      </a:lnTo>
                      <a:lnTo>
                        <a:pt x="412" y="560"/>
                      </a:lnTo>
                      <a:lnTo>
                        <a:pt x="410" y="561"/>
                      </a:lnTo>
                      <a:lnTo>
                        <a:pt x="408" y="561"/>
                      </a:lnTo>
                      <a:lnTo>
                        <a:pt x="410" y="563"/>
                      </a:lnTo>
                      <a:lnTo>
                        <a:pt x="410" y="565"/>
                      </a:lnTo>
                      <a:lnTo>
                        <a:pt x="408" y="565"/>
                      </a:lnTo>
                      <a:lnTo>
                        <a:pt x="408" y="566"/>
                      </a:lnTo>
                      <a:lnTo>
                        <a:pt x="407" y="566"/>
                      </a:lnTo>
                      <a:lnTo>
                        <a:pt x="407" y="565"/>
                      </a:lnTo>
                      <a:lnTo>
                        <a:pt x="405" y="565"/>
                      </a:lnTo>
                      <a:lnTo>
                        <a:pt x="403" y="565"/>
                      </a:lnTo>
                      <a:lnTo>
                        <a:pt x="402" y="563"/>
                      </a:lnTo>
                      <a:lnTo>
                        <a:pt x="402" y="565"/>
                      </a:lnTo>
                      <a:lnTo>
                        <a:pt x="402" y="566"/>
                      </a:lnTo>
                      <a:lnTo>
                        <a:pt x="400" y="565"/>
                      </a:lnTo>
                      <a:lnTo>
                        <a:pt x="398" y="565"/>
                      </a:lnTo>
                      <a:lnTo>
                        <a:pt x="398" y="566"/>
                      </a:lnTo>
                      <a:lnTo>
                        <a:pt x="397" y="566"/>
                      </a:lnTo>
                      <a:lnTo>
                        <a:pt x="395" y="566"/>
                      </a:lnTo>
                      <a:lnTo>
                        <a:pt x="395" y="568"/>
                      </a:lnTo>
                      <a:lnTo>
                        <a:pt x="395" y="566"/>
                      </a:lnTo>
                      <a:lnTo>
                        <a:pt x="393" y="566"/>
                      </a:lnTo>
                      <a:lnTo>
                        <a:pt x="391" y="565"/>
                      </a:lnTo>
                      <a:lnTo>
                        <a:pt x="390" y="565"/>
                      </a:lnTo>
                      <a:lnTo>
                        <a:pt x="388" y="565"/>
                      </a:lnTo>
                      <a:lnTo>
                        <a:pt x="386" y="565"/>
                      </a:lnTo>
                      <a:lnTo>
                        <a:pt x="386" y="563"/>
                      </a:lnTo>
                      <a:lnTo>
                        <a:pt x="386" y="561"/>
                      </a:lnTo>
                      <a:lnTo>
                        <a:pt x="386" y="560"/>
                      </a:lnTo>
                      <a:lnTo>
                        <a:pt x="386" y="558"/>
                      </a:lnTo>
                      <a:lnTo>
                        <a:pt x="385" y="558"/>
                      </a:lnTo>
                      <a:lnTo>
                        <a:pt x="385" y="556"/>
                      </a:lnTo>
                      <a:lnTo>
                        <a:pt x="386" y="555"/>
                      </a:lnTo>
                      <a:lnTo>
                        <a:pt x="385" y="555"/>
                      </a:lnTo>
                      <a:lnTo>
                        <a:pt x="383" y="553"/>
                      </a:lnTo>
                      <a:lnTo>
                        <a:pt x="381" y="553"/>
                      </a:lnTo>
                      <a:lnTo>
                        <a:pt x="383" y="551"/>
                      </a:lnTo>
                      <a:lnTo>
                        <a:pt x="383" y="550"/>
                      </a:lnTo>
                      <a:lnTo>
                        <a:pt x="381" y="548"/>
                      </a:lnTo>
                      <a:lnTo>
                        <a:pt x="380" y="548"/>
                      </a:lnTo>
                      <a:lnTo>
                        <a:pt x="378" y="548"/>
                      </a:lnTo>
                      <a:lnTo>
                        <a:pt x="378" y="547"/>
                      </a:lnTo>
                      <a:lnTo>
                        <a:pt x="378" y="545"/>
                      </a:lnTo>
                      <a:lnTo>
                        <a:pt x="376" y="545"/>
                      </a:lnTo>
                      <a:lnTo>
                        <a:pt x="375" y="545"/>
                      </a:lnTo>
                      <a:lnTo>
                        <a:pt x="373" y="545"/>
                      </a:lnTo>
                      <a:lnTo>
                        <a:pt x="373" y="543"/>
                      </a:lnTo>
                      <a:lnTo>
                        <a:pt x="371" y="543"/>
                      </a:lnTo>
                      <a:lnTo>
                        <a:pt x="371" y="542"/>
                      </a:lnTo>
                      <a:lnTo>
                        <a:pt x="371" y="540"/>
                      </a:lnTo>
                      <a:lnTo>
                        <a:pt x="371" y="538"/>
                      </a:lnTo>
                      <a:lnTo>
                        <a:pt x="371" y="537"/>
                      </a:lnTo>
                      <a:lnTo>
                        <a:pt x="370" y="537"/>
                      </a:lnTo>
                      <a:lnTo>
                        <a:pt x="368" y="537"/>
                      </a:lnTo>
                      <a:lnTo>
                        <a:pt x="366" y="537"/>
                      </a:lnTo>
                      <a:lnTo>
                        <a:pt x="363" y="537"/>
                      </a:lnTo>
                      <a:lnTo>
                        <a:pt x="361" y="535"/>
                      </a:lnTo>
                      <a:lnTo>
                        <a:pt x="359" y="535"/>
                      </a:lnTo>
                      <a:lnTo>
                        <a:pt x="358" y="535"/>
                      </a:lnTo>
                      <a:lnTo>
                        <a:pt x="358" y="533"/>
                      </a:lnTo>
                      <a:lnTo>
                        <a:pt x="358" y="532"/>
                      </a:lnTo>
                      <a:lnTo>
                        <a:pt x="356" y="532"/>
                      </a:lnTo>
                      <a:lnTo>
                        <a:pt x="354" y="532"/>
                      </a:lnTo>
                      <a:lnTo>
                        <a:pt x="353" y="532"/>
                      </a:lnTo>
                      <a:lnTo>
                        <a:pt x="351" y="530"/>
                      </a:lnTo>
                      <a:lnTo>
                        <a:pt x="349" y="532"/>
                      </a:lnTo>
                      <a:lnTo>
                        <a:pt x="348" y="532"/>
                      </a:lnTo>
                      <a:lnTo>
                        <a:pt x="346" y="532"/>
                      </a:lnTo>
                      <a:lnTo>
                        <a:pt x="344" y="532"/>
                      </a:lnTo>
                      <a:lnTo>
                        <a:pt x="342" y="532"/>
                      </a:lnTo>
                      <a:lnTo>
                        <a:pt x="342" y="533"/>
                      </a:lnTo>
                      <a:lnTo>
                        <a:pt x="342" y="535"/>
                      </a:lnTo>
                      <a:lnTo>
                        <a:pt x="342" y="537"/>
                      </a:lnTo>
                      <a:lnTo>
                        <a:pt x="341" y="537"/>
                      </a:lnTo>
                      <a:lnTo>
                        <a:pt x="339" y="538"/>
                      </a:lnTo>
                      <a:lnTo>
                        <a:pt x="337" y="538"/>
                      </a:lnTo>
                      <a:lnTo>
                        <a:pt x="336" y="538"/>
                      </a:lnTo>
                      <a:lnTo>
                        <a:pt x="334" y="538"/>
                      </a:lnTo>
                      <a:lnTo>
                        <a:pt x="334" y="540"/>
                      </a:lnTo>
                      <a:lnTo>
                        <a:pt x="332" y="540"/>
                      </a:lnTo>
                      <a:lnTo>
                        <a:pt x="331" y="540"/>
                      </a:lnTo>
                      <a:lnTo>
                        <a:pt x="329" y="540"/>
                      </a:lnTo>
                      <a:lnTo>
                        <a:pt x="329" y="542"/>
                      </a:lnTo>
                      <a:lnTo>
                        <a:pt x="326" y="542"/>
                      </a:lnTo>
                      <a:lnTo>
                        <a:pt x="324" y="543"/>
                      </a:lnTo>
                      <a:lnTo>
                        <a:pt x="322" y="543"/>
                      </a:lnTo>
                      <a:lnTo>
                        <a:pt x="322" y="545"/>
                      </a:lnTo>
                      <a:lnTo>
                        <a:pt x="321" y="545"/>
                      </a:lnTo>
                      <a:lnTo>
                        <a:pt x="319" y="547"/>
                      </a:lnTo>
                      <a:lnTo>
                        <a:pt x="319" y="548"/>
                      </a:lnTo>
                      <a:lnTo>
                        <a:pt x="319" y="550"/>
                      </a:lnTo>
                      <a:lnTo>
                        <a:pt x="317" y="551"/>
                      </a:lnTo>
                      <a:lnTo>
                        <a:pt x="315" y="553"/>
                      </a:lnTo>
                      <a:lnTo>
                        <a:pt x="314" y="553"/>
                      </a:lnTo>
                      <a:lnTo>
                        <a:pt x="312" y="555"/>
                      </a:lnTo>
                      <a:lnTo>
                        <a:pt x="312" y="556"/>
                      </a:lnTo>
                      <a:lnTo>
                        <a:pt x="310" y="560"/>
                      </a:lnTo>
                      <a:lnTo>
                        <a:pt x="310" y="561"/>
                      </a:lnTo>
                      <a:lnTo>
                        <a:pt x="310" y="563"/>
                      </a:lnTo>
                      <a:lnTo>
                        <a:pt x="312" y="563"/>
                      </a:lnTo>
                      <a:lnTo>
                        <a:pt x="310" y="565"/>
                      </a:lnTo>
                      <a:lnTo>
                        <a:pt x="310" y="566"/>
                      </a:lnTo>
                      <a:lnTo>
                        <a:pt x="310" y="568"/>
                      </a:lnTo>
                      <a:lnTo>
                        <a:pt x="309" y="568"/>
                      </a:lnTo>
                      <a:lnTo>
                        <a:pt x="309" y="570"/>
                      </a:lnTo>
                      <a:lnTo>
                        <a:pt x="309" y="571"/>
                      </a:lnTo>
                      <a:lnTo>
                        <a:pt x="307" y="571"/>
                      </a:lnTo>
                      <a:lnTo>
                        <a:pt x="307" y="573"/>
                      </a:lnTo>
                      <a:lnTo>
                        <a:pt x="309" y="573"/>
                      </a:lnTo>
                      <a:lnTo>
                        <a:pt x="307" y="574"/>
                      </a:lnTo>
                      <a:lnTo>
                        <a:pt x="307" y="576"/>
                      </a:lnTo>
                      <a:lnTo>
                        <a:pt x="309" y="576"/>
                      </a:lnTo>
                      <a:lnTo>
                        <a:pt x="310" y="576"/>
                      </a:lnTo>
                      <a:lnTo>
                        <a:pt x="310" y="578"/>
                      </a:lnTo>
                      <a:lnTo>
                        <a:pt x="310" y="579"/>
                      </a:lnTo>
                      <a:lnTo>
                        <a:pt x="312" y="581"/>
                      </a:lnTo>
                      <a:lnTo>
                        <a:pt x="312" y="583"/>
                      </a:lnTo>
                      <a:lnTo>
                        <a:pt x="312" y="584"/>
                      </a:lnTo>
                      <a:lnTo>
                        <a:pt x="310" y="584"/>
                      </a:lnTo>
                      <a:lnTo>
                        <a:pt x="309" y="584"/>
                      </a:lnTo>
                      <a:lnTo>
                        <a:pt x="309" y="586"/>
                      </a:lnTo>
                      <a:lnTo>
                        <a:pt x="309" y="588"/>
                      </a:lnTo>
                      <a:lnTo>
                        <a:pt x="309" y="589"/>
                      </a:lnTo>
                      <a:lnTo>
                        <a:pt x="309" y="591"/>
                      </a:lnTo>
                      <a:lnTo>
                        <a:pt x="309" y="593"/>
                      </a:lnTo>
                      <a:lnTo>
                        <a:pt x="309" y="594"/>
                      </a:lnTo>
                      <a:lnTo>
                        <a:pt x="307" y="596"/>
                      </a:lnTo>
                      <a:lnTo>
                        <a:pt x="307" y="597"/>
                      </a:lnTo>
                      <a:lnTo>
                        <a:pt x="305" y="599"/>
                      </a:lnTo>
                      <a:lnTo>
                        <a:pt x="305" y="601"/>
                      </a:lnTo>
                      <a:lnTo>
                        <a:pt x="305" y="602"/>
                      </a:lnTo>
                      <a:lnTo>
                        <a:pt x="304" y="604"/>
                      </a:lnTo>
                      <a:lnTo>
                        <a:pt x="304" y="606"/>
                      </a:lnTo>
                      <a:lnTo>
                        <a:pt x="305" y="606"/>
                      </a:lnTo>
                      <a:lnTo>
                        <a:pt x="307" y="607"/>
                      </a:lnTo>
                      <a:lnTo>
                        <a:pt x="307" y="609"/>
                      </a:lnTo>
                      <a:lnTo>
                        <a:pt x="309" y="611"/>
                      </a:lnTo>
                      <a:lnTo>
                        <a:pt x="307" y="611"/>
                      </a:lnTo>
                      <a:lnTo>
                        <a:pt x="305" y="612"/>
                      </a:lnTo>
                      <a:lnTo>
                        <a:pt x="304" y="614"/>
                      </a:lnTo>
                      <a:lnTo>
                        <a:pt x="305" y="614"/>
                      </a:lnTo>
                      <a:lnTo>
                        <a:pt x="305" y="616"/>
                      </a:lnTo>
                      <a:lnTo>
                        <a:pt x="307" y="614"/>
                      </a:lnTo>
                      <a:lnTo>
                        <a:pt x="309" y="616"/>
                      </a:lnTo>
                      <a:lnTo>
                        <a:pt x="309" y="617"/>
                      </a:lnTo>
                      <a:lnTo>
                        <a:pt x="310" y="617"/>
                      </a:lnTo>
                      <a:lnTo>
                        <a:pt x="312" y="617"/>
                      </a:lnTo>
                      <a:lnTo>
                        <a:pt x="312" y="619"/>
                      </a:lnTo>
                      <a:lnTo>
                        <a:pt x="312" y="620"/>
                      </a:lnTo>
                      <a:lnTo>
                        <a:pt x="314" y="622"/>
                      </a:lnTo>
                      <a:lnTo>
                        <a:pt x="314" y="624"/>
                      </a:lnTo>
                      <a:lnTo>
                        <a:pt x="315" y="624"/>
                      </a:lnTo>
                      <a:lnTo>
                        <a:pt x="317" y="624"/>
                      </a:lnTo>
                      <a:lnTo>
                        <a:pt x="317" y="625"/>
                      </a:lnTo>
                      <a:lnTo>
                        <a:pt x="319" y="625"/>
                      </a:lnTo>
                      <a:lnTo>
                        <a:pt x="319" y="627"/>
                      </a:lnTo>
                      <a:lnTo>
                        <a:pt x="319" y="629"/>
                      </a:lnTo>
                      <a:lnTo>
                        <a:pt x="319" y="630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3" name="Freeform 13"/>
                <p:cNvSpPr>
                  <a:spLocks noChangeAspect="1"/>
                </p:cNvSpPr>
                <p:nvPr/>
              </p:nvSpPr>
              <p:spPr bwMode="auto">
                <a:xfrm>
                  <a:off x="4101454" y="585695"/>
                  <a:ext cx="739390" cy="876441"/>
                </a:xfrm>
                <a:custGeom>
                  <a:avLst/>
                  <a:gdLst>
                    <a:gd name="T0" fmla="*/ 2147483647 w 474"/>
                    <a:gd name="T1" fmla="*/ 2147483647 h 524"/>
                    <a:gd name="T2" fmla="*/ 2147483647 w 474"/>
                    <a:gd name="T3" fmla="*/ 2147483647 h 524"/>
                    <a:gd name="T4" fmla="*/ 2147483647 w 474"/>
                    <a:gd name="T5" fmla="*/ 2147483647 h 524"/>
                    <a:gd name="T6" fmla="*/ 2147483647 w 474"/>
                    <a:gd name="T7" fmla="*/ 2147483647 h 524"/>
                    <a:gd name="T8" fmla="*/ 2147483647 w 474"/>
                    <a:gd name="T9" fmla="*/ 2147483647 h 524"/>
                    <a:gd name="T10" fmla="*/ 2147483647 w 474"/>
                    <a:gd name="T11" fmla="*/ 2147483647 h 524"/>
                    <a:gd name="T12" fmla="*/ 2147483647 w 474"/>
                    <a:gd name="T13" fmla="*/ 2147483647 h 524"/>
                    <a:gd name="T14" fmla="*/ 2147483647 w 474"/>
                    <a:gd name="T15" fmla="*/ 2147483647 h 524"/>
                    <a:gd name="T16" fmla="*/ 2147483647 w 474"/>
                    <a:gd name="T17" fmla="*/ 2147483647 h 524"/>
                    <a:gd name="T18" fmla="*/ 2147483647 w 474"/>
                    <a:gd name="T19" fmla="*/ 2147483647 h 524"/>
                    <a:gd name="T20" fmla="*/ 2147483647 w 474"/>
                    <a:gd name="T21" fmla="*/ 2147483647 h 524"/>
                    <a:gd name="T22" fmla="*/ 2147483647 w 474"/>
                    <a:gd name="T23" fmla="*/ 2147483647 h 524"/>
                    <a:gd name="T24" fmla="*/ 2147483647 w 474"/>
                    <a:gd name="T25" fmla="*/ 2147483647 h 524"/>
                    <a:gd name="T26" fmla="*/ 2147483647 w 474"/>
                    <a:gd name="T27" fmla="*/ 2147483647 h 524"/>
                    <a:gd name="T28" fmla="*/ 2147483647 w 474"/>
                    <a:gd name="T29" fmla="*/ 2147483647 h 524"/>
                    <a:gd name="T30" fmla="*/ 2147483647 w 474"/>
                    <a:gd name="T31" fmla="*/ 2147483647 h 524"/>
                    <a:gd name="T32" fmla="*/ 2147483647 w 474"/>
                    <a:gd name="T33" fmla="*/ 2147483647 h 524"/>
                    <a:gd name="T34" fmla="*/ 2147483647 w 474"/>
                    <a:gd name="T35" fmla="*/ 2147483647 h 524"/>
                    <a:gd name="T36" fmla="*/ 2147483647 w 474"/>
                    <a:gd name="T37" fmla="*/ 2147483647 h 524"/>
                    <a:gd name="T38" fmla="*/ 2147483647 w 474"/>
                    <a:gd name="T39" fmla="*/ 2147483647 h 524"/>
                    <a:gd name="T40" fmla="*/ 2147483647 w 474"/>
                    <a:gd name="T41" fmla="*/ 2147483647 h 524"/>
                    <a:gd name="T42" fmla="*/ 2147483647 w 474"/>
                    <a:gd name="T43" fmla="*/ 2147483647 h 524"/>
                    <a:gd name="T44" fmla="*/ 2147483647 w 474"/>
                    <a:gd name="T45" fmla="*/ 2147483647 h 524"/>
                    <a:gd name="T46" fmla="*/ 2147483647 w 474"/>
                    <a:gd name="T47" fmla="*/ 2147483647 h 524"/>
                    <a:gd name="T48" fmla="*/ 2147483647 w 474"/>
                    <a:gd name="T49" fmla="*/ 2147483647 h 524"/>
                    <a:gd name="T50" fmla="*/ 2147483647 w 474"/>
                    <a:gd name="T51" fmla="*/ 2147483647 h 524"/>
                    <a:gd name="T52" fmla="*/ 2147483647 w 474"/>
                    <a:gd name="T53" fmla="*/ 2147483647 h 524"/>
                    <a:gd name="T54" fmla="*/ 2147483647 w 474"/>
                    <a:gd name="T55" fmla="*/ 2147483647 h 524"/>
                    <a:gd name="T56" fmla="*/ 2147483647 w 474"/>
                    <a:gd name="T57" fmla="*/ 2147483647 h 524"/>
                    <a:gd name="T58" fmla="*/ 2147483647 w 474"/>
                    <a:gd name="T59" fmla="*/ 2147483647 h 524"/>
                    <a:gd name="T60" fmla="*/ 2147483647 w 474"/>
                    <a:gd name="T61" fmla="*/ 2147483647 h 524"/>
                    <a:gd name="T62" fmla="*/ 2147483647 w 474"/>
                    <a:gd name="T63" fmla="*/ 2147483647 h 524"/>
                    <a:gd name="T64" fmla="*/ 2147483647 w 474"/>
                    <a:gd name="T65" fmla="*/ 2147483647 h 524"/>
                    <a:gd name="T66" fmla="*/ 2147483647 w 474"/>
                    <a:gd name="T67" fmla="*/ 2147483647 h 524"/>
                    <a:gd name="T68" fmla="*/ 2147483647 w 474"/>
                    <a:gd name="T69" fmla="*/ 2147483647 h 524"/>
                    <a:gd name="T70" fmla="*/ 2147483647 w 474"/>
                    <a:gd name="T71" fmla="*/ 2147483647 h 524"/>
                    <a:gd name="T72" fmla="*/ 2147483647 w 474"/>
                    <a:gd name="T73" fmla="*/ 2147483647 h 524"/>
                    <a:gd name="T74" fmla="*/ 2147483647 w 474"/>
                    <a:gd name="T75" fmla="*/ 2147483647 h 524"/>
                    <a:gd name="T76" fmla="*/ 2147483647 w 474"/>
                    <a:gd name="T77" fmla="*/ 2147483647 h 524"/>
                    <a:gd name="T78" fmla="*/ 2147483647 w 474"/>
                    <a:gd name="T79" fmla="*/ 2147483647 h 524"/>
                    <a:gd name="T80" fmla="*/ 2147483647 w 474"/>
                    <a:gd name="T81" fmla="*/ 2147483647 h 524"/>
                    <a:gd name="T82" fmla="*/ 2147483647 w 474"/>
                    <a:gd name="T83" fmla="*/ 2147483647 h 524"/>
                    <a:gd name="T84" fmla="*/ 2147483647 w 474"/>
                    <a:gd name="T85" fmla="*/ 2147483647 h 524"/>
                    <a:gd name="T86" fmla="*/ 2147483647 w 474"/>
                    <a:gd name="T87" fmla="*/ 2147483647 h 524"/>
                    <a:gd name="T88" fmla="*/ 2147483647 w 474"/>
                    <a:gd name="T89" fmla="*/ 2147483647 h 524"/>
                    <a:gd name="T90" fmla="*/ 2147483647 w 474"/>
                    <a:gd name="T91" fmla="*/ 2147483647 h 524"/>
                    <a:gd name="T92" fmla="*/ 2147483647 w 474"/>
                    <a:gd name="T93" fmla="*/ 2147483647 h 524"/>
                    <a:gd name="T94" fmla="*/ 2147483647 w 474"/>
                    <a:gd name="T95" fmla="*/ 2147483647 h 524"/>
                    <a:gd name="T96" fmla="*/ 2147483647 w 474"/>
                    <a:gd name="T97" fmla="*/ 2147483647 h 524"/>
                    <a:gd name="T98" fmla="*/ 2147483647 w 474"/>
                    <a:gd name="T99" fmla="*/ 2147483647 h 524"/>
                    <a:gd name="T100" fmla="*/ 2147483647 w 474"/>
                    <a:gd name="T101" fmla="*/ 2147483647 h 524"/>
                    <a:gd name="T102" fmla="*/ 2147483647 w 474"/>
                    <a:gd name="T103" fmla="*/ 2147483647 h 524"/>
                    <a:gd name="T104" fmla="*/ 2147483647 w 474"/>
                    <a:gd name="T105" fmla="*/ 2147483647 h 524"/>
                    <a:gd name="T106" fmla="*/ 2147483647 w 474"/>
                    <a:gd name="T107" fmla="*/ 2147483647 h 524"/>
                    <a:gd name="T108" fmla="*/ 2147483647 w 474"/>
                    <a:gd name="T109" fmla="*/ 2147483647 h 524"/>
                    <a:gd name="T110" fmla="*/ 2147483647 w 474"/>
                    <a:gd name="T111" fmla="*/ 2147483647 h 524"/>
                    <a:gd name="T112" fmla="*/ 2147483647 w 474"/>
                    <a:gd name="T113" fmla="*/ 2147483647 h 524"/>
                    <a:gd name="T114" fmla="*/ 2147483647 w 474"/>
                    <a:gd name="T115" fmla="*/ 2147483647 h 524"/>
                    <a:gd name="T116" fmla="*/ 2147483647 w 474"/>
                    <a:gd name="T117" fmla="*/ 2147483647 h 524"/>
                    <a:gd name="T118" fmla="*/ 2147483647 w 474"/>
                    <a:gd name="T119" fmla="*/ 2147483647 h 524"/>
                    <a:gd name="T120" fmla="*/ 2147483647 w 474"/>
                    <a:gd name="T121" fmla="*/ 2147483647 h 52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474"/>
                    <a:gd name="T184" fmla="*/ 0 h 524"/>
                    <a:gd name="T185" fmla="*/ 474 w 474"/>
                    <a:gd name="T186" fmla="*/ 524 h 52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474" h="524">
                      <a:moveTo>
                        <a:pt x="152" y="209"/>
                      </a:moveTo>
                      <a:lnTo>
                        <a:pt x="152" y="207"/>
                      </a:lnTo>
                      <a:lnTo>
                        <a:pt x="152" y="209"/>
                      </a:lnTo>
                      <a:lnTo>
                        <a:pt x="153" y="209"/>
                      </a:lnTo>
                      <a:lnTo>
                        <a:pt x="153" y="207"/>
                      </a:lnTo>
                      <a:lnTo>
                        <a:pt x="155" y="207"/>
                      </a:lnTo>
                      <a:lnTo>
                        <a:pt x="157" y="207"/>
                      </a:lnTo>
                      <a:lnTo>
                        <a:pt x="159" y="207"/>
                      </a:lnTo>
                      <a:lnTo>
                        <a:pt x="160" y="207"/>
                      </a:lnTo>
                      <a:lnTo>
                        <a:pt x="162" y="207"/>
                      </a:lnTo>
                      <a:lnTo>
                        <a:pt x="164" y="207"/>
                      </a:lnTo>
                      <a:lnTo>
                        <a:pt x="165" y="205"/>
                      </a:lnTo>
                      <a:lnTo>
                        <a:pt x="167" y="205"/>
                      </a:lnTo>
                      <a:lnTo>
                        <a:pt x="169" y="205"/>
                      </a:lnTo>
                      <a:lnTo>
                        <a:pt x="170" y="205"/>
                      </a:lnTo>
                      <a:lnTo>
                        <a:pt x="172" y="207"/>
                      </a:lnTo>
                      <a:lnTo>
                        <a:pt x="172" y="209"/>
                      </a:lnTo>
                      <a:lnTo>
                        <a:pt x="174" y="209"/>
                      </a:lnTo>
                      <a:lnTo>
                        <a:pt x="174" y="210"/>
                      </a:lnTo>
                      <a:lnTo>
                        <a:pt x="175" y="210"/>
                      </a:lnTo>
                      <a:lnTo>
                        <a:pt x="177" y="210"/>
                      </a:lnTo>
                      <a:lnTo>
                        <a:pt x="179" y="210"/>
                      </a:lnTo>
                      <a:lnTo>
                        <a:pt x="180" y="210"/>
                      </a:lnTo>
                      <a:lnTo>
                        <a:pt x="182" y="210"/>
                      </a:lnTo>
                      <a:lnTo>
                        <a:pt x="184" y="210"/>
                      </a:lnTo>
                      <a:lnTo>
                        <a:pt x="184" y="209"/>
                      </a:lnTo>
                      <a:lnTo>
                        <a:pt x="184" y="207"/>
                      </a:lnTo>
                      <a:lnTo>
                        <a:pt x="184" y="209"/>
                      </a:lnTo>
                      <a:lnTo>
                        <a:pt x="186" y="209"/>
                      </a:lnTo>
                      <a:lnTo>
                        <a:pt x="186" y="207"/>
                      </a:lnTo>
                      <a:lnTo>
                        <a:pt x="186" y="209"/>
                      </a:lnTo>
                      <a:lnTo>
                        <a:pt x="187" y="209"/>
                      </a:lnTo>
                      <a:lnTo>
                        <a:pt x="187" y="207"/>
                      </a:lnTo>
                      <a:lnTo>
                        <a:pt x="187" y="205"/>
                      </a:lnTo>
                      <a:lnTo>
                        <a:pt x="189" y="205"/>
                      </a:lnTo>
                      <a:lnTo>
                        <a:pt x="189" y="204"/>
                      </a:lnTo>
                      <a:lnTo>
                        <a:pt x="191" y="202"/>
                      </a:lnTo>
                      <a:lnTo>
                        <a:pt x="192" y="202"/>
                      </a:lnTo>
                      <a:lnTo>
                        <a:pt x="192" y="201"/>
                      </a:lnTo>
                      <a:lnTo>
                        <a:pt x="191" y="201"/>
                      </a:lnTo>
                      <a:lnTo>
                        <a:pt x="192" y="201"/>
                      </a:lnTo>
                      <a:lnTo>
                        <a:pt x="192" y="199"/>
                      </a:lnTo>
                      <a:lnTo>
                        <a:pt x="194" y="199"/>
                      </a:lnTo>
                      <a:lnTo>
                        <a:pt x="196" y="197"/>
                      </a:lnTo>
                      <a:lnTo>
                        <a:pt x="196" y="199"/>
                      </a:lnTo>
                      <a:lnTo>
                        <a:pt x="197" y="197"/>
                      </a:lnTo>
                      <a:lnTo>
                        <a:pt x="199" y="197"/>
                      </a:lnTo>
                      <a:lnTo>
                        <a:pt x="199" y="196"/>
                      </a:lnTo>
                      <a:lnTo>
                        <a:pt x="201" y="197"/>
                      </a:lnTo>
                      <a:lnTo>
                        <a:pt x="201" y="196"/>
                      </a:lnTo>
                      <a:lnTo>
                        <a:pt x="202" y="196"/>
                      </a:lnTo>
                      <a:lnTo>
                        <a:pt x="204" y="194"/>
                      </a:lnTo>
                      <a:lnTo>
                        <a:pt x="206" y="192"/>
                      </a:lnTo>
                      <a:lnTo>
                        <a:pt x="208" y="192"/>
                      </a:lnTo>
                      <a:lnTo>
                        <a:pt x="208" y="191"/>
                      </a:lnTo>
                      <a:lnTo>
                        <a:pt x="209" y="191"/>
                      </a:lnTo>
                      <a:lnTo>
                        <a:pt x="209" y="189"/>
                      </a:lnTo>
                      <a:lnTo>
                        <a:pt x="211" y="189"/>
                      </a:lnTo>
                      <a:lnTo>
                        <a:pt x="209" y="189"/>
                      </a:lnTo>
                      <a:lnTo>
                        <a:pt x="211" y="187"/>
                      </a:lnTo>
                      <a:lnTo>
                        <a:pt x="213" y="186"/>
                      </a:lnTo>
                      <a:lnTo>
                        <a:pt x="211" y="186"/>
                      </a:lnTo>
                      <a:lnTo>
                        <a:pt x="213" y="186"/>
                      </a:lnTo>
                      <a:lnTo>
                        <a:pt x="213" y="184"/>
                      </a:lnTo>
                      <a:lnTo>
                        <a:pt x="214" y="184"/>
                      </a:lnTo>
                      <a:lnTo>
                        <a:pt x="216" y="184"/>
                      </a:lnTo>
                      <a:lnTo>
                        <a:pt x="214" y="182"/>
                      </a:lnTo>
                      <a:lnTo>
                        <a:pt x="216" y="182"/>
                      </a:lnTo>
                      <a:lnTo>
                        <a:pt x="218" y="182"/>
                      </a:lnTo>
                      <a:lnTo>
                        <a:pt x="218" y="181"/>
                      </a:lnTo>
                      <a:lnTo>
                        <a:pt x="218" y="179"/>
                      </a:lnTo>
                      <a:lnTo>
                        <a:pt x="219" y="178"/>
                      </a:lnTo>
                      <a:lnTo>
                        <a:pt x="219" y="176"/>
                      </a:lnTo>
                      <a:lnTo>
                        <a:pt x="219" y="174"/>
                      </a:lnTo>
                      <a:lnTo>
                        <a:pt x="221" y="174"/>
                      </a:lnTo>
                      <a:lnTo>
                        <a:pt x="221" y="173"/>
                      </a:lnTo>
                      <a:lnTo>
                        <a:pt x="223" y="173"/>
                      </a:lnTo>
                      <a:lnTo>
                        <a:pt x="223" y="171"/>
                      </a:lnTo>
                      <a:lnTo>
                        <a:pt x="221" y="171"/>
                      </a:lnTo>
                      <a:lnTo>
                        <a:pt x="219" y="169"/>
                      </a:lnTo>
                      <a:lnTo>
                        <a:pt x="221" y="169"/>
                      </a:lnTo>
                      <a:lnTo>
                        <a:pt x="221" y="168"/>
                      </a:lnTo>
                      <a:lnTo>
                        <a:pt x="219" y="168"/>
                      </a:lnTo>
                      <a:lnTo>
                        <a:pt x="219" y="166"/>
                      </a:lnTo>
                      <a:lnTo>
                        <a:pt x="221" y="166"/>
                      </a:lnTo>
                      <a:lnTo>
                        <a:pt x="223" y="166"/>
                      </a:lnTo>
                      <a:lnTo>
                        <a:pt x="223" y="164"/>
                      </a:lnTo>
                      <a:lnTo>
                        <a:pt x="223" y="163"/>
                      </a:lnTo>
                      <a:lnTo>
                        <a:pt x="224" y="163"/>
                      </a:lnTo>
                      <a:lnTo>
                        <a:pt x="224" y="161"/>
                      </a:lnTo>
                      <a:lnTo>
                        <a:pt x="224" y="159"/>
                      </a:lnTo>
                      <a:lnTo>
                        <a:pt x="226" y="158"/>
                      </a:lnTo>
                      <a:lnTo>
                        <a:pt x="226" y="156"/>
                      </a:lnTo>
                      <a:lnTo>
                        <a:pt x="226" y="155"/>
                      </a:lnTo>
                      <a:lnTo>
                        <a:pt x="228" y="153"/>
                      </a:lnTo>
                      <a:lnTo>
                        <a:pt x="228" y="151"/>
                      </a:lnTo>
                      <a:lnTo>
                        <a:pt x="229" y="150"/>
                      </a:lnTo>
                      <a:lnTo>
                        <a:pt x="229" y="148"/>
                      </a:lnTo>
                      <a:lnTo>
                        <a:pt x="231" y="146"/>
                      </a:lnTo>
                      <a:lnTo>
                        <a:pt x="233" y="143"/>
                      </a:lnTo>
                      <a:lnTo>
                        <a:pt x="235" y="143"/>
                      </a:lnTo>
                      <a:lnTo>
                        <a:pt x="236" y="141"/>
                      </a:lnTo>
                      <a:lnTo>
                        <a:pt x="235" y="141"/>
                      </a:lnTo>
                      <a:lnTo>
                        <a:pt x="235" y="140"/>
                      </a:lnTo>
                      <a:lnTo>
                        <a:pt x="235" y="138"/>
                      </a:lnTo>
                      <a:lnTo>
                        <a:pt x="236" y="138"/>
                      </a:lnTo>
                      <a:lnTo>
                        <a:pt x="236" y="137"/>
                      </a:lnTo>
                      <a:lnTo>
                        <a:pt x="238" y="135"/>
                      </a:lnTo>
                      <a:lnTo>
                        <a:pt x="238" y="133"/>
                      </a:lnTo>
                      <a:lnTo>
                        <a:pt x="238" y="132"/>
                      </a:lnTo>
                      <a:lnTo>
                        <a:pt x="240" y="132"/>
                      </a:lnTo>
                      <a:lnTo>
                        <a:pt x="240" y="130"/>
                      </a:lnTo>
                      <a:lnTo>
                        <a:pt x="240" y="128"/>
                      </a:lnTo>
                      <a:lnTo>
                        <a:pt x="241" y="127"/>
                      </a:lnTo>
                      <a:lnTo>
                        <a:pt x="241" y="125"/>
                      </a:lnTo>
                      <a:lnTo>
                        <a:pt x="240" y="125"/>
                      </a:lnTo>
                      <a:lnTo>
                        <a:pt x="240" y="123"/>
                      </a:lnTo>
                      <a:lnTo>
                        <a:pt x="240" y="122"/>
                      </a:lnTo>
                      <a:lnTo>
                        <a:pt x="240" y="120"/>
                      </a:lnTo>
                      <a:lnTo>
                        <a:pt x="241" y="120"/>
                      </a:lnTo>
                      <a:lnTo>
                        <a:pt x="241" y="118"/>
                      </a:lnTo>
                      <a:lnTo>
                        <a:pt x="241" y="117"/>
                      </a:lnTo>
                      <a:lnTo>
                        <a:pt x="243" y="117"/>
                      </a:lnTo>
                      <a:lnTo>
                        <a:pt x="243" y="115"/>
                      </a:lnTo>
                      <a:lnTo>
                        <a:pt x="243" y="114"/>
                      </a:lnTo>
                      <a:lnTo>
                        <a:pt x="245" y="114"/>
                      </a:lnTo>
                      <a:lnTo>
                        <a:pt x="245" y="112"/>
                      </a:lnTo>
                      <a:lnTo>
                        <a:pt x="246" y="112"/>
                      </a:lnTo>
                      <a:lnTo>
                        <a:pt x="246" y="110"/>
                      </a:lnTo>
                      <a:lnTo>
                        <a:pt x="248" y="110"/>
                      </a:lnTo>
                      <a:lnTo>
                        <a:pt x="250" y="110"/>
                      </a:lnTo>
                      <a:lnTo>
                        <a:pt x="250" y="112"/>
                      </a:lnTo>
                      <a:lnTo>
                        <a:pt x="250" y="110"/>
                      </a:lnTo>
                      <a:lnTo>
                        <a:pt x="251" y="110"/>
                      </a:lnTo>
                      <a:lnTo>
                        <a:pt x="251" y="109"/>
                      </a:lnTo>
                      <a:lnTo>
                        <a:pt x="253" y="107"/>
                      </a:lnTo>
                      <a:lnTo>
                        <a:pt x="253" y="105"/>
                      </a:lnTo>
                      <a:lnTo>
                        <a:pt x="255" y="105"/>
                      </a:lnTo>
                      <a:lnTo>
                        <a:pt x="255" y="104"/>
                      </a:lnTo>
                      <a:lnTo>
                        <a:pt x="255" y="102"/>
                      </a:lnTo>
                      <a:lnTo>
                        <a:pt x="256" y="102"/>
                      </a:lnTo>
                      <a:lnTo>
                        <a:pt x="256" y="100"/>
                      </a:lnTo>
                      <a:lnTo>
                        <a:pt x="258" y="100"/>
                      </a:lnTo>
                      <a:lnTo>
                        <a:pt x="258" y="99"/>
                      </a:lnTo>
                      <a:lnTo>
                        <a:pt x="260" y="95"/>
                      </a:lnTo>
                      <a:lnTo>
                        <a:pt x="262" y="92"/>
                      </a:lnTo>
                      <a:lnTo>
                        <a:pt x="263" y="91"/>
                      </a:lnTo>
                      <a:lnTo>
                        <a:pt x="263" y="89"/>
                      </a:lnTo>
                      <a:lnTo>
                        <a:pt x="265" y="87"/>
                      </a:lnTo>
                      <a:lnTo>
                        <a:pt x="265" y="86"/>
                      </a:lnTo>
                      <a:lnTo>
                        <a:pt x="267" y="86"/>
                      </a:lnTo>
                      <a:lnTo>
                        <a:pt x="268" y="84"/>
                      </a:lnTo>
                      <a:lnTo>
                        <a:pt x="268" y="82"/>
                      </a:lnTo>
                      <a:lnTo>
                        <a:pt x="268" y="81"/>
                      </a:lnTo>
                      <a:lnTo>
                        <a:pt x="270" y="81"/>
                      </a:lnTo>
                      <a:lnTo>
                        <a:pt x="270" y="79"/>
                      </a:lnTo>
                      <a:lnTo>
                        <a:pt x="272" y="77"/>
                      </a:lnTo>
                      <a:lnTo>
                        <a:pt x="273" y="76"/>
                      </a:lnTo>
                      <a:lnTo>
                        <a:pt x="273" y="74"/>
                      </a:lnTo>
                      <a:lnTo>
                        <a:pt x="273" y="72"/>
                      </a:lnTo>
                      <a:lnTo>
                        <a:pt x="273" y="71"/>
                      </a:lnTo>
                      <a:lnTo>
                        <a:pt x="275" y="71"/>
                      </a:lnTo>
                      <a:lnTo>
                        <a:pt x="275" y="69"/>
                      </a:lnTo>
                      <a:lnTo>
                        <a:pt x="275" y="68"/>
                      </a:lnTo>
                      <a:lnTo>
                        <a:pt x="275" y="66"/>
                      </a:lnTo>
                      <a:lnTo>
                        <a:pt x="277" y="66"/>
                      </a:lnTo>
                      <a:lnTo>
                        <a:pt x="278" y="66"/>
                      </a:lnTo>
                      <a:lnTo>
                        <a:pt x="280" y="66"/>
                      </a:lnTo>
                      <a:lnTo>
                        <a:pt x="280" y="64"/>
                      </a:lnTo>
                      <a:lnTo>
                        <a:pt x="278" y="63"/>
                      </a:lnTo>
                      <a:lnTo>
                        <a:pt x="280" y="61"/>
                      </a:lnTo>
                      <a:lnTo>
                        <a:pt x="282" y="61"/>
                      </a:lnTo>
                      <a:lnTo>
                        <a:pt x="282" y="59"/>
                      </a:lnTo>
                      <a:lnTo>
                        <a:pt x="284" y="59"/>
                      </a:lnTo>
                      <a:lnTo>
                        <a:pt x="285" y="58"/>
                      </a:lnTo>
                      <a:lnTo>
                        <a:pt x="287" y="56"/>
                      </a:lnTo>
                      <a:lnTo>
                        <a:pt x="287" y="54"/>
                      </a:lnTo>
                      <a:lnTo>
                        <a:pt x="289" y="54"/>
                      </a:lnTo>
                      <a:lnTo>
                        <a:pt x="289" y="53"/>
                      </a:lnTo>
                      <a:lnTo>
                        <a:pt x="290" y="53"/>
                      </a:lnTo>
                      <a:lnTo>
                        <a:pt x="292" y="53"/>
                      </a:lnTo>
                      <a:lnTo>
                        <a:pt x="292" y="51"/>
                      </a:lnTo>
                      <a:lnTo>
                        <a:pt x="292" y="49"/>
                      </a:lnTo>
                      <a:lnTo>
                        <a:pt x="294" y="48"/>
                      </a:lnTo>
                      <a:lnTo>
                        <a:pt x="294" y="46"/>
                      </a:lnTo>
                      <a:lnTo>
                        <a:pt x="294" y="45"/>
                      </a:lnTo>
                      <a:lnTo>
                        <a:pt x="295" y="43"/>
                      </a:lnTo>
                      <a:lnTo>
                        <a:pt x="295" y="41"/>
                      </a:lnTo>
                      <a:lnTo>
                        <a:pt x="297" y="41"/>
                      </a:lnTo>
                      <a:lnTo>
                        <a:pt x="299" y="41"/>
                      </a:lnTo>
                      <a:lnTo>
                        <a:pt x="300" y="41"/>
                      </a:lnTo>
                      <a:lnTo>
                        <a:pt x="300" y="40"/>
                      </a:lnTo>
                      <a:lnTo>
                        <a:pt x="302" y="40"/>
                      </a:lnTo>
                      <a:lnTo>
                        <a:pt x="304" y="38"/>
                      </a:lnTo>
                      <a:lnTo>
                        <a:pt x="305" y="38"/>
                      </a:lnTo>
                      <a:lnTo>
                        <a:pt x="305" y="36"/>
                      </a:lnTo>
                      <a:lnTo>
                        <a:pt x="307" y="36"/>
                      </a:lnTo>
                      <a:lnTo>
                        <a:pt x="307" y="35"/>
                      </a:lnTo>
                      <a:lnTo>
                        <a:pt x="305" y="35"/>
                      </a:lnTo>
                      <a:lnTo>
                        <a:pt x="307" y="33"/>
                      </a:lnTo>
                      <a:lnTo>
                        <a:pt x="309" y="30"/>
                      </a:lnTo>
                      <a:lnTo>
                        <a:pt x="309" y="28"/>
                      </a:lnTo>
                      <a:lnTo>
                        <a:pt x="309" y="26"/>
                      </a:lnTo>
                      <a:lnTo>
                        <a:pt x="311" y="26"/>
                      </a:lnTo>
                      <a:lnTo>
                        <a:pt x="311" y="25"/>
                      </a:lnTo>
                      <a:lnTo>
                        <a:pt x="311" y="23"/>
                      </a:lnTo>
                      <a:lnTo>
                        <a:pt x="311" y="22"/>
                      </a:lnTo>
                      <a:lnTo>
                        <a:pt x="311" y="20"/>
                      </a:lnTo>
                      <a:lnTo>
                        <a:pt x="312" y="18"/>
                      </a:lnTo>
                      <a:lnTo>
                        <a:pt x="312" y="17"/>
                      </a:lnTo>
                      <a:lnTo>
                        <a:pt x="312" y="15"/>
                      </a:lnTo>
                      <a:lnTo>
                        <a:pt x="312" y="12"/>
                      </a:lnTo>
                      <a:lnTo>
                        <a:pt x="312" y="10"/>
                      </a:lnTo>
                      <a:lnTo>
                        <a:pt x="314" y="7"/>
                      </a:lnTo>
                      <a:lnTo>
                        <a:pt x="314" y="3"/>
                      </a:lnTo>
                      <a:lnTo>
                        <a:pt x="316" y="3"/>
                      </a:lnTo>
                      <a:lnTo>
                        <a:pt x="316" y="2"/>
                      </a:lnTo>
                      <a:lnTo>
                        <a:pt x="317" y="2"/>
                      </a:lnTo>
                      <a:lnTo>
                        <a:pt x="319" y="0"/>
                      </a:lnTo>
                      <a:lnTo>
                        <a:pt x="321" y="2"/>
                      </a:lnTo>
                      <a:lnTo>
                        <a:pt x="324" y="5"/>
                      </a:lnTo>
                      <a:lnTo>
                        <a:pt x="327" y="7"/>
                      </a:lnTo>
                      <a:lnTo>
                        <a:pt x="329" y="8"/>
                      </a:lnTo>
                      <a:lnTo>
                        <a:pt x="331" y="12"/>
                      </a:lnTo>
                      <a:lnTo>
                        <a:pt x="334" y="13"/>
                      </a:lnTo>
                      <a:lnTo>
                        <a:pt x="338" y="17"/>
                      </a:lnTo>
                      <a:lnTo>
                        <a:pt x="339" y="20"/>
                      </a:lnTo>
                      <a:lnTo>
                        <a:pt x="341" y="20"/>
                      </a:lnTo>
                      <a:lnTo>
                        <a:pt x="341" y="22"/>
                      </a:lnTo>
                      <a:lnTo>
                        <a:pt x="343" y="22"/>
                      </a:lnTo>
                      <a:lnTo>
                        <a:pt x="344" y="23"/>
                      </a:lnTo>
                      <a:lnTo>
                        <a:pt x="344" y="25"/>
                      </a:lnTo>
                      <a:lnTo>
                        <a:pt x="346" y="26"/>
                      </a:lnTo>
                      <a:lnTo>
                        <a:pt x="346" y="28"/>
                      </a:lnTo>
                      <a:lnTo>
                        <a:pt x="348" y="28"/>
                      </a:lnTo>
                      <a:lnTo>
                        <a:pt x="348" y="30"/>
                      </a:lnTo>
                      <a:lnTo>
                        <a:pt x="348" y="31"/>
                      </a:lnTo>
                      <a:lnTo>
                        <a:pt x="349" y="33"/>
                      </a:lnTo>
                      <a:lnTo>
                        <a:pt x="349" y="35"/>
                      </a:lnTo>
                      <a:lnTo>
                        <a:pt x="349" y="36"/>
                      </a:lnTo>
                      <a:lnTo>
                        <a:pt x="349" y="38"/>
                      </a:lnTo>
                      <a:lnTo>
                        <a:pt x="349" y="40"/>
                      </a:lnTo>
                      <a:lnTo>
                        <a:pt x="351" y="41"/>
                      </a:lnTo>
                      <a:lnTo>
                        <a:pt x="351" y="43"/>
                      </a:lnTo>
                      <a:lnTo>
                        <a:pt x="351" y="45"/>
                      </a:lnTo>
                      <a:lnTo>
                        <a:pt x="351" y="46"/>
                      </a:lnTo>
                      <a:lnTo>
                        <a:pt x="351" y="48"/>
                      </a:lnTo>
                      <a:lnTo>
                        <a:pt x="353" y="48"/>
                      </a:lnTo>
                      <a:lnTo>
                        <a:pt x="356" y="49"/>
                      </a:lnTo>
                      <a:lnTo>
                        <a:pt x="358" y="49"/>
                      </a:lnTo>
                      <a:lnTo>
                        <a:pt x="360" y="49"/>
                      </a:lnTo>
                      <a:lnTo>
                        <a:pt x="360" y="51"/>
                      </a:lnTo>
                      <a:lnTo>
                        <a:pt x="361" y="53"/>
                      </a:lnTo>
                      <a:lnTo>
                        <a:pt x="360" y="53"/>
                      </a:lnTo>
                      <a:lnTo>
                        <a:pt x="360" y="54"/>
                      </a:lnTo>
                      <a:lnTo>
                        <a:pt x="360" y="56"/>
                      </a:lnTo>
                      <a:lnTo>
                        <a:pt x="360" y="58"/>
                      </a:lnTo>
                      <a:lnTo>
                        <a:pt x="360" y="59"/>
                      </a:lnTo>
                      <a:lnTo>
                        <a:pt x="360" y="61"/>
                      </a:lnTo>
                      <a:lnTo>
                        <a:pt x="360" y="63"/>
                      </a:lnTo>
                      <a:lnTo>
                        <a:pt x="360" y="64"/>
                      </a:lnTo>
                      <a:lnTo>
                        <a:pt x="360" y="66"/>
                      </a:lnTo>
                      <a:lnTo>
                        <a:pt x="360" y="68"/>
                      </a:lnTo>
                      <a:lnTo>
                        <a:pt x="360" y="69"/>
                      </a:lnTo>
                      <a:lnTo>
                        <a:pt x="360" y="71"/>
                      </a:lnTo>
                      <a:lnTo>
                        <a:pt x="360" y="72"/>
                      </a:lnTo>
                      <a:lnTo>
                        <a:pt x="360" y="76"/>
                      </a:lnTo>
                      <a:lnTo>
                        <a:pt x="360" y="81"/>
                      </a:lnTo>
                      <a:lnTo>
                        <a:pt x="360" y="82"/>
                      </a:lnTo>
                      <a:lnTo>
                        <a:pt x="360" y="84"/>
                      </a:lnTo>
                      <a:lnTo>
                        <a:pt x="361" y="84"/>
                      </a:lnTo>
                      <a:lnTo>
                        <a:pt x="361" y="87"/>
                      </a:lnTo>
                      <a:lnTo>
                        <a:pt x="361" y="89"/>
                      </a:lnTo>
                      <a:lnTo>
                        <a:pt x="360" y="91"/>
                      </a:lnTo>
                      <a:lnTo>
                        <a:pt x="360" y="92"/>
                      </a:lnTo>
                      <a:lnTo>
                        <a:pt x="360" y="94"/>
                      </a:lnTo>
                      <a:lnTo>
                        <a:pt x="360" y="95"/>
                      </a:lnTo>
                      <a:lnTo>
                        <a:pt x="360" y="97"/>
                      </a:lnTo>
                      <a:lnTo>
                        <a:pt x="360" y="99"/>
                      </a:lnTo>
                      <a:lnTo>
                        <a:pt x="360" y="100"/>
                      </a:lnTo>
                      <a:lnTo>
                        <a:pt x="361" y="102"/>
                      </a:lnTo>
                      <a:lnTo>
                        <a:pt x="361" y="104"/>
                      </a:lnTo>
                      <a:lnTo>
                        <a:pt x="361" y="105"/>
                      </a:lnTo>
                      <a:lnTo>
                        <a:pt x="363" y="107"/>
                      </a:lnTo>
                      <a:lnTo>
                        <a:pt x="363" y="109"/>
                      </a:lnTo>
                      <a:lnTo>
                        <a:pt x="363" y="110"/>
                      </a:lnTo>
                      <a:lnTo>
                        <a:pt x="365" y="110"/>
                      </a:lnTo>
                      <a:lnTo>
                        <a:pt x="365" y="112"/>
                      </a:lnTo>
                      <a:lnTo>
                        <a:pt x="365" y="114"/>
                      </a:lnTo>
                      <a:lnTo>
                        <a:pt x="365" y="115"/>
                      </a:lnTo>
                      <a:lnTo>
                        <a:pt x="365" y="117"/>
                      </a:lnTo>
                      <a:lnTo>
                        <a:pt x="365" y="118"/>
                      </a:lnTo>
                      <a:lnTo>
                        <a:pt x="365" y="120"/>
                      </a:lnTo>
                      <a:lnTo>
                        <a:pt x="365" y="123"/>
                      </a:lnTo>
                      <a:lnTo>
                        <a:pt x="366" y="125"/>
                      </a:lnTo>
                      <a:lnTo>
                        <a:pt x="366" y="127"/>
                      </a:lnTo>
                      <a:lnTo>
                        <a:pt x="366" y="128"/>
                      </a:lnTo>
                      <a:lnTo>
                        <a:pt x="366" y="130"/>
                      </a:lnTo>
                      <a:lnTo>
                        <a:pt x="368" y="132"/>
                      </a:lnTo>
                      <a:lnTo>
                        <a:pt x="368" y="133"/>
                      </a:lnTo>
                      <a:lnTo>
                        <a:pt x="368" y="135"/>
                      </a:lnTo>
                      <a:lnTo>
                        <a:pt x="370" y="137"/>
                      </a:lnTo>
                      <a:lnTo>
                        <a:pt x="368" y="137"/>
                      </a:lnTo>
                      <a:lnTo>
                        <a:pt x="370" y="138"/>
                      </a:lnTo>
                      <a:lnTo>
                        <a:pt x="370" y="140"/>
                      </a:lnTo>
                      <a:lnTo>
                        <a:pt x="371" y="141"/>
                      </a:lnTo>
                      <a:lnTo>
                        <a:pt x="373" y="145"/>
                      </a:lnTo>
                      <a:lnTo>
                        <a:pt x="373" y="146"/>
                      </a:lnTo>
                      <a:lnTo>
                        <a:pt x="373" y="148"/>
                      </a:lnTo>
                      <a:lnTo>
                        <a:pt x="373" y="150"/>
                      </a:lnTo>
                      <a:lnTo>
                        <a:pt x="373" y="151"/>
                      </a:lnTo>
                      <a:lnTo>
                        <a:pt x="375" y="151"/>
                      </a:lnTo>
                      <a:lnTo>
                        <a:pt x="376" y="151"/>
                      </a:lnTo>
                      <a:lnTo>
                        <a:pt x="376" y="153"/>
                      </a:lnTo>
                      <a:lnTo>
                        <a:pt x="376" y="155"/>
                      </a:lnTo>
                      <a:lnTo>
                        <a:pt x="376" y="156"/>
                      </a:lnTo>
                      <a:lnTo>
                        <a:pt x="378" y="156"/>
                      </a:lnTo>
                      <a:lnTo>
                        <a:pt x="378" y="158"/>
                      </a:lnTo>
                      <a:lnTo>
                        <a:pt x="378" y="159"/>
                      </a:lnTo>
                      <a:lnTo>
                        <a:pt x="378" y="161"/>
                      </a:lnTo>
                      <a:lnTo>
                        <a:pt x="378" y="163"/>
                      </a:lnTo>
                      <a:lnTo>
                        <a:pt x="380" y="163"/>
                      </a:lnTo>
                      <a:lnTo>
                        <a:pt x="380" y="164"/>
                      </a:lnTo>
                      <a:lnTo>
                        <a:pt x="381" y="164"/>
                      </a:lnTo>
                      <a:lnTo>
                        <a:pt x="381" y="166"/>
                      </a:lnTo>
                      <a:lnTo>
                        <a:pt x="383" y="166"/>
                      </a:lnTo>
                      <a:lnTo>
                        <a:pt x="383" y="168"/>
                      </a:lnTo>
                      <a:lnTo>
                        <a:pt x="383" y="169"/>
                      </a:lnTo>
                      <a:lnTo>
                        <a:pt x="381" y="171"/>
                      </a:lnTo>
                      <a:lnTo>
                        <a:pt x="383" y="171"/>
                      </a:lnTo>
                      <a:lnTo>
                        <a:pt x="381" y="171"/>
                      </a:lnTo>
                      <a:lnTo>
                        <a:pt x="383" y="171"/>
                      </a:lnTo>
                      <a:lnTo>
                        <a:pt x="383" y="173"/>
                      </a:lnTo>
                      <a:lnTo>
                        <a:pt x="383" y="174"/>
                      </a:lnTo>
                      <a:lnTo>
                        <a:pt x="383" y="176"/>
                      </a:lnTo>
                      <a:lnTo>
                        <a:pt x="383" y="178"/>
                      </a:lnTo>
                      <a:lnTo>
                        <a:pt x="383" y="179"/>
                      </a:lnTo>
                      <a:lnTo>
                        <a:pt x="381" y="179"/>
                      </a:lnTo>
                      <a:lnTo>
                        <a:pt x="381" y="181"/>
                      </a:lnTo>
                      <a:lnTo>
                        <a:pt x="381" y="179"/>
                      </a:lnTo>
                      <a:lnTo>
                        <a:pt x="383" y="179"/>
                      </a:lnTo>
                      <a:lnTo>
                        <a:pt x="383" y="181"/>
                      </a:lnTo>
                      <a:lnTo>
                        <a:pt x="383" y="179"/>
                      </a:lnTo>
                      <a:lnTo>
                        <a:pt x="385" y="179"/>
                      </a:lnTo>
                      <a:lnTo>
                        <a:pt x="387" y="179"/>
                      </a:lnTo>
                      <a:lnTo>
                        <a:pt x="388" y="181"/>
                      </a:lnTo>
                      <a:lnTo>
                        <a:pt x="388" y="182"/>
                      </a:lnTo>
                      <a:lnTo>
                        <a:pt x="390" y="184"/>
                      </a:lnTo>
                      <a:lnTo>
                        <a:pt x="390" y="186"/>
                      </a:lnTo>
                      <a:lnTo>
                        <a:pt x="390" y="187"/>
                      </a:lnTo>
                      <a:lnTo>
                        <a:pt x="390" y="189"/>
                      </a:lnTo>
                      <a:lnTo>
                        <a:pt x="390" y="191"/>
                      </a:lnTo>
                      <a:lnTo>
                        <a:pt x="390" y="192"/>
                      </a:lnTo>
                      <a:lnTo>
                        <a:pt x="392" y="192"/>
                      </a:lnTo>
                      <a:lnTo>
                        <a:pt x="392" y="194"/>
                      </a:lnTo>
                      <a:lnTo>
                        <a:pt x="392" y="196"/>
                      </a:lnTo>
                      <a:lnTo>
                        <a:pt x="392" y="197"/>
                      </a:lnTo>
                      <a:lnTo>
                        <a:pt x="393" y="197"/>
                      </a:lnTo>
                      <a:lnTo>
                        <a:pt x="393" y="199"/>
                      </a:lnTo>
                      <a:lnTo>
                        <a:pt x="393" y="201"/>
                      </a:lnTo>
                      <a:lnTo>
                        <a:pt x="393" y="202"/>
                      </a:lnTo>
                      <a:lnTo>
                        <a:pt x="393" y="204"/>
                      </a:lnTo>
                      <a:lnTo>
                        <a:pt x="395" y="204"/>
                      </a:lnTo>
                      <a:lnTo>
                        <a:pt x="395" y="205"/>
                      </a:lnTo>
                      <a:lnTo>
                        <a:pt x="397" y="207"/>
                      </a:lnTo>
                      <a:lnTo>
                        <a:pt x="397" y="209"/>
                      </a:lnTo>
                      <a:lnTo>
                        <a:pt x="398" y="210"/>
                      </a:lnTo>
                      <a:lnTo>
                        <a:pt x="397" y="212"/>
                      </a:lnTo>
                      <a:lnTo>
                        <a:pt x="395" y="212"/>
                      </a:lnTo>
                      <a:lnTo>
                        <a:pt x="397" y="212"/>
                      </a:lnTo>
                      <a:lnTo>
                        <a:pt x="398" y="212"/>
                      </a:lnTo>
                      <a:lnTo>
                        <a:pt x="402" y="210"/>
                      </a:lnTo>
                      <a:lnTo>
                        <a:pt x="407" y="209"/>
                      </a:lnTo>
                      <a:lnTo>
                        <a:pt x="408" y="209"/>
                      </a:lnTo>
                      <a:lnTo>
                        <a:pt x="412" y="207"/>
                      </a:lnTo>
                      <a:lnTo>
                        <a:pt x="414" y="207"/>
                      </a:lnTo>
                      <a:lnTo>
                        <a:pt x="415" y="207"/>
                      </a:lnTo>
                      <a:lnTo>
                        <a:pt x="417" y="207"/>
                      </a:lnTo>
                      <a:lnTo>
                        <a:pt x="419" y="207"/>
                      </a:lnTo>
                      <a:lnTo>
                        <a:pt x="420" y="207"/>
                      </a:lnTo>
                      <a:lnTo>
                        <a:pt x="420" y="209"/>
                      </a:lnTo>
                      <a:lnTo>
                        <a:pt x="420" y="207"/>
                      </a:lnTo>
                      <a:lnTo>
                        <a:pt x="422" y="209"/>
                      </a:lnTo>
                      <a:lnTo>
                        <a:pt x="422" y="210"/>
                      </a:lnTo>
                      <a:lnTo>
                        <a:pt x="424" y="210"/>
                      </a:lnTo>
                      <a:lnTo>
                        <a:pt x="424" y="212"/>
                      </a:lnTo>
                      <a:lnTo>
                        <a:pt x="425" y="214"/>
                      </a:lnTo>
                      <a:lnTo>
                        <a:pt x="425" y="215"/>
                      </a:lnTo>
                      <a:lnTo>
                        <a:pt x="427" y="215"/>
                      </a:lnTo>
                      <a:lnTo>
                        <a:pt x="427" y="217"/>
                      </a:lnTo>
                      <a:lnTo>
                        <a:pt x="429" y="217"/>
                      </a:lnTo>
                      <a:lnTo>
                        <a:pt x="429" y="219"/>
                      </a:lnTo>
                      <a:lnTo>
                        <a:pt x="429" y="220"/>
                      </a:lnTo>
                      <a:lnTo>
                        <a:pt x="430" y="222"/>
                      </a:lnTo>
                      <a:lnTo>
                        <a:pt x="430" y="224"/>
                      </a:lnTo>
                      <a:lnTo>
                        <a:pt x="432" y="224"/>
                      </a:lnTo>
                      <a:lnTo>
                        <a:pt x="432" y="225"/>
                      </a:lnTo>
                      <a:lnTo>
                        <a:pt x="432" y="227"/>
                      </a:lnTo>
                      <a:lnTo>
                        <a:pt x="432" y="228"/>
                      </a:lnTo>
                      <a:lnTo>
                        <a:pt x="434" y="228"/>
                      </a:lnTo>
                      <a:lnTo>
                        <a:pt x="434" y="230"/>
                      </a:lnTo>
                      <a:lnTo>
                        <a:pt x="439" y="243"/>
                      </a:lnTo>
                      <a:lnTo>
                        <a:pt x="441" y="243"/>
                      </a:lnTo>
                      <a:lnTo>
                        <a:pt x="442" y="243"/>
                      </a:lnTo>
                      <a:lnTo>
                        <a:pt x="444" y="243"/>
                      </a:lnTo>
                      <a:lnTo>
                        <a:pt x="446" y="243"/>
                      </a:lnTo>
                      <a:lnTo>
                        <a:pt x="447" y="243"/>
                      </a:lnTo>
                      <a:lnTo>
                        <a:pt x="449" y="243"/>
                      </a:lnTo>
                      <a:lnTo>
                        <a:pt x="451" y="243"/>
                      </a:lnTo>
                      <a:lnTo>
                        <a:pt x="452" y="245"/>
                      </a:lnTo>
                      <a:lnTo>
                        <a:pt x="454" y="245"/>
                      </a:lnTo>
                      <a:lnTo>
                        <a:pt x="456" y="245"/>
                      </a:lnTo>
                      <a:lnTo>
                        <a:pt x="456" y="247"/>
                      </a:lnTo>
                      <a:lnTo>
                        <a:pt x="457" y="247"/>
                      </a:lnTo>
                      <a:lnTo>
                        <a:pt x="459" y="247"/>
                      </a:lnTo>
                      <a:lnTo>
                        <a:pt x="461" y="248"/>
                      </a:lnTo>
                      <a:lnTo>
                        <a:pt x="463" y="248"/>
                      </a:lnTo>
                      <a:lnTo>
                        <a:pt x="466" y="251"/>
                      </a:lnTo>
                      <a:lnTo>
                        <a:pt x="469" y="253"/>
                      </a:lnTo>
                      <a:lnTo>
                        <a:pt x="471" y="253"/>
                      </a:lnTo>
                      <a:lnTo>
                        <a:pt x="471" y="255"/>
                      </a:lnTo>
                      <a:lnTo>
                        <a:pt x="469" y="255"/>
                      </a:lnTo>
                      <a:lnTo>
                        <a:pt x="469" y="256"/>
                      </a:lnTo>
                      <a:lnTo>
                        <a:pt x="471" y="256"/>
                      </a:lnTo>
                      <a:lnTo>
                        <a:pt x="471" y="258"/>
                      </a:lnTo>
                      <a:lnTo>
                        <a:pt x="473" y="260"/>
                      </a:lnTo>
                      <a:lnTo>
                        <a:pt x="473" y="261"/>
                      </a:lnTo>
                      <a:lnTo>
                        <a:pt x="473" y="265"/>
                      </a:lnTo>
                      <a:lnTo>
                        <a:pt x="473" y="268"/>
                      </a:lnTo>
                      <a:lnTo>
                        <a:pt x="473" y="270"/>
                      </a:lnTo>
                      <a:lnTo>
                        <a:pt x="473" y="271"/>
                      </a:lnTo>
                      <a:lnTo>
                        <a:pt x="474" y="271"/>
                      </a:lnTo>
                      <a:lnTo>
                        <a:pt x="474" y="273"/>
                      </a:lnTo>
                      <a:lnTo>
                        <a:pt x="474" y="274"/>
                      </a:lnTo>
                      <a:lnTo>
                        <a:pt x="474" y="276"/>
                      </a:lnTo>
                      <a:lnTo>
                        <a:pt x="474" y="278"/>
                      </a:lnTo>
                      <a:lnTo>
                        <a:pt x="474" y="279"/>
                      </a:lnTo>
                      <a:lnTo>
                        <a:pt x="473" y="279"/>
                      </a:lnTo>
                      <a:lnTo>
                        <a:pt x="473" y="281"/>
                      </a:lnTo>
                      <a:lnTo>
                        <a:pt x="473" y="283"/>
                      </a:lnTo>
                      <a:lnTo>
                        <a:pt x="473" y="284"/>
                      </a:lnTo>
                      <a:lnTo>
                        <a:pt x="473" y="286"/>
                      </a:lnTo>
                      <a:lnTo>
                        <a:pt x="473" y="288"/>
                      </a:lnTo>
                      <a:lnTo>
                        <a:pt x="471" y="289"/>
                      </a:lnTo>
                      <a:lnTo>
                        <a:pt x="471" y="291"/>
                      </a:lnTo>
                      <a:lnTo>
                        <a:pt x="471" y="293"/>
                      </a:lnTo>
                      <a:lnTo>
                        <a:pt x="471" y="296"/>
                      </a:lnTo>
                      <a:lnTo>
                        <a:pt x="473" y="297"/>
                      </a:lnTo>
                      <a:lnTo>
                        <a:pt x="473" y="299"/>
                      </a:lnTo>
                      <a:lnTo>
                        <a:pt x="473" y="301"/>
                      </a:lnTo>
                      <a:lnTo>
                        <a:pt x="471" y="301"/>
                      </a:lnTo>
                      <a:lnTo>
                        <a:pt x="471" y="302"/>
                      </a:lnTo>
                      <a:lnTo>
                        <a:pt x="471" y="304"/>
                      </a:lnTo>
                      <a:lnTo>
                        <a:pt x="469" y="306"/>
                      </a:lnTo>
                      <a:lnTo>
                        <a:pt x="469" y="307"/>
                      </a:lnTo>
                      <a:lnTo>
                        <a:pt x="468" y="307"/>
                      </a:lnTo>
                      <a:lnTo>
                        <a:pt x="468" y="309"/>
                      </a:lnTo>
                      <a:lnTo>
                        <a:pt x="468" y="314"/>
                      </a:lnTo>
                      <a:lnTo>
                        <a:pt x="468" y="316"/>
                      </a:lnTo>
                      <a:lnTo>
                        <a:pt x="468" y="317"/>
                      </a:lnTo>
                      <a:lnTo>
                        <a:pt x="468" y="319"/>
                      </a:lnTo>
                      <a:lnTo>
                        <a:pt x="466" y="320"/>
                      </a:lnTo>
                      <a:lnTo>
                        <a:pt x="466" y="322"/>
                      </a:lnTo>
                      <a:lnTo>
                        <a:pt x="464" y="322"/>
                      </a:lnTo>
                      <a:lnTo>
                        <a:pt x="464" y="324"/>
                      </a:lnTo>
                      <a:lnTo>
                        <a:pt x="463" y="324"/>
                      </a:lnTo>
                      <a:lnTo>
                        <a:pt x="463" y="327"/>
                      </a:lnTo>
                      <a:lnTo>
                        <a:pt x="461" y="329"/>
                      </a:lnTo>
                      <a:lnTo>
                        <a:pt x="459" y="330"/>
                      </a:lnTo>
                      <a:lnTo>
                        <a:pt x="457" y="330"/>
                      </a:lnTo>
                      <a:lnTo>
                        <a:pt x="457" y="332"/>
                      </a:lnTo>
                      <a:lnTo>
                        <a:pt x="457" y="334"/>
                      </a:lnTo>
                      <a:lnTo>
                        <a:pt x="456" y="334"/>
                      </a:lnTo>
                      <a:lnTo>
                        <a:pt x="457" y="334"/>
                      </a:lnTo>
                      <a:lnTo>
                        <a:pt x="457" y="335"/>
                      </a:lnTo>
                      <a:lnTo>
                        <a:pt x="456" y="335"/>
                      </a:lnTo>
                      <a:lnTo>
                        <a:pt x="456" y="337"/>
                      </a:lnTo>
                      <a:lnTo>
                        <a:pt x="454" y="337"/>
                      </a:lnTo>
                      <a:lnTo>
                        <a:pt x="454" y="339"/>
                      </a:lnTo>
                      <a:lnTo>
                        <a:pt x="452" y="339"/>
                      </a:lnTo>
                      <a:lnTo>
                        <a:pt x="454" y="345"/>
                      </a:lnTo>
                      <a:lnTo>
                        <a:pt x="452" y="345"/>
                      </a:lnTo>
                      <a:lnTo>
                        <a:pt x="451" y="345"/>
                      </a:lnTo>
                      <a:lnTo>
                        <a:pt x="449" y="345"/>
                      </a:lnTo>
                      <a:lnTo>
                        <a:pt x="447" y="345"/>
                      </a:lnTo>
                      <a:lnTo>
                        <a:pt x="444" y="345"/>
                      </a:lnTo>
                      <a:lnTo>
                        <a:pt x="437" y="347"/>
                      </a:lnTo>
                      <a:lnTo>
                        <a:pt x="432" y="348"/>
                      </a:lnTo>
                      <a:lnTo>
                        <a:pt x="430" y="348"/>
                      </a:lnTo>
                      <a:lnTo>
                        <a:pt x="429" y="348"/>
                      </a:lnTo>
                      <a:lnTo>
                        <a:pt x="425" y="352"/>
                      </a:lnTo>
                      <a:lnTo>
                        <a:pt x="424" y="353"/>
                      </a:lnTo>
                      <a:lnTo>
                        <a:pt x="422" y="353"/>
                      </a:lnTo>
                      <a:lnTo>
                        <a:pt x="420" y="355"/>
                      </a:lnTo>
                      <a:lnTo>
                        <a:pt x="420" y="357"/>
                      </a:lnTo>
                      <a:lnTo>
                        <a:pt x="419" y="358"/>
                      </a:lnTo>
                      <a:lnTo>
                        <a:pt x="419" y="361"/>
                      </a:lnTo>
                      <a:lnTo>
                        <a:pt x="417" y="363"/>
                      </a:lnTo>
                      <a:lnTo>
                        <a:pt x="417" y="365"/>
                      </a:lnTo>
                      <a:lnTo>
                        <a:pt x="415" y="368"/>
                      </a:lnTo>
                      <a:lnTo>
                        <a:pt x="415" y="370"/>
                      </a:lnTo>
                      <a:lnTo>
                        <a:pt x="414" y="371"/>
                      </a:lnTo>
                      <a:lnTo>
                        <a:pt x="414" y="373"/>
                      </a:lnTo>
                      <a:lnTo>
                        <a:pt x="412" y="376"/>
                      </a:lnTo>
                      <a:lnTo>
                        <a:pt x="412" y="378"/>
                      </a:lnTo>
                      <a:lnTo>
                        <a:pt x="410" y="380"/>
                      </a:lnTo>
                      <a:lnTo>
                        <a:pt x="410" y="381"/>
                      </a:lnTo>
                      <a:lnTo>
                        <a:pt x="407" y="384"/>
                      </a:lnTo>
                      <a:lnTo>
                        <a:pt x="405" y="386"/>
                      </a:lnTo>
                      <a:lnTo>
                        <a:pt x="405" y="388"/>
                      </a:lnTo>
                      <a:lnTo>
                        <a:pt x="403" y="388"/>
                      </a:lnTo>
                      <a:lnTo>
                        <a:pt x="403" y="389"/>
                      </a:lnTo>
                      <a:lnTo>
                        <a:pt x="402" y="389"/>
                      </a:lnTo>
                      <a:lnTo>
                        <a:pt x="400" y="391"/>
                      </a:lnTo>
                      <a:lnTo>
                        <a:pt x="398" y="393"/>
                      </a:lnTo>
                      <a:lnTo>
                        <a:pt x="398" y="394"/>
                      </a:lnTo>
                      <a:lnTo>
                        <a:pt x="395" y="394"/>
                      </a:lnTo>
                      <a:lnTo>
                        <a:pt x="393" y="396"/>
                      </a:lnTo>
                      <a:lnTo>
                        <a:pt x="392" y="398"/>
                      </a:lnTo>
                      <a:lnTo>
                        <a:pt x="390" y="399"/>
                      </a:lnTo>
                      <a:lnTo>
                        <a:pt x="387" y="399"/>
                      </a:lnTo>
                      <a:lnTo>
                        <a:pt x="375" y="403"/>
                      </a:lnTo>
                      <a:lnTo>
                        <a:pt x="373" y="404"/>
                      </a:lnTo>
                      <a:lnTo>
                        <a:pt x="371" y="404"/>
                      </a:lnTo>
                      <a:lnTo>
                        <a:pt x="370" y="406"/>
                      </a:lnTo>
                      <a:lnTo>
                        <a:pt x="370" y="407"/>
                      </a:lnTo>
                      <a:lnTo>
                        <a:pt x="368" y="409"/>
                      </a:lnTo>
                      <a:lnTo>
                        <a:pt x="368" y="411"/>
                      </a:lnTo>
                      <a:lnTo>
                        <a:pt x="366" y="411"/>
                      </a:lnTo>
                      <a:lnTo>
                        <a:pt x="363" y="414"/>
                      </a:lnTo>
                      <a:lnTo>
                        <a:pt x="361" y="416"/>
                      </a:lnTo>
                      <a:lnTo>
                        <a:pt x="361" y="417"/>
                      </a:lnTo>
                      <a:lnTo>
                        <a:pt x="360" y="417"/>
                      </a:lnTo>
                      <a:lnTo>
                        <a:pt x="358" y="419"/>
                      </a:lnTo>
                      <a:lnTo>
                        <a:pt x="358" y="417"/>
                      </a:lnTo>
                      <a:lnTo>
                        <a:pt x="358" y="419"/>
                      </a:lnTo>
                      <a:lnTo>
                        <a:pt x="356" y="419"/>
                      </a:lnTo>
                      <a:lnTo>
                        <a:pt x="354" y="419"/>
                      </a:lnTo>
                      <a:lnTo>
                        <a:pt x="353" y="419"/>
                      </a:lnTo>
                      <a:lnTo>
                        <a:pt x="351" y="419"/>
                      </a:lnTo>
                      <a:lnTo>
                        <a:pt x="349" y="421"/>
                      </a:lnTo>
                      <a:lnTo>
                        <a:pt x="348" y="421"/>
                      </a:lnTo>
                      <a:lnTo>
                        <a:pt x="346" y="422"/>
                      </a:lnTo>
                      <a:lnTo>
                        <a:pt x="344" y="424"/>
                      </a:lnTo>
                      <a:lnTo>
                        <a:pt x="343" y="427"/>
                      </a:lnTo>
                      <a:lnTo>
                        <a:pt x="339" y="430"/>
                      </a:lnTo>
                      <a:lnTo>
                        <a:pt x="339" y="432"/>
                      </a:lnTo>
                      <a:lnTo>
                        <a:pt x="339" y="434"/>
                      </a:lnTo>
                      <a:lnTo>
                        <a:pt x="338" y="434"/>
                      </a:lnTo>
                      <a:lnTo>
                        <a:pt x="336" y="435"/>
                      </a:lnTo>
                      <a:lnTo>
                        <a:pt x="336" y="437"/>
                      </a:lnTo>
                      <a:lnTo>
                        <a:pt x="334" y="437"/>
                      </a:lnTo>
                      <a:lnTo>
                        <a:pt x="334" y="439"/>
                      </a:lnTo>
                      <a:lnTo>
                        <a:pt x="332" y="444"/>
                      </a:lnTo>
                      <a:lnTo>
                        <a:pt x="332" y="445"/>
                      </a:lnTo>
                      <a:lnTo>
                        <a:pt x="329" y="447"/>
                      </a:lnTo>
                      <a:lnTo>
                        <a:pt x="329" y="449"/>
                      </a:lnTo>
                      <a:lnTo>
                        <a:pt x="327" y="449"/>
                      </a:lnTo>
                      <a:lnTo>
                        <a:pt x="327" y="450"/>
                      </a:lnTo>
                      <a:lnTo>
                        <a:pt x="327" y="453"/>
                      </a:lnTo>
                      <a:lnTo>
                        <a:pt x="326" y="453"/>
                      </a:lnTo>
                      <a:lnTo>
                        <a:pt x="324" y="457"/>
                      </a:lnTo>
                      <a:lnTo>
                        <a:pt x="324" y="458"/>
                      </a:lnTo>
                      <a:lnTo>
                        <a:pt x="322" y="460"/>
                      </a:lnTo>
                      <a:lnTo>
                        <a:pt x="321" y="460"/>
                      </a:lnTo>
                      <a:lnTo>
                        <a:pt x="321" y="462"/>
                      </a:lnTo>
                      <a:lnTo>
                        <a:pt x="319" y="462"/>
                      </a:lnTo>
                      <a:lnTo>
                        <a:pt x="317" y="463"/>
                      </a:lnTo>
                      <a:lnTo>
                        <a:pt x="314" y="468"/>
                      </a:lnTo>
                      <a:lnTo>
                        <a:pt x="311" y="470"/>
                      </a:lnTo>
                      <a:lnTo>
                        <a:pt x="309" y="472"/>
                      </a:lnTo>
                      <a:lnTo>
                        <a:pt x="309" y="473"/>
                      </a:lnTo>
                      <a:lnTo>
                        <a:pt x="307" y="475"/>
                      </a:lnTo>
                      <a:lnTo>
                        <a:pt x="305" y="480"/>
                      </a:lnTo>
                      <a:lnTo>
                        <a:pt x="304" y="480"/>
                      </a:lnTo>
                      <a:lnTo>
                        <a:pt x="304" y="481"/>
                      </a:lnTo>
                      <a:lnTo>
                        <a:pt x="304" y="483"/>
                      </a:lnTo>
                      <a:lnTo>
                        <a:pt x="302" y="483"/>
                      </a:lnTo>
                      <a:lnTo>
                        <a:pt x="302" y="485"/>
                      </a:lnTo>
                      <a:lnTo>
                        <a:pt x="302" y="486"/>
                      </a:lnTo>
                      <a:lnTo>
                        <a:pt x="302" y="488"/>
                      </a:lnTo>
                      <a:lnTo>
                        <a:pt x="302" y="490"/>
                      </a:lnTo>
                      <a:lnTo>
                        <a:pt x="302" y="491"/>
                      </a:lnTo>
                      <a:lnTo>
                        <a:pt x="302" y="493"/>
                      </a:lnTo>
                      <a:lnTo>
                        <a:pt x="302" y="495"/>
                      </a:lnTo>
                      <a:lnTo>
                        <a:pt x="302" y="499"/>
                      </a:lnTo>
                      <a:lnTo>
                        <a:pt x="302" y="503"/>
                      </a:lnTo>
                      <a:lnTo>
                        <a:pt x="302" y="506"/>
                      </a:lnTo>
                      <a:lnTo>
                        <a:pt x="300" y="508"/>
                      </a:lnTo>
                      <a:lnTo>
                        <a:pt x="299" y="509"/>
                      </a:lnTo>
                      <a:lnTo>
                        <a:pt x="295" y="513"/>
                      </a:lnTo>
                      <a:lnTo>
                        <a:pt x="294" y="514"/>
                      </a:lnTo>
                      <a:lnTo>
                        <a:pt x="294" y="516"/>
                      </a:lnTo>
                      <a:lnTo>
                        <a:pt x="292" y="516"/>
                      </a:lnTo>
                      <a:lnTo>
                        <a:pt x="290" y="516"/>
                      </a:lnTo>
                      <a:lnTo>
                        <a:pt x="289" y="518"/>
                      </a:lnTo>
                      <a:lnTo>
                        <a:pt x="284" y="518"/>
                      </a:lnTo>
                      <a:lnTo>
                        <a:pt x="282" y="518"/>
                      </a:lnTo>
                      <a:lnTo>
                        <a:pt x="282" y="516"/>
                      </a:lnTo>
                      <a:lnTo>
                        <a:pt x="280" y="516"/>
                      </a:lnTo>
                      <a:lnTo>
                        <a:pt x="280" y="514"/>
                      </a:lnTo>
                      <a:lnTo>
                        <a:pt x="278" y="514"/>
                      </a:lnTo>
                      <a:lnTo>
                        <a:pt x="278" y="516"/>
                      </a:lnTo>
                      <a:lnTo>
                        <a:pt x="278" y="518"/>
                      </a:lnTo>
                      <a:lnTo>
                        <a:pt x="277" y="518"/>
                      </a:lnTo>
                      <a:lnTo>
                        <a:pt x="275" y="518"/>
                      </a:lnTo>
                      <a:lnTo>
                        <a:pt x="275" y="516"/>
                      </a:lnTo>
                      <a:lnTo>
                        <a:pt x="277" y="514"/>
                      </a:lnTo>
                      <a:lnTo>
                        <a:pt x="275" y="514"/>
                      </a:lnTo>
                      <a:lnTo>
                        <a:pt x="275" y="513"/>
                      </a:lnTo>
                      <a:lnTo>
                        <a:pt x="273" y="513"/>
                      </a:lnTo>
                      <a:lnTo>
                        <a:pt x="273" y="514"/>
                      </a:lnTo>
                      <a:lnTo>
                        <a:pt x="273" y="516"/>
                      </a:lnTo>
                      <a:lnTo>
                        <a:pt x="273" y="518"/>
                      </a:lnTo>
                      <a:lnTo>
                        <a:pt x="272" y="518"/>
                      </a:lnTo>
                      <a:lnTo>
                        <a:pt x="270" y="518"/>
                      </a:lnTo>
                      <a:lnTo>
                        <a:pt x="268" y="518"/>
                      </a:lnTo>
                      <a:lnTo>
                        <a:pt x="267" y="519"/>
                      </a:lnTo>
                      <a:lnTo>
                        <a:pt x="267" y="521"/>
                      </a:lnTo>
                      <a:lnTo>
                        <a:pt x="268" y="522"/>
                      </a:lnTo>
                      <a:lnTo>
                        <a:pt x="268" y="524"/>
                      </a:lnTo>
                      <a:lnTo>
                        <a:pt x="267" y="524"/>
                      </a:lnTo>
                      <a:lnTo>
                        <a:pt x="265" y="524"/>
                      </a:lnTo>
                      <a:lnTo>
                        <a:pt x="263" y="522"/>
                      </a:lnTo>
                      <a:lnTo>
                        <a:pt x="262" y="522"/>
                      </a:lnTo>
                      <a:lnTo>
                        <a:pt x="262" y="521"/>
                      </a:lnTo>
                      <a:lnTo>
                        <a:pt x="263" y="519"/>
                      </a:lnTo>
                      <a:lnTo>
                        <a:pt x="262" y="518"/>
                      </a:lnTo>
                      <a:lnTo>
                        <a:pt x="262" y="516"/>
                      </a:lnTo>
                      <a:lnTo>
                        <a:pt x="260" y="516"/>
                      </a:lnTo>
                      <a:lnTo>
                        <a:pt x="258" y="516"/>
                      </a:lnTo>
                      <a:lnTo>
                        <a:pt x="256" y="514"/>
                      </a:lnTo>
                      <a:lnTo>
                        <a:pt x="255" y="514"/>
                      </a:lnTo>
                      <a:lnTo>
                        <a:pt x="253" y="514"/>
                      </a:lnTo>
                      <a:lnTo>
                        <a:pt x="251" y="514"/>
                      </a:lnTo>
                      <a:lnTo>
                        <a:pt x="250" y="514"/>
                      </a:lnTo>
                      <a:lnTo>
                        <a:pt x="248" y="514"/>
                      </a:lnTo>
                      <a:lnTo>
                        <a:pt x="246" y="514"/>
                      </a:lnTo>
                      <a:lnTo>
                        <a:pt x="245" y="513"/>
                      </a:lnTo>
                      <a:lnTo>
                        <a:pt x="243" y="513"/>
                      </a:lnTo>
                      <a:lnTo>
                        <a:pt x="241" y="513"/>
                      </a:lnTo>
                      <a:lnTo>
                        <a:pt x="240" y="509"/>
                      </a:lnTo>
                      <a:lnTo>
                        <a:pt x="238" y="508"/>
                      </a:lnTo>
                      <a:lnTo>
                        <a:pt x="236" y="508"/>
                      </a:lnTo>
                      <a:lnTo>
                        <a:pt x="236" y="506"/>
                      </a:lnTo>
                      <a:lnTo>
                        <a:pt x="235" y="506"/>
                      </a:lnTo>
                      <a:lnTo>
                        <a:pt x="233" y="508"/>
                      </a:lnTo>
                      <a:lnTo>
                        <a:pt x="231" y="506"/>
                      </a:lnTo>
                      <a:lnTo>
                        <a:pt x="233" y="506"/>
                      </a:lnTo>
                      <a:lnTo>
                        <a:pt x="233" y="504"/>
                      </a:lnTo>
                      <a:lnTo>
                        <a:pt x="233" y="503"/>
                      </a:lnTo>
                      <a:lnTo>
                        <a:pt x="233" y="499"/>
                      </a:lnTo>
                      <a:lnTo>
                        <a:pt x="233" y="498"/>
                      </a:lnTo>
                      <a:lnTo>
                        <a:pt x="231" y="498"/>
                      </a:lnTo>
                      <a:lnTo>
                        <a:pt x="231" y="496"/>
                      </a:lnTo>
                      <a:lnTo>
                        <a:pt x="231" y="495"/>
                      </a:lnTo>
                      <a:lnTo>
                        <a:pt x="233" y="495"/>
                      </a:lnTo>
                      <a:lnTo>
                        <a:pt x="235" y="495"/>
                      </a:lnTo>
                      <a:lnTo>
                        <a:pt x="235" y="491"/>
                      </a:lnTo>
                      <a:lnTo>
                        <a:pt x="233" y="490"/>
                      </a:lnTo>
                      <a:lnTo>
                        <a:pt x="233" y="488"/>
                      </a:lnTo>
                      <a:lnTo>
                        <a:pt x="231" y="488"/>
                      </a:lnTo>
                      <a:lnTo>
                        <a:pt x="231" y="486"/>
                      </a:lnTo>
                      <a:lnTo>
                        <a:pt x="229" y="486"/>
                      </a:lnTo>
                      <a:lnTo>
                        <a:pt x="229" y="488"/>
                      </a:lnTo>
                      <a:lnTo>
                        <a:pt x="228" y="488"/>
                      </a:lnTo>
                      <a:lnTo>
                        <a:pt x="226" y="488"/>
                      </a:lnTo>
                      <a:lnTo>
                        <a:pt x="224" y="490"/>
                      </a:lnTo>
                      <a:lnTo>
                        <a:pt x="223" y="490"/>
                      </a:lnTo>
                      <a:lnTo>
                        <a:pt x="221" y="490"/>
                      </a:lnTo>
                      <a:lnTo>
                        <a:pt x="221" y="488"/>
                      </a:lnTo>
                      <a:lnTo>
                        <a:pt x="223" y="488"/>
                      </a:lnTo>
                      <a:lnTo>
                        <a:pt x="223" y="486"/>
                      </a:lnTo>
                      <a:lnTo>
                        <a:pt x="224" y="485"/>
                      </a:lnTo>
                      <a:lnTo>
                        <a:pt x="223" y="485"/>
                      </a:lnTo>
                      <a:lnTo>
                        <a:pt x="223" y="483"/>
                      </a:lnTo>
                      <a:lnTo>
                        <a:pt x="223" y="481"/>
                      </a:lnTo>
                      <a:lnTo>
                        <a:pt x="224" y="481"/>
                      </a:lnTo>
                      <a:lnTo>
                        <a:pt x="224" y="478"/>
                      </a:lnTo>
                      <a:lnTo>
                        <a:pt x="226" y="478"/>
                      </a:lnTo>
                      <a:lnTo>
                        <a:pt x="226" y="476"/>
                      </a:lnTo>
                      <a:lnTo>
                        <a:pt x="226" y="475"/>
                      </a:lnTo>
                      <a:lnTo>
                        <a:pt x="224" y="473"/>
                      </a:lnTo>
                      <a:lnTo>
                        <a:pt x="224" y="472"/>
                      </a:lnTo>
                      <a:lnTo>
                        <a:pt x="224" y="470"/>
                      </a:lnTo>
                      <a:lnTo>
                        <a:pt x="224" y="468"/>
                      </a:lnTo>
                      <a:lnTo>
                        <a:pt x="224" y="467"/>
                      </a:lnTo>
                      <a:lnTo>
                        <a:pt x="223" y="467"/>
                      </a:lnTo>
                      <a:lnTo>
                        <a:pt x="223" y="465"/>
                      </a:lnTo>
                      <a:lnTo>
                        <a:pt x="223" y="463"/>
                      </a:lnTo>
                      <a:lnTo>
                        <a:pt x="221" y="463"/>
                      </a:lnTo>
                      <a:lnTo>
                        <a:pt x="218" y="463"/>
                      </a:lnTo>
                      <a:lnTo>
                        <a:pt x="216" y="463"/>
                      </a:lnTo>
                      <a:lnTo>
                        <a:pt x="214" y="465"/>
                      </a:lnTo>
                      <a:lnTo>
                        <a:pt x="213" y="465"/>
                      </a:lnTo>
                      <a:lnTo>
                        <a:pt x="213" y="463"/>
                      </a:lnTo>
                      <a:lnTo>
                        <a:pt x="209" y="462"/>
                      </a:lnTo>
                      <a:lnTo>
                        <a:pt x="209" y="460"/>
                      </a:lnTo>
                      <a:lnTo>
                        <a:pt x="209" y="458"/>
                      </a:lnTo>
                      <a:lnTo>
                        <a:pt x="208" y="458"/>
                      </a:lnTo>
                      <a:lnTo>
                        <a:pt x="206" y="455"/>
                      </a:lnTo>
                      <a:lnTo>
                        <a:pt x="208" y="455"/>
                      </a:lnTo>
                      <a:lnTo>
                        <a:pt x="208" y="453"/>
                      </a:lnTo>
                      <a:lnTo>
                        <a:pt x="206" y="453"/>
                      </a:lnTo>
                      <a:lnTo>
                        <a:pt x="206" y="452"/>
                      </a:lnTo>
                      <a:lnTo>
                        <a:pt x="208" y="450"/>
                      </a:lnTo>
                      <a:lnTo>
                        <a:pt x="208" y="449"/>
                      </a:lnTo>
                      <a:lnTo>
                        <a:pt x="206" y="447"/>
                      </a:lnTo>
                      <a:lnTo>
                        <a:pt x="206" y="445"/>
                      </a:lnTo>
                      <a:lnTo>
                        <a:pt x="206" y="444"/>
                      </a:lnTo>
                      <a:lnTo>
                        <a:pt x="208" y="444"/>
                      </a:lnTo>
                      <a:lnTo>
                        <a:pt x="208" y="442"/>
                      </a:lnTo>
                      <a:lnTo>
                        <a:pt x="208" y="440"/>
                      </a:lnTo>
                      <a:lnTo>
                        <a:pt x="208" y="439"/>
                      </a:lnTo>
                      <a:lnTo>
                        <a:pt x="208" y="437"/>
                      </a:lnTo>
                      <a:lnTo>
                        <a:pt x="206" y="437"/>
                      </a:lnTo>
                      <a:lnTo>
                        <a:pt x="204" y="437"/>
                      </a:lnTo>
                      <a:lnTo>
                        <a:pt x="202" y="435"/>
                      </a:lnTo>
                      <a:lnTo>
                        <a:pt x="201" y="434"/>
                      </a:lnTo>
                      <a:lnTo>
                        <a:pt x="201" y="432"/>
                      </a:lnTo>
                      <a:lnTo>
                        <a:pt x="196" y="429"/>
                      </a:lnTo>
                      <a:lnTo>
                        <a:pt x="194" y="427"/>
                      </a:lnTo>
                      <a:lnTo>
                        <a:pt x="192" y="427"/>
                      </a:lnTo>
                      <a:lnTo>
                        <a:pt x="192" y="426"/>
                      </a:lnTo>
                      <a:lnTo>
                        <a:pt x="192" y="424"/>
                      </a:lnTo>
                      <a:lnTo>
                        <a:pt x="191" y="424"/>
                      </a:lnTo>
                      <a:lnTo>
                        <a:pt x="189" y="424"/>
                      </a:lnTo>
                      <a:lnTo>
                        <a:pt x="187" y="424"/>
                      </a:lnTo>
                      <a:lnTo>
                        <a:pt x="186" y="424"/>
                      </a:lnTo>
                      <a:lnTo>
                        <a:pt x="184" y="424"/>
                      </a:lnTo>
                      <a:lnTo>
                        <a:pt x="184" y="421"/>
                      </a:lnTo>
                      <a:lnTo>
                        <a:pt x="182" y="419"/>
                      </a:lnTo>
                      <a:lnTo>
                        <a:pt x="182" y="417"/>
                      </a:lnTo>
                      <a:lnTo>
                        <a:pt x="182" y="416"/>
                      </a:lnTo>
                      <a:lnTo>
                        <a:pt x="180" y="416"/>
                      </a:lnTo>
                      <a:lnTo>
                        <a:pt x="180" y="414"/>
                      </a:lnTo>
                      <a:lnTo>
                        <a:pt x="180" y="412"/>
                      </a:lnTo>
                      <a:lnTo>
                        <a:pt x="180" y="411"/>
                      </a:lnTo>
                      <a:lnTo>
                        <a:pt x="180" y="409"/>
                      </a:lnTo>
                      <a:lnTo>
                        <a:pt x="180" y="407"/>
                      </a:lnTo>
                      <a:lnTo>
                        <a:pt x="179" y="407"/>
                      </a:lnTo>
                      <a:lnTo>
                        <a:pt x="179" y="406"/>
                      </a:lnTo>
                      <a:lnTo>
                        <a:pt x="177" y="406"/>
                      </a:lnTo>
                      <a:lnTo>
                        <a:pt x="177" y="404"/>
                      </a:lnTo>
                      <a:lnTo>
                        <a:pt x="177" y="403"/>
                      </a:lnTo>
                      <a:lnTo>
                        <a:pt x="177" y="401"/>
                      </a:lnTo>
                      <a:lnTo>
                        <a:pt x="175" y="401"/>
                      </a:lnTo>
                      <a:lnTo>
                        <a:pt x="174" y="399"/>
                      </a:lnTo>
                      <a:lnTo>
                        <a:pt x="174" y="398"/>
                      </a:lnTo>
                      <a:lnTo>
                        <a:pt x="174" y="396"/>
                      </a:lnTo>
                      <a:lnTo>
                        <a:pt x="172" y="396"/>
                      </a:lnTo>
                      <a:lnTo>
                        <a:pt x="172" y="394"/>
                      </a:lnTo>
                      <a:lnTo>
                        <a:pt x="170" y="394"/>
                      </a:lnTo>
                      <a:lnTo>
                        <a:pt x="170" y="393"/>
                      </a:lnTo>
                      <a:lnTo>
                        <a:pt x="169" y="393"/>
                      </a:lnTo>
                      <a:lnTo>
                        <a:pt x="169" y="389"/>
                      </a:lnTo>
                      <a:lnTo>
                        <a:pt x="167" y="389"/>
                      </a:lnTo>
                      <a:lnTo>
                        <a:pt x="167" y="388"/>
                      </a:lnTo>
                      <a:lnTo>
                        <a:pt x="169" y="386"/>
                      </a:lnTo>
                      <a:lnTo>
                        <a:pt x="167" y="384"/>
                      </a:lnTo>
                      <a:lnTo>
                        <a:pt x="167" y="383"/>
                      </a:lnTo>
                      <a:lnTo>
                        <a:pt x="165" y="383"/>
                      </a:lnTo>
                      <a:lnTo>
                        <a:pt x="165" y="381"/>
                      </a:lnTo>
                      <a:lnTo>
                        <a:pt x="165" y="380"/>
                      </a:lnTo>
                      <a:lnTo>
                        <a:pt x="164" y="380"/>
                      </a:lnTo>
                      <a:lnTo>
                        <a:pt x="164" y="378"/>
                      </a:lnTo>
                      <a:lnTo>
                        <a:pt x="162" y="378"/>
                      </a:lnTo>
                      <a:lnTo>
                        <a:pt x="162" y="376"/>
                      </a:lnTo>
                      <a:lnTo>
                        <a:pt x="162" y="375"/>
                      </a:lnTo>
                      <a:lnTo>
                        <a:pt x="162" y="373"/>
                      </a:lnTo>
                      <a:lnTo>
                        <a:pt x="162" y="371"/>
                      </a:lnTo>
                      <a:lnTo>
                        <a:pt x="162" y="370"/>
                      </a:lnTo>
                      <a:lnTo>
                        <a:pt x="162" y="368"/>
                      </a:lnTo>
                      <a:lnTo>
                        <a:pt x="164" y="366"/>
                      </a:lnTo>
                      <a:lnTo>
                        <a:pt x="164" y="365"/>
                      </a:lnTo>
                      <a:lnTo>
                        <a:pt x="162" y="365"/>
                      </a:lnTo>
                      <a:lnTo>
                        <a:pt x="162" y="363"/>
                      </a:lnTo>
                      <a:lnTo>
                        <a:pt x="162" y="361"/>
                      </a:lnTo>
                      <a:lnTo>
                        <a:pt x="164" y="361"/>
                      </a:lnTo>
                      <a:lnTo>
                        <a:pt x="164" y="360"/>
                      </a:lnTo>
                      <a:lnTo>
                        <a:pt x="164" y="358"/>
                      </a:lnTo>
                      <a:lnTo>
                        <a:pt x="164" y="357"/>
                      </a:lnTo>
                      <a:lnTo>
                        <a:pt x="164" y="355"/>
                      </a:lnTo>
                      <a:lnTo>
                        <a:pt x="165" y="353"/>
                      </a:lnTo>
                      <a:lnTo>
                        <a:pt x="165" y="352"/>
                      </a:lnTo>
                      <a:lnTo>
                        <a:pt x="167" y="352"/>
                      </a:lnTo>
                      <a:lnTo>
                        <a:pt x="167" y="350"/>
                      </a:lnTo>
                      <a:lnTo>
                        <a:pt x="167" y="348"/>
                      </a:lnTo>
                      <a:lnTo>
                        <a:pt x="167" y="347"/>
                      </a:lnTo>
                      <a:lnTo>
                        <a:pt x="167" y="345"/>
                      </a:lnTo>
                      <a:lnTo>
                        <a:pt x="165" y="345"/>
                      </a:lnTo>
                      <a:lnTo>
                        <a:pt x="165" y="347"/>
                      </a:lnTo>
                      <a:lnTo>
                        <a:pt x="164" y="345"/>
                      </a:lnTo>
                      <a:lnTo>
                        <a:pt x="164" y="343"/>
                      </a:lnTo>
                      <a:lnTo>
                        <a:pt x="162" y="342"/>
                      </a:lnTo>
                      <a:lnTo>
                        <a:pt x="160" y="342"/>
                      </a:lnTo>
                      <a:lnTo>
                        <a:pt x="160" y="340"/>
                      </a:lnTo>
                      <a:lnTo>
                        <a:pt x="160" y="339"/>
                      </a:lnTo>
                      <a:lnTo>
                        <a:pt x="159" y="339"/>
                      </a:lnTo>
                      <a:lnTo>
                        <a:pt x="157" y="337"/>
                      </a:lnTo>
                      <a:lnTo>
                        <a:pt x="155" y="337"/>
                      </a:lnTo>
                      <a:lnTo>
                        <a:pt x="153" y="335"/>
                      </a:lnTo>
                      <a:lnTo>
                        <a:pt x="152" y="334"/>
                      </a:lnTo>
                      <a:lnTo>
                        <a:pt x="150" y="332"/>
                      </a:lnTo>
                      <a:lnTo>
                        <a:pt x="148" y="330"/>
                      </a:lnTo>
                      <a:lnTo>
                        <a:pt x="147" y="330"/>
                      </a:lnTo>
                      <a:lnTo>
                        <a:pt x="143" y="329"/>
                      </a:lnTo>
                      <a:lnTo>
                        <a:pt x="143" y="327"/>
                      </a:lnTo>
                      <a:lnTo>
                        <a:pt x="142" y="327"/>
                      </a:lnTo>
                      <a:lnTo>
                        <a:pt x="142" y="325"/>
                      </a:lnTo>
                      <a:lnTo>
                        <a:pt x="140" y="325"/>
                      </a:lnTo>
                      <a:lnTo>
                        <a:pt x="138" y="324"/>
                      </a:lnTo>
                      <a:lnTo>
                        <a:pt x="138" y="322"/>
                      </a:lnTo>
                      <a:lnTo>
                        <a:pt x="138" y="320"/>
                      </a:lnTo>
                      <a:lnTo>
                        <a:pt x="138" y="319"/>
                      </a:lnTo>
                      <a:lnTo>
                        <a:pt x="137" y="319"/>
                      </a:lnTo>
                      <a:lnTo>
                        <a:pt x="137" y="317"/>
                      </a:lnTo>
                      <a:lnTo>
                        <a:pt x="137" y="316"/>
                      </a:lnTo>
                      <a:lnTo>
                        <a:pt x="138" y="316"/>
                      </a:lnTo>
                      <a:lnTo>
                        <a:pt x="138" y="314"/>
                      </a:lnTo>
                      <a:lnTo>
                        <a:pt x="137" y="314"/>
                      </a:lnTo>
                      <a:lnTo>
                        <a:pt x="137" y="312"/>
                      </a:lnTo>
                      <a:lnTo>
                        <a:pt x="135" y="312"/>
                      </a:lnTo>
                      <a:lnTo>
                        <a:pt x="135" y="311"/>
                      </a:lnTo>
                      <a:lnTo>
                        <a:pt x="135" y="307"/>
                      </a:lnTo>
                      <a:lnTo>
                        <a:pt x="135" y="306"/>
                      </a:lnTo>
                      <a:lnTo>
                        <a:pt x="135" y="304"/>
                      </a:lnTo>
                      <a:lnTo>
                        <a:pt x="137" y="304"/>
                      </a:lnTo>
                      <a:lnTo>
                        <a:pt x="138" y="304"/>
                      </a:lnTo>
                      <a:lnTo>
                        <a:pt x="140" y="304"/>
                      </a:lnTo>
                      <a:lnTo>
                        <a:pt x="140" y="302"/>
                      </a:lnTo>
                      <a:lnTo>
                        <a:pt x="140" y="301"/>
                      </a:lnTo>
                      <a:lnTo>
                        <a:pt x="140" y="299"/>
                      </a:lnTo>
                      <a:lnTo>
                        <a:pt x="138" y="299"/>
                      </a:lnTo>
                      <a:lnTo>
                        <a:pt x="138" y="297"/>
                      </a:lnTo>
                      <a:lnTo>
                        <a:pt x="137" y="297"/>
                      </a:lnTo>
                      <a:lnTo>
                        <a:pt x="137" y="296"/>
                      </a:lnTo>
                      <a:lnTo>
                        <a:pt x="135" y="296"/>
                      </a:lnTo>
                      <a:lnTo>
                        <a:pt x="133" y="296"/>
                      </a:lnTo>
                      <a:lnTo>
                        <a:pt x="131" y="297"/>
                      </a:lnTo>
                      <a:lnTo>
                        <a:pt x="130" y="297"/>
                      </a:lnTo>
                      <a:lnTo>
                        <a:pt x="128" y="297"/>
                      </a:lnTo>
                      <a:lnTo>
                        <a:pt x="128" y="299"/>
                      </a:lnTo>
                      <a:lnTo>
                        <a:pt x="126" y="299"/>
                      </a:lnTo>
                      <a:lnTo>
                        <a:pt x="126" y="297"/>
                      </a:lnTo>
                      <a:lnTo>
                        <a:pt x="126" y="296"/>
                      </a:lnTo>
                      <a:lnTo>
                        <a:pt x="128" y="296"/>
                      </a:lnTo>
                      <a:lnTo>
                        <a:pt x="128" y="294"/>
                      </a:lnTo>
                      <a:lnTo>
                        <a:pt x="128" y="293"/>
                      </a:lnTo>
                      <a:lnTo>
                        <a:pt x="126" y="293"/>
                      </a:lnTo>
                      <a:lnTo>
                        <a:pt x="125" y="293"/>
                      </a:lnTo>
                      <a:lnTo>
                        <a:pt x="125" y="291"/>
                      </a:lnTo>
                      <a:lnTo>
                        <a:pt x="125" y="289"/>
                      </a:lnTo>
                      <a:lnTo>
                        <a:pt x="126" y="289"/>
                      </a:lnTo>
                      <a:lnTo>
                        <a:pt x="126" y="288"/>
                      </a:lnTo>
                      <a:lnTo>
                        <a:pt x="126" y="286"/>
                      </a:lnTo>
                      <a:lnTo>
                        <a:pt x="125" y="286"/>
                      </a:lnTo>
                      <a:lnTo>
                        <a:pt x="123" y="286"/>
                      </a:lnTo>
                      <a:lnTo>
                        <a:pt x="121" y="286"/>
                      </a:lnTo>
                      <a:lnTo>
                        <a:pt x="121" y="284"/>
                      </a:lnTo>
                      <a:lnTo>
                        <a:pt x="120" y="286"/>
                      </a:lnTo>
                      <a:lnTo>
                        <a:pt x="118" y="286"/>
                      </a:lnTo>
                      <a:lnTo>
                        <a:pt x="116" y="288"/>
                      </a:lnTo>
                      <a:lnTo>
                        <a:pt x="115" y="286"/>
                      </a:lnTo>
                      <a:lnTo>
                        <a:pt x="116" y="286"/>
                      </a:lnTo>
                      <a:lnTo>
                        <a:pt x="116" y="284"/>
                      </a:lnTo>
                      <a:lnTo>
                        <a:pt x="116" y="283"/>
                      </a:lnTo>
                      <a:lnTo>
                        <a:pt x="116" y="281"/>
                      </a:lnTo>
                      <a:lnTo>
                        <a:pt x="116" y="279"/>
                      </a:lnTo>
                      <a:lnTo>
                        <a:pt x="116" y="281"/>
                      </a:lnTo>
                      <a:lnTo>
                        <a:pt x="115" y="281"/>
                      </a:lnTo>
                      <a:lnTo>
                        <a:pt x="115" y="283"/>
                      </a:lnTo>
                      <a:lnTo>
                        <a:pt x="113" y="283"/>
                      </a:lnTo>
                      <a:lnTo>
                        <a:pt x="111" y="283"/>
                      </a:lnTo>
                      <a:lnTo>
                        <a:pt x="110" y="283"/>
                      </a:lnTo>
                      <a:lnTo>
                        <a:pt x="110" y="281"/>
                      </a:lnTo>
                      <a:lnTo>
                        <a:pt x="111" y="281"/>
                      </a:lnTo>
                      <a:lnTo>
                        <a:pt x="111" y="279"/>
                      </a:lnTo>
                      <a:lnTo>
                        <a:pt x="110" y="278"/>
                      </a:lnTo>
                      <a:lnTo>
                        <a:pt x="110" y="279"/>
                      </a:lnTo>
                      <a:lnTo>
                        <a:pt x="110" y="281"/>
                      </a:lnTo>
                      <a:lnTo>
                        <a:pt x="108" y="281"/>
                      </a:lnTo>
                      <a:lnTo>
                        <a:pt x="108" y="283"/>
                      </a:lnTo>
                      <a:lnTo>
                        <a:pt x="108" y="281"/>
                      </a:lnTo>
                      <a:lnTo>
                        <a:pt x="106" y="281"/>
                      </a:lnTo>
                      <a:lnTo>
                        <a:pt x="106" y="279"/>
                      </a:lnTo>
                      <a:lnTo>
                        <a:pt x="104" y="281"/>
                      </a:lnTo>
                      <a:lnTo>
                        <a:pt x="103" y="281"/>
                      </a:lnTo>
                      <a:lnTo>
                        <a:pt x="103" y="279"/>
                      </a:lnTo>
                      <a:lnTo>
                        <a:pt x="101" y="279"/>
                      </a:lnTo>
                      <a:lnTo>
                        <a:pt x="99" y="279"/>
                      </a:lnTo>
                      <a:lnTo>
                        <a:pt x="101" y="279"/>
                      </a:lnTo>
                      <a:lnTo>
                        <a:pt x="101" y="281"/>
                      </a:lnTo>
                      <a:lnTo>
                        <a:pt x="99" y="283"/>
                      </a:lnTo>
                      <a:lnTo>
                        <a:pt x="99" y="281"/>
                      </a:lnTo>
                      <a:lnTo>
                        <a:pt x="98" y="281"/>
                      </a:lnTo>
                      <a:lnTo>
                        <a:pt x="96" y="281"/>
                      </a:lnTo>
                      <a:lnTo>
                        <a:pt x="94" y="279"/>
                      </a:lnTo>
                      <a:lnTo>
                        <a:pt x="94" y="281"/>
                      </a:lnTo>
                      <a:lnTo>
                        <a:pt x="94" y="279"/>
                      </a:lnTo>
                      <a:lnTo>
                        <a:pt x="94" y="278"/>
                      </a:lnTo>
                      <a:lnTo>
                        <a:pt x="93" y="276"/>
                      </a:lnTo>
                      <a:lnTo>
                        <a:pt x="91" y="276"/>
                      </a:lnTo>
                      <a:lnTo>
                        <a:pt x="91" y="278"/>
                      </a:lnTo>
                      <a:lnTo>
                        <a:pt x="89" y="278"/>
                      </a:lnTo>
                      <a:lnTo>
                        <a:pt x="89" y="276"/>
                      </a:lnTo>
                      <a:lnTo>
                        <a:pt x="89" y="274"/>
                      </a:lnTo>
                      <a:lnTo>
                        <a:pt x="88" y="274"/>
                      </a:lnTo>
                      <a:lnTo>
                        <a:pt x="88" y="273"/>
                      </a:lnTo>
                      <a:lnTo>
                        <a:pt x="86" y="273"/>
                      </a:lnTo>
                      <a:lnTo>
                        <a:pt x="86" y="274"/>
                      </a:lnTo>
                      <a:lnTo>
                        <a:pt x="84" y="274"/>
                      </a:lnTo>
                      <a:lnTo>
                        <a:pt x="84" y="273"/>
                      </a:lnTo>
                      <a:lnTo>
                        <a:pt x="84" y="274"/>
                      </a:lnTo>
                      <a:lnTo>
                        <a:pt x="83" y="274"/>
                      </a:lnTo>
                      <a:lnTo>
                        <a:pt x="83" y="273"/>
                      </a:lnTo>
                      <a:lnTo>
                        <a:pt x="83" y="271"/>
                      </a:lnTo>
                      <a:lnTo>
                        <a:pt x="83" y="270"/>
                      </a:lnTo>
                      <a:lnTo>
                        <a:pt x="81" y="270"/>
                      </a:lnTo>
                      <a:lnTo>
                        <a:pt x="81" y="271"/>
                      </a:lnTo>
                      <a:lnTo>
                        <a:pt x="79" y="271"/>
                      </a:lnTo>
                      <a:lnTo>
                        <a:pt x="77" y="273"/>
                      </a:lnTo>
                      <a:lnTo>
                        <a:pt x="76" y="271"/>
                      </a:lnTo>
                      <a:lnTo>
                        <a:pt x="76" y="273"/>
                      </a:lnTo>
                      <a:lnTo>
                        <a:pt x="74" y="273"/>
                      </a:lnTo>
                      <a:lnTo>
                        <a:pt x="74" y="271"/>
                      </a:lnTo>
                      <a:lnTo>
                        <a:pt x="74" y="270"/>
                      </a:lnTo>
                      <a:lnTo>
                        <a:pt x="74" y="268"/>
                      </a:lnTo>
                      <a:lnTo>
                        <a:pt x="74" y="266"/>
                      </a:lnTo>
                      <a:lnTo>
                        <a:pt x="72" y="266"/>
                      </a:lnTo>
                      <a:lnTo>
                        <a:pt x="72" y="265"/>
                      </a:lnTo>
                      <a:lnTo>
                        <a:pt x="74" y="265"/>
                      </a:lnTo>
                      <a:lnTo>
                        <a:pt x="74" y="263"/>
                      </a:lnTo>
                      <a:lnTo>
                        <a:pt x="72" y="263"/>
                      </a:lnTo>
                      <a:lnTo>
                        <a:pt x="72" y="265"/>
                      </a:lnTo>
                      <a:lnTo>
                        <a:pt x="71" y="263"/>
                      </a:lnTo>
                      <a:lnTo>
                        <a:pt x="71" y="261"/>
                      </a:lnTo>
                      <a:lnTo>
                        <a:pt x="71" y="260"/>
                      </a:lnTo>
                      <a:lnTo>
                        <a:pt x="69" y="260"/>
                      </a:lnTo>
                      <a:lnTo>
                        <a:pt x="69" y="258"/>
                      </a:lnTo>
                      <a:lnTo>
                        <a:pt x="67" y="258"/>
                      </a:lnTo>
                      <a:lnTo>
                        <a:pt x="66" y="258"/>
                      </a:lnTo>
                      <a:lnTo>
                        <a:pt x="66" y="256"/>
                      </a:lnTo>
                      <a:lnTo>
                        <a:pt x="66" y="258"/>
                      </a:lnTo>
                      <a:lnTo>
                        <a:pt x="66" y="260"/>
                      </a:lnTo>
                      <a:lnTo>
                        <a:pt x="64" y="260"/>
                      </a:lnTo>
                      <a:lnTo>
                        <a:pt x="64" y="258"/>
                      </a:lnTo>
                      <a:lnTo>
                        <a:pt x="62" y="258"/>
                      </a:lnTo>
                      <a:lnTo>
                        <a:pt x="62" y="256"/>
                      </a:lnTo>
                      <a:lnTo>
                        <a:pt x="61" y="256"/>
                      </a:lnTo>
                      <a:lnTo>
                        <a:pt x="61" y="255"/>
                      </a:lnTo>
                      <a:lnTo>
                        <a:pt x="59" y="255"/>
                      </a:lnTo>
                      <a:lnTo>
                        <a:pt x="57" y="255"/>
                      </a:lnTo>
                      <a:lnTo>
                        <a:pt x="57" y="253"/>
                      </a:lnTo>
                      <a:lnTo>
                        <a:pt x="57" y="251"/>
                      </a:lnTo>
                      <a:lnTo>
                        <a:pt x="57" y="253"/>
                      </a:lnTo>
                      <a:lnTo>
                        <a:pt x="55" y="253"/>
                      </a:lnTo>
                      <a:lnTo>
                        <a:pt x="55" y="251"/>
                      </a:lnTo>
                      <a:lnTo>
                        <a:pt x="54" y="251"/>
                      </a:lnTo>
                      <a:lnTo>
                        <a:pt x="54" y="250"/>
                      </a:lnTo>
                      <a:lnTo>
                        <a:pt x="52" y="250"/>
                      </a:lnTo>
                      <a:lnTo>
                        <a:pt x="50" y="250"/>
                      </a:lnTo>
                      <a:lnTo>
                        <a:pt x="50" y="248"/>
                      </a:lnTo>
                      <a:lnTo>
                        <a:pt x="49" y="248"/>
                      </a:lnTo>
                      <a:lnTo>
                        <a:pt x="47" y="248"/>
                      </a:lnTo>
                      <a:lnTo>
                        <a:pt x="45" y="250"/>
                      </a:lnTo>
                      <a:lnTo>
                        <a:pt x="45" y="248"/>
                      </a:lnTo>
                      <a:lnTo>
                        <a:pt x="44" y="248"/>
                      </a:lnTo>
                      <a:lnTo>
                        <a:pt x="42" y="248"/>
                      </a:lnTo>
                      <a:lnTo>
                        <a:pt x="40" y="248"/>
                      </a:lnTo>
                      <a:lnTo>
                        <a:pt x="39" y="248"/>
                      </a:lnTo>
                      <a:lnTo>
                        <a:pt x="37" y="248"/>
                      </a:lnTo>
                      <a:lnTo>
                        <a:pt x="35" y="248"/>
                      </a:lnTo>
                      <a:lnTo>
                        <a:pt x="34" y="248"/>
                      </a:lnTo>
                      <a:lnTo>
                        <a:pt x="34" y="247"/>
                      </a:lnTo>
                      <a:lnTo>
                        <a:pt x="32" y="247"/>
                      </a:lnTo>
                      <a:lnTo>
                        <a:pt x="30" y="247"/>
                      </a:lnTo>
                      <a:lnTo>
                        <a:pt x="28" y="247"/>
                      </a:lnTo>
                      <a:lnTo>
                        <a:pt x="28" y="245"/>
                      </a:lnTo>
                      <a:lnTo>
                        <a:pt x="28" y="247"/>
                      </a:lnTo>
                      <a:lnTo>
                        <a:pt x="27" y="247"/>
                      </a:lnTo>
                      <a:lnTo>
                        <a:pt x="27" y="245"/>
                      </a:lnTo>
                      <a:lnTo>
                        <a:pt x="25" y="245"/>
                      </a:lnTo>
                      <a:lnTo>
                        <a:pt x="25" y="247"/>
                      </a:lnTo>
                      <a:lnTo>
                        <a:pt x="23" y="247"/>
                      </a:lnTo>
                      <a:lnTo>
                        <a:pt x="22" y="247"/>
                      </a:lnTo>
                      <a:lnTo>
                        <a:pt x="20" y="247"/>
                      </a:lnTo>
                      <a:lnTo>
                        <a:pt x="18" y="247"/>
                      </a:lnTo>
                      <a:lnTo>
                        <a:pt x="17" y="247"/>
                      </a:lnTo>
                      <a:lnTo>
                        <a:pt x="15" y="247"/>
                      </a:lnTo>
                      <a:lnTo>
                        <a:pt x="13" y="247"/>
                      </a:lnTo>
                      <a:lnTo>
                        <a:pt x="12" y="247"/>
                      </a:lnTo>
                      <a:lnTo>
                        <a:pt x="12" y="245"/>
                      </a:lnTo>
                      <a:lnTo>
                        <a:pt x="12" y="243"/>
                      </a:lnTo>
                      <a:lnTo>
                        <a:pt x="12" y="242"/>
                      </a:lnTo>
                      <a:lnTo>
                        <a:pt x="13" y="242"/>
                      </a:lnTo>
                      <a:lnTo>
                        <a:pt x="13" y="240"/>
                      </a:lnTo>
                      <a:lnTo>
                        <a:pt x="12" y="240"/>
                      </a:lnTo>
                      <a:lnTo>
                        <a:pt x="12" y="238"/>
                      </a:lnTo>
                      <a:lnTo>
                        <a:pt x="12" y="237"/>
                      </a:lnTo>
                      <a:lnTo>
                        <a:pt x="12" y="235"/>
                      </a:lnTo>
                      <a:lnTo>
                        <a:pt x="10" y="235"/>
                      </a:lnTo>
                      <a:lnTo>
                        <a:pt x="10" y="233"/>
                      </a:lnTo>
                      <a:lnTo>
                        <a:pt x="10" y="232"/>
                      </a:lnTo>
                      <a:lnTo>
                        <a:pt x="10" y="230"/>
                      </a:lnTo>
                      <a:lnTo>
                        <a:pt x="12" y="230"/>
                      </a:lnTo>
                      <a:lnTo>
                        <a:pt x="12" y="228"/>
                      </a:lnTo>
                      <a:lnTo>
                        <a:pt x="10" y="227"/>
                      </a:lnTo>
                      <a:lnTo>
                        <a:pt x="10" y="225"/>
                      </a:lnTo>
                      <a:lnTo>
                        <a:pt x="8" y="225"/>
                      </a:lnTo>
                      <a:lnTo>
                        <a:pt x="8" y="224"/>
                      </a:lnTo>
                      <a:lnTo>
                        <a:pt x="7" y="224"/>
                      </a:lnTo>
                      <a:lnTo>
                        <a:pt x="7" y="222"/>
                      </a:lnTo>
                      <a:lnTo>
                        <a:pt x="7" y="220"/>
                      </a:lnTo>
                      <a:lnTo>
                        <a:pt x="7" y="219"/>
                      </a:lnTo>
                      <a:lnTo>
                        <a:pt x="7" y="217"/>
                      </a:lnTo>
                      <a:lnTo>
                        <a:pt x="7" y="215"/>
                      </a:lnTo>
                      <a:lnTo>
                        <a:pt x="7" y="214"/>
                      </a:lnTo>
                      <a:lnTo>
                        <a:pt x="7" y="212"/>
                      </a:lnTo>
                      <a:lnTo>
                        <a:pt x="8" y="212"/>
                      </a:lnTo>
                      <a:lnTo>
                        <a:pt x="8" y="210"/>
                      </a:lnTo>
                      <a:lnTo>
                        <a:pt x="8" y="209"/>
                      </a:lnTo>
                      <a:lnTo>
                        <a:pt x="10" y="209"/>
                      </a:lnTo>
                      <a:lnTo>
                        <a:pt x="10" y="207"/>
                      </a:lnTo>
                      <a:lnTo>
                        <a:pt x="10" y="205"/>
                      </a:lnTo>
                      <a:lnTo>
                        <a:pt x="8" y="205"/>
                      </a:lnTo>
                      <a:lnTo>
                        <a:pt x="8" y="204"/>
                      </a:lnTo>
                      <a:lnTo>
                        <a:pt x="7" y="202"/>
                      </a:lnTo>
                      <a:lnTo>
                        <a:pt x="7" y="201"/>
                      </a:lnTo>
                      <a:lnTo>
                        <a:pt x="7" y="199"/>
                      </a:lnTo>
                      <a:lnTo>
                        <a:pt x="7" y="197"/>
                      </a:lnTo>
                      <a:lnTo>
                        <a:pt x="8" y="197"/>
                      </a:lnTo>
                      <a:lnTo>
                        <a:pt x="8" y="196"/>
                      </a:lnTo>
                      <a:lnTo>
                        <a:pt x="7" y="196"/>
                      </a:lnTo>
                      <a:lnTo>
                        <a:pt x="7" y="194"/>
                      </a:lnTo>
                      <a:lnTo>
                        <a:pt x="5" y="194"/>
                      </a:lnTo>
                      <a:lnTo>
                        <a:pt x="3" y="191"/>
                      </a:lnTo>
                      <a:lnTo>
                        <a:pt x="1" y="189"/>
                      </a:lnTo>
                      <a:lnTo>
                        <a:pt x="1" y="187"/>
                      </a:lnTo>
                      <a:lnTo>
                        <a:pt x="0" y="187"/>
                      </a:lnTo>
                      <a:lnTo>
                        <a:pt x="0" y="186"/>
                      </a:lnTo>
                      <a:lnTo>
                        <a:pt x="7" y="186"/>
                      </a:lnTo>
                      <a:lnTo>
                        <a:pt x="12" y="182"/>
                      </a:lnTo>
                      <a:lnTo>
                        <a:pt x="18" y="184"/>
                      </a:lnTo>
                      <a:lnTo>
                        <a:pt x="18" y="187"/>
                      </a:lnTo>
                      <a:lnTo>
                        <a:pt x="17" y="192"/>
                      </a:lnTo>
                      <a:lnTo>
                        <a:pt x="20" y="196"/>
                      </a:lnTo>
                      <a:lnTo>
                        <a:pt x="25" y="194"/>
                      </a:lnTo>
                      <a:lnTo>
                        <a:pt x="42" y="205"/>
                      </a:lnTo>
                      <a:lnTo>
                        <a:pt x="66" y="209"/>
                      </a:lnTo>
                      <a:lnTo>
                        <a:pt x="83" y="204"/>
                      </a:lnTo>
                      <a:lnTo>
                        <a:pt x="84" y="204"/>
                      </a:lnTo>
                      <a:lnTo>
                        <a:pt x="86" y="204"/>
                      </a:lnTo>
                      <a:lnTo>
                        <a:pt x="88" y="202"/>
                      </a:lnTo>
                      <a:lnTo>
                        <a:pt x="88" y="204"/>
                      </a:lnTo>
                      <a:lnTo>
                        <a:pt x="88" y="202"/>
                      </a:lnTo>
                      <a:lnTo>
                        <a:pt x="89" y="202"/>
                      </a:lnTo>
                      <a:lnTo>
                        <a:pt x="89" y="201"/>
                      </a:lnTo>
                      <a:lnTo>
                        <a:pt x="88" y="201"/>
                      </a:lnTo>
                      <a:lnTo>
                        <a:pt x="89" y="199"/>
                      </a:lnTo>
                      <a:lnTo>
                        <a:pt x="91" y="199"/>
                      </a:lnTo>
                      <a:lnTo>
                        <a:pt x="91" y="201"/>
                      </a:lnTo>
                      <a:lnTo>
                        <a:pt x="93" y="201"/>
                      </a:lnTo>
                      <a:lnTo>
                        <a:pt x="93" y="199"/>
                      </a:lnTo>
                      <a:lnTo>
                        <a:pt x="93" y="201"/>
                      </a:lnTo>
                      <a:lnTo>
                        <a:pt x="93" y="199"/>
                      </a:lnTo>
                      <a:lnTo>
                        <a:pt x="94" y="197"/>
                      </a:lnTo>
                      <a:lnTo>
                        <a:pt x="93" y="197"/>
                      </a:lnTo>
                      <a:lnTo>
                        <a:pt x="94" y="197"/>
                      </a:lnTo>
                      <a:lnTo>
                        <a:pt x="94" y="196"/>
                      </a:lnTo>
                      <a:lnTo>
                        <a:pt x="94" y="197"/>
                      </a:lnTo>
                      <a:lnTo>
                        <a:pt x="94" y="196"/>
                      </a:lnTo>
                      <a:lnTo>
                        <a:pt x="96" y="197"/>
                      </a:lnTo>
                      <a:lnTo>
                        <a:pt x="96" y="196"/>
                      </a:lnTo>
                      <a:lnTo>
                        <a:pt x="98" y="197"/>
                      </a:lnTo>
                      <a:lnTo>
                        <a:pt x="99" y="197"/>
                      </a:lnTo>
                      <a:lnTo>
                        <a:pt x="99" y="196"/>
                      </a:lnTo>
                      <a:lnTo>
                        <a:pt x="101" y="196"/>
                      </a:lnTo>
                      <a:lnTo>
                        <a:pt x="99" y="196"/>
                      </a:lnTo>
                      <a:lnTo>
                        <a:pt x="98" y="196"/>
                      </a:lnTo>
                      <a:lnTo>
                        <a:pt x="99" y="194"/>
                      </a:lnTo>
                      <a:lnTo>
                        <a:pt x="101" y="194"/>
                      </a:lnTo>
                      <a:lnTo>
                        <a:pt x="101" y="192"/>
                      </a:lnTo>
                      <a:lnTo>
                        <a:pt x="103" y="192"/>
                      </a:lnTo>
                      <a:lnTo>
                        <a:pt x="103" y="191"/>
                      </a:lnTo>
                      <a:lnTo>
                        <a:pt x="104" y="191"/>
                      </a:lnTo>
                      <a:lnTo>
                        <a:pt x="106" y="191"/>
                      </a:lnTo>
                      <a:lnTo>
                        <a:pt x="108" y="191"/>
                      </a:lnTo>
                      <a:lnTo>
                        <a:pt x="108" y="192"/>
                      </a:lnTo>
                      <a:lnTo>
                        <a:pt x="106" y="192"/>
                      </a:lnTo>
                      <a:lnTo>
                        <a:pt x="108" y="192"/>
                      </a:lnTo>
                      <a:lnTo>
                        <a:pt x="110" y="194"/>
                      </a:lnTo>
                      <a:lnTo>
                        <a:pt x="110" y="192"/>
                      </a:lnTo>
                      <a:lnTo>
                        <a:pt x="110" y="194"/>
                      </a:lnTo>
                      <a:lnTo>
                        <a:pt x="108" y="194"/>
                      </a:lnTo>
                      <a:lnTo>
                        <a:pt x="108" y="196"/>
                      </a:lnTo>
                      <a:lnTo>
                        <a:pt x="106" y="196"/>
                      </a:lnTo>
                      <a:lnTo>
                        <a:pt x="106" y="197"/>
                      </a:lnTo>
                      <a:lnTo>
                        <a:pt x="108" y="197"/>
                      </a:lnTo>
                      <a:lnTo>
                        <a:pt x="110" y="197"/>
                      </a:lnTo>
                      <a:lnTo>
                        <a:pt x="111" y="197"/>
                      </a:lnTo>
                      <a:lnTo>
                        <a:pt x="113" y="197"/>
                      </a:lnTo>
                      <a:lnTo>
                        <a:pt x="113" y="199"/>
                      </a:lnTo>
                      <a:lnTo>
                        <a:pt x="113" y="197"/>
                      </a:lnTo>
                      <a:lnTo>
                        <a:pt x="115" y="197"/>
                      </a:lnTo>
                      <a:lnTo>
                        <a:pt x="116" y="197"/>
                      </a:lnTo>
                      <a:lnTo>
                        <a:pt x="116" y="199"/>
                      </a:lnTo>
                      <a:lnTo>
                        <a:pt x="115" y="199"/>
                      </a:lnTo>
                      <a:lnTo>
                        <a:pt x="116" y="199"/>
                      </a:lnTo>
                      <a:lnTo>
                        <a:pt x="118" y="199"/>
                      </a:lnTo>
                      <a:lnTo>
                        <a:pt x="120" y="201"/>
                      </a:lnTo>
                      <a:lnTo>
                        <a:pt x="120" y="199"/>
                      </a:lnTo>
                      <a:lnTo>
                        <a:pt x="121" y="199"/>
                      </a:lnTo>
                      <a:lnTo>
                        <a:pt x="121" y="201"/>
                      </a:lnTo>
                      <a:lnTo>
                        <a:pt x="123" y="201"/>
                      </a:lnTo>
                      <a:lnTo>
                        <a:pt x="125" y="201"/>
                      </a:lnTo>
                      <a:lnTo>
                        <a:pt x="125" y="202"/>
                      </a:lnTo>
                      <a:lnTo>
                        <a:pt x="126" y="202"/>
                      </a:lnTo>
                      <a:lnTo>
                        <a:pt x="128" y="202"/>
                      </a:lnTo>
                      <a:lnTo>
                        <a:pt x="128" y="201"/>
                      </a:lnTo>
                      <a:lnTo>
                        <a:pt x="130" y="202"/>
                      </a:lnTo>
                      <a:lnTo>
                        <a:pt x="130" y="201"/>
                      </a:lnTo>
                      <a:lnTo>
                        <a:pt x="131" y="202"/>
                      </a:lnTo>
                      <a:lnTo>
                        <a:pt x="131" y="201"/>
                      </a:lnTo>
                      <a:lnTo>
                        <a:pt x="133" y="202"/>
                      </a:lnTo>
                      <a:lnTo>
                        <a:pt x="135" y="202"/>
                      </a:lnTo>
                      <a:lnTo>
                        <a:pt x="135" y="201"/>
                      </a:lnTo>
                      <a:lnTo>
                        <a:pt x="133" y="201"/>
                      </a:lnTo>
                      <a:lnTo>
                        <a:pt x="133" y="199"/>
                      </a:lnTo>
                      <a:lnTo>
                        <a:pt x="135" y="199"/>
                      </a:lnTo>
                      <a:lnTo>
                        <a:pt x="137" y="201"/>
                      </a:lnTo>
                      <a:lnTo>
                        <a:pt x="137" y="199"/>
                      </a:lnTo>
                      <a:lnTo>
                        <a:pt x="138" y="199"/>
                      </a:lnTo>
                      <a:lnTo>
                        <a:pt x="140" y="199"/>
                      </a:lnTo>
                      <a:lnTo>
                        <a:pt x="140" y="197"/>
                      </a:lnTo>
                      <a:lnTo>
                        <a:pt x="142" y="197"/>
                      </a:lnTo>
                      <a:lnTo>
                        <a:pt x="142" y="196"/>
                      </a:lnTo>
                      <a:lnTo>
                        <a:pt x="143" y="196"/>
                      </a:lnTo>
                      <a:lnTo>
                        <a:pt x="143" y="194"/>
                      </a:lnTo>
                      <a:lnTo>
                        <a:pt x="143" y="192"/>
                      </a:lnTo>
                      <a:lnTo>
                        <a:pt x="145" y="194"/>
                      </a:lnTo>
                      <a:lnTo>
                        <a:pt x="145" y="192"/>
                      </a:lnTo>
                      <a:lnTo>
                        <a:pt x="147" y="194"/>
                      </a:lnTo>
                      <a:lnTo>
                        <a:pt x="148" y="194"/>
                      </a:lnTo>
                      <a:lnTo>
                        <a:pt x="148" y="196"/>
                      </a:lnTo>
                      <a:lnTo>
                        <a:pt x="148" y="197"/>
                      </a:lnTo>
                      <a:lnTo>
                        <a:pt x="150" y="197"/>
                      </a:lnTo>
                      <a:lnTo>
                        <a:pt x="152" y="197"/>
                      </a:lnTo>
                      <a:lnTo>
                        <a:pt x="152" y="199"/>
                      </a:lnTo>
                      <a:lnTo>
                        <a:pt x="153" y="199"/>
                      </a:lnTo>
                      <a:lnTo>
                        <a:pt x="153" y="201"/>
                      </a:lnTo>
                      <a:lnTo>
                        <a:pt x="155" y="201"/>
                      </a:lnTo>
                      <a:lnTo>
                        <a:pt x="155" y="202"/>
                      </a:lnTo>
                      <a:lnTo>
                        <a:pt x="153" y="202"/>
                      </a:lnTo>
                      <a:lnTo>
                        <a:pt x="153" y="204"/>
                      </a:lnTo>
                      <a:lnTo>
                        <a:pt x="152" y="205"/>
                      </a:lnTo>
                      <a:lnTo>
                        <a:pt x="152" y="207"/>
                      </a:lnTo>
                      <a:lnTo>
                        <a:pt x="150" y="207"/>
                      </a:lnTo>
                      <a:lnTo>
                        <a:pt x="150" y="209"/>
                      </a:lnTo>
                      <a:lnTo>
                        <a:pt x="152" y="209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4" name="Freeform 14"/>
                <p:cNvSpPr>
                  <a:spLocks noChangeAspect="1"/>
                </p:cNvSpPr>
                <p:nvPr/>
              </p:nvSpPr>
              <p:spPr bwMode="auto">
                <a:xfrm>
                  <a:off x="1274379" y="2361995"/>
                  <a:ext cx="1090683" cy="618860"/>
                </a:xfrm>
                <a:custGeom>
                  <a:avLst/>
                  <a:gdLst>
                    <a:gd name="T0" fmla="*/ 2147483647 w 699"/>
                    <a:gd name="T1" fmla="*/ 2147483647 h 371"/>
                    <a:gd name="T2" fmla="*/ 2147483647 w 699"/>
                    <a:gd name="T3" fmla="*/ 2147483647 h 371"/>
                    <a:gd name="T4" fmla="*/ 2147483647 w 699"/>
                    <a:gd name="T5" fmla="*/ 2147483647 h 371"/>
                    <a:gd name="T6" fmla="*/ 2147483647 w 699"/>
                    <a:gd name="T7" fmla="*/ 2147483647 h 371"/>
                    <a:gd name="T8" fmla="*/ 2147483647 w 699"/>
                    <a:gd name="T9" fmla="*/ 2147483647 h 371"/>
                    <a:gd name="T10" fmla="*/ 2147483647 w 699"/>
                    <a:gd name="T11" fmla="*/ 2147483647 h 371"/>
                    <a:gd name="T12" fmla="*/ 2147483647 w 699"/>
                    <a:gd name="T13" fmla="*/ 2147483647 h 371"/>
                    <a:gd name="T14" fmla="*/ 2147483647 w 699"/>
                    <a:gd name="T15" fmla="*/ 2147483647 h 371"/>
                    <a:gd name="T16" fmla="*/ 2147483647 w 699"/>
                    <a:gd name="T17" fmla="*/ 2147483647 h 371"/>
                    <a:gd name="T18" fmla="*/ 2147483647 w 699"/>
                    <a:gd name="T19" fmla="*/ 2147483647 h 371"/>
                    <a:gd name="T20" fmla="*/ 2147483647 w 699"/>
                    <a:gd name="T21" fmla="*/ 2147483647 h 371"/>
                    <a:gd name="T22" fmla="*/ 2147483647 w 699"/>
                    <a:gd name="T23" fmla="*/ 2147483647 h 371"/>
                    <a:gd name="T24" fmla="*/ 2147483647 w 699"/>
                    <a:gd name="T25" fmla="*/ 2147483647 h 371"/>
                    <a:gd name="T26" fmla="*/ 2147483647 w 699"/>
                    <a:gd name="T27" fmla="*/ 2147483647 h 371"/>
                    <a:gd name="T28" fmla="*/ 2147483647 w 699"/>
                    <a:gd name="T29" fmla="*/ 2147483647 h 371"/>
                    <a:gd name="T30" fmla="*/ 2147483647 w 699"/>
                    <a:gd name="T31" fmla="*/ 2147483647 h 371"/>
                    <a:gd name="T32" fmla="*/ 2147483647 w 699"/>
                    <a:gd name="T33" fmla="*/ 2147483647 h 371"/>
                    <a:gd name="T34" fmla="*/ 2147483647 w 699"/>
                    <a:gd name="T35" fmla="*/ 2147483647 h 371"/>
                    <a:gd name="T36" fmla="*/ 2147483647 w 699"/>
                    <a:gd name="T37" fmla="*/ 2147483647 h 371"/>
                    <a:gd name="T38" fmla="*/ 2147483647 w 699"/>
                    <a:gd name="T39" fmla="*/ 2147483647 h 371"/>
                    <a:gd name="T40" fmla="*/ 2147483647 w 699"/>
                    <a:gd name="T41" fmla="*/ 2147483647 h 371"/>
                    <a:gd name="T42" fmla="*/ 2147483647 w 699"/>
                    <a:gd name="T43" fmla="*/ 2147483647 h 371"/>
                    <a:gd name="T44" fmla="*/ 2147483647 w 699"/>
                    <a:gd name="T45" fmla="*/ 2147483647 h 371"/>
                    <a:gd name="T46" fmla="*/ 2147483647 w 699"/>
                    <a:gd name="T47" fmla="*/ 2147483647 h 371"/>
                    <a:gd name="T48" fmla="*/ 2147483647 w 699"/>
                    <a:gd name="T49" fmla="*/ 2147483647 h 371"/>
                    <a:gd name="T50" fmla="*/ 2147483647 w 699"/>
                    <a:gd name="T51" fmla="*/ 2147483647 h 371"/>
                    <a:gd name="T52" fmla="*/ 2147483647 w 699"/>
                    <a:gd name="T53" fmla="*/ 2147483647 h 371"/>
                    <a:gd name="T54" fmla="*/ 2147483647 w 699"/>
                    <a:gd name="T55" fmla="*/ 2147483647 h 371"/>
                    <a:gd name="T56" fmla="*/ 2147483647 w 699"/>
                    <a:gd name="T57" fmla="*/ 2147483647 h 371"/>
                    <a:gd name="T58" fmla="*/ 2147483647 w 699"/>
                    <a:gd name="T59" fmla="*/ 2147483647 h 371"/>
                    <a:gd name="T60" fmla="*/ 2147483647 w 699"/>
                    <a:gd name="T61" fmla="*/ 2147483647 h 371"/>
                    <a:gd name="T62" fmla="*/ 2147483647 w 699"/>
                    <a:gd name="T63" fmla="*/ 2147483647 h 371"/>
                    <a:gd name="T64" fmla="*/ 2147483647 w 699"/>
                    <a:gd name="T65" fmla="*/ 2147483647 h 371"/>
                    <a:gd name="T66" fmla="*/ 2147483647 w 699"/>
                    <a:gd name="T67" fmla="*/ 2147483647 h 371"/>
                    <a:gd name="T68" fmla="*/ 2147483647 w 699"/>
                    <a:gd name="T69" fmla="*/ 2147483647 h 371"/>
                    <a:gd name="T70" fmla="*/ 2147483647 w 699"/>
                    <a:gd name="T71" fmla="*/ 2147483647 h 371"/>
                    <a:gd name="T72" fmla="*/ 2147483647 w 699"/>
                    <a:gd name="T73" fmla="*/ 2147483647 h 371"/>
                    <a:gd name="T74" fmla="*/ 2147483647 w 699"/>
                    <a:gd name="T75" fmla="*/ 2147483647 h 371"/>
                    <a:gd name="T76" fmla="*/ 2147483647 w 699"/>
                    <a:gd name="T77" fmla="*/ 2147483647 h 371"/>
                    <a:gd name="T78" fmla="*/ 2147483647 w 699"/>
                    <a:gd name="T79" fmla="*/ 2147483647 h 371"/>
                    <a:gd name="T80" fmla="*/ 2147483647 w 699"/>
                    <a:gd name="T81" fmla="*/ 2147483647 h 371"/>
                    <a:gd name="T82" fmla="*/ 2147483647 w 699"/>
                    <a:gd name="T83" fmla="*/ 2147483647 h 371"/>
                    <a:gd name="T84" fmla="*/ 2147483647 w 699"/>
                    <a:gd name="T85" fmla="*/ 2147483647 h 371"/>
                    <a:gd name="T86" fmla="*/ 2147483647 w 699"/>
                    <a:gd name="T87" fmla="*/ 2147483647 h 371"/>
                    <a:gd name="T88" fmla="*/ 2147483647 w 699"/>
                    <a:gd name="T89" fmla="*/ 2147483647 h 371"/>
                    <a:gd name="T90" fmla="*/ 2147483647 w 699"/>
                    <a:gd name="T91" fmla="*/ 2147483647 h 371"/>
                    <a:gd name="T92" fmla="*/ 2147483647 w 699"/>
                    <a:gd name="T93" fmla="*/ 2147483647 h 371"/>
                    <a:gd name="T94" fmla="*/ 2147483647 w 699"/>
                    <a:gd name="T95" fmla="*/ 2147483647 h 371"/>
                    <a:gd name="T96" fmla="*/ 2147483647 w 699"/>
                    <a:gd name="T97" fmla="*/ 2147483647 h 371"/>
                    <a:gd name="T98" fmla="*/ 2147483647 w 699"/>
                    <a:gd name="T99" fmla="*/ 2147483647 h 371"/>
                    <a:gd name="T100" fmla="*/ 2147483647 w 699"/>
                    <a:gd name="T101" fmla="*/ 2147483647 h 371"/>
                    <a:gd name="T102" fmla="*/ 2147483647 w 699"/>
                    <a:gd name="T103" fmla="*/ 2147483647 h 371"/>
                    <a:gd name="T104" fmla="*/ 2147483647 w 699"/>
                    <a:gd name="T105" fmla="*/ 2147483647 h 371"/>
                    <a:gd name="T106" fmla="*/ 2147483647 w 699"/>
                    <a:gd name="T107" fmla="*/ 2147483647 h 371"/>
                    <a:gd name="T108" fmla="*/ 2147483647 w 699"/>
                    <a:gd name="T109" fmla="*/ 2147483647 h 371"/>
                    <a:gd name="T110" fmla="*/ 2147483647 w 699"/>
                    <a:gd name="T111" fmla="*/ 2147483647 h 371"/>
                    <a:gd name="T112" fmla="*/ 2147483647 w 699"/>
                    <a:gd name="T113" fmla="*/ 2147483647 h 371"/>
                    <a:gd name="T114" fmla="*/ 2147483647 w 699"/>
                    <a:gd name="T115" fmla="*/ 2147483647 h 371"/>
                    <a:gd name="T116" fmla="*/ 2147483647 w 699"/>
                    <a:gd name="T117" fmla="*/ 2147483647 h 371"/>
                    <a:gd name="T118" fmla="*/ 2147483647 w 699"/>
                    <a:gd name="T119" fmla="*/ 2147483647 h 371"/>
                    <a:gd name="T120" fmla="*/ 2147483647 w 699"/>
                    <a:gd name="T121" fmla="*/ 2147483647 h 37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699"/>
                    <a:gd name="T184" fmla="*/ 0 h 371"/>
                    <a:gd name="T185" fmla="*/ 699 w 699"/>
                    <a:gd name="T186" fmla="*/ 371 h 37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699" h="371">
                      <a:moveTo>
                        <a:pt x="33" y="87"/>
                      </a:moveTo>
                      <a:lnTo>
                        <a:pt x="33" y="85"/>
                      </a:lnTo>
                      <a:lnTo>
                        <a:pt x="33" y="84"/>
                      </a:lnTo>
                      <a:lnTo>
                        <a:pt x="33" y="82"/>
                      </a:lnTo>
                      <a:lnTo>
                        <a:pt x="32" y="82"/>
                      </a:lnTo>
                      <a:lnTo>
                        <a:pt x="30" y="82"/>
                      </a:lnTo>
                      <a:lnTo>
                        <a:pt x="28" y="82"/>
                      </a:lnTo>
                      <a:lnTo>
                        <a:pt x="28" y="81"/>
                      </a:lnTo>
                      <a:lnTo>
                        <a:pt x="28" y="79"/>
                      </a:lnTo>
                      <a:lnTo>
                        <a:pt x="27" y="77"/>
                      </a:lnTo>
                      <a:lnTo>
                        <a:pt x="27" y="79"/>
                      </a:lnTo>
                      <a:lnTo>
                        <a:pt x="25" y="77"/>
                      </a:lnTo>
                      <a:lnTo>
                        <a:pt x="25" y="79"/>
                      </a:lnTo>
                      <a:lnTo>
                        <a:pt x="23" y="79"/>
                      </a:lnTo>
                      <a:lnTo>
                        <a:pt x="23" y="77"/>
                      </a:lnTo>
                      <a:lnTo>
                        <a:pt x="21" y="77"/>
                      </a:lnTo>
                      <a:lnTo>
                        <a:pt x="23" y="76"/>
                      </a:lnTo>
                      <a:lnTo>
                        <a:pt x="21" y="74"/>
                      </a:lnTo>
                      <a:lnTo>
                        <a:pt x="20" y="72"/>
                      </a:lnTo>
                      <a:lnTo>
                        <a:pt x="21" y="72"/>
                      </a:lnTo>
                      <a:lnTo>
                        <a:pt x="21" y="71"/>
                      </a:lnTo>
                      <a:lnTo>
                        <a:pt x="20" y="69"/>
                      </a:lnTo>
                      <a:lnTo>
                        <a:pt x="21" y="69"/>
                      </a:lnTo>
                      <a:lnTo>
                        <a:pt x="23" y="71"/>
                      </a:lnTo>
                      <a:lnTo>
                        <a:pt x="25" y="71"/>
                      </a:lnTo>
                      <a:lnTo>
                        <a:pt x="27" y="71"/>
                      </a:lnTo>
                      <a:lnTo>
                        <a:pt x="27" y="69"/>
                      </a:lnTo>
                      <a:lnTo>
                        <a:pt x="28" y="69"/>
                      </a:lnTo>
                      <a:lnTo>
                        <a:pt x="28" y="67"/>
                      </a:lnTo>
                      <a:lnTo>
                        <a:pt x="28" y="66"/>
                      </a:lnTo>
                      <a:lnTo>
                        <a:pt x="28" y="64"/>
                      </a:lnTo>
                      <a:lnTo>
                        <a:pt x="28" y="62"/>
                      </a:lnTo>
                      <a:lnTo>
                        <a:pt x="28" y="61"/>
                      </a:lnTo>
                      <a:lnTo>
                        <a:pt x="27" y="59"/>
                      </a:lnTo>
                      <a:lnTo>
                        <a:pt x="25" y="59"/>
                      </a:lnTo>
                      <a:lnTo>
                        <a:pt x="23" y="58"/>
                      </a:lnTo>
                      <a:lnTo>
                        <a:pt x="21" y="58"/>
                      </a:lnTo>
                      <a:lnTo>
                        <a:pt x="18" y="56"/>
                      </a:lnTo>
                      <a:lnTo>
                        <a:pt x="16" y="56"/>
                      </a:lnTo>
                      <a:lnTo>
                        <a:pt x="15" y="56"/>
                      </a:lnTo>
                      <a:lnTo>
                        <a:pt x="15" y="54"/>
                      </a:lnTo>
                      <a:lnTo>
                        <a:pt x="13" y="53"/>
                      </a:lnTo>
                      <a:lnTo>
                        <a:pt x="13" y="51"/>
                      </a:lnTo>
                      <a:lnTo>
                        <a:pt x="11" y="53"/>
                      </a:lnTo>
                      <a:lnTo>
                        <a:pt x="11" y="51"/>
                      </a:lnTo>
                      <a:lnTo>
                        <a:pt x="10" y="51"/>
                      </a:lnTo>
                      <a:lnTo>
                        <a:pt x="10" y="49"/>
                      </a:lnTo>
                      <a:lnTo>
                        <a:pt x="10" y="48"/>
                      </a:lnTo>
                      <a:lnTo>
                        <a:pt x="8" y="48"/>
                      </a:lnTo>
                      <a:lnTo>
                        <a:pt x="6" y="48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3" y="43"/>
                      </a:lnTo>
                      <a:lnTo>
                        <a:pt x="1" y="41"/>
                      </a:lnTo>
                      <a:lnTo>
                        <a:pt x="0" y="41"/>
                      </a:lnTo>
                      <a:lnTo>
                        <a:pt x="0" y="39"/>
                      </a:lnTo>
                      <a:lnTo>
                        <a:pt x="0" y="38"/>
                      </a:lnTo>
                      <a:lnTo>
                        <a:pt x="1" y="38"/>
                      </a:lnTo>
                      <a:lnTo>
                        <a:pt x="3" y="38"/>
                      </a:lnTo>
                      <a:lnTo>
                        <a:pt x="5" y="36"/>
                      </a:lnTo>
                      <a:lnTo>
                        <a:pt x="5" y="35"/>
                      </a:lnTo>
                      <a:lnTo>
                        <a:pt x="5" y="33"/>
                      </a:lnTo>
                      <a:lnTo>
                        <a:pt x="6" y="33"/>
                      </a:lnTo>
                      <a:lnTo>
                        <a:pt x="6" y="31"/>
                      </a:lnTo>
                      <a:lnTo>
                        <a:pt x="5" y="31"/>
                      </a:lnTo>
                      <a:lnTo>
                        <a:pt x="5" y="28"/>
                      </a:lnTo>
                      <a:lnTo>
                        <a:pt x="3" y="26"/>
                      </a:lnTo>
                      <a:lnTo>
                        <a:pt x="3" y="25"/>
                      </a:lnTo>
                      <a:lnTo>
                        <a:pt x="1" y="23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3" y="23"/>
                      </a:lnTo>
                      <a:lnTo>
                        <a:pt x="5" y="23"/>
                      </a:lnTo>
                      <a:lnTo>
                        <a:pt x="5" y="21"/>
                      </a:lnTo>
                      <a:lnTo>
                        <a:pt x="6" y="23"/>
                      </a:lnTo>
                      <a:lnTo>
                        <a:pt x="6" y="25"/>
                      </a:lnTo>
                      <a:lnTo>
                        <a:pt x="8" y="25"/>
                      </a:lnTo>
                      <a:lnTo>
                        <a:pt x="10" y="25"/>
                      </a:lnTo>
                      <a:lnTo>
                        <a:pt x="11" y="25"/>
                      </a:lnTo>
                      <a:lnTo>
                        <a:pt x="11" y="23"/>
                      </a:lnTo>
                      <a:lnTo>
                        <a:pt x="11" y="21"/>
                      </a:lnTo>
                      <a:lnTo>
                        <a:pt x="13" y="21"/>
                      </a:lnTo>
                      <a:lnTo>
                        <a:pt x="15" y="20"/>
                      </a:lnTo>
                      <a:lnTo>
                        <a:pt x="16" y="20"/>
                      </a:lnTo>
                      <a:lnTo>
                        <a:pt x="18" y="21"/>
                      </a:lnTo>
                      <a:lnTo>
                        <a:pt x="20" y="20"/>
                      </a:lnTo>
                      <a:lnTo>
                        <a:pt x="21" y="20"/>
                      </a:lnTo>
                      <a:lnTo>
                        <a:pt x="21" y="21"/>
                      </a:lnTo>
                      <a:lnTo>
                        <a:pt x="23" y="21"/>
                      </a:lnTo>
                      <a:lnTo>
                        <a:pt x="25" y="20"/>
                      </a:lnTo>
                      <a:lnTo>
                        <a:pt x="27" y="18"/>
                      </a:lnTo>
                      <a:lnTo>
                        <a:pt x="27" y="16"/>
                      </a:lnTo>
                      <a:lnTo>
                        <a:pt x="27" y="15"/>
                      </a:lnTo>
                      <a:lnTo>
                        <a:pt x="25" y="15"/>
                      </a:lnTo>
                      <a:lnTo>
                        <a:pt x="25" y="13"/>
                      </a:lnTo>
                      <a:lnTo>
                        <a:pt x="25" y="12"/>
                      </a:lnTo>
                      <a:lnTo>
                        <a:pt x="25" y="10"/>
                      </a:lnTo>
                      <a:lnTo>
                        <a:pt x="23" y="10"/>
                      </a:lnTo>
                      <a:lnTo>
                        <a:pt x="23" y="8"/>
                      </a:lnTo>
                      <a:lnTo>
                        <a:pt x="21" y="8"/>
                      </a:lnTo>
                      <a:lnTo>
                        <a:pt x="21" y="7"/>
                      </a:lnTo>
                      <a:lnTo>
                        <a:pt x="21" y="5"/>
                      </a:lnTo>
                      <a:lnTo>
                        <a:pt x="20" y="5"/>
                      </a:lnTo>
                      <a:lnTo>
                        <a:pt x="20" y="3"/>
                      </a:lnTo>
                      <a:lnTo>
                        <a:pt x="18" y="3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23" y="3"/>
                      </a:lnTo>
                      <a:lnTo>
                        <a:pt x="106" y="38"/>
                      </a:lnTo>
                      <a:lnTo>
                        <a:pt x="126" y="48"/>
                      </a:lnTo>
                      <a:lnTo>
                        <a:pt x="172" y="58"/>
                      </a:lnTo>
                      <a:lnTo>
                        <a:pt x="189" y="61"/>
                      </a:lnTo>
                      <a:lnTo>
                        <a:pt x="234" y="71"/>
                      </a:lnTo>
                      <a:lnTo>
                        <a:pt x="236" y="72"/>
                      </a:lnTo>
                      <a:lnTo>
                        <a:pt x="260" y="77"/>
                      </a:lnTo>
                      <a:lnTo>
                        <a:pt x="280" y="82"/>
                      </a:lnTo>
                      <a:lnTo>
                        <a:pt x="324" y="90"/>
                      </a:lnTo>
                      <a:lnTo>
                        <a:pt x="331" y="92"/>
                      </a:lnTo>
                      <a:lnTo>
                        <a:pt x="342" y="95"/>
                      </a:lnTo>
                      <a:lnTo>
                        <a:pt x="400" y="125"/>
                      </a:lnTo>
                      <a:lnTo>
                        <a:pt x="420" y="135"/>
                      </a:lnTo>
                      <a:lnTo>
                        <a:pt x="432" y="141"/>
                      </a:lnTo>
                      <a:lnTo>
                        <a:pt x="472" y="163"/>
                      </a:lnTo>
                      <a:lnTo>
                        <a:pt x="498" y="174"/>
                      </a:lnTo>
                      <a:lnTo>
                        <a:pt x="550" y="195"/>
                      </a:lnTo>
                      <a:lnTo>
                        <a:pt x="574" y="205"/>
                      </a:lnTo>
                      <a:lnTo>
                        <a:pt x="631" y="228"/>
                      </a:lnTo>
                      <a:lnTo>
                        <a:pt x="650" y="237"/>
                      </a:lnTo>
                      <a:lnTo>
                        <a:pt x="651" y="237"/>
                      </a:lnTo>
                      <a:lnTo>
                        <a:pt x="680" y="250"/>
                      </a:lnTo>
                      <a:lnTo>
                        <a:pt x="699" y="256"/>
                      </a:lnTo>
                      <a:lnTo>
                        <a:pt x="697" y="256"/>
                      </a:lnTo>
                      <a:lnTo>
                        <a:pt x="697" y="258"/>
                      </a:lnTo>
                      <a:lnTo>
                        <a:pt x="697" y="260"/>
                      </a:lnTo>
                      <a:lnTo>
                        <a:pt x="697" y="261"/>
                      </a:lnTo>
                      <a:lnTo>
                        <a:pt x="697" y="260"/>
                      </a:lnTo>
                      <a:lnTo>
                        <a:pt x="697" y="261"/>
                      </a:lnTo>
                      <a:lnTo>
                        <a:pt x="695" y="261"/>
                      </a:lnTo>
                      <a:lnTo>
                        <a:pt x="695" y="260"/>
                      </a:lnTo>
                      <a:lnTo>
                        <a:pt x="695" y="261"/>
                      </a:lnTo>
                      <a:lnTo>
                        <a:pt x="695" y="260"/>
                      </a:lnTo>
                      <a:lnTo>
                        <a:pt x="694" y="261"/>
                      </a:lnTo>
                      <a:lnTo>
                        <a:pt x="694" y="263"/>
                      </a:lnTo>
                      <a:lnTo>
                        <a:pt x="692" y="263"/>
                      </a:lnTo>
                      <a:lnTo>
                        <a:pt x="694" y="263"/>
                      </a:lnTo>
                      <a:lnTo>
                        <a:pt x="692" y="263"/>
                      </a:lnTo>
                      <a:lnTo>
                        <a:pt x="690" y="263"/>
                      </a:lnTo>
                      <a:lnTo>
                        <a:pt x="692" y="263"/>
                      </a:lnTo>
                      <a:lnTo>
                        <a:pt x="690" y="264"/>
                      </a:lnTo>
                      <a:lnTo>
                        <a:pt x="689" y="264"/>
                      </a:lnTo>
                      <a:lnTo>
                        <a:pt x="687" y="264"/>
                      </a:lnTo>
                      <a:lnTo>
                        <a:pt x="687" y="266"/>
                      </a:lnTo>
                      <a:lnTo>
                        <a:pt x="685" y="266"/>
                      </a:lnTo>
                      <a:lnTo>
                        <a:pt x="684" y="268"/>
                      </a:lnTo>
                      <a:lnTo>
                        <a:pt x="682" y="268"/>
                      </a:lnTo>
                      <a:lnTo>
                        <a:pt x="682" y="269"/>
                      </a:lnTo>
                      <a:lnTo>
                        <a:pt x="680" y="269"/>
                      </a:lnTo>
                      <a:lnTo>
                        <a:pt x="680" y="271"/>
                      </a:lnTo>
                      <a:lnTo>
                        <a:pt x="678" y="271"/>
                      </a:lnTo>
                      <a:lnTo>
                        <a:pt x="678" y="273"/>
                      </a:lnTo>
                      <a:lnTo>
                        <a:pt x="677" y="273"/>
                      </a:lnTo>
                      <a:lnTo>
                        <a:pt x="677" y="274"/>
                      </a:lnTo>
                      <a:lnTo>
                        <a:pt x="675" y="274"/>
                      </a:lnTo>
                      <a:lnTo>
                        <a:pt x="673" y="274"/>
                      </a:lnTo>
                      <a:lnTo>
                        <a:pt x="675" y="274"/>
                      </a:lnTo>
                      <a:lnTo>
                        <a:pt x="673" y="274"/>
                      </a:lnTo>
                      <a:lnTo>
                        <a:pt x="675" y="274"/>
                      </a:lnTo>
                      <a:lnTo>
                        <a:pt x="673" y="276"/>
                      </a:lnTo>
                      <a:lnTo>
                        <a:pt x="673" y="274"/>
                      </a:lnTo>
                      <a:lnTo>
                        <a:pt x="673" y="276"/>
                      </a:lnTo>
                      <a:lnTo>
                        <a:pt x="672" y="276"/>
                      </a:lnTo>
                      <a:lnTo>
                        <a:pt x="672" y="278"/>
                      </a:lnTo>
                      <a:lnTo>
                        <a:pt x="670" y="278"/>
                      </a:lnTo>
                      <a:lnTo>
                        <a:pt x="670" y="279"/>
                      </a:lnTo>
                      <a:lnTo>
                        <a:pt x="668" y="279"/>
                      </a:lnTo>
                      <a:lnTo>
                        <a:pt x="668" y="281"/>
                      </a:lnTo>
                      <a:lnTo>
                        <a:pt x="667" y="281"/>
                      </a:lnTo>
                      <a:lnTo>
                        <a:pt x="667" y="283"/>
                      </a:lnTo>
                      <a:lnTo>
                        <a:pt x="667" y="284"/>
                      </a:lnTo>
                      <a:lnTo>
                        <a:pt x="667" y="283"/>
                      </a:lnTo>
                      <a:lnTo>
                        <a:pt x="665" y="283"/>
                      </a:lnTo>
                      <a:lnTo>
                        <a:pt x="665" y="284"/>
                      </a:lnTo>
                      <a:lnTo>
                        <a:pt x="665" y="283"/>
                      </a:lnTo>
                      <a:lnTo>
                        <a:pt x="665" y="284"/>
                      </a:lnTo>
                      <a:lnTo>
                        <a:pt x="663" y="284"/>
                      </a:lnTo>
                      <a:lnTo>
                        <a:pt x="665" y="284"/>
                      </a:lnTo>
                      <a:lnTo>
                        <a:pt x="663" y="284"/>
                      </a:lnTo>
                      <a:lnTo>
                        <a:pt x="663" y="286"/>
                      </a:lnTo>
                      <a:lnTo>
                        <a:pt x="662" y="286"/>
                      </a:lnTo>
                      <a:lnTo>
                        <a:pt x="663" y="286"/>
                      </a:lnTo>
                      <a:lnTo>
                        <a:pt x="663" y="287"/>
                      </a:lnTo>
                      <a:lnTo>
                        <a:pt x="662" y="287"/>
                      </a:lnTo>
                      <a:lnTo>
                        <a:pt x="662" y="289"/>
                      </a:lnTo>
                      <a:lnTo>
                        <a:pt x="660" y="289"/>
                      </a:lnTo>
                      <a:lnTo>
                        <a:pt x="658" y="291"/>
                      </a:lnTo>
                      <a:lnTo>
                        <a:pt x="657" y="291"/>
                      </a:lnTo>
                      <a:lnTo>
                        <a:pt x="658" y="291"/>
                      </a:lnTo>
                      <a:lnTo>
                        <a:pt x="657" y="292"/>
                      </a:lnTo>
                      <a:lnTo>
                        <a:pt x="655" y="292"/>
                      </a:lnTo>
                      <a:lnTo>
                        <a:pt x="653" y="292"/>
                      </a:lnTo>
                      <a:lnTo>
                        <a:pt x="651" y="292"/>
                      </a:lnTo>
                      <a:lnTo>
                        <a:pt x="650" y="292"/>
                      </a:lnTo>
                      <a:lnTo>
                        <a:pt x="650" y="294"/>
                      </a:lnTo>
                      <a:lnTo>
                        <a:pt x="650" y="296"/>
                      </a:lnTo>
                      <a:lnTo>
                        <a:pt x="648" y="296"/>
                      </a:lnTo>
                      <a:lnTo>
                        <a:pt x="646" y="296"/>
                      </a:lnTo>
                      <a:lnTo>
                        <a:pt x="646" y="297"/>
                      </a:lnTo>
                      <a:lnTo>
                        <a:pt x="645" y="297"/>
                      </a:lnTo>
                      <a:lnTo>
                        <a:pt x="643" y="296"/>
                      </a:lnTo>
                      <a:lnTo>
                        <a:pt x="641" y="296"/>
                      </a:lnTo>
                      <a:lnTo>
                        <a:pt x="640" y="296"/>
                      </a:lnTo>
                      <a:lnTo>
                        <a:pt x="638" y="296"/>
                      </a:lnTo>
                      <a:lnTo>
                        <a:pt x="638" y="297"/>
                      </a:lnTo>
                      <a:lnTo>
                        <a:pt x="636" y="297"/>
                      </a:lnTo>
                      <a:lnTo>
                        <a:pt x="636" y="296"/>
                      </a:lnTo>
                      <a:lnTo>
                        <a:pt x="635" y="296"/>
                      </a:lnTo>
                      <a:lnTo>
                        <a:pt x="633" y="296"/>
                      </a:lnTo>
                      <a:lnTo>
                        <a:pt x="631" y="296"/>
                      </a:lnTo>
                      <a:lnTo>
                        <a:pt x="631" y="297"/>
                      </a:lnTo>
                      <a:lnTo>
                        <a:pt x="633" y="297"/>
                      </a:lnTo>
                      <a:lnTo>
                        <a:pt x="633" y="299"/>
                      </a:lnTo>
                      <a:lnTo>
                        <a:pt x="631" y="299"/>
                      </a:lnTo>
                      <a:lnTo>
                        <a:pt x="633" y="299"/>
                      </a:lnTo>
                      <a:lnTo>
                        <a:pt x="633" y="301"/>
                      </a:lnTo>
                      <a:lnTo>
                        <a:pt x="631" y="301"/>
                      </a:lnTo>
                      <a:lnTo>
                        <a:pt x="631" y="302"/>
                      </a:lnTo>
                      <a:lnTo>
                        <a:pt x="631" y="301"/>
                      </a:lnTo>
                      <a:lnTo>
                        <a:pt x="630" y="301"/>
                      </a:lnTo>
                      <a:lnTo>
                        <a:pt x="628" y="302"/>
                      </a:lnTo>
                      <a:lnTo>
                        <a:pt x="630" y="302"/>
                      </a:lnTo>
                      <a:lnTo>
                        <a:pt x="628" y="302"/>
                      </a:lnTo>
                      <a:lnTo>
                        <a:pt x="628" y="301"/>
                      </a:lnTo>
                      <a:lnTo>
                        <a:pt x="626" y="301"/>
                      </a:lnTo>
                      <a:lnTo>
                        <a:pt x="624" y="301"/>
                      </a:lnTo>
                      <a:lnTo>
                        <a:pt x="623" y="301"/>
                      </a:lnTo>
                      <a:lnTo>
                        <a:pt x="623" y="302"/>
                      </a:lnTo>
                      <a:lnTo>
                        <a:pt x="623" y="304"/>
                      </a:lnTo>
                      <a:lnTo>
                        <a:pt x="623" y="306"/>
                      </a:lnTo>
                      <a:lnTo>
                        <a:pt x="621" y="306"/>
                      </a:lnTo>
                      <a:lnTo>
                        <a:pt x="621" y="307"/>
                      </a:lnTo>
                      <a:lnTo>
                        <a:pt x="619" y="309"/>
                      </a:lnTo>
                      <a:lnTo>
                        <a:pt x="618" y="309"/>
                      </a:lnTo>
                      <a:lnTo>
                        <a:pt x="616" y="310"/>
                      </a:lnTo>
                      <a:lnTo>
                        <a:pt x="614" y="310"/>
                      </a:lnTo>
                      <a:lnTo>
                        <a:pt x="614" y="309"/>
                      </a:lnTo>
                      <a:lnTo>
                        <a:pt x="614" y="310"/>
                      </a:lnTo>
                      <a:lnTo>
                        <a:pt x="613" y="310"/>
                      </a:lnTo>
                      <a:lnTo>
                        <a:pt x="613" y="312"/>
                      </a:lnTo>
                      <a:lnTo>
                        <a:pt x="611" y="310"/>
                      </a:lnTo>
                      <a:lnTo>
                        <a:pt x="611" y="312"/>
                      </a:lnTo>
                      <a:lnTo>
                        <a:pt x="611" y="310"/>
                      </a:lnTo>
                      <a:lnTo>
                        <a:pt x="609" y="312"/>
                      </a:lnTo>
                      <a:lnTo>
                        <a:pt x="608" y="312"/>
                      </a:lnTo>
                      <a:lnTo>
                        <a:pt x="606" y="314"/>
                      </a:lnTo>
                      <a:lnTo>
                        <a:pt x="606" y="315"/>
                      </a:lnTo>
                      <a:lnTo>
                        <a:pt x="604" y="315"/>
                      </a:lnTo>
                      <a:lnTo>
                        <a:pt x="604" y="317"/>
                      </a:lnTo>
                      <a:lnTo>
                        <a:pt x="604" y="319"/>
                      </a:lnTo>
                      <a:lnTo>
                        <a:pt x="602" y="319"/>
                      </a:lnTo>
                      <a:lnTo>
                        <a:pt x="602" y="320"/>
                      </a:lnTo>
                      <a:lnTo>
                        <a:pt x="601" y="320"/>
                      </a:lnTo>
                      <a:lnTo>
                        <a:pt x="601" y="322"/>
                      </a:lnTo>
                      <a:lnTo>
                        <a:pt x="599" y="324"/>
                      </a:lnTo>
                      <a:lnTo>
                        <a:pt x="599" y="322"/>
                      </a:lnTo>
                      <a:lnTo>
                        <a:pt x="597" y="322"/>
                      </a:lnTo>
                      <a:lnTo>
                        <a:pt x="596" y="332"/>
                      </a:lnTo>
                      <a:lnTo>
                        <a:pt x="594" y="332"/>
                      </a:lnTo>
                      <a:lnTo>
                        <a:pt x="592" y="332"/>
                      </a:lnTo>
                      <a:lnTo>
                        <a:pt x="592" y="330"/>
                      </a:lnTo>
                      <a:lnTo>
                        <a:pt x="591" y="330"/>
                      </a:lnTo>
                      <a:lnTo>
                        <a:pt x="591" y="328"/>
                      </a:lnTo>
                      <a:lnTo>
                        <a:pt x="589" y="330"/>
                      </a:lnTo>
                      <a:lnTo>
                        <a:pt x="589" y="328"/>
                      </a:lnTo>
                      <a:lnTo>
                        <a:pt x="587" y="328"/>
                      </a:lnTo>
                      <a:lnTo>
                        <a:pt x="586" y="328"/>
                      </a:lnTo>
                      <a:lnTo>
                        <a:pt x="586" y="327"/>
                      </a:lnTo>
                      <a:lnTo>
                        <a:pt x="584" y="327"/>
                      </a:lnTo>
                      <a:lnTo>
                        <a:pt x="582" y="325"/>
                      </a:lnTo>
                      <a:lnTo>
                        <a:pt x="582" y="327"/>
                      </a:lnTo>
                      <a:lnTo>
                        <a:pt x="582" y="325"/>
                      </a:lnTo>
                      <a:lnTo>
                        <a:pt x="581" y="325"/>
                      </a:lnTo>
                      <a:lnTo>
                        <a:pt x="579" y="325"/>
                      </a:lnTo>
                      <a:lnTo>
                        <a:pt x="577" y="325"/>
                      </a:lnTo>
                      <a:lnTo>
                        <a:pt x="575" y="325"/>
                      </a:lnTo>
                      <a:lnTo>
                        <a:pt x="575" y="327"/>
                      </a:lnTo>
                      <a:lnTo>
                        <a:pt x="574" y="327"/>
                      </a:lnTo>
                      <a:lnTo>
                        <a:pt x="572" y="327"/>
                      </a:lnTo>
                      <a:lnTo>
                        <a:pt x="572" y="325"/>
                      </a:lnTo>
                      <a:lnTo>
                        <a:pt x="572" y="327"/>
                      </a:lnTo>
                      <a:lnTo>
                        <a:pt x="572" y="325"/>
                      </a:lnTo>
                      <a:lnTo>
                        <a:pt x="570" y="325"/>
                      </a:lnTo>
                      <a:lnTo>
                        <a:pt x="570" y="327"/>
                      </a:lnTo>
                      <a:lnTo>
                        <a:pt x="569" y="327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7" y="327"/>
                      </a:lnTo>
                      <a:lnTo>
                        <a:pt x="567" y="325"/>
                      </a:lnTo>
                      <a:lnTo>
                        <a:pt x="565" y="325"/>
                      </a:lnTo>
                      <a:lnTo>
                        <a:pt x="565" y="327"/>
                      </a:lnTo>
                      <a:lnTo>
                        <a:pt x="565" y="325"/>
                      </a:lnTo>
                      <a:lnTo>
                        <a:pt x="565" y="327"/>
                      </a:lnTo>
                      <a:lnTo>
                        <a:pt x="564" y="327"/>
                      </a:lnTo>
                      <a:lnTo>
                        <a:pt x="565" y="327"/>
                      </a:lnTo>
                      <a:lnTo>
                        <a:pt x="564" y="327"/>
                      </a:lnTo>
                      <a:lnTo>
                        <a:pt x="564" y="328"/>
                      </a:lnTo>
                      <a:lnTo>
                        <a:pt x="562" y="328"/>
                      </a:lnTo>
                      <a:lnTo>
                        <a:pt x="560" y="328"/>
                      </a:lnTo>
                      <a:lnTo>
                        <a:pt x="560" y="330"/>
                      </a:lnTo>
                      <a:lnTo>
                        <a:pt x="559" y="330"/>
                      </a:lnTo>
                      <a:lnTo>
                        <a:pt x="559" y="332"/>
                      </a:lnTo>
                      <a:lnTo>
                        <a:pt x="557" y="332"/>
                      </a:lnTo>
                      <a:lnTo>
                        <a:pt x="559" y="332"/>
                      </a:lnTo>
                      <a:lnTo>
                        <a:pt x="557" y="332"/>
                      </a:lnTo>
                      <a:lnTo>
                        <a:pt x="557" y="333"/>
                      </a:lnTo>
                      <a:lnTo>
                        <a:pt x="557" y="335"/>
                      </a:lnTo>
                      <a:lnTo>
                        <a:pt x="559" y="335"/>
                      </a:lnTo>
                      <a:lnTo>
                        <a:pt x="557" y="335"/>
                      </a:lnTo>
                      <a:lnTo>
                        <a:pt x="557" y="337"/>
                      </a:lnTo>
                      <a:lnTo>
                        <a:pt x="557" y="338"/>
                      </a:lnTo>
                      <a:lnTo>
                        <a:pt x="557" y="337"/>
                      </a:lnTo>
                      <a:lnTo>
                        <a:pt x="557" y="338"/>
                      </a:lnTo>
                      <a:lnTo>
                        <a:pt x="555" y="338"/>
                      </a:lnTo>
                      <a:lnTo>
                        <a:pt x="555" y="340"/>
                      </a:lnTo>
                      <a:lnTo>
                        <a:pt x="554" y="340"/>
                      </a:lnTo>
                      <a:lnTo>
                        <a:pt x="554" y="342"/>
                      </a:lnTo>
                      <a:lnTo>
                        <a:pt x="552" y="342"/>
                      </a:lnTo>
                      <a:lnTo>
                        <a:pt x="552" y="343"/>
                      </a:lnTo>
                      <a:lnTo>
                        <a:pt x="550" y="343"/>
                      </a:lnTo>
                      <a:lnTo>
                        <a:pt x="550" y="345"/>
                      </a:lnTo>
                      <a:lnTo>
                        <a:pt x="548" y="345"/>
                      </a:lnTo>
                      <a:lnTo>
                        <a:pt x="548" y="347"/>
                      </a:lnTo>
                      <a:lnTo>
                        <a:pt x="548" y="348"/>
                      </a:lnTo>
                      <a:lnTo>
                        <a:pt x="548" y="350"/>
                      </a:lnTo>
                      <a:lnTo>
                        <a:pt x="547" y="350"/>
                      </a:lnTo>
                      <a:lnTo>
                        <a:pt x="545" y="351"/>
                      </a:lnTo>
                      <a:lnTo>
                        <a:pt x="545" y="353"/>
                      </a:lnTo>
                      <a:lnTo>
                        <a:pt x="545" y="355"/>
                      </a:lnTo>
                      <a:lnTo>
                        <a:pt x="543" y="355"/>
                      </a:lnTo>
                      <a:lnTo>
                        <a:pt x="543" y="356"/>
                      </a:lnTo>
                      <a:lnTo>
                        <a:pt x="542" y="356"/>
                      </a:lnTo>
                      <a:lnTo>
                        <a:pt x="542" y="358"/>
                      </a:lnTo>
                      <a:lnTo>
                        <a:pt x="540" y="358"/>
                      </a:lnTo>
                      <a:lnTo>
                        <a:pt x="540" y="356"/>
                      </a:lnTo>
                      <a:lnTo>
                        <a:pt x="540" y="358"/>
                      </a:lnTo>
                      <a:lnTo>
                        <a:pt x="538" y="358"/>
                      </a:lnTo>
                      <a:lnTo>
                        <a:pt x="537" y="358"/>
                      </a:lnTo>
                      <a:lnTo>
                        <a:pt x="537" y="360"/>
                      </a:lnTo>
                      <a:lnTo>
                        <a:pt x="535" y="360"/>
                      </a:lnTo>
                      <a:lnTo>
                        <a:pt x="535" y="358"/>
                      </a:lnTo>
                      <a:lnTo>
                        <a:pt x="533" y="358"/>
                      </a:lnTo>
                      <a:lnTo>
                        <a:pt x="532" y="360"/>
                      </a:lnTo>
                      <a:lnTo>
                        <a:pt x="530" y="360"/>
                      </a:lnTo>
                      <a:lnTo>
                        <a:pt x="530" y="361"/>
                      </a:lnTo>
                      <a:lnTo>
                        <a:pt x="530" y="363"/>
                      </a:lnTo>
                      <a:lnTo>
                        <a:pt x="528" y="363"/>
                      </a:lnTo>
                      <a:lnTo>
                        <a:pt x="528" y="361"/>
                      </a:lnTo>
                      <a:lnTo>
                        <a:pt x="526" y="361"/>
                      </a:lnTo>
                      <a:lnTo>
                        <a:pt x="525" y="361"/>
                      </a:lnTo>
                      <a:lnTo>
                        <a:pt x="525" y="363"/>
                      </a:lnTo>
                      <a:lnTo>
                        <a:pt x="523" y="363"/>
                      </a:lnTo>
                      <a:lnTo>
                        <a:pt x="521" y="363"/>
                      </a:lnTo>
                      <a:lnTo>
                        <a:pt x="520" y="365"/>
                      </a:lnTo>
                      <a:lnTo>
                        <a:pt x="518" y="366"/>
                      </a:lnTo>
                      <a:lnTo>
                        <a:pt x="516" y="366"/>
                      </a:lnTo>
                      <a:lnTo>
                        <a:pt x="516" y="368"/>
                      </a:lnTo>
                      <a:lnTo>
                        <a:pt x="499" y="371"/>
                      </a:lnTo>
                      <a:lnTo>
                        <a:pt x="499" y="370"/>
                      </a:lnTo>
                      <a:lnTo>
                        <a:pt x="499" y="368"/>
                      </a:lnTo>
                      <a:lnTo>
                        <a:pt x="498" y="368"/>
                      </a:lnTo>
                      <a:lnTo>
                        <a:pt x="498" y="366"/>
                      </a:lnTo>
                      <a:lnTo>
                        <a:pt x="498" y="368"/>
                      </a:lnTo>
                      <a:lnTo>
                        <a:pt x="496" y="366"/>
                      </a:lnTo>
                      <a:lnTo>
                        <a:pt x="496" y="365"/>
                      </a:lnTo>
                      <a:lnTo>
                        <a:pt x="494" y="365"/>
                      </a:lnTo>
                      <a:lnTo>
                        <a:pt x="496" y="363"/>
                      </a:lnTo>
                      <a:lnTo>
                        <a:pt x="494" y="363"/>
                      </a:lnTo>
                      <a:lnTo>
                        <a:pt x="496" y="361"/>
                      </a:lnTo>
                      <a:lnTo>
                        <a:pt x="496" y="360"/>
                      </a:lnTo>
                      <a:lnTo>
                        <a:pt x="494" y="360"/>
                      </a:lnTo>
                      <a:lnTo>
                        <a:pt x="496" y="360"/>
                      </a:lnTo>
                      <a:lnTo>
                        <a:pt x="496" y="358"/>
                      </a:lnTo>
                      <a:lnTo>
                        <a:pt x="494" y="360"/>
                      </a:lnTo>
                      <a:lnTo>
                        <a:pt x="494" y="358"/>
                      </a:lnTo>
                      <a:lnTo>
                        <a:pt x="493" y="358"/>
                      </a:lnTo>
                      <a:lnTo>
                        <a:pt x="494" y="358"/>
                      </a:lnTo>
                      <a:lnTo>
                        <a:pt x="493" y="358"/>
                      </a:lnTo>
                      <a:lnTo>
                        <a:pt x="493" y="360"/>
                      </a:lnTo>
                      <a:lnTo>
                        <a:pt x="493" y="358"/>
                      </a:lnTo>
                      <a:lnTo>
                        <a:pt x="491" y="358"/>
                      </a:lnTo>
                      <a:lnTo>
                        <a:pt x="493" y="358"/>
                      </a:lnTo>
                      <a:lnTo>
                        <a:pt x="491" y="358"/>
                      </a:lnTo>
                      <a:lnTo>
                        <a:pt x="489" y="358"/>
                      </a:lnTo>
                      <a:lnTo>
                        <a:pt x="489" y="360"/>
                      </a:lnTo>
                      <a:lnTo>
                        <a:pt x="489" y="358"/>
                      </a:lnTo>
                      <a:lnTo>
                        <a:pt x="488" y="358"/>
                      </a:lnTo>
                      <a:lnTo>
                        <a:pt x="486" y="358"/>
                      </a:lnTo>
                      <a:lnTo>
                        <a:pt x="486" y="360"/>
                      </a:lnTo>
                      <a:lnTo>
                        <a:pt x="484" y="360"/>
                      </a:lnTo>
                      <a:lnTo>
                        <a:pt x="483" y="360"/>
                      </a:lnTo>
                      <a:lnTo>
                        <a:pt x="484" y="360"/>
                      </a:lnTo>
                      <a:lnTo>
                        <a:pt x="483" y="360"/>
                      </a:lnTo>
                      <a:lnTo>
                        <a:pt x="481" y="360"/>
                      </a:lnTo>
                      <a:lnTo>
                        <a:pt x="479" y="360"/>
                      </a:lnTo>
                      <a:lnTo>
                        <a:pt x="479" y="358"/>
                      </a:lnTo>
                      <a:lnTo>
                        <a:pt x="477" y="360"/>
                      </a:lnTo>
                      <a:lnTo>
                        <a:pt x="477" y="358"/>
                      </a:lnTo>
                      <a:lnTo>
                        <a:pt x="476" y="358"/>
                      </a:lnTo>
                      <a:lnTo>
                        <a:pt x="476" y="356"/>
                      </a:lnTo>
                      <a:lnTo>
                        <a:pt x="476" y="358"/>
                      </a:lnTo>
                      <a:lnTo>
                        <a:pt x="474" y="358"/>
                      </a:lnTo>
                      <a:lnTo>
                        <a:pt x="474" y="360"/>
                      </a:lnTo>
                      <a:lnTo>
                        <a:pt x="472" y="360"/>
                      </a:lnTo>
                      <a:lnTo>
                        <a:pt x="472" y="358"/>
                      </a:lnTo>
                      <a:lnTo>
                        <a:pt x="472" y="360"/>
                      </a:lnTo>
                      <a:lnTo>
                        <a:pt x="471" y="358"/>
                      </a:lnTo>
                      <a:lnTo>
                        <a:pt x="471" y="356"/>
                      </a:lnTo>
                      <a:lnTo>
                        <a:pt x="469" y="356"/>
                      </a:lnTo>
                      <a:lnTo>
                        <a:pt x="467" y="356"/>
                      </a:lnTo>
                      <a:lnTo>
                        <a:pt x="466" y="356"/>
                      </a:lnTo>
                      <a:lnTo>
                        <a:pt x="466" y="355"/>
                      </a:lnTo>
                      <a:lnTo>
                        <a:pt x="466" y="356"/>
                      </a:lnTo>
                      <a:lnTo>
                        <a:pt x="464" y="356"/>
                      </a:lnTo>
                      <a:lnTo>
                        <a:pt x="464" y="355"/>
                      </a:lnTo>
                      <a:lnTo>
                        <a:pt x="464" y="356"/>
                      </a:lnTo>
                      <a:lnTo>
                        <a:pt x="462" y="356"/>
                      </a:lnTo>
                      <a:lnTo>
                        <a:pt x="461" y="356"/>
                      </a:lnTo>
                      <a:lnTo>
                        <a:pt x="461" y="355"/>
                      </a:lnTo>
                      <a:lnTo>
                        <a:pt x="459" y="356"/>
                      </a:lnTo>
                      <a:lnTo>
                        <a:pt x="459" y="355"/>
                      </a:lnTo>
                      <a:lnTo>
                        <a:pt x="459" y="356"/>
                      </a:lnTo>
                      <a:lnTo>
                        <a:pt x="459" y="355"/>
                      </a:lnTo>
                      <a:lnTo>
                        <a:pt x="457" y="355"/>
                      </a:lnTo>
                      <a:lnTo>
                        <a:pt x="459" y="355"/>
                      </a:lnTo>
                      <a:lnTo>
                        <a:pt x="457" y="355"/>
                      </a:lnTo>
                      <a:lnTo>
                        <a:pt x="456" y="355"/>
                      </a:lnTo>
                      <a:lnTo>
                        <a:pt x="456" y="353"/>
                      </a:lnTo>
                      <a:lnTo>
                        <a:pt x="454" y="353"/>
                      </a:lnTo>
                      <a:lnTo>
                        <a:pt x="452" y="355"/>
                      </a:lnTo>
                      <a:lnTo>
                        <a:pt x="452" y="353"/>
                      </a:lnTo>
                      <a:lnTo>
                        <a:pt x="450" y="353"/>
                      </a:lnTo>
                      <a:lnTo>
                        <a:pt x="449" y="353"/>
                      </a:lnTo>
                      <a:lnTo>
                        <a:pt x="447" y="353"/>
                      </a:lnTo>
                      <a:lnTo>
                        <a:pt x="447" y="355"/>
                      </a:lnTo>
                      <a:lnTo>
                        <a:pt x="445" y="353"/>
                      </a:lnTo>
                      <a:lnTo>
                        <a:pt x="444" y="353"/>
                      </a:lnTo>
                      <a:lnTo>
                        <a:pt x="442" y="353"/>
                      </a:lnTo>
                      <a:lnTo>
                        <a:pt x="440" y="353"/>
                      </a:lnTo>
                      <a:lnTo>
                        <a:pt x="439" y="353"/>
                      </a:lnTo>
                      <a:lnTo>
                        <a:pt x="437" y="353"/>
                      </a:lnTo>
                      <a:lnTo>
                        <a:pt x="437" y="355"/>
                      </a:lnTo>
                      <a:lnTo>
                        <a:pt x="437" y="353"/>
                      </a:lnTo>
                      <a:lnTo>
                        <a:pt x="435" y="353"/>
                      </a:lnTo>
                      <a:lnTo>
                        <a:pt x="435" y="351"/>
                      </a:lnTo>
                      <a:lnTo>
                        <a:pt x="435" y="353"/>
                      </a:lnTo>
                      <a:lnTo>
                        <a:pt x="435" y="351"/>
                      </a:lnTo>
                      <a:lnTo>
                        <a:pt x="434" y="351"/>
                      </a:lnTo>
                      <a:lnTo>
                        <a:pt x="434" y="353"/>
                      </a:lnTo>
                      <a:lnTo>
                        <a:pt x="434" y="351"/>
                      </a:lnTo>
                      <a:lnTo>
                        <a:pt x="432" y="351"/>
                      </a:lnTo>
                      <a:lnTo>
                        <a:pt x="432" y="353"/>
                      </a:lnTo>
                      <a:lnTo>
                        <a:pt x="432" y="351"/>
                      </a:lnTo>
                      <a:lnTo>
                        <a:pt x="430" y="353"/>
                      </a:lnTo>
                      <a:lnTo>
                        <a:pt x="429" y="353"/>
                      </a:lnTo>
                      <a:lnTo>
                        <a:pt x="427" y="353"/>
                      </a:lnTo>
                      <a:lnTo>
                        <a:pt x="427" y="355"/>
                      </a:lnTo>
                      <a:lnTo>
                        <a:pt x="427" y="353"/>
                      </a:lnTo>
                      <a:lnTo>
                        <a:pt x="425" y="353"/>
                      </a:lnTo>
                      <a:lnTo>
                        <a:pt x="423" y="353"/>
                      </a:lnTo>
                      <a:lnTo>
                        <a:pt x="422" y="351"/>
                      </a:lnTo>
                      <a:lnTo>
                        <a:pt x="422" y="353"/>
                      </a:lnTo>
                      <a:lnTo>
                        <a:pt x="420" y="353"/>
                      </a:lnTo>
                      <a:lnTo>
                        <a:pt x="418" y="353"/>
                      </a:lnTo>
                      <a:lnTo>
                        <a:pt x="417" y="353"/>
                      </a:lnTo>
                      <a:lnTo>
                        <a:pt x="415" y="353"/>
                      </a:lnTo>
                      <a:lnTo>
                        <a:pt x="415" y="355"/>
                      </a:lnTo>
                      <a:lnTo>
                        <a:pt x="413" y="353"/>
                      </a:lnTo>
                      <a:lnTo>
                        <a:pt x="413" y="355"/>
                      </a:lnTo>
                      <a:lnTo>
                        <a:pt x="412" y="355"/>
                      </a:lnTo>
                      <a:lnTo>
                        <a:pt x="410" y="353"/>
                      </a:lnTo>
                      <a:lnTo>
                        <a:pt x="408" y="355"/>
                      </a:lnTo>
                      <a:lnTo>
                        <a:pt x="407" y="355"/>
                      </a:lnTo>
                      <a:lnTo>
                        <a:pt x="407" y="356"/>
                      </a:lnTo>
                      <a:lnTo>
                        <a:pt x="407" y="355"/>
                      </a:lnTo>
                      <a:lnTo>
                        <a:pt x="405" y="356"/>
                      </a:lnTo>
                      <a:lnTo>
                        <a:pt x="405" y="355"/>
                      </a:lnTo>
                      <a:lnTo>
                        <a:pt x="403" y="355"/>
                      </a:lnTo>
                      <a:lnTo>
                        <a:pt x="403" y="356"/>
                      </a:lnTo>
                      <a:lnTo>
                        <a:pt x="401" y="356"/>
                      </a:lnTo>
                      <a:lnTo>
                        <a:pt x="401" y="355"/>
                      </a:lnTo>
                      <a:lnTo>
                        <a:pt x="403" y="355"/>
                      </a:lnTo>
                      <a:lnTo>
                        <a:pt x="401" y="355"/>
                      </a:lnTo>
                      <a:lnTo>
                        <a:pt x="401" y="353"/>
                      </a:lnTo>
                      <a:lnTo>
                        <a:pt x="400" y="353"/>
                      </a:lnTo>
                      <a:lnTo>
                        <a:pt x="400" y="351"/>
                      </a:lnTo>
                      <a:lnTo>
                        <a:pt x="398" y="351"/>
                      </a:lnTo>
                      <a:lnTo>
                        <a:pt x="396" y="351"/>
                      </a:lnTo>
                      <a:lnTo>
                        <a:pt x="395" y="351"/>
                      </a:lnTo>
                      <a:lnTo>
                        <a:pt x="393" y="351"/>
                      </a:lnTo>
                      <a:lnTo>
                        <a:pt x="391" y="351"/>
                      </a:lnTo>
                      <a:lnTo>
                        <a:pt x="390" y="351"/>
                      </a:lnTo>
                      <a:lnTo>
                        <a:pt x="388" y="351"/>
                      </a:lnTo>
                      <a:lnTo>
                        <a:pt x="386" y="351"/>
                      </a:lnTo>
                      <a:lnTo>
                        <a:pt x="385" y="351"/>
                      </a:lnTo>
                      <a:lnTo>
                        <a:pt x="383" y="351"/>
                      </a:lnTo>
                      <a:lnTo>
                        <a:pt x="381" y="351"/>
                      </a:lnTo>
                      <a:lnTo>
                        <a:pt x="383" y="351"/>
                      </a:lnTo>
                      <a:lnTo>
                        <a:pt x="381" y="351"/>
                      </a:lnTo>
                      <a:lnTo>
                        <a:pt x="381" y="353"/>
                      </a:lnTo>
                      <a:lnTo>
                        <a:pt x="381" y="351"/>
                      </a:lnTo>
                      <a:lnTo>
                        <a:pt x="381" y="353"/>
                      </a:lnTo>
                      <a:lnTo>
                        <a:pt x="380" y="353"/>
                      </a:lnTo>
                      <a:lnTo>
                        <a:pt x="380" y="355"/>
                      </a:lnTo>
                      <a:lnTo>
                        <a:pt x="378" y="353"/>
                      </a:lnTo>
                      <a:lnTo>
                        <a:pt x="378" y="355"/>
                      </a:lnTo>
                      <a:lnTo>
                        <a:pt x="376" y="355"/>
                      </a:lnTo>
                      <a:lnTo>
                        <a:pt x="374" y="356"/>
                      </a:lnTo>
                      <a:lnTo>
                        <a:pt x="374" y="355"/>
                      </a:lnTo>
                      <a:lnTo>
                        <a:pt x="374" y="356"/>
                      </a:lnTo>
                      <a:lnTo>
                        <a:pt x="373" y="356"/>
                      </a:lnTo>
                      <a:lnTo>
                        <a:pt x="371" y="356"/>
                      </a:lnTo>
                      <a:lnTo>
                        <a:pt x="371" y="358"/>
                      </a:lnTo>
                      <a:lnTo>
                        <a:pt x="371" y="356"/>
                      </a:lnTo>
                      <a:lnTo>
                        <a:pt x="369" y="358"/>
                      </a:lnTo>
                      <a:lnTo>
                        <a:pt x="369" y="356"/>
                      </a:lnTo>
                      <a:lnTo>
                        <a:pt x="369" y="358"/>
                      </a:lnTo>
                      <a:lnTo>
                        <a:pt x="369" y="356"/>
                      </a:lnTo>
                      <a:lnTo>
                        <a:pt x="369" y="358"/>
                      </a:lnTo>
                      <a:lnTo>
                        <a:pt x="368" y="358"/>
                      </a:lnTo>
                      <a:lnTo>
                        <a:pt x="368" y="360"/>
                      </a:lnTo>
                      <a:lnTo>
                        <a:pt x="368" y="358"/>
                      </a:lnTo>
                      <a:lnTo>
                        <a:pt x="366" y="358"/>
                      </a:lnTo>
                      <a:lnTo>
                        <a:pt x="366" y="360"/>
                      </a:lnTo>
                      <a:lnTo>
                        <a:pt x="368" y="360"/>
                      </a:lnTo>
                      <a:lnTo>
                        <a:pt x="366" y="360"/>
                      </a:lnTo>
                      <a:lnTo>
                        <a:pt x="364" y="360"/>
                      </a:lnTo>
                      <a:lnTo>
                        <a:pt x="364" y="361"/>
                      </a:lnTo>
                      <a:lnTo>
                        <a:pt x="363" y="361"/>
                      </a:lnTo>
                      <a:lnTo>
                        <a:pt x="361" y="361"/>
                      </a:lnTo>
                      <a:lnTo>
                        <a:pt x="361" y="363"/>
                      </a:lnTo>
                      <a:lnTo>
                        <a:pt x="359" y="363"/>
                      </a:lnTo>
                      <a:lnTo>
                        <a:pt x="358" y="363"/>
                      </a:lnTo>
                      <a:lnTo>
                        <a:pt x="356" y="363"/>
                      </a:lnTo>
                      <a:lnTo>
                        <a:pt x="354" y="363"/>
                      </a:lnTo>
                      <a:lnTo>
                        <a:pt x="353" y="363"/>
                      </a:lnTo>
                      <a:lnTo>
                        <a:pt x="351" y="363"/>
                      </a:lnTo>
                      <a:lnTo>
                        <a:pt x="351" y="365"/>
                      </a:lnTo>
                      <a:lnTo>
                        <a:pt x="349" y="365"/>
                      </a:lnTo>
                      <a:lnTo>
                        <a:pt x="347" y="365"/>
                      </a:lnTo>
                      <a:lnTo>
                        <a:pt x="346" y="365"/>
                      </a:lnTo>
                      <a:lnTo>
                        <a:pt x="344" y="365"/>
                      </a:lnTo>
                      <a:lnTo>
                        <a:pt x="344" y="363"/>
                      </a:lnTo>
                      <a:lnTo>
                        <a:pt x="344" y="365"/>
                      </a:lnTo>
                      <a:lnTo>
                        <a:pt x="342" y="363"/>
                      </a:lnTo>
                      <a:lnTo>
                        <a:pt x="342" y="365"/>
                      </a:lnTo>
                      <a:lnTo>
                        <a:pt x="342" y="363"/>
                      </a:lnTo>
                      <a:lnTo>
                        <a:pt x="341" y="363"/>
                      </a:lnTo>
                      <a:lnTo>
                        <a:pt x="339" y="363"/>
                      </a:lnTo>
                      <a:lnTo>
                        <a:pt x="339" y="361"/>
                      </a:lnTo>
                      <a:lnTo>
                        <a:pt x="337" y="361"/>
                      </a:lnTo>
                      <a:lnTo>
                        <a:pt x="336" y="361"/>
                      </a:lnTo>
                      <a:lnTo>
                        <a:pt x="336" y="360"/>
                      </a:lnTo>
                      <a:lnTo>
                        <a:pt x="336" y="358"/>
                      </a:lnTo>
                      <a:lnTo>
                        <a:pt x="334" y="358"/>
                      </a:lnTo>
                      <a:lnTo>
                        <a:pt x="334" y="356"/>
                      </a:lnTo>
                      <a:lnTo>
                        <a:pt x="332" y="356"/>
                      </a:lnTo>
                      <a:lnTo>
                        <a:pt x="332" y="355"/>
                      </a:lnTo>
                      <a:lnTo>
                        <a:pt x="331" y="355"/>
                      </a:lnTo>
                      <a:lnTo>
                        <a:pt x="331" y="353"/>
                      </a:lnTo>
                      <a:lnTo>
                        <a:pt x="329" y="353"/>
                      </a:lnTo>
                      <a:lnTo>
                        <a:pt x="327" y="351"/>
                      </a:lnTo>
                      <a:lnTo>
                        <a:pt x="319" y="358"/>
                      </a:lnTo>
                      <a:lnTo>
                        <a:pt x="319" y="332"/>
                      </a:lnTo>
                      <a:lnTo>
                        <a:pt x="319" y="299"/>
                      </a:lnTo>
                      <a:lnTo>
                        <a:pt x="319" y="274"/>
                      </a:lnTo>
                      <a:lnTo>
                        <a:pt x="319" y="250"/>
                      </a:lnTo>
                      <a:lnTo>
                        <a:pt x="319" y="248"/>
                      </a:lnTo>
                      <a:lnTo>
                        <a:pt x="320" y="248"/>
                      </a:lnTo>
                      <a:lnTo>
                        <a:pt x="322" y="248"/>
                      </a:lnTo>
                      <a:lnTo>
                        <a:pt x="322" y="246"/>
                      </a:lnTo>
                      <a:lnTo>
                        <a:pt x="324" y="246"/>
                      </a:lnTo>
                      <a:lnTo>
                        <a:pt x="325" y="246"/>
                      </a:lnTo>
                      <a:lnTo>
                        <a:pt x="325" y="245"/>
                      </a:lnTo>
                      <a:lnTo>
                        <a:pt x="327" y="245"/>
                      </a:lnTo>
                      <a:lnTo>
                        <a:pt x="327" y="243"/>
                      </a:lnTo>
                      <a:lnTo>
                        <a:pt x="327" y="241"/>
                      </a:lnTo>
                      <a:lnTo>
                        <a:pt x="327" y="240"/>
                      </a:lnTo>
                      <a:lnTo>
                        <a:pt x="327" y="238"/>
                      </a:lnTo>
                      <a:lnTo>
                        <a:pt x="325" y="237"/>
                      </a:lnTo>
                      <a:lnTo>
                        <a:pt x="325" y="235"/>
                      </a:lnTo>
                      <a:lnTo>
                        <a:pt x="324" y="235"/>
                      </a:lnTo>
                      <a:lnTo>
                        <a:pt x="324" y="233"/>
                      </a:lnTo>
                      <a:lnTo>
                        <a:pt x="322" y="233"/>
                      </a:lnTo>
                      <a:lnTo>
                        <a:pt x="322" y="232"/>
                      </a:lnTo>
                      <a:lnTo>
                        <a:pt x="322" y="230"/>
                      </a:lnTo>
                      <a:lnTo>
                        <a:pt x="320" y="230"/>
                      </a:lnTo>
                      <a:lnTo>
                        <a:pt x="322" y="228"/>
                      </a:lnTo>
                      <a:lnTo>
                        <a:pt x="322" y="227"/>
                      </a:lnTo>
                      <a:lnTo>
                        <a:pt x="320" y="225"/>
                      </a:lnTo>
                      <a:lnTo>
                        <a:pt x="322" y="225"/>
                      </a:lnTo>
                      <a:lnTo>
                        <a:pt x="322" y="227"/>
                      </a:lnTo>
                      <a:lnTo>
                        <a:pt x="322" y="225"/>
                      </a:lnTo>
                      <a:lnTo>
                        <a:pt x="324" y="227"/>
                      </a:lnTo>
                      <a:lnTo>
                        <a:pt x="325" y="227"/>
                      </a:lnTo>
                      <a:lnTo>
                        <a:pt x="325" y="225"/>
                      </a:lnTo>
                      <a:lnTo>
                        <a:pt x="324" y="225"/>
                      </a:lnTo>
                      <a:lnTo>
                        <a:pt x="324" y="223"/>
                      </a:lnTo>
                      <a:lnTo>
                        <a:pt x="325" y="223"/>
                      </a:lnTo>
                      <a:lnTo>
                        <a:pt x="327" y="223"/>
                      </a:lnTo>
                      <a:lnTo>
                        <a:pt x="325" y="223"/>
                      </a:lnTo>
                      <a:lnTo>
                        <a:pt x="325" y="222"/>
                      </a:lnTo>
                      <a:lnTo>
                        <a:pt x="327" y="222"/>
                      </a:lnTo>
                      <a:lnTo>
                        <a:pt x="327" y="220"/>
                      </a:lnTo>
                      <a:lnTo>
                        <a:pt x="329" y="220"/>
                      </a:lnTo>
                      <a:lnTo>
                        <a:pt x="331" y="220"/>
                      </a:lnTo>
                      <a:lnTo>
                        <a:pt x="329" y="218"/>
                      </a:lnTo>
                      <a:lnTo>
                        <a:pt x="329" y="217"/>
                      </a:lnTo>
                      <a:lnTo>
                        <a:pt x="327" y="217"/>
                      </a:lnTo>
                      <a:lnTo>
                        <a:pt x="329" y="217"/>
                      </a:lnTo>
                      <a:lnTo>
                        <a:pt x="329" y="215"/>
                      </a:lnTo>
                      <a:lnTo>
                        <a:pt x="331" y="215"/>
                      </a:lnTo>
                      <a:lnTo>
                        <a:pt x="331" y="214"/>
                      </a:lnTo>
                      <a:lnTo>
                        <a:pt x="329" y="214"/>
                      </a:lnTo>
                      <a:lnTo>
                        <a:pt x="327" y="214"/>
                      </a:lnTo>
                      <a:lnTo>
                        <a:pt x="329" y="214"/>
                      </a:lnTo>
                      <a:lnTo>
                        <a:pt x="327" y="215"/>
                      </a:lnTo>
                      <a:lnTo>
                        <a:pt x="327" y="214"/>
                      </a:lnTo>
                      <a:lnTo>
                        <a:pt x="325" y="214"/>
                      </a:lnTo>
                      <a:lnTo>
                        <a:pt x="324" y="214"/>
                      </a:lnTo>
                      <a:lnTo>
                        <a:pt x="322" y="215"/>
                      </a:lnTo>
                      <a:lnTo>
                        <a:pt x="320" y="215"/>
                      </a:lnTo>
                      <a:lnTo>
                        <a:pt x="320" y="217"/>
                      </a:lnTo>
                      <a:lnTo>
                        <a:pt x="319" y="217"/>
                      </a:lnTo>
                      <a:lnTo>
                        <a:pt x="319" y="218"/>
                      </a:lnTo>
                      <a:lnTo>
                        <a:pt x="319" y="217"/>
                      </a:lnTo>
                      <a:lnTo>
                        <a:pt x="319" y="218"/>
                      </a:lnTo>
                      <a:lnTo>
                        <a:pt x="317" y="218"/>
                      </a:lnTo>
                      <a:lnTo>
                        <a:pt x="317" y="220"/>
                      </a:lnTo>
                      <a:lnTo>
                        <a:pt x="315" y="220"/>
                      </a:lnTo>
                      <a:lnTo>
                        <a:pt x="315" y="222"/>
                      </a:lnTo>
                      <a:lnTo>
                        <a:pt x="314" y="222"/>
                      </a:lnTo>
                      <a:lnTo>
                        <a:pt x="314" y="223"/>
                      </a:lnTo>
                      <a:lnTo>
                        <a:pt x="312" y="223"/>
                      </a:lnTo>
                      <a:lnTo>
                        <a:pt x="310" y="223"/>
                      </a:lnTo>
                      <a:lnTo>
                        <a:pt x="310" y="225"/>
                      </a:lnTo>
                      <a:lnTo>
                        <a:pt x="309" y="225"/>
                      </a:lnTo>
                      <a:lnTo>
                        <a:pt x="309" y="227"/>
                      </a:lnTo>
                      <a:lnTo>
                        <a:pt x="309" y="225"/>
                      </a:lnTo>
                      <a:lnTo>
                        <a:pt x="307" y="225"/>
                      </a:lnTo>
                      <a:lnTo>
                        <a:pt x="307" y="227"/>
                      </a:lnTo>
                      <a:lnTo>
                        <a:pt x="305" y="227"/>
                      </a:lnTo>
                      <a:lnTo>
                        <a:pt x="305" y="228"/>
                      </a:lnTo>
                      <a:lnTo>
                        <a:pt x="305" y="230"/>
                      </a:lnTo>
                      <a:lnTo>
                        <a:pt x="304" y="230"/>
                      </a:lnTo>
                      <a:lnTo>
                        <a:pt x="304" y="232"/>
                      </a:lnTo>
                      <a:lnTo>
                        <a:pt x="302" y="232"/>
                      </a:lnTo>
                      <a:lnTo>
                        <a:pt x="302" y="233"/>
                      </a:lnTo>
                      <a:lnTo>
                        <a:pt x="302" y="232"/>
                      </a:lnTo>
                      <a:lnTo>
                        <a:pt x="302" y="233"/>
                      </a:lnTo>
                      <a:lnTo>
                        <a:pt x="300" y="233"/>
                      </a:lnTo>
                      <a:lnTo>
                        <a:pt x="298" y="233"/>
                      </a:lnTo>
                      <a:lnTo>
                        <a:pt x="298" y="235"/>
                      </a:lnTo>
                      <a:lnTo>
                        <a:pt x="298" y="233"/>
                      </a:lnTo>
                      <a:lnTo>
                        <a:pt x="297" y="235"/>
                      </a:lnTo>
                      <a:lnTo>
                        <a:pt x="297" y="233"/>
                      </a:lnTo>
                      <a:lnTo>
                        <a:pt x="297" y="235"/>
                      </a:lnTo>
                      <a:lnTo>
                        <a:pt x="295" y="235"/>
                      </a:lnTo>
                      <a:lnTo>
                        <a:pt x="295" y="237"/>
                      </a:lnTo>
                      <a:lnTo>
                        <a:pt x="293" y="237"/>
                      </a:lnTo>
                      <a:lnTo>
                        <a:pt x="293" y="238"/>
                      </a:lnTo>
                      <a:lnTo>
                        <a:pt x="292" y="238"/>
                      </a:lnTo>
                      <a:lnTo>
                        <a:pt x="292" y="240"/>
                      </a:lnTo>
                      <a:lnTo>
                        <a:pt x="292" y="241"/>
                      </a:lnTo>
                      <a:lnTo>
                        <a:pt x="290" y="241"/>
                      </a:lnTo>
                      <a:lnTo>
                        <a:pt x="288" y="241"/>
                      </a:lnTo>
                      <a:lnTo>
                        <a:pt x="287" y="241"/>
                      </a:lnTo>
                      <a:lnTo>
                        <a:pt x="287" y="243"/>
                      </a:lnTo>
                      <a:lnTo>
                        <a:pt x="285" y="243"/>
                      </a:lnTo>
                      <a:lnTo>
                        <a:pt x="283" y="246"/>
                      </a:lnTo>
                      <a:lnTo>
                        <a:pt x="283" y="248"/>
                      </a:lnTo>
                      <a:lnTo>
                        <a:pt x="283" y="250"/>
                      </a:lnTo>
                      <a:lnTo>
                        <a:pt x="282" y="250"/>
                      </a:lnTo>
                      <a:lnTo>
                        <a:pt x="282" y="248"/>
                      </a:lnTo>
                      <a:lnTo>
                        <a:pt x="282" y="250"/>
                      </a:lnTo>
                      <a:lnTo>
                        <a:pt x="280" y="248"/>
                      </a:lnTo>
                      <a:lnTo>
                        <a:pt x="280" y="250"/>
                      </a:lnTo>
                      <a:lnTo>
                        <a:pt x="278" y="250"/>
                      </a:lnTo>
                      <a:lnTo>
                        <a:pt x="277" y="250"/>
                      </a:lnTo>
                      <a:lnTo>
                        <a:pt x="275" y="250"/>
                      </a:lnTo>
                      <a:lnTo>
                        <a:pt x="273" y="250"/>
                      </a:lnTo>
                      <a:lnTo>
                        <a:pt x="271" y="251"/>
                      </a:lnTo>
                      <a:lnTo>
                        <a:pt x="270" y="251"/>
                      </a:lnTo>
                      <a:lnTo>
                        <a:pt x="270" y="253"/>
                      </a:lnTo>
                      <a:lnTo>
                        <a:pt x="268" y="255"/>
                      </a:lnTo>
                      <a:lnTo>
                        <a:pt x="266" y="255"/>
                      </a:lnTo>
                      <a:lnTo>
                        <a:pt x="266" y="256"/>
                      </a:lnTo>
                      <a:lnTo>
                        <a:pt x="266" y="258"/>
                      </a:lnTo>
                      <a:lnTo>
                        <a:pt x="265" y="260"/>
                      </a:lnTo>
                      <a:lnTo>
                        <a:pt x="265" y="261"/>
                      </a:lnTo>
                      <a:lnTo>
                        <a:pt x="263" y="261"/>
                      </a:lnTo>
                      <a:lnTo>
                        <a:pt x="263" y="263"/>
                      </a:lnTo>
                      <a:lnTo>
                        <a:pt x="261" y="263"/>
                      </a:lnTo>
                      <a:lnTo>
                        <a:pt x="260" y="263"/>
                      </a:lnTo>
                      <a:lnTo>
                        <a:pt x="258" y="263"/>
                      </a:lnTo>
                      <a:lnTo>
                        <a:pt x="258" y="264"/>
                      </a:lnTo>
                      <a:lnTo>
                        <a:pt x="256" y="264"/>
                      </a:lnTo>
                      <a:lnTo>
                        <a:pt x="255" y="264"/>
                      </a:lnTo>
                      <a:lnTo>
                        <a:pt x="253" y="266"/>
                      </a:lnTo>
                      <a:lnTo>
                        <a:pt x="253" y="264"/>
                      </a:lnTo>
                      <a:lnTo>
                        <a:pt x="251" y="263"/>
                      </a:lnTo>
                      <a:lnTo>
                        <a:pt x="249" y="264"/>
                      </a:lnTo>
                      <a:lnTo>
                        <a:pt x="248" y="264"/>
                      </a:lnTo>
                      <a:lnTo>
                        <a:pt x="248" y="266"/>
                      </a:lnTo>
                      <a:lnTo>
                        <a:pt x="206" y="266"/>
                      </a:lnTo>
                      <a:lnTo>
                        <a:pt x="189" y="266"/>
                      </a:lnTo>
                      <a:lnTo>
                        <a:pt x="170" y="266"/>
                      </a:lnTo>
                      <a:lnTo>
                        <a:pt x="170" y="264"/>
                      </a:lnTo>
                      <a:lnTo>
                        <a:pt x="172" y="264"/>
                      </a:lnTo>
                      <a:lnTo>
                        <a:pt x="173" y="263"/>
                      </a:lnTo>
                      <a:lnTo>
                        <a:pt x="173" y="261"/>
                      </a:lnTo>
                      <a:lnTo>
                        <a:pt x="172" y="261"/>
                      </a:lnTo>
                      <a:lnTo>
                        <a:pt x="172" y="260"/>
                      </a:lnTo>
                      <a:lnTo>
                        <a:pt x="172" y="258"/>
                      </a:lnTo>
                      <a:lnTo>
                        <a:pt x="173" y="258"/>
                      </a:lnTo>
                      <a:lnTo>
                        <a:pt x="173" y="256"/>
                      </a:lnTo>
                      <a:lnTo>
                        <a:pt x="175" y="255"/>
                      </a:lnTo>
                      <a:lnTo>
                        <a:pt x="173" y="253"/>
                      </a:lnTo>
                      <a:lnTo>
                        <a:pt x="173" y="251"/>
                      </a:lnTo>
                      <a:lnTo>
                        <a:pt x="172" y="251"/>
                      </a:lnTo>
                      <a:lnTo>
                        <a:pt x="172" y="250"/>
                      </a:lnTo>
                      <a:lnTo>
                        <a:pt x="173" y="250"/>
                      </a:lnTo>
                      <a:lnTo>
                        <a:pt x="173" y="248"/>
                      </a:lnTo>
                      <a:lnTo>
                        <a:pt x="173" y="246"/>
                      </a:lnTo>
                      <a:lnTo>
                        <a:pt x="172" y="246"/>
                      </a:lnTo>
                      <a:lnTo>
                        <a:pt x="170" y="246"/>
                      </a:lnTo>
                      <a:lnTo>
                        <a:pt x="168" y="245"/>
                      </a:lnTo>
                      <a:lnTo>
                        <a:pt x="167" y="245"/>
                      </a:lnTo>
                      <a:lnTo>
                        <a:pt x="165" y="245"/>
                      </a:lnTo>
                      <a:lnTo>
                        <a:pt x="163" y="243"/>
                      </a:lnTo>
                      <a:lnTo>
                        <a:pt x="162" y="243"/>
                      </a:lnTo>
                      <a:lnTo>
                        <a:pt x="162" y="241"/>
                      </a:lnTo>
                      <a:lnTo>
                        <a:pt x="163" y="241"/>
                      </a:lnTo>
                      <a:lnTo>
                        <a:pt x="163" y="240"/>
                      </a:lnTo>
                      <a:lnTo>
                        <a:pt x="165" y="238"/>
                      </a:lnTo>
                      <a:lnTo>
                        <a:pt x="165" y="237"/>
                      </a:lnTo>
                      <a:lnTo>
                        <a:pt x="163" y="237"/>
                      </a:lnTo>
                      <a:lnTo>
                        <a:pt x="165" y="235"/>
                      </a:lnTo>
                      <a:lnTo>
                        <a:pt x="163" y="233"/>
                      </a:lnTo>
                      <a:lnTo>
                        <a:pt x="163" y="232"/>
                      </a:lnTo>
                      <a:lnTo>
                        <a:pt x="163" y="230"/>
                      </a:lnTo>
                      <a:lnTo>
                        <a:pt x="162" y="230"/>
                      </a:lnTo>
                      <a:lnTo>
                        <a:pt x="160" y="230"/>
                      </a:lnTo>
                      <a:lnTo>
                        <a:pt x="160" y="228"/>
                      </a:lnTo>
                      <a:lnTo>
                        <a:pt x="162" y="228"/>
                      </a:lnTo>
                      <a:lnTo>
                        <a:pt x="162" y="227"/>
                      </a:lnTo>
                      <a:lnTo>
                        <a:pt x="162" y="225"/>
                      </a:lnTo>
                      <a:lnTo>
                        <a:pt x="162" y="223"/>
                      </a:lnTo>
                      <a:lnTo>
                        <a:pt x="160" y="223"/>
                      </a:lnTo>
                      <a:lnTo>
                        <a:pt x="158" y="223"/>
                      </a:lnTo>
                      <a:lnTo>
                        <a:pt x="157" y="223"/>
                      </a:lnTo>
                      <a:lnTo>
                        <a:pt x="157" y="222"/>
                      </a:lnTo>
                      <a:lnTo>
                        <a:pt x="155" y="222"/>
                      </a:lnTo>
                      <a:lnTo>
                        <a:pt x="157" y="222"/>
                      </a:lnTo>
                      <a:lnTo>
                        <a:pt x="155" y="222"/>
                      </a:lnTo>
                      <a:lnTo>
                        <a:pt x="155" y="220"/>
                      </a:lnTo>
                      <a:lnTo>
                        <a:pt x="153" y="220"/>
                      </a:lnTo>
                      <a:lnTo>
                        <a:pt x="153" y="218"/>
                      </a:lnTo>
                      <a:lnTo>
                        <a:pt x="153" y="220"/>
                      </a:lnTo>
                      <a:lnTo>
                        <a:pt x="152" y="220"/>
                      </a:lnTo>
                      <a:lnTo>
                        <a:pt x="152" y="218"/>
                      </a:lnTo>
                      <a:lnTo>
                        <a:pt x="150" y="218"/>
                      </a:lnTo>
                      <a:lnTo>
                        <a:pt x="148" y="218"/>
                      </a:lnTo>
                      <a:lnTo>
                        <a:pt x="146" y="218"/>
                      </a:lnTo>
                      <a:lnTo>
                        <a:pt x="145" y="218"/>
                      </a:lnTo>
                      <a:lnTo>
                        <a:pt x="143" y="218"/>
                      </a:lnTo>
                      <a:lnTo>
                        <a:pt x="141" y="218"/>
                      </a:lnTo>
                      <a:lnTo>
                        <a:pt x="140" y="218"/>
                      </a:lnTo>
                      <a:lnTo>
                        <a:pt x="138" y="218"/>
                      </a:lnTo>
                      <a:lnTo>
                        <a:pt x="138" y="217"/>
                      </a:lnTo>
                      <a:lnTo>
                        <a:pt x="136" y="217"/>
                      </a:lnTo>
                      <a:lnTo>
                        <a:pt x="135" y="217"/>
                      </a:lnTo>
                      <a:lnTo>
                        <a:pt x="133" y="217"/>
                      </a:lnTo>
                      <a:lnTo>
                        <a:pt x="133" y="215"/>
                      </a:lnTo>
                      <a:lnTo>
                        <a:pt x="133" y="217"/>
                      </a:lnTo>
                      <a:lnTo>
                        <a:pt x="133" y="215"/>
                      </a:lnTo>
                      <a:lnTo>
                        <a:pt x="131" y="215"/>
                      </a:lnTo>
                      <a:lnTo>
                        <a:pt x="130" y="215"/>
                      </a:lnTo>
                      <a:lnTo>
                        <a:pt x="128" y="215"/>
                      </a:lnTo>
                      <a:lnTo>
                        <a:pt x="126" y="215"/>
                      </a:lnTo>
                      <a:lnTo>
                        <a:pt x="125" y="215"/>
                      </a:lnTo>
                      <a:lnTo>
                        <a:pt x="125" y="214"/>
                      </a:lnTo>
                      <a:lnTo>
                        <a:pt x="123" y="214"/>
                      </a:lnTo>
                      <a:lnTo>
                        <a:pt x="121" y="214"/>
                      </a:lnTo>
                      <a:lnTo>
                        <a:pt x="119" y="212"/>
                      </a:lnTo>
                      <a:lnTo>
                        <a:pt x="74" y="212"/>
                      </a:lnTo>
                      <a:lnTo>
                        <a:pt x="74" y="210"/>
                      </a:lnTo>
                      <a:lnTo>
                        <a:pt x="76" y="210"/>
                      </a:lnTo>
                      <a:lnTo>
                        <a:pt x="76" y="207"/>
                      </a:lnTo>
                      <a:lnTo>
                        <a:pt x="77" y="207"/>
                      </a:lnTo>
                      <a:lnTo>
                        <a:pt x="79" y="207"/>
                      </a:lnTo>
                      <a:lnTo>
                        <a:pt x="79" y="205"/>
                      </a:lnTo>
                      <a:lnTo>
                        <a:pt x="81" y="204"/>
                      </a:lnTo>
                      <a:lnTo>
                        <a:pt x="81" y="202"/>
                      </a:lnTo>
                      <a:lnTo>
                        <a:pt x="82" y="202"/>
                      </a:lnTo>
                      <a:lnTo>
                        <a:pt x="84" y="202"/>
                      </a:lnTo>
                      <a:lnTo>
                        <a:pt x="84" y="200"/>
                      </a:lnTo>
                      <a:lnTo>
                        <a:pt x="82" y="200"/>
                      </a:lnTo>
                      <a:lnTo>
                        <a:pt x="82" y="199"/>
                      </a:lnTo>
                      <a:lnTo>
                        <a:pt x="84" y="199"/>
                      </a:lnTo>
                      <a:lnTo>
                        <a:pt x="86" y="195"/>
                      </a:lnTo>
                      <a:lnTo>
                        <a:pt x="87" y="195"/>
                      </a:lnTo>
                      <a:lnTo>
                        <a:pt x="89" y="195"/>
                      </a:lnTo>
                      <a:lnTo>
                        <a:pt x="91" y="195"/>
                      </a:lnTo>
                      <a:lnTo>
                        <a:pt x="91" y="194"/>
                      </a:lnTo>
                      <a:lnTo>
                        <a:pt x="92" y="194"/>
                      </a:lnTo>
                      <a:lnTo>
                        <a:pt x="92" y="192"/>
                      </a:lnTo>
                      <a:lnTo>
                        <a:pt x="94" y="192"/>
                      </a:lnTo>
                      <a:lnTo>
                        <a:pt x="92" y="191"/>
                      </a:lnTo>
                      <a:lnTo>
                        <a:pt x="92" y="189"/>
                      </a:lnTo>
                      <a:lnTo>
                        <a:pt x="94" y="189"/>
                      </a:lnTo>
                      <a:lnTo>
                        <a:pt x="96" y="189"/>
                      </a:lnTo>
                      <a:lnTo>
                        <a:pt x="96" y="187"/>
                      </a:lnTo>
                      <a:lnTo>
                        <a:pt x="97" y="186"/>
                      </a:lnTo>
                      <a:lnTo>
                        <a:pt x="97" y="184"/>
                      </a:lnTo>
                      <a:lnTo>
                        <a:pt x="99" y="184"/>
                      </a:lnTo>
                      <a:lnTo>
                        <a:pt x="99" y="182"/>
                      </a:lnTo>
                      <a:lnTo>
                        <a:pt x="97" y="181"/>
                      </a:lnTo>
                      <a:lnTo>
                        <a:pt x="99" y="181"/>
                      </a:lnTo>
                      <a:lnTo>
                        <a:pt x="99" y="179"/>
                      </a:lnTo>
                      <a:lnTo>
                        <a:pt x="99" y="177"/>
                      </a:lnTo>
                      <a:lnTo>
                        <a:pt x="97" y="177"/>
                      </a:lnTo>
                      <a:lnTo>
                        <a:pt x="97" y="176"/>
                      </a:lnTo>
                      <a:lnTo>
                        <a:pt x="97" y="174"/>
                      </a:lnTo>
                      <a:lnTo>
                        <a:pt x="99" y="174"/>
                      </a:lnTo>
                      <a:lnTo>
                        <a:pt x="99" y="172"/>
                      </a:lnTo>
                      <a:lnTo>
                        <a:pt x="97" y="172"/>
                      </a:lnTo>
                      <a:lnTo>
                        <a:pt x="96" y="172"/>
                      </a:lnTo>
                      <a:lnTo>
                        <a:pt x="96" y="171"/>
                      </a:lnTo>
                      <a:lnTo>
                        <a:pt x="96" y="169"/>
                      </a:lnTo>
                      <a:lnTo>
                        <a:pt x="94" y="169"/>
                      </a:lnTo>
                      <a:lnTo>
                        <a:pt x="94" y="168"/>
                      </a:lnTo>
                      <a:lnTo>
                        <a:pt x="94" y="166"/>
                      </a:lnTo>
                      <a:lnTo>
                        <a:pt x="92" y="166"/>
                      </a:lnTo>
                      <a:lnTo>
                        <a:pt x="91" y="166"/>
                      </a:lnTo>
                      <a:lnTo>
                        <a:pt x="89" y="166"/>
                      </a:lnTo>
                      <a:lnTo>
                        <a:pt x="87" y="166"/>
                      </a:lnTo>
                      <a:lnTo>
                        <a:pt x="87" y="164"/>
                      </a:lnTo>
                      <a:lnTo>
                        <a:pt x="87" y="163"/>
                      </a:lnTo>
                      <a:lnTo>
                        <a:pt x="86" y="163"/>
                      </a:lnTo>
                      <a:lnTo>
                        <a:pt x="86" y="161"/>
                      </a:lnTo>
                      <a:lnTo>
                        <a:pt x="86" y="159"/>
                      </a:lnTo>
                      <a:lnTo>
                        <a:pt x="84" y="159"/>
                      </a:lnTo>
                      <a:lnTo>
                        <a:pt x="84" y="158"/>
                      </a:lnTo>
                      <a:lnTo>
                        <a:pt x="82" y="158"/>
                      </a:lnTo>
                      <a:lnTo>
                        <a:pt x="82" y="154"/>
                      </a:lnTo>
                      <a:lnTo>
                        <a:pt x="82" y="153"/>
                      </a:lnTo>
                      <a:lnTo>
                        <a:pt x="81" y="153"/>
                      </a:lnTo>
                      <a:lnTo>
                        <a:pt x="81" y="151"/>
                      </a:lnTo>
                      <a:lnTo>
                        <a:pt x="81" y="149"/>
                      </a:lnTo>
                      <a:lnTo>
                        <a:pt x="79" y="148"/>
                      </a:lnTo>
                      <a:lnTo>
                        <a:pt x="79" y="146"/>
                      </a:lnTo>
                      <a:lnTo>
                        <a:pt x="77" y="146"/>
                      </a:lnTo>
                      <a:lnTo>
                        <a:pt x="77" y="145"/>
                      </a:lnTo>
                      <a:lnTo>
                        <a:pt x="76" y="145"/>
                      </a:lnTo>
                      <a:lnTo>
                        <a:pt x="74" y="145"/>
                      </a:lnTo>
                      <a:lnTo>
                        <a:pt x="72" y="145"/>
                      </a:lnTo>
                      <a:lnTo>
                        <a:pt x="70" y="145"/>
                      </a:lnTo>
                      <a:lnTo>
                        <a:pt x="69" y="145"/>
                      </a:lnTo>
                      <a:lnTo>
                        <a:pt x="67" y="143"/>
                      </a:lnTo>
                      <a:lnTo>
                        <a:pt x="65" y="143"/>
                      </a:lnTo>
                      <a:lnTo>
                        <a:pt x="65" y="141"/>
                      </a:lnTo>
                      <a:lnTo>
                        <a:pt x="65" y="140"/>
                      </a:lnTo>
                      <a:lnTo>
                        <a:pt x="64" y="140"/>
                      </a:lnTo>
                      <a:lnTo>
                        <a:pt x="64" y="138"/>
                      </a:lnTo>
                      <a:lnTo>
                        <a:pt x="62" y="138"/>
                      </a:lnTo>
                      <a:lnTo>
                        <a:pt x="60" y="138"/>
                      </a:lnTo>
                      <a:lnTo>
                        <a:pt x="60" y="136"/>
                      </a:lnTo>
                      <a:lnTo>
                        <a:pt x="60" y="135"/>
                      </a:lnTo>
                      <a:lnTo>
                        <a:pt x="62" y="133"/>
                      </a:lnTo>
                      <a:lnTo>
                        <a:pt x="62" y="131"/>
                      </a:lnTo>
                      <a:lnTo>
                        <a:pt x="62" y="130"/>
                      </a:lnTo>
                      <a:lnTo>
                        <a:pt x="62" y="128"/>
                      </a:lnTo>
                      <a:lnTo>
                        <a:pt x="62" y="126"/>
                      </a:lnTo>
                      <a:lnTo>
                        <a:pt x="62" y="125"/>
                      </a:lnTo>
                      <a:lnTo>
                        <a:pt x="60" y="125"/>
                      </a:lnTo>
                      <a:lnTo>
                        <a:pt x="59" y="125"/>
                      </a:lnTo>
                      <a:lnTo>
                        <a:pt x="57" y="125"/>
                      </a:lnTo>
                      <a:lnTo>
                        <a:pt x="55" y="123"/>
                      </a:lnTo>
                      <a:lnTo>
                        <a:pt x="55" y="122"/>
                      </a:lnTo>
                      <a:lnTo>
                        <a:pt x="55" y="120"/>
                      </a:lnTo>
                      <a:lnTo>
                        <a:pt x="54" y="120"/>
                      </a:lnTo>
                      <a:lnTo>
                        <a:pt x="52" y="120"/>
                      </a:lnTo>
                      <a:lnTo>
                        <a:pt x="50" y="120"/>
                      </a:lnTo>
                      <a:lnTo>
                        <a:pt x="50" y="118"/>
                      </a:lnTo>
                      <a:lnTo>
                        <a:pt x="49" y="118"/>
                      </a:lnTo>
                      <a:lnTo>
                        <a:pt x="47" y="118"/>
                      </a:lnTo>
                      <a:lnTo>
                        <a:pt x="47" y="117"/>
                      </a:lnTo>
                      <a:lnTo>
                        <a:pt x="45" y="117"/>
                      </a:lnTo>
                      <a:lnTo>
                        <a:pt x="43" y="115"/>
                      </a:lnTo>
                      <a:lnTo>
                        <a:pt x="43" y="113"/>
                      </a:lnTo>
                      <a:lnTo>
                        <a:pt x="42" y="113"/>
                      </a:lnTo>
                      <a:lnTo>
                        <a:pt x="42" y="112"/>
                      </a:lnTo>
                      <a:lnTo>
                        <a:pt x="43" y="110"/>
                      </a:lnTo>
                      <a:lnTo>
                        <a:pt x="42" y="110"/>
                      </a:lnTo>
                      <a:lnTo>
                        <a:pt x="42" y="108"/>
                      </a:lnTo>
                      <a:lnTo>
                        <a:pt x="42" y="107"/>
                      </a:lnTo>
                      <a:lnTo>
                        <a:pt x="42" y="105"/>
                      </a:lnTo>
                      <a:lnTo>
                        <a:pt x="40" y="105"/>
                      </a:lnTo>
                      <a:lnTo>
                        <a:pt x="40" y="103"/>
                      </a:lnTo>
                      <a:lnTo>
                        <a:pt x="38" y="103"/>
                      </a:lnTo>
                      <a:lnTo>
                        <a:pt x="38" y="102"/>
                      </a:lnTo>
                      <a:lnTo>
                        <a:pt x="38" y="100"/>
                      </a:lnTo>
                      <a:lnTo>
                        <a:pt x="37" y="100"/>
                      </a:lnTo>
                      <a:lnTo>
                        <a:pt x="38" y="99"/>
                      </a:lnTo>
                      <a:lnTo>
                        <a:pt x="38" y="97"/>
                      </a:lnTo>
                      <a:lnTo>
                        <a:pt x="37" y="95"/>
                      </a:lnTo>
                      <a:lnTo>
                        <a:pt x="37" y="94"/>
                      </a:lnTo>
                      <a:lnTo>
                        <a:pt x="38" y="94"/>
                      </a:lnTo>
                      <a:lnTo>
                        <a:pt x="37" y="90"/>
                      </a:lnTo>
                      <a:lnTo>
                        <a:pt x="35" y="90"/>
                      </a:lnTo>
                      <a:lnTo>
                        <a:pt x="35" y="89"/>
                      </a:lnTo>
                      <a:lnTo>
                        <a:pt x="33" y="87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5" name="Freeform 15"/>
                <p:cNvSpPr>
                  <a:spLocks noChangeAspect="1"/>
                </p:cNvSpPr>
                <p:nvPr/>
              </p:nvSpPr>
              <p:spPr bwMode="auto">
                <a:xfrm>
                  <a:off x="2334950" y="2502493"/>
                  <a:ext cx="1040499" cy="883131"/>
                </a:xfrm>
                <a:custGeom>
                  <a:avLst/>
                  <a:gdLst>
                    <a:gd name="T0" fmla="*/ 2147483647 w 667"/>
                    <a:gd name="T1" fmla="*/ 2147483647 h 527"/>
                    <a:gd name="T2" fmla="*/ 2147483647 w 667"/>
                    <a:gd name="T3" fmla="*/ 2147483647 h 527"/>
                    <a:gd name="T4" fmla="*/ 2147483647 w 667"/>
                    <a:gd name="T5" fmla="*/ 2147483647 h 527"/>
                    <a:gd name="T6" fmla="*/ 2147483647 w 667"/>
                    <a:gd name="T7" fmla="*/ 2147483647 h 527"/>
                    <a:gd name="T8" fmla="*/ 2147483647 w 667"/>
                    <a:gd name="T9" fmla="*/ 2147483647 h 527"/>
                    <a:gd name="T10" fmla="*/ 2147483647 w 667"/>
                    <a:gd name="T11" fmla="*/ 2147483647 h 527"/>
                    <a:gd name="T12" fmla="*/ 2147483647 w 667"/>
                    <a:gd name="T13" fmla="*/ 2147483647 h 527"/>
                    <a:gd name="T14" fmla="*/ 2147483647 w 667"/>
                    <a:gd name="T15" fmla="*/ 2147483647 h 527"/>
                    <a:gd name="T16" fmla="*/ 2147483647 w 667"/>
                    <a:gd name="T17" fmla="*/ 2147483647 h 527"/>
                    <a:gd name="T18" fmla="*/ 2147483647 w 667"/>
                    <a:gd name="T19" fmla="*/ 2147483647 h 527"/>
                    <a:gd name="T20" fmla="*/ 2147483647 w 667"/>
                    <a:gd name="T21" fmla="*/ 2147483647 h 527"/>
                    <a:gd name="T22" fmla="*/ 2147483647 w 667"/>
                    <a:gd name="T23" fmla="*/ 2147483647 h 527"/>
                    <a:gd name="T24" fmla="*/ 2147483647 w 667"/>
                    <a:gd name="T25" fmla="*/ 2147483647 h 527"/>
                    <a:gd name="T26" fmla="*/ 2147483647 w 667"/>
                    <a:gd name="T27" fmla="*/ 2147483647 h 527"/>
                    <a:gd name="T28" fmla="*/ 2147483647 w 667"/>
                    <a:gd name="T29" fmla="*/ 2147483647 h 527"/>
                    <a:gd name="T30" fmla="*/ 2147483647 w 667"/>
                    <a:gd name="T31" fmla="*/ 2147483647 h 527"/>
                    <a:gd name="T32" fmla="*/ 2147483647 w 667"/>
                    <a:gd name="T33" fmla="*/ 2147483647 h 527"/>
                    <a:gd name="T34" fmla="*/ 2147483647 w 667"/>
                    <a:gd name="T35" fmla="*/ 2147483647 h 527"/>
                    <a:gd name="T36" fmla="*/ 2147483647 w 667"/>
                    <a:gd name="T37" fmla="*/ 2147483647 h 527"/>
                    <a:gd name="T38" fmla="*/ 2147483647 w 667"/>
                    <a:gd name="T39" fmla="*/ 2147483647 h 527"/>
                    <a:gd name="T40" fmla="*/ 2147483647 w 667"/>
                    <a:gd name="T41" fmla="*/ 2147483647 h 527"/>
                    <a:gd name="T42" fmla="*/ 2147483647 w 667"/>
                    <a:gd name="T43" fmla="*/ 2147483647 h 527"/>
                    <a:gd name="T44" fmla="*/ 2147483647 w 667"/>
                    <a:gd name="T45" fmla="*/ 2147483647 h 527"/>
                    <a:gd name="T46" fmla="*/ 2147483647 w 667"/>
                    <a:gd name="T47" fmla="*/ 2147483647 h 527"/>
                    <a:gd name="T48" fmla="*/ 2147483647 w 667"/>
                    <a:gd name="T49" fmla="*/ 2147483647 h 527"/>
                    <a:gd name="T50" fmla="*/ 2147483647 w 667"/>
                    <a:gd name="T51" fmla="*/ 2147483647 h 527"/>
                    <a:gd name="T52" fmla="*/ 2147483647 w 667"/>
                    <a:gd name="T53" fmla="*/ 2147483647 h 527"/>
                    <a:gd name="T54" fmla="*/ 2147483647 w 667"/>
                    <a:gd name="T55" fmla="*/ 2147483647 h 527"/>
                    <a:gd name="T56" fmla="*/ 2147483647 w 667"/>
                    <a:gd name="T57" fmla="*/ 2147483647 h 527"/>
                    <a:gd name="T58" fmla="*/ 2147483647 w 667"/>
                    <a:gd name="T59" fmla="*/ 2147483647 h 527"/>
                    <a:gd name="T60" fmla="*/ 2147483647 w 667"/>
                    <a:gd name="T61" fmla="*/ 2147483647 h 527"/>
                    <a:gd name="T62" fmla="*/ 2147483647 w 667"/>
                    <a:gd name="T63" fmla="*/ 2147483647 h 527"/>
                    <a:gd name="T64" fmla="*/ 2147483647 w 667"/>
                    <a:gd name="T65" fmla="*/ 2147483647 h 527"/>
                    <a:gd name="T66" fmla="*/ 2147483647 w 667"/>
                    <a:gd name="T67" fmla="*/ 2147483647 h 527"/>
                    <a:gd name="T68" fmla="*/ 2147483647 w 667"/>
                    <a:gd name="T69" fmla="*/ 2147483647 h 527"/>
                    <a:gd name="T70" fmla="*/ 2147483647 w 667"/>
                    <a:gd name="T71" fmla="*/ 2147483647 h 527"/>
                    <a:gd name="T72" fmla="*/ 2147483647 w 667"/>
                    <a:gd name="T73" fmla="*/ 2147483647 h 527"/>
                    <a:gd name="T74" fmla="*/ 2147483647 w 667"/>
                    <a:gd name="T75" fmla="*/ 2147483647 h 527"/>
                    <a:gd name="T76" fmla="*/ 2147483647 w 667"/>
                    <a:gd name="T77" fmla="*/ 2147483647 h 527"/>
                    <a:gd name="T78" fmla="*/ 2147483647 w 667"/>
                    <a:gd name="T79" fmla="*/ 2147483647 h 527"/>
                    <a:gd name="T80" fmla="*/ 2147483647 w 667"/>
                    <a:gd name="T81" fmla="*/ 2147483647 h 527"/>
                    <a:gd name="T82" fmla="*/ 2147483647 w 667"/>
                    <a:gd name="T83" fmla="*/ 2147483647 h 527"/>
                    <a:gd name="T84" fmla="*/ 2147483647 w 667"/>
                    <a:gd name="T85" fmla="*/ 2147483647 h 527"/>
                    <a:gd name="T86" fmla="*/ 2147483647 w 667"/>
                    <a:gd name="T87" fmla="*/ 2147483647 h 527"/>
                    <a:gd name="T88" fmla="*/ 2147483647 w 667"/>
                    <a:gd name="T89" fmla="*/ 2147483647 h 527"/>
                    <a:gd name="T90" fmla="*/ 2147483647 w 667"/>
                    <a:gd name="T91" fmla="*/ 2147483647 h 527"/>
                    <a:gd name="T92" fmla="*/ 2147483647 w 667"/>
                    <a:gd name="T93" fmla="*/ 2147483647 h 527"/>
                    <a:gd name="T94" fmla="*/ 2147483647 w 667"/>
                    <a:gd name="T95" fmla="*/ 2147483647 h 527"/>
                    <a:gd name="T96" fmla="*/ 2147483647 w 667"/>
                    <a:gd name="T97" fmla="*/ 2147483647 h 527"/>
                    <a:gd name="T98" fmla="*/ 2147483647 w 667"/>
                    <a:gd name="T99" fmla="*/ 2147483647 h 527"/>
                    <a:gd name="T100" fmla="*/ 2147483647 w 667"/>
                    <a:gd name="T101" fmla="*/ 2147483647 h 527"/>
                    <a:gd name="T102" fmla="*/ 2147483647 w 667"/>
                    <a:gd name="T103" fmla="*/ 2147483647 h 527"/>
                    <a:gd name="T104" fmla="*/ 2147483647 w 667"/>
                    <a:gd name="T105" fmla="*/ 2147483647 h 527"/>
                    <a:gd name="T106" fmla="*/ 2147483647 w 667"/>
                    <a:gd name="T107" fmla="*/ 2147483647 h 527"/>
                    <a:gd name="T108" fmla="*/ 2147483647 w 667"/>
                    <a:gd name="T109" fmla="*/ 2147483647 h 527"/>
                    <a:gd name="T110" fmla="*/ 2147483647 w 667"/>
                    <a:gd name="T111" fmla="*/ 2147483647 h 527"/>
                    <a:gd name="T112" fmla="*/ 2147483647 w 667"/>
                    <a:gd name="T113" fmla="*/ 2147483647 h 527"/>
                    <a:gd name="T114" fmla="*/ 2147483647 w 667"/>
                    <a:gd name="T115" fmla="*/ 2147483647 h 527"/>
                    <a:gd name="T116" fmla="*/ 2147483647 w 667"/>
                    <a:gd name="T117" fmla="*/ 2147483647 h 527"/>
                    <a:gd name="T118" fmla="*/ 2147483647 w 667"/>
                    <a:gd name="T119" fmla="*/ 2147483647 h 527"/>
                    <a:gd name="T120" fmla="*/ 2147483647 w 667"/>
                    <a:gd name="T121" fmla="*/ 2147483647 h 527"/>
                    <a:gd name="T122" fmla="*/ 2147483647 w 667"/>
                    <a:gd name="T123" fmla="*/ 2147483647 h 527"/>
                    <a:gd name="T124" fmla="*/ 2147483647 w 667"/>
                    <a:gd name="T125" fmla="*/ 2147483647 h 5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67"/>
                    <a:gd name="T190" fmla="*/ 0 h 527"/>
                    <a:gd name="T191" fmla="*/ 667 w 667"/>
                    <a:gd name="T192" fmla="*/ 527 h 5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67" h="527">
                      <a:moveTo>
                        <a:pt x="19" y="177"/>
                      </a:moveTo>
                      <a:lnTo>
                        <a:pt x="0" y="171"/>
                      </a:lnTo>
                      <a:lnTo>
                        <a:pt x="2" y="169"/>
                      </a:lnTo>
                      <a:lnTo>
                        <a:pt x="4" y="167"/>
                      </a:lnTo>
                      <a:lnTo>
                        <a:pt x="4" y="166"/>
                      </a:lnTo>
                      <a:lnTo>
                        <a:pt x="4" y="164"/>
                      </a:lnTo>
                      <a:lnTo>
                        <a:pt x="5" y="166"/>
                      </a:lnTo>
                      <a:lnTo>
                        <a:pt x="7" y="164"/>
                      </a:lnTo>
                      <a:lnTo>
                        <a:pt x="9" y="164"/>
                      </a:lnTo>
                      <a:lnTo>
                        <a:pt x="10" y="164"/>
                      </a:lnTo>
                      <a:lnTo>
                        <a:pt x="12" y="162"/>
                      </a:lnTo>
                      <a:lnTo>
                        <a:pt x="12" y="161"/>
                      </a:lnTo>
                      <a:lnTo>
                        <a:pt x="14" y="161"/>
                      </a:lnTo>
                      <a:lnTo>
                        <a:pt x="14" y="159"/>
                      </a:lnTo>
                      <a:lnTo>
                        <a:pt x="15" y="159"/>
                      </a:lnTo>
                      <a:lnTo>
                        <a:pt x="17" y="158"/>
                      </a:lnTo>
                      <a:lnTo>
                        <a:pt x="19" y="158"/>
                      </a:lnTo>
                      <a:lnTo>
                        <a:pt x="19" y="156"/>
                      </a:lnTo>
                      <a:lnTo>
                        <a:pt x="20" y="156"/>
                      </a:lnTo>
                      <a:lnTo>
                        <a:pt x="20" y="158"/>
                      </a:lnTo>
                      <a:lnTo>
                        <a:pt x="22" y="158"/>
                      </a:lnTo>
                      <a:lnTo>
                        <a:pt x="22" y="156"/>
                      </a:lnTo>
                      <a:lnTo>
                        <a:pt x="24" y="156"/>
                      </a:lnTo>
                      <a:lnTo>
                        <a:pt x="26" y="156"/>
                      </a:lnTo>
                      <a:lnTo>
                        <a:pt x="26" y="154"/>
                      </a:lnTo>
                      <a:lnTo>
                        <a:pt x="27" y="154"/>
                      </a:lnTo>
                      <a:lnTo>
                        <a:pt x="29" y="153"/>
                      </a:lnTo>
                      <a:lnTo>
                        <a:pt x="31" y="153"/>
                      </a:lnTo>
                      <a:lnTo>
                        <a:pt x="31" y="151"/>
                      </a:lnTo>
                      <a:lnTo>
                        <a:pt x="31" y="149"/>
                      </a:lnTo>
                      <a:lnTo>
                        <a:pt x="32" y="149"/>
                      </a:lnTo>
                      <a:lnTo>
                        <a:pt x="34" y="148"/>
                      </a:lnTo>
                      <a:lnTo>
                        <a:pt x="36" y="146"/>
                      </a:lnTo>
                      <a:lnTo>
                        <a:pt x="36" y="144"/>
                      </a:lnTo>
                      <a:lnTo>
                        <a:pt x="37" y="143"/>
                      </a:lnTo>
                      <a:lnTo>
                        <a:pt x="39" y="141"/>
                      </a:lnTo>
                      <a:lnTo>
                        <a:pt x="39" y="139"/>
                      </a:lnTo>
                      <a:lnTo>
                        <a:pt x="41" y="138"/>
                      </a:lnTo>
                      <a:lnTo>
                        <a:pt x="41" y="136"/>
                      </a:lnTo>
                      <a:lnTo>
                        <a:pt x="39" y="135"/>
                      </a:lnTo>
                      <a:lnTo>
                        <a:pt x="37" y="135"/>
                      </a:lnTo>
                      <a:lnTo>
                        <a:pt x="37" y="133"/>
                      </a:lnTo>
                      <a:lnTo>
                        <a:pt x="39" y="133"/>
                      </a:lnTo>
                      <a:lnTo>
                        <a:pt x="41" y="133"/>
                      </a:lnTo>
                      <a:lnTo>
                        <a:pt x="41" y="135"/>
                      </a:lnTo>
                      <a:lnTo>
                        <a:pt x="42" y="135"/>
                      </a:lnTo>
                      <a:lnTo>
                        <a:pt x="42" y="133"/>
                      </a:lnTo>
                      <a:lnTo>
                        <a:pt x="44" y="133"/>
                      </a:lnTo>
                      <a:lnTo>
                        <a:pt x="44" y="135"/>
                      </a:lnTo>
                      <a:lnTo>
                        <a:pt x="46" y="135"/>
                      </a:lnTo>
                      <a:lnTo>
                        <a:pt x="47" y="133"/>
                      </a:lnTo>
                      <a:lnTo>
                        <a:pt x="47" y="135"/>
                      </a:lnTo>
                      <a:lnTo>
                        <a:pt x="49" y="135"/>
                      </a:lnTo>
                      <a:lnTo>
                        <a:pt x="51" y="135"/>
                      </a:lnTo>
                      <a:lnTo>
                        <a:pt x="49" y="135"/>
                      </a:lnTo>
                      <a:lnTo>
                        <a:pt x="49" y="133"/>
                      </a:lnTo>
                      <a:lnTo>
                        <a:pt x="51" y="133"/>
                      </a:lnTo>
                      <a:lnTo>
                        <a:pt x="53" y="133"/>
                      </a:lnTo>
                      <a:lnTo>
                        <a:pt x="54" y="135"/>
                      </a:lnTo>
                      <a:lnTo>
                        <a:pt x="56" y="135"/>
                      </a:lnTo>
                      <a:lnTo>
                        <a:pt x="58" y="135"/>
                      </a:lnTo>
                      <a:lnTo>
                        <a:pt x="59" y="135"/>
                      </a:lnTo>
                      <a:lnTo>
                        <a:pt x="61" y="135"/>
                      </a:lnTo>
                      <a:lnTo>
                        <a:pt x="63" y="135"/>
                      </a:lnTo>
                      <a:lnTo>
                        <a:pt x="63" y="133"/>
                      </a:lnTo>
                      <a:lnTo>
                        <a:pt x="66" y="133"/>
                      </a:lnTo>
                      <a:lnTo>
                        <a:pt x="68" y="133"/>
                      </a:lnTo>
                      <a:lnTo>
                        <a:pt x="71" y="133"/>
                      </a:lnTo>
                      <a:lnTo>
                        <a:pt x="73" y="133"/>
                      </a:lnTo>
                      <a:lnTo>
                        <a:pt x="73" y="131"/>
                      </a:lnTo>
                      <a:lnTo>
                        <a:pt x="74" y="131"/>
                      </a:lnTo>
                      <a:lnTo>
                        <a:pt x="76" y="133"/>
                      </a:lnTo>
                      <a:lnTo>
                        <a:pt x="78" y="133"/>
                      </a:lnTo>
                      <a:lnTo>
                        <a:pt x="80" y="133"/>
                      </a:lnTo>
                      <a:lnTo>
                        <a:pt x="81" y="135"/>
                      </a:lnTo>
                      <a:lnTo>
                        <a:pt x="83" y="136"/>
                      </a:lnTo>
                      <a:lnTo>
                        <a:pt x="85" y="136"/>
                      </a:lnTo>
                      <a:lnTo>
                        <a:pt x="85" y="138"/>
                      </a:lnTo>
                      <a:lnTo>
                        <a:pt x="85" y="139"/>
                      </a:lnTo>
                      <a:lnTo>
                        <a:pt x="86" y="139"/>
                      </a:lnTo>
                      <a:lnTo>
                        <a:pt x="88" y="139"/>
                      </a:lnTo>
                      <a:lnTo>
                        <a:pt x="90" y="139"/>
                      </a:lnTo>
                      <a:lnTo>
                        <a:pt x="90" y="141"/>
                      </a:lnTo>
                      <a:lnTo>
                        <a:pt x="90" y="143"/>
                      </a:lnTo>
                      <a:lnTo>
                        <a:pt x="91" y="141"/>
                      </a:lnTo>
                      <a:lnTo>
                        <a:pt x="91" y="143"/>
                      </a:lnTo>
                      <a:lnTo>
                        <a:pt x="91" y="144"/>
                      </a:lnTo>
                      <a:lnTo>
                        <a:pt x="93" y="144"/>
                      </a:lnTo>
                      <a:lnTo>
                        <a:pt x="95" y="146"/>
                      </a:lnTo>
                      <a:lnTo>
                        <a:pt x="95" y="148"/>
                      </a:lnTo>
                      <a:lnTo>
                        <a:pt x="96" y="149"/>
                      </a:lnTo>
                      <a:lnTo>
                        <a:pt x="98" y="149"/>
                      </a:lnTo>
                      <a:lnTo>
                        <a:pt x="98" y="148"/>
                      </a:lnTo>
                      <a:lnTo>
                        <a:pt x="100" y="148"/>
                      </a:lnTo>
                      <a:lnTo>
                        <a:pt x="100" y="146"/>
                      </a:lnTo>
                      <a:lnTo>
                        <a:pt x="102" y="146"/>
                      </a:lnTo>
                      <a:lnTo>
                        <a:pt x="103" y="146"/>
                      </a:lnTo>
                      <a:lnTo>
                        <a:pt x="105" y="144"/>
                      </a:lnTo>
                      <a:lnTo>
                        <a:pt x="105" y="143"/>
                      </a:lnTo>
                      <a:lnTo>
                        <a:pt x="107" y="141"/>
                      </a:lnTo>
                      <a:lnTo>
                        <a:pt x="107" y="138"/>
                      </a:lnTo>
                      <a:lnTo>
                        <a:pt x="108" y="136"/>
                      </a:lnTo>
                      <a:lnTo>
                        <a:pt x="110" y="136"/>
                      </a:lnTo>
                      <a:lnTo>
                        <a:pt x="112" y="135"/>
                      </a:lnTo>
                      <a:lnTo>
                        <a:pt x="113" y="135"/>
                      </a:lnTo>
                      <a:lnTo>
                        <a:pt x="115" y="133"/>
                      </a:lnTo>
                      <a:lnTo>
                        <a:pt x="117" y="133"/>
                      </a:lnTo>
                      <a:lnTo>
                        <a:pt x="118" y="133"/>
                      </a:lnTo>
                      <a:lnTo>
                        <a:pt x="118" y="135"/>
                      </a:lnTo>
                      <a:lnTo>
                        <a:pt x="120" y="135"/>
                      </a:lnTo>
                      <a:lnTo>
                        <a:pt x="122" y="135"/>
                      </a:lnTo>
                      <a:lnTo>
                        <a:pt x="122" y="136"/>
                      </a:lnTo>
                      <a:lnTo>
                        <a:pt x="123" y="136"/>
                      </a:lnTo>
                      <a:lnTo>
                        <a:pt x="123" y="138"/>
                      </a:lnTo>
                      <a:lnTo>
                        <a:pt x="125" y="138"/>
                      </a:lnTo>
                      <a:lnTo>
                        <a:pt x="127" y="138"/>
                      </a:lnTo>
                      <a:lnTo>
                        <a:pt x="129" y="138"/>
                      </a:lnTo>
                      <a:lnTo>
                        <a:pt x="130" y="138"/>
                      </a:lnTo>
                      <a:lnTo>
                        <a:pt x="130" y="136"/>
                      </a:lnTo>
                      <a:lnTo>
                        <a:pt x="130" y="135"/>
                      </a:lnTo>
                      <a:lnTo>
                        <a:pt x="130" y="133"/>
                      </a:lnTo>
                      <a:lnTo>
                        <a:pt x="129" y="133"/>
                      </a:lnTo>
                      <a:lnTo>
                        <a:pt x="129" y="131"/>
                      </a:lnTo>
                      <a:lnTo>
                        <a:pt x="130" y="130"/>
                      </a:lnTo>
                      <a:lnTo>
                        <a:pt x="130" y="126"/>
                      </a:lnTo>
                      <a:lnTo>
                        <a:pt x="130" y="125"/>
                      </a:lnTo>
                      <a:lnTo>
                        <a:pt x="129" y="125"/>
                      </a:lnTo>
                      <a:lnTo>
                        <a:pt x="130" y="125"/>
                      </a:lnTo>
                      <a:lnTo>
                        <a:pt x="130" y="123"/>
                      </a:lnTo>
                      <a:lnTo>
                        <a:pt x="132" y="125"/>
                      </a:lnTo>
                      <a:lnTo>
                        <a:pt x="134" y="125"/>
                      </a:lnTo>
                      <a:lnTo>
                        <a:pt x="134" y="126"/>
                      </a:lnTo>
                      <a:lnTo>
                        <a:pt x="135" y="126"/>
                      </a:lnTo>
                      <a:lnTo>
                        <a:pt x="135" y="125"/>
                      </a:lnTo>
                      <a:lnTo>
                        <a:pt x="139" y="125"/>
                      </a:lnTo>
                      <a:lnTo>
                        <a:pt x="139" y="123"/>
                      </a:lnTo>
                      <a:lnTo>
                        <a:pt x="140" y="123"/>
                      </a:lnTo>
                      <a:lnTo>
                        <a:pt x="142" y="123"/>
                      </a:lnTo>
                      <a:lnTo>
                        <a:pt x="142" y="121"/>
                      </a:lnTo>
                      <a:lnTo>
                        <a:pt x="144" y="121"/>
                      </a:lnTo>
                      <a:lnTo>
                        <a:pt x="144" y="120"/>
                      </a:lnTo>
                      <a:lnTo>
                        <a:pt x="145" y="120"/>
                      </a:lnTo>
                      <a:lnTo>
                        <a:pt x="147" y="118"/>
                      </a:lnTo>
                      <a:lnTo>
                        <a:pt x="149" y="118"/>
                      </a:lnTo>
                      <a:lnTo>
                        <a:pt x="150" y="120"/>
                      </a:lnTo>
                      <a:lnTo>
                        <a:pt x="152" y="120"/>
                      </a:lnTo>
                      <a:lnTo>
                        <a:pt x="152" y="121"/>
                      </a:lnTo>
                      <a:lnTo>
                        <a:pt x="152" y="123"/>
                      </a:lnTo>
                      <a:lnTo>
                        <a:pt x="152" y="125"/>
                      </a:lnTo>
                      <a:lnTo>
                        <a:pt x="154" y="126"/>
                      </a:lnTo>
                      <a:lnTo>
                        <a:pt x="154" y="128"/>
                      </a:lnTo>
                      <a:lnTo>
                        <a:pt x="154" y="130"/>
                      </a:lnTo>
                      <a:lnTo>
                        <a:pt x="156" y="130"/>
                      </a:lnTo>
                      <a:lnTo>
                        <a:pt x="156" y="131"/>
                      </a:lnTo>
                      <a:lnTo>
                        <a:pt x="154" y="133"/>
                      </a:lnTo>
                      <a:lnTo>
                        <a:pt x="154" y="135"/>
                      </a:lnTo>
                      <a:lnTo>
                        <a:pt x="156" y="135"/>
                      </a:lnTo>
                      <a:lnTo>
                        <a:pt x="157" y="135"/>
                      </a:lnTo>
                      <a:lnTo>
                        <a:pt x="157" y="136"/>
                      </a:lnTo>
                      <a:lnTo>
                        <a:pt x="159" y="136"/>
                      </a:lnTo>
                      <a:lnTo>
                        <a:pt x="161" y="136"/>
                      </a:lnTo>
                      <a:lnTo>
                        <a:pt x="161" y="135"/>
                      </a:lnTo>
                      <a:lnTo>
                        <a:pt x="162" y="135"/>
                      </a:lnTo>
                      <a:lnTo>
                        <a:pt x="164" y="135"/>
                      </a:lnTo>
                      <a:lnTo>
                        <a:pt x="162" y="133"/>
                      </a:lnTo>
                      <a:lnTo>
                        <a:pt x="164" y="133"/>
                      </a:lnTo>
                      <a:lnTo>
                        <a:pt x="164" y="131"/>
                      </a:lnTo>
                      <a:lnTo>
                        <a:pt x="166" y="131"/>
                      </a:lnTo>
                      <a:lnTo>
                        <a:pt x="167" y="131"/>
                      </a:lnTo>
                      <a:lnTo>
                        <a:pt x="167" y="130"/>
                      </a:lnTo>
                      <a:lnTo>
                        <a:pt x="169" y="130"/>
                      </a:lnTo>
                      <a:lnTo>
                        <a:pt x="167" y="128"/>
                      </a:lnTo>
                      <a:lnTo>
                        <a:pt x="169" y="128"/>
                      </a:lnTo>
                      <a:lnTo>
                        <a:pt x="169" y="126"/>
                      </a:lnTo>
                      <a:lnTo>
                        <a:pt x="171" y="126"/>
                      </a:lnTo>
                      <a:lnTo>
                        <a:pt x="171" y="125"/>
                      </a:lnTo>
                      <a:lnTo>
                        <a:pt x="172" y="125"/>
                      </a:lnTo>
                      <a:lnTo>
                        <a:pt x="172" y="123"/>
                      </a:lnTo>
                      <a:lnTo>
                        <a:pt x="172" y="121"/>
                      </a:lnTo>
                      <a:lnTo>
                        <a:pt x="174" y="121"/>
                      </a:lnTo>
                      <a:lnTo>
                        <a:pt x="176" y="121"/>
                      </a:lnTo>
                      <a:lnTo>
                        <a:pt x="176" y="120"/>
                      </a:lnTo>
                      <a:lnTo>
                        <a:pt x="178" y="120"/>
                      </a:lnTo>
                      <a:lnTo>
                        <a:pt x="178" y="118"/>
                      </a:lnTo>
                      <a:lnTo>
                        <a:pt x="178" y="116"/>
                      </a:lnTo>
                      <a:lnTo>
                        <a:pt x="179" y="116"/>
                      </a:lnTo>
                      <a:lnTo>
                        <a:pt x="179" y="115"/>
                      </a:lnTo>
                      <a:lnTo>
                        <a:pt x="179" y="113"/>
                      </a:lnTo>
                      <a:lnTo>
                        <a:pt x="178" y="112"/>
                      </a:lnTo>
                      <a:lnTo>
                        <a:pt x="179" y="112"/>
                      </a:lnTo>
                      <a:lnTo>
                        <a:pt x="179" y="110"/>
                      </a:lnTo>
                      <a:lnTo>
                        <a:pt x="178" y="110"/>
                      </a:lnTo>
                      <a:lnTo>
                        <a:pt x="178" y="108"/>
                      </a:lnTo>
                      <a:lnTo>
                        <a:pt x="178" y="107"/>
                      </a:lnTo>
                      <a:lnTo>
                        <a:pt x="179" y="105"/>
                      </a:lnTo>
                      <a:lnTo>
                        <a:pt x="179" y="103"/>
                      </a:lnTo>
                      <a:lnTo>
                        <a:pt x="179" y="102"/>
                      </a:lnTo>
                      <a:lnTo>
                        <a:pt x="179" y="100"/>
                      </a:lnTo>
                      <a:lnTo>
                        <a:pt x="179" y="98"/>
                      </a:lnTo>
                      <a:lnTo>
                        <a:pt x="181" y="98"/>
                      </a:lnTo>
                      <a:lnTo>
                        <a:pt x="183" y="98"/>
                      </a:lnTo>
                      <a:lnTo>
                        <a:pt x="183" y="97"/>
                      </a:lnTo>
                      <a:lnTo>
                        <a:pt x="184" y="97"/>
                      </a:lnTo>
                      <a:lnTo>
                        <a:pt x="184" y="95"/>
                      </a:lnTo>
                      <a:lnTo>
                        <a:pt x="186" y="95"/>
                      </a:lnTo>
                      <a:lnTo>
                        <a:pt x="188" y="93"/>
                      </a:lnTo>
                      <a:lnTo>
                        <a:pt x="189" y="93"/>
                      </a:lnTo>
                      <a:lnTo>
                        <a:pt x="191" y="93"/>
                      </a:lnTo>
                      <a:lnTo>
                        <a:pt x="193" y="93"/>
                      </a:lnTo>
                      <a:lnTo>
                        <a:pt x="193" y="95"/>
                      </a:lnTo>
                      <a:lnTo>
                        <a:pt x="194" y="97"/>
                      </a:lnTo>
                      <a:lnTo>
                        <a:pt x="196" y="97"/>
                      </a:lnTo>
                      <a:lnTo>
                        <a:pt x="198" y="97"/>
                      </a:lnTo>
                      <a:lnTo>
                        <a:pt x="198" y="95"/>
                      </a:lnTo>
                      <a:lnTo>
                        <a:pt x="199" y="93"/>
                      </a:lnTo>
                      <a:lnTo>
                        <a:pt x="201" y="93"/>
                      </a:lnTo>
                      <a:lnTo>
                        <a:pt x="203" y="95"/>
                      </a:lnTo>
                      <a:lnTo>
                        <a:pt x="203" y="97"/>
                      </a:lnTo>
                      <a:lnTo>
                        <a:pt x="205" y="95"/>
                      </a:lnTo>
                      <a:lnTo>
                        <a:pt x="206" y="95"/>
                      </a:lnTo>
                      <a:lnTo>
                        <a:pt x="208" y="97"/>
                      </a:lnTo>
                      <a:lnTo>
                        <a:pt x="210" y="97"/>
                      </a:lnTo>
                      <a:lnTo>
                        <a:pt x="210" y="95"/>
                      </a:lnTo>
                      <a:lnTo>
                        <a:pt x="211" y="95"/>
                      </a:lnTo>
                      <a:lnTo>
                        <a:pt x="211" y="93"/>
                      </a:lnTo>
                      <a:lnTo>
                        <a:pt x="213" y="93"/>
                      </a:lnTo>
                      <a:lnTo>
                        <a:pt x="215" y="93"/>
                      </a:lnTo>
                      <a:lnTo>
                        <a:pt x="216" y="92"/>
                      </a:lnTo>
                      <a:lnTo>
                        <a:pt x="218" y="93"/>
                      </a:lnTo>
                      <a:lnTo>
                        <a:pt x="220" y="93"/>
                      </a:lnTo>
                      <a:lnTo>
                        <a:pt x="221" y="92"/>
                      </a:lnTo>
                      <a:lnTo>
                        <a:pt x="223" y="93"/>
                      </a:lnTo>
                      <a:lnTo>
                        <a:pt x="225" y="93"/>
                      </a:lnTo>
                      <a:lnTo>
                        <a:pt x="225" y="92"/>
                      </a:lnTo>
                      <a:lnTo>
                        <a:pt x="228" y="92"/>
                      </a:lnTo>
                      <a:lnTo>
                        <a:pt x="230" y="90"/>
                      </a:lnTo>
                      <a:lnTo>
                        <a:pt x="232" y="90"/>
                      </a:lnTo>
                      <a:lnTo>
                        <a:pt x="235" y="89"/>
                      </a:lnTo>
                      <a:lnTo>
                        <a:pt x="237" y="89"/>
                      </a:lnTo>
                      <a:lnTo>
                        <a:pt x="237" y="90"/>
                      </a:lnTo>
                      <a:lnTo>
                        <a:pt x="235" y="93"/>
                      </a:lnTo>
                      <a:lnTo>
                        <a:pt x="237" y="93"/>
                      </a:lnTo>
                      <a:lnTo>
                        <a:pt x="237" y="95"/>
                      </a:lnTo>
                      <a:lnTo>
                        <a:pt x="238" y="95"/>
                      </a:lnTo>
                      <a:lnTo>
                        <a:pt x="240" y="93"/>
                      </a:lnTo>
                      <a:lnTo>
                        <a:pt x="242" y="93"/>
                      </a:lnTo>
                      <a:lnTo>
                        <a:pt x="243" y="93"/>
                      </a:lnTo>
                      <a:lnTo>
                        <a:pt x="245" y="93"/>
                      </a:lnTo>
                      <a:lnTo>
                        <a:pt x="247" y="93"/>
                      </a:lnTo>
                      <a:lnTo>
                        <a:pt x="250" y="92"/>
                      </a:lnTo>
                      <a:lnTo>
                        <a:pt x="250" y="90"/>
                      </a:lnTo>
                      <a:lnTo>
                        <a:pt x="252" y="92"/>
                      </a:lnTo>
                      <a:lnTo>
                        <a:pt x="254" y="90"/>
                      </a:lnTo>
                      <a:lnTo>
                        <a:pt x="254" y="89"/>
                      </a:lnTo>
                      <a:lnTo>
                        <a:pt x="252" y="85"/>
                      </a:lnTo>
                      <a:lnTo>
                        <a:pt x="252" y="84"/>
                      </a:lnTo>
                      <a:lnTo>
                        <a:pt x="252" y="82"/>
                      </a:lnTo>
                      <a:lnTo>
                        <a:pt x="252" y="80"/>
                      </a:lnTo>
                      <a:lnTo>
                        <a:pt x="254" y="79"/>
                      </a:lnTo>
                      <a:lnTo>
                        <a:pt x="254" y="77"/>
                      </a:lnTo>
                      <a:lnTo>
                        <a:pt x="255" y="77"/>
                      </a:lnTo>
                      <a:lnTo>
                        <a:pt x="254" y="75"/>
                      </a:lnTo>
                      <a:lnTo>
                        <a:pt x="254" y="74"/>
                      </a:lnTo>
                      <a:lnTo>
                        <a:pt x="254" y="72"/>
                      </a:lnTo>
                      <a:lnTo>
                        <a:pt x="254" y="70"/>
                      </a:lnTo>
                      <a:lnTo>
                        <a:pt x="254" y="69"/>
                      </a:lnTo>
                      <a:lnTo>
                        <a:pt x="255" y="69"/>
                      </a:lnTo>
                      <a:lnTo>
                        <a:pt x="257" y="69"/>
                      </a:lnTo>
                      <a:lnTo>
                        <a:pt x="257" y="70"/>
                      </a:lnTo>
                      <a:lnTo>
                        <a:pt x="259" y="69"/>
                      </a:lnTo>
                      <a:lnTo>
                        <a:pt x="260" y="69"/>
                      </a:lnTo>
                      <a:lnTo>
                        <a:pt x="262" y="69"/>
                      </a:lnTo>
                      <a:lnTo>
                        <a:pt x="264" y="69"/>
                      </a:lnTo>
                      <a:lnTo>
                        <a:pt x="264" y="67"/>
                      </a:lnTo>
                      <a:lnTo>
                        <a:pt x="264" y="66"/>
                      </a:lnTo>
                      <a:lnTo>
                        <a:pt x="265" y="66"/>
                      </a:lnTo>
                      <a:lnTo>
                        <a:pt x="265" y="64"/>
                      </a:lnTo>
                      <a:lnTo>
                        <a:pt x="265" y="62"/>
                      </a:lnTo>
                      <a:lnTo>
                        <a:pt x="267" y="62"/>
                      </a:lnTo>
                      <a:lnTo>
                        <a:pt x="265" y="61"/>
                      </a:lnTo>
                      <a:lnTo>
                        <a:pt x="267" y="61"/>
                      </a:lnTo>
                      <a:lnTo>
                        <a:pt x="267" y="59"/>
                      </a:lnTo>
                      <a:lnTo>
                        <a:pt x="269" y="57"/>
                      </a:lnTo>
                      <a:lnTo>
                        <a:pt x="269" y="56"/>
                      </a:lnTo>
                      <a:lnTo>
                        <a:pt x="270" y="57"/>
                      </a:lnTo>
                      <a:lnTo>
                        <a:pt x="270" y="59"/>
                      </a:lnTo>
                      <a:lnTo>
                        <a:pt x="272" y="59"/>
                      </a:lnTo>
                      <a:lnTo>
                        <a:pt x="272" y="57"/>
                      </a:lnTo>
                      <a:lnTo>
                        <a:pt x="274" y="57"/>
                      </a:lnTo>
                      <a:lnTo>
                        <a:pt x="274" y="56"/>
                      </a:lnTo>
                      <a:lnTo>
                        <a:pt x="274" y="54"/>
                      </a:lnTo>
                      <a:lnTo>
                        <a:pt x="272" y="54"/>
                      </a:lnTo>
                      <a:lnTo>
                        <a:pt x="272" y="52"/>
                      </a:lnTo>
                      <a:lnTo>
                        <a:pt x="272" y="51"/>
                      </a:lnTo>
                      <a:lnTo>
                        <a:pt x="270" y="49"/>
                      </a:lnTo>
                      <a:lnTo>
                        <a:pt x="269" y="49"/>
                      </a:lnTo>
                      <a:lnTo>
                        <a:pt x="269" y="47"/>
                      </a:lnTo>
                      <a:lnTo>
                        <a:pt x="270" y="46"/>
                      </a:lnTo>
                      <a:lnTo>
                        <a:pt x="272" y="44"/>
                      </a:lnTo>
                      <a:lnTo>
                        <a:pt x="272" y="43"/>
                      </a:lnTo>
                      <a:lnTo>
                        <a:pt x="270" y="43"/>
                      </a:lnTo>
                      <a:lnTo>
                        <a:pt x="270" y="41"/>
                      </a:lnTo>
                      <a:lnTo>
                        <a:pt x="269" y="41"/>
                      </a:lnTo>
                      <a:lnTo>
                        <a:pt x="270" y="39"/>
                      </a:lnTo>
                      <a:lnTo>
                        <a:pt x="272" y="38"/>
                      </a:lnTo>
                      <a:lnTo>
                        <a:pt x="272" y="36"/>
                      </a:lnTo>
                      <a:lnTo>
                        <a:pt x="272" y="34"/>
                      </a:lnTo>
                      <a:lnTo>
                        <a:pt x="272" y="33"/>
                      </a:lnTo>
                      <a:lnTo>
                        <a:pt x="274" y="33"/>
                      </a:lnTo>
                      <a:lnTo>
                        <a:pt x="275" y="33"/>
                      </a:lnTo>
                      <a:lnTo>
                        <a:pt x="275" y="31"/>
                      </a:lnTo>
                      <a:lnTo>
                        <a:pt x="277" y="31"/>
                      </a:lnTo>
                      <a:lnTo>
                        <a:pt x="277" y="29"/>
                      </a:lnTo>
                      <a:lnTo>
                        <a:pt x="279" y="29"/>
                      </a:lnTo>
                      <a:lnTo>
                        <a:pt x="281" y="29"/>
                      </a:lnTo>
                      <a:lnTo>
                        <a:pt x="284" y="31"/>
                      </a:lnTo>
                      <a:lnTo>
                        <a:pt x="286" y="33"/>
                      </a:lnTo>
                      <a:lnTo>
                        <a:pt x="287" y="33"/>
                      </a:lnTo>
                      <a:lnTo>
                        <a:pt x="289" y="33"/>
                      </a:lnTo>
                      <a:lnTo>
                        <a:pt x="289" y="31"/>
                      </a:lnTo>
                      <a:lnTo>
                        <a:pt x="289" y="29"/>
                      </a:lnTo>
                      <a:lnTo>
                        <a:pt x="291" y="28"/>
                      </a:lnTo>
                      <a:lnTo>
                        <a:pt x="292" y="26"/>
                      </a:lnTo>
                      <a:lnTo>
                        <a:pt x="292" y="24"/>
                      </a:lnTo>
                      <a:lnTo>
                        <a:pt x="291" y="23"/>
                      </a:lnTo>
                      <a:lnTo>
                        <a:pt x="291" y="21"/>
                      </a:lnTo>
                      <a:lnTo>
                        <a:pt x="291" y="20"/>
                      </a:lnTo>
                      <a:lnTo>
                        <a:pt x="292" y="20"/>
                      </a:lnTo>
                      <a:lnTo>
                        <a:pt x="296" y="18"/>
                      </a:lnTo>
                      <a:lnTo>
                        <a:pt x="296" y="16"/>
                      </a:lnTo>
                      <a:lnTo>
                        <a:pt x="297" y="15"/>
                      </a:lnTo>
                      <a:lnTo>
                        <a:pt x="299" y="11"/>
                      </a:lnTo>
                      <a:lnTo>
                        <a:pt x="297" y="11"/>
                      </a:lnTo>
                      <a:lnTo>
                        <a:pt x="297" y="10"/>
                      </a:lnTo>
                      <a:lnTo>
                        <a:pt x="299" y="8"/>
                      </a:lnTo>
                      <a:lnTo>
                        <a:pt x="301" y="8"/>
                      </a:lnTo>
                      <a:lnTo>
                        <a:pt x="301" y="6"/>
                      </a:lnTo>
                      <a:lnTo>
                        <a:pt x="302" y="6"/>
                      </a:lnTo>
                      <a:lnTo>
                        <a:pt x="302" y="5"/>
                      </a:lnTo>
                      <a:lnTo>
                        <a:pt x="302" y="3"/>
                      </a:lnTo>
                      <a:lnTo>
                        <a:pt x="302" y="2"/>
                      </a:lnTo>
                      <a:lnTo>
                        <a:pt x="302" y="0"/>
                      </a:lnTo>
                      <a:lnTo>
                        <a:pt x="314" y="0"/>
                      </a:lnTo>
                      <a:lnTo>
                        <a:pt x="351" y="0"/>
                      </a:lnTo>
                      <a:lnTo>
                        <a:pt x="373" y="0"/>
                      </a:lnTo>
                      <a:lnTo>
                        <a:pt x="375" y="2"/>
                      </a:lnTo>
                      <a:lnTo>
                        <a:pt x="377" y="2"/>
                      </a:lnTo>
                      <a:lnTo>
                        <a:pt x="378" y="3"/>
                      </a:lnTo>
                      <a:lnTo>
                        <a:pt x="378" y="5"/>
                      </a:lnTo>
                      <a:lnTo>
                        <a:pt x="380" y="5"/>
                      </a:lnTo>
                      <a:lnTo>
                        <a:pt x="382" y="5"/>
                      </a:lnTo>
                      <a:lnTo>
                        <a:pt x="384" y="5"/>
                      </a:lnTo>
                      <a:lnTo>
                        <a:pt x="384" y="6"/>
                      </a:lnTo>
                      <a:lnTo>
                        <a:pt x="385" y="6"/>
                      </a:lnTo>
                      <a:lnTo>
                        <a:pt x="387" y="6"/>
                      </a:lnTo>
                      <a:lnTo>
                        <a:pt x="387" y="8"/>
                      </a:lnTo>
                      <a:lnTo>
                        <a:pt x="387" y="10"/>
                      </a:lnTo>
                      <a:lnTo>
                        <a:pt x="389" y="10"/>
                      </a:lnTo>
                      <a:lnTo>
                        <a:pt x="390" y="11"/>
                      </a:lnTo>
                      <a:lnTo>
                        <a:pt x="392" y="13"/>
                      </a:lnTo>
                      <a:lnTo>
                        <a:pt x="392" y="15"/>
                      </a:lnTo>
                      <a:lnTo>
                        <a:pt x="392" y="16"/>
                      </a:lnTo>
                      <a:lnTo>
                        <a:pt x="392" y="18"/>
                      </a:lnTo>
                      <a:lnTo>
                        <a:pt x="392" y="20"/>
                      </a:lnTo>
                      <a:lnTo>
                        <a:pt x="392" y="21"/>
                      </a:lnTo>
                      <a:lnTo>
                        <a:pt x="394" y="21"/>
                      </a:lnTo>
                      <a:lnTo>
                        <a:pt x="395" y="23"/>
                      </a:lnTo>
                      <a:lnTo>
                        <a:pt x="394" y="24"/>
                      </a:lnTo>
                      <a:lnTo>
                        <a:pt x="395" y="24"/>
                      </a:lnTo>
                      <a:lnTo>
                        <a:pt x="397" y="26"/>
                      </a:lnTo>
                      <a:lnTo>
                        <a:pt x="399" y="26"/>
                      </a:lnTo>
                      <a:lnTo>
                        <a:pt x="399" y="28"/>
                      </a:lnTo>
                      <a:lnTo>
                        <a:pt x="400" y="28"/>
                      </a:lnTo>
                      <a:lnTo>
                        <a:pt x="402" y="28"/>
                      </a:lnTo>
                      <a:lnTo>
                        <a:pt x="402" y="29"/>
                      </a:lnTo>
                      <a:lnTo>
                        <a:pt x="404" y="29"/>
                      </a:lnTo>
                      <a:lnTo>
                        <a:pt x="404" y="31"/>
                      </a:lnTo>
                      <a:lnTo>
                        <a:pt x="404" y="33"/>
                      </a:lnTo>
                      <a:lnTo>
                        <a:pt x="404" y="34"/>
                      </a:lnTo>
                      <a:lnTo>
                        <a:pt x="404" y="36"/>
                      </a:lnTo>
                      <a:lnTo>
                        <a:pt x="406" y="36"/>
                      </a:lnTo>
                      <a:lnTo>
                        <a:pt x="406" y="38"/>
                      </a:lnTo>
                      <a:lnTo>
                        <a:pt x="407" y="38"/>
                      </a:lnTo>
                      <a:lnTo>
                        <a:pt x="409" y="38"/>
                      </a:lnTo>
                      <a:lnTo>
                        <a:pt x="409" y="36"/>
                      </a:lnTo>
                      <a:lnTo>
                        <a:pt x="411" y="36"/>
                      </a:lnTo>
                      <a:lnTo>
                        <a:pt x="411" y="34"/>
                      </a:lnTo>
                      <a:lnTo>
                        <a:pt x="412" y="34"/>
                      </a:lnTo>
                      <a:lnTo>
                        <a:pt x="414" y="34"/>
                      </a:lnTo>
                      <a:lnTo>
                        <a:pt x="414" y="36"/>
                      </a:lnTo>
                      <a:lnTo>
                        <a:pt x="416" y="38"/>
                      </a:lnTo>
                      <a:lnTo>
                        <a:pt x="417" y="38"/>
                      </a:lnTo>
                      <a:lnTo>
                        <a:pt x="419" y="38"/>
                      </a:lnTo>
                      <a:lnTo>
                        <a:pt x="421" y="38"/>
                      </a:lnTo>
                      <a:lnTo>
                        <a:pt x="422" y="39"/>
                      </a:lnTo>
                      <a:lnTo>
                        <a:pt x="422" y="41"/>
                      </a:lnTo>
                      <a:lnTo>
                        <a:pt x="421" y="43"/>
                      </a:lnTo>
                      <a:lnTo>
                        <a:pt x="421" y="44"/>
                      </a:lnTo>
                      <a:lnTo>
                        <a:pt x="422" y="47"/>
                      </a:lnTo>
                      <a:lnTo>
                        <a:pt x="422" y="49"/>
                      </a:lnTo>
                      <a:lnTo>
                        <a:pt x="424" y="49"/>
                      </a:lnTo>
                      <a:lnTo>
                        <a:pt x="424" y="51"/>
                      </a:lnTo>
                      <a:lnTo>
                        <a:pt x="424" y="52"/>
                      </a:lnTo>
                      <a:lnTo>
                        <a:pt x="426" y="54"/>
                      </a:lnTo>
                      <a:lnTo>
                        <a:pt x="426" y="56"/>
                      </a:lnTo>
                      <a:lnTo>
                        <a:pt x="424" y="56"/>
                      </a:lnTo>
                      <a:lnTo>
                        <a:pt x="424" y="57"/>
                      </a:lnTo>
                      <a:lnTo>
                        <a:pt x="424" y="59"/>
                      </a:lnTo>
                      <a:lnTo>
                        <a:pt x="426" y="59"/>
                      </a:lnTo>
                      <a:lnTo>
                        <a:pt x="427" y="61"/>
                      </a:lnTo>
                      <a:lnTo>
                        <a:pt x="429" y="62"/>
                      </a:lnTo>
                      <a:lnTo>
                        <a:pt x="429" y="61"/>
                      </a:lnTo>
                      <a:lnTo>
                        <a:pt x="429" y="59"/>
                      </a:lnTo>
                      <a:lnTo>
                        <a:pt x="429" y="57"/>
                      </a:lnTo>
                      <a:lnTo>
                        <a:pt x="431" y="56"/>
                      </a:lnTo>
                      <a:lnTo>
                        <a:pt x="433" y="56"/>
                      </a:lnTo>
                      <a:lnTo>
                        <a:pt x="434" y="57"/>
                      </a:lnTo>
                      <a:lnTo>
                        <a:pt x="436" y="57"/>
                      </a:lnTo>
                      <a:lnTo>
                        <a:pt x="438" y="57"/>
                      </a:lnTo>
                      <a:lnTo>
                        <a:pt x="439" y="57"/>
                      </a:lnTo>
                      <a:lnTo>
                        <a:pt x="439" y="61"/>
                      </a:lnTo>
                      <a:lnTo>
                        <a:pt x="438" y="61"/>
                      </a:lnTo>
                      <a:lnTo>
                        <a:pt x="438" y="62"/>
                      </a:lnTo>
                      <a:lnTo>
                        <a:pt x="439" y="64"/>
                      </a:lnTo>
                      <a:lnTo>
                        <a:pt x="441" y="66"/>
                      </a:lnTo>
                      <a:lnTo>
                        <a:pt x="439" y="67"/>
                      </a:lnTo>
                      <a:lnTo>
                        <a:pt x="441" y="67"/>
                      </a:lnTo>
                      <a:lnTo>
                        <a:pt x="441" y="69"/>
                      </a:lnTo>
                      <a:lnTo>
                        <a:pt x="443" y="69"/>
                      </a:lnTo>
                      <a:lnTo>
                        <a:pt x="441" y="70"/>
                      </a:lnTo>
                      <a:lnTo>
                        <a:pt x="444" y="75"/>
                      </a:lnTo>
                      <a:lnTo>
                        <a:pt x="444" y="77"/>
                      </a:lnTo>
                      <a:lnTo>
                        <a:pt x="446" y="77"/>
                      </a:lnTo>
                      <a:lnTo>
                        <a:pt x="448" y="77"/>
                      </a:lnTo>
                      <a:lnTo>
                        <a:pt x="449" y="77"/>
                      </a:lnTo>
                      <a:lnTo>
                        <a:pt x="451" y="75"/>
                      </a:lnTo>
                      <a:lnTo>
                        <a:pt x="453" y="75"/>
                      </a:lnTo>
                      <a:lnTo>
                        <a:pt x="453" y="77"/>
                      </a:lnTo>
                      <a:lnTo>
                        <a:pt x="454" y="77"/>
                      </a:lnTo>
                      <a:lnTo>
                        <a:pt x="454" y="79"/>
                      </a:lnTo>
                      <a:lnTo>
                        <a:pt x="456" y="79"/>
                      </a:lnTo>
                      <a:lnTo>
                        <a:pt x="456" y="80"/>
                      </a:lnTo>
                      <a:lnTo>
                        <a:pt x="458" y="82"/>
                      </a:lnTo>
                      <a:lnTo>
                        <a:pt x="458" y="84"/>
                      </a:lnTo>
                      <a:lnTo>
                        <a:pt x="460" y="84"/>
                      </a:lnTo>
                      <a:lnTo>
                        <a:pt x="461" y="84"/>
                      </a:lnTo>
                      <a:lnTo>
                        <a:pt x="463" y="84"/>
                      </a:lnTo>
                      <a:lnTo>
                        <a:pt x="465" y="84"/>
                      </a:lnTo>
                      <a:lnTo>
                        <a:pt x="466" y="82"/>
                      </a:lnTo>
                      <a:lnTo>
                        <a:pt x="468" y="82"/>
                      </a:lnTo>
                      <a:lnTo>
                        <a:pt x="470" y="82"/>
                      </a:lnTo>
                      <a:lnTo>
                        <a:pt x="470" y="79"/>
                      </a:lnTo>
                      <a:lnTo>
                        <a:pt x="470" y="77"/>
                      </a:lnTo>
                      <a:lnTo>
                        <a:pt x="470" y="75"/>
                      </a:lnTo>
                      <a:lnTo>
                        <a:pt x="471" y="75"/>
                      </a:lnTo>
                      <a:lnTo>
                        <a:pt x="471" y="74"/>
                      </a:lnTo>
                      <a:lnTo>
                        <a:pt x="471" y="72"/>
                      </a:lnTo>
                      <a:lnTo>
                        <a:pt x="471" y="70"/>
                      </a:lnTo>
                      <a:lnTo>
                        <a:pt x="473" y="70"/>
                      </a:lnTo>
                      <a:lnTo>
                        <a:pt x="475" y="72"/>
                      </a:lnTo>
                      <a:lnTo>
                        <a:pt x="476" y="72"/>
                      </a:lnTo>
                      <a:lnTo>
                        <a:pt x="478" y="72"/>
                      </a:lnTo>
                      <a:lnTo>
                        <a:pt x="478" y="70"/>
                      </a:lnTo>
                      <a:lnTo>
                        <a:pt x="480" y="70"/>
                      </a:lnTo>
                      <a:lnTo>
                        <a:pt x="480" y="69"/>
                      </a:lnTo>
                      <a:lnTo>
                        <a:pt x="482" y="69"/>
                      </a:lnTo>
                      <a:lnTo>
                        <a:pt x="480" y="67"/>
                      </a:lnTo>
                      <a:lnTo>
                        <a:pt x="482" y="67"/>
                      </a:lnTo>
                      <a:lnTo>
                        <a:pt x="483" y="66"/>
                      </a:lnTo>
                      <a:lnTo>
                        <a:pt x="483" y="67"/>
                      </a:lnTo>
                      <a:lnTo>
                        <a:pt x="485" y="67"/>
                      </a:lnTo>
                      <a:lnTo>
                        <a:pt x="485" y="69"/>
                      </a:lnTo>
                      <a:lnTo>
                        <a:pt x="487" y="67"/>
                      </a:lnTo>
                      <a:lnTo>
                        <a:pt x="488" y="67"/>
                      </a:lnTo>
                      <a:lnTo>
                        <a:pt x="490" y="69"/>
                      </a:lnTo>
                      <a:lnTo>
                        <a:pt x="492" y="69"/>
                      </a:lnTo>
                      <a:lnTo>
                        <a:pt x="492" y="70"/>
                      </a:lnTo>
                      <a:lnTo>
                        <a:pt x="492" y="72"/>
                      </a:lnTo>
                      <a:lnTo>
                        <a:pt x="493" y="74"/>
                      </a:lnTo>
                      <a:lnTo>
                        <a:pt x="493" y="75"/>
                      </a:lnTo>
                      <a:lnTo>
                        <a:pt x="495" y="75"/>
                      </a:lnTo>
                      <a:lnTo>
                        <a:pt x="495" y="77"/>
                      </a:lnTo>
                      <a:lnTo>
                        <a:pt x="497" y="77"/>
                      </a:lnTo>
                      <a:lnTo>
                        <a:pt x="498" y="77"/>
                      </a:lnTo>
                      <a:lnTo>
                        <a:pt x="500" y="79"/>
                      </a:lnTo>
                      <a:lnTo>
                        <a:pt x="502" y="79"/>
                      </a:lnTo>
                      <a:lnTo>
                        <a:pt x="502" y="80"/>
                      </a:lnTo>
                      <a:lnTo>
                        <a:pt x="502" y="82"/>
                      </a:lnTo>
                      <a:lnTo>
                        <a:pt x="503" y="82"/>
                      </a:lnTo>
                      <a:lnTo>
                        <a:pt x="503" y="84"/>
                      </a:lnTo>
                      <a:lnTo>
                        <a:pt x="505" y="84"/>
                      </a:lnTo>
                      <a:lnTo>
                        <a:pt x="505" y="85"/>
                      </a:lnTo>
                      <a:lnTo>
                        <a:pt x="505" y="87"/>
                      </a:lnTo>
                      <a:lnTo>
                        <a:pt x="507" y="87"/>
                      </a:lnTo>
                      <a:lnTo>
                        <a:pt x="505" y="89"/>
                      </a:lnTo>
                      <a:lnTo>
                        <a:pt x="503" y="90"/>
                      </a:lnTo>
                      <a:lnTo>
                        <a:pt x="503" y="92"/>
                      </a:lnTo>
                      <a:lnTo>
                        <a:pt x="502" y="93"/>
                      </a:lnTo>
                      <a:lnTo>
                        <a:pt x="502" y="95"/>
                      </a:lnTo>
                      <a:lnTo>
                        <a:pt x="502" y="97"/>
                      </a:lnTo>
                      <a:lnTo>
                        <a:pt x="500" y="98"/>
                      </a:lnTo>
                      <a:lnTo>
                        <a:pt x="500" y="100"/>
                      </a:lnTo>
                      <a:lnTo>
                        <a:pt x="500" y="102"/>
                      </a:lnTo>
                      <a:lnTo>
                        <a:pt x="498" y="102"/>
                      </a:lnTo>
                      <a:lnTo>
                        <a:pt x="498" y="103"/>
                      </a:lnTo>
                      <a:lnTo>
                        <a:pt x="498" y="105"/>
                      </a:lnTo>
                      <a:lnTo>
                        <a:pt x="498" y="107"/>
                      </a:lnTo>
                      <a:lnTo>
                        <a:pt x="498" y="108"/>
                      </a:lnTo>
                      <a:lnTo>
                        <a:pt x="500" y="108"/>
                      </a:lnTo>
                      <a:lnTo>
                        <a:pt x="500" y="110"/>
                      </a:lnTo>
                      <a:lnTo>
                        <a:pt x="502" y="112"/>
                      </a:lnTo>
                      <a:lnTo>
                        <a:pt x="502" y="113"/>
                      </a:lnTo>
                      <a:lnTo>
                        <a:pt x="502" y="115"/>
                      </a:lnTo>
                      <a:lnTo>
                        <a:pt x="502" y="116"/>
                      </a:lnTo>
                      <a:lnTo>
                        <a:pt x="502" y="118"/>
                      </a:lnTo>
                      <a:lnTo>
                        <a:pt x="500" y="118"/>
                      </a:lnTo>
                      <a:lnTo>
                        <a:pt x="498" y="118"/>
                      </a:lnTo>
                      <a:lnTo>
                        <a:pt x="497" y="116"/>
                      </a:lnTo>
                      <a:lnTo>
                        <a:pt x="495" y="116"/>
                      </a:lnTo>
                      <a:lnTo>
                        <a:pt x="495" y="118"/>
                      </a:lnTo>
                      <a:lnTo>
                        <a:pt x="493" y="118"/>
                      </a:lnTo>
                      <a:lnTo>
                        <a:pt x="492" y="118"/>
                      </a:lnTo>
                      <a:lnTo>
                        <a:pt x="492" y="120"/>
                      </a:lnTo>
                      <a:lnTo>
                        <a:pt x="492" y="121"/>
                      </a:lnTo>
                      <a:lnTo>
                        <a:pt x="493" y="120"/>
                      </a:lnTo>
                      <a:lnTo>
                        <a:pt x="493" y="121"/>
                      </a:lnTo>
                      <a:lnTo>
                        <a:pt x="493" y="123"/>
                      </a:lnTo>
                      <a:lnTo>
                        <a:pt x="493" y="125"/>
                      </a:lnTo>
                      <a:lnTo>
                        <a:pt x="492" y="126"/>
                      </a:lnTo>
                      <a:lnTo>
                        <a:pt x="492" y="128"/>
                      </a:lnTo>
                      <a:lnTo>
                        <a:pt x="493" y="128"/>
                      </a:lnTo>
                      <a:lnTo>
                        <a:pt x="495" y="130"/>
                      </a:lnTo>
                      <a:lnTo>
                        <a:pt x="497" y="128"/>
                      </a:lnTo>
                      <a:lnTo>
                        <a:pt x="497" y="130"/>
                      </a:lnTo>
                      <a:lnTo>
                        <a:pt x="498" y="130"/>
                      </a:lnTo>
                      <a:lnTo>
                        <a:pt x="498" y="131"/>
                      </a:lnTo>
                      <a:lnTo>
                        <a:pt x="498" y="133"/>
                      </a:lnTo>
                      <a:lnTo>
                        <a:pt x="498" y="135"/>
                      </a:lnTo>
                      <a:lnTo>
                        <a:pt x="497" y="136"/>
                      </a:lnTo>
                      <a:lnTo>
                        <a:pt x="497" y="138"/>
                      </a:lnTo>
                      <a:lnTo>
                        <a:pt x="497" y="139"/>
                      </a:lnTo>
                      <a:lnTo>
                        <a:pt x="498" y="139"/>
                      </a:lnTo>
                      <a:lnTo>
                        <a:pt x="500" y="141"/>
                      </a:lnTo>
                      <a:lnTo>
                        <a:pt x="502" y="141"/>
                      </a:lnTo>
                      <a:lnTo>
                        <a:pt x="500" y="141"/>
                      </a:lnTo>
                      <a:lnTo>
                        <a:pt x="500" y="143"/>
                      </a:lnTo>
                      <a:lnTo>
                        <a:pt x="498" y="143"/>
                      </a:lnTo>
                      <a:lnTo>
                        <a:pt x="500" y="143"/>
                      </a:lnTo>
                      <a:lnTo>
                        <a:pt x="500" y="144"/>
                      </a:lnTo>
                      <a:lnTo>
                        <a:pt x="502" y="144"/>
                      </a:lnTo>
                      <a:lnTo>
                        <a:pt x="503" y="144"/>
                      </a:lnTo>
                      <a:lnTo>
                        <a:pt x="503" y="146"/>
                      </a:lnTo>
                      <a:lnTo>
                        <a:pt x="503" y="148"/>
                      </a:lnTo>
                      <a:lnTo>
                        <a:pt x="503" y="149"/>
                      </a:lnTo>
                      <a:lnTo>
                        <a:pt x="503" y="151"/>
                      </a:lnTo>
                      <a:lnTo>
                        <a:pt x="503" y="153"/>
                      </a:lnTo>
                      <a:lnTo>
                        <a:pt x="505" y="153"/>
                      </a:lnTo>
                      <a:lnTo>
                        <a:pt x="505" y="154"/>
                      </a:lnTo>
                      <a:lnTo>
                        <a:pt x="503" y="156"/>
                      </a:lnTo>
                      <a:lnTo>
                        <a:pt x="503" y="158"/>
                      </a:lnTo>
                      <a:lnTo>
                        <a:pt x="503" y="159"/>
                      </a:lnTo>
                      <a:lnTo>
                        <a:pt x="502" y="159"/>
                      </a:lnTo>
                      <a:lnTo>
                        <a:pt x="502" y="161"/>
                      </a:lnTo>
                      <a:lnTo>
                        <a:pt x="500" y="161"/>
                      </a:lnTo>
                      <a:lnTo>
                        <a:pt x="498" y="161"/>
                      </a:lnTo>
                      <a:lnTo>
                        <a:pt x="497" y="161"/>
                      </a:lnTo>
                      <a:lnTo>
                        <a:pt x="497" y="162"/>
                      </a:lnTo>
                      <a:lnTo>
                        <a:pt x="498" y="162"/>
                      </a:lnTo>
                      <a:lnTo>
                        <a:pt x="500" y="162"/>
                      </a:lnTo>
                      <a:lnTo>
                        <a:pt x="500" y="164"/>
                      </a:lnTo>
                      <a:lnTo>
                        <a:pt x="500" y="166"/>
                      </a:lnTo>
                      <a:lnTo>
                        <a:pt x="500" y="167"/>
                      </a:lnTo>
                      <a:lnTo>
                        <a:pt x="502" y="167"/>
                      </a:lnTo>
                      <a:lnTo>
                        <a:pt x="502" y="169"/>
                      </a:lnTo>
                      <a:lnTo>
                        <a:pt x="500" y="171"/>
                      </a:lnTo>
                      <a:lnTo>
                        <a:pt x="502" y="171"/>
                      </a:lnTo>
                      <a:lnTo>
                        <a:pt x="502" y="172"/>
                      </a:lnTo>
                      <a:lnTo>
                        <a:pt x="502" y="174"/>
                      </a:lnTo>
                      <a:lnTo>
                        <a:pt x="503" y="174"/>
                      </a:lnTo>
                      <a:lnTo>
                        <a:pt x="503" y="176"/>
                      </a:lnTo>
                      <a:lnTo>
                        <a:pt x="503" y="177"/>
                      </a:lnTo>
                      <a:lnTo>
                        <a:pt x="502" y="177"/>
                      </a:lnTo>
                      <a:lnTo>
                        <a:pt x="502" y="179"/>
                      </a:lnTo>
                      <a:lnTo>
                        <a:pt x="502" y="181"/>
                      </a:lnTo>
                      <a:lnTo>
                        <a:pt x="502" y="182"/>
                      </a:lnTo>
                      <a:lnTo>
                        <a:pt x="500" y="182"/>
                      </a:lnTo>
                      <a:lnTo>
                        <a:pt x="500" y="184"/>
                      </a:lnTo>
                      <a:lnTo>
                        <a:pt x="502" y="184"/>
                      </a:lnTo>
                      <a:lnTo>
                        <a:pt x="502" y="185"/>
                      </a:lnTo>
                      <a:lnTo>
                        <a:pt x="500" y="185"/>
                      </a:lnTo>
                      <a:lnTo>
                        <a:pt x="500" y="187"/>
                      </a:lnTo>
                      <a:lnTo>
                        <a:pt x="500" y="189"/>
                      </a:lnTo>
                      <a:lnTo>
                        <a:pt x="498" y="190"/>
                      </a:lnTo>
                      <a:lnTo>
                        <a:pt x="497" y="192"/>
                      </a:lnTo>
                      <a:lnTo>
                        <a:pt x="495" y="192"/>
                      </a:lnTo>
                      <a:lnTo>
                        <a:pt x="497" y="194"/>
                      </a:lnTo>
                      <a:lnTo>
                        <a:pt x="495" y="195"/>
                      </a:lnTo>
                      <a:lnTo>
                        <a:pt x="495" y="197"/>
                      </a:lnTo>
                      <a:lnTo>
                        <a:pt x="495" y="199"/>
                      </a:lnTo>
                      <a:lnTo>
                        <a:pt x="495" y="200"/>
                      </a:lnTo>
                      <a:lnTo>
                        <a:pt x="493" y="200"/>
                      </a:lnTo>
                      <a:lnTo>
                        <a:pt x="493" y="202"/>
                      </a:lnTo>
                      <a:lnTo>
                        <a:pt x="495" y="202"/>
                      </a:lnTo>
                      <a:lnTo>
                        <a:pt x="497" y="202"/>
                      </a:lnTo>
                      <a:lnTo>
                        <a:pt x="498" y="204"/>
                      </a:lnTo>
                      <a:lnTo>
                        <a:pt x="498" y="205"/>
                      </a:lnTo>
                      <a:lnTo>
                        <a:pt x="497" y="205"/>
                      </a:lnTo>
                      <a:lnTo>
                        <a:pt x="497" y="207"/>
                      </a:lnTo>
                      <a:lnTo>
                        <a:pt x="497" y="208"/>
                      </a:lnTo>
                      <a:lnTo>
                        <a:pt x="497" y="210"/>
                      </a:lnTo>
                      <a:lnTo>
                        <a:pt x="497" y="212"/>
                      </a:lnTo>
                      <a:lnTo>
                        <a:pt x="498" y="212"/>
                      </a:lnTo>
                      <a:lnTo>
                        <a:pt x="498" y="213"/>
                      </a:lnTo>
                      <a:lnTo>
                        <a:pt x="500" y="215"/>
                      </a:lnTo>
                      <a:lnTo>
                        <a:pt x="498" y="215"/>
                      </a:lnTo>
                      <a:lnTo>
                        <a:pt x="498" y="217"/>
                      </a:lnTo>
                      <a:lnTo>
                        <a:pt x="500" y="217"/>
                      </a:lnTo>
                      <a:lnTo>
                        <a:pt x="500" y="218"/>
                      </a:lnTo>
                      <a:lnTo>
                        <a:pt x="502" y="218"/>
                      </a:lnTo>
                      <a:lnTo>
                        <a:pt x="502" y="220"/>
                      </a:lnTo>
                      <a:lnTo>
                        <a:pt x="503" y="220"/>
                      </a:lnTo>
                      <a:lnTo>
                        <a:pt x="503" y="222"/>
                      </a:lnTo>
                      <a:lnTo>
                        <a:pt x="503" y="223"/>
                      </a:lnTo>
                      <a:lnTo>
                        <a:pt x="505" y="223"/>
                      </a:lnTo>
                      <a:lnTo>
                        <a:pt x="505" y="225"/>
                      </a:lnTo>
                      <a:lnTo>
                        <a:pt x="507" y="225"/>
                      </a:lnTo>
                      <a:lnTo>
                        <a:pt x="505" y="225"/>
                      </a:lnTo>
                      <a:lnTo>
                        <a:pt x="507" y="225"/>
                      </a:lnTo>
                      <a:lnTo>
                        <a:pt x="507" y="227"/>
                      </a:lnTo>
                      <a:lnTo>
                        <a:pt x="507" y="228"/>
                      </a:lnTo>
                      <a:lnTo>
                        <a:pt x="507" y="230"/>
                      </a:lnTo>
                      <a:lnTo>
                        <a:pt x="507" y="231"/>
                      </a:lnTo>
                      <a:lnTo>
                        <a:pt x="505" y="231"/>
                      </a:lnTo>
                      <a:lnTo>
                        <a:pt x="505" y="233"/>
                      </a:lnTo>
                      <a:lnTo>
                        <a:pt x="505" y="235"/>
                      </a:lnTo>
                      <a:lnTo>
                        <a:pt x="505" y="236"/>
                      </a:lnTo>
                      <a:lnTo>
                        <a:pt x="507" y="236"/>
                      </a:lnTo>
                      <a:lnTo>
                        <a:pt x="507" y="238"/>
                      </a:lnTo>
                      <a:lnTo>
                        <a:pt x="507" y="240"/>
                      </a:lnTo>
                      <a:lnTo>
                        <a:pt x="505" y="240"/>
                      </a:lnTo>
                      <a:lnTo>
                        <a:pt x="505" y="241"/>
                      </a:lnTo>
                      <a:lnTo>
                        <a:pt x="505" y="243"/>
                      </a:lnTo>
                      <a:lnTo>
                        <a:pt x="505" y="245"/>
                      </a:lnTo>
                      <a:lnTo>
                        <a:pt x="505" y="246"/>
                      </a:lnTo>
                      <a:lnTo>
                        <a:pt x="505" y="248"/>
                      </a:lnTo>
                      <a:lnTo>
                        <a:pt x="505" y="249"/>
                      </a:lnTo>
                      <a:lnTo>
                        <a:pt x="503" y="249"/>
                      </a:lnTo>
                      <a:lnTo>
                        <a:pt x="503" y="251"/>
                      </a:lnTo>
                      <a:lnTo>
                        <a:pt x="503" y="253"/>
                      </a:lnTo>
                      <a:lnTo>
                        <a:pt x="505" y="253"/>
                      </a:lnTo>
                      <a:lnTo>
                        <a:pt x="507" y="253"/>
                      </a:lnTo>
                      <a:lnTo>
                        <a:pt x="505" y="254"/>
                      </a:lnTo>
                      <a:lnTo>
                        <a:pt x="505" y="256"/>
                      </a:lnTo>
                      <a:lnTo>
                        <a:pt x="505" y="258"/>
                      </a:lnTo>
                      <a:lnTo>
                        <a:pt x="505" y="259"/>
                      </a:lnTo>
                      <a:lnTo>
                        <a:pt x="507" y="259"/>
                      </a:lnTo>
                      <a:lnTo>
                        <a:pt x="507" y="261"/>
                      </a:lnTo>
                      <a:lnTo>
                        <a:pt x="505" y="261"/>
                      </a:lnTo>
                      <a:lnTo>
                        <a:pt x="505" y="259"/>
                      </a:lnTo>
                      <a:lnTo>
                        <a:pt x="503" y="259"/>
                      </a:lnTo>
                      <a:lnTo>
                        <a:pt x="503" y="261"/>
                      </a:lnTo>
                      <a:lnTo>
                        <a:pt x="503" y="263"/>
                      </a:lnTo>
                      <a:lnTo>
                        <a:pt x="502" y="263"/>
                      </a:lnTo>
                      <a:lnTo>
                        <a:pt x="503" y="264"/>
                      </a:lnTo>
                      <a:lnTo>
                        <a:pt x="502" y="264"/>
                      </a:lnTo>
                      <a:lnTo>
                        <a:pt x="502" y="266"/>
                      </a:lnTo>
                      <a:lnTo>
                        <a:pt x="502" y="268"/>
                      </a:lnTo>
                      <a:lnTo>
                        <a:pt x="502" y="269"/>
                      </a:lnTo>
                      <a:lnTo>
                        <a:pt x="502" y="271"/>
                      </a:lnTo>
                      <a:lnTo>
                        <a:pt x="502" y="272"/>
                      </a:lnTo>
                      <a:lnTo>
                        <a:pt x="502" y="274"/>
                      </a:lnTo>
                      <a:lnTo>
                        <a:pt x="502" y="276"/>
                      </a:lnTo>
                      <a:lnTo>
                        <a:pt x="502" y="277"/>
                      </a:lnTo>
                      <a:lnTo>
                        <a:pt x="500" y="277"/>
                      </a:lnTo>
                      <a:lnTo>
                        <a:pt x="498" y="277"/>
                      </a:lnTo>
                      <a:lnTo>
                        <a:pt x="510" y="277"/>
                      </a:lnTo>
                      <a:lnTo>
                        <a:pt x="551" y="279"/>
                      </a:lnTo>
                      <a:lnTo>
                        <a:pt x="603" y="279"/>
                      </a:lnTo>
                      <a:lnTo>
                        <a:pt x="603" y="281"/>
                      </a:lnTo>
                      <a:lnTo>
                        <a:pt x="605" y="281"/>
                      </a:lnTo>
                      <a:lnTo>
                        <a:pt x="603" y="282"/>
                      </a:lnTo>
                      <a:lnTo>
                        <a:pt x="605" y="282"/>
                      </a:lnTo>
                      <a:lnTo>
                        <a:pt x="607" y="282"/>
                      </a:lnTo>
                      <a:lnTo>
                        <a:pt x="607" y="284"/>
                      </a:lnTo>
                      <a:lnTo>
                        <a:pt x="607" y="286"/>
                      </a:lnTo>
                      <a:lnTo>
                        <a:pt x="608" y="286"/>
                      </a:lnTo>
                      <a:lnTo>
                        <a:pt x="608" y="287"/>
                      </a:lnTo>
                      <a:lnTo>
                        <a:pt x="610" y="289"/>
                      </a:lnTo>
                      <a:lnTo>
                        <a:pt x="610" y="287"/>
                      </a:lnTo>
                      <a:lnTo>
                        <a:pt x="612" y="289"/>
                      </a:lnTo>
                      <a:lnTo>
                        <a:pt x="613" y="289"/>
                      </a:lnTo>
                      <a:lnTo>
                        <a:pt x="613" y="287"/>
                      </a:lnTo>
                      <a:lnTo>
                        <a:pt x="613" y="286"/>
                      </a:lnTo>
                      <a:lnTo>
                        <a:pt x="613" y="287"/>
                      </a:lnTo>
                      <a:lnTo>
                        <a:pt x="615" y="287"/>
                      </a:lnTo>
                      <a:lnTo>
                        <a:pt x="615" y="286"/>
                      </a:lnTo>
                      <a:lnTo>
                        <a:pt x="617" y="286"/>
                      </a:lnTo>
                      <a:lnTo>
                        <a:pt x="617" y="284"/>
                      </a:lnTo>
                      <a:lnTo>
                        <a:pt x="618" y="286"/>
                      </a:lnTo>
                      <a:lnTo>
                        <a:pt x="620" y="286"/>
                      </a:lnTo>
                      <a:lnTo>
                        <a:pt x="620" y="287"/>
                      </a:lnTo>
                      <a:lnTo>
                        <a:pt x="620" y="289"/>
                      </a:lnTo>
                      <a:lnTo>
                        <a:pt x="620" y="287"/>
                      </a:lnTo>
                      <a:lnTo>
                        <a:pt x="622" y="287"/>
                      </a:lnTo>
                      <a:lnTo>
                        <a:pt x="622" y="289"/>
                      </a:lnTo>
                      <a:lnTo>
                        <a:pt x="623" y="289"/>
                      </a:lnTo>
                      <a:lnTo>
                        <a:pt x="623" y="287"/>
                      </a:lnTo>
                      <a:lnTo>
                        <a:pt x="623" y="289"/>
                      </a:lnTo>
                      <a:lnTo>
                        <a:pt x="625" y="289"/>
                      </a:lnTo>
                      <a:lnTo>
                        <a:pt x="627" y="289"/>
                      </a:lnTo>
                      <a:lnTo>
                        <a:pt x="627" y="291"/>
                      </a:lnTo>
                      <a:lnTo>
                        <a:pt x="627" y="289"/>
                      </a:lnTo>
                      <a:lnTo>
                        <a:pt x="628" y="291"/>
                      </a:lnTo>
                      <a:lnTo>
                        <a:pt x="628" y="289"/>
                      </a:lnTo>
                      <a:lnTo>
                        <a:pt x="630" y="289"/>
                      </a:lnTo>
                      <a:lnTo>
                        <a:pt x="630" y="287"/>
                      </a:lnTo>
                      <a:lnTo>
                        <a:pt x="632" y="289"/>
                      </a:lnTo>
                      <a:lnTo>
                        <a:pt x="634" y="289"/>
                      </a:lnTo>
                      <a:lnTo>
                        <a:pt x="635" y="289"/>
                      </a:lnTo>
                      <a:lnTo>
                        <a:pt x="637" y="289"/>
                      </a:lnTo>
                      <a:lnTo>
                        <a:pt x="639" y="289"/>
                      </a:lnTo>
                      <a:lnTo>
                        <a:pt x="640" y="291"/>
                      </a:lnTo>
                      <a:lnTo>
                        <a:pt x="642" y="291"/>
                      </a:lnTo>
                      <a:lnTo>
                        <a:pt x="644" y="291"/>
                      </a:lnTo>
                      <a:lnTo>
                        <a:pt x="645" y="291"/>
                      </a:lnTo>
                      <a:lnTo>
                        <a:pt x="647" y="291"/>
                      </a:lnTo>
                      <a:lnTo>
                        <a:pt x="649" y="291"/>
                      </a:lnTo>
                      <a:lnTo>
                        <a:pt x="649" y="292"/>
                      </a:lnTo>
                      <a:lnTo>
                        <a:pt x="647" y="292"/>
                      </a:lnTo>
                      <a:lnTo>
                        <a:pt x="647" y="294"/>
                      </a:lnTo>
                      <a:lnTo>
                        <a:pt x="647" y="295"/>
                      </a:lnTo>
                      <a:lnTo>
                        <a:pt x="649" y="295"/>
                      </a:lnTo>
                      <a:lnTo>
                        <a:pt x="649" y="297"/>
                      </a:lnTo>
                      <a:lnTo>
                        <a:pt x="649" y="299"/>
                      </a:lnTo>
                      <a:lnTo>
                        <a:pt x="647" y="299"/>
                      </a:lnTo>
                      <a:lnTo>
                        <a:pt x="647" y="300"/>
                      </a:lnTo>
                      <a:lnTo>
                        <a:pt x="649" y="302"/>
                      </a:lnTo>
                      <a:lnTo>
                        <a:pt x="649" y="304"/>
                      </a:lnTo>
                      <a:lnTo>
                        <a:pt x="650" y="305"/>
                      </a:lnTo>
                      <a:lnTo>
                        <a:pt x="650" y="307"/>
                      </a:lnTo>
                      <a:lnTo>
                        <a:pt x="652" y="307"/>
                      </a:lnTo>
                      <a:lnTo>
                        <a:pt x="652" y="309"/>
                      </a:lnTo>
                      <a:lnTo>
                        <a:pt x="654" y="309"/>
                      </a:lnTo>
                      <a:lnTo>
                        <a:pt x="654" y="310"/>
                      </a:lnTo>
                      <a:lnTo>
                        <a:pt x="654" y="312"/>
                      </a:lnTo>
                      <a:lnTo>
                        <a:pt x="654" y="314"/>
                      </a:lnTo>
                      <a:lnTo>
                        <a:pt x="654" y="315"/>
                      </a:lnTo>
                      <a:lnTo>
                        <a:pt x="654" y="317"/>
                      </a:lnTo>
                      <a:lnTo>
                        <a:pt x="652" y="317"/>
                      </a:lnTo>
                      <a:lnTo>
                        <a:pt x="654" y="317"/>
                      </a:lnTo>
                      <a:lnTo>
                        <a:pt x="652" y="318"/>
                      </a:lnTo>
                      <a:lnTo>
                        <a:pt x="650" y="318"/>
                      </a:lnTo>
                      <a:lnTo>
                        <a:pt x="650" y="320"/>
                      </a:lnTo>
                      <a:lnTo>
                        <a:pt x="649" y="320"/>
                      </a:lnTo>
                      <a:lnTo>
                        <a:pt x="649" y="322"/>
                      </a:lnTo>
                      <a:lnTo>
                        <a:pt x="647" y="322"/>
                      </a:lnTo>
                      <a:lnTo>
                        <a:pt x="647" y="323"/>
                      </a:lnTo>
                      <a:lnTo>
                        <a:pt x="645" y="323"/>
                      </a:lnTo>
                      <a:lnTo>
                        <a:pt x="644" y="325"/>
                      </a:lnTo>
                      <a:lnTo>
                        <a:pt x="644" y="327"/>
                      </a:lnTo>
                      <a:lnTo>
                        <a:pt x="642" y="327"/>
                      </a:lnTo>
                      <a:lnTo>
                        <a:pt x="642" y="328"/>
                      </a:lnTo>
                      <a:lnTo>
                        <a:pt x="640" y="328"/>
                      </a:lnTo>
                      <a:lnTo>
                        <a:pt x="640" y="330"/>
                      </a:lnTo>
                      <a:lnTo>
                        <a:pt x="639" y="330"/>
                      </a:lnTo>
                      <a:lnTo>
                        <a:pt x="639" y="332"/>
                      </a:lnTo>
                      <a:lnTo>
                        <a:pt x="637" y="332"/>
                      </a:lnTo>
                      <a:lnTo>
                        <a:pt x="637" y="330"/>
                      </a:lnTo>
                      <a:lnTo>
                        <a:pt x="637" y="332"/>
                      </a:lnTo>
                      <a:lnTo>
                        <a:pt x="639" y="332"/>
                      </a:lnTo>
                      <a:lnTo>
                        <a:pt x="637" y="332"/>
                      </a:lnTo>
                      <a:lnTo>
                        <a:pt x="637" y="333"/>
                      </a:lnTo>
                      <a:lnTo>
                        <a:pt x="637" y="332"/>
                      </a:lnTo>
                      <a:lnTo>
                        <a:pt x="637" y="333"/>
                      </a:lnTo>
                      <a:lnTo>
                        <a:pt x="635" y="333"/>
                      </a:lnTo>
                      <a:lnTo>
                        <a:pt x="635" y="335"/>
                      </a:lnTo>
                      <a:lnTo>
                        <a:pt x="635" y="337"/>
                      </a:lnTo>
                      <a:lnTo>
                        <a:pt x="635" y="338"/>
                      </a:lnTo>
                      <a:lnTo>
                        <a:pt x="635" y="340"/>
                      </a:lnTo>
                      <a:lnTo>
                        <a:pt x="635" y="341"/>
                      </a:lnTo>
                      <a:lnTo>
                        <a:pt x="635" y="343"/>
                      </a:lnTo>
                      <a:lnTo>
                        <a:pt x="635" y="345"/>
                      </a:lnTo>
                      <a:lnTo>
                        <a:pt x="635" y="346"/>
                      </a:lnTo>
                      <a:lnTo>
                        <a:pt x="635" y="348"/>
                      </a:lnTo>
                      <a:lnTo>
                        <a:pt x="635" y="350"/>
                      </a:lnTo>
                      <a:lnTo>
                        <a:pt x="637" y="350"/>
                      </a:lnTo>
                      <a:lnTo>
                        <a:pt x="637" y="351"/>
                      </a:lnTo>
                      <a:lnTo>
                        <a:pt x="635" y="351"/>
                      </a:lnTo>
                      <a:lnTo>
                        <a:pt x="637" y="351"/>
                      </a:lnTo>
                      <a:lnTo>
                        <a:pt x="635" y="351"/>
                      </a:lnTo>
                      <a:lnTo>
                        <a:pt x="637" y="351"/>
                      </a:lnTo>
                      <a:lnTo>
                        <a:pt x="635" y="353"/>
                      </a:lnTo>
                      <a:lnTo>
                        <a:pt x="637" y="353"/>
                      </a:lnTo>
                      <a:lnTo>
                        <a:pt x="637" y="355"/>
                      </a:lnTo>
                      <a:lnTo>
                        <a:pt x="637" y="356"/>
                      </a:lnTo>
                      <a:lnTo>
                        <a:pt x="635" y="356"/>
                      </a:lnTo>
                      <a:lnTo>
                        <a:pt x="637" y="356"/>
                      </a:lnTo>
                      <a:lnTo>
                        <a:pt x="637" y="358"/>
                      </a:lnTo>
                      <a:lnTo>
                        <a:pt x="637" y="360"/>
                      </a:lnTo>
                      <a:lnTo>
                        <a:pt x="639" y="358"/>
                      </a:lnTo>
                      <a:lnTo>
                        <a:pt x="639" y="360"/>
                      </a:lnTo>
                      <a:lnTo>
                        <a:pt x="639" y="361"/>
                      </a:lnTo>
                      <a:lnTo>
                        <a:pt x="640" y="361"/>
                      </a:lnTo>
                      <a:lnTo>
                        <a:pt x="642" y="363"/>
                      </a:lnTo>
                      <a:lnTo>
                        <a:pt x="642" y="361"/>
                      </a:lnTo>
                      <a:lnTo>
                        <a:pt x="642" y="363"/>
                      </a:lnTo>
                      <a:lnTo>
                        <a:pt x="644" y="361"/>
                      </a:lnTo>
                      <a:lnTo>
                        <a:pt x="644" y="363"/>
                      </a:lnTo>
                      <a:lnTo>
                        <a:pt x="644" y="361"/>
                      </a:lnTo>
                      <a:lnTo>
                        <a:pt x="645" y="361"/>
                      </a:lnTo>
                      <a:lnTo>
                        <a:pt x="645" y="363"/>
                      </a:lnTo>
                      <a:lnTo>
                        <a:pt x="647" y="363"/>
                      </a:lnTo>
                      <a:lnTo>
                        <a:pt x="647" y="364"/>
                      </a:lnTo>
                      <a:lnTo>
                        <a:pt x="647" y="366"/>
                      </a:lnTo>
                      <a:lnTo>
                        <a:pt x="647" y="368"/>
                      </a:lnTo>
                      <a:lnTo>
                        <a:pt x="649" y="368"/>
                      </a:lnTo>
                      <a:lnTo>
                        <a:pt x="649" y="369"/>
                      </a:lnTo>
                      <a:lnTo>
                        <a:pt x="649" y="371"/>
                      </a:lnTo>
                      <a:lnTo>
                        <a:pt x="649" y="373"/>
                      </a:lnTo>
                      <a:lnTo>
                        <a:pt x="649" y="374"/>
                      </a:lnTo>
                      <a:lnTo>
                        <a:pt x="649" y="376"/>
                      </a:lnTo>
                      <a:lnTo>
                        <a:pt x="650" y="376"/>
                      </a:lnTo>
                      <a:lnTo>
                        <a:pt x="649" y="376"/>
                      </a:lnTo>
                      <a:lnTo>
                        <a:pt x="650" y="376"/>
                      </a:lnTo>
                      <a:lnTo>
                        <a:pt x="650" y="378"/>
                      </a:lnTo>
                      <a:lnTo>
                        <a:pt x="652" y="378"/>
                      </a:lnTo>
                      <a:lnTo>
                        <a:pt x="652" y="379"/>
                      </a:lnTo>
                      <a:lnTo>
                        <a:pt x="654" y="381"/>
                      </a:lnTo>
                      <a:lnTo>
                        <a:pt x="655" y="383"/>
                      </a:lnTo>
                      <a:lnTo>
                        <a:pt x="655" y="384"/>
                      </a:lnTo>
                      <a:lnTo>
                        <a:pt x="655" y="386"/>
                      </a:lnTo>
                      <a:lnTo>
                        <a:pt x="655" y="387"/>
                      </a:lnTo>
                      <a:lnTo>
                        <a:pt x="654" y="387"/>
                      </a:lnTo>
                      <a:lnTo>
                        <a:pt x="654" y="389"/>
                      </a:lnTo>
                      <a:lnTo>
                        <a:pt x="655" y="391"/>
                      </a:lnTo>
                      <a:lnTo>
                        <a:pt x="655" y="392"/>
                      </a:lnTo>
                      <a:lnTo>
                        <a:pt x="655" y="394"/>
                      </a:lnTo>
                      <a:lnTo>
                        <a:pt x="657" y="394"/>
                      </a:lnTo>
                      <a:lnTo>
                        <a:pt x="667" y="402"/>
                      </a:lnTo>
                      <a:lnTo>
                        <a:pt x="666" y="404"/>
                      </a:lnTo>
                      <a:lnTo>
                        <a:pt x="664" y="404"/>
                      </a:lnTo>
                      <a:lnTo>
                        <a:pt x="664" y="406"/>
                      </a:lnTo>
                      <a:lnTo>
                        <a:pt x="664" y="407"/>
                      </a:lnTo>
                      <a:lnTo>
                        <a:pt x="662" y="407"/>
                      </a:lnTo>
                      <a:lnTo>
                        <a:pt x="664" y="407"/>
                      </a:lnTo>
                      <a:lnTo>
                        <a:pt x="662" y="407"/>
                      </a:lnTo>
                      <a:lnTo>
                        <a:pt x="662" y="409"/>
                      </a:lnTo>
                      <a:lnTo>
                        <a:pt x="661" y="410"/>
                      </a:lnTo>
                      <a:lnTo>
                        <a:pt x="661" y="412"/>
                      </a:lnTo>
                      <a:lnTo>
                        <a:pt x="661" y="414"/>
                      </a:lnTo>
                      <a:lnTo>
                        <a:pt x="661" y="415"/>
                      </a:lnTo>
                      <a:lnTo>
                        <a:pt x="659" y="415"/>
                      </a:lnTo>
                      <a:lnTo>
                        <a:pt x="657" y="415"/>
                      </a:lnTo>
                      <a:lnTo>
                        <a:pt x="655" y="415"/>
                      </a:lnTo>
                      <a:lnTo>
                        <a:pt x="654" y="415"/>
                      </a:lnTo>
                      <a:lnTo>
                        <a:pt x="652" y="417"/>
                      </a:lnTo>
                      <a:lnTo>
                        <a:pt x="650" y="417"/>
                      </a:lnTo>
                      <a:lnTo>
                        <a:pt x="649" y="419"/>
                      </a:lnTo>
                      <a:lnTo>
                        <a:pt x="649" y="420"/>
                      </a:lnTo>
                      <a:lnTo>
                        <a:pt x="647" y="420"/>
                      </a:lnTo>
                      <a:lnTo>
                        <a:pt x="645" y="420"/>
                      </a:lnTo>
                      <a:lnTo>
                        <a:pt x="645" y="422"/>
                      </a:lnTo>
                      <a:lnTo>
                        <a:pt x="644" y="422"/>
                      </a:lnTo>
                      <a:lnTo>
                        <a:pt x="644" y="424"/>
                      </a:lnTo>
                      <a:lnTo>
                        <a:pt x="644" y="425"/>
                      </a:lnTo>
                      <a:lnTo>
                        <a:pt x="642" y="427"/>
                      </a:lnTo>
                      <a:lnTo>
                        <a:pt x="640" y="427"/>
                      </a:lnTo>
                      <a:lnTo>
                        <a:pt x="640" y="429"/>
                      </a:lnTo>
                      <a:lnTo>
                        <a:pt x="639" y="429"/>
                      </a:lnTo>
                      <a:lnTo>
                        <a:pt x="640" y="430"/>
                      </a:lnTo>
                      <a:lnTo>
                        <a:pt x="639" y="432"/>
                      </a:lnTo>
                      <a:lnTo>
                        <a:pt x="639" y="433"/>
                      </a:lnTo>
                      <a:lnTo>
                        <a:pt x="639" y="435"/>
                      </a:lnTo>
                      <a:lnTo>
                        <a:pt x="639" y="437"/>
                      </a:lnTo>
                      <a:lnTo>
                        <a:pt x="637" y="437"/>
                      </a:lnTo>
                      <a:lnTo>
                        <a:pt x="637" y="438"/>
                      </a:lnTo>
                      <a:lnTo>
                        <a:pt x="637" y="440"/>
                      </a:lnTo>
                      <a:lnTo>
                        <a:pt x="639" y="442"/>
                      </a:lnTo>
                      <a:lnTo>
                        <a:pt x="639" y="443"/>
                      </a:lnTo>
                      <a:lnTo>
                        <a:pt x="639" y="445"/>
                      </a:lnTo>
                      <a:lnTo>
                        <a:pt x="639" y="447"/>
                      </a:lnTo>
                      <a:lnTo>
                        <a:pt x="639" y="448"/>
                      </a:lnTo>
                      <a:lnTo>
                        <a:pt x="639" y="451"/>
                      </a:lnTo>
                      <a:lnTo>
                        <a:pt x="639" y="453"/>
                      </a:lnTo>
                      <a:lnTo>
                        <a:pt x="639" y="455"/>
                      </a:lnTo>
                      <a:lnTo>
                        <a:pt x="637" y="455"/>
                      </a:lnTo>
                      <a:lnTo>
                        <a:pt x="637" y="456"/>
                      </a:lnTo>
                      <a:lnTo>
                        <a:pt x="635" y="456"/>
                      </a:lnTo>
                      <a:lnTo>
                        <a:pt x="635" y="458"/>
                      </a:lnTo>
                      <a:lnTo>
                        <a:pt x="635" y="460"/>
                      </a:lnTo>
                      <a:lnTo>
                        <a:pt x="634" y="460"/>
                      </a:lnTo>
                      <a:lnTo>
                        <a:pt x="634" y="461"/>
                      </a:lnTo>
                      <a:lnTo>
                        <a:pt x="632" y="461"/>
                      </a:lnTo>
                      <a:lnTo>
                        <a:pt x="632" y="460"/>
                      </a:lnTo>
                      <a:lnTo>
                        <a:pt x="632" y="461"/>
                      </a:lnTo>
                      <a:lnTo>
                        <a:pt x="630" y="461"/>
                      </a:lnTo>
                      <a:lnTo>
                        <a:pt x="628" y="461"/>
                      </a:lnTo>
                      <a:lnTo>
                        <a:pt x="627" y="461"/>
                      </a:lnTo>
                      <a:lnTo>
                        <a:pt x="627" y="463"/>
                      </a:lnTo>
                      <a:lnTo>
                        <a:pt x="625" y="465"/>
                      </a:lnTo>
                      <a:lnTo>
                        <a:pt x="625" y="466"/>
                      </a:lnTo>
                      <a:lnTo>
                        <a:pt x="623" y="466"/>
                      </a:lnTo>
                      <a:lnTo>
                        <a:pt x="623" y="468"/>
                      </a:lnTo>
                      <a:lnTo>
                        <a:pt x="623" y="466"/>
                      </a:lnTo>
                      <a:lnTo>
                        <a:pt x="623" y="468"/>
                      </a:lnTo>
                      <a:lnTo>
                        <a:pt x="622" y="468"/>
                      </a:lnTo>
                      <a:lnTo>
                        <a:pt x="622" y="470"/>
                      </a:lnTo>
                      <a:lnTo>
                        <a:pt x="622" y="468"/>
                      </a:lnTo>
                      <a:lnTo>
                        <a:pt x="622" y="470"/>
                      </a:lnTo>
                      <a:lnTo>
                        <a:pt x="620" y="471"/>
                      </a:lnTo>
                      <a:lnTo>
                        <a:pt x="618" y="471"/>
                      </a:lnTo>
                      <a:lnTo>
                        <a:pt x="618" y="473"/>
                      </a:lnTo>
                      <a:lnTo>
                        <a:pt x="620" y="473"/>
                      </a:lnTo>
                      <a:lnTo>
                        <a:pt x="618" y="473"/>
                      </a:lnTo>
                      <a:lnTo>
                        <a:pt x="620" y="473"/>
                      </a:lnTo>
                      <a:lnTo>
                        <a:pt x="620" y="474"/>
                      </a:lnTo>
                      <a:lnTo>
                        <a:pt x="620" y="476"/>
                      </a:lnTo>
                      <a:lnTo>
                        <a:pt x="620" y="478"/>
                      </a:lnTo>
                      <a:lnTo>
                        <a:pt x="618" y="479"/>
                      </a:lnTo>
                      <a:lnTo>
                        <a:pt x="617" y="479"/>
                      </a:lnTo>
                      <a:lnTo>
                        <a:pt x="617" y="481"/>
                      </a:lnTo>
                      <a:lnTo>
                        <a:pt x="617" y="483"/>
                      </a:lnTo>
                      <a:lnTo>
                        <a:pt x="615" y="484"/>
                      </a:lnTo>
                      <a:lnTo>
                        <a:pt x="615" y="486"/>
                      </a:lnTo>
                      <a:lnTo>
                        <a:pt x="615" y="488"/>
                      </a:lnTo>
                      <a:lnTo>
                        <a:pt x="613" y="489"/>
                      </a:lnTo>
                      <a:lnTo>
                        <a:pt x="613" y="491"/>
                      </a:lnTo>
                      <a:lnTo>
                        <a:pt x="612" y="491"/>
                      </a:lnTo>
                      <a:lnTo>
                        <a:pt x="612" y="493"/>
                      </a:lnTo>
                      <a:lnTo>
                        <a:pt x="610" y="494"/>
                      </a:lnTo>
                      <a:lnTo>
                        <a:pt x="612" y="494"/>
                      </a:lnTo>
                      <a:lnTo>
                        <a:pt x="612" y="496"/>
                      </a:lnTo>
                      <a:lnTo>
                        <a:pt x="612" y="497"/>
                      </a:lnTo>
                      <a:lnTo>
                        <a:pt x="610" y="497"/>
                      </a:lnTo>
                      <a:lnTo>
                        <a:pt x="610" y="499"/>
                      </a:lnTo>
                      <a:lnTo>
                        <a:pt x="610" y="501"/>
                      </a:lnTo>
                      <a:lnTo>
                        <a:pt x="610" y="502"/>
                      </a:lnTo>
                      <a:lnTo>
                        <a:pt x="610" y="504"/>
                      </a:lnTo>
                      <a:lnTo>
                        <a:pt x="610" y="506"/>
                      </a:lnTo>
                      <a:lnTo>
                        <a:pt x="608" y="506"/>
                      </a:lnTo>
                      <a:lnTo>
                        <a:pt x="607" y="506"/>
                      </a:lnTo>
                      <a:lnTo>
                        <a:pt x="607" y="507"/>
                      </a:lnTo>
                      <a:lnTo>
                        <a:pt x="605" y="507"/>
                      </a:lnTo>
                      <a:lnTo>
                        <a:pt x="605" y="509"/>
                      </a:lnTo>
                      <a:lnTo>
                        <a:pt x="603" y="509"/>
                      </a:lnTo>
                      <a:lnTo>
                        <a:pt x="601" y="509"/>
                      </a:lnTo>
                      <a:lnTo>
                        <a:pt x="600" y="509"/>
                      </a:lnTo>
                      <a:lnTo>
                        <a:pt x="598" y="509"/>
                      </a:lnTo>
                      <a:lnTo>
                        <a:pt x="598" y="511"/>
                      </a:lnTo>
                      <a:lnTo>
                        <a:pt x="596" y="511"/>
                      </a:lnTo>
                      <a:lnTo>
                        <a:pt x="596" y="512"/>
                      </a:lnTo>
                      <a:lnTo>
                        <a:pt x="595" y="512"/>
                      </a:lnTo>
                      <a:lnTo>
                        <a:pt x="596" y="512"/>
                      </a:lnTo>
                      <a:lnTo>
                        <a:pt x="595" y="514"/>
                      </a:lnTo>
                      <a:lnTo>
                        <a:pt x="593" y="514"/>
                      </a:lnTo>
                      <a:lnTo>
                        <a:pt x="593" y="516"/>
                      </a:lnTo>
                      <a:lnTo>
                        <a:pt x="591" y="516"/>
                      </a:lnTo>
                      <a:lnTo>
                        <a:pt x="590" y="516"/>
                      </a:lnTo>
                      <a:lnTo>
                        <a:pt x="590" y="517"/>
                      </a:lnTo>
                      <a:lnTo>
                        <a:pt x="588" y="516"/>
                      </a:lnTo>
                      <a:lnTo>
                        <a:pt x="586" y="516"/>
                      </a:lnTo>
                      <a:lnTo>
                        <a:pt x="586" y="517"/>
                      </a:lnTo>
                      <a:lnTo>
                        <a:pt x="585" y="517"/>
                      </a:lnTo>
                      <a:lnTo>
                        <a:pt x="585" y="519"/>
                      </a:lnTo>
                      <a:lnTo>
                        <a:pt x="586" y="519"/>
                      </a:lnTo>
                      <a:lnTo>
                        <a:pt x="585" y="519"/>
                      </a:lnTo>
                      <a:lnTo>
                        <a:pt x="583" y="519"/>
                      </a:lnTo>
                      <a:lnTo>
                        <a:pt x="583" y="520"/>
                      </a:lnTo>
                      <a:lnTo>
                        <a:pt x="581" y="520"/>
                      </a:lnTo>
                      <a:lnTo>
                        <a:pt x="581" y="522"/>
                      </a:lnTo>
                      <a:lnTo>
                        <a:pt x="581" y="524"/>
                      </a:lnTo>
                      <a:lnTo>
                        <a:pt x="579" y="524"/>
                      </a:lnTo>
                      <a:lnTo>
                        <a:pt x="579" y="525"/>
                      </a:lnTo>
                      <a:lnTo>
                        <a:pt x="578" y="525"/>
                      </a:lnTo>
                      <a:lnTo>
                        <a:pt x="578" y="527"/>
                      </a:lnTo>
                      <a:lnTo>
                        <a:pt x="579" y="527"/>
                      </a:lnTo>
                      <a:lnTo>
                        <a:pt x="578" y="527"/>
                      </a:lnTo>
                      <a:lnTo>
                        <a:pt x="576" y="527"/>
                      </a:lnTo>
                      <a:lnTo>
                        <a:pt x="574" y="527"/>
                      </a:lnTo>
                      <a:lnTo>
                        <a:pt x="573" y="527"/>
                      </a:lnTo>
                      <a:lnTo>
                        <a:pt x="573" y="525"/>
                      </a:lnTo>
                      <a:lnTo>
                        <a:pt x="573" y="524"/>
                      </a:lnTo>
                      <a:lnTo>
                        <a:pt x="571" y="524"/>
                      </a:lnTo>
                      <a:lnTo>
                        <a:pt x="569" y="524"/>
                      </a:lnTo>
                      <a:lnTo>
                        <a:pt x="568" y="522"/>
                      </a:lnTo>
                      <a:lnTo>
                        <a:pt x="566" y="522"/>
                      </a:lnTo>
                      <a:lnTo>
                        <a:pt x="564" y="522"/>
                      </a:lnTo>
                      <a:lnTo>
                        <a:pt x="564" y="520"/>
                      </a:lnTo>
                      <a:lnTo>
                        <a:pt x="563" y="520"/>
                      </a:lnTo>
                      <a:lnTo>
                        <a:pt x="563" y="519"/>
                      </a:lnTo>
                      <a:lnTo>
                        <a:pt x="561" y="519"/>
                      </a:lnTo>
                      <a:lnTo>
                        <a:pt x="561" y="517"/>
                      </a:lnTo>
                      <a:lnTo>
                        <a:pt x="559" y="517"/>
                      </a:lnTo>
                      <a:lnTo>
                        <a:pt x="559" y="516"/>
                      </a:lnTo>
                      <a:lnTo>
                        <a:pt x="558" y="516"/>
                      </a:lnTo>
                      <a:lnTo>
                        <a:pt x="559" y="514"/>
                      </a:lnTo>
                      <a:lnTo>
                        <a:pt x="558" y="514"/>
                      </a:lnTo>
                      <a:lnTo>
                        <a:pt x="556" y="514"/>
                      </a:lnTo>
                      <a:lnTo>
                        <a:pt x="554" y="514"/>
                      </a:lnTo>
                      <a:lnTo>
                        <a:pt x="552" y="514"/>
                      </a:lnTo>
                      <a:lnTo>
                        <a:pt x="551" y="514"/>
                      </a:lnTo>
                      <a:lnTo>
                        <a:pt x="551" y="512"/>
                      </a:lnTo>
                      <a:lnTo>
                        <a:pt x="551" y="511"/>
                      </a:lnTo>
                      <a:lnTo>
                        <a:pt x="551" y="509"/>
                      </a:lnTo>
                      <a:lnTo>
                        <a:pt x="552" y="511"/>
                      </a:lnTo>
                      <a:lnTo>
                        <a:pt x="552" y="509"/>
                      </a:lnTo>
                      <a:lnTo>
                        <a:pt x="551" y="509"/>
                      </a:lnTo>
                      <a:lnTo>
                        <a:pt x="549" y="509"/>
                      </a:lnTo>
                      <a:lnTo>
                        <a:pt x="547" y="509"/>
                      </a:lnTo>
                      <a:lnTo>
                        <a:pt x="546" y="509"/>
                      </a:lnTo>
                      <a:lnTo>
                        <a:pt x="547" y="509"/>
                      </a:lnTo>
                      <a:lnTo>
                        <a:pt x="547" y="511"/>
                      </a:lnTo>
                      <a:lnTo>
                        <a:pt x="546" y="511"/>
                      </a:lnTo>
                      <a:lnTo>
                        <a:pt x="544" y="509"/>
                      </a:lnTo>
                      <a:lnTo>
                        <a:pt x="542" y="509"/>
                      </a:lnTo>
                      <a:lnTo>
                        <a:pt x="542" y="511"/>
                      </a:lnTo>
                      <a:lnTo>
                        <a:pt x="541" y="511"/>
                      </a:lnTo>
                      <a:lnTo>
                        <a:pt x="541" y="512"/>
                      </a:lnTo>
                      <a:lnTo>
                        <a:pt x="542" y="512"/>
                      </a:lnTo>
                      <a:lnTo>
                        <a:pt x="541" y="512"/>
                      </a:lnTo>
                      <a:lnTo>
                        <a:pt x="539" y="512"/>
                      </a:lnTo>
                      <a:lnTo>
                        <a:pt x="537" y="512"/>
                      </a:lnTo>
                      <a:lnTo>
                        <a:pt x="537" y="511"/>
                      </a:lnTo>
                      <a:lnTo>
                        <a:pt x="539" y="511"/>
                      </a:lnTo>
                      <a:lnTo>
                        <a:pt x="537" y="511"/>
                      </a:lnTo>
                      <a:lnTo>
                        <a:pt x="537" y="512"/>
                      </a:lnTo>
                      <a:lnTo>
                        <a:pt x="536" y="511"/>
                      </a:lnTo>
                      <a:lnTo>
                        <a:pt x="534" y="511"/>
                      </a:lnTo>
                      <a:lnTo>
                        <a:pt x="534" y="512"/>
                      </a:lnTo>
                      <a:lnTo>
                        <a:pt x="532" y="512"/>
                      </a:lnTo>
                      <a:lnTo>
                        <a:pt x="532" y="514"/>
                      </a:lnTo>
                      <a:lnTo>
                        <a:pt x="532" y="512"/>
                      </a:lnTo>
                      <a:lnTo>
                        <a:pt x="530" y="512"/>
                      </a:lnTo>
                      <a:lnTo>
                        <a:pt x="529" y="512"/>
                      </a:lnTo>
                      <a:lnTo>
                        <a:pt x="529" y="511"/>
                      </a:lnTo>
                      <a:lnTo>
                        <a:pt x="529" y="509"/>
                      </a:lnTo>
                      <a:lnTo>
                        <a:pt x="527" y="509"/>
                      </a:lnTo>
                      <a:lnTo>
                        <a:pt x="525" y="511"/>
                      </a:lnTo>
                      <a:lnTo>
                        <a:pt x="524" y="511"/>
                      </a:lnTo>
                      <a:lnTo>
                        <a:pt x="524" y="509"/>
                      </a:lnTo>
                      <a:lnTo>
                        <a:pt x="524" y="507"/>
                      </a:lnTo>
                      <a:lnTo>
                        <a:pt x="522" y="507"/>
                      </a:lnTo>
                      <a:lnTo>
                        <a:pt x="522" y="509"/>
                      </a:lnTo>
                      <a:lnTo>
                        <a:pt x="522" y="511"/>
                      </a:lnTo>
                      <a:lnTo>
                        <a:pt x="520" y="511"/>
                      </a:lnTo>
                      <a:lnTo>
                        <a:pt x="519" y="511"/>
                      </a:lnTo>
                      <a:lnTo>
                        <a:pt x="519" y="512"/>
                      </a:lnTo>
                      <a:lnTo>
                        <a:pt x="515" y="512"/>
                      </a:lnTo>
                      <a:lnTo>
                        <a:pt x="514" y="512"/>
                      </a:lnTo>
                      <a:lnTo>
                        <a:pt x="512" y="512"/>
                      </a:lnTo>
                      <a:lnTo>
                        <a:pt x="514" y="512"/>
                      </a:lnTo>
                      <a:lnTo>
                        <a:pt x="514" y="514"/>
                      </a:lnTo>
                      <a:lnTo>
                        <a:pt x="512" y="514"/>
                      </a:lnTo>
                      <a:lnTo>
                        <a:pt x="510" y="514"/>
                      </a:lnTo>
                      <a:lnTo>
                        <a:pt x="509" y="514"/>
                      </a:lnTo>
                      <a:lnTo>
                        <a:pt x="507" y="516"/>
                      </a:lnTo>
                      <a:lnTo>
                        <a:pt x="507" y="514"/>
                      </a:lnTo>
                      <a:lnTo>
                        <a:pt x="505" y="514"/>
                      </a:lnTo>
                      <a:lnTo>
                        <a:pt x="503" y="514"/>
                      </a:lnTo>
                      <a:lnTo>
                        <a:pt x="502" y="514"/>
                      </a:lnTo>
                      <a:lnTo>
                        <a:pt x="502" y="512"/>
                      </a:lnTo>
                      <a:lnTo>
                        <a:pt x="500" y="512"/>
                      </a:lnTo>
                      <a:lnTo>
                        <a:pt x="498" y="511"/>
                      </a:lnTo>
                      <a:lnTo>
                        <a:pt x="498" y="512"/>
                      </a:lnTo>
                      <a:lnTo>
                        <a:pt x="497" y="512"/>
                      </a:lnTo>
                      <a:lnTo>
                        <a:pt x="497" y="511"/>
                      </a:lnTo>
                      <a:lnTo>
                        <a:pt x="497" y="509"/>
                      </a:lnTo>
                      <a:lnTo>
                        <a:pt x="495" y="509"/>
                      </a:lnTo>
                      <a:lnTo>
                        <a:pt x="495" y="511"/>
                      </a:lnTo>
                      <a:lnTo>
                        <a:pt x="493" y="511"/>
                      </a:lnTo>
                      <a:lnTo>
                        <a:pt x="492" y="511"/>
                      </a:lnTo>
                      <a:lnTo>
                        <a:pt x="492" y="509"/>
                      </a:lnTo>
                      <a:lnTo>
                        <a:pt x="492" y="511"/>
                      </a:lnTo>
                      <a:lnTo>
                        <a:pt x="490" y="511"/>
                      </a:lnTo>
                      <a:lnTo>
                        <a:pt x="490" y="512"/>
                      </a:lnTo>
                      <a:lnTo>
                        <a:pt x="488" y="511"/>
                      </a:lnTo>
                      <a:lnTo>
                        <a:pt x="487" y="511"/>
                      </a:lnTo>
                      <a:lnTo>
                        <a:pt x="485" y="509"/>
                      </a:lnTo>
                      <a:lnTo>
                        <a:pt x="485" y="511"/>
                      </a:lnTo>
                      <a:lnTo>
                        <a:pt x="483" y="512"/>
                      </a:lnTo>
                      <a:lnTo>
                        <a:pt x="482" y="512"/>
                      </a:lnTo>
                      <a:lnTo>
                        <a:pt x="480" y="512"/>
                      </a:lnTo>
                      <a:lnTo>
                        <a:pt x="480" y="514"/>
                      </a:lnTo>
                      <a:lnTo>
                        <a:pt x="478" y="514"/>
                      </a:lnTo>
                      <a:lnTo>
                        <a:pt x="478" y="512"/>
                      </a:lnTo>
                      <a:lnTo>
                        <a:pt x="478" y="511"/>
                      </a:lnTo>
                      <a:lnTo>
                        <a:pt x="478" y="512"/>
                      </a:lnTo>
                      <a:lnTo>
                        <a:pt x="476" y="514"/>
                      </a:lnTo>
                      <a:lnTo>
                        <a:pt x="475" y="512"/>
                      </a:lnTo>
                      <a:lnTo>
                        <a:pt x="473" y="512"/>
                      </a:lnTo>
                      <a:lnTo>
                        <a:pt x="475" y="512"/>
                      </a:lnTo>
                      <a:lnTo>
                        <a:pt x="475" y="514"/>
                      </a:lnTo>
                      <a:lnTo>
                        <a:pt x="473" y="514"/>
                      </a:lnTo>
                      <a:lnTo>
                        <a:pt x="473" y="512"/>
                      </a:lnTo>
                      <a:lnTo>
                        <a:pt x="473" y="514"/>
                      </a:lnTo>
                      <a:lnTo>
                        <a:pt x="471" y="514"/>
                      </a:lnTo>
                      <a:lnTo>
                        <a:pt x="471" y="512"/>
                      </a:lnTo>
                      <a:lnTo>
                        <a:pt x="471" y="514"/>
                      </a:lnTo>
                      <a:lnTo>
                        <a:pt x="470" y="514"/>
                      </a:lnTo>
                      <a:lnTo>
                        <a:pt x="470" y="512"/>
                      </a:lnTo>
                      <a:lnTo>
                        <a:pt x="468" y="512"/>
                      </a:lnTo>
                      <a:lnTo>
                        <a:pt x="468" y="511"/>
                      </a:lnTo>
                      <a:lnTo>
                        <a:pt x="468" y="509"/>
                      </a:lnTo>
                      <a:lnTo>
                        <a:pt x="468" y="507"/>
                      </a:lnTo>
                      <a:lnTo>
                        <a:pt x="468" y="506"/>
                      </a:lnTo>
                      <a:lnTo>
                        <a:pt x="466" y="506"/>
                      </a:lnTo>
                      <a:lnTo>
                        <a:pt x="466" y="504"/>
                      </a:lnTo>
                      <a:lnTo>
                        <a:pt x="466" y="502"/>
                      </a:lnTo>
                      <a:lnTo>
                        <a:pt x="465" y="502"/>
                      </a:lnTo>
                      <a:lnTo>
                        <a:pt x="465" y="504"/>
                      </a:lnTo>
                      <a:lnTo>
                        <a:pt x="463" y="504"/>
                      </a:lnTo>
                      <a:lnTo>
                        <a:pt x="463" y="502"/>
                      </a:lnTo>
                      <a:lnTo>
                        <a:pt x="463" y="501"/>
                      </a:lnTo>
                      <a:lnTo>
                        <a:pt x="461" y="501"/>
                      </a:lnTo>
                      <a:lnTo>
                        <a:pt x="461" y="502"/>
                      </a:lnTo>
                      <a:lnTo>
                        <a:pt x="461" y="501"/>
                      </a:lnTo>
                      <a:lnTo>
                        <a:pt x="460" y="501"/>
                      </a:lnTo>
                      <a:lnTo>
                        <a:pt x="460" y="499"/>
                      </a:lnTo>
                      <a:lnTo>
                        <a:pt x="458" y="499"/>
                      </a:lnTo>
                      <a:lnTo>
                        <a:pt x="460" y="497"/>
                      </a:lnTo>
                      <a:lnTo>
                        <a:pt x="458" y="497"/>
                      </a:lnTo>
                      <a:lnTo>
                        <a:pt x="456" y="497"/>
                      </a:lnTo>
                      <a:lnTo>
                        <a:pt x="454" y="497"/>
                      </a:lnTo>
                      <a:lnTo>
                        <a:pt x="454" y="496"/>
                      </a:lnTo>
                      <a:lnTo>
                        <a:pt x="454" y="494"/>
                      </a:lnTo>
                      <a:lnTo>
                        <a:pt x="453" y="494"/>
                      </a:lnTo>
                      <a:lnTo>
                        <a:pt x="451" y="493"/>
                      </a:lnTo>
                      <a:lnTo>
                        <a:pt x="451" y="491"/>
                      </a:lnTo>
                      <a:lnTo>
                        <a:pt x="449" y="491"/>
                      </a:lnTo>
                      <a:lnTo>
                        <a:pt x="448" y="491"/>
                      </a:lnTo>
                      <a:lnTo>
                        <a:pt x="448" y="489"/>
                      </a:lnTo>
                      <a:lnTo>
                        <a:pt x="446" y="489"/>
                      </a:lnTo>
                      <a:lnTo>
                        <a:pt x="446" y="488"/>
                      </a:lnTo>
                      <a:lnTo>
                        <a:pt x="446" y="486"/>
                      </a:lnTo>
                      <a:lnTo>
                        <a:pt x="446" y="484"/>
                      </a:lnTo>
                      <a:lnTo>
                        <a:pt x="446" y="483"/>
                      </a:lnTo>
                      <a:lnTo>
                        <a:pt x="446" y="481"/>
                      </a:lnTo>
                      <a:lnTo>
                        <a:pt x="444" y="479"/>
                      </a:lnTo>
                      <a:lnTo>
                        <a:pt x="446" y="479"/>
                      </a:lnTo>
                      <a:lnTo>
                        <a:pt x="446" y="478"/>
                      </a:lnTo>
                      <a:lnTo>
                        <a:pt x="444" y="478"/>
                      </a:lnTo>
                      <a:lnTo>
                        <a:pt x="443" y="478"/>
                      </a:lnTo>
                      <a:lnTo>
                        <a:pt x="443" y="479"/>
                      </a:lnTo>
                      <a:lnTo>
                        <a:pt x="443" y="478"/>
                      </a:lnTo>
                      <a:lnTo>
                        <a:pt x="441" y="478"/>
                      </a:lnTo>
                      <a:lnTo>
                        <a:pt x="441" y="476"/>
                      </a:lnTo>
                      <a:lnTo>
                        <a:pt x="441" y="474"/>
                      </a:lnTo>
                      <a:lnTo>
                        <a:pt x="439" y="474"/>
                      </a:lnTo>
                      <a:lnTo>
                        <a:pt x="439" y="476"/>
                      </a:lnTo>
                      <a:lnTo>
                        <a:pt x="439" y="478"/>
                      </a:lnTo>
                      <a:lnTo>
                        <a:pt x="438" y="478"/>
                      </a:lnTo>
                      <a:lnTo>
                        <a:pt x="438" y="476"/>
                      </a:lnTo>
                      <a:lnTo>
                        <a:pt x="438" y="474"/>
                      </a:lnTo>
                      <a:lnTo>
                        <a:pt x="436" y="474"/>
                      </a:lnTo>
                      <a:lnTo>
                        <a:pt x="434" y="474"/>
                      </a:lnTo>
                      <a:lnTo>
                        <a:pt x="433" y="474"/>
                      </a:lnTo>
                      <a:lnTo>
                        <a:pt x="433" y="476"/>
                      </a:lnTo>
                      <a:lnTo>
                        <a:pt x="433" y="478"/>
                      </a:lnTo>
                      <a:lnTo>
                        <a:pt x="431" y="478"/>
                      </a:lnTo>
                      <a:lnTo>
                        <a:pt x="429" y="478"/>
                      </a:lnTo>
                      <a:lnTo>
                        <a:pt x="429" y="476"/>
                      </a:lnTo>
                      <a:lnTo>
                        <a:pt x="429" y="478"/>
                      </a:lnTo>
                      <a:lnTo>
                        <a:pt x="427" y="478"/>
                      </a:lnTo>
                      <a:lnTo>
                        <a:pt x="427" y="476"/>
                      </a:lnTo>
                      <a:lnTo>
                        <a:pt x="426" y="476"/>
                      </a:lnTo>
                      <a:lnTo>
                        <a:pt x="426" y="478"/>
                      </a:lnTo>
                      <a:lnTo>
                        <a:pt x="426" y="476"/>
                      </a:lnTo>
                      <a:lnTo>
                        <a:pt x="424" y="478"/>
                      </a:lnTo>
                      <a:lnTo>
                        <a:pt x="424" y="476"/>
                      </a:lnTo>
                      <a:lnTo>
                        <a:pt x="422" y="476"/>
                      </a:lnTo>
                      <a:lnTo>
                        <a:pt x="421" y="476"/>
                      </a:lnTo>
                      <a:lnTo>
                        <a:pt x="419" y="476"/>
                      </a:lnTo>
                      <a:lnTo>
                        <a:pt x="419" y="474"/>
                      </a:lnTo>
                      <a:lnTo>
                        <a:pt x="417" y="474"/>
                      </a:lnTo>
                      <a:lnTo>
                        <a:pt x="417" y="476"/>
                      </a:lnTo>
                      <a:lnTo>
                        <a:pt x="417" y="474"/>
                      </a:lnTo>
                      <a:lnTo>
                        <a:pt x="416" y="473"/>
                      </a:lnTo>
                      <a:lnTo>
                        <a:pt x="416" y="471"/>
                      </a:lnTo>
                      <a:lnTo>
                        <a:pt x="414" y="471"/>
                      </a:lnTo>
                      <a:lnTo>
                        <a:pt x="412" y="471"/>
                      </a:lnTo>
                      <a:lnTo>
                        <a:pt x="414" y="470"/>
                      </a:lnTo>
                      <a:lnTo>
                        <a:pt x="412" y="470"/>
                      </a:lnTo>
                      <a:lnTo>
                        <a:pt x="412" y="471"/>
                      </a:lnTo>
                      <a:lnTo>
                        <a:pt x="411" y="471"/>
                      </a:lnTo>
                      <a:lnTo>
                        <a:pt x="412" y="470"/>
                      </a:lnTo>
                      <a:lnTo>
                        <a:pt x="411" y="470"/>
                      </a:lnTo>
                      <a:lnTo>
                        <a:pt x="411" y="471"/>
                      </a:lnTo>
                      <a:lnTo>
                        <a:pt x="409" y="471"/>
                      </a:lnTo>
                      <a:lnTo>
                        <a:pt x="407" y="471"/>
                      </a:lnTo>
                      <a:lnTo>
                        <a:pt x="407" y="470"/>
                      </a:lnTo>
                      <a:lnTo>
                        <a:pt x="406" y="471"/>
                      </a:lnTo>
                      <a:lnTo>
                        <a:pt x="404" y="471"/>
                      </a:lnTo>
                      <a:lnTo>
                        <a:pt x="404" y="470"/>
                      </a:lnTo>
                      <a:lnTo>
                        <a:pt x="402" y="470"/>
                      </a:lnTo>
                      <a:lnTo>
                        <a:pt x="400" y="468"/>
                      </a:lnTo>
                      <a:lnTo>
                        <a:pt x="399" y="468"/>
                      </a:lnTo>
                      <a:lnTo>
                        <a:pt x="399" y="466"/>
                      </a:lnTo>
                      <a:lnTo>
                        <a:pt x="399" y="465"/>
                      </a:lnTo>
                      <a:lnTo>
                        <a:pt x="397" y="465"/>
                      </a:lnTo>
                      <a:lnTo>
                        <a:pt x="397" y="463"/>
                      </a:lnTo>
                      <a:lnTo>
                        <a:pt x="395" y="463"/>
                      </a:lnTo>
                      <a:lnTo>
                        <a:pt x="394" y="463"/>
                      </a:lnTo>
                      <a:lnTo>
                        <a:pt x="395" y="463"/>
                      </a:lnTo>
                      <a:lnTo>
                        <a:pt x="395" y="461"/>
                      </a:lnTo>
                      <a:lnTo>
                        <a:pt x="395" y="460"/>
                      </a:lnTo>
                      <a:lnTo>
                        <a:pt x="394" y="461"/>
                      </a:lnTo>
                      <a:lnTo>
                        <a:pt x="394" y="463"/>
                      </a:lnTo>
                      <a:lnTo>
                        <a:pt x="392" y="463"/>
                      </a:lnTo>
                      <a:lnTo>
                        <a:pt x="390" y="463"/>
                      </a:lnTo>
                      <a:lnTo>
                        <a:pt x="390" y="465"/>
                      </a:lnTo>
                      <a:lnTo>
                        <a:pt x="389" y="463"/>
                      </a:lnTo>
                      <a:lnTo>
                        <a:pt x="389" y="465"/>
                      </a:lnTo>
                      <a:lnTo>
                        <a:pt x="387" y="463"/>
                      </a:lnTo>
                      <a:lnTo>
                        <a:pt x="387" y="465"/>
                      </a:lnTo>
                      <a:lnTo>
                        <a:pt x="387" y="466"/>
                      </a:lnTo>
                      <a:lnTo>
                        <a:pt x="387" y="465"/>
                      </a:lnTo>
                      <a:lnTo>
                        <a:pt x="385" y="465"/>
                      </a:lnTo>
                      <a:lnTo>
                        <a:pt x="385" y="463"/>
                      </a:lnTo>
                      <a:lnTo>
                        <a:pt x="385" y="465"/>
                      </a:lnTo>
                      <a:lnTo>
                        <a:pt x="384" y="465"/>
                      </a:lnTo>
                      <a:lnTo>
                        <a:pt x="382" y="465"/>
                      </a:lnTo>
                      <a:lnTo>
                        <a:pt x="380" y="463"/>
                      </a:lnTo>
                      <a:lnTo>
                        <a:pt x="380" y="461"/>
                      </a:lnTo>
                      <a:lnTo>
                        <a:pt x="380" y="460"/>
                      </a:lnTo>
                      <a:lnTo>
                        <a:pt x="380" y="458"/>
                      </a:lnTo>
                      <a:lnTo>
                        <a:pt x="378" y="458"/>
                      </a:lnTo>
                      <a:lnTo>
                        <a:pt x="377" y="458"/>
                      </a:lnTo>
                      <a:lnTo>
                        <a:pt x="377" y="460"/>
                      </a:lnTo>
                      <a:lnTo>
                        <a:pt x="375" y="458"/>
                      </a:lnTo>
                      <a:lnTo>
                        <a:pt x="377" y="458"/>
                      </a:lnTo>
                      <a:lnTo>
                        <a:pt x="377" y="456"/>
                      </a:lnTo>
                      <a:lnTo>
                        <a:pt x="375" y="456"/>
                      </a:lnTo>
                      <a:lnTo>
                        <a:pt x="373" y="455"/>
                      </a:lnTo>
                      <a:lnTo>
                        <a:pt x="373" y="453"/>
                      </a:lnTo>
                      <a:lnTo>
                        <a:pt x="372" y="453"/>
                      </a:lnTo>
                      <a:lnTo>
                        <a:pt x="372" y="451"/>
                      </a:lnTo>
                      <a:lnTo>
                        <a:pt x="372" y="450"/>
                      </a:lnTo>
                      <a:lnTo>
                        <a:pt x="370" y="450"/>
                      </a:lnTo>
                      <a:lnTo>
                        <a:pt x="368" y="448"/>
                      </a:lnTo>
                      <a:lnTo>
                        <a:pt x="367" y="450"/>
                      </a:lnTo>
                      <a:lnTo>
                        <a:pt x="365" y="450"/>
                      </a:lnTo>
                      <a:lnTo>
                        <a:pt x="363" y="451"/>
                      </a:lnTo>
                      <a:lnTo>
                        <a:pt x="363" y="450"/>
                      </a:lnTo>
                      <a:lnTo>
                        <a:pt x="362" y="448"/>
                      </a:lnTo>
                      <a:lnTo>
                        <a:pt x="362" y="450"/>
                      </a:lnTo>
                      <a:lnTo>
                        <a:pt x="362" y="448"/>
                      </a:lnTo>
                      <a:lnTo>
                        <a:pt x="360" y="448"/>
                      </a:lnTo>
                      <a:lnTo>
                        <a:pt x="360" y="447"/>
                      </a:lnTo>
                      <a:lnTo>
                        <a:pt x="360" y="445"/>
                      </a:lnTo>
                      <a:lnTo>
                        <a:pt x="358" y="443"/>
                      </a:lnTo>
                      <a:lnTo>
                        <a:pt x="358" y="442"/>
                      </a:lnTo>
                      <a:lnTo>
                        <a:pt x="358" y="440"/>
                      </a:lnTo>
                      <a:lnTo>
                        <a:pt x="357" y="440"/>
                      </a:lnTo>
                      <a:lnTo>
                        <a:pt x="357" y="438"/>
                      </a:lnTo>
                      <a:lnTo>
                        <a:pt x="355" y="438"/>
                      </a:lnTo>
                      <a:lnTo>
                        <a:pt x="353" y="438"/>
                      </a:lnTo>
                      <a:lnTo>
                        <a:pt x="353" y="437"/>
                      </a:lnTo>
                      <a:lnTo>
                        <a:pt x="355" y="437"/>
                      </a:lnTo>
                      <a:lnTo>
                        <a:pt x="355" y="435"/>
                      </a:lnTo>
                      <a:lnTo>
                        <a:pt x="357" y="435"/>
                      </a:lnTo>
                      <a:lnTo>
                        <a:pt x="355" y="435"/>
                      </a:lnTo>
                      <a:lnTo>
                        <a:pt x="353" y="435"/>
                      </a:lnTo>
                      <a:lnTo>
                        <a:pt x="351" y="435"/>
                      </a:lnTo>
                      <a:lnTo>
                        <a:pt x="351" y="433"/>
                      </a:lnTo>
                      <a:lnTo>
                        <a:pt x="353" y="433"/>
                      </a:lnTo>
                      <a:lnTo>
                        <a:pt x="353" y="432"/>
                      </a:lnTo>
                      <a:lnTo>
                        <a:pt x="351" y="432"/>
                      </a:lnTo>
                      <a:lnTo>
                        <a:pt x="350" y="432"/>
                      </a:lnTo>
                      <a:lnTo>
                        <a:pt x="348" y="432"/>
                      </a:lnTo>
                      <a:lnTo>
                        <a:pt x="348" y="430"/>
                      </a:lnTo>
                      <a:lnTo>
                        <a:pt x="346" y="430"/>
                      </a:lnTo>
                      <a:lnTo>
                        <a:pt x="346" y="429"/>
                      </a:lnTo>
                      <a:lnTo>
                        <a:pt x="346" y="430"/>
                      </a:lnTo>
                      <a:lnTo>
                        <a:pt x="345" y="430"/>
                      </a:lnTo>
                      <a:lnTo>
                        <a:pt x="345" y="429"/>
                      </a:lnTo>
                      <a:lnTo>
                        <a:pt x="343" y="429"/>
                      </a:lnTo>
                      <a:lnTo>
                        <a:pt x="343" y="430"/>
                      </a:lnTo>
                      <a:lnTo>
                        <a:pt x="343" y="432"/>
                      </a:lnTo>
                      <a:lnTo>
                        <a:pt x="341" y="432"/>
                      </a:lnTo>
                      <a:lnTo>
                        <a:pt x="340" y="432"/>
                      </a:lnTo>
                      <a:lnTo>
                        <a:pt x="340" y="433"/>
                      </a:lnTo>
                      <a:lnTo>
                        <a:pt x="338" y="432"/>
                      </a:lnTo>
                      <a:lnTo>
                        <a:pt x="338" y="433"/>
                      </a:lnTo>
                      <a:lnTo>
                        <a:pt x="340" y="435"/>
                      </a:lnTo>
                      <a:lnTo>
                        <a:pt x="338" y="435"/>
                      </a:lnTo>
                      <a:lnTo>
                        <a:pt x="336" y="435"/>
                      </a:lnTo>
                      <a:lnTo>
                        <a:pt x="335" y="435"/>
                      </a:lnTo>
                      <a:lnTo>
                        <a:pt x="333" y="435"/>
                      </a:lnTo>
                      <a:lnTo>
                        <a:pt x="331" y="433"/>
                      </a:lnTo>
                      <a:lnTo>
                        <a:pt x="330" y="433"/>
                      </a:lnTo>
                      <a:lnTo>
                        <a:pt x="330" y="432"/>
                      </a:lnTo>
                      <a:lnTo>
                        <a:pt x="328" y="432"/>
                      </a:lnTo>
                      <a:lnTo>
                        <a:pt x="326" y="432"/>
                      </a:lnTo>
                      <a:lnTo>
                        <a:pt x="324" y="432"/>
                      </a:lnTo>
                      <a:lnTo>
                        <a:pt x="323" y="430"/>
                      </a:lnTo>
                      <a:lnTo>
                        <a:pt x="323" y="429"/>
                      </a:lnTo>
                      <a:lnTo>
                        <a:pt x="321" y="427"/>
                      </a:lnTo>
                      <a:lnTo>
                        <a:pt x="319" y="427"/>
                      </a:lnTo>
                      <a:lnTo>
                        <a:pt x="321" y="427"/>
                      </a:lnTo>
                      <a:lnTo>
                        <a:pt x="319" y="425"/>
                      </a:lnTo>
                      <a:lnTo>
                        <a:pt x="321" y="424"/>
                      </a:lnTo>
                      <a:lnTo>
                        <a:pt x="319" y="424"/>
                      </a:lnTo>
                      <a:lnTo>
                        <a:pt x="318" y="424"/>
                      </a:lnTo>
                      <a:lnTo>
                        <a:pt x="316" y="424"/>
                      </a:lnTo>
                      <a:lnTo>
                        <a:pt x="314" y="424"/>
                      </a:lnTo>
                      <a:lnTo>
                        <a:pt x="313" y="424"/>
                      </a:lnTo>
                      <a:lnTo>
                        <a:pt x="313" y="422"/>
                      </a:lnTo>
                      <a:lnTo>
                        <a:pt x="311" y="422"/>
                      </a:lnTo>
                      <a:lnTo>
                        <a:pt x="311" y="420"/>
                      </a:lnTo>
                      <a:lnTo>
                        <a:pt x="309" y="419"/>
                      </a:lnTo>
                      <a:lnTo>
                        <a:pt x="308" y="419"/>
                      </a:lnTo>
                      <a:lnTo>
                        <a:pt x="308" y="417"/>
                      </a:lnTo>
                      <a:lnTo>
                        <a:pt x="306" y="417"/>
                      </a:lnTo>
                      <a:lnTo>
                        <a:pt x="302" y="417"/>
                      </a:lnTo>
                      <a:lnTo>
                        <a:pt x="302" y="415"/>
                      </a:lnTo>
                      <a:lnTo>
                        <a:pt x="301" y="415"/>
                      </a:lnTo>
                      <a:lnTo>
                        <a:pt x="299" y="414"/>
                      </a:lnTo>
                      <a:lnTo>
                        <a:pt x="297" y="414"/>
                      </a:lnTo>
                      <a:lnTo>
                        <a:pt x="296" y="412"/>
                      </a:lnTo>
                      <a:lnTo>
                        <a:pt x="292" y="412"/>
                      </a:lnTo>
                      <a:lnTo>
                        <a:pt x="291" y="412"/>
                      </a:lnTo>
                      <a:lnTo>
                        <a:pt x="289" y="412"/>
                      </a:lnTo>
                      <a:lnTo>
                        <a:pt x="287" y="412"/>
                      </a:lnTo>
                      <a:lnTo>
                        <a:pt x="287" y="410"/>
                      </a:lnTo>
                      <a:lnTo>
                        <a:pt x="286" y="412"/>
                      </a:lnTo>
                      <a:lnTo>
                        <a:pt x="284" y="412"/>
                      </a:lnTo>
                      <a:lnTo>
                        <a:pt x="284" y="414"/>
                      </a:lnTo>
                      <a:lnTo>
                        <a:pt x="282" y="414"/>
                      </a:lnTo>
                      <a:lnTo>
                        <a:pt x="281" y="414"/>
                      </a:lnTo>
                      <a:lnTo>
                        <a:pt x="279" y="412"/>
                      </a:lnTo>
                      <a:lnTo>
                        <a:pt x="277" y="412"/>
                      </a:lnTo>
                      <a:lnTo>
                        <a:pt x="277" y="414"/>
                      </a:lnTo>
                      <a:lnTo>
                        <a:pt x="277" y="415"/>
                      </a:lnTo>
                      <a:lnTo>
                        <a:pt x="275" y="415"/>
                      </a:lnTo>
                      <a:lnTo>
                        <a:pt x="275" y="417"/>
                      </a:lnTo>
                      <a:lnTo>
                        <a:pt x="277" y="417"/>
                      </a:lnTo>
                      <a:lnTo>
                        <a:pt x="275" y="419"/>
                      </a:lnTo>
                      <a:lnTo>
                        <a:pt x="274" y="419"/>
                      </a:lnTo>
                      <a:lnTo>
                        <a:pt x="272" y="420"/>
                      </a:lnTo>
                      <a:lnTo>
                        <a:pt x="270" y="420"/>
                      </a:lnTo>
                      <a:lnTo>
                        <a:pt x="269" y="420"/>
                      </a:lnTo>
                      <a:lnTo>
                        <a:pt x="269" y="419"/>
                      </a:lnTo>
                      <a:lnTo>
                        <a:pt x="267" y="419"/>
                      </a:lnTo>
                      <a:lnTo>
                        <a:pt x="265" y="419"/>
                      </a:lnTo>
                      <a:lnTo>
                        <a:pt x="264" y="419"/>
                      </a:lnTo>
                      <a:lnTo>
                        <a:pt x="262" y="419"/>
                      </a:lnTo>
                      <a:lnTo>
                        <a:pt x="262" y="417"/>
                      </a:lnTo>
                      <a:lnTo>
                        <a:pt x="260" y="417"/>
                      </a:lnTo>
                      <a:lnTo>
                        <a:pt x="259" y="417"/>
                      </a:lnTo>
                      <a:lnTo>
                        <a:pt x="259" y="415"/>
                      </a:lnTo>
                      <a:lnTo>
                        <a:pt x="257" y="415"/>
                      </a:lnTo>
                      <a:lnTo>
                        <a:pt x="257" y="417"/>
                      </a:lnTo>
                      <a:lnTo>
                        <a:pt x="255" y="419"/>
                      </a:lnTo>
                      <a:lnTo>
                        <a:pt x="255" y="417"/>
                      </a:lnTo>
                      <a:lnTo>
                        <a:pt x="255" y="415"/>
                      </a:lnTo>
                      <a:lnTo>
                        <a:pt x="254" y="415"/>
                      </a:lnTo>
                      <a:lnTo>
                        <a:pt x="254" y="417"/>
                      </a:lnTo>
                      <a:lnTo>
                        <a:pt x="252" y="419"/>
                      </a:lnTo>
                      <a:lnTo>
                        <a:pt x="250" y="419"/>
                      </a:lnTo>
                      <a:lnTo>
                        <a:pt x="250" y="417"/>
                      </a:lnTo>
                      <a:lnTo>
                        <a:pt x="250" y="415"/>
                      </a:lnTo>
                      <a:lnTo>
                        <a:pt x="250" y="414"/>
                      </a:lnTo>
                      <a:lnTo>
                        <a:pt x="248" y="414"/>
                      </a:lnTo>
                      <a:lnTo>
                        <a:pt x="248" y="415"/>
                      </a:lnTo>
                      <a:lnTo>
                        <a:pt x="247" y="414"/>
                      </a:lnTo>
                      <a:lnTo>
                        <a:pt x="245" y="414"/>
                      </a:lnTo>
                      <a:lnTo>
                        <a:pt x="243" y="414"/>
                      </a:lnTo>
                      <a:lnTo>
                        <a:pt x="243" y="415"/>
                      </a:lnTo>
                      <a:lnTo>
                        <a:pt x="242" y="415"/>
                      </a:lnTo>
                      <a:lnTo>
                        <a:pt x="242" y="417"/>
                      </a:lnTo>
                      <a:lnTo>
                        <a:pt x="240" y="417"/>
                      </a:lnTo>
                      <a:lnTo>
                        <a:pt x="240" y="419"/>
                      </a:lnTo>
                      <a:lnTo>
                        <a:pt x="240" y="417"/>
                      </a:lnTo>
                      <a:lnTo>
                        <a:pt x="238" y="417"/>
                      </a:lnTo>
                      <a:lnTo>
                        <a:pt x="238" y="415"/>
                      </a:lnTo>
                      <a:lnTo>
                        <a:pt x="238" y="414"/>
                      </a:lnTo>
                      <a:lnTo>
                        <a:pt x="237" y="414"/>
                      </a:lnTo>
                      <a:lnTo>
                        <a:pt x="233" y="414"/>
                      </a:lnTo>
                      <a:lnTo>
                        <a:pt x="232" y="414"/>
                      </a:lnTo>
                      <a:lnTo>
                        <a:pt x="230" y="414"/>
                      </a:lnTo>
                      <a:lnTo>
                        <a:pt x="230" y="412"/>
                      </a:lnTo>
                      <a:lnTo>
                        <a:pt x="228" y="412"/>
                      </a:lnTo>
                      <a:lnTo>
                        <a:pt x="226" y="412"/>
                      </a:lnTo>
                      <a:lnTo>
                        <a:pt x="226" y="410"/>
                      </a:lnTo>
                      <a:lnTo>
                        <a:pt x="225" y="410"/>
                      </a:lnTo>
                      <a:lnTo>
                        <a:pt x="225" y="409"/>
                      </a:lnTo>
                      <a:lnTo>
                        <a:pt x="223" y="409"/>
                      </a:lnTo>
                      <a:lnTo>
                        <a:pt x="223" y="407"/>
                      </a:lnTo>
                      <a:lnTo>
                        <a:pt x="221" y="407"/>
                      </a:lnTo>
                      <a:lnTo>
                        <a:pt x="221" y="406"/>
                      </a:lnTo>
                      <a:lnTo>
                        <a:pt x="220" y="406"/>
                      </a:lnTo>
                      <a:lnTo>
                        <a:pt x="218" y="404"/>
                      </a:lnTo>
                      <a:lnTo>
                        <a:pt x="218" y="402"/>
                      </a:lnTo>
                      <a:lnTo>
                        <a:pt x="220" y="402"/>
                      </a:lnTo>
                      <a:lnTo>
                        <a:pt x="220" y="401"/>
                      </a:lnTo>
                      <a:lnTo>
                        <a:pt x="220" y="399"/>
                      </a:lnTo>
                      <a:lnTo>
                        <a:pt x="220" y="396"/>
                      </a:lnTo>
                      <a:lnTo>
                        <a:pt x="220" y="394"/>
                      </a:lnTo>
                      <a:lnTo>
                        <a:pt x="220" y="392"/>
                      </a:lnTo>
                      <a:lnTo>
                        <a:pt x="218" y="392"/>
                      </a:lnTo>
                      <a:lnTo>
                        <a:pt x="216" y="392"/>
                      </a:lnTo>
                      <a:lnTo>
                        <a:pt x="215" y="394"/>
                      </a:lnTo>
                      <a:lnTo>
                        <a:pt x="213" y="392"/>
                      </a:lnTo>
                      <a:lnTo>
                        <a:pt x="211" y="391"/>
                      </a:lnTo>
                      <a:lnTo>
                        <a:pt x="210" y="391"/>
                      </a:lnTo>
                      <a:lnTo>
                        <a:pt x="208" y="391"/>
                      </a:lnTo>
                      <a:lnTo>
                        <a:pt x="206" y="391"/>
                      </a:lnTo>
                      <a:lnTo>
                        <a:pt x="205" y="389"/>
                      </a:lnTo>
                      <a:lnTo>
                        <a:pt x="203" y="389"/>
                      </a:lnTo>
                      <a:lnTo>
                        <a:pt x="201" y="389"/>
                      </a:lnTo>
                      <a:lnTo>
                        <a:pt x="199" y="387"/>
                      </a:lnTo>
                      <a:lnTo>
                        <a:pt x="199" y="386"/>
                      </a:lnTo>
                      <a:lnTo>
                        <a:pt x="199" y="384"/>
                      </a:lnTo>
                      <a:lnTo>
                        <a:pt x="199" y="383"/>
                      </a:lnTo>
                      <a:lnTo>
                        <a:pt x="201" y="381"/>
                      </a:lnTo>
                      <a:lnTo>
                        <a:pt x="199" y="379"/>
                      </a:lnTo>
                      <a:lnTo>
                        <a:pt x="198" y="379"/>
                      </a:lnTo>
                      <a:lnTo>
                        <a:pt x="198" y="381"/>
                      </a:lnTo>
                      <a:lnTo>
                        <a:pt x="196" y="381"/>
                      </a:lnTo>
                      <a:lnTo>
                        <a:pt x="198" y="383"/>
                      </a:lnTo>
                      <a:lnTo>
                        <a:pt x="196" y="384"/>
                      </a:lnTo>
                      <a:lnTo>
                        <a:pt x="196" y="386"/>
                      </a:lnTo>
                      <a:lnTo>
                        <a:pt x="194" y="386"/>
                      </a:lnTo>
                      <a:lnTo>
                        <a:pt x="194" y="384"/>
                      </a:lnTo>
                      <a:lnTo>
                        <a:pt x="194" y="383"/>
                      </a:lnTo>
                      <a:lnTo>
                        <a:pt x="194" y="381"/>
                      </a:lnTo>
                      <a:lnTo>
                        <a:pt x="193" y="379"/>
                      </a:lnTo>
                      <a:lnTo>
                        <a:pt x="191" y="379"/>
                      </a:lnTo>
                      <a:lnTo>
                        <a:pt x="189" y="381"/>
                      </a:lnTo>
                      <a:lnTo>
                        <a:pt x="189" y="383"/>
                      </a:lnTo>
                      <a:lnTo>
                        <a:pt x="188" y="383"/>
                      </a:lnTo>
                      <a:lnTo>
                        <a:pt x="188" y="381"/>
                      </a:lnTo>
                      <a:lnTo>
                        <a:pt x="186" y="381"/>
                      </a:lnTo>
                      <a:lnTo>
                        <a:pt x="188" y="381"/>
                      </a:lnTo>
                      <a:lnTo>
                        <a:pt x="188" y="379"/>
                      </a:lnTo>
                      <a:lnTo>
                        <a:pt x="189" y="379"/>
                      </a:lnTo>
                      <a:lnTo>
                        <a:pt x="189" y="378"/>
                      </a:lnTo>
                      <a:lnTo>
                        <a:pt x="189" y="376"/>
                      </a:lnTo>
                      <a:lnTo>
                        <a:pt x="189" y="374"/>
                      </a:lnTo>
                      <a:lnTo>
                        <a:pt x="188" y="373"/>
                      </a:lnTo>
                      <a:lnTo>
                        <a:pt x="186" y="373"/>
                      </a:lnTo>
                      <a:lnTo>
                        <a:pt x="184" y="373"/>
                      </a:lnTo>
                      <a:lnTo>
                        <a:pt x="183" y="373"/>
                      </a:lnTo>
                      <a:lnTo>
                        <a:pt x="181" y="373"/>
                      </a:lnTo>
                      <a:lnTo>
                        <a:pt x="181" y="374"/>
                      </a:lnTo>
                      <a:lnTo>
                        <a:pt x="179" y="374"/>
                      </a:lnTo>
                      <a:lnTo>
                        <a:pt x="179" y="373"/>
                      </a:lnTo>
                      <a:lnTo>
                        <a:pt x="178" y="373"/>
                      </a:lnTo>
                      <a:lnTo>
                        <a:pt x="178" y="371"/>
                      </a:lnTo>
                      <a:lnTo>
                        <a:pt x="176" y="371"/>
                      </a:lnTo>
                      <a:lnTo>
                        <a:pt x="174" y="373"/>
                      </a:lnTo>
                      <a:lnTo>
                        <a:pt x="172" y="373"/>
                      </a:lnTo>
                      <a:lnTo>
                        <a:pt x="172" y="371"/>
                      </a:lnTo>
                      <a:lnTo>
                        <a:pt x="171" y="371"/>
                      </a:lnTo>
                      <a:lnTo>
                        <a:pt x="169" y="371"/>
                      </a:lnTo>
                      <a:lnTo>
                        <a:pt x="169" y="369"/>
                      </a:lnTo>
                      <a:lnTo>
                        <a:pt x="169" y="368"/>
                      </a:lnTo>
                      <a:lnTo>
                        <a:pt x="167" y="369"/>
                      </a:lnTo>
                      <a:lnTo>
                        <a:pt x="167" y="368"/>
                      </a:lnTo>
                      <a:lnTo>
                        <a:pt x="169" y="366"/>
                      </a:lnTo>
                      <a:lnTo>
                        <a:pt x="171" y="364"/>
                      </a:lnTo>
                      <a:lnTo>
                        <a:pt x="171" y="363"/>
                      </a:lnTo>
                      <a:lnTo>
                        <a:pt x="171" y="361"/>
                      </a:lnTo>
                      <a:lnTo>
                        <a:pt x="169" y="361"/>
                      </a:lnTo>
                      <a:lnTo>
                        <a:pt x="167" y="361"/>
                      </a:lnTo>
                      <a:lnTo>
                        <a:pt x="166" y="361"/>
                      </a:lnTo>
                      <a:lnTo>
                        <a:pt x="166" y="360"/>
                      </a:lnTo>
                      <a:lnTo>
                        <a:pt x="166" y="358"/>
                      </a:lnTo>
                      <a:lnTo>
                        <a:pt x="166" y="355"/>
                      </a:lnTo>
                      <a:lnTo>
                        <a:pt x="166" y="353"/>
                      </a:lnTo>
                      <a:lnTo>
                        <a:pt x="166" y="351"/>
                      </a:lnTo>
                      <a:lnTo>
                        <a:pt x="166" y="350"/>
                      </a:lnTo>
                      <a:lnTo>
                        <a:pt x="164" y="346"/>
                      </a:lnTo>
                      <a:lnTo>
                        <a:pt x="164" y="345"/>
                      </a:lnTo>
                      <a:lnTo>
                        <a:pt x="162" y="345"/>
                      </a:lnTo>
                      <a:lnTo>
                        <a:pt x="161" y="345"/>
                      </a:lnTo>
                      <a:lnTo>
                        <a:pt x="159" y="346"/>
                      </a:lnTo>
                      <a:lnTo>
                        <a:pt x="156" y="346"/>
                      </a:lnTo>
                      <a:lnTo>
                        <a:pt x="154" y="346"/>
                      </a:lnTo>
                      <a:lnTo>
                        <a:pt x="156" y="348"/>
                      </a:lnTo>
                      <a:lnTo>
                        <a:pt x="156" y="350"/>
                      </a:lnTo>
                      <a:lnTo>
                        <a:pt x="154" y="350"/>
                      </a:lnTo>
                      <a:lnTo>
                        <a:pt x="152" y="348"/>
                      </a:lnTo>
                      <a:lnTo>
                        <a:pt x="149" y="346"/>
                      </a:lnTo>
                      <a:lnTo>
                        <a:pt x="147" y="345"/>
                      </a:lnTo>
                      <a:lnTo>
                        <a:pt x="147" y="343"/>
                      </a:lnTo>
                      <a:lnTo>
                        <a:pt x="149" y="343"/>
                      </a:lnTo>
                      <a:lnTo>
                        <a:pt x="150" y="341"/>
                      </a:lnTo>
                      <a:lnTo>
                        <a:pt x="150" y="340"/>
                      </a:lnTo>
                      <a:lnTo>
                        <a:pt x="150" y="338"/>
                      </a:lnTo>
                      <a:lnTo>
                        <a:pt x="150" y="337"/>
                      </a:lnTo>
                      <a:lnTo>
                        <a:pt x="150" y="335"/>
                      </a:lnTo>
                      <a:lnTo>
                        <a:pt x="150" y="333"/>
                      </a:lnTo>
                      <a:lnTo>
                        <a:pt x="149" y="332"/>
                      </a:lnTo>
                      <a:lnTo>
                        <a:pt x="150" y="332"/>
                      </a:lnTo>
                      <a:lnTo>
                        <a:pt x="150" y="330"/>
                      </a:lnTo>
                      <a:lnTo>
                        <a:pt x="152" y="330"/>
                      </a:lnTo>
                      <a:lnTo>
                        <a:pt x="152" y="328"/>
                      </a:lnTo>
                      <a:lnTo>
                        <a:pt x="150" y="327"/>
                      </a:lnTo>
                      <a:lnTo>
                        <a:pt x="147" y="327"/>
                      </a:lnTo>
                      <a:lnTo>
                        <a:pt x="145" y="327"/>
                      </a:lnTo>
                      <a:lnTo>
                        <a:pt x="144" y="325"/>
                      </a:lnTo>
                      <a:lnTo>
                        <a:pt x="142" y="325"/>
                      </a:lnTo>
                      <a:lnTo>
                        <a:pt x="142" y="323"/>
                      </a:lnTo>
                      <a:lnTo>
                        <a:pt x="142" y="320"/>
                      </a:lnTo>
                      <a:lnTo>
                        <a:pt x="140" y="317"/>
                      </a:lnTo>
                      <a:lnTo>
                        <a:pt x="140" y="315"/>
                      </a:lnTo>
                      <a:lnTo>
                        <a:pt x="140" y="314"/>
                      </a:lnTo>
                      <a:lnTo>
                        <a:pt x="140" y="312"/>
                      </a:lnTo>
                      <a:lnTo>
                        <a:pt x="140" y="310"/>
                      </a:lnTo>
                      <a:lnTo>
                        <a:pt x="144" y="310"/>
                      </a:lnTo>
                      <a:lnTo>
                        <a:pt x="144" y="309"/>
                      </a:lnTo>
                      <a:lnTo>
                        <a:pt x="140" y="309"/>
                      </a:lnTo>
                      <a:lnTo>
                        <a:pt x="139" y="307"/>
                      </a:lnTo>
                      <a:lnTo>
                        <a:pt x="137" y="302"/>
                      </a:lnTo>
                      <a:lnTo>
                        <a:pt x="137" y="300"/>
                      </a:lnTo>
                      <a:lnTo>
                        <a:pt x="139" y="299"/>
                      </a:lnTo>
                      <a:lnTo>
                        <a:pt x="140" y="299"/>
                      </a:lnTo>
                      <a:lnTo>
                        <a:pt x="142" y="299"/>
                      </a:lnTo>
                      <a:lnTo>
                        <a:pt x="142" y="297"/>
                      </a:lnTo>
                      <a:lnTo>
                        <a:pt x="140" y="297"/>
                      </a:lnTo>
                      <a:lnTo>
                        <a:pt x="139" y="297"/>
                      </a:lnTo>
                      <a:lnTo>
                        <a:pt x="139" y="295"/>
                      </a:lnTo>
                      <a:lnTo>
                        <a:pt x="137" y="292"/>
                      </a:lnTo>
                      <a:lnTo>
                        <a:pt x="139" y="291"/>
                      </a:lnTo>
                      <a:lnTo>
                        <a:pt x="140" y="289"/>
                      </a:lnTo>
                      <a:lnTo>
                        <a:pt x="142" y="289"/>
                      </a:lnTo>
                      <a:lnTo>
                        <a:pt x="144" y="287"/>
                      </a:lnTo>
                      <a:lnTo>
                        <a:pt x="145" y="287"/>
                      </a:lnTo>
                      <a:lnTo>
                        <a:pt x="145" y="286"/>
                      </a:lnTo>
                      <a:lnTo>
                        <a:pt x="145" y="284"/>
                      </a:lnTo>
                      <a:lnTo>
                        <a:pt x="144" y="282"/>
                      </a:lnTo>
                      <a:lnTo>
                        <a:pt x="145" y="279"/>
                      </a:lnTo>
                      <a:lnTo>
                        <a:pt x="147" y="279"/>
                      </a:lnTo>
                      <a:lnTo>
                        <a:pt x="149" y="279"/>
                      </a:lnTo>
                      <a:lnTo>
                        <a:pt x="149" y="277"/>
                      </a:lnTo>
                      <a:lnTo>
                        <a:pt x="147" y="277"/>
                      </a:lnTo>
                      <a:lnTo>
                        <a:pt x="147" y="276"/>
                      </a:lnTo>
                      <a:lnTo>
                        <a:pt x="145" y="274"/>
                      </a:lnTo>
                      <a:lnTo>
                        <a:pt x="145" y="272"/>
                      </a:lnTo>
                      <a:lnTo>
                        <a:pt x="147" y="272"/>
                      </a:lnTo>
                      <a:lnTo>
                        <a:pt x="147" y="271"/>
                      </a:lnTo>
                      <a:lnTo>
                        <a:pt x="147" y="269"/>
                      </a:lnTo>
                      <a:lnTo>
                        <a:pt x="145" y="268"/>
                      </a:lnTo>
                      <a:lnTo>
                        <a:pt x="144" y="266"/>
                      </a:lnTo>
                      <a:lnTo>
                        <a:pt x="144" y="264"/>
                      </a:lnTo>
                      <a:lnTo>
                        <a:pt x="142" y="263"/>
                      </a:lnTo>
                      <a:lnTo>
                        <a:pt x="140" y="263"/>
                      </a:lnTo>
                      <a:lnTo>
                        <a:pt x="140" y="261"/>
                      </a:lnTo>
                      <a:lnTo>
                        <a:pt x="139" y="261"/>
                      </a:lnTo>
                      <a:lnTo>
                        <a:pt x="137" y="261"/>
                      </a:lnTo>
                      <a:lnTo>
                        <a:pt x="137" y="259"/>
                      </a:lnTo>
                      <a:lnTo>
                        <a:pt x="139" y="259"/>
                      </a:lnTo>
                      <a:lnTo>
                        <a:pt x="139" y="258"/>
                      </a:lnTo>
                      <a:lnTo>
                        <a:pt x="139" y="256"/>
                      </a:lnTo>
                      <a:lnTo>
                        <a:pt x="139" y="253"/>
                      </a:lnTo>
                      <a:lnTo>
                        <a:pt x="139" y="251"/>
                      </a:lnTo>
                      <a:lnTo>
                        <a:pt x="139" y="249"/>
                      </a:lnTo>
                      <a:lnTo>
                        <a:pt x="139" y="248"/>
                      </a:lnTo>
                      <a:lnTo>
                        <a:pt x="137" y="246"/>
                      </a:lnTo>
                      <a:lnTo>
                        <a:pt x="135" y="246"/>
                      </a:lnTo>
                      <a:lnTo>
                        <a:pt x="134" y="246"/>
                      </a:lnTo>
                      <a:lnTo>
                        <a:pt x="134" y="245"/>
                      </a:lnTo>
                      <a:lnTo>
                        <a:pt x="132" y="245"/>
                      </a:lnTo>
                      <a:lnTo>
                        <a:pt x="134" y="243"/>
                      </a:lnTo>
                      <a:lnTo>
                        <a:pt x="134" y="241"/>
                      </a:lnTo>
                      <a:lnTo>
                        <a:pt x="134" y="240"/>
                      </a:lnTo>
                      <a:lnTo>
                        <a:pt x="134" y="238"/>
                      </a:lnTo>
                      <a:lnTo>
                        <a:pt x="132" y="236"/>
                      </a:lnTo>
                      <a:lnTo>
                        <a:pt x="134" y="235"/>
                      </a:lnTo>
                      <a:lnTo>
                        <a:pt x="132" y="233"/>
                      </a:lnTo>
                      <a:lnTo>
                        <a:pt x="132" y="231"/>
                      </a:lnTo>
                      <a:lnTo>
                        <a:pt x="132" y="230"/>
                      </a:lnTo>
                      <a:lnTo>
                        <a:pt x="134" y="230"/>
                      </a:lnTo>
                      <a:lnTo>
                        <a:pt x="135" y="228"/>
                      </a:lnTo>
                      <a:lnTo>
                        <a:pt x="135" y="227"/>
                      </a:lnTo>
                      <a:lnTo>
                        <a:pt x="135" y="225"/>
                      </a:lnTo>
                      <a:lnTo>
                        <a:pt x="135" y="223"/>
                      </a:lnTo>
                      <a:lnTo>
                        <a:pt x="135" y="222"/>
                      </a:lnTo>
                      <a:lnTo>
                        <a:pt x="137" y="220"/>
                      </a:lnTo>
                      <a:lnTo>
                        <a:pt x="137" y="218"/>
                      </a:lnTo>
                      <a:lnTo>
                        <a:pt x="139" y="217"/>
                      </a:lnTo>
                      <a:lnTo>
                        <a:pt x="140" y="217"/>
                      </a:lnTo>
                      <a:lnTo>
                        <a:pt x="140" y="215"/>
                      </a:lnTo>
                      <a:lnTo>
                        <a:pt x="142" y="215"/>
                      </a:lnTo>
                      <a:lnTo>
                        <a:pt x="142" y="213"/>
                      </a:lnTo>
                      <a:lnTo>
                        <a:pt x="142" y="210"/>
                      </a:lnTo>
                      <a:lnTo>
                        <a:pt x="144" y="208"/>
                      </a:lnTo>
                      <a:lnTo>
                        <a:pt x="144" y="207"/>
                      </a:lnTo>
                      <a:lnTo>
                        <a:pt x="144" y="204"/>
                      </a:lnTo>
                      <a:lnTo>
                        <a:pt x="142" y="202"/>
                      </a:lnTo>
                      <a:lnTo>
                        <a:pt x="144" y="200"/>
                      </a:lnTo>
                      <a:lnTo>
                        <a:pt x="144" y="199"/>
                      </a:lnTo>
                      <a:lnTo>
                        <a:pt x="144" y="197"/>
                      </a:lnTo>
                      <a:lnTo>
                        <a:pt x="144" y="195"/>
                      </a:lnTo>
                      <a:lnTo>
                        <a:pt x="142" y="195"/>
                      </a:lnTo>
                      <a:lnTo>
                        <a:pt x="140" y="194"/>
                      </a:lnTo>
                      <a:lnTo>
                        <a:pt x="140" y="192"/>
                      </a:lnTo>
                      <a:lnTo>
                        <a:pt x="140" y="190"/>
                      </a:lnTo>
                      <a:lnTo>
                        <a:pt x="142" y="187"/>
                      </a:lnTo>
                      <a:lnTo>
                        <a:pt x="142" y="185"/>
                      </a:lnTo>
                      <a:lnTo>
                        <a:pt x="140" y="184"/>
                      </a:lnTo>
                      <a:lnTo>
                        <a:pt x="140" y="182"/>
                      </a:lnTo>
                      <a:lnTo>
                        <a:pt x="140" y="181"/>
                      </a:lnTo>
                      <a:lnTo>
                        <a:pt x="142" y="179"/>
                      </a:lnTo>
                      <a:lnTo>
                        <a:pt x="142" y="177"/>
                      </a:lnTo>
                      <a:lnTo>
                        <a:pt x="144" y="176"/>
                      </a:lnTo>
                      <a:lnTo>
                        <a:pt x="145" y="174"/>
                      </a:lnTo>
                      <a:lnTo>
                        <a:pt x="145" y="172"/>
                      </a:lnTo>
                      <a:lnTo>
                        <a:pt x="144" y="172"/>
                      </a:lnTo>
                      <a:lnTo>
                        <a:pt x="142" y="171"/>
                      </a:lnTo>
                      <a:lnTo>
                        <a:pt x="142" y="169"/>
                      </a:lnTo>
                      <a:lnTo>
                        <a:pt x="140" y="167"/>
                      </a:lnTo>
                      <a:lnTo>
                        <a:pt x="139" y="164"/>
                      </a:lnTo>
                      <a:lnTo>
                        <a:pt x="139" y="162"/>
                      </a:lnTo>
                      <a:lnTo>
                        <a:pt x="139" y="161"/>
                      </a:lnTo>
                      <a:lnTo>
                        <a:pt x="137" y="161"/>
                      </a:lnTo>
                      <a:lnTo>
                        <a:pt x="137" y="159"/>
                      </a:lnTo>
                      <a:lnTo>
                        <a:pt x="134" y="158"/>
                      </a:lnTo>
                      <a:lnTo>
                        <a:pt x="132" y="158"/>
                      </a:lnTo>
                      <a:lnTo>
                        <a:pt x="130" y="158"/>
                      </a:lnTo>
                      <a:lnTo>
                        <a:pt x="130" y="156"/>
                      </a:lnTo>
                      <a:lnTo>
                        <a:pt x="130" y="158"/>
                      </a:lnTo>
                      <a:lnTo>
                        <a:pt x="130" y="159"/>
                      </a:lnTo>
                      <a:lnTo>
                        <a:pt x="129" y="159"/>
                      </a:lnTo>
                      <a:lnTo>
                        <a:pt x="127" y="161"/>
                      </a:lnTo>
                      <a:lnTo>
                        <a:pt x="125" y="161"/>
                      </a:lnTo>
                      <a:lnTo>
                        <a:pt x="127" y="162"/>
                      </a:lnTo>
                      <a:lnTo>
                        <a:pt x="125" y="162"/>
                      </a:lnTo>
                      <a:lnTo>
                        <a:pt x="125" y="164"/>
                      </a:lnTo>
                      <a:lnTo>
                        <a:pt x="123" y="164"/>
                      </a:lnTo>
                      <a:lnTo>
                        <a:pt x="123" y="166"/>
                      </a:lnTo>
                      <a:lnTo>
                        <a:pt x="125" y="166"/>
                      </a:lnTo>
                      <a:lnTo>
                        <a:pt x="125" y="167"/>
                      </a:lnTo>
                      <a:lnTo>
                        <a:pt x="123" y="167"/>
                      </a:lnTo>
                      <a:lnTo>
                        <a:pt x="122" y="167"/>
                      </a:lnTo>
                      <a:lnTo>
                        <a:pt x="122" y="169"/>
                      </a:lnTo>
                      <a:lnTo>
                        <a:pt x="120" y="169"/>
                      </a:lnTo>
                      <a:lnTo>
                        <a:pt x="118" y="169"/>
                      </a:lnTo>
                      <a:lnTo>
                        <a:pt x="118" y="171"/>
                      </a:lnTo>
                      <a:lnTo>
                        <a:pt x="120" y="172"/>
                      </a:lnTo>
                      <a:lnTo>
                        <a:pt x="118" y="172"/>
                      </a:lnTo>
                      <a:lnTo>
                        <a:pt x="115" y="172"/>
                      </a:lnTo>
                      <a:lnTo>
                        <a:pt x="115" y="171"/>
                      </a:lnTo>
                      <a:lnTo>
                        <a:pt x="113" y="172"/>
                      </a:lnTo>
                      <a:lnTo>
                        <a:pt x="112" y="172"/>
                      </a:lnTo>
                      <a:lnTo>
                        <a:pt x="112" y="171"/>
                      </a:lnTo>
                      <a:lnTo>
                        <a:pt x="112" y="169"/>
                      </a:lnTo>
                      <a:lnTo>
                        <a:pt x="110" y="171"/>
                      </a:lnTo>
                      <a:lnTo>
                        <a:pt x="110" y="169"/>
                      </a:lnTo>
                      <a:lnTo>
                        <a:pt x="112" y="169"/>
                      </a:lnTo>
                      <a:lnTo>
                        <a:pt x="110" y="167"/>
                      </a:lnTo>
                      <a:lnTo>
                        <a:pt x="108" y="167"/>
                      </a:lnTo>
                      <a:lnTo>
                        <a:pt x="107" y="167"/>
                      </a:lnTo>
                      <a:lnTo>
                        <a:pt x="107" y="169"/>
                      </a:lnTo>
                      <a:lnTo>
                        <a:pt x="105" y="169"/>
                      </a:lnTo>
                      <a:lnTo>
                        <a:pt x="105" y="167"/>
                      </a:lnTo>
                      <a:lnTo>
                        <a:pt x="105" y="166"/>
                      </a:lnTo>
                      <a:lnTo>
                        <a:pt x="107" y="166"/>
                      </a:lnTo>
                      <a:lnTo>
                        <a:pt x="108" y="166"/>
                      </a:lnTo>
                      <a:lnTo>
                        <a:pt x="107" y="166"/>
                      </a:lnTo>
                      <a:lnTo>
                        <a:pt x="107" y="164"/>
                      </a:lnTo>
                      <a:lnTo>
                        <a:pt x="105" y="164"/>
                      </a:lnTo>
                      <a:lnTo>
                        <a:pt x="103" y="164"/>
                      </a:lnTo>
                      <a:lnTo>
                        <a:pt x="102" y="166"/>
                      </a:lnTo>
                      <a:lnTo>
                        <a:pt x="102" y="167"/>
                      </a:lnTo>
                      <a:lnTo>
                        <a:pt x="102" y="166"/>
                      </a:lnTo>
                      <a:lnTo>
                        <a:pt x="100" y="166"/>
                      </a:lnTo>
                      <a:lnTo>
                        <a:pt x="98" y="164"/>
                      </a:lnTo>
                      <a:lnTo>
                        <a:pt x="100" y="162"/>
                      </a:lnTo>
                      <a:lnTo>
                        <a:pt x="98" y="162"/>
                      </a:lnTo>
                      <a:lnTo>
                        <a:pt x="98" y="164"/>
                      </a:lnTo>
                      <a:lnTo>
                        <a:pt x="98" y="166"/>
                      </a:lnTo>
                      <a:lnTo>
                        <a:pt x="98" y="167"/>
                      </a:lnTo>
                      <a:lnTo>
                        <a:pt x="96" y="167"/>
                      </a:lnTo>
                      <a:lnTo>
                        <a:pt x="95" y="167"/>
                      </a:lnTo>
                      <a:lnTo>
                        <a:pt x="95" y="166"/>
                      </a:lnTo>
                      <a:lnTo>
                        <a:pt x="96" y="166"/>
                      </a:lnTo>
                      <a:lnTo>
                        <a:pt x="96" y="164"/>
                      </a:lnTo>
                      <a:lnTo>
                        <a:pt x="95" y="166"/>
                      </a:lnTo>
                      <a:lnTo>
                        <a:pt x="95" y="164"/>
                      </a:lnTo>
                      <a:lnTo>
                        <a:pt x="95" y="166"/>
                      </a:lnTo>
                      <a:lnTo>
                        <a:pt x="93" y="166"/>
                      </a:lnTo>
                      <a:lnTo>
                        <a:pt x="91" y="167"/>
                      </a:lnTo>
                      <a:lnTo>
                        <a:pt x="90" y="167"/>
                      </a:lnTo>
                      <a:lnTo>
                        <a:pt x="90" y="166"/>
                      </a:lnTo>
                      <a:lnTo>
                        <a:pt x="90" y="164"/>
                      </a:lnTo>
                      <a:lnTo>
                        <a:pt x="88" y="164"/>
                      </a:lnTo>
                      <a:lnTo>
                        <a:pt x="86" y="164"/>
                      </a:lnTo>
                      <a:lnTo>
                        <a:pt x="86" y="166"/>
                      </a:lnTo>
                      <a:lnTo>
                        <a:pt x="85" y="166"/>
                      </a:lnTo>
                      <a:lnTo>
                        <a:pt x="85" y="164"/>
                      </a:lnTo>
                      <a:lnTo>
                        <a:pt x="85" y="166"/>
                      </a:lnTo>
                      <a:lnTo>
                        <a:pt x="83" y="166"/>
                      </a:lnTo>
                      <a:lnTo>
                        <a:pt x="81" y="166"/>
                      </a:lnTo>
                      <a:lnTo>
                        <a:pt x="80" y="166"/>
                      </a:lnTo>
                      <a:lnTo>
                        <a:pt x="80" y="167"/>
                      </a:lnTo>
                      <a:lnTo>
                        <a:pt x="80" y="169"/>
                      </a:lnTo>
                      <a:lnTo>
                        <a:pt x="81" y="169"/>
                      </a:lnTo>
                      <a:lnTo>
                        <a:pt x="80" y="169"/>
                      </a:lnTo>
                      <a:lnTo>
                        <a:pt x="78" y="169"/>
                      </a:lnTo>
                      <a:lnTo>
                        <a:pt x="80" y="169"/>
                      </a:lnTo>
                      <a:lnTo>
                        <a:pt x="78" y="169"/>
                      </a:lnTo>
                      <a:lnTo>
                        <a:pt x="78" y="167"/>
                      </a:lnTo>
                      <a:lnTo>
                        <a:pt x="76" y="167"/>
                      </a:lnTo>
                      <a:lnTo>
                        <a:pt x="76" y="169"/>
                      </a:lnTo>
                      <a:lnTo>
                        <a:pt x="74" y="169"/>
                      </a:lnTo>
                      <a:lnTo>
                        <a:pt x="74" y="167"/>
                      </a:lnTo>
                      <a:lnTo>
                        <a:pt x="73" y="167"/>
                      </a:lnTo>
                      <a:lnTo>
                        <a:pt x="71" y="167"/>
                      </a:lnTo>
                      <a:lnTo>
                        <a:pt x="69" y="167"/>
                      </a:lnTo>
                      <a:lnTo>
                        <a:pt x="69" y="169"/>
                      </a:lnTo>
                      <a:lnTo>
                        <a:pt x="68" y="169"/>
                      </a:lnTo>
                      <a:lnTo>
                        <a:pt x="68" y="171"/>
                      </a:lnTo>
                      <a:lnTo>
                        <a:pt x="68" y="169"/>
                      </a:lnTo>
                      <a:lnTo>
                        <a:pt x="68" y="167"/>
                      </a:lnTo>
                      <a:lnTo>
                        <a:pt x="66" y="167"/>
                      </a:lnTo>
                      <a:lnTo>
                        <a:pt x="64" y="167"/>
                      </a:lnTo>
                      <a:lnTo>
                        <a:pt x="63" y="167"/>
                      </a:lnTo>
                      <a:lnTo>
                        <a:pt x="61" y="167"/>
                      </a:lnTo>
                      <a:lnTo>
                        <a:pt x="61" y="169"/>
                      </a:lnTo>
                      <a:lnTo>
                        <a:pt x="59" y="169"/>
                      </a:lnTo>
                      <a:lnTo>
                        <a:pt x="58" y="171"/>
                      </a:lnTo>
                      <a:lnTo>
                        <a:pt x="59" y="171"/>
                      </a:lnTo>
                      <a:lnTo>
                        <a:pt x="58" y="171"/>
                      </a:lnTo>
                      <a:lnTo>
                        <a:pt x="59" y="171"/>
                      </a:lnTo>
                      <a:lnTo>
                        <a:pt x="58" y="172"/>
                      </a:lnTo>
                      <a:lnTo>
                        <a:pt x="56" y="172"/>
                      </a:lnTo>
                      <a:lnTo>
                        <a:pt x="56" y="171"/>
                      </a:lnTo>
                      <a:lnTo>
                        <a:pt x="54" y="171"/>
                      </a:lnTo>
                      <a:lnTo>
                        <a:pt x="53" y="171"/>
                      </a:lnTo>
                      <a:lnTo>
                        <a:pt x="53" y="172"/>
                      </a:lnTo>
                      <a:lnTo>
                        <a:pt x="53" y="171"/>
                      </a:lnTo>
                      <a:lnTo>
                        <a:pt x="51" y="172"/>
                      </a:lnTo>
                      <a:lnTo>
                        <a:pt x="51" y="171"/>
                      </a:lnTo>
                      <a:lnTo>
                        <a:pt x="51" y="172"/>
                      </a:lnTo>
                      <a:lnTo>
                        <a:pt x="49" y="172"/>
                      </a:lnTo>
                      <a:lnTo>
                        <a:pt x="47" y="172"/>
                      </a:lnTo>
                      <a:lnTo>
                        <a:pt x="46" y="172"/>
                      </a:lnTo>
                      <a:lnTo>
                        <a:pt x="44" y="172"/>
                      </a:lnTo>
                      <a:lnTo>
                        <a:pt x="44" y="174"/>
                      </a:lnTo>
                      <a:lnTo>
                        <a:pt x="42" y="174"/>
                      </a:lnTo>
                      <a:lnTo>
                        <a:pt x="41" y="176"/>
                      </a:lnTo>
                      <a:lnTo>
                        <a:pt x="39" y="174"/>
                      </a:lnTo>
                      <a:lnTo>
                        <a:pt x="39" y="176"/>
                      </a:lnTo>
                      <a:lnTo>
                        <a:pt x="37" y="176"/>
                      </a:lnTo>
                      <a:lnTo>
                        <a:pt x="37" y="177"/>
                      </a:lnTo>
                      <a:lnTo>
                        <a:pt x="36" y="177"/>
                      </a:lnTo>
                      <a:lnTo>
                        <a:pt x="37" y="176"/>
                      </a:lnTo>
                      <a:lnTo>
                        <a:pt x="36" y="174"/>
                      </a:lnTo>
                      <a:lnTo>
                        <a:pt x="36" y="176"/>
                      </a:lnTo>
                      <a:lnTo>
                        <a:pt x="34" y="176"/>
                      </a:lnTo>
                      <a:lnTo>
                        <a:pt x="32" y="176"/>
                      </a:lnTo>
                      <a:lnTo>
                        <a:pt x="31" y="176"/>
                      </a:lnTo>
                      <a:lnTo>
                        <a:pt x="29" y="176"/>
                      </a:lnTo>
                      <a:lnTo>
                        <a:pt x="27" y="177"/>
                      </a:lnTo>
                      <a:lnTo>
                        <a:pt x="26" y="176"/>
                      </a:lnTo>
                      <a:lnTo>
                        <a:pt x="26" y="177"/>
                      </a:lnTo>
                      <a:lnTo>
                        <a:pt x="24" y="176"/>
                      </a:lnTo>
                      <a:lnTo>
                        <a:pt x="24" y="177"/>
                      </a:lnTo>
                      <a:lnTo>
                        <a:pt x="22" y="177"/>
                      </a:lnTo>
                      <a:lnTo>
                        <a:pt x="22" y="179"/>
                      </a:lnTo>
                      <a:lnTo>
                        <a:pt x="22" y="177"/>
                      </a:lnTo>
                      <a:lnTo>
                        <a:pt x="20" y="177"/>
                      </a:lnTo>
                      <a:lnTo>
                        <a:pt x="19" y="177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6" name="Freeform 16"/>
                <p:cNvSpPr>
                  <a:spLocks noChangeAspect="1"/>
                </p:cNvSpPr>
                <p:nvPr/>
              </p:nvSpPr>
              <p:spPr bwMode="auto">
                <a:xfrm>
                  <a:off x="1297798" y="926905"/>
                  <a:ext cx="2622991" cy="1863275"/>
                </a:xfrm>
                <a:custGeom>
                  <a:avLst/>
                  <a:gdLst>
                    <a:gd name="T0" fmla="*/ 2147483647 w 1679"/>
                    <a:gd name="T1" fmla="*/ 2147483647 h 1114"/>
                    <a:gd name="T2" fmla="*/ 2147483647 w 1679"/>
                    <a:gd name="T3" fmla="*/ 2147483647 h 1114"/>
                    <a:gd name="T4" fmla="*/ 2147483647 w 1679"/>
                    <a:gd name="T5" fmla="*/ 2147483647 h 1114"/>
                    <a:gd name="T6" fmla="*/ 2147483647 w 1679"/>
                    <a:gd name="T7" fmla="*/ 2147483647 h 1114"/>
                    <a:gd name="T8" fmla="*/ 2147483647 w 1679"/>
                    <a:gd name="T9" fmla="*/ 2147483647 h 1114"/>
                    <a:gd name="T10" fmla="*/ 2147483647 w 1679"/>
                    <a:gd name="T11" fmla="*/ 2147483647 h 1114"/>
                    <a:gd name="T12" fmla="*/ 2147483647 w 1679"/>
                    <a:gd name="T13" fmla="*/ 2147483647 h 1114"/>
                    <a:gd name="T14" fmla="*/ 2147483647 w 1679"/>
                    <a:gd name="T15" fmla="*/ 2147483647 h 1114"/>
                    <a:gd name="T16" fmla="*/ 2147483647 w 1679"/>
                    <a:gd name="T17" fmla="*/ 2147483647 h 1114"/>
                    <a:gd name="T18" fmla="*/ 2147483647 w 1679"/>
                    <a:gd name="T19" fmla="*/ 2147483647 h 1114"/>
                    <a:gd name="T20" fmla="*/ 2147483647 w 1679"/>
                    <a:gd name="T21" fmla="*/ 2147483647 h 1114"/>
                    <a:gd name="T22" fmla="*/ 2147483647 w 1679"/>
                    <a:gd name="T23" fmla="*/ 2147483647 h 1114"/>
                    <a:gd name="T24" fmla="*/ 2147483647 w 1679"/>
                    <a:gd name="T25" fmla="*/ 2147483647 h 1114"/>
                    <a:gd name="T26" fmla="*/ 2147483647 w 1679"/>
                    <a:gd name="T27" fmla="*/ 2147483647 h 1114"/>
                    <a:gd name="T28" fmla="*/ 2147483647 w 1679"/>
                    <a:gd name="T29" fmla="*/ 2147483647 h 1114"/>
                    <a:gd name="T30" fmla="*/ 2147483647 w 1679"/>
                    <a:gd name="T31" fmla="*/ 2147483647 h 1114"/>
                    <a:gd name="T32" fmla="*/ 2147483647 w 1679"/>
                    <a:gd name="T33" fmla="*/ 2147483647 h 1114"/>
                    <a:gd name="T34" fmla="*/ 2147483647 w 1679"/>
                    <a:gd name="T35" fmla="*/ 2147483647 h 1114"/>
                    <a:gd name="T36" fmla="*/ 2147483647 w 1679"/>
                    <a:gd name="T37" fmla="*/ 2147483647 h 1114"/>
                    <a:gd name="T38" fmla="*/ 2147483647 w 1679"/>
                    <a:gd name="T39" fmla="*/ 2147483647 h 1114"/>
                    <a:gd name="T40" fmla="*/ 2147483647 w 1679"/>
                    <a:gd name="T41" fmla="*/ 2147483647 h 1114"/>
                    <a:gd name="T42" fmla="*/ 2147483647 w 1679"/>
                    <a:gd name="T43" fmla="*/ 2147483647 h 1114"/>
                    <a:gd name="T44" fmla="*/ 2147483647 w 1679"/>
                    <a:gd name="T45" fmla="*/ 2147483647 h 1114"/>
                    <a:gd name="T46" fmla="*/ 2147483647 w 1679"/>
                    <a:gd name="T47" fmla="*/ 2147483647 h 1114"/>
                    <a:gd name="T48" fmla="*/ 2147483647 w 1679"/>
                    <a:gd name="T49" fmla="*/ 2147483647 h 1114"/>
                    <a:gd name="T50" fmla="*/ 2147483647 w 1679"/>
                    <a:gd name="T51" fmla="*/ 2147483647 h 1114"/>
                    <a:gd name="T52" fmla="*/ 2147483647 w 1679"/>
                    <a:gd name="T53" fmla="*/ 2147483647 h 1114"/>
                    <a:gd name="T54" fmla="*/ 2147483647 w 1679"/>
                    <a:gd name="T55" fmla="*/ 2147483647 h 1114"/>
                    <a:gd name="T56" fmla="*/ 2147483647 w 1679"/>
                    <a:gd name="T57" fmla="*/ 2147483647 h 1114"/>
                    <a:gd name="T58" fmla="*/ 2147483647 w 1679"/>
                    <a:gd name="T59" fmla="*/ 2147483647 h 1114"/>
                    <a:gd name="T60" fmla="*/ 2147483647 w 1679"/>
                    <a:gd name="T61" fmla="*/ 2147483647 h 1114"/>
                    <a:gd name="T62" fmla="*/ 2147483647 w 1679"/>
                    <a:gd name="T63" fmla="*/ 2147483647 h 1114"/>
                    <a:gd name="T64" fmla="*/ 2147483647 w 1679"/>
                    <a:gd name="T65" fmla="*/ 2147483647 h 1114"/>
                    <a:gd name="T66" fmla="*/ 2147483647 w 1679"/>
                    <a:gd name="T67" fmla="*/ 2147483647 h 1114"/>
                    <a:gd name="T68" fmla="*/ 2147483647 w 1679"/>
                    <a:gd name="T69" fmla="*/ 2147483647 h 1114"/>
                    <a:gd name="T70" fmla="*/ 2147483647 w 1679"/>
                    <a:gd name="T71" fmla="*/ 2147483647 h 1114"/>
                    <a:gd name="T72" fmla="*/ 2147483647 w 1679"/>
                    <a:gd name="T73" fmla="*/ 2147483647 h 1114"/>
                    <a:gd name="T74" fmla="*/ 2147483647 w 1679"/>
                    <a:gd name="T75" fmla="*/ 2147483647 h 1114"/>
                    <a:gd name="T76" fmla="*/ 2147483647 w 1679"/>
                    <a:gd name="T77" fmla="*/ 2147483647 h 1114"/>
                    <a:gd name="T78" fmla="*/ 2147483647 w 1679"/>
                    <a:gd name="T79" fmla="*/ 2147483647 h 1114"/>
                    <a:gd name="T80" fmla="*/ 2147483647 w 1679"/>
                    <a:gd name="T81" fmla="*/ 2147483647 h 1114"/>
                    <a:gd name="T82" fmla="*/ 2147483647 w 1679"/>
                    <a:gd name="T83" fmla="*/ 2147483647 h 1114"/>
                    <a:gd name="T84" fmla="*/ 2147483647 w 1679"/>
                    <a:gd name="T85" fmla="*/ 2147483647 h 1114"/>
                    <a:gd name="T86" fmla="*/ 2147483647 w 1679"/>
                    <a:gd name="T87" fmla="*/ 2147483647 h 1114"/>
                    <a:gd name="T88" fmla="*/ 2147483647 w 1679"/>
                    <a:gd name="T89" fmla="*/ 2147483647 h 1114"/>
                    <a:gd name="T90" fmla="*/ 2147483647 w 1679"/>
                    <a:gd name="T91" fmla="*/ 2147483647 h 1114"/>
                    <a:gd name="T92" fmla="*/ 2147483647 w 1679"/>
                    <a:gd name="T93" fmla="*/ 2147483647 h 1114"/>
                    <a:gd name="T94" fmla="*/ 2147483647 w 1679"/>
                    <a:gd name="T95" fmla="*/ 2147483647 h 1114"/>
                    <a:gd name="T96" fmla="*/ 2147483647 w 1679"/>
                    <a:gd name="T97" fmla="*/ 2147483647 h 1114"/>
                    <a:gd name="T98" fmla="*/ 2147483647 w 1679"/>
                    <a:gd name="T99" fmla="*/ 2147483647 h 1114"/>
                    <a:gd name="T100" fmla="*/ 2147483647 w 1679"/>
                    <a:gd name="T101" fmla="*/ 2147483647 h 1114"/>
                    <a:gd name="T102" fmla="*/ 2147483647 w 1679"/>
                    <a:gd name="T103" fmla="*/ 2147483647 h 1114"/>
                    <a:gd name="T104" fmla="*/ 2147483647 w 1679"/>
                    <a:gd name="T105" fmla="*/ 2147483647 h 1114"/>
                    <a:gd name="T106" fmla="*/ 2147483647 w 1679"/>
                    <a:gd name="T107" fmla="*/ 2147483647 h 1114"/>
                    <a:gd name="T108" fmla="*/ 2147483647 w 1679"/>
                    <a:gd name="T109" fmla="*/ 2147483647 h 1114"/>
                    <a:gd name="T110" fmla="*/ 2147483647 w 1679"/>
                    <a:gd name="T111" fmla="*/ 2147483647 h 1114"/>
                    <a:gd name="T112" fmla="*/ 2147483647 w 1679"/>
                    <a:gd name="T113" fmla="*/ 2147483647 h 1114"/>
                    <a:gd name="T114" fmla="*/ 2147483647 w 1679"/>
                    <a:gd name="T115" fmla="*/ 2147483647 h 1114"/>
                    <a:gd name="T116" fmla="*/ 2147483647 w 1679"/>
                    <a:gd name="T117" fmla="*/ 2147483647 h 1114"/>
                    <a:gd name="T118" fmla="*/ 2147483647 w 1679"/>
                    <a:gd name="T119" fmla="*/ 2147483647 h 1114"/>
                    <a:gd name="T120" fmla="*/ 2147483647 w 1679"/>
                    <a:gd name="T121" fmla="*/ 2147483647 h 1114"/>
                    <a:gd name="T122" fmla="*/ 2147483647 w 1679"/>
                    <a:gd name="T123" fmla="*/ 2147483647 h 1114"/>
                    <a:gd name="T124" fmla="*/ 2147483647 w 1679"/>
                    <a:gd name="T125" fmla="*/ 2147483647 h 111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679"/>
                    <a:gd name="T190" fmla="*/ 0 h 1114"/>
                    <a:gd name="T191" fmla="*/ 1679 w 1679"/>
                    <a:gd name="T192" fmla="*/ 1114 h 111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679" h="1114">
                      <a:moveTo>
                        <a:pt x="90" y="902"/>
                      </a:moveTo>
                      <a:lnTo>
                        <a:pt x="7" y="867"/>
                      </a:lnTo>
                      <a:lnTo>
                        <a:pt x="0" y="864"/>
                      </a:lnTo>
                      <a:lnTo>
                        <a:pt x="2" y="862"/>
                      </a:lnTo>
                      <a:lnTo>
                        <a:pt x="4" y="862"/>
                      </a:lnTo>
                      <a:lnTo>
                        <a:pt x="4" y="861"/>
                      </a:lnTo>
                      <a:lnTo>
                        <a:pt x="7" y="857"/>
                      </a:lnTo>
                      <a:lnTo>
                        <a:pt x="9" y="856"/>
                      </a:lnTo>
                      <a:lnTo>
                        <a:pt x="9" y="854"/>
                      </a:lnTo>
                      <a:lnTo>
                        <a:pt x="7" y="853"/>
                      </a:lnTo>
                      <a:lnTo>
                        <a:pt x="7" y="851"/>
                      </a:lnTo>
                      <a:lnTo>
                        <a:pt x="5" y="848"/>
                      </a:lnTo>
                      <a:lnTo>
                        <a:pt x="7" y="846"/>
                      </a:lnTo>
                      <a:lnTo>
                        <a:pt x="7" y="844"/>
                      </a:lnTo>
                      <a:lnTo>
                        <a:pt x="9" y="843"/>
                      </a:lnTo>
                      <a:lnTo>
                        <a:pt x="9" y="841"/>
                      </a:lnTo>
                      <a:lnTo>
                        <a:pt x="11" y="841"/>
                      </a:lnTo>
                      <a:lnTo>
                        <a:pt x="11" y="839"/>
                      </a:lnTo>
                      <a:lnTo>
                        <a:pt x="12" y="838"/>
                      </a:lnTo>
                      <a:lnTo>
                        <a:pt x="12" y="836"/>
                      </a:lnTo>
                      <a:lnTo>
                        <a:pt x="14" y="836"/>
                      </a:lnTo>
                      <a:lnTo>
                        <a:pt x="14" y="834"/>
                      </a:lnTo>
                      <a:lnTo>
                        <a:pt x="16" y="833"/>
                      </a:lnTo>
                      <a:lnTo>
                        <a:pt x="16" y="831"/>
                      </a:lnTo>
                      <a:lnTo>
                        <a:pt x="17" y="831"/>
                      </a:lnTo>
                      <a:lnTo>
                        <a:pt x="19" y="830"/>
                      </a:lnTo>
                      <a:lnTo>
                        <a:pt x="21" y="830"/>
                      </a:lnTo>
                      <a:lnTo>
                        <a:pt x="21" y="828"/>
                      </a:lnTo>
                      <a:lnTo>
                        <a:pt x="22" y="828"/>
                      </a:lnTo>
                      <a:lnTo>
                        <a:pt x="24" y="828"/>
                      </a:lnTo>
                      <a:lnTo>
                        <a:pt x="26" y="826"/>
                      </a:lnTo>
                      <a:lnTo>
                        <a:pt x="26" y="825"/>
                      </a:lnTo>
                      <a:lnTo>
                        <a:pt x="27" y="825"/>
                      </a:lnTo>
                      <a:lnTo>
                        <a:pt x="29" y="823"/>
                      </a:lnTo>
                      <a:lnTo>
                        <a:pt x="31" y="823"/>
                      </a:lnTo>
                      <a:lnTo>
                        <a:pt x="33" y="823"/>
                      </a:lnTo>
                      <a:lnTo>
                        <a:pt x="34" y="823"/>
                      </a:lnTo>
                      <a:lnTo>
                        <a:pt x="36" y="821"/>
                      </a:lnTo>
                      <a:lnTo>
                        <a:pt x="38" y="821"/>
                      </a:lnTo>
                      <a:lnTo>
                        <a:pt x="38" y="820"/>
                      </a:lnTo>
                      <a:lnTo>
                        <a:pt x="39" y="820"/>
                      </a:lnTo>
                      <a:lnTo>
                        <a:pt x="41" y="820"/>
                      </a:lnTo>
                      <a:lnTo>
                        <a:pt x="41" y="818"/>
                      </a:lnTo>
                      <a:lnTo>
                        <a:pt x="43" y="818"/>
                      </a:lnTo>
                      <a:lnTo>
                        <a:pt x="43" y="816"/>
                      </a:lnTo>
                      <a:lnTo>
                        <a:pt x="44" y="816"/>
                      </a:lnTo>
                      <a:lnTo>
                        <a:pt x="46" y="816"/>
                      </a:lnTo>
                      <a:lnTo>
                        <a:pt x="48" y="816"/>
                      </a:lnTo>
                      <a:lnTo>
                        <a:pt x="49" y="816"/>
                      </a:lnTo>
                      <a:lnTo>
                        <a:pt x="49" y="815"/>
                      </a:lnTo>
                      <a:lnTo>
                        <a:pt x="51" y="815"/>
                      </a:lnTo>
                      <a:lnTo>
                        <a:pt x="53" y="815"/>
                      </a:lnTo>
                      <a:lnTo>
                        <a:pt x="54" y="815"/>
                      </a:lnTo>
                      <a:lnTo>
                        <a:pt x="56" y="813"/>
                      </a:lnTo>
                      <a:lnTo>
                        <a:pt x="56" y="815"/>
                      </a:lnTo>
                      <a:lnTo>
                        <a:pt x="58" y="815"/>
                      </a:lnTo>
                      <a:lnTo>
                        <a:pt x="58" y="813"/>
                      </a:lnTo>
                      <a:lnTo>
                        <a:pt x="58" y="811"/>
                      </a:lnTo>
                      <a:lnTo>
                        <a:pt x="60" y="811"/>
                      </a:lnTo>
                      <a:lnTo>
                        <a:pt x="60" y="810"/>
                      </a:lnTo>
                      <a:lnTo>
                        <a:pt x="61" y="808"/>
                      </a:lnTo>
                      <a:lnTo>
                        <a:pt x="61" y="810"/>
                      </a:lnTo>
                      <a:lnTo>
                        <a:pt x="63" y="810"/>
                      </a:lnTo>
                      <a:lnTo>
                        <a:pt x="63" y="808"/>
                      </a:lnTo>
                      <a:lnTo>
                        <a:pt x="65" y="808"/>
                      </a:lnTo>
                      <a:lnTo>
                        <a:pt x="65" y="807"/>
                      </a:lnTo>
                      <a:lnTo>
                        <a:pt x="65" y="805"/>
                      </a:lnTo>
                      <a:lnTo>
                        <a:pt x="66" y="803"/>
                      </a:lnTo>
                      <a:lnTo>
                        <a:pt x="66" y="802"/>
                      </a:lnTo>
                      <a:lnTo>
                        <a:pt x="66" y="800"/>
                      </a:lnTo>
                      <a:lnTo>
                        <a:pt x="66" y="798"/>
                      </a:lnTo>
                      <a:lnTo>
                        <a:pt x="65" y="797"/>
                      </a:lnTo>
                      <a:lnTo>
                        <a:pt x="65" y="795"/>
                      </a:lnTo>
                      <a:lnTo>
                        <a:pt x="63" y="793"/>
                      </a:lnTo>
                      <a:lnTo>
                        <a:pt x="63" y="792"/>
                      </a:lnTo>
                      <a:lnTo>
                        <a:pt x="63" y="790"/>
                      </a:lnTo>
                      <a:lnTo>
                        <a:pt x="63" y="792"/>
                      </a:lnTo>
                      <a:lnTo>
                        <a:pt x="61" y="790"/>
                      </a:lnTo>
                      <a:lnTo>
                        <a:pt x="61" y="788"/>
                      </a:lnTo>
                      <a:lnTo>
                        <a:pt x="61" y="787"/>
                      </a:lnTo>
                      <a:lnTo>
                        <a:pt x="61" y="785"/>
                      </a:lnTo>
                      <a:lnTo>
                        <a:pt x="60" y="785"/>
                      </a:lnTo>
                      <a:lnTo>
                        <a:pt x="58" y="784"/>
                      </a:lnTo>
                      <a:lnTo>
                        <a:pt x="58" y="782"/>
                      </a:lnTo>
                      <a:lnTo>
                        <a:pt x="56" y="782"/>
                      </a:lnTo>
                      <a:lnTo>
                        <a:pt x="56" y="780"/>
                      </a:lnTo>
                      <a:lnTo>
                        <a:pt x="56" y="779"/>
                      </a:lnTo>
                      <a:lnTo>
                        <a:pt x="56" y="777"/>
                      </a:lnTo>
                      <a:lnTo>
                        <a:pt x="54" y="777"/>
                      </a:lnTo>
                      <a:lnTo>
                        <a:pt x="54" y="775"/>
                      </a:lnTo>
                      <a:lnTo>
                        <a:pt x="53" y="775"/>
                      </a:lnTo>
                      <a:lnTo>
                        <a:pt x="54" y="774"/>
                      </a:lnTo>
                      <a:lnTo>
                        <a:pt x="53" y="774"/>
                      </a:lnTo>
                      <a:lnTo>
                        <a:pt x="53" y="772"/>
                      </a:lnTo>
                      <a:lnTo>
                        <a:pt x="53" y="770"/>
                      </a:lnTo>
                      <a:lnTo>
                        <a:pt x="54" y="770"/>
                      </a:lnTo>
                      <a:lnTo>
                        <a:pt x="54" y="769"/>
                      </a:lnTo>
                      <a:lnTo>
                        <a:pt x="54" y="765"/>
                      </a:lnTo>
                      <a:lnTo>
                        <a:pt x="54" y="764"/>
                      </a:lnTo>
                      <a:lnTo>
                        <a:pt x="56" y="764"/>
                      </a:lnTo>
                      <a:lnTo>
                        <a:pt x="56" y="762"/>
                      </a:lnTo>
                      <a:lnTo>
                        <a:pt x="58" y="762"/>
                      </a:lnTo>
                      <a:lnTo>
                        <a:pt x="60" y="761"/>
                      </a:lnTo>
                      <a:lnTo>
                        <a:pt x="60" y="759"/>
                      </a:lnTo>
                      <a:lnTo>
                        <a:pt x="60" y="757"/>
                      </a:lnTo>
                      <a:lnTo>
                        <a:pt x="60" y="756"/>
                      </a:lnTo>
                      <a:lnTo>
                        <a:pt x="60" y="754"/>
                      </a:lnTo>
                      <a:lnTo>
                        <a:pt x="61" y="754"/>
                      </a:lnTo>
                      <a:lnTo>
                        <a:pt x="61" y="752"/>
                      </a:lnTo>
                      <a:lnTo>
                        <a:pt x="61" y="751"/>
                      </a:lnTo>
                      <a:lnTo>
                        <a:pt x="63" y="751"/>
                      </a:lnTo>
                      <a:lnTo>
                        <a:pt x="61" y="749"/>
                      </a:lnTo>
                      <a:lnTo>
                        <a:pt x="63" y="749"/>
                      </a:lnTo>
                      <a:lnTo>
                        <a:pt x="65" y="747"/>
                      </a:lnTo>
                      <a:lnTo>
                        <a:pt x="66" y="747"/>
                      </a:lnTo>
                      <a:lnTo>
                        <a:pt x="66" y="746"/>
                      </a:lnTo>
                      <a:lnTo>
                        <a:pt x="68" y="744"/>
                      </a:lnTo>
                      <a:lnTo>
                        <a:pt x="70" y="744"/>
                      </a:lnTo>
                      <a:lnTo>
                        <a:pt x="71" y="743"/>
                      </a:lnTo>
                      <a:lnTo>
                        <a:pt x="71" y="741"/>
                      </a:lnTo>
                      <a:lnTo>
                        <a:pt x="73" y="739"/>
                      </a:lnTo>
                      <a:lnTo>
                        <a:pt x="73" y="738"/>
                      </a:lnTo>
                      <a:lnTo>
                        <a:pt x="75" y="738"/>
                      </a:lnTo>
                      <a:lnTo>
                        <a:pt x="75" y="736"/>
                      </a:lnTo>
                      <a:lnTo>
                        <a:pt x="76" y="736"/>
                      </a:lnTo>
                      <a:lnTo>
                        <a:pt x="78" y="734"/>
                      </a:lnTo>
                      <a:lnTo>
                        <a:pt x="76" y="734"/>
                      </a:lnTo>
                      <a:lnTo>
                        <a:pt x="78" y="734"/>
                      </a:lnTo>
                      <a:lnTo>
                        <a:pt x="78" y="733"/>
                      </a:lnTo>
                      <a:lnTo>
                        <a:pt x="78" y="731"/>
                      </a:lnTo>
                      <a:lnTo>
                        <a:pt x="78" y="729"/>
                      </a:lnTo>
                      <a:lnTo>
                        <a:pt x="80" y="729"/>
                      </a:lnTo>
                      <a:lnTo>
                        <a:pt x="81" y="729"/>
                      </a:lnTo>
                      <a:lnTo>
                        <a:pt x="80" y="728"/>
                      </a:lnTo>
                      <a:lnTo>
                        <a:pt x="80" y="726"/>
                      </a:lnTo>
                      <a:lnTo>
                        <a:pt x="80" y="724"/>
                      </a:lnTo>
                      <a:lnTo>
                        <a:pt x="81" y="723"/>
                      </a:lnTo>
                      <a:lnTo>
                        <a:pt x="81" y="721"/>
                      </a:lnTo>
                      <a:lnTo>
                        <a:pt x="81" y="720"/>
                      </a:lnTo>
                      <a:lnTo>
                        <a:pt x="81" y="718"/>
                      </a:lnTo>
                      <a:lnTo>
                        <a:pt x="81" y="716"/>
                      </a:lnTo>
                      <a:lnTo>
                        <a:pt x="81" y="715"/>
                      </a:lnTo>
                      <a:lnTo>
                        <a:pt x="81" y="713"/>
                      </a:lnTo>
                      <a:lnTo>
                        <a:pt x="81" y="711"/>
                      </a:lnTo>
                      <a:lnTo>
                        <a:pt x="81" y="710"/>
                      </a:lnTo>
                      <a:lnTo>
                        <a:pt x="83" y="710"/>
                      </a:lnTo>
                      <a:lnTo>
                        <a:pt x="83" y="708"/>
                      </a:lnTo>
                      <a:lnTo>
                        <a:pt x="83" y="706"/>
                      </a:lnTo>
                      <a:lnTo>
                        <a:pt x="85" y="706"/>
                      </a:lnTo>
                      <a:lnTo>
                        <a:pt x="85" y="705"/>
                      </a:lnTo>
                      <a:lnTo>
                        <a:pt x="85" y="703"/>
                      </a:lnTo>
                      <a:lnTo>
                        <a:pt x="87" y="703"/>
                      </a:lnTo>
                      <a:lnTo>
                        <a:pt x="87" y="701"/>
                      </a:lnTo>
                      <a:lnTo>
                        <a:pt x="87" y="700"/>
                      </a:lnTo>
                      <a:lnTo>
                        <a:pt x="88" y="700"/>
                      </a:lnTo>
                      <a:lnTo>
                        <a:pt x="88" y="698"/>
                      </a:lnTo>
                      <a:lnTo>
                        <a:pt x="90" y="697"/>
                      </a:lnTo>
                      <a:lnTo>
                        <a:pt x="88" y="697"/>
                      </a:lnTo>
                      <a:lnTo>
                        <a:pt x="90" y="695"/>
                      </a:lnTo>
                      <a:lnTo>
                        <a:pt x="90" y="693"/>
                      </a:lnTo>
                      <a:lnTo>
                        <a:pt x="90" y="692"/>
                      </a:lnTo>
                      <a:lnTo>
                        <a:pt x="90" y="690"/>
                      </a:lnTo>
                      <a:lnTo>
                        <a:pt x="90" y="688"/>
                      </a:lnTo>
                      <a:lnTo>
                        <a:pt x="90" y="687"/>
                      </a:lnTo>
                      <a:lnTo>
                        <a:pt x="88" y="687"/>
                      </a:lnTo>
                      <a:lnTo>
                        <a:pt x="88" y="685"/>
                      </a:lnTo>
                      <a:lnTo>
                        <a:pt x="88" y="683"/>
                      </a:lnTo>
                      <a:lnTo>
                        <a:pt x="90" y="683"/>
                      </a:lnTo>
                      <a:lnTo>
                        <a:pt x="92" y="682"/>
                      </a:lnTo>
                      <a:lnTo>
                        <a:pt x="92" y="683"/>
                      </a:lnTo>
                      <a:lnTo>
                        <a:pt x="93" y="683"/>
                      </a:lnTo>
                      <a:lnTo>
                        <a:pt x="93" y="682"/>
                      </a:lnTo>
                      <a:lnTo>
                        <a:pt x="95" y="682"/>
                      </a:lnTo>
                      <a:lnTo>
                        <a:pt x="95" y="678"/>
                      </a:lnTo>
                      <a:lnTo>
                        <a:pt x="97" y="680"/>
                      </a:lnTo>
                      <a:lnTo>
                        <a:pt x="98" y="680"/>
                      </a:lnTo>
                      <a:lnTo>
                        <a:pt x="98" y="678"/>
                      </a:lnTo>
                      <a:lnTo>
                        <a:pt x="100" y="678"/>
                      </a:lnTo>
                      <a:lnTo>
                        <a:pt x="100" y="677"/>
                      </a:lnTo>
                      <a:lnTo>
                        <a:pt x="102" y="677"/>
                      </a:lnTo>
                      <a:lnTo>
                        <a:pt x="103" y="677"/>
                      </a:lnTo>
                      <a:lnTo>
                        <a:pt x="102" y="675"/>
                      </a:lnTo>
                      <a:lnTo>
                        <a:pt x="103" y="675"/>
                      </a:lnTo>
                      <a:lnTo>
                        <a:pt x="105" y="675"/>
                      </a:lnTo>
                      <a:lnTo>
                        <a:pt x="105" y="674"/>
                      </a:lnTo>
                      <a:lnTo>
                        <a:pt x="105" y="675"/>
                      </a:lnTo>
                      <a:lnTo>
                        <a:pt x="107" y="675"/>
                      </a:lnTo>
                      <a:lnTo>
                        <a:pt x="109" y="674"/>
                      </a:lnTo>
                      <a:lnTo>
                        <a:pt x="110" y="675"/>
                      </a:lnTo>
                      <a:lnTo>
                        <a:pt x="110" y="674"/>
                      </a:lnTo>
                      <a:lnTo>
                        <a:pt x="112" y="674"/>
                      </a:lnTo>
                      <a:lnTo>
                        <a:pt x="112" y="675"/>
                      </a:lnTo>
                      <a:lnTo>
                        <a:pt x="112" y="674"/>
                      </a:lnTo>
                      <a:lnTo>
                        <a:pt x="114" y="672"/>
                      </a:lnTo>
                      <a:lnTo>
                        <a:pt x="114" y="670"/>
                      </a:lnTo>
                      <a:lnTo>
                        <a:pt x="115" y="670"/>
                      </a:lnTo>
                      <a:lnTo>
                        <a:pt x="115" y="669"/>
                      </a:lnTo>
                      <a:lnTo>
                        <a:pt x="117" y="667"/>
                      </a:lnTo>
                      <a:lnTo>
                        <a:pt x="119" y="667"/>
                      </a:lnTo>
                      <a:lnTo>
                        <a:pt x="120" y="665"/>
                      </a:lnTo>
                      <a:lnTo>
                        <a:pt x="122" y="665"/>
                      </a:lnTo>
                      <a:lnTo>
                        <a:pt x="122" y="664"/>
                      </a:lnTo>
                      <a:lnTo>
                        <a:pt x="124" y="664"/>
                      </a:lnTo>
                      <a:lnTo>
                        <a:pt x="125" y="665"/>
                      </a:lnTo>
                      <a:lnTo>
                        <a:pt x="125" y="664"/>
                      </a:lnTo>
                      <a:lnTo>
                        <a:pt x="127" y="665"/>
                      </a:lnTo>
                      <a:lnTo>
                        <a:pt x="127" y="664"/>
                      </a:lnTo>
                      <a:lnTo>
                        <a:pt x="127" y="662"/>
                      </a:lnTo>
                      <a:lnTo>
                        <a:pt x="129" y="662"/>
                      </a:lnTo>
                      <a:lnTo>
                        <a:pt x="129" y="660"/>
                      </a:lnTo>
                      <a:lnTo>
                        <a:pt x="127" y="660"/>
                      </a:lnTo>
                      <a:lnTo>
                        <a:pt x="129" y="659"/>
                      </a:lnTo>
                      <a:lnTo>
                        <a:pt x="129" y="660"/>
                      </a:lnTo>
                      <a:lnTo>
                        <a:pt x="130" y="660"/>
                      </a:lnTo>
                      <a:lnTo>
                        <a:pt x="132" y="660"/>
                      </a:lnTo>
                      <a:lnTo>
                        <a:pt x="132" y="659"/>
                      </a:lnTo>
                      <a:lnTo>
                        <a:pt x="132" y="657"/>
                      </a:lnTo>
                      <a:lnTo>
                        <a:pt x="132" y="659"/>
                      </a:lnTo>
                      <a:lnTo>
                        <a:pt x="134" y="659"/>
                      </a:lnTo>
                      <a:lnTo>
                        <a:pt x="134" y="657"/>
                      </a:lnTo>
                      <a:lnTo>
                        <a:pt x="136" y="657"/>
                      </a:lnTo>
                      <a:lnTo>
                        <a:pt x="136" y="655"/>
                      </a:lnTo>
                      <a:lnTo>
                        <a:pt x="136" y="654"/>
                      </a:lnTo>
                      <a:lnTo>
                        <a:pt x="137" y="654"/>
                      </a:lnTo>
                      <a:lnTo>
                        <a:pt x="137" y="651"/>
                      </a:lnTo>
                      <a:lnTo>
                        <a:pt x="139" y="651"/>
                      </a:lnTo>
                      <a:lnTo>
                        <a:pt x="141" y="651"/>
                      </a:lnTo>
                      <a:lnTo>
                        <a:pt x="141" y="649"/>
                      </a:lnTo>
                      <a:lnTo>
                        <a:pt x="142" y="649"/>
                      </a:lnTo>
                      <a:lnTo>
                        <a:pt x="144" y="649"/>
                      </a:lnTo>
                      <a:lnTo>
                        <a:pt x="146" y="649"/>
                      </a:lnTo>
                      <a:lnTo>
                        <a:pt x="146" y="651"/>
                      </a:lnTo>
                      <a:lnTo>
                        <a:pt x="147" y="649"/>
                      </a:lnTo>
                      <a:lnTo>
                        <a:pt x="147" y="647"/>
                      </a:lnTo>
                      <a:lnTo>
                        <a:pt x="149" y="649"/>
                      </a:lnTo>
                      <a:lnTo>
                        <a:pt x="151" y="649"/>
                      </a:lnTo>
                      <a:lnTo>
                        <a:pt x="151" y="647"/>
                      </a:lnTo>
                      <a:lnTo>
                        <a:pt x="152" y="647"/>
                      </a:lnTo>
                      <a:lnTo>
                        <a:pt x="152" y="646"/>
                      </a:lnTo>
                      <a:lnTo>
                        <a:pt x="152" y="647"/>
                      </a:lnTo>
                      <a:lnTo>
                        <a:pt x="154" y="647"/>
                      </a:lnTo>
                      <a:lnTo>
                        <a:pt x="154" y="646"/>
                      </a:lnTo>
                      <a:lnTo>
                        <a:pt x="156" y="644"/>
                      </a:lnTo>
                      <a:lnTo>
                        <a:pt x="157" y="644"/>
                      </a:lnTo>
                      <a:lnTo>
                        <a:pt x="159" y="642"/>
                      </a:lnTo>
                      <a:lnTo>
                        <a:pt x="161" y="644"/>
                      </a:lnTo>
                      <a:lnTo>
                        <a:pt x="163" y="642"/>
                      </a:lnTo>
                      <a:lnTo>
                        <a:pt x="163" y="641"/>
                      </a:lnTo>
                      <a:lnTo>
                        <a:pt x="164" y="641"/>
                      </a:lnTo>
                      <a:lnTo>
                        <a:pt x="164" y="639"/>
                      </a:lnTo>
                      <a:lnTo>
                        <a:pt x="166" y="637"/>
                      </a:lnTo>
                      <a:lnTo>
                        <a:pt x="168" y="637"/>
                      </a:lnTo>
                      <a:lnTo>
                        <a:pt x="168" y="636"/>
                      </a:lnTo>
                      <a:lnTo>
                        <a:pt x="169" y="636"/>
                      </a:lnTo>
                      <a:lnTo>
                        <a:pt x="168" y="634"/>
                      </a:lnTo>
                      <a:lnTo>
                        <a:pt x="171" y="636"/>
                      </a:lnTo>
                      <a:lnTo>
                        <a:pt x="173" y="634"/>
                      </a:lnTo>
                      <a:lnTo>
                        <a:pt x="174" y="634"/>
                      </a:lnTo>
                      <a:lnTo>
                        <a:pt x="174" y="632"/>
                      </a:lnTo>
                      <a:lnTo>
                        <a:pt x="176" y="632"/>
                      </a:lnTo>
                      <a:lnTo>
                        <a:pt x="178" y="632"/>
                      </a:lnTo>
                      <a:lnTo>
                        <a:pt x="176" y="632"/>
                      </a:lnTo>
                      <a:lnTo>
                        <a:pt x="178" y="631"/>
                      </a:lnTo>
                      <a:lnTo>
                        <a:pt x="178" y="629"/>
                      </a:lnTo>
                      <a:lnTo>
                        <a:pt x="179" y="629"/>
                      </a:lnTo>
                      <a:lnTo>
                        <a:pt x="178" y="629"/>
                      </a:lnTo>
                      <a:lnTo>
                        <a:pt x="179" y="629"/>
                      </a:lnTo>
                      <a:lnTo>
                        <a:pt x="179" y="628"/>
                      </a:lnTo>
                      <a:lnTo>
                        <a:pt x="179" y="626"/>
                      </a:lnTo>
                      <a:lnTo>
                        <a:pt x="181" y="626"/>
                      </a:lnTo>
                      <a:lnTo>
                        <a:pt x="181" y="628"/>
                      </a:lnTo>
                      <a:lnTo>
                        <a:pt x="181" y="626"/>
                      </a:lnTo>
                      <a:lnTo>
                        <a:pt x="183" y="626"/>
                      </a:lnTo>
                      <a:lnTo>
                        <a:pt x="183" y="624"/>
                      </a:lnTo>
                      <a:lnTo>
                        <a:pt x="185" y="624"/>
                      </a:lnTo>
                      <a:lnTo>
                        <a:pt x="185" y="626"/>
                      </a:lnTo>
                      <a:lnTo>
                        <a:pt x="185" y="624"/>
                      </a:lnTo>
                      <a:lnTo>
                        <a:pt x="186" y="624"/>
                      </a:lnTo>
                      <a:lnTo>
                        <a:pt x="188" y="623"/>
                      </a:lnTo>
                      <a:lnTo>
                        <a:pt x="190" y="623"/>
                      </a:lnTo>
                      <a:lnTo>
                        <a:pt x="191" y="623"/>
                      </a:lnTo>
                      <a:lnTo>
                        <a:pt x="193" y="621"/>
                      </a:lnTo>
                      <a:lnTo>
                        <a:pt x="193" y="623"/>
                      </a:lnTo>
                      <a:lnTo>
                        <a:pt x="195" y="623"/>
                      </a:lnTo>
                      <a:lnTo>
                        <a:pt x="196" y="623"/>
                      </a:lnTo>
                      <a:lnTo>
                        <a:pt x="196" y="621"/>
                      </a:lnTo>
                      <a:lnTo>
                        <a:pt x="195" y="621"/>
                      </a:lnTo>
                      <a:lnTo>
                        <a:pt x="196" y="621"/>
                      </a:lnTo>
                      <a:lnTo>
                        <a:pt x="196" y="623"/>
                      </a:lnTo>
                      <a:lnTo>
                        <a:pt x="198" y="623"/>
                      </a:lnTo>
                      <a:lnTo>
                        <a:pt x="198" y="624"/>
                      </a:lnTo>
                      <a:lnTo>
                        <a:pt x="200" y="624"/>
                      </a:lnTo>
                      <a:lnTo>
                        <a:pt x="201" y="624"/>
                      </a:lnTo>
                      <a:lnTo>
                        <a:pt x="201" y="623"/>
                      </a:lnTo>
                      <a:lnTo>
                        <a:pt x="203" y="623"/>
                      </a:lnTo>
                      <a:lnTo>
                        <a:pt x="203" y="624"/>
                      </a:lnTo>
                      <a:lnTo>
                        <a:pt x="205" y="623"/>
                      </a:lnTo>
                      <a:lnTo>
                        <a:pt x="205" y="624"/>
                      </a:lnTo>
                      <a:lnTo>
                        <a:pt x="206" y="623"/>
                      </a:lnTo>
                      <a:lnTo>
                        <a:pt x="208" y="623"/>
                      </a:lnTo>
                      <a:lnTo>
                        <a:pt x="206" y="621"/>
                      </a:lnTo>
                      <a:lnTo>
                        <a:pt x="208" y="621"/>
                      </a:lnTo>
                      <a:lnTo>
                        <a:pt x="208" y="624"/>
                      </a:lnTo>
                      <a:lnTo>
                        <a:pt x="206" y="624"/>
                      </a:lnTo>
                      <a:lnTo>
                        <a:pt x="208" y="626"/>
                      </a:lnTo>
                      <a:lnTo>
                        <a:pt x="210" y="626"/>
                      </a:lnTo>
                      <a:lnTo>
                        <a:pt x="212" y="624"/>
                      </a:lnTo>
                      <a:lnTo>
                        <a:pt x="213" y="624"/>
                      </a:lnTo>
                      <a:lnTo>
                        <a:pt x="213" y="623"/>
                      </a:lnTo>
                      <a:lnTo>
                        <a:pt x="215" y="621"/>
                      </a:lnTo>
                      <a:lnTo>
                        <a:pt x="217" y="619"/>
                      </a:lnTo>
                      <a:lnTo>
                        <a:pt x="218" y="619"/>
                      </a:lnTo>
                      <a:lnTo>
                        <a:pt x="218" y="621"/>
                      </a:lnTo>
                      <a:lnTo>
                        <a:pt x="220" y="621"/>
                      </a:lnTo>
                      <a:lnTo>
                        <a:pt x="218" y="619"/>
                      </a:lnTo>
                      <a:lnTo>
                        <a:pt x="218" y="618"/>
                      </a:lnTo>
                      <a:lnTo>
                        <a:pt x="220" y="618"/>
                      </a:lnTo>
                      <a:lnTo>
                        <a:pt x="220" y="619"/>
                      </a:lnTo>
                      <a:lnTo>
                        <a:pt x="222" y="619"/>
                      </a:lnTo>
                      <a:lnTo>
                        <a:pt x="222" y="618"/>
                      </a:lnTo>
                      <a:lnTo>
                        <a:pt x="223" y="618"/>
                      </a:lnTo>
                      <a:lnTo>
                        <a:pt x="225" y="618"/>
                      </a:lnTo>
                      <a:lnTo>
                        <a:pt x="225" y="619"/>
                      </a:lnTo>
                      <a:lnTo>
                        <a:pt x="227" y="619"/>
                      </a:lnTo>
                      <a:lnTo>
                        <a:pt x="228" y="618"/>
                      </a:lnTo>
                      <a:lnTo>
                        <a:pt x="230" y="616"/>
                      </a:lnTo>
                      <a:lnTo>
                        <a:pt x="232" y="616"/>
                      </a:lnTo>
                      <a:lnTo>
                        <a:pt x="232" y="618"/>
                      </a:lnTo>
                      <a:lnTo>
                        <a:pt x="233" y="616"/>
                      </a:lnTo>
                      <a:lnTo>
                        <a:pt x="233" y="618"/>
                      </a:lnTo>
                      <a:lnTo>
                        <a:pt x="235" y="618"/>
                      </a:lnTo>
                      <a:lnTo>
                        <a:pt x="237" y="618"/>
                      </a:lnTo>
                      <a:lnTo>
                        <a:pt x="237" y="619"/>
                      </a:lnTo>
                      <a:lnTo>
                        <a:pt x="239" y="618"/>
                      </a:lnTo>
                      <a:lnTo>
                        <a:pt x="237" y="616"/>
                      </a:lnTo>
                      <a:lnTo>
                        <a:pt x="239" y="618"/>
                      </a:lnTo>
                      <a:lnTo>
                        <a:pt x="240" y="618"/>
                      </a:lnTo>
                      <a:lnTo>
                        <a:pt x="242" y="616"/>
                      </a:lnTo>
                      <a:lnTo>
                        <a:pt x="242" y="614"/>
                      </a:lnTo>
                      <a:lnTo>
                        <a:pt x="242" y="613"/>
                      </a:lnTo>
                      <a:lnTo>
                        <a:pt x="240" y="613"/>
                      </a:lnTo>
                      <a:lnTo>
                        <a:pt x="242" y="613"/>
                      </a:lnTo>
                      <a:lnTo>
                        <a:pt x="244" y="613"/>
                      </a:lnTo>
                      <a:lnTo>
                        <a:pt x="245" y="613"/>
                      </a:lnTo>
                      <a:lnTo>
                        <a:pt x="245" y="614"/>
                      </a:lnTo>
                      <a:lnTo>
                        <a:pt x="245" y="613"/>
                      </a:lnTo>
                      <a:lnTo>
                        <a:pt x="247" y="611"/>
                      </a:lnTo>
                      <a:lnTo>
                        <a:pt x="247" y="613"/>
                      </a:lnTo>
                      <a:lnTo>
                        <a:pt x="247" y="614"/>
                      </a:lnTo>
                      <a:lnTo>
                        <a:pt x="247" y="616"/>
                      </a:lnTo>
                      <a:lnTo>
                        <a:pt x="249" y="616"/>
                      </a:lnTo>
                      <a:lnTo>
                        <a:pt x="249" y="614"/>
                      </a:lnTo>
                      <a:lnTo>
                        <a:pt x="249" y="613"/>
                      </a:lnTo>
                      <a:lnTo>
                        <a:pt x="250" y="613"/>
                      </a:lnTo>
                      <a:lnTo>
                        <a:pt x="252" y="613"/>
                      </a:lnTo>
                      <a:lnTo>
                        <a:pt x="252" y="614"/>
                      </a:lnTo>
                      <a:lnTo>
                        <a:pt x="252" y="613"/>
                      </a:lnTo>
                      <a:lnTo>
                        <a:pt x="254" y="613"/>
                      </a:lnTo>
                      <a:lnTo>
                        <a:pt x="255" y="614"/>
                      </a:lnTo>
                      <a:lnTo>
                        <a:pt x="257" y="614"/>
                      </a:lnTo>
                      <a:lnTo>
                        <a:pt x="257" y="613"/>
                      </a:lnTo>
                      <a:lnTo>
                        <a:pt x="257" y="611"/>
                      </a:lnTo>
                      <a:lnTo>
                        <a:pt x="259" y="611"/>
                      </a:lnTo>
                      <a:lnTo>
                        <a:pt x="259" y="613"/>
                      </a:lnTo>
                      <a:lnTo>
                        <a:pt x="262" y="613"/>
                      </a:lnTo>
                      <a:lnTo>
                        <a:pt x="262" y="611"/>
                      </a:lnTo>
                      <a:lnTo>
                        <a:pt x="262" y="613"/>
                      </a:lnTo>
                      <a:lnTo>
                        <a:pt x="262" y="614"/>
                      </a:lnTo>
                      <a:lnTo>
                        <a:pt x="264" y="613"/>
                      </a:lnTo>
                      <a:lnTo>
                        <a:pt x="266" y="613"/>
                      </a:lnTo>
                      <a:lnTo>
                        <a:pt x="267" y="613"/>
                      </a:lnTo>
                      <a:lnTo>
                        <a:pt x="267" y="611"/>
                      </a:lnTo>
                      <a:lnTo>
                        <a:pt x="267" y="609"/>
                      </a:lnTo>
                      <a:lnTo>
                        <a:pt x="267" y="608"/>
                      </a:lnTo>
                      <a:lnTo>
                        <a:pt x="269" y="609"/>
                      </a:lnTo>
                      <a:lnTo>
                        <a:pt x="269" y="611"/>
                      </a:lnTo>
                      <a:lnTo>
                        <a:pt x="271" y="611"/>
                      </a:lnTo>
                      <a:lnTo>
                        <a:pt x="272" y="611"/>
                      </a:lnTo>
                      <a:lnTo>
                        <a:pt x="272" y="613"/>
                      </a:lnTo>
                      <a:lnTo>
                        <a:pt x="272" y="611"/>
                      </a:lnTo>
                      <a:lnTo>
                        <a:pt x="274" y="609"/>
                      </a:lnTo>
                      <a:lnTo>
                        <a:pt x="276" y="609"/>
                      </a:lnTo>
                      <a:lnTo>
                        <a:pt x="276" y="608"/>
                      </a:lnTo>
                      <a:lnTo>
                        <a:pt x="276" y="606"/>
                      </a:lnTo>
                      <a:lnTo>
                        <a:pt x="277" y="606"/>
                      </a:lnTo>
                      <a:lnTo>
                        <a:pt x="279" y="606"/>
                      </a:lnTo>
                      <a:lnTo>
                        <a:pt x="277" y="605"/>
                      </a:lnTo>
                      <a:lnTo>
                        <a:pt x="279" y="605"/>
                      </a:lnTo>
                      <a:lnTo>
                        <a:pt x="281" y="603"/>
                      </a:lnTo>
                      <a:lnTo>
                        <a:pt x="281" y="601"/>
                      </a:lnTo>
                      <a:lnTo>
                        <a:pt x="279" y="601"/>
                      </a:lnTo>
                      <a:lnTo>
                        <a:pt x="279" y="600"/>
                      </a:lnTo>
                      <a:lnTo>
                        <a:pt x="281" y="600"/>
                      </a:lnTo>
                      <a:lnTo>
                        <a:pt x="282" y="600"/>
                      </a:lnTo>
                      <a:lnTo>
                        <a:pt x="284" y="598"/>
                      </a:lnTo>
                      <a:lnTo>
                        <a:pt x="282" y="596"/>
                      </a:lnTo>
                      <a:lnTo>
                        <a:pt x="284" y="596"/>
                      </a:lnTo>
                      <a:lnTo>
                        <a:pt x="284" y="595"/>
                      </a:lnTo>
                      <a:lnTo>
                        <a:pt x="286" y="593"/>
                      </a:lnTo>
                      <a:lnTo>
                        <a:pt x="288" y="595"/>
                      </a:lnTo>
                      <a:lnTo>
                        <a:pt x="288" y="591"/>
                      </a:lnTo>
                      <a:lnTo>
                        <a:pt x="289" y="591"/>
                      </a:lnTo>
                      <a:lnTo>
                        <a:pt x="291" y="591"/>
                      </a:lnTo>
                      <a:lnTo>
                        <a:pt x="293" y="593"/>
                      </a:lnTo>
                      <a:lnTo>
                        <a:pt x="294" y="595"/>
                      </a:lnTo>
                      <a:lnTo>
                        <a:pt x="296" y="595"/>
                      </a:lnTo>
                      <a:lnTo>
                        <a:pt x="298" y="595"/>
                      </a:lnTo>
                      <a:lnTo>
                        <a:pt x="298" y="591"/>
                      </a:lnTo>
                      <a:lnTo>
                        <a:pt x="298" y="590"/>
                      </a:lnTo>
                      <a:lnTo>
                        <a:pt x="299" y="590"/>
                      </a:lnTo>
                      <a:lnTo>
                        <a:pt x="299" y="591"/>
                      </a:lnTo>
                      <a:lnTo>
                        <a:pt x="299" y="590"/>
                      </a:lnTo>
                      <a:lnTo>
                        <a:pt x="299" y="588"/>
                      </a:lnTo>
                      <a:lnTo>
                        <a:pt x="301" y="588"/>
                      </a:lnTo>
                      <a:lnTo>
                        <a:pt x="303" y="590"/>
                      </a:lnTo>
                      <a:lnTo>
                        <a:pt x="301" y="591"/>
                      </a:lnTo>
                      <a:lnTo>
                        <a:pt x="301" y="593"/>
                      </a:lnTo>
                      <a:lnTo>
                        <a:pt x="301" y="595"/>
                      </a:lnTo>
                      <a:lnTo>
                        <a:pt x="303" y="595"/>
                      </a:lnTo>
                      <a:lnTo>
                        <a:pt x="304" y="595"/>
                      </a:lnTo>
                      <a:lnTo>
                        <a:pt x="306" y="593"/>
                      </a:lnTo>
                      <a:lnTo>
                        <a:pt x="308" y="593"/>
                      </a:lnTo>
                      <a:lnTo>
                        <a:pt x="308" y="591"/>
                      </a:lnTo>
                      <a:lnTo>
                        <a:pt x="309" y="591"/>
                      </a:lnTo>
                      <a:lnTo>
                        <a:pt x="309" y="590"/>
                      </a:lnTo>
                      <a:lnTo>
                        <a:pt x="311" y="590"/>
                      </a:lnTo>
                      <a:lnTo>
                        <a:pt x="313" y="590"/>
                      </a:lnTo>
                      <a:lnTo>
                        <a:pt x="313" y="591"/>
                      </a:lnTo>
                      <a:lnTo>
                        <a:pt x="313" y="593"/>
                      </a:lnTo>
                      <a:lnTo>
                        <a:pt x="313" y="595"/>
                      </a:lnTo>
                      <a:lnTo>
                        <a:pt x="315" y="595"/>
                      </a:lnTo>
                      <a:lnTo>
                        <a:pt x="315" y="591"/>
                      </a:lnTo>
                      <a:lnTo>
                        <a:pt x="316" y="591"/>
                      </a:lnTo>
                      <a:lnTo>
                        <a:pt x="316" y="593"/>
                      </a:lnTo>
                      <a:lnTo>
                        <a:pt x="318" y="593"/>
                      </a:lnTo>
                      <a:lnTo>
                        <a:pt x="318" y="591"/>
                      </a:lnTo>
                      <a:lnTo>
                        <a:pt x="320" y="591"/>
                      </a:lnTo>
                      <a:lnTo>
                        <a:pt x="320" y="590"/>
                      </a:lnTo>
                      <a:lnTo>
                        <a:pt x="321" y="590"/>
                      </a:lnTo>
                      <a:lnTo>
                        <a:pt x="325" y="590"/>
                      </a:lnTo>
                      <a:lnTo>
                        <a:pt x="326" y="590"/>
                      </a:lnTo>
                      <a:lnTo>
                        <a:pt x="326" y="591"/>
                      </a:lnTo>
                      <a:lnTo>
                        <a:pt x="328" y="593"/>
                      </a:lnTo>
                      <a:lnTo>
                        <a:pt x="330" y="595"/>
                      </a:lnTo>
                      <a:lnTo>
                        <a:pt x="330" y="593"/>
                      </a:lnTo>
                      <a:lnTo>
                        <a:pt x="330" y="591"/>
                      </a:lnTo>
                      <a:lnTo>
                        <a:pt x="331" y="590"/>
                      </a:lnTo>
                      <a:lnTo>
                        <a:pt x="331" y="591"/>
                      </a:lnTo>
                      <a:lnTo>
                        <a:pt x="333" y="591"/>
                      </a:lnTo>
                      <a:lnTo>
                        <a:pt x="335" y="593"/>
                      </a:lnTo>
                      <a:lnTo>
                        <a:pt x="333" y="595"/>
                      </a:lnTo>
                      <a:lnTo>
                        <a:pt x="335" y="598"/>
                      </a:lnTo>
                      <a:lnTo>
                        <a:pt x="335" y="600"/>
                      </a:lnTo>
                      <a:lnTo>
                        <a:pt x="333" y="600"/>
                      </a:lnTo>
                      <a:lnTo>
                        <a:pt x="331" y="600"/>
                      </a:lnTo>
                      <a:lnTo>
                        <a:pt x="331" y="601"/>
                      </a:lnTo>
                      <a:lnTo>
                        <a:pt x="333" y="601"/>
                      </a:lnTo>
                      <a:lnTo>
                        <a:pt x="333" y="603"/>
                      </a:lnTo>
                      <a:lnTo>
                        <a:pt x="335" y="603"/>
                      </a:lnTo>
                      <a:lnTo>
                        <a:pt x="333" y="603"/>
                      </a:lnTo>
                      <a:lnTo>
                        <a:pt x="335" y="605"/>
                      </a:lnTo>
                      <a:lnTo>
                        <a:pt x="338" y="603"/>
                      </a:lnTo>
                      <a:lnTo>
                        <a:pt x="338" y="605"/>
                      </a:lnTo>
                      <a:lnTo>
                        <a:pt x="337" y="605"/>
                      </a:lnTo>
                      <a:lnTo>
                        <a:pt x="337" y="606"/>
                      </a:lnTo>
                      <a:lnTo>
                        <a:pt x="338" y="606"/>
                      </a:lnTo>
                      <a:lnTo>
                        <a:pt x="340" y="606"/>
                      </a:lnTo>
                      <a:lnTo>
                        <a:pt x="342" y="606"/>
                      </a:lnTo>
                      <a:lnTo>
                        <a:pt x="342" y="608"/>
                      </a:lnTo>
                      <a:lnTo>
                        <a:pt x="342" y="609"/>
                      </a:lnTo>
                      <a:lnTo>
                        <a:pt x="343" y="611"/>
                      </a:lnTo>
                      <a:lnTo>
                        <a:pt x="345" y="609"/>
                      </a:lnTo>
                      <a:lnTo>
                        <a:pt x="345" y="608"/>
                      </a:lnTo>
                      <a:lnTo>
                        <a:pt x="347" y="608"/>
                      </a:lnTo>
                      <a:lnTo>
                        <a:pt x="347" y="606"/>
                      </a:lnTo>
                      <a:lnTo>
                        <a:pt x="345" y="606"/>
                      </a:lnTo>
                      <a:lnTo>
                        <a:pt x="347" y="605"/>
                      </a:lnTo>
                      <a:lnTo>
                        <a:pt x="347" y="603"/>
                      </a:lnTo>
                      <a:lnTo>
                        <a:pt x="348" y="603"/>
                      </a:lnTo>
                      <a:lnTo>
                        <a:pt x="350" y="605"/>
                      </a:lnTo>
                      <a:lnTo>
                        <a:pt x="350" y="603"/>
                      </a:lnTo>
                      <a:lnTo>
                        <a:pt x="352" y="603"/>
                      </a:lnTo>
                      <a:lnTo>
                        <a:pt x="352" y="601"/>
                      </a:lnTo>
                      <a:lnTo>
                        <a:pt x="352" y="603"/>
                      </a:lnTo>
                      <a:lnTo>
                        <a:pt x="352" y="605"/>
                      </a:lnTo>
                      <a:lnTo>
                        <a:pt x="353" y="603"/>
                      </a:lnTo>
                      <a:lnTo>
                        <a:pt x="355" y="605"/>
                      </a:lnTo>
                      <a:lnTo>
                        <a:pt x="353" y="605"/>
                      </a:lnTo>
                      <a:lnTo>
                        <a:pt x="353" y="606"/>
                      </a:lnTo>
                      <a:lnTo>
                        <a:pt x="355" y="608"/>
                      </a:lnTo>
                      <a:lnTo>
                        <a:pt x="357" y="608"/>
                      </a:lnTo>
                      <a:lnTo>
                        <a:pt x="357" y="609"/>
                      </a:lnTo>
                      <a:lnTo>
                        <a:pt x="358" y="609"/>
                      </a:lnTo>
                      <a:lnTo>
                        <a:pt x="360" y="609"/>
                      </a:lnTo>
                      <a:lnTo>
                        <a:pt x="360" y="608"/>
                      </a:lnTo>
                      <a:lnTo>
                        <a:pt x="362" y="608"/>
                      </a:lnTo>
                      <a:lnTo>
                        <a:pt x="364" y="606"/>
                      </a:lnTo>
                      <a:lnTo>
                        <a:pt x="365" y="605"/>
                      </a:lnTo>
                      <a:lnTo>
                        <a:pt x="365" y="603"/>
                      </a:lnTo>
                      <a:lnTo>
                        <a:pt x="365" y="601"/>
                      </a:lnTo>
                      <a:lnTo>
                        <a:pt x="367" y="598"/>
                      </a:lnTo>
                      <a:lnTo>
                        <a:pt x="367" y="596"/>
                      </a:lnTo>
                      <a:lnTo>
                        <a:pt x="369" y="596"/>
                      </a:lnTo>
                      <a:lnTo>
                        <a:pt x="372" y="577"/>
                      </a:lnTo>
                      <a:lnTo>
                        <a:pt x="377" y="549"/>
                      </a:lnTo>
                      <a:lnTo>
                        <a:pt x="389" y="485"/>
                      </a:lnTo>
                      <a:lnTo>
                        <a:pt x="399" y="434"/>
                      </a:lnTo>
                      <a:lnTo>
                        <a:pt x="406" y="393"/>
                      </a:lnTo>
                      <a:lnTo>
                        <a:pt x="414" y="350"/>
                      </a:lnTo>
                      <a:lnTo>
                        <a:pt x="414" y="348"/>
                      </a:lnTo>
                      <a:lnTo>
                        <a:pt x="413" y="347"/>
                      </a:lnTo>
                      <a:lnTo>
                        <a:pt x="413" y="345"/>
                      </a:lnTo>
                      <a:lnTo>
                        <a:pt x="414" y="345"/>
                      </a:lnTo>
                      <a:lnTo>
                        <a:pt x="414" y="343"/>
                      </a:lnTo>
                      <a:lnTo>
                        <a:pt x="416" y="342"/>
                      </a:lnTo>
                      <a:lnTo>
                        <a:pt x="416" y="339"/>
                      </a:lnTo>
                      <a:lnTo>
                        <a:pt x="416" y="337"/>
                      </a:lnTo>
                      <a:lnTo>
                        <a:pt x="416" y="335"/>
                      </a:lnTo>
                      <a:lnTo>
                        <a:pt x="418" y="335"/>
                      </a:lnTo>
                      <a:lnTo>
                        <a:pt x="419" y="334"/>
                      </a:lnTo>
                      <a:lnTo>
                        <a:pt x="418" y="330"/>
                      </a:lnTo>
                      <a:lnTo>
                        <a:pt x="418" y="327"/>
                      </a:lnTo>
                      <a:lnTo>
                        <a:pt x="418" y="325"/>
                      </a:lnTo>
                      <a:lnTo>
                        <a:pt x="416" y="324"/>
                      </a:lnTo>
                      <a:lnTo>
                        <a:pt x="416" y="322"/>
                      </a:lnTo>
                      <a:lnTo>
                        <a:pt x="416" y="320"/>
                      </a:lnTo>
                      <a:lnTo>
                        <a:pt x="418" y="319"/>
                      </a:lnTo>
                      <a:lnTo>
                        <a:pt x="418" y="317"/>
                      </a:lnTo>
                      <a:lnTo>
                        <a:pt x="418" y="316"/>
                      </a:lnTo>
                      <a:lnTo>
                        <a:pt x="418" y="314"/>
                      </a:lnTo>
                      <a:lnTo>
                        <a:pt x="419" y="314"/>
                      </a:lnTo>
                      <a:lnTo>
                        <a:pt x="419" y="312"/>
                      </a:lnTo>
                      <a:lnTo>
                        <a:pt x="419" y="311"/>
                      </a:lnTo>
                      <a:lnTo>
                        <a:pt x="416" y="307"/>
                      </a:lnTo>
                      <a:lnTo>
                        <a:pt x="416" y="306"/>
                      </a:lnTo>
                      <a:lnTo>
                        <a:pt x="416" y="304"/>
                      </a:lnTo>
                      <a:lnTo>
                        <a:pt x="414" y="304"/>
                      </a:lnTo>
                      <a:lnTo>
                        <a:pt x="414" y="302"/>
                      </a:lnTo>
                      <a:lnTo>
                        <a:pt x="416" y="302"/>
                      </a:lnTo>
                      <a:lnTo>
                        <a:pt x="416" y="301"/>
                      </a:lnTo>
                      <a:lnTo>
                        <a:pt x="414" y="299"/>
                      </a:lnTo>
                      <a:lnTo>
                        <a:pt x="414" y="301"/>
                      </a:lnTo>
                      <a:lnTo>
                        <a:pt x="413" y="299"/>
                      </a:lnTo>
                      <a:lnTo>
                        <a:pt x="413" y="297"/>
                      </a:lnTo>
                      <a:lnTo>
                        <a:pt x="413" y="296"/>
                      </a:lnTo>
                      <a:lnTo>
                        <a:pt x="411" y="296"/>
                      </a:lnTo>
                      <a:lnTo>
                        <a:pt x="409" y="296"/>
                      </a:lnTo>
                      <a:lnTo>
                        <a:pt x="409" y="294"/>
                      </a:lnTo>
                      <a:lnTo>
                        <a:pt x="407" y="294"/>
                      </a:lnTo>
                      <a:lnTo>
                        <a:pt x="406" y="293"/>
                      </a:lnTo>
                      <a:lnTo>
                        <a:pt x="407" y="289"/>
                      </a:lnTo>
                      <a:lnTo>
                        <a:pt x="406" y="289"/>
                      </a:lnTo>
                      <a:lnTo>
                        <a:pt x="406" y="288"/>
                      </a:lnTo>
                      <a:lnTo>
                        <a:pt x="404" y="288"/>
                      </a:lnTo>
                      <a:lnTo>
                        <a:pt x="404" y="286"/>
                      </a:lnTo>
                      <a:lnTo>
                        <a:pt x="402" y="286"/>
                      </a:lnTo>
                      <a:lnTo>
                        <a:pt x="402" y="284"/>
                      </a:lnTo>
                      <a:lnTo>
                        <a:pt x="404" y="284"/>
                      </a:lnTo>
                      <a:lnTo>
                        <a:pt x="402" y="283"/>
                      </a:lnTo>
                      <a:lnTo>
                        <a:pt x="401" y="283"/>
                      </a:lnTo>
                      <a:lnTo>
                        <a:pt x="401" y="281"/>
                      </a:lnTo>
                      <a:lnTo>
                        <a:pt x="399" y="279"/>
                      </a:lnTo>
                      <a:lnTo>
                        <a:pt x="399" y="278"/>
                      </a:lnTo>
                      <a:lnTo>
                        <a:pt x="397" y="278"/>
                      </a:lnTo>
                      <a:lnTo>
                        <a:pt x="397" y="276"/>
                      </a:lnTo>
                      <a:lnTo>
                        <a:pt x="399" y="274"/>
                      </a:lnTo>
                      <a:lnTo>
                        <a:pt x="399" y="273"/>
                      </a:lnTo>
                      <a:lnTo>
                        <a:pt x="401" y="271"/>
                      </a:lnTo>
                      <a:lnTo>
                        <a:pt x="401" y="270"/>
                      </a:lnTo>
                      <a:lnTo>
                        <a:pt x="402" y="268"/>
                      </a:lnTo>
                      <a:lnTo>
                        <a:pt x="402" y="266"/>
                      </a:lnTo>
                      <a:lnTo>
                        <a:pt x="402" y="265"/>
                      </a:lnTo>
                      <a:lnTo>
                        <a:pt x="401" y="265"/>
                      </a:lnTo>
                      <a:lnTo>
                        <a:pt x="399" y="263"/>
                      </a:lnTo>
                      <a:lnTo>
                        <a:pt x="401" y="261"/>
                      </a:lnTo>
                      <a:lnTo>
                        <a:pt x="401" y="260"/>
                      </a:lnTo>
                      <a:lnTo>
                        <a:pt x="399" y="260"/>
                      </a:lnTo>
                      <a:lnTo>
                        <a:pt x="399" y="258"/>
                      </a:lnTo>
                      <a:lnTo>
                        <a:pt x="399" y="256"/>
                      </a:lnTo>
                      <a:lnTo>
                        <a:pt x="399" y="255"/>
                      </a:lnTo>
                      <a:lnTo>
                        <a:pt x="397" y="255"/>
                      </a:lnTo>
                      <a:lnTo>
                        <a:pt x="396" y="255"/>
                      </a:lnTo>
                      <a:lnTo>
                        <a:pt x="396" y="253"/>
                      </a:lnTo>
                      <a:lnTo>
                        <a:pt x="394" y="253"/>
                      </a:lnTo>
                      <a:lnTo>
                        <a:pt x="394" y="251"/>
                      </a:lnTo>
                      <a:lnTo>
                        <a:pt x="392" y="251"/>
                      </a:lnTo>
                      <a:lnTo>
                        <a:pt x="391" y="250"/>
                      </a:lnTo>
                      <a:lnTo>
                        <a:pt x="389" y="250"/>
                      </a:lnTo>
                      <a:lnTo>
                        <a:pt x="387" y="250"/>
                      </a:lnTo>
                      <a:lnTo>
                        <a:pt x="387" y="248"/>
                      </a:lnTo>
                      <a:lnTo>
                        <a:pt x="385" y="248"/>
                      </a:lnTo>
                      <a:lnTo>
                        <a:pt x="385" y="247"/>
                      </a:lnTo>
                      <a:lnTo>
                        <a:pt x="384" y="247"/>
                      </a:lnTo>
                      <a:lnTo>
                        <a:pt x="384" y="245"/>
                      </a:lnTo>
                      <a:lnTo>
                        <a:pt x="382" y="245"/>
                      </a:lnTo>
                      <a:lnTo>
                        <a:pt x="380" y="245"/>
                      </a:lnTo>
                      <a:lnTo>
                        <a:pt x="380" y="243"/>
                      </a:lnTo>
                      <a:lnTo>
                        <a:pt x="379" y="243"/>
                      </a:lnTo>
                      <a:lnTo>
                        <a:pt x="377" y="242"/>
                      </a:lnTo>
                      <a:lnTo>
                        <a:pt x="377" y="240"/>
                      </a:lnTo>
                      <a:lnTo>
                        <a:pt x="375" y="240"/>
                      </a:lnTo>
                      <a:lnTo>
                        <a:pt x="374" y="240"/>
                      </a:lnTo>
                      <a:lnTo>
                        <a:pt x="372" y="240"/>
                      </a:lnTo>
                      <a:lnTo>
                        <a:pt x="370" y="240"/>
                      </a:lnTo>
                      <a:lnTo>
                        <a:pt x="370" y="238"/>
                      </a:lnTo>
                      <a:lnTo>
                        <a:pt x="369" y="238"/>
                      </a:lnTo>
                      <a:lnTo>
                        <a:pt x="369" y="237"/>
                      </a:lnTo>
                      <a:lnTo>
                        <a:pt x="367" y="237"/>
                      </a:lnTo>
                      <a:lnTo>
                        <a:pt x="367" y="235"/>
                      </a:lnTo>
                      <a:lnTo>
                        <a:pt x="365" y="235"/>
                      </a:lnTo>
                      <a:lnTo>
                        <a:pt x="364" y="233"/>
                      </a:lnTo>
                      <a:lnTo>
                        <a:pt x="364" y="232"/>
                      </a:lnTo>
                      <a:lnTo>
                        <a:pt x="362" y="232"/>
                      </a:lnTo>
                      <a:lnTo>
                        <a:pt x="362" y="230"/>
                      </a:lnTo>
                      <a:lnTo>
                        <a:pt x="362" y="228"/>
                      </a:lnTo>
                      <a:lnTo>
                        <a:pt x="360" y="228"/>
                      </a:lnTo>
                      <a:lnTo>
                        <a:pt x="358" y="227"/>
                      </a:lnTo>
                      <a:lnTo>
                        <a:pt x="357" y="227"/>
                      </a:lnTo>
                      <a:lnTo>
                        <a:pt x="357" y="225"/>
                      </a:lnTo>
                      <a:lnTo>
                        <a:pt x="357" y="222"/>
                      </a:lnTo>
                      <a:lnTo>
                        <a:pt x="358" y="219"/>
                      </a:lnTo>
                      <a:lnTo>
                        <a:pt x="357" y="217"/>
                      </a:lnTo>
                      <a:lnTo>
                        <a:pt x="357" y="210"/>
                      </a:lnTo>
                      <a:lnTo>
                        <a:pt x="357" y="202"/>
                      </a:lnTo>
                      <a:lnTo>
                        <a:pt x="358" y="156"/>
                      </a:lnTo>
                      <a:lnTo>
                        <a:pt x="360" y="158"/>
                      </a:lnTo>
                      <a:lnTo>
                        <a:pt x="362" y="158"/>
                      </a:lnTo>
                      <a:lnTo>
                        <a:pt x="362" y="156"/>
                      </a:lnTo>
                      <a:lnTo>
                        <a:pt x="364" y="155"/>
                      </a:lnTo>
                      <a:lnTo>
                        <a:pt x="365" y="155"/>
                      </a:lnTo>
                      <a:lnTo>
                        <a:pt x="365" y="156"/>
                      </a:lnTo>
                      <a:lnTo>
                        <a:pt x="367" y="156"/>
                      </a:lnTo>
                      <a:lnTo>
                        <a:pt x="369" y="156"/>
                      </a:lnTo>
                      <a:lnTo>
                        <a:pt x="370" y="155"/>
                      </a:lnTo>
                      <a:lnTo>
                        <a:pt x="372" y="155"/>
                      </a:lnTo>
                      <a:lnTo>
                        <a:pt x="374" y="155"/>
                      </a:lnTo>
                      <a:lnTo>
                        <a:pt x="375" y="155"/>
                      </a:lnTo>
                      <a:lnTo>
                        <a:pt x="377" y="155"/>
                      </a:lnTo>
                      <a:lnTo>
                        <a:pt x="377" y="153"/>
                      </a:lnTo>
                      <a:lnTo>
                        <a:pt x="379" y="155"/>
                      </a:lnTo>
                      <a:lnTo>
                        <a:pt x="380" y="155"/>
                      </a:lnTo>
                      <a:lnTo>
                        <a:pt x="382" y="155"/>
                      </a:lnTo>
                      <a:lnTo>
                        <a:pt x="382" y="153"/>
                      </a:lnTo>
                      <a:lnTo>
                        <a:pt x="384" y="153"/>
                      </a:lnTo>
                      <a:lnTo>
                        <a:pt x="385" y="151"/>
                      </a:lnTo>
                      <a:lnTo>
                        <a:pt x="387" y="151"/>
                      </a:lnTo>
                      <a:lnTo>
                        <a:pt x="389" y="150"/>
                      </a:lnTo>
                      <a:lnTo>
                        <a:pt x="389" y="148"/>
                      </a:lnTo>
                      <a:lnTo>
                        <a:pt x="391" y="148"/>
                      </a:lnTo>
                      <a:lnTo>
                        <a:pt x="391" y="146"/>
                      </a:lnTo>
                      <a:lnTo>
                        <a:pt x="392" y="146"/>
                      </a:lnTo>
                      <a:lnTo>
                        <a:pt x="394" y="146"/>
                      </a:lnTo>
                      <a:lnTo>
                        <a:pt x="396" y="146"/>
                      </a:lnTo>
                      <a:lnTo>
                        <a:pt x="396" y="150"/>
                      </a:lnTo>
                      <a:lnTo>
                        <a:pt x="397" y="150"/>
                      </a:lnTo>
                      <a:lnTo>
                        <a:pt x="399" y="150"/>
                      </a:lnTo>
                      <a:lnTo>
                        <a:pt x="401" y="150"/>
                      </a:lnTo>
                      <a:lnTo>
                        <a:pt x="401" y="148"/>
                      </a:lnTo>
                      <a:lnTo>
                        <a:pt x="402" y="146"/>
                      </a:lnTo>
                      <a:lnTo>
                        <a:pt x="402" y="145"/>
                      </a:lnTo>
                      <a:lnTo>
                        <a:pt x="406" y="145"/>
                      </a:lnTo>
                      <a:lnTo>
                        <a:pt x="406" y="143"/>
                      </a:lnTo>
                      <a:lnTo>
                        <a:pt x="407" y="141"/>
                      </a:lnTo>
                      <a:lnTo>
                        <a:pt x="407" y="143"/>
                      </a:lnTo>
                      <a:lnTo>
                        <a:pt x="409" y="141"/>
                      </a:lnTo>
                      <a:lnTo>
                        <a:pt x="411" y="140"/>
                      </a:lnTo>
                      <a:lnTo>
                        <a:pt x="413" y="140"/>
                      </a:lnTo>
                      <a:lnTo>
                        <a:pt x="413" y="141"/>
                      </a:lnTo>
                      <a:lnTo>
                        <a:pt x="414" y="141"/>
                      </a:lnTo>
                      <a:lnTo>
                        <a:pt x="416" y="143"/>
                      </a:lnTo>
                      <a:lnTo>
                        <a:pt x="416" y="145"/>
                      </a:lnTo>
                      <a:lnTo>
                        <a:pt x="418" y="145"/>
                      </a:lnTo>
                      <a:lnTo>
                        <a:pt x="418" y="146"/>
                      </a:lnTo>
                      <a:lnTo>
                        <a:pt x="419" y="148"/>
                      </a:lnTo>
                      <a:lnTo>
                        <a:pt x="421" y="150"/>
                      </a:lnTo>
                      <a:lnTo>
                        <a:pt x="423" y="151"/>
                      </a:lnTo>
                      <a:lnTo>
                        <a:pt x="424" y="150"/>
                      </a:lnTo>
                      <a:lnTo>
                        <a:pt x="426" y="150"/>
                      </a:lnTo>
                      <a:lnTo>
                        <a:pt x="428" y="150"/>
                      </a:lnTo>
                      <a:lnTo>
                        <a:pt x="428" y="148"/>
                      </a:lnTo>
                      <a:lnTo>
                        <a:pt x="429" y="148"/>
                      </a:lnTo>
                      <a:lnTo>
                        <a:pt x="429" y="150"/>
                      </a:lnTo>
                      <a:lnTo>
                        <a:pt x="429" y="151"/>
                      </a:lnTo>
                      <a:lnTo>
                        <a:pt x="428" y="153"/>
                      </a:lnTo>
                      <a:lnTo>
                        <a:pt x="429" y="153"/>
                      </a:lnTo>
                      <a:lnTo>
                        <a:pt x="431" y="153"/>
                      </a:lnTo>
                      <a:lnTo>
                        <a:pt x="431" y="151"/>
                      </a:lnTo>
                      <a:lnTo>
                        <a:pt x="433" y="153"/>
                      </a:lnTo>
                      <a:lnTo>
                        <a:pt x="433" y="151"/>
                      </a:lnTo>
                      <a:lnTo>
                        <a:pt x="434" y="153"/>
                      </a:lnTo>
                      <a:lnTo>
                        <a:pt x="436" y="151"/>
                      </a:lnTo>
                      <a:lnTo>
                        <a:pt x="438" y="153"/>
                      </a:lnTo>
                      <a:lnTo>
                        <a:pt x="438" y="151"/>
                      </a:lnTo>
                      <a:lnTo>
                        <a:pt x="438" y="150"/>
                      </a:lnTo>
                      <a:lnTo>
                        <a:pt x="438" y="148"/>
                      </a:lnTo>
                      <a:lnTo>
                        <a:pt x="440" y="148"/>
                      </a:lnTo>
                      <a:lnTo>
                        <a:pt x="441" y="148"/>
                      </a:lnTo>
                      <a:lnTo>
                        <a:pt x="443" y="148"/>
                      </a:lnTo>
                      <a:lnTo>
                        <a:pt x="445" y="148"/>
                      </a:lnTo>
                      <a:lnTo>
                        <a:pt x="445" y="150"/>
                      </a:lnTo>
                      <a:lnTo>
                        <a:pt x="446" y="150"/>
                      </a:lnTo>
                      <a:lnTo>
                        <a:pt x="446" y="148"/>
                      </a:lnTo>
                      <a:lnTo>
                        <a:pt x="445" y="146"/>
                      </a:lnTo>
                      <a:lnTo>
                        <a:pt x="443" y="143"/>
                      </a:lnTo>
                      <a:lnTo>
                        <a:pt x="441" y="143"/>
                      </a:lnTo>
                      <a:lnTo>
                        <a:pt x="441" y="141"/>
                      </a:lnTo>
                      <a:lnTo>
                        <a:pt x="440" y="141"/>
                      </a:lnTo>
                      <a:lnTo>
                        <a:pt x="440" y="140"/>
                      </a:lnTo>
                      <a:lnTo>
                        <a:pt x="440" y="138"/>
                      </a:lnTo>
                      <a:lnTo>
                        <a:pt x="441" y="138"/>
                      </a:lnTo>
                      <a:lnTo>
                        <a:pt x="443" y="138"/>
                      </a:lnTo>
                      <a:lnTo>
                        <a:pt x="443" y="137"/>
                      </a:lnTo>
                      <a:lnTo>
                        <a:pt x="443" y="135"/>
                      </a:lnTo>
                      <a:lnTo>
                        <a:pt x="443" y="133"/>
                      </a:lnTo>
                      <a:lnTo>
                        <a:pt x="441" y="133"/>
                      </a:lnTo>
                      <a:lnTo>
                        <a:pt x="441" y="132"/>
                      </a:lnTo>
                      <a:lnTo>
                        <a:pt x="441" y="130"/>
                      </a:lnTo>
                      <a:lnTo>
                        <a:pt x="443" y="130"/>
                      </a:lnTo>
                      <a:lnTo>
                        <a:pt x="443" y="128"/>
                      </a:lnTo>
                      <a:lnTo>
                        <a:pt x="443" y="127"/>
                      </a:lnTo>
                      <a:lnTo>
                        <a:pt x="441" y="127"/>
                      </a:lnTo>
                      <a:lnTo>
                        <a:pt x="441" y="125"/>
                      </a:lnTo>
                      <a:lnTo>
                        <a:pt x="440" y="125"/>
                      </a:lnTo>
                      <a:lnTo>
                        <a:pt x="440" y="123"/>
                      </a:lnTo>
                      <a:lnTo>
                        <a:pt x="438" y="123"/>
                      </a:lnTo>
                      <a:lnTo>
                        <a:pt x="438" y="122"/>
                      </a:lnTo>
                      <a:lnTo>
                        <a:pt x="440" y="122"/>
                      </a:lnTo>
                      <a:lnTo>
                        <a:pt x="441" y="120"/>
                      </a:lnTo>
                      <a:lnTo>
                        <a:pt x="440" y="120"/>
                      </a:lnTo>
                      <a:lnTo>
                        <a:pt x="440" y="118"/>
                      </a:lnTo>
                      <a:lnTo>
                        <a:pt x="438" y="118"/>
                      </a:lnTo>
                      <a:lnTo>
                        <a:pt x="436" y="118"/>
                      </a:lnTo>
                      <a:lnTo>
                        <a:pt x="436" y="117"/>
                      </a:lnTo>
                      <a:lnTo>
                        <a:pt x="438" y="115"/>
                      </a:lnTo>
                      <a:lnTo>
                        <a:pt x="436" y="114"/>
                      </a:lnTo>
                      <a:lnTo>
                        <a:pt x="434" y="114"/>
                      </a:lnTo>
                      <a:lnTo>
                        <a:pt x="434" y="112"/>
                      </a:lnTo>
                      <a:lnTo>
                        <a:pt x="433" y="112"/>
                      </a:lnTo>
                      <a:lnTo>
                        <a:pt x="433" y="110"/>
                      </a:lnTo>
                      <a:lnTo>
                        <a:pt x="431" y="110"/>
                      </a:lnTo>
                      <a:lnTo>
                        <a:pt x="429" y="110"/>
                      </a:lnTo>
                      <a:lnTo>
                        <a:pt x="428" y="109"/>
                      </a:lnTo>
                      <a:lnTo>
                        <a:pt x="426" y="107"/>
                      </a:lnTo>
                      <a:lnTo>
                        <a:pt x="424" y="107"/>
                      </a:lnTo>
                      <a:lnTo>
                        <a:pt x="423" y="107"/>
                      </a:lnTo>
                      <a:lnTo>
                        <a:pt x="421" y="107"/>
                      </a:lnTo>
                      <a:lnTo>
                        <a:pt x="419" y="109"/>
                      </a:lnTo>
                      <a:lnTo>
                        <a:pt x="418" y="110"/>
                      </a:lnTo>
                      <a:lnTo>
                        <a:pt x="416" y="110"/>
                      </a:lnTo>
                      <a:lnTo>
                        <a:pt x="414" y="109"/>
                      </a:lnTo>
                      <a:lnTo>
                        <a:pt x="416" y="109"/>
                      </a:lnTo>
                      <a:lnTo>
                        <a:pt x="414" y="109"/>
                      </a:lnTo>
                      <a:lnTo>
                        <a:pt x="413" y="109"/>
                      </a:lnTo>
                      <a:lnTo>
                        <a:pt x="411" y="109"/>
                      </a:lnTo>
                      <a:lnTo>
                        <a:pt x="409" y="107"/>
                      </a:lnTo>
                      <a:lnTo>
                        <a:pt x="407" y="109"/>
                      </a:lnTo>
                      <a:lnTo>
                        <a:pt x="406" y="109"/>
                      </a:lnTo>
                      <a:lnTo>
                        <a:pt x="404" y="109"/>
                      </a:lnTo>
                      <a:lnTo>
                        <a:pt x="402" y="109"/>
                      </a:lnTo>
                      <a:lnTo>
                        <a:pt x="401" y="107"/>
                      </a:lnTo>
                      <a:lnTo>
                        <a:pt x="399" y="105"/>
                      </a:lnTo>
                      <a:lnTo>
                        <a:pt x="397" y="107"/>
                      </a:lnTo>
                      <a:lnTo>
                        <a:pt x="396" y="107"/>
                      </a:lnTo>
                      <a:lnTo>
                        <a:pt x="394" y="107"/>
                      </a:lnTo>
                      <a:lnTo>
                        <a:pt x="392" y="107"/>
                      </a:lnTo>
                      <a:lnTo>
                        <a:pt x="392" y="109"/>
                      </a:lnTo>
                      <a:lnTo>
                        <a:pt x="391" y="109"/>
                      </a:lnTo>
                      <a:lnTo>
                        <a:pt x="389" y="109"/>
                      </a:lnTo>
                      <a:lnTo>
                        <a:pt x="389" y="107"/>
                      </a:lnTo>
                      <a:lnTo>
                        <a:pt x="389" y="105"/>
                      </a:lnTo>
                      <a:lnTo>
                        <a:pt x="389" y="104"/>
                      </a:lnTo>
                      <a:lnTo>
                        <a:pt x="389" y="105"/>
                      </a:lnTo>
                      <a:lnTo>
                        <a:pt x="387" y="105"/>
                      </a:lnTo>
                      <a:lnTo>
                        <a:pt x="385" y="105"/>
                      </a:lnTo>
                      <a:lnTo>
                        <a:pt x="384" y="105"/>
                      </a:lnTo>
                      <a:lnTo>
                        <a:pt x="382" y="107"/>
                      </a:lnTo>
                      <a:lnTo>
                        <a:pt x="380" y="107"/>
                      </a:lnTo>
                      <a:lnTo>
                        <a:pt x="380" y="109"/>
                      </a:lnTo>
                      <a:lnTo>
                        <a:pt x="379" y="110"/>
                      </a:lnTo>
                      <a:lnTo>
                        <a:pt x="377" y="109"/>
                      </a:lnTo>
                      <a:lnTo>
                        <a:pt x="377" y="69"/>
                      </a:lnTo>
                      <a:lnTo>
                        <a:pt x="377" y="49"/>
                      </a:lnTo>
                      <a:lnTo>
                        <a:pt x="379" y="49"/>
                      </a:lnTo>
                      <a:lnTo>
                        <a:pt x="377" y="51"/>
                      </a:lnTo>
                      <a:lnTo>
                        <a:pt x="379" y="51"/>
                      </a:lnTo>
                      <a:lnTo>
                        <a:pt x="380" y="51"/>
                      </a:lnTo>
                      <a:lnTo>
                        <a:pt x="382" y="51"/>
                      </a:lnTo>
                      <a:lnTo>
                        <a:pt x="382" y="49"/>
                      </a:lnTo>
                      <a:lnTo>
                        <a:pt x="384" y="49"/>
                      </a:lnTo>
                      <a:lnTo>
                        <a:pt x="385" y="48"/>
                      </a:lnTo>
                      <a:lnTo>
                        <a:pt x="387" y="46"/>
                      </a:lnTo>
                      <a:lnTo>
                        <a:pt x="389" y="48"/>
                      </a:lnTo>
                      <a:lnTo>
                        <a:pt x="389" y="46"/>
                      </a:lnTo>
                      <a:lnTo>
                        <a:pt x="391" y="48"/>
                      </a:lnTo>
                      <a:lnTo>
                        <a:pt x="392" y="46"/>
                      </a:lnTo>
                      <a:lnTo>
                        <a:pt x="392" y="48"/>
                      </a:lnTo>
                      <a:lnTo>
                        <a:pt x="394" y="48"/>
                      </a:lnTo>
                      <a:lnTo>
                        <a:pt x="396" y="48"/>
                      </a:lnTo>
                      <a:lnTo>
                        <a:pt x="397" y="48"/>
                      </a:lnTo>
                      <a:lnTo>
                        <a:pt x="397" y="46"/>
                      </a:lnTo>
                      <a:lnTo>
                        <a:pt x="399" y="45"/>
                      </a:lnTo>
                      <a:lnTo>
                        <a:pt x="401" y="45"/>
                      </a:lnTo>
                      <a:lnTo>
                        <a:pt x="402" y="45"/>
                      </a:lnTo>
                      <a:lnTo>
                        <a:pt x="404" y="43"/>
                      </a:lnTo>
                      <a:lnTo>
                        <a:pt x="407" y="45"/>
                      </a:lnTo>
                      <a:lnTo>
                        <a:pt x="409" y="45"/>
                      </a:lnTo>
                      <a:lnTo>
                        <a:pt x="411" y="45"/>
                      </a:lnTo>
                      <a:lnTo>
                        <a:pt x="411" y="46"/>
                      </a:lnTo>
                      <a:lnTo>
                        <a:pt x="411" y="45"/>
                      </a:lnTo>
                      <a:lnTo>
                        <a:pt x="413" y="46"/>
                      </a:lnTo>
                      <a:lnTo>
                        <a:pt x="414" y="45"/>
                      </a:lnTo>
                      <a:lnTo>
                        <a:pt x="414" y="46"/>
                      </a:lnTo>
                      <a:lnTo>
                        <a:pt x="416" y="46"/>
                      </a:lnTo>
                      <a:lnTo>
                        <a:pt x="418" y="46"/>
                      </a:lnTo>
                      <a:lnTo>
                        <a:pt x="419" y="48"/>
                      </a:lnTo>
                      <a:lnTo>
                        <a:pt x="419" y="49"/>
                      </a:lnTo>
                      <a:lnTo>
                        <a:pt x="419" y="48"/>
                      </a:lnTo>
                      <a:lnTo>
                        <a:pt x="440" y="48"/>
                      </a:lnTo>
                      <a:lnTo>
                        <a:pt x="456" y="48"/>
                      </a:lnTo>
                      <a:lnTo>
                        <a:pt x="536" y="48"/>
                      </a:lnTo>
                      <a:lnTo>
                        <a:pt x="536" y="46"/>
                      </a:lnTo>
                      <a:lnTo>
                        <a:pt x="534" y="46"/>
                      </a:lnTo>
                      <a:lnTo>
                        <a:pt x="536" y="45"/>
                      </a:lnTo>
                      <a:lnTo>
                        <a:pt x="534" y="45"/>
                      </a:lnTo>
                      <a:lnTo>
                        <a:pt x="534" y="43"/>
                      </a:lnTo>
                      <a:lnTo>
                        <a:pt x="532" y="43"/>
                      </a:lnTo>
                      <a:lnTo>
                        <a:pt x="531" y="45"/>
                      </a:lnTo>
                      <a:lnTo>
                        <a:pt x="529" y="45"/>
                      </a:lnTo>
                      <a:lnTo>
                        <a:pt x="527" y="43"/>
                      </a:lnTo>
                      <a:lnTo>
                        <a:pt x="529" y="41"/>
                      </a:lnTo>
                      <a:lnTo>
                        <a:pt x="529" y="40"/>
                      </a:lnTo>
                      <a:lnTo>
                        <a:pt x="526" y="40"/>
                      </a:lnTo>
                      <a:lnTo>
                        <a:pt x="526" y="38"/>
                      </a:lnTo>
                      <a:lnTo>
                        <a:pt x="526" y="36"/>
                      </a:lnTo>
                      <a:lnTo>
                        <a:pt x="527" y="35"/>
                      </a:lnTo>
                      <a:lnTo>
                        <a:pt x="529" y="30"/>
                      </a:lnTo>
                      <a:lnTo>
                        <a:pt x="531" y="28"/>
                      </a:lnTo>
                      <a:lnTo>
                        <a:pt x="532" y="26"/>
                      </a:lnTo>
                      <a:lnTo>
                        <a:pt x="534" y="26"/>
                      </a:lnTo>
                      <a:lnTo>
                        <a:pt x="534" y="25"/>
                      </a:lnTo>
                      <a:lnTo>
                        <a:pt x="536" y="25"/>
                      </a:lnTo>
                      <a:lnTo>
                        <a:pt x="538" y="25"/>
                      </a:lnTo>
                      <a:lnTo>
                        <a:pt x="539" y="25"/>
                      </a:lnTo>
                      <a:lnTo>
                        <a:pt x="539" y="26"/>
                      </a:lnTo>
                      <a:lnTo>
                        <a:pt x="541" y="28"/>
                      </a:lnTo>
                      <a:lnTo>
                        <a:pt x="541" y="30"/>
                      </a:lnTo>
                      <a:lnTo>
                        <a:pt x="543" y="31"/>
                      </a:lnTo>
                      <a:lnTo>
                        <a:pt x="543" y="33"/>
                      </a:lnTo>
                      <a:lnTo>
                        <a:pt x="544" y="33"/>
                      </a:lnTo>
                      <a:lnTo>
                        <a:pt x="546" y="33"/>
                      </a:lnTo>
                      <a:lnTo>
                        <a:pt x="548" y="33"/>
                      </a:lnTo>
                      <a:lnTo>
                        <a:pt x="549" y="35"/>
                      </a:lnTo>
                      <a:lnTo>
                        <a:pt x="551" y="36"/>
                      </a:lnTo>
                      <a:lnTo>
                        <a:pt x="554" y="40"/>
                      </a:lnTo>
                      <a:lnTo>
                        <a:pt x="558" y="40"/>
                      </a:lnTo>
                      <a:lnTo>
                        <a:pt x="558" y="38"/>
                      </a:lnTo>
                      <a:lnTo>
                        <a:pt x="559" y="38"/>
                      </a:lnTo>
                      <a:lnTo>
                        <a:pt x="559" y="36"/>
                      </a:lnTo>
                      <a:lnTo>
                        <a:pt x="559" y="35"/>
                      </a:lnTo>
                      <a:lnTo>
                        <a:pt x="559" y="33"/>
                      </a:lnTo>
                      <a:lnTo>
                        <a:pt x="561" y="33"/>
                      </a:lnTo>
                      <a:lnTo>
                        <a:pt x="563" y="33"/>
                      </a:lnTo>
                      <a:lnTo>
                        <a:pt x="565" y="31"/>
                      </a:lnTo>
                      <a:lnTo>
                        <a:pt x="566" y="30"/>
                      </a:lnTo>
                      <a:lnTo>
                        <a:pt x="566" y="28"/>
                      </a:lnTo>
                      <a:lnTo>
                        <a:pt x="568" y="28"/>
                      </a:lnTo>
                      <a:lnTo>
                        <a:pt x="568" y="26"/>
                      </a:lnTo>
                      <a:lnTo>
                        <a:pt x="570" y="25"/>
                      </a:lnTo>
                      <a:lnTo>
                        <a:pt x="571" y="23"/>
                      </a:lnTo>
                      <a:lnTo>
                        <a:pt x="573" y="20"/>
                      </a:lnTo>
                      <a:lnTo>
                        <a:pt x="575" y="20"/>
                      </a:lnTo>
                      <a:lnTo>
                        <a:pt x="578" y="20"/>
                      </a:lnTo>
                      <a:lnTo>
                        <a:pt x="580" y="22"/>
                      </a:lnTo>
                      <a:lnTo>
                        <a:pt x="583" y="22"/>
                      </a:lnTo>
                      <a:lnTo>
                        <a:pt x="585" y="22"/>
                      </a:lnTo>
                      <a:lnTo>
                        <a:pt x="588" y="22"/>
                      </a:lnTo>
                      <a:lnTo>
                        <a:pt x="588" y="20"/>
                      </a:lnTo>
                      <a:lnTo>
                        <a:pt x="590" y="18"/>
                      </a:lnTo>
                      <a:lnTo>
                        <a:pt x="590" y="15"/>
                      </a:lnTo>
                      <a:lnTo>
                        <a:pt x="592" y="15"/>
                      </a:lnTo>
                      <a:lnTo>
                        <a:pt x="593" y="13"/>
                      </a:lnTo>
                      <a:lnTo>
                        <a:pt x="593" y="12"/>
                      </a:lnTo>
                      <a:lnTo>
                        <a:pt x="593" y="10"/>
                      </a:lnTo>
                      <a:lnTo>
                        <a:pt x="595" y="8"/>
                      </a:lnTo>
                      <a:lnTo>
                        <a:pt x="597" y="8"/>
                      </a:lnTo>
                      <a:lnTo>
                        <a:pt x="598" y="7"/>
                      </a:lnTo>
                      <a:lnTo>
                        <a:pt x="600" y="7"/>
                      </a:lnTo>
                      <a:lnTo>
                        <a:pt x="602" y="5"/>
                      </a:lnTo>
                      <a:lnTo>
                        <a:pt x="603" y="5"/>
                      </a:lnTo>
                      <a:lnTo>
                        <a:pt x="605" y="3"/>
                      </a:lnTo>
                      <a:lnTo>
                        <a:pt x="605" y="2"/>
                      </a:lnTo>
                      <a:lnTo>
                        <a:pt x="607" y="0"/>
                      </a:lnTo>
                      <a:lnTo>
                        <a:pt x="610" y="2"/>
                      </a:lnTo>
                      <a:lnTo>
                        <a:pt x="612" y="2"/>
                      </a:lnTo>
                      <a:lnTo>
                        <a:pt x="614" y="5"/>
                      </a:lnTo>
                      <a:lnTo>
                        <a:pt x="614" y="7"/>
                      </a:lnTo>
                      <a:lnTo>
                        <a:pt x="614" y="10"/>
                      </a:lnTo>
                      <a:lnTo>
                        <a:pt x="614" y="13"/>
                      </a:lnTo>
                      <a:lnTo>
                        <a:pt x="614" y="15"/>
                      </a:lnTo>
                      <a:lnTo>
                        <a:pt x="615" y="17"/>
                      </a:lnTo>
                      <a:lnTo>
                        <a:pt x="615" y="18"/>
                      </a:lnTo>
                      <a:lnTo>
                        <a:pt x="615" y="22"/>
                      </a:lnTo>
                      <a:lnTo>
                        <a:pt x="617" y="23"/>
                      </a:lnTo>
                      <a:lnTo>
                        <a:pt x="617" y="26"/>
                      </a:lnTo>
                      <a:lnTo>
                        <a:pt x="619" y="30"/>
                      </a:lnTo>
                      <a:lnTo>
                        <a:pt x="619" y="33"/>
                      </a:lnTo>
                      <a:lnTo>
                        <a:pt x="620" y="35"/>
                      </a:lnTo>
                      <a:lnTo>
                        <a:pt x="622" y="36"/>
                      </a:lnTo>
                      <a:lnTo>
                        <a:pt x="624" y="36"/>
                      </a:lnTo>
                      <a:lnTo>
                        <a:pt x="625" y="36"/>
                      </a:lnTo>
                      <a:lnTo>
                        <a:pt x="627" y="36"/>
                      </a:lnTo>
                      <a:lnTo>
                        <a:pt x="630" y="36"/>
                      </a:lnTo>
                      <a:lnTo>
                        <a:pt x="632" y="38"/>
                      </a:lnTo>
                      <a:lnTo>
                        <a:pt x="634" y="40"/>
                      </a:lnTo>
                      <a:lnTo>
                        <a:pt x="634" y="43"/>
                      </a:lnTo>
                      <a:lnTo>
                        <a:pt x="635" y="45"/>
                      </a:lnTo>
                      <a:lnTo>
                        <a:pt x="637" y="48"/>
                      </a:lnTo>
                      <a:lnTo>
                        <a:pt x="637" y="51"/>
                      </a:lnTo>
                      <a:lnTo>
                        <a:pt x="637" y="53"/>
                      </a:lnTo>
                      <a:lnTo>
                        <a:pt x="639" y="54"/>
                      </a:lnTo>
                      <a:lnTo>
                        <a:pt x="639" y="58"/>
                      </a:lnTo>
                      <a:lnTo>
                        <a:pt x="639" y="59"/>
                      </a:lnTo>
                      <a:lnTo>
                        <a:pt x="639" y="61"/>
                      </a:lnTo>
                      <a:lnTo>
                        <a:pt x="639" y="66"/>
                      </a:lnTo>
                      <a:lnTo>
                        <a:pt x="639" y="69"/>
                      </a:lnTo>
                      <a:lnTo>
                        <a:pt x="639" y="72"/>
                      </a:lnTo>
                      <a:lnTo>
                        <a:pt x="639" y="76"/>
                      </a:lnTo>
                      <a:lnTo>
                        <a:pt x="639" y="79"/>
                      </a:lnTo>
                      <a:lnTo>
                        <a:pt x="639" y="82"/>
                      </a:lnTo>
                      <a:lnTo>
                        <a:pt x="637" y="86"/>
                      </a:lnTo>
                      <a:lnTo>
                        <a:pt x="637" y="89"/>
                      </a:lnTo>
                      <a:lnTo>
                        <a:pt x="639" y="92"/>
                      </a:lnTo>
                      <a:lnTo>
                        <a:pt x="637" y="94"/>
                      </a:lnTo>
                      <a:lnTo>
                        <a:pt x="639" y="97"/>
                      </a:lnTo>
                      <a:lnTo>
                        <a:pt x="639" y="99"/>
                      </a:lnTo>
                      <a:lnTo>
                        <a:pt x="637" y="100"/>
                      </a:lnTo>
                      <a:lnTo>
                        <a:pt x="659" y="94"/>
                      </a:lnTo>
                      <a:lnTo>
                        <a:pt x="684" y="115"/>
                      </a:lnTo>
                      <a:lnTo>
                        <a:pt x="711" y="138"/>
                      </a:lnTo>
                      <a:lnTo>
                        <a:pt x="722" y="137"/>
                      </a:lnTo>
                      <a:lnTo>
                        <a:pt x="723" y="137"/>
                      </a:lnTo>
                      <a:lnTo>
                        <a:pt x="725" y="138"/>
                      </a:lnTo>
                      <a:lnTo>
                        <a:pt x="725" y="140"/>
                      </a:lnTo>
                      <a:lnTo>
                        <a:pt x="727" y="140"/>
                      </a:lnTo>
                      <a:lnTo>
                        <a:pt x="728" y="140"/>
                      </a:lnTo>
                      <a:lnTo>
                        <a:pt x="730" y="138"/>
                      </a:lnTo>
                      <a:lnTo>
                        <a:pt x="732" y="138"/>
                      </a:lnTo>
                      <a:lnTo>
                        <a:pt x="733" y="138"/>
                      </a:lnTo>
                      <a:lnTo>
                        <a:pt x="733" y="137"/>
                      </a:lnTo>
                      <a:lnTo>
                        <a:pt x="733" y="135"/>
                      </a:lnTo>
                      <a:lnTo>
                        <a:pt x="735" y="133"/>
                      </a:lnTo>
                      <a:lnTo>
                        <a:pt x="737" y="133"/>
                      </a:lnTo>
                      <a:lnTo>
                        <a:pt x="740" y="135"/>
                      </a:lnTo>
                      <a:lnTo>
                        <a:pt x="740" y="133"/>
                      </a:lnTo>
                      <a:lnTo>
                        <a:pt x="742" y="133"/>
                      </a:lnTo>
                      <a:lnTo>
                        <a:pt x="744" y="133"/>
                      </a:lnTo>
                      <a:lnTo>
                        <a:pt x="745" y="133"/>
                      </a:lnTo>
                      <a:lnTo>
                        <a:pt x="744" y="133"/>
                      </a:lnTo>
                      <a:lnTo>
                        <a:pt x="745" y="132"/>
                      </a:lnTo>
                      <a:lnTo>
                        <a:pt x="747" y="130"/>
                      </a:lnTo>
                      <a:lnTo>
                        <a:pt x="747" y="128"/>
                      </a:lnTo>
                      <a:lnTo>
                        <a:pt x="747" y="127"/>
                      </a:lnTo>
                      <a:lnTo>
                        <a:pt x="749" y="125"/>
                      </a:lnTo>
                      <a:lnTo>
                        <a:pt x="749" y="127"/>
                      </a:lnTo>
                      <a:lnTo>
                        <a:pt x="750" y="127"/>
                      </a:lnTo>
                      <a:lnTo>
                        <a:pt x="750" y="125"/>
                      </a:lnTo>
                      <a:lnTo>
                        <a:pt x="752" y="125"/>
                      </a:lnTo>
                      <a:lnTo>
                        <a:pt x="752" y="123"/>
                      </a:lnTo>
                      <a:lnTo>
                        <a:pt x="754" y="123"/>
                      </a:lnTo>
                      <a:lnTo>
                        <a:pt x="752" y="122"/>
                      </a:lnTo>
                      <a:lnTo>
                        <a:pt x="754" y="122"/>
                      </a:lnTo>
                      <a:lnTo>
                        <a:pt x="755" y="122"/>
                      </a:lnTo>
                      <a:lnTo>
                        <a:pt x="757" y="122"/>
                      </a:lnTo>
                      <a:lnTo>
                        <a:pt x="757" y="120"/>
                      </a:lnTo>
                      <a:lnTo>
                        <a:pt x="759" y="120"/>
                      </a:lnTo>
                      <a:lnTo>
                        <a:pt x="760" y="120"/>
                      </a:lnTo>
                      <a:lnTo>
                        <a:pt x="762" y="118"/>
                      </a:lnTo>
                      <a:lnTo>
                        <a:pt x="762" y="120"/>
                      </a:lnTo>
                      <a:lnTo>
                        <a:pt x="764" y="118"/>
                      </a:lnTo>
                      <a:lnTo>
                        <a:pt x="764" y="117"/>
                      </a:lnTo>
                      <a:lnTo>
                        <a:pt x="766" y="117"/>
                      </a:lnTo>
                      <a:lnTo>
                        <a:pt x="766" y="115"/>
                      </a:lnTo>
                      <a:lnTo>
                        <a:pt x="767" y="115"/>
                      </a:lnTo>
                      <a:lnTo>
                        <a:pt x="769" y="117"/>
                      </a:lnTo>
                      <a:lnTo>
                        <a:pt x="769" y="115"/>
                      </a:lnTo>
                      <a:lnTo>
                        <a:pt x="771" y="115"/>
                      </a:lnTo>
                      <a:lnTo>
                        <a:pt x="771" y="117"/>
                      </a:lnTo>
                      <a:lnTo>
                        <a:pt x="772" y="117"/>
                      </a:lnTo>
                      <a:lnTo>
                        <a:pt x="772" y="115"/>
                      </a:lnTo>
                      <a:lnTo>
                        <a:pt x="774" y="115"/>
                      </a:lnTo>
                      <a:lnTo>
                        <a:pt x="776" y="115"/>
                      </a:lnTo>
                      <a:lnTo>
                        <a:pt x="777" y="117"/>
                      </a:lnTo>
                      <a:lnTo>
                        <a:pt x="776" y="115"/>
                      </a:lnTo>
                      <a:lnTo>
                        <a:pt x="777" y="115"/>
                      </a:lnTo>
                      <a:lnTo>
                        <a:pt x="779" y="115"/>
                      </a:lnTo>
                      <a:lnTo>
                        <a:pt x="781" y="115"/>
                      </a:lnTo>
                      <a:lnTo>
                        <a:pt x="782" y="117"/>
                      </a:lnTo>
                      <a:lnTo>
                        <a:pt x="782" y="118"/>
                      </a:lnTo>
                      <a:lnTo>
                        <a:pt x="784" y="118"/>
                      </a:lnTo>
                      <a:lnTo>
                        <a:pt x="784" y="120"/>
                      </a:lnTo>
                      <a:lnTo>
                        <a:pt x="786" y="120"/>
                      </a:lnTo>
                      <a:lnTo>
                        <a:pt x="786" y="122"/>
                      </a:lnTo>
                      <a:lnTo>
                        <a:pt x="787" y="123"/>
                      </a:lnTo>
                      <a:lnTo>
                        <a:pt x="787" y="125"/>
                      </a:lnTo>
                      <a:lnTo>
                        <a:pt x="787" y="127"/>
                      </a:lnTo>
                      <a:lnTo>
                        <a:pt x="789" y="127"/>
                      </a:lnTo>
                      <a:lnTo>
                        <a:pt x="787" y="128"/>
                      </a:lnTo>
                      <a:lnTo>
                        <a:pt x="787" y="130"/>
                      </a:lnTo>
                      <a:lnTo>
                        <a:pt x="789" y="130"/>
                      </a:lnTo>
                      <a:lnTo>
                        <a:pt x="787" y="130"/>
                      </a:lnTo>
                      <a:lnTo>
                        <a:pt x="787" y="132"/>
                      </a:lnTo>
                      <a:lnTo>
                        <a:pt x="786" y="130"/>
                      </a:lnTo>
                      <a:lnTo>
                        <a:pt x="786" y="132"/>
                      </a:lnTo>
                      <a:lnTo>
                        <a:pt x="786" y="133"/>
                      </a:lnTo>
                      <a:lnTo>
                        <a:pt x="784" y="133"/>
                      </a:lnTo>
                      <a:lnTo>
                        <a:pt x="784" y="135"/>
                      </a:lnTo>
                      <a:lnTo>
                        <a:pt x="784" y="137"/>
                      </a:lnTo>
                      <a:lnTo>
                        <a:pt x="782" y="137"/>
                      </a:lnTo>
                      <a:lnTo>
                        <a:pt x="781" y="138"/>
                      </a:lnTo>
                      <a:lnTo>
                        <a:pt x="781" y="140"/>
                      </a:lnTo>
                      <a:lnTo>
                        <a:pt x="779" y="141"/>
                      </a:lnTo>
                      <a:lnTo>
                        <a:pt x="781" y="141"/>
                      </a:lnTo>
                      <a:lnTo>
                        <a:pt x="781" y="143"/>
                      </a:lnTo>
                      <a:lnTo>
                        <a:pt x="782" y="145"/>
                      </a:lnTo>
                      <a:lnTo>
                        <a:pt x="782" y="146"/>
                      </a:lnTo>
                      <a:lnTo>
                        <a:pt x="784" y="148"/>
                      </a:lnTo>
                      <a:lnTo>
                        <a:pt x="786" y="148"/>
                      </a:lnTo>
                      <a:lnTo>
                        <a:pt x="786" y="146"/>
                      </a:lnTo>
                      <a:lnTo>
                        <a:pt x="787" y="146"/>
                      </a:lnTo>
                      <a:lnTo>
                        <a:pt x="789" y="146"/>
                      </a:lnTo>
                      <a:lnTo>
                        <a:pt x="789" y="145"/>
                      </a:lnTo>
                      <a:lnTo>
                        <a:pt x="791" y="145"/>
                      </a:lnTo>
                      <a:lnTo>
                        <a:pt x="793" y="145"/>
                      </a:lnTo>
                      <a:lnTo>
                        <a:pt x="794" y="145"/>
                      </a:lnTo>
                      <a:lnTo>
                        <a:pt x="794" y="143"/>
                      </a:lnTo>
                      <a:lnTo>
                        <a:pt x="796" y="143"/>
                      </a:lnTo>
                      <a:lnTo>
                        <a:pt x="796" y="140"/>
                      </a:lnTo>
                      <a:lnTo>
                        <a:pt x="798" y="140"/>
                      </a:lnTo>
                      <a:lnTo>
                        <a:pt x="796" y="140"/>
                      </a:lnTo>
                      <a:lnTo>
                        <a:pt x="796" y="138"/>
                      </a:lnTo>
                      <a:lnTo>
                        <a:pt x="798" y="138"/>
                      </a:lnTo>
                      <a:lnTo>
                        <a:pt x="798" y="137"/>
                      </a:lnTo>
                      <a:lnTo>
                        <a:pt x="798" y="135"/>
                      </a:lnTo>
                      <a:lnTo>
                        <a:pt x="798" y="133"/>
                      </a:lnTo>
                      <a:lnTo>
                        <a:pt x="796" y="133"/>
                      </a:lnTo>
                      <a:lnTo>
                        <a:pt x="798" y="133"/>
                      </a:lnTo>
                      <a:lnTo>
                        <a:pt x="798" y="132"/>
                      </a:lnTo>
                      <a:lnTo>
                        <a:pt x="799" y="130"/>
                      </a:lnTo>
                      <a:lnTo>
                        <a:pt x="801" y="128"/>
                      </a:lnTo>
                      <a:lnTo>
                        <a:pt x="803" y="128"/>
                      </a:lnTo>
                      <a:lnTo>
                        <a:pt x="803" y="127"/>
                      </a:lnTo>
                      <a:lnTo>
                        <a:pt x="803" y="125"/>
                      </a:lnTo>
                      <a:lnTo>
                        <a:pt x="804" y="125"/>
                      </a:lnTo>
                      <a:lnTo>
                        <a:pt x="804" y="123"/>
                      </a:lnTo>
                      <a:lnTo>
                        <a:pt x="804" y="122"/>
                      </a:lnTo>
                      <a:lnTo>
                        <a:pt x="806" y="122"/>
                      </a:lnTo>
                      <a:lnTo>
                        <a:pt x="808" y="122"/>
                      </a:lnTo>
                      <a:lnTo>
                        <a:pt x="809" y="122"/>
                      </a:lnTo>
                      <a:lnTo>
                        <a:pt x="811" y="122"/>
                      </a:lnTo>
                      <a:lnTo>
                        <a:pt x="811" y="123"/>
                      </a:lnTo>
                      <a:lnTo>
                        <a:pt x="813" y="123"/>
                      </a:lnTo>
                      <a:lnTo>
                        <a:pt x="814" y="123"/>
                      </a:lnTo>
                      <a:lnTo>
                        <a:pt x="814" y="122"/>
                      </a:lnTo>
                      <a:lnTo>
                        <a:pt x="816" y="122"/>
                      </a:lnTo>
                      <a:lnTo>
                        <a:pt x="816" y="123"/>
                      </a:lnTo>
                      <a:lnTo>
                        <a:pt x="816" y="125"/>
                      </a:lnTo>
                      <a:lnTo>
                        <a:pt x="818" y="123"/>
                      </a:lnTo>
                      <a:lnTo>
                        <a:pt x="820" y="122"/>
                      </a:lnTo>
                      <a:lnTo>
                        <a:pt x="820" y="120"/>
                      </a:lnTo>
                      <a:lnTo>
                        <a:pt x="820" y="118"/>
                      </a:lnTo>
                      <a:lnTo>
                        <a:pt x="821" y="118"/>
                      </a:lnTo>
                      <a:lnTo>
                        <a:pt x="821" y="117"/>
                      </a:lnTo>
                      <a:lnTo>
                        <a:pt x="821" y="115"/>
                      </a:lnTo>
                      <a:lnTo>
                        <a:pt x="820" y="115"/>
                      </a:lnTo>
                      <a:lnTo>
                        <a:pt x="820" y="114"/>
                      </a:lnTo>
                      <a:lnTo>
                        <a:pt x="821" y="114"/>
                      </a:lnTo>
                      <a:lnTo>
                        <a:pt x="821" y="112"/>
                      </a:lnTo>
                      <a:lnTo>
                        <a:pt x="821" y="110"/>
                      </a:lnTo>
                      <a:lnTo>
                        <a:pt x="821" y="109"/>
                      </a:lnTo>
                      <a:lnTo>
                        <a:pt x="821" y="107"/>
                      </a:lnTo>
                      <a:lnTo>
                        <a:pt x="821" y="105"/>
                      </a:lnTo>
                      <a:lnTo>
                        <a:pt x="821" y="104"/>
                      </a:lnTo>
                      <a:lnTo>
                        <a:pt x="823" y="104"/>
                      </a:lnTo>
                      <a:lnTo>
                        <a:pt x="825" y="104"/>
                      </a:lnTo>
                      <a:lnTo>
                        <a:pt x="825" y="102"/>
                      </a:lnTo>
                      <a:lnTo>
                        <a:pt x="826" y="102"/>
                      </a:lnTo>
                      <a:lnTo>
                        <a:pt x="828" y="102"/>
                      </a:lnTo>
                      <a:lnTo>
                        <a:pt x="830" y="102"/>
                      </a:lnTo>
                      <a:lnTo>
                        <a:pt x="830" y="104"/>
                      </a:lnTo>
                      <a:lnTo>
                        <a:pt x="830" y="105"/>
                      </a:lnTo>
                      <a:lnTo>
                        <a:pt x="831" y="105"/>
                      </a:lnTo>
                      <a:lnTo>
                        <a:pt x="833" y="105"/>
                      </a:lnTo>
                      <a:lnTo>
                        <a:pt x="835" y="104"/>
                      </a:lnTo>
                      <a:lnTo>
                        <a:pt x="836" y="102"/>
                      </a:lnTo>
                      <a:lnTo>
                        <a:pt x="838" y="100"/>
                      </a:lnTo>
                      <a:lnTo>
                        <a:pt x="840" y="99"/>
                      </a:lnTo>
                      <a:lnTo>
                        <a:pt x="840" y="97"/>
                      </a:lnTo>
                      <a:lnTo>
                        <a:pt x="838" y="95"/>
                      </a:lnTo>
                      <a:lnTo>
                        <a:pt x="840" y="95"/>
                      </a:lnTo>
                      <a:lnTo>
                        <a:pt x="840" y="94"/>
                      </a:lnTo>
                      <a:lnTo>
                        <a:pt x="842" y="95"/>
                      </a:lnTo>
                      <a:lnTo>
                        <a:pt x="842" y="97"/>
                      </a:lnTo>
                      <a:lnTo>
                        <a:pt x="843" y="95"/>
                      </a:lnTo>
                      <a:lnTo>
                        <a:pt x="845" y="94"/>
                      </a:lnTo>
                      <a:lnTo>
                        <a:pt x="845" y="92"/>
                      </a:lnTo>
                      <a:lnTo>
                        <a:pt x="847" y="92"/>
                      </a:lnTo>
                      <a:lnTo>
                        <a:pt x="847" y="94"/>
                      </a:lnTo>
                      <a:lnTo>
                        <a:pt x="847" y="95"/>
                      </a:lnTo>
                      <a:lnTo>
                        <a:pt x="848" y="94"/>
                      </a:lnTo>
                      <a:lnTo>
                        <a:pt x="850" y="92"/>
                      </a:lnTo>
                      <a:lnTo>
                        <a:pt x="848" y="91"/>
                      </a:lnTo>
                      <a:lnTo>
                        <a:pt x="850" y="91"/>
                      </a:lnTo>
                      <a:lnTo>
                        <a:pt x="852" y="89"/>
                      </a:lnTo>
                      <a:lnTo>
                        <a:pt x="853" y="89"/>
                      </a:lnTo>
                      <a:lnTo>
                        <a:pt x="853" y="87"/>
                      </a:lnTo>
                      <a:lnTo>
                        <a:pt x="855" y="87"/>
                      </a:lnTo>
                      <a:lnTo>
                        <a:pt x="855" y="89"/>
                      </a:lnTo>
                      <a:lnTo>
                        <a:pt x="855" y="91"/>
                      </a:lnTo>
                      <a:lnTo>
                        <a:pt x="857" y="92"/>
                      </a:lnTo>
                      <a:lnTo>
                        <a:pt x="858" y="94"/>
                      </a:lnTo>
                      <a:lnTo>
                        <a:pt x="858" y="95"/>
                      </a:lnTo>
                      <a:lnTo>
                        <a:pt x="860" y="95"/>
                      </a:lnTo>
                      <a:lnTo>
                        <a:pt x="860" y="94"/>
                      </a:lnTo>
                      <a:lnTo>
                        <a:pt x="862" y="94"/>
                      </a:lnTo>
                      <a:lnTo>
                        <a:pt x="863" y="92"/>
                      </a:lnTo>
                      <a:lnTo>
                        <a:pt x="863" y="91"/>
                      </a:lnTo>
                      <a:lnTo>
                        <a:pt x="863" y="89"/>
                      </a:lnTo>
                      <a:lnTo>
                        <a:pt x="865" y="89"/>
                      </a:lnTo>
                      <a:lnTo>
                        <a:pt x="867" y="89"/>
                      </a:lnTo>
                      <a:lnTo>
                        <a:pt x="869" y="89"/>
                      </a:lnTo>
                      <a:lnTo>
                        <a:pt x="870" y="87"/>
                      </a:lnTo>
                      <a:lnTo>
                        <a:pt x="870" y="86"/>
                      </a:lnTo>
                      <a:lnTo>
                        <a:pt x="872" y="86"/>
                      </a:lnTo>
                      <a:lnTo>
                        <a:pt x="874" y="84"/>
                      </a:lnTo>
                      <a:lnTo>
                        <a:pt x="875" y="84"/>
                      </a:lnTo>
                      <a:lnTo>
                        <a:pt x="875" y="82"/>
                      </a:lnTo>
                      <a:lnTo>
                        <a:pt x="875" y="81"/>
                      </a:lnTo>
                      <a:lnTo>
                        <a:pt x="877" y="81"/>
                      </a:lnTo>
                      <a:lnTo>
                        <a:pt x="877" y="79"/>
                      </a:lnTo>
                      <a:lnTo>
                        <a:pt x="877" y="77"/>
                      </a:lnTo>
                      <a:lnTo>
                        <a:pt x="879" y="77"/>
                      </a:lnTo>
                      <a:lnTo>
                        <a:pt x="880" y="77"/>
                      </a:lnTo>
                      <a:lnTo>
                        <a:pt x="880" y="76"/>
                      </a:lnTo>
                      <a:lnTo>
                        <a:pt x="880" y="74"/>
                      </a:lnTo>
                      <a:lnTo>
                        <a:pt x="880" y="76"/>
                      </a:lnTo>
                      <a:lnTo>
                        <a:pt x="882" y="76"/>
                      </a:lnTo>
                      <a:lnTo>
                        <a:pt x="884" y="76"/>
                      </a:lnTo>
                      <a:lnTo>
                        <a:pt x="884" y="74"/>
                      </a:lnTo>
                      <a:lnTo>
                        <a:pt x="885" y="72"/>
                      </a:lnTo>
                      <a:lnTo>
                        <a:pt x="887" y="71"/>
                      </a:lnTo>
                      <a:lnTo>
                        <a:pt x="889" y="72"/>
                      </a:lnTo>
                      <a:lnTo>
                        <a:pt x="890" y="72"/>
                      </a:lnTo>
                      <a:lnTo>
                        <a:pt x="890" y="71"/>
                      </a:lnTo>
                      <a:lnTo>
                        <a:pt x="892" y="69"/>
                      </a:lnTo>
                      <a:lnTo>
                        <a:pt x="892" y="68"/>
                      </a:lnTo>
                      <a:lnTo>
                        <a:pt x="894" y="68"/>
                      </a:lnTo>
                      <a:lnTo>
                        <a:pt x="896" y="68"/>
                      </a:lnTo>
                      <a:lnTo>
                        <a:pt x="897" y="68"/>
                      </a:lnTo>
                      <a:lnTo>
                        <a:pt x="897" y="69"/>
                      </a:lnTo>
                      <a:lnTo>
                        <a:pt x="897" y="71"/>
                      </a:lnTo>
                      <a:lnTo>
                        <a:pt x="896" y="72"/>
                      </a:lnTo>
                      <a:lnTo>
                        <a:pt x="896" y="74"/>
                      </a:lnTo>
                      <a:lnTo>
                        <a:pt x="894" y="74"/>
                      </a:lnTo>
                      <a:lnTo>
                        <a:pt x="894" y="76"/>
                      </a:lnTo>
                      <a:lnTo>
                        <a:pt x="892" y="77"/>
                      </a:lnTo>
                      <a:lnTo>
                        <a:pt x="894" y="77"/>
                      </a:lnTo>
                      <a:lnTo>
                        <a:pt x="892" y="79"/>
                      </a:lnTo>
                      <a:lnTo>
                        <a:pt x="894" y="81"/>
                      </a:lnTo>
                      <a:lnTo>
                        <a:pt x="896" y="81"/>
                      </a:lnTo>
                      <a:lnTo>
                        <a:pt x="897" y="79"/>
                      </a:lnTo>
                      <a:lnTo>
                        <a:pt x="897" y="81"/>
                      </a:lnTo>
                      <a:lnTo>
                        <a:pt x="897" y="82"/>
                      </a:lnTo>
                      <a:lnTo>
                        <a:pt x="899" y="82"/>
                      </a:lnTo>
                      <a:lnTo>
                        <a:pt x="899" y="81"/>
                      </a:lnTo>
                      <a:lnTo>
                        <a:pt x="899" y="79"/>
                      </a:lnTo>
                      <a:lnTo>
                        <a:pt x="901" y="77"/>
                      </a:lnTo>
                      <a:lnTo>
                        <a:pt x="899" y="77"/>
                      </a:lnTo>
                      <a:lnTo>
                        <a:pt x="899" y="76"/>
                      </a:lnTo>
                      <a:lnTo>
                        <a:pt x="901" y="76"/>
                      </a:lnTo>
                      <a:lnTo>
                        <a:pt x="901" y="74"/>
                      </a:lnTo>
                      <a:lnTo>
                        <a:pt x="902" y="74"/>
                      </a:lnTo>
                      <a:lnTo>
                        <a:pt x="902" y="72"/>
                      </a:lnTo>
                      <a:lnTo>
                        <a:pt x="904" y="72"/>
                      </a:lnTo>
                      <a:lnTo>
                        <a:pt x="904" y="71"/>
                      </a:lnTo>
                      <a:lnTo>
                        <a:pt x="906" y="71"/>
                      </a:lnTo>
                      <a:lnTo>
                        <a:pt x="906" y="69"/>
                      </a:lnTo>
                      <a:lnTo>
                        <a:pt x="907" y="69"/>
                      </a:lnTo>
                      <a:lnTo>
                        <a:pt x="909" y="69"/>
                      </a:lnTo>
                      <a:lnTo>
                        <a:pt x="911" y="69"/>
                      </a:lnTo>
                      <a:lnTo>
                        <a:pt x="911" y="68"/>
                      </a:lnTo>
                      <a:lnTo>
                        <a:pt x="912" y="68"/>
                      </a:lnTo>
                      <a:lnTo>
                        <a:pt x="912" y="66"/>
                      </a:lnTo>
                      <a:lnTo>
                        <a:pt x="912" y="64"/>
                      </a:lnTo>
                      <a:lnTo>
                        <a:pt x="914" y="64"/>
                      </a:lnTo>
                      <a:lnTo>
                        <a:pt x="914" y="63"/>
                      </a:lnTo>
                      <a:lnTo>
                        <a:pt x="916" y="63"/>
                      </a:lnTo>
                      <a:lnTo>
                        <a:pt x="918" y="63"/>
                      </a:lnTo>
                      <a:lnTo>
                        <a:pt x="919" y="63"/>
                      </a:lnTo>
                      <a:lnTo>
                        <a:pt x="921" y="61"/>
                      </a:lnTo>
                      <a:lnTo>
                        <a:pt x="921" y="59"/>
                      </a:lnTo>
                      <a:lnTo>
                        <a:pt x="923" y="56"/>
                      </a:lnTo>
                      <a:lnTo>
                        <a:pt x="924" y="56"/>
                      </a:lnTo>
                      <a:lnTo>
                        <a:pt x="924" y="53"/>
                      </a:lnTo>
                      <a:lnTo>
                        <a:pt x="924" y="51"/>
                      </a:lnTo>
                      <a:lnTo>
                        <a:pt x="924" y="49"/>
                      </a:lnTo>
                      <a:lnTo>
                        <a:pt x="924" y="48"/>
                      </a:lnTo>
                      <a:lnTo>
                        <a:pt x="924" y="46"/>
                      </a:lnTo>
                      <a:lnTo>
                        <a:pt x="923" y="46"/>
                      </a:lnTo>
                      <a:lnTo>
                        <a:pt x="924" y="45"/>
                      </a:lnTo>
                      <a:lnTo>
                        <a:pt x="924" y="43"/>
                      </a:lnTo>
                      <a:lnTo>
                        <a:pt x="924" y="41"/>
                      </a:lnTo>
                      <a:lnTo>
                        <a:pt x="926" y="41"/>
                      </a:lnTo>
                      <a:lnTo>
                        <a:pt x="924" y="40"/>
                      </a:lnTo>
                      <a:lnTo>
                        <a:pt x="926" y="40"/>
                      </a:lnTo>
                      <a:lnTo>
                        <a:pt x="926" y="38"/>
                      </a:lnTo>
                      <a:lnTo>
                        <a:pt x="924" y="38"/>
                      </a:lnTo>
                      <a:lnTo>
                        <a:pt x="924" y="36"/>
                      </a:lnTo>
                      <a:lnTo>
                        <a:pt x="924" y="35"/>
                      </a:lnTo>
                      <a:lnTo>
                        <a:pt x="924" y="33"/>
                      </a:lnTo>
                      <a:lnTo>
                        <a:pt x="924" y="31"/>
                      </a:lnTo>
                      <a:lnTo>
                        <a:pt x="924" y="30"/>
                      </a:lnTo>
                      <a:lnTo>
                        <a:pt x="926" y="30"/>
                      </a:lnTo>
                      <a:lnTo>
                        <a:pt x="926" y="28"/>
                      </a:lnTo>
                      <a:lnTo>
                        <a:pt x="928" y="28"/>
                      </a:lnTo>
                      <a:lnTo>
                        <a:pt x="929" y="28"/>
                      </a:lnTo>
                      <a:lnTo>
                        <a:pt x="929" y="26"/>
                      </a:lnTo>
                      <a:lnTo>
                        <a:pt x="931" y="26"/>
                      </a:lnTo>
                      <a:lnTo>
                        <a:pt x="931" y="25"/>
                      </a:lnTo>
                      <a:lnTo>
                        <a:pt x="933" y="25"/>
                      </a:lnTo>
                      <a:lnTo>
                        <a:pt x="934" y="25"/>
                      </a:lnTo>
                      <a:lnTo>
                        <a:pt x="936" y="25"/>
                      </a:lnTo>
                      <a:lnTo>
                        <a:pt x="938" y="25"/>
                      </a:lnTo>
                      <a:lnTo>
                        <a:pt x="939" y="25"/>
                      </a:lnTo>
                      <a:lnTo>
                        <a:pt x="941" y="25"/>
                      </a:lnTo>
                      <a:lnTo>
                        <a:pt x="943" y="25"/>
                      </a:lnTo>
                      <a:lnTo>
                        <a:pt x="945" y="25"/>
                      </a:lnTo>
                      <a:lnTo>
                        <a:pt x="945" y="26"/>
                      </a:lnTo>
                      <a:lnTo>
                        <a:pt x="946" y="26"/>
                      </a:lnTo>
                      <a:lnTo>
                        <a:pt x="948" y="25"/>
                      </a:lnTo>
                      <a:lnTo>
                        <a:pt x="950" y="25"/>
                      </a:lnTo>
                      <a:lnTo>
                        <a:pt x="951" y="25"/>
                      </a:lnTo>
                      <a:lnTo>
                        <a:pt x="953" y="23"/>
                      </a:lnTo>
                      <a:lnTo>
                        <a:pt x="955" y="23"/>
                      </a:lnTo>
                      <a:lnTo>
                        <a:pt x="955" y="22"/>
                      </a:lnTo>
                      <a:lnTo>
                        <a:pt x="956" y="22"/>
                      </a:lnTo>
                      <a:lnTo>
                        <a:pt x="958" y="20"/>
                      </a:lnTo>
                      <a:lnTo>
                        <a:pt x="960" y="20"/>
                      </a:lnTo>
                      <a:lnTo>
                        <a:pt x="960" y="22"/>
                      </a:lnTo>
                      <a:lnTo>
                        <a:pt x="961" y="22"/>
                      </a:lnTo>
                      <a:lnTo>
                        <a:pt x="963" y="22"/>
                      </a:lnTo>
                      <a:lnTo>
                        <a:pt x="963" y="20"/>
                      </a:lnTo>
                      <a:lnTo>
                        <a:pt x="963" y="18"/>
                      </a:lnTo>
                      <a:lnTo>
                        <a:pt x="963" y="17"/>
                      </a:lnTo>
                      <a:lnTo>
                        <a:pt x="965" y="18"/>
                      </a:lnTo>
                      <a:lnTo>
                        <a:pt x="965" y="17"/>
                      </a:lnTo>
                      <a:lnTo>
                        <a:pt x="966" y="15"/>
                      </a:lnTo>
                      <a:lnTo>
                        <a:pt x="966" y="13"/>
                      </a:lnTo>
                      <a:lnTo>
                        <a:pt x="968" y="13"/>
                      </a:lnTo>
                      <a:lnTo>
                        <a:pt x="970" y="12"/>
                      </a:lnTo>
                      <a:lnTo>
                        <a:pt x="970" y="13"/>
                      </a:lnTo>
                      <a:lnTo>
                        <a:pt x="972" y="12"/>
                      </a:lnTo>
                      <a:lnTo>
                        <a:pt x="973" y="12"/>
                      </a:lnTo>
                      <a:lnTo>
                        <a:pt x="975" y="12"/>
                      </a:lnTo>
                      <a:lnTo>
                        <a:pt x="977" y="12"/>
                      </a:lnTo>
                      <a:lnTo>
                        <a:pt x="977" y="13"/>
                      </a:lnTo>
                      <a:lnTo>
                        <a:pt x="978" y="13"/>
                      </a:lnTo>
                      <a:lnTo>
                        <a:pt x="980" y="12"/>
                      </a:lnTo>
                      <a:lnTo>
                        <a:pt x="980" y="10"/>
                      </a:lnTo>
                      <a:lnTo>
                        <a:pt x="982" y="10"/>
                      </a:lnTo>
                      <a:lnTo>
                        <a:pt x="982" y="12"/>
                      </a:lnTo>
                      <a:lnTo>
                        <a:pt x="983" y="12"/>
                      </a:lnTo>
                      <a:lnTo>
                        <a:pt x="985" y="12"/>
                      </a:lnTo>
                      <a:lnTo>
                        <a:pt x="987" y="10"/>
                      </a:lnTo>
                      <a:lnTo>
                        <a:pt x="988" y="10"/>
                      </a:lnTo>
                      <a:lnTo>
                        <a:pt x="988" y="8"/>
                      </a:lnTo>
                      <a:lnTo>
                        <a:pt x="988" y="7"/>
                      </a:lnTo>
                      <a:lnTo>
                        <a:pt x="988" y="5"/>
                      </a:lnTo>
                      <a:lnTo>
                        <a:pt x="990" y="3"/>
                      </a:lnTo>
                      <a:lnTo>
                        <a:pt x="990" y="2"/>
                      </a:lnTo>
                      <a:lnTo>
                        <a:pt x="990" y="3"/>
                      </a:lnTo>
                      <a:lnTo>
                        <a:pt x="992" y="5"/>
                      </a:lnTo>
                      <a:lnTo>
                        <a:pt x="994" y="5"/>
                      </a:lnTo>
                      <a:lnTo>
                        <a:pt x="994" y="7"/>
                      </a:lnTo>
                      <a:lnTo>
                        <a:pt x="995" y="7"/>
                      </a:lnTo>
                      <a:lnTo>
                        <a:pt x="997" y="8"/>
                      </a:lnTo>
                      <a:lnTo>
                        <a:pt x="999" y="8"/>
                      </a:lnTo>
                      <a:lnTo>
                        <a:pt x="1000" y="10"/>
                      </a:lnTo>
                      <a:lnTo>
                        <a:pt x="1002" y="10"/>
                      </a:lnTo>
                      <a:lnTo>
                        <a:pt x="1005" y="8"/>
                      </a:lnTo>
                      <a:lnTo>
                        <a:pt x="1007" y="8"/>
                      </a:lnTo>
                      <a:lnTo>
                        <a:pt x="1009" y="7"/>
                      </a:lnTo>
                      <a:lnTo>
                        <a:pt x="1010" y="7"/>
                      </a:lnTo>
                      <a:lnTo>
                        <a:pt x="1012" y="8"/>
                      </a:lnTo>
                      <a:lnTo>
                        <a:pt x="1014" y="8"/>
                      </a:lnTo>
                      <a:lnTo>
                        <a:pt x="1015" y="8"/>
                      </a:lnTo>
                      <a:lnTo>
                        <a:pt x="1015" y="10"/>
                      </a:lnTo>
                      <a:lnTo>
                        <a:pt x="1014" y="12"/>
                      </a:lnTo>
                      <a:lnTo>
                        <a:pt x="1015" y="12"/>
                      </a:lnTo>
                      <a:lnTo>
                        <a:pt x="1015" y="13"/>
                      </a:lnTo>
                      <a:lnTo>
                        <a:pt x="1015" y="15"/>
                      </a:lnTo>
                      <a:lnTo>
                        <a:pt x="1017" y="17"/>
                      </a:lnTo>
                      <a:lnTo>
                        <a:pt x="1017" y="18"/>
                      </a:lnTo>
                      <a:lnTo>
                        <a:pt x="1019" y="18"/>
                      </a:lnTo>
                      <a:lnTo>
                        <a:pt x="1021" y="20"/>
                      </a:lnTo>
                      <a:lnTo>
                        <a:pt x="1022" y="22"/>
                      </a:lnTo>
                      <a:lnTo>
                        <a:pt x="1024" y="22"/>
                      </a:lnTo>
                      <a:lnTo>
                        <a:pt x="1026" y="23"/>
                      </a:lnTo>
                      <a:lnTo>
                        <a:pt x="1027" y="23"/>
                      </a:lnTo>
                      <a:lnTo>
                        <a:pt x="1027" y="22"/>
                      </a:lnTo>
                      <a:lnTo>
                        <a:pt x="1029" y="23"/>
                      </a:lnTo>
                      <a:lnTo>
                        <a:pt x="1029" y="22"/>
                      </a:lnTo>
                      <a:lnTo>
                        <a:pt x="1031" y="22"/>
                      </a:lnTo>
                      <a:lnTo>
                        <a:pt x="1032" y="22"/>
                      </a:lnTo>
                      <a:lnTo>
                        <a:pt x="1034" y="22"/>
                      </a:lnTo>
                      <a:lnTo>
                        <a:pt x="1036" y="22"/>
                      </a:lnTo>
                      <a:lnTo>
                        <a:pt x="1039" y="22"/>
                      </a:lnTo>
                      <a:lnTo>
                        <a:pt x="1041" y="23"/>
                      </a:lnTo>
                      <a:lnTo>
                        <a:pt x="1042" y="23"/>
                      </a:lnTo>
                      <a:lnTo>
                        <a:pt x="1044" y="23"/>
                      </a:lnTo>
                      <a:lnTo>
                        <a:pt x="1044" y="25"/>
                      </a:lnTo>
                      <a:lnTo>
                        <a:pt x="1046" y="25"/>
                      </a:lnTo>
                      <a:lnTo>
                        <a:pt x="1048" y="25"/>
                      </a:lnTo>
                      <a:lnTo>
                        <a:pt x="1051" y="26"/>
                      </a:lnTo>
                      <a:lnTo>
                        <a:pt x="1053" y="28"/>
                      </a:lnTo>
                      <a:lnTo>
                        <a:pt x="1054" y="28"/>
                      </a:lnTo>
                      <a:lnTo>
                        <a:pt x="1054" y="30"/>
                      </a:lnTo>
                      <a:lnTo>
                        <a:pt x="1056" y="31"/>
                      </a:lnTo>
                      <a:lnTo>
                        <a:pt x="1056" y="33"/>
                      </a:lnTo>
                      <a:lnTo>
                        <a:pt x="1054" y="35"/>
                      </a:lnTo>
                      <a:lnTo>
                        <a:pt x="1054" y="36"/>
                      </a:lnTo>
                      <a:lnTo>
                        <a:pt x="1054" y="38"/>
                      </a:lnTo>
                      <a:lnTo>
                        <a:pt x="1053" y="40"/>
                      </a:lnTo>
                      <a:lnTo>
                        <a:pt x="1053" y="41"/>
                      </a:lnTo>
                      <a:lnTo>
                        <a:pt x="1053" y="43"/>
                      </a:lnTo>
                      <a:lnTo>
                        <a:pt x="1053" y="45"/>
                      </a:lnTo>
                      <a:lnTo>
                        <a:pt x="1053" y="46"/>
                      </a:lnTo>
                      <a:lnTo>
                        <a:pt x="1053" y="48"/>
                      </a:lnTo>
                      <a:lnTo>
                        <a:pt x="1053" y="49"/>
                      </a:lnTo>
                      <a:lnTo>
                        <a:pt x="1053" y="51"/>
                      </a:lnTo>
                      <a:lnTo>
                        <a:pt x="1051" y="53"/>
                      </a:lnTo>
                      <a:lnTo>
                        <a:pt x="1049" y="54"/>
                      </a:lnTo>
                      <a:lnTo>
                        <a:pt x="1048" y="56"/>
                      </a:lnTo>
                      <a:lnTo>
                        <a:pt x="1046" y="58"/>
                      </a:lnTo>
                      <a:lnTo>
                        <a:pt x="1046" y="59"/>
                      </a:lnTo>
                      <a:lnTo>
                        <a:pt x="1044" y="61"/>
                      </a:lnTo>
                      <a:lnTo>
                        <a:pt x="1046" y="61"/>
                      </a:lnTo>
                      <a:lnTo>
                        <a:pt x="1046" y="63"/>
                      </a:lnTo>
                      <a:lnTo>
                        <a:pt x="1051" y="66"/>
                      </a:lnTo>
                      <a:lnTo>
                        <a:pt x="1051" y="68"/>
                      </a:lnTo>
                      <a:lnTo>
                        <a:pt x="1051" y="69"/>
                      </a:lnTo>
                      <a:lnTo>
                        <a:pt x="1053" y="71"/>
                      </a:lnTo>
                      <a:lnTo>
                        <a:pt x="1054" y="72"/>
                      </a:lnTo>
                      <a:lnTo>
                        <a:pt x="1056" y="74"/>
                      </a:lnTo>
                      <a:lnTo>
                        <a:pt x="1058" y="74"/>
                      </a:lnTo>
                      <a:lnTo>
                        <a:pt x="1059" y="74"/>
                      </a:lnTo>
                      <a:lnTo>
                        <a:pt x="1059" y="76"/>
                      </a:lnTo>
                      <a:lnTo>
                        <a:pt x="1061" y="77"/>
                      </a:lnTo>
                      <a:lnTo>
                        <a:pt x="1061" y="79"/>
                      </a:lnTo>
                      <a:lnTo>
                        <a:pt x="1061" y="81"/>
                      </a:lnTo>
                      <a:lnTo>
                        <a:pt x="1061" y="82"/>
                      </a:lnTo>
                      <a:lnTo>
                        <a:pt x="1063" y="84"/>
                      </a:lnTo>
                      <a:lnTo>
                        <a:pt x="1063" y="86"/>
                      </a:lnTo>
                      <a:lnTo>
                        <a:pt x="1063" y="87"/>
                      </a:lnTo>
                      <a:lnTo>
                        <a:pt x="1063" y="89"/>
                      </a:lnTo>
                      <a:lnTo>
                        <a:pt x="1064" y="89"/>
                      </a:lnTo>
                      <a:lnTo>
                        <a:pt x="1064" y="91"/>
                      </a:lnTo>
                      <a:lnTo>
                        <a:pt x="1066" y="95"/>
                      </a:lnTo>
                      <a:lnTo>
                        <a:pt x="1068" y="99"/>
                      </a:lnTo>
                      <a:lnTo>
                        <a:pt x="1068" y="100"/>
                      </a:lnTo>
                      <a:lnTo>
                        <a:pt x="1068" y="102"/>
                      </a:lnTo>
                      <a:lnTo>
                        <a:pt x="1068" y="105"/>
                      </a:lnTo>
                      <a:lnTo>
                        <a:pt x="1070" y="107"/>
                      </a:lnTo>
                      <a:lnTo>
                        <a:pt x="1071" y="109"/>
                      </a:lnTo>
                      <a:lnTo>
                        <a:pt x="1075" y="109"/>
                      </a:lnTo>
                      <a:lnTo>
                        <a:pt x="1075" y="107"/>
                      </a:lnTo>
                      <a:lnTo>
                        <a:pt x="1076" y="109"/>
                      </a:lnTo>
                      <a:lnTo>
                        <a:pt x="1076" y="110"/>
                      </a:lnTo>
                      <a:lnTo>
                        <a:pt x="1075" y="110"/>
                      </a:lnTo>
                      <a:lnTo>
                        <a:pt x="1075" y="112"/>
                      </a:lnTo>
                      <a:lnTo>
                        <a:pt x="1075" y="114"/>
                      </a:lnTo>
                      <a:lnTo>
                        <a:pt x="1076" y="115"/>
                      </a:lnTo>
                      <a:lnTo>
                        <a:pt x="1076" y="117"/>
                      </a:lnTo>
                      <a:lnTo>
                        <a:pt x="1078" y="117"/>
                      </a:lnTo>
                      <a:lnTo>
                        <a:pt x="1078" y="118"/>
                      </a:lnTo>
                      <a:lnTo>
                        <a:pt x="1078" y="120"/>
                      </a:lnTo>
                      <a:lnTo>
                        <a:pt x="1078" y="122"/>
                      </a:lnTo>
                      <a:lnTo>
                        <a:pt x="1076" y="123"/>
                      </a:lnTo>
                      <a:lnTo>
                        <a:pt x="1075" y="125"/>
                      </a:lnTo>
                      <a:lnTo>
                        <a:pt x="1075" y="127"/>
                      </a:lnTo>
                      <a:lnTo>
                        <a:pt x="1075" y="128"/>
                      </a:lnTo>
                      <a:lnTo>
                        <a:pt x="1075" y="130"/>
                      </a:lnTo>
                      <a:lnTo>
                        <a:pt x="1076" y="132"/>
                      </a:lnTo>
                      <a:lnTo>
                        <a:pt x="1076" y="135"/>
                      </a:lnTo>
                      <a:lnTo>
                        <a:pt x="1076" y="137"/>
                      </a:lnTo>
                      <a:lnTo>
                        <a:pt x="1075" y="138"/>
                      </a:lnTo>
                      <a:lnTo>
                        <a:pt x="1073" y="140"/>
                      </a:lnTo>
                      <a:lnTo>
                        <a:pt x="1071" y="140"/>
                      </a:lnTo>
                      <a:lnTo>
                        <a:pt x="1071" y="141"/>
                      </a:lnTo>
                      <a:lnTo>
                        <a:pt x="1070" y="143"/>
                      </a:lnTo>
                      <a:lnTo>
                        <a:pt x="1070" y="145"/>
                      </a:lnTo>
                      <a:lnTo>
                        <a:pt x="1070" y="146"/>
                      </a:lnTo>
                      <a:lnTo>
                        <a:pt x="1070" y="148"/>
                      </a:lnTo>
                      <a:lnTo>
                        <a:pt x="1070" y="150"/>
                      </a:lnTo>
                      <a:lnTo>
                        <a:pt x="1071" y="151"/>
                      </a:lnTo>
                      <a:lnTo>
                        <a:pt x="1071" y="153"/>
                      </a:lnTo>
                      <a:lnTo>
                        <a:pt x="1071" y="155"/>
                      </a:lnTo>
                      <a:lnTo>
                        <a:pt x="1071" y="156"/>
                      </a:lnTo>
                      <a:lnTo>
                        <a:pt x="1070" y="158"/>
                      </a:lnTo>
                      <a:lnTo>
                        <a:pt x="1070" y="159"/>
                      </a:lnTo>
                      <a:lnTo>
                        <a:pt x="1070" y="161"/>
                      </a:lnTo>
                      <a:lnTo>
                        <a:pt x="1071" y="163"/>
                      </a:lnTo>
                      <a:lnTo>
                        <a:pt x="1071" y="166"/>
                      </a:lnTo>
                      <a:lnTo>
                        <a:pt x="1071" y="168"/>
                      </a:lnTo>
                      <a:lnTo>
                        <a:pt x="1073" y="168"/>
                      </a:lnTo>
                      <a:lnTo>
                        <a:pt x="1073" y="166"/>
                      </a:lnTo>
                      <a:lnTo>
                        <a:pt x="1075" y="166"/>
                      </a:lnTo>
                      <a:lnTo>
                        <a:pt x="1076" y="169"/>
                      </a:lnTo>
                      <a:lnTo>
                        <a:pt x="1076" y="171"/>
                      </a:lnTo>
                      <a:lnTo>
                        <a:pt x="1078" y="173"/>
                      </a:lnTo>
                      <a:lnTo>
                        <a:pt x="1078" y="174"/>
                      </a:lnTo>
                      <a:lnTo>
                        <a:pt x="1076" y="174"/>
                      </a:lnTo>
                      <a:lnTo>
                        <a:pt x="1076" y="176"/>
                      </a:lnTo>
                      <a:lnTo>
                        <a:pt x="1076" y="178"/>
                      </a:lnTo>
                      <a:lnTo>
                        <a:pt x="1076" y="179"/>
                      </a:lnTo>
                      <a:lnTo>
                        <a:pt x="1076" y="182"/>
                      </a:lnTo>
                      <a:lnTo>
                        <a:pt x="1076" y="184"/>
                      </a:lnTo>
                      <a:lnTo>
                        <a:pt x="1078" y="186"/>
                      </a:lnTo>
                      <a:lnTo>
                        <a:pt x="1078" y="187"/>
                      </a:lnTo>
                      <a:lnTo>
                        <a:pt x="1078" y="189"/>
                      </a:lnTo>
                      <a:lnTo>
                        <a:pt x="1078" y="191"/>
                      </a:lnTo>
                      <a:lnTo>
                        <a:pt x="1080" y="191"/>
                      </a:lnTo>
                      <a:lnTo>
                        <a:pt x="1080" y="192"/>
                      </a:lnTo>
                      <a:lnTo>
                        <a:pt x="1080" y="194"/>
                      </a:lnTo>
                      <a:lnTo>
                        <a:pt x="1080" y="196"/>
                      </a:lnTo>
                      <a:lnTo>
                        <a:pt x="1080" y="197"/>
                      </a:lnTo>
                      <a:lnTo>
                        <a:pt x="1080" y="199"/>
                      </a:lnTo>
                      <a:lnTo>
                        <a:pt x="1081" y="201"/>
                      </a:lnTo>
                      <a:lnTo>
                        <a:pt x="1083" y="202"/>
                      </a:lnTo>
                      <a:lnTo>
                        <a:pt x="1085" y="202"/>
                      </a:lnTo>
                      <a:lnTo>
                        <a:pt x="1086" y="204"/>
                      </a:lnTo>
                      <a:lnTo>
                        <a:pt x="1086" y="205"/>
                      </a:lnTo>
                      <a:lnTo>
                        <a:pt x="1088" y="205"/>
                      </a:lnTo>
                      <a:lnTo>
                        <a:pt x="1088" y="207"/>
                      </a:lnTo>
                      <a:lnTo>
                        <a:pt x="1088" y="209"/>
                      </a:lnTo>
                      <a:lnTo>
                        <a:pt x="1090" y="209"/>
                      </a:lnTo>
                      <a:lnTo>
                        <a:pt x="1090" y="210"/>
                      </a:lnTo>
                      <a:lnTo>
                        <a:pt x="1090" y="212"/>
                      </a:lnTo>
                      <a:lnTo>
                        <a:pt x="1090" y="214"/>
                      </a:lnTo>
                      <a:lnTo>
                        <a:pt x="1088" y="214"/>
                      </a:lnTo>
                      <a:lnTo>
                        <a:pt x="1090" y="214"/>
                      </a:lnTo>
                      <a:lnTo>
                        <a:pt x="1090" y="215"/>
                      </a:lnTo>
                      <a:lnTo>
                        <a:pt x="1090" y="217"/>
                      </a:lnTo>
                      <a:lnTo>
                        <a:pt x="1091" y="219"/>
                      </a:lnTo>
                      <a:lnTo>
                        <a:pt x="1093" y="220"/>
                      </a:lnTo>
                      <a:lnTo>
                        <a:pt x="1093" y="222"/>
                      </a:lnTo>
                      <a:lnTo>
                        <a:pt x="1095" y="222"/>
                      </a:lnTo>
                      <a:lnTo>
                        <a:pt x="1095" y="224"/>
                      </a:lnTo>
                      <a:lnTo>
                        <a:pt x="1097" y="224"/>
                      </a:lnTo>
                      <a:lnTo>
                        <a:pt x="1098" y="225"/>
                      </a:lnTo>
                      <a:lnTo>
                        <a:pt x="1097" y="225"/>
                      </a:lnTo>
                      <a:lnTo>
                        <a:pt x="1097" y="227"/>
                      </a:lnTo>
                      <a:lnTo>
                        <a:pt x="1097" y="228"/>
                      </a:lnTo>
                      <a:lnTo>
                        <a:pt x="1097" y="230"/>
                      </a:lnTo>
                      <a:lnTo>
                        <a:pt x="1097" y="232"/>
                      </a:lnTo>
                      <a:lnTo>
                        <a:pt x="1098" y="232"/>
                      </a:lnTo>
                      <a:lnTo>
                        <a:pt x="1097" y="233"/>
                      </a:lnTo>
                      <a:lnTo>
                        <a:pt x="1097" y="235"/>
                      </a:lnTo>
                      <a:lnTo>
                        <a:pt x="1098" y="237"/>
                      </a:lnTo>
                      <a:lnTo>
                        <a:pt x="1100" y="237"/>
                      </a:lnTo>
                      <a:lnTo>
                        <a:pt x="1102" y="238"/>
                      </a:lnTo>
                      <a:lnTo>
                        <a:pt x="1103" y="238"/>
                      </a:lnTo>
                      <a:lnTo>
                        <a:pt x="1102" y="240"/>
                      </a:lnTo>
                      <a:lnTo>
                        <a:pt x="1102" y="242"/>
                      </a:lnTo>
                      <a:lnTo>
                        <a:pt x="1100" y="243"/>
                      </a:lnTo>
                      <a:lnTo>
                        <a:pt x="1102" y="243"/>
                      </a:lnTo>
                      <a:lnTo>
                        <a:pt x="1102" y="245"/>
                      </a:lnTo>
                      <a:lnTo>
                        <a:pt x="1100" y="245"/>
                      </a:lnTo>
                      <a:lnTo>
                        <a:pt x="1100" y="247"/>
                      </a:lnTo>
                      <a:lnTo>
                        <a:pt x="1098" y="247"/>
                      </a:lnTo>
                      <a:lnTo>
                        <a:pt x="1098" y="248"/>
                      </a:lnTo>
                      <a:lnTo>
                        <a:pt x="1097" y="248"/>
                      </a:lnTo>
                      <a:lnTo>
                        <a:pt x="1097" y="250"/>
                      </a:lnTo>
                      <a:lnTo>
                        <a:pt x="1095" y="250"/>
                      </a:lnTo>
                      <a:lnTo>
                        <a:pt x="1093" y="251"/>
                      </a:lnTo>
                      <a:lnTo>
                        <a:pt x="1095" y="251"/>
                      </a:lnTo>
                      <a:lnTo>
                        <a:pt x="1093" y="251"/>
                      </a:lnTo>
                      <a:lnTo>
                        <a:pt x="1093" y="253"/>
                      </a:lnTo>
                      <a:lnTo>
                        <a:pt x="1093" y="255"/>
                      </a:lnTo>
                      <a:lnTo>
                        <a:pt x="1091" y="255"/>
                      </a:lnTo>
                      <a:lnTo>
                        <a:pt x="1091" y="258"/>
                      </a:lnTo>
                      <a:lnTo>
                        <a:pt x="1090" y="260"/>
                      </a:lnTo>
                      <a:lnTo>
                        <a:pt x="1091" y="260"/>
                      </a:lnTo>
                      <a:lnTo>
                        <a:pt x="1091" y="261"/>
                      </a:lnTo>
                      <a:lnTo>
                        <a:pt x="1091" y="263"/>
                      </a:lnTo>
                      <a:lnTo>
                        <a:pt x="1093" y="263"/>
                      </a:lnTo>
                      <a:lnTo>
                        <a:pt x="1093" y="265"/>
                      </a:lnTo>
                      <a:lnTo>
                        <a:pt x="1091" y="265"/>
                      </a:lnTo>
                      <a:lnTo>
                        <a:pt x="1093" y="265"/>
                      </a:lnTo>
                      <a:lnTo>
                        <a:pt x="1093" y="266"/>
                      </a:lnTo>
                      <a:lnTo>
                        <a:pt x="1093" y="268"/>
                      </a:lnTo>
                      <a:lnTo>
                        <a:pt x="1091" y="268"/>
                      </a:lnTo>
                      <a:lnTo>
                        <a:pt x="1091" y="270"/>
                      </a:lnTo>
                      <a:lnTo>
                        <a:pt x="1090" y="270"/>
                      </a:lnTo>
                      <a:lnTo>
                        <a:pt x="1090" y="268"/>
                      </a:lnTo>
                      <a:lnTo>
                        <a:pt x="1088" y="270"/>
                      </a:lnTo>
                      <a:lnTo>
                        <a:pt x="1086" y="271"/>
                      </a:lnTo>
                      <a:lnTo>
                        <a:pt x="1086" y="270"/>
                      </a:lnTo>
                      <a:lnTo>
                        <a:pt x="1085" y="271"/>
                      </a:lnTo>
                      <a:lnTo>
                        <a:pt x="1085" y="273"/>
                      </a:lnTo>
                      <a:lnTo>
                        <a:pt x="1086" y="273"/>
                      </a:lnTo>
                      <a:lnTo>
                        <a:pt x="1085" y="273"/>
                      </a:lnTo>
                      <a:lnTo>
                        <a:pt x="1083" y="273"/>
                      </a:lnTo>
                      <a:lnTo>
                        <a:pt x="1083" y="274"/>
                      </a:lnTo>
                      <a:lnTo>
                        <a:pt x="1081" y="274"/>
                      </a:lnTo>
                      <a:lnTo>
                        <a:pt x="1081" y="273"/>
                      </a:lnTo>
                      <a:lnTo>
                        <a:pt x="1080" y="273"/>
                      </a:lnTo>
                      <a:lnTo>
                        <a:pt x="1080" y="271"/>
                      </a:lnTo>
                      <a:lnTo>
                        <a:pt x="1076" y="271"/>
                      </a:lnTo>
                      <a:lnTo>
                        <a:pt x="1075" y="271"/>
                      </a:lnTo>
                      <a:lnTo>
                        <a:pt x="1073" y="271"/>
                      </a:lnTo>
                      <a:lnTo>
                        <a:pt x="1073" y="273"/>
                      </a:lnTo>
                      <a:lnTo>
                        <a:pt x="1073" y="274"/>
                      </a:lnTo>
                      <a:lnTo>
                        <a:pt x="1073" y="276"/>
                      </a:lnTo>
                      <a:lnTo>
                        <a:pt x="1073" y="278"/>
                      </a:lnTo>
                      <a:lnTo>
                        <a:pt x="1071" y="278"/>
                      </a:lnTo>
                      <a:lnTo>
                        <a:pt x="1073" y="279"/>
                      </a:lnTo>
                      <a:lnTo>
                        <a:pt x="1073" y="281"/>
                      </a:lnTo>
                      <a:lnTo>
                        <a:pt x="1075" y="281"/>
                      </a:lnTo>
                      <a:lnTo>
                        <a:pt x="1076" y="281"/>
                      </a:lnTo>
                      <a:lnTo>
                        <a:pt x="1076" y="283"/>
                      </a:lnTo>
                      <a:lnTo>
                        <a:pt x="1078" y="283"/>
                      </a:lnTo>
                      <a:lnTo>
                        <a:pt x="1080" y="283"/>
                      </a:lnTo>
                      <a:lnTo>
                        <a:pt x="1081" y="283"/>
                      </a:lnTo>
                      <a:lnTo>
                        <a:pt x="1083" y="284"/>
                      </a:lnTo>
                      <a:lnTo>
                        <a:pt x="1085" y="284"/>
                      </a:lnTo>
                      <a:lnTo>
                        <a:pt x="1085" y="286"/>
                      </a:lnTo>
                      <a:lnTo>
                        <a:pt x="1085" y="288"/>
                      </a:lnTo>
                      <a:lnTo>
                        <a:pt x="1086" y="288"/>
                      </a:lnTo>
                      <a:lnTo>
                        <a:pt x="1086" y="289"/>
                      </a:lnTo>
                      <a:lnTo>
                        <a:pt x="1088" y="291"/>
                      </a:lnTo>
                      <a:lnTo>
                        <a:pt x="1088" y="293"/>
                      </a:lnTo>
                      <a:lnTo>
                        <a:pt x="1090" y="293"/>
                      </a:lnTo>
                      <a:lnTo>
                        <a:pt x="1091" y="294"/>
                      </a:lnTo>
                      <a:lnTo>
                        <a:pt x="1093" y="296"/>
                      </a:lnTo>
                      <a:lnTo>
                        <a:pt x="1095" y="296"/>
                      </a:lnTo>
                      <a:lnTo>
                        <a:pt x="1095" y="297"/>
                      </a:lnTo>
                      <a:lnTo>
                        <a:pt x="1097" y="297"/>
                      </a:lnTo>
                      <a:lnTo>
                        <a:pt x="1098" y="297"/>
                      </a:lnTo>
                      <a:lnTo>
                        <a:pt x="1100" y="299"/>
                      </a:lnTo>
                      <a:lnTo>
                        <a:pt x="1102" y="299"/>
                      </a:lnTo>
                      <a:lnTo>
                        <a:pt x="1102" y="301"/>
                      </a:lnTo>
                      <a:lnTo>
                        <a:pt x="1103" y="301"/>
                      </a:lnTo>
                      <a:lnTo>
                        <a:pt x="1105" y="301"/>
                      </a:lnTo>
                      <a:lnTo>
                        <a:pt x="1105" y="302"/>
                      </a:lnTo>
                      <a:lnTo>
                        <a:pt x="1107" y="302"/>
                      </a:lnTo>
                      <a:lnTo>
                        <a:pt x="1107" y="304"/>
                      </a:lnTo>
                      <a:lnTo>
                        <a:pt x="1108" y="304"/>
                      </a:lnTo>
                      <a:lnTo>
                        <a:pt x="1110" y="306"/>
                      </a:lnTo>
                      <a:lnTo>
                        <a:pt x="1108" y="307"/>
                      </a:lnTo>
                      <a:lnTo>
                        <a:pt x="1110" y="307"/>
                      </a:lnTo>
                      <a:lnTo>
                        <a:pt x="1110" y="309"/>
                      </a:lnTo>
                      <a:lnTo>
                        <a:pt x="1112" y="309"/>
                      </a:lnTo>
                      <a:lnTo>
                        <a:pt x="1113" y="309"/>
                      </a:lnTo>
                      <a:lnTo>
                        <a:pt x="1115" y="309"/>
                      </a:lnTo>
                      <a:lnTo>
                        <a:pt x="1115" y="311"/>
                      </a:lnTo>
                      <a:lnTo>
                        <a:pt x="1117" y="311"/>
                      </a:lnTo>
                      <a:lnTo>
                        <a:pt x="1118" y="314"/>
                      </a:lnTo>
                      <a:lnTo>
                        <a:pt x="1122" y="319"/>
                      </a:lnTo>
                      <a:lnTo>
                        <a:pt x="1122" y="320"/>
                      </a:lnTo>
                      <a:lnTo>
                        <a:pt x="1124" y="322"/>
                      </a:lnTo>
                      <a:lnTo>
                        <a:pt x="1125" y="325"/>
                      </a:lnTo>
                      <a:lnTo>
                        <a:pt x="1125" y="327"/>
                      </a:lnTo>
                      <a:lnTo>
                        <a:pt x="1125" y="329"/>
                      </a:lnTo>
                      <a:lnTo>
                        <a:pt x="1127" y="330"/>
                      </a:lnTo>
                      <a:lnTo>
                        <a:pt x="1129" y="332"/>
                      </a:lnTo>
                      <a:lnTo>
                        <a:pt x="1129" y="334"/>
                      </a:lnTo>
                      <a:lnTo>
                        <a:pt x="1129" y="335"/>
                      </a:lnTo>
                      <a:lnTo>
                        <a:pt x="1130" y="335"/>
                      </a:lnTo>
                      <a:lnTo>
                        <a:pt x="1130" y="337"/>
                      </a:lnTo>
                      <a:lnTo>
                        <a:pt x="1132" y="337"/>
                      </a:lnTo>
                      <a:lnTo>
                        <a:pt x="1135" y="337"/>
                      </a:lnTo>
                      <a:lnTo>
                        <a:pt x="1137" y="337"/>
                      </a:lnTo>
                      <a:lnTo>
                        <a:pt x="1139" y="335"/>
                      </a:lnTo>
                      <a:lnTo>
                        <a:pt x="1140" y="335"/>
                      </a:lnTo>
                      <a:lnTo>
                        <a:pt x="1142" y="335"/>
                      </a:lnTo>
                      <a:lnTo>
                        <a:pt x="1146" y="337"/>
                      </a:lnTo>
                      <a:lnTo>
                        <a:pt x="1147" y="339"/>
                      </a:lnTo>
                      <a:lnTo>
                        <a:pt x="1149" y="339"/>
                      </a:lnTo>
                      <a:lnTo>
                        <a:pt x="1151" y="339"/>
                      </a:lnTo>
                      <a:lnTo>
                        <a:pt x="1152" y="340"/>
                      </a:lnTo>
                      <a:lnTo>
                        <a:pt x="1154" y="340"/>
                      </a:lnTo>
                      <a:lnTo>
                        <a:pt x="1156" y="340"/>
                      </a:lnTo>
                      <a:lnTo>
                        <a:pt x="1157" y="342"/>
                      </a:lnTo>
                      <a:lnTo>
                        <a:pt x="1159" y="343"/>
                      </a:lnTo>
                      <a:lnTo>
                        <a:pt x="1161" y="345"/>
                      </a:lnTo>
                      <a:lnTo>
                        <a:pt x="1162" y="345"/>
                      </a:lnTo>
                      <a:lnTo>
                        <a:pt x="1162" y="347"/>
                      </a:lnTo>
                      <a:lnTo>
                        <a:pt x="1164" y="348"/>
                      </a:lnTo>
                      <a:lnTo>
                        <a:pt x="1166" y="352"/>
                      </a:lnTo>
                      <a:lnTo>
                        <a:pt x="1167" y="352"/>
                      </a:lnTo>
                      <a:lnTo>
                        <a:pt x="1169" y="353"/>
                      </a:lnTo>
                      <a:lnTo>
                        <a:pt x="1171" y="353"/>
                      </a:lnTo>
                      <a:lnTo>
                        <a:pt x="1171" y="352"/>
                      </a:lnTo>
                      <a:lnTo>
                        <a:pt x="1171" y="350"/>
                      </a:lnTo>
                      <a:lnTo>
                        <a:pt x="1171" y="348"/>
                      </a:lnTo>
                      <a:lnTo>
                        <a:pt x="1169" y="348"/>
                      </a:lnTo>
                      <a:lnTo>
                        <a:pt x="1169" y="347"/>
                      </a:lnTo>
                      <a:lnTo>
                        <a:pt x="1167" y="347"/>
                      </a:lnTo>
                      <a:lnTo>
                        <a:pt x="1166" y="347"/>
                      </a:lnTo>
                      <a:lnTo>
                        <a:pt x="1166" y="345"/>
                      </a:lnTo>
                      <a:lnTo>
                        <a:pt x="1164" y="343"/>
                      </a:lnTo>
                      <a:lnTo>
                        <a:pt x="1164" y="342"/>
                      </a:lnTo>
                      <a:lnTo>
                        <a:pt x="1164" y="340"/>
                      </a:lnTo>
                      <a:lnTo>
                        <a:pt x="1162" y="340"/>
                      </a:lnTo>
                      <a:lnTo>
                        <a:pt x="1161" y="340"/>
                      </a:lnTo>
                      <a:lnTo>
                        <a:pt x="1161" y="339"/>
                      </a:lnTo>
                      <a:lnTo>
                        <a:pt x="1159" y="337"/>
                      </a:lnTo>
                      <a:lnTo>
                        <a:pt x="1157" y="339"/>
                      </a:lnTo>
                      <a:lnTo>
                        <a:pt x="1157" y="337"/>
                      </a:lnTo>
                      <a:lnTo>
                        <a:pt x="1156" y="337"/>
                      </a:lnTo>
                      <a:lnTo>
                        <a:pt x="1157" y="335"/>
                      </a:lnTo>
                      <a:lnTo>
                        <a:pt x="1159" y="334"/>
                      </a:lnTo>
                      <a:lnTo>
                        <a:pt x="1161" y="334"/>
                      </a:lnTo>
                      <a:lnTo>
                        <a:pt x="1159" y="332"/>
                      </a:lnTo>
                      <a:lnTo>
                        <a:pt x="1159" y="330"/>
                      </a:lnTo>
                      <a:lnTo>
                        <a:pt x="1157" y="329"/>
                      </a:lnTo>
                      <a:lnTo>
                        <a:pt x="1156" y="329"/>
                      </a:lnTo>
                      <a:lnTo>
                        <a:pt x="1156" y="327"/>
                      </a:lnTo>
                      <a:lnTo>
                        <a:pt x="1157" y="325"/>
                      </a:lnTo>
                      <a:lnTo>
                        <a:pt x="1157" y="324"/>
                      </a:lnTo>
                      <a:lnTo>
                        <a:pt x="1157" y="322"/>
                      </a:lnTo>
                      <a:lnTo>
                        <a:pt x="1159" y="320"/>
                      </a:lnTo>
                      <a:lnTo>
                        <a:pt x="1159" y="319"/>
                      </a:lnTo>
                      <a:lnTo>
                        <a:pt x="1161" y="317"/>
                      </a:lnTo>
                      <a:lnTo>
                        <a:pt x="1161" y="316"/>
                      </a:lnTo>
                      <a:lnTo>
                        <a:pt x="1161" y="314"/>
                      </a:lnTo>
                      <a:lnTo>
                        <a:pt x="1161" y="312"/>
                      </a:lnTo>
                      <a:lnTo>
                        <a:pt x="1161" y="311"/>
                      </a:lnTo>
                      <a:lnTo>
                        <a:pt x="1161" y="309"/>
                      </a:lnTo>
                      <a:lnTo>
                        <a:pt x="1161" y="307"/>
                      </a:lnTo>
                      <a:lnTo>
                        <a:pt x="1162" y="307"/>
                      </a:lnTo>
                      <a:lnTo>
                        <a:pt x="1164" y="307"/>
                      </a:lnTo>
                      <a:lnTo>
                        <a:pt x="1164" y="306"/>
                      </a:lnTo>
                      <a:lnTo>
                        <a:pt x="1164" y="304"/>
                      </a:lnTo>
                      <a:lnTo>
                        <a:pt x="1162" y="302"/>
                      </a:lnTo>
                      <a:lnTo>
                        <a:pt x="1162" y="301"/>
                      </a:lnTo>
                      <a:lnTo>
                        <a:pt x="1162" y="299"/>
                      </a:lnTo>
                      <a:lnTo>
                        <a:pt x="1161" y="299"/>
                      </a:lnTo>
                      <a:lnTo>
                        <a:pt x="1159" y="299"/>
                      </a:lnTo>
                      <a:lnTo>
                        <a:pt x="1159" y="297"/>
                      </a:lnTo>
                      <a:lnTo>
                        <a:pt x="1161" y="296"/>
                      </a:lnTo>
                      <a:lnTo>
                        <a:pt x="1159" y="296"/>
                      </a:lnTo>
                      <a:lnTo>
                        <a:pt x="1159" y="294"/>
                      </a:lnTo>
                      <a:lnTo>
                        <a:pt x="1161" y="294"/>
                      </a:lnTo>
                      <a:lnTo>
                        <a:pt x="1161" y="293"/>
                      </a:lnTo>
                      <a:lnTo>
                        <a:pt x="1161" y="291"/>
                      </a:lnTo>
                      <a:lnTo>
                        <a:pt x="1162" y="291"/>
                      </a:lnTo>
                      <a:lnTo>
                        <a:pt x="1162" y="289"/>
                      </a:lnTo>
                      <a:lnTo>
                        <a:pt x="1162" y="288"/>
                      </a:lnTo>
                      <a:lnTo>
                        <a:pt x="1164" y="286"/>
                      </a:lnTo>
                      <a:lnTo>
                        <a:pt x="1162" y="286"/>
                      </a:lnTo>
                      <a:lnTo>
                        <a:pt x="1162" y="284"/>
                      </a:lnTo>
                      <a:lnTo>
                        <a:pt x="1162" y="283"/>
                      </a:lnTo>
                      <a:lnTo>
                        <a:pt x="1164" y="279"/>
                      </a:lnTo>
                      <a:lnTo>
                        <a:pt x="1164" y="278"/>
                      </a:lnTo>
                      <a:lnTo>
                        <a:pt x="1166" y="276"/>
                      </a:lnTo>
                      <a:lnTo>
                        <a:pt x="1167" y="276"/>
                      </a:lnTo>
                      <a:lnTo>
                        <a:pt x="1169" y="274"/>
                      </a:lnTo>
                      <a:lnTo>
                        <a:pt x="1171" y="273"/>
                      </a:lnTo>
                      <a:lnTo>
                        <a:pt x="1171" y="271"/>
                      </a:lnTo>
                      <a:lnTo>
                        <a:pt x="1171" y="270"/>
                      </a:lnTo>
                      <a:lnTo>
                        <a:pt x="1173" y="268"/>
                      </a:lnTo>
                      <a:lnTo>
                        <a:pt x="1174" y="268"/>
                      </a:lnTo>
                      <a:lnTo>
                        <a:pt x="1174" y="266"/>
                      </a:lnTo>
                      <a:lnTo>
                        <a:pt x="1176" y="266"/>
                      </a:lnTo>
                      <a:lnTo>
                        <a:pt x="1178" y="265"/>
                      </a:lnTo>
                      <a:lnTo>
                        <a:pt x="1181" y="265"/>
                      </a:lnTo>
                      <a:lnTo>
                        <a:pt x="1181" y="263"/>
                      </a:lnTo>
                      <a:lnTo>
                        <a:pt x="1183" y="263"/>
                      </a:lnTo>
                      <a:lnTo>
                        <a:pt x="1184" y="263"/>
                      </a:lnTo>
                      <a:lnTo>
                        <a:pt x="1186" y="263"/>
                      </a:lnTo>
                      <a:lnTo>
                        <a:pt x="1186" y="261"/>
                      </a:lnTo>
                      <a:lnTo>
                        <a:pt x="1188" y="261"/>
                      </a:lnTo>
                      <a:lnTo>
                        <a:pt x="1189" y="261"/>
                      </a:lnTo>
                      <a:lnTo>
                        <a:pt x="1191" y="261"/>
                      </a:lnTo>
                      <a:lnTo>
                        <a:pt x="1193" y="260"/>
                      </a:lnTo>
                      <a:lnTo>
                        <a:pt x="1194" y="260"/>
                      </a:lnTo>
                      <a:lnTo>
                        <a:pt x="1194" y="258"/>
                      </a:lnTo>
                      <a:lnTo>
                        <a:pt x="1194" y="256"/>
                      </a:lnTo>
                      <a:lnTo>
                        <a:pt x="1194" y="255"/>
                      </a:lnTo>
                      <a:lnTo>
                        <a:pt x="1196" y="255"/>
                      </a:lnTo>
                      <a:lnTo>
                        <a:pt x="1198" y="255"/>
                      </a:lnTo>
                      <a:lnTo>
                        <a:pt x="1200" y="255"/>
                      </a:lnTo>
                      <a:lnTo>
                        <a:pt x="1201" y="255"/>
                      </a:lnTo>
                      <a:lnTo>
                        <a:pt x="1203" y="253"/>
                      </a:lnTo>
                      <a:lnTo>
                        <a:pt x="1205" y="255"/>
                      </a:lnTo>
                      <a:lnTo>
                        <a:pt x="1206" y="255"/>
                      </a:lnTo>
                      <a:lnTo>
                        <a:pt x="1208" y="255"/>
                      </a:lnTo>
                      <a:lnTo>
                        <a:pt x="1210" y="255"/>
                      </a:lnTo>
                      <a:lnTo>
                        <a:pt x="1210" y="256"/>
                      </a:lnTo>
                      <a:lnTo>
                        <a:pt x="1210" y="258"/>
                      </a:lnTo>
                      <a:lnTo>
                        <a:pt x="1211" y="258"/>
                      </a:lnTo>
                      <a:lnTo>
                        <a:pt x="1213" y="258"/>
                      </a:lnTo>
                      <a:lnTo>
                        <a:pt x="1215" y="260"/>
                      </a:lnTo>
                      <a:lnTo>
                        <a:pt x="1218" y="260"/>
                      </a:lnTo>
                      <a:lnTo>
                        <a:pt x="1220" y="260"/>
                      </a:lnTo>
                      <a:lnTo>
                        <a:pt x="1222" y="260"/>
                      </a:lnTo>
                      <a:lnTo>
                        <a:pt x="1223" y="260"/>
                      </a:lnTo>
                      <a:lnTo>
                        <a:pt x="1223" y="261"/>
                      </a:lnTo>
                      <a:lnTo>
                        <a:pt x="1223" y="263"/>
                      </a:lnTo>
                      <a:lnTo>
                        <a:pt x="1223" y="265"/>
                      </a:lnTo>
                      <a:lnTo>
                        <a:pt x="1223" y="266"/>
                      </a:lnTo>
                      <a:lnTo>
                        <a:pt x="1225" y="266"/>
                      </a:lnTo>
                      <a:lnTo>
                        <a:pt x="1225" y="268"/>
                      </a:lnTo>
                      <a:lnTo>
                        <a:pt x="1227" y="268"/>
                      </a:lnTo>
                      <a:lnTo>
                        <a:pt x="1228" y="268"/>
                      </a:lnTo>
                      <a:lnTo>
                        <a:pt x="1230" y="268"/>
                      </a:lnTo>
                      <a:lnTo>
                        <a:pt x="1230" y="270"/>
                      </a:lnTo>
                      <a:lnTo>
                        <a:pt x="1230" y="271"/>
                      </a:lnTo>
                      <a:lnTo>
                        <a:pt x="1232" y="271"/>
                      </a:lnTo>
                      <a:lnTo>
                        <a:pt x="1233" y="271"/>
                      </a:lnTo>
                      <a:lnTo>
                        <a:pt x="1235" y="273"/>
                      </a:lnTo>
                      <a:lnTo>
                        <a:pt x="1235" y="274"/>
                      </a:lnTo>
                      <a:lnTo>
                        <a:pt x="1233" y="276"/>
                      </a:lnTo>
                      <a:lnTo>
                        <a:pt x="1235" y="276"/>
                      </a:lnTo>
                      <a:lnTo>
                        <a:pt x="1237" y="278"/>
                      </a:lnTo>
                      <a:lnTo>
                        <a:pt x="1238" y="278"/>
                      </a:lnTo>
                      <a:lnTo>
                        <a:pt x="1237" y="279"/>
                      </a:lnTo>
                      <a:lnTo>
                        <a:pt x="1237" y="281"/>
                      </a:lnTo>
                      <a:lnTo>
                        <a:pt x="1238" y="281"/>
                      </a:lnTo>
                      <a:lnTo>
                        <a:pt x="1238" y="283"/>
                      </a:lnTo>
                      <a:lnTo>
                        <a:pt x="1238" y="284"/>
                      </a:lnTo>
                      <a:lnTo>
                        <a:pt x="1238" y="286"/>
                      </a:lnTo>
                      <a:lnTo>
                        <a:pt x="1238" y="288"/>
                      </a:lnTo>
                      <a:lnTo>
                        <a:pt x="1240" y="288"/>
                      </a:lnTo>
                      <a:lnTo>
                        <a:pt x="1242" y="288"/>
                      </a:lnTo>
                      <a:lnTo>
                        <a:pt x="1243" y="288"/>
                      </a:lnTo>
                      <a:lnTo>
                        <a:pt x="1245" y="289"/>
                      </a:lnTo>
                      <a:lnTo>
                        <a:pt x="1247" y="289"/>
                      </a:lnTo>
                      <a:lnTo>
                        <a:pt x="1247" y="291"/>
                      </a:lnTo>
                      <a:lnTo>
                        <a:pt x="1247" y="289"/>
                      </a:lnTo>
                      <a:lnTo>
                        <a:pt x="1249" y="289"/>
                      </a:lnTo>
                      <a:lnTo>
                        <a:pt x="1250" y="289"/>
                      </a:lnTo>
                      <a:lnTo>
                        <a:pt x="1250" y="288"/>
                      </a:lnTo>
                      <a:lnTo>
                        <a:pt x="1252" y="288"/>
                      </a:lnTo>
                      <a:lnTo>
                        <a:pt x="1254" y="289"/>
                      </a:lnTo>
                      <a:lnTo>
                        <a:pt x="1254" y="288"/>
                      </a:lnTo>
                      <a:lnTo>
                        <a:pt x="1254" y="286"/>
                      </a:lnTo>
                      <a:lnTo>
                        <a:pt x="1255" y="288"/>
                      </a:lnTo>
                      <a:lnTo>
                        <a:pt x="1257" y="288"/>
                      </a:lnTo>
                      <a:lnTo>
                        <a:pt x="1259" y="288"/>
                      </a:lnTo>
                      <a:lnTo>
                        <a:pt x="1259" y="289"/>
                      </a:lnTo>
                      <a:lnTo>
                        <a:pt x="1260" y="289"/>
                      </a:lnTo>
                      <a:lnTo>
                        <a:pt x="1260" y="288"/>
                      </a:lnTo>
                      <a:lnTo>
                        <a:pt x="1262" y="288"/>
                      </a:lnTo>
                      <a:lnTo>
                        <a:pt x="1262" y="286"/>
                      </a:lnTo>
                      <a:lnTo>
                        <a:pt x="1260" y="284"/>
                      </a:lnTo>
                      <a:lnTo>
                        <a:pt x="1262" y="284"/>
                      </a:lnTo>
                      <a:lnTo>
                        <a:pt x="1264" y="283"/>
                      </a:lnTo>
                      <a:lnTo>
                        <a:pt x="1264" y="281"/>
                      </a:lnTo>
                      <a:lnTo>
                        <a:pt x="1262" y="281"/>
                      </a:lnTo>
                      <a:lnTo>
                        <a:pt x="1264" y="279"/>
                      </a:lnTo>
                      <a:lnTo>
                        <a:pt x="1265" y="279"/>
                      </a:lnTo>
                      <a:lnTo>
                        <a:pt x="1267" y="279"/>
                      </a:lnTo>
                      <a:lnTo>
                        <a:pt x="1269" y="279"/>
                      </a:lnTo>
                      <a:lnTo>
                        <a:pt x="1271" y="279"/>
                      </a:lnTo>
                      <a:lnTo>
                        <a:pt x="1271" y="278"/>
                      </a:lnTo>
                      <a:lnTo>
                        <a:pt x="1272" y="278"/>
                      </a:lnTo>
                      <a:lnTo>
                        <a:pt x="1274" y="278"/>
                      </a:lnTo>
                      <a:lnTo>
                        <a:pt x="1274" y="276"/>
                      </a:lnTo>
                      <a:lnTo>
                        <a:pt x="1277" y="276"/>
                      </a:lnTo>
                      <a:lnTo>
                        <a:pt x="1281" y="274"/>
                      </a:lnTo>
                      <a:lnTo>
                        <a:pt x="1281" y="273"/>
                      </a:lnTo>
                      <a:lnTo>
                        <a:pt x="1281" y="271"/>
                      </a:lnTo>
                      <a:lnTo>
                        <a:pt x="1281" y="270"/>
                      </a:lnTo>
                      <a:lnTo>
                        <a:pt x="1281" y="268"/>
                      </a:lnTo>
                      <a:lnTo>
                        <a:pt x="1279" y="266"/>
                      </a:lnTo>
                      <a:lnTo>
                        <a:pt x="1277" y="266"/>
                      </a:lnTo>
                      <a:lnTo>
                        <a:pt x="1277" y="265"/>
                      </a:lnTo>
                      <a:lnTo>
                        <a:pt x="1276" y="265"/>
                      </a:lnTo>
                      <a:lnTo>
                        <a:pt x="1276" y="263"/>
                      </a:lnTo>
                      <a:lnTo>
                        <a:pt x="1274" y="263"/>
                      </a:lnTo>
                      <a:lnTo>
                        <a:pt x="1274" y="261"/>
                      </a:lnTo>
                      <a:lnTo>
                        <a:pt x="1274" y="260"/>
                      </a:lnTo>
                      <a:lnTo>
                        <a:pt x="1272" y="260"/>
                      </a:lnTo>
                      <a:lnTo>
                        <a:pt x="1272" y="258"/>
                      </a:lnTo>
                      <a:lnTo>
                        <a:pt x="1272" y="256"/>
                      </a:lnTo>
                      <a:lnTo>
                        <a:pt x="1272" y="255"/>
                      </a:lnTo>
                      <a:lnTo>
                        <a:pt x="1272" y="253"/>
                      </a:lnTo>
                      <a:lnTo>
                        <a:pt x="1274" y="253"/>
                      </a:lnTo>
                      <a:lnTo>
                        <a:pt x="1274" y="251"/>
                      </a:lnTo>
                      <a:lnTo>
                        <a:pt x="1276" y="250"/>
                      </a:lnTo>
                      <a:lnTo>
                        <a:pt x="1277" y="250"/>
                      </a:lnTo>
                      <a:lnTo>
                        <a:pt x="1277" y="248"/>
                      </a:lnTo>
                      <a:lnTo>
                        <a:pt x="1277" y="247"/>
                      </a:lnTo>
                      <a:lnTo>
                        <a:pt x="1277" y="245"/>
                      </a:lnTo>
                      <a:lnTo>
                        <a:pt x="1279" y="243"/>
                      </a:lnTo>
                      <a:lnTo>
                        <a:pt x="1279" y="242"/>
                      </a:lnTo>
                      <a:lnTo>
                        <a:pt x="1281" y="242"/>
                      </a:lnTo>
                      <a:lnTo>
                        <a:pt x="1281" y="240"/>
                      </a:lnTo>
                      <a:lnTo>
                        <a:pt x="1279" y="238"/>
                      </a:lnTo>
                      <a:lnTo>
                        <a:pt x="1281" y="238"/>
                      </a:lnTo>
                      <a:lnTo>
                        <a:pt x="1281" y="237"/>
                      </a:lnTo>
                      <a:lnTo>
                        <a:pt x="1282" y="235"/>
                      </a:lnTo>
                      <a:lnTo>
                        <a:pt x="1282" y="233"/>
                      </a:lnTo>
                      <a:lnTo>
                        <a:pt x="1281" y="233"/>
                      </a:lnTo>
                      <a:lnTo>
                        <a:pt x="1281" y="232"/>
                      </a:lnTo>
                      <a:lnTo>
                        <a:pt x="1282" y="232"/>
                      </a:lnTo>
                      <a:lnTo>
                        <a:pt x="1282" y="228"/>
                      </a:lnTo>
                      <a:lnTo>
                        <a:pt x="1282" y="227"/>
                      </a:lnTo>
                      <a:lnTo>
                        <a:pt x="1284" y="227"/>
                      </a:lnTo>
                      <a:lnTo>
                        <a:pt x="1284" y="225"/>
                      </a:lnTo>
                      <a:lnTo>
                        <a:pt x="1286" y="225"/>
                      </a:lnTo>
                      <a:lnTo>
                        <a:pt x="1284" y="225"/>
                      </a:lnTo>
                      <a:lnTo>
                        <a:pt x="1286" y="224"/>
                      </a:lnTo>
                      <a:lnTo>
                        <a:pt x="1287" y="222"/>
                      </a:lnTo>
                      <a:lnTo>
                        <a:pt x="1289" y="222"/>
                      </a:lnTo>
                      <a:lnTo>
                        <a:pt x="1289" y="220"/>
                      </a:lnTo>
                      <a:lnTo>
                        <a:pt x="1289" y="219"/>
                      </a:lnTo>
                      <a:lnTo>
                        <a:pt x="1287" y="219"/>
                      </a:lnTo>
                      <a:lnTo>
                        <a:pt x="1289" y="217"/>
                      </a:lnTo>
                      <a:lnTo>
                        <a:pt x="1289" y="215"/>
                      </a:lnTo>
                      <a:lnTo>
                        <a:pt x="1291" y="214"/>
                      </a:lnTo>
                      <a:lnTo>
                        <a:pt x="1291" y="212"/>
                      </a:lnTo>
                      <a:lnTo>
                        <a:pt x="1291" y="210"/>
                      </a:lnTo>
                      <a:lnTo>
                        <a:pt x="1292" y="210"/>
                      </a:lnTo>
                      <a:lnTo>
                        <a:pt x="1292" y="209"/>
                      </a:lnTo>
                      <a:lnTo>
                        <a:pt x="1294" y="209"/>
                      </a:lnTo>
                      <a:lnTo>
                        <a:pt x="1294" y="207"/>
                      </a:lnTo>
                      <a:lnTo>
                        <a:pt x="1296" y="205"/>
                      </a:lnTo>
                      <a:lnTo>
                        <a:pt x="1298" y="205"/>
                      </a:lnTo>
                      <a:lnTo>
                        <a:pt x="1296" y="204"/>
                      </a:lnTo>
                      <a:lnTo>
                        <a:pt x="1298" y="202"/>
                      </a:lnTo>
                      <a:lnTo>
                        <a:pt x="1298" y="201"/>
                      </a:lnTo>
                      <a:lnTo>
                        <a:pt x="1298" y="199"/>
                      </a:lnTo>
                      <a:lnTo>
                        <a:pt x="1299" y="197"/>
                      </a:lnTo>
                      <a:lnTo>
                        <a:pt x="1299" y="196"/>
                      </a:lnTo>
                      <a:lnTo>
                        <a:pt x="1301" y="196"/>
                      </a:lnTo>
                      <a:lnTo>
                        <a:pt x="1303" y="194"/>
                      </a:lnTo>
                      <a:lnTo>
                        <a:pt x="1304" y="192"/>
                      </a:lnTo>
                      <a:lnTo>
                        <a:pt x="1304" y="191"/>
                      </a:lnTo>
                      <a:lnTo>
                        <a:pt x="1306" y="187"/>
                      </a:lnTo>
                      <a:lnTo>
                        <a:pt x="1306" y="186"/>
                      </a:lnTo>
                      <a:lnTo>
                        <a:pt x="1306" y="184"/>
                      </a:lnTo>
                      <a:lnTo>
                        <a:pt x="1387" y="184"/>
                      </a:lnTo>
                      <a:lnTo>
                        <a:pt x="1414" y="184"/>
                      </a:lnTo>
                      <a:lnTo>
                        <a:pt x="1414" y="209"/>
                      </a:lnTo>
                      <a:lnTo>
                        <a:pt x="1414" y="210"/>
                      </a:lnTo>
                      <a:lnTo>
                        <a:pt x="1416" y="210"/>
                      </a:lnTo>
                      <a:lnTo>
                        <a:pt x="1416" y="212"/>
                      </a:lnTo>
                      <a:lnTo>
                        <a:pt x="1416" y="214"/>
                      </a:lnTo>
                      <a:lnTo>
                        <a:pt x="1417" y="214"/>
                      </a:lnTo>
                      <a:lnTo>
                        <a:pt x="1417" y="215"/>
                      </a:lnTo>
                      <a:lnTo>
                        <a:pt x="1417" y="217"/>
                      </a:lnTo>
                      <a:lnTo>
                        <a:pt x="1417" y="220"/>
                      </a:lnTo>
                      <a:lnTo>
                        <a:pt x="1417" y="222"/>
                      </a:lnTo>
                      <a:lnTo>
                        <a:pt x="1417" y="224"/>
                      </a:lnTo>
                      <a:lnTo>
                        <a:pt x="1417" y="225"/>
                      </a:lnTo>
                      <a:lnTo>
                        <a:pt x="1416" y="225"/>
                      </a:lnTo>
                      <a:lnTo>
                        <a:pt x="1416" y="227"/>
                      </a:lnTo>
                      <a:lnTo>
                        <a:pt x="1416" y="228"/>
                      </a:lnTo>
                      <a:lnTo>
                        <a:pt x="1417" y="232"/>
                      </a:lnTo>
                      <a:lnTo>
                        <a:pt x="1417" y="233"/>
                      </a:lnTo>
                      <a:lnTo>
                        <a:pt x="1417" y="235"/>
                      </a:lnTo>
                      <a:lnTo>
                        <a:pt x="1417" y="237"/>
                      </a:lnTo>
                      <a:lnTo>
                        <a:pt x="1416" y="237"/>
                      </a:lnTo>
                      <a:lnTo>
                        <a:pt x="1417" y="237"/>
                      </a:lnTo>
                      <a:lnTo>
                        <a:pt x="1417" y="238"/>
                      </a:lnTo>
                      <a:lnTo>
                        <a:pt x="1417" y="240"/>
                      </a:lnTo>
                      <a:lnTo>
                        <a:pt x="1419" y="242"/>
                      </a:lnTo>
                      <a:lnTo>
                        <a:pt x="1421" y="243"/>
                      </a:lnTo>
                      <a:lnTo>
                        <a:pt x="1423" y="243"/>
                      </a:lnTo>
                      <a:lnTo>
                        <a:pt x="1424" y="243"/>
                      </a:lnTo>
                      <a:lnTo>
                        <a:pt x="1426" y="243"/>
                      </a:lnTo>
                      <a:lnTo>
                        <a:pt x="1426" y="245"/>
                      </a:lnTo>
                      <a:lnTo>
                        <a:pt x="1428" y="245"/>
                      </a:lnTo>
                      <a:lnTo>
                        <a:pt x="1429" y="247"/>
                      </a:lnTo>
                      <a:lnTo>
                        <a:pt x="1429" y="248"/>
                      </a:lnTo>
                      <a:lnTo>
                        <a:pt x="1431" y="248"/>
                      </a:lnTo>
                      <a:lnTo>
                        <a:pt x="1431" y="250"/>
                      </a:lnTo>
                      <a:lnTo>
                        <a:pt x="1431" y="251"/>
                      </a:lnTo>
                      <a:lnTo>
                        <a:pt x="1429" y="251"/>
                      </a:lnTo>
                      <a:lnTo>
                        <a:pt x="1431" y="253"/>
                      </a:lnTo>
                      <a:lnTo>
                        <a:pt x="1431" y="255"/>
                      </a:lnTo>
                      <a:lnTo>
                        <a:pt x="1433" y="256"/>
                      </a:lnTo>
                      <a:lnTo>
                        <a:pt x="1433" y="258"/>
                      </a:lnTo>
                      <a:lnTo>
                        <a:pt x="1431" y="260"/>
                      </a:lnTo>
                      <a:lnTo>
                        <a:pt x="1431" y="261"/>
                      </a:lnTo>
                      <a:lnTo>
                        <a:pt x="1431" y="263"/>
                      </a:lnTo>
                      <a:lnTo>
                        <a:pt x="1431" y="265"/>
                      </a:lnTo>
                      <a:lnTo>
                        <a:pt x="1429" y="265"/>
                      </a:lnTo>
                      <a:lnTo>
                        <a:pt x="1431" y="266"/>
                      </a:lnTo>
                      <a:lnTo>
                        <a:pt x="1431" y="268"/>
                      </a:lnTo>
                      <a:lnTo>
                        <a:pt x="1433" y="268"/>
                      </a:lnTo>
                      <a:lnTo>
                        <a:pt x="1433" y="270"/>
                      </a:lnTo>
                      <a:lnTo>
                        <a:pt x="1433" y="271"/>
                      </a:lnTo>
                      <a:lnTo>
                        <a:pt x="1434" y="271"/>
                      </a:lnTo>
                      <a:lnTo>
                        <a:pt x="1436" y="273"/>
                      </a:lnTo>
                      <a:lnTo>
                        <a:pt x="1436" y="274"/>
                      </a:lnTo>
                      <a:lnTo>
                        <a:pt x="1438" y="274"/>
                      </a:lnTo>
                      <a:lnTo>
                        <a:pt x="1439" y="274"/>
                      </a:lnTo>
                      <a:lnTo>
                        <a:pt x="1441" y="276"/>
                      </a:lnTo>
                      <a:lnTo>
                        <a:pt x="1441" y="278"/>
                      </a:lnTo>
                      <a:lnTo>
                        <a:pt x="1443" y="278"/>
                      </a:lnTo>
                      <a:lnTo>
                        <a:pt x="1443" y="279"/>
                      </a:lnTo>
                      <a:lnTo>
                        <a:pt x="1444" y="279"/>
                      </a:lnTo>
                      <a:lnTo>
                        <a:pt x="1444" y="281"/>
                      </a:lnTo>
                      <a:lnTo>
                        <a:pt x="1446" y="281"/>
                      </a:lnTo>
                      <a:lnTo>
                        <a:pt x="1446" y="283"/>
                      </a:lnTo>
                      <a:lnTo>
                        <a:pt x="1448" y="283"/>
                      </a:lnTo>
                      <a:lnTo>
                        <a:pt x="1450" y="284"/>
                      </a:lnTo>
                      <a:lnTo>
                        <a:pt x="1451" y="284"/>
                      </a:lnTo>
                      <a:lnTo>
                        <a:pt x="1451" y="286"/>
                      </a:lnTo>
                      <a:lnTo>
                        <a:pt x="1451" y="284"/>
                      </a:lnTo>
                      <a:lnTo>
                        <a:pt x="1453" y="284"/>
                      </a:lnTo>
                      <a:lnTo>
                        <a:pt x="1453" y="286"/>
                      </a:lnTo>
                      <a:lnTo>
                        <a:pt x="1453" y="288"/>
                      </a:lnTo>
                      <a:lnTo>
                        <a:pt x="1455" y="288"/>
                      </a:lnTo>
                      <a:lnTo>
                        <a:pt x="1455" y="289"/>
                      </a:lnTo>
                      <a:lnTo>
                        <a:pt x="1455" y="288"/>
                      </a:lnTo>
                      <a:lnTo>
                        <a:pt x="1456" y="288"/>
                      </a:lnTo>
                      <a:lnTo>
                        <a:pt x="1458" y="289"/>
                      </a:lnTo>
                      <a:lnTo>
                        <a:pt x="1458" y="291"/>
                      </a:lnTo>
                      <a:lnTo>
                        <a:pt x="1456" y="291"/>
                      </a:lnTo>
                      <a:lnTo>
                        <a:pt x="1456" y="293"/>
                      </a:lnTo>
                      <a:lnTo>
                        <a:pt x="1456" y="294"/>
                      </a:lnTo>
                      <a:lnTo>
                        <a:pt x="1458" y="294"/>
                      </a:lnTo>
                      <a:lnTo>
                        <a:pt x="1460" y="296"/>
                      </a:lnTo>
                      <a:lnTo>
                        <a:pt x="1460" y="297"/>
                      </a:lnTo>
                      <a:lnTo>
                        <a:pt x="1461" y="299"/>
                      </a:lnTo>
                      <a:lnTo>
                        <a:pt x="1460" y="299"/>
                      </a:lnTo>
                      <a:lnTo>
                        <a:pt x="1460" y="301"/>
                      </a:lnTo>
                      <a:lnTo>
                        <a:pt x="1460" y="302"/>
                      </a:lnTo>
                      <a:lnTo>
                        <a:pt x="1460" y="304"/>
                      </a:lnTo>
                      <a:lnTo>
                        <a:pt x="1461" y="304"/>
                      </a:lnTo>
                      <a:lnTo>
                        <a:pt x="1463" y="304"/>
                      </a:lnTo>
                      <a:lnTo>
                        <a:pt x="1463" y="306"/>
                      </a:lnTo>
                      <a:lnTo>
                        <a:pt x="1465" y="306"/>
                      </a:lnTo>
                      <a:lnTo>
                        <a:pt x="1465" y="307"/>
                      </a:lnTo>
                      <a:lnTo>
                        <a:pt x="1465" y="309"/>
                      </a:lnTo>
                      <a:lnTo>
                        <a:pt x="1466" y="309"/>
                      </a:lnTo>
                      <a:lnTo>
                        <a:pt x="1465" y="311"/>
                      </a:lnTo>
                      <a:lnTo>
                        <a:pt x="1466" y="311"/>
                      </a:lnTo>
                      <a:lnTo>
                        <a:pt x="1468" y="312"/>
                      </a:lnTo>
                      <a:lnTo>
                        <a:pt x="1470" y="312"/>
                      </a:lnTo>
                      <a:lnTo>
                        <a:pt x="1470" y="314"/>
                      </a:lnTo>
                      <a:lnTo>
                        <a:pt x="1471" y="314"/>
                      </a:lnTo>
                      <a:lnTo>
                        <a:pt x="1473" y="312"/>
                      </a:lnTo>
                      <a:lnTo>
                        <a:pt x="1475" y="312"/>
                      </a:lnTo>
                      <a:lnTo>
                        <a:pt x="1477" y="314"/>
                      </a:lnTo>
                      <a:lnTo>
                        <a:pt x="1477" y="316"/>
                      </a:lnTo>
                      <a:lnTo>
                        <a:pt x="1480" y="316"/>
                      </a:lnTo>
                      <a:lnTo>
                        <a:pt x="1480" y="317"/>
                      </a:lnTo>
                      <a:lnTo>
                        <a:pt x="1482" y="319"/>
                      </a:lnTo>
                      <a:lnTo>
                        <a:pt x="1485" y="322"/>
                      </a:lnTo>
                      <a:lnTo>
                        <a:pt x="1485" y="320"/>
                      </a:lnTo>
                      <a:lnTo>
                        <a:pt x="1487" y="317"/>
                      </a:lnTo>
                      <a:lnTo>
                        <a:pt x="1488" y="317"/>
                      </a:lnTo>
                      <a:lnTo>
                        <a:pt x="1488" y="316"/>
                      </a:lnTo>
                      <a:lnTo>
                        <a:pt x="1490" y="316"/>
                      </a:lnTo>
                      <a:lnTo>
                        <a:pt x="1492" y="314"/>
                      </a:lnTo>
                      <a:lnTo>
                        <a:pt x="1492" y="312"/>
                      </a:lnTo>
                      <a:lnTo>
                        <a:pt x="1495" y="309"/>
                      </a:lnTo>
                      <a:lnTo>
                        <a:pt x="1497" y="309"/>
                      </a:lnTo>
                      <a:lnTo>
                        <a:pt x="1499" y="311"/>
                      </a:lnTo>
                      <a:lnTo>
                        <a:pt x="1499" y="312"/>
                      </a:lnTo>
                      <a:lnTo>
                        <a:pt x="1499" y="314"/>
                      </a:lnTo>
                      <a:lnTo>
                        <a:pt x="1500" y="314"/>
                      </a:lnTo>
                      <a:lnTo>
                        <a:pt x="1502" y="314"/>
                      </a:lnTo>
                      <a:lnTo>
                        <a:pt x="1502" y="316"/>
                      </a:lnTo>
                      <a:lnTo>
                        <a:pt x="1502" y="319"/>
                      </a:lnTo>
                      <a:lnTo>
                        <a:pt x="1504" y="319"/>
                      </a:lnTo>
                      <a:lnTo>
                        <a:pt x="1504" y="320"/>
                      </a:lnTo>
                      <a:lnTo>
                        <a:pt x="1502" y="322"/>
                      </a:lnTo>
                      <a:lnTo>
                        <a:pt x="1502" y="324"/>
                      </a:lnTo>
                      <a:lnTo>
                        <a:pt x="1500" y="327"/>
                      </a:lnTo>
                      <a:lnTo>
                        <a:pt x="1500" y="329"/>
                      </a:lnTo>
                      <a:lnTo>
                        <a:pt x="1500" y="330"/>
                      </a:lnTo>
                      <a:lnTo>
                        <a:pt x="1500" y="332"/>
                      </a:lnTo>
                      <a:lnTo>
                        <a:pt x="1502" y="334"/>
                      </a:lnTo>
                      <a:lnTo>
                        <a:pt x="1502" y="335"/>
                      </a:lnTo>
                      <a:lnTo>
                        <a:pt x="1504" y="335"/>
                      </a:lnTo>
                      <a:lnTo>
                        <a:pt x="1504" y="337"/>
                      </a:lnTo>
                      <a:lnTo>
                        <a:pt x="1505" y="337"/>
                      </a:lnTo>
                      <a:lnTo>
                        <a:pt x="1507" y="337"/>
                      </a:lnTo>
                      <a:lnTo>
                        <a:pt x="1509" y="339"/>
                      </a:lnTo>
                      <a:lnTo>
                        <a:pt x="1507" y="339"/>
                      </a:lnTo>
                      <a:lnTo>
                        <a:pt x="1509" y="340"/>
                      </a:lnTo>
                      <a:lnTo>
                        <a:pt x="1510" y="340"/>
                      </a:lnTo>
                      <a:lnTo>
                        <a:pt x="1510" y="339"/>
                      </a:lnTo>
                      <a:lnTo>
                        <a:pt x="1512" y="340"/>
                      </a:lnTo>
                      <a:lnTo>
                        <a:pt x="1514" y="340"/>
                      </a:lnTo>
                      <a:lnTo>
                        <a:pt x="1515" y="340"/>
                      </a:lnTo>
                      <a:lnTo>
                        <a:pt x="1517" y="340"/>
                      </a:lnTo>
                      <a:lnTo>
                        <a:pt x="1517" y="342"/>
                      </a:lnTo>
                      <a:lnTo>
                        <a:pt x="1517" y="343"/>
                      </a:lnTo>
                      <a:lnTo>
                        <a:pt x="1519" y="343"/>
                      </a:lnTo>
                      <a:lnTo>
                        <a:pt x="1519" y="345"/>
                      </a:lnTo>
                      <a:lnTo>
                        <a:pt x="1520" y="345"/>
                      </a:lnTo>
                      <a:lnTo>
                        <a:pt x="1520" y="347"/>
                      </a:lnTo>
                      <a:lnTo>
                        <a:pt x="1522" y="347"/>
                      </a:lnTo>
                      <a:lnTo>
                        <a:pt x="1524" y="347"/>
                      </a:lnTo>
                      <a:lnTo>
                        <a:pt x="1526" y="347"/>
                      </a:lnTo>
                      <a:lnTo>
                        <a:pt x="1527" y="347"/>
                      </a:lnTo>
                      <a:lnTo>
                        <a:pt x="1527" y="348"/>
                      </a:lnTo>
                      <a:lnTo>
                        <a:pt x="1527" y="350"/>
                      </a:lnTo>
                      <a:lnTo>
                        <a:pt x="1527" y="352"/>
                      </a:lnTo>
                      <a:lnTo>
                        <a:pt x="1527" y="353"/>
                      </a:lnTo>
                      <a:lnTo>
                        <a:pt x="1529" y="353"/>
                      </a:lnTo>
                      <a:lnTo>
                        <a:pt x="1531" y="355"/>
                      </a:lnTo>
                      <a:lnTo>
                        <a:pt x="1532" y="355"/>
                      </a:lnTo>
                      <a:lnTo>
                        <a:pt x="1532" y="353"/>
                      </a:lnTo>
                      <a:lnTo>
                        <a:pt x="1532" y="355"/>
                      </a:lnTo>
                      <a:lnTo>
                        <a:pt x="1534" y="355"/>
                      </a:lnTo>
                      <a:lnTo>
                        <a:pt x="1534" y="353"/>
                      </a:lnTo>
                      <a:lnTo>
                        <a:pt x="1536" y="355"/>
                      </a:lnTo>
                      <a:lnTo>
                        <a:pt x="1536" y="353"/>
                      </a:lnTo>
                      <a:lnTo>
                        <a:pt x="1537" y="353"/>
                      </a:lnTo>
                      <a:lnTo>
                        <a:pt x="1539" y="353"/>
                      </a:lnTo>
                      <a:lnTo>
                        <a:pt x="1537" y="355"/>
                      </a:lnTo>
                      <a:lnTo>
                        <a:pt x="1539" y="355"/>
                      </a:lnTo>
                      <a:lnTo>
                        <a:pt x="1541" y="357"/>
                      </a:lnTo>
                      <a:lnTo>
                        <a:pt x="1542" y="357"/>
                      </a:lnTo>
                      <a:lnTo>
                        <a:pt x="1544" y="358"/>
                      </a:lnTo>
                      <a:lnTo>
                        <a:pt x="1544" y="360"/>
                      </a:lnTo>
                      <a:lnTo>
                        <a:pt x="1546" y="360"/>
                      </a:lnTo>
                      <a:lnTo>
                        <a:pt x="1547" y="360"/>
                      </a:lnTo>
                      <a:lnTo>
                        <a:pt x="1547" y="361"/>
                      </a:lnTo>
                      <a:lnTo>
                        <a:pt x="1549" y="360"/>
                      </a:lnTo>
                      <a:lnTo>
                        <a:pt x="1549" y="361"/>
                      </a:lnTo>
                      <a:lnTo>
                        <a:pt x="1549" y="363"/>
                      </a:lnTo>
                      <a:lnTo>
                        <a:pt x="1551" y="363"/>
                      </a:lnTo>
                      <a:lnTo>
                        <a:pt x="1551" y="361"/>
                      </a:lnTo>
                      <a:lnTo>
                        <a:pt x="1553" y="361"/>
                      </a:lnTo>
                      <a:lnTo>
                        <a:pt x="1553" y="363"/>
                      </a:lnTo>
                      <a:lnTo>
                        <a:pt x="1554" y="365"/>
                      </a:lnTo>
                      <a:lnTo>
                        <a:pt x="1554" y="363"/>
                      </a:lnTo>
                      <a:lnTo>
                        <a:pt x="1556" y="361"/>
                      </a:lnTo>
                      <a:lnTo>
                        <a:pt x="1556" y="363"/>
                      </a:lnTo>
                      <a:lnTo>
                        <a:pt x="1556" y="365"/>
                      </a:lnTo>
                      <a:lnTo>
                        <a:pt x="1558" y="365"/>
                      </a:lnTo>
                      <a:lnTo>
                        <a:pt x="1556" y="366"/>
                      </a:lnTo>
                      <a:lnTo>
                        <a:pt x="1558" y="366"/>
                      </a:lnTo>
                      <a:lnTo>
                        <a:pt x="1559" y="366"/>
                      </a:lnTo>
                      <a:lnTo>
                        <a:pt x="1561" y="368"/>
                      </a:lnTo>
                      <a:lnTo>
                        <a:pt x="1561" y="366"/>
                      </a:lnTo>
                      <a:lnTo>
                        <a:pt x="1563" y="366"/>
                      </a:lnTo>
                      <a:lnTo>
                        <a:pt x="1564" y="366"/>
                      </a:lnTo>
                      <a:lnTo>
                        <a:pt x="1566" y="368"/>
                      </a:lnTo>
                      <a:lnTo>
                        <a:pt x="1566" y="366"/>
                      </a:lnTo>
                      <a:lnTo>
                        <a:pt x="1568" y="365"/>
                      </a:lnTo>
                      <a:lnTo>
                        <a:pt x="1568" y="366"/>
                      </a:lnTo>
                      <a:lnTo>
                        <a:pt x="1569" y="366"/>
                      </a:lnTo>
                      <a:lnTo>
                        <a:pt x="1569" y="365"/>
                      </a:lnTo>
                      <a:lnTo>
                        <a:pt x="1571" y="365"/>
                      </a:lnTo>
                      <a:lnTo>
                        <a:pt x="1571" y="366"/>
                      </a:lnTo>
                      <a:lnTo>
                        <a:pt x="1573" y="366"/>
                      </a:lnTo>
                      <a:lnTo>
                        <a:pt x="1575" y="366"/>
                      </a:lnTo>
                      <a:lnTo>
                        <a:pt x="1576" y="366"/>
                      </a:lnTo>
                      <a:lnTo>
                        <a:pt x="1576" y="368"/>
                      </a:lnTo>
                      <a:lnTo>
                        <a:pt x="1576" y="366"/>
                      </a:lnTo>
                      <a:lnTo>
                        <a:pt x="1578" y="368"/>
                      </a:lnTo>
                      <a:lnTo>
                        <a:pt x="1578" y="366"/>
                      </a:lnTo>
                      <a:lnTo>
                        <a:pt x="1580" y="366"/>
                      </a:lnTo>
                      <a:lnTo>
                        <a:pt x="1580" y="368"/>
                      </a:lnTo>
                      <a:lnTo>
                        <a:pt x="1578" y="370"/>
                      </a:lnTo>
                      <a:lnTo>
                        <a:pt x="1580" y="370"/>
                      </a:lnTo>
                      <a:lnTo>
                        <a:pt x="1580" y="371"/>
                      </a:lnTo>
                      <a:lnTo>
                        <a:pt x="1580" y="370"/>
                      </a:lnTo>
                      <a:lnTo>
                        <a:pt x="1583" y="371"/>
                      </a:lnTo>
                      <a:lnTo>
                        <a:pt x="1583" y="373"/>
                      </a:lnTo>
                      <a:lnTo>
                        <a:pt x="1585" y="371"/>
                      </a:lnTo>
                      <a:lnTo>
                        <a:pt x="1586" y="373"/>
                      </a:lnTo>
                      <a:lnTo>
                        <a:pt x="1586" y="375"/>
                      </a:lnTo>
                      <a:lnTo>
                        <a:pt x="1588" y="375"/>
                      </a:lnTo>
                      <a:lnTo>
                        <a:pt x="1588" y="376"/>
                      </a:lnTo>
                      <a:lnTo>
                        <a:pt x="1588" y="380"/>
                      </a:lnTo>
                      <a:lnTo>
                        <a:pt x="1590" y="380"/>
                      </a:lnTo>
                      <a:lnTo>
                        <a:pt x="1590" y="381"/>
                      </a:lnTo>
                      <a:lnTo>
                        <a:pt x="1590" y="383"/>
                      </a:lnTo>
                      <a:lnTo>
                        <a:pt x="1591" y="383"/>
                      </a:lnTo>
                      <a:lnTo>
                        <a:pt x="1591" y="384"/>
                      </a:lnTo>
                      <a:lnTo>
                        <a:pt x="1593" y="384"/>
                      </a:lnTo>
                      <a:lnTo>
                        <a:pt x="1595" y="384"/>
                      </a:lnTo>
                      <a:lnTo>
                        <a:pt x="1596" y="384"/>
                      </a:lnTo>
                      <a:lnTo>
                        <a:pt x="1596" y="386"/>
                      </a:lnTo>
                      <a:lnTo>
                        <a:pt x="1598" y="386"/>
                      </a:lnTo>
                      <a:lnTo>
                        <a:pt x="1598" y="388"/>
                      </a:lnTo>
                      <a:lnTo>
                        <a:pt x="1598" y="389"/>
                      </a:lnTo>
                      <a:lnTo>
                        <a:pt x="1600" y="389"/>
                      </a:lnTo>
                      <a:lnTo>
                        <a:pt x="1602" y="389"/>
                      </a:lnTo>
                      <a:lnTo>
                        <a:pt x="1603" y="389"/>
                      </a:lnTo>
                      <a:lnTo>
                        <a:pt x="1605" y="389"/>
                      </a:lnTo>
                      <a:lnTo>
                        <a:pt x="1605" y="391"/>
                      </a:lnTo>
                      <a:lnTo>
                        <a:pt x="1607" y="391"/>
                      </a:lnTo>
                      <a:lnTo>
                        <a:pt x="1607" y="393"/>
                      </a:lnTo>
                      <a:lnTo>
                        <a:pt x="1608" y="394"/>
                      </a:lnTo>
                      <a:lnTo>
                        <a:pt x="1610" y="394"/>
                      </a:lnTo>
                      <a:lnTo>
                        <a:pt x="1612" y="394"/>
                      </a:lnTo>
                      <a:lnTo>
                        <a:pt x="1613" y="394"/>
                      </a:lnTo>
                      <a:lnTo>
                        <a:pt x="1615" y="393"/>
                      </a:lnTo>
                      <a:lnTo>
                        <a:pt x="1617" y="393"/>
                      </a:lnTo>
                      <a:lnTo>
                        <a:pt x="1618" y="393"/>
                      </a:lnTo>
                      <a:lnTo>
                        <a:pt x="1618" y="394"/>
                      </a:lnTo>
                      <a:lnTo>
                        <a:pt x="1620" y="396"/>
                      </a:lnTo>
                      <a:lnTo>
                        <a:pt x="1620" y="398"/>
                      </a:lnTo>
                      <a:lnTo>
                        <a:pt x="1620" y="399"/>
                      </a:lnTo>
                      <a:lnTo>
                        <a:pt x="1620" y="401"/>
                      </a:lnTo>
                      <a:lnTo>
                        <a:pt x="1618" y="403"/>
                      </a:lnTo>
                      <a:lnTo>
                        <a:pt x="1617" y="406"/>
                      </a:lnTo>
                      <a:lnTo>
                        <a:pt x="1617" y="407"/>
                      </a:lnTo>
                      <a:lnTo>
                        <a:pt x="1617" y="409"/>
                      </a:lnTo>
                      <a:lnTo>
                        <a:pt x="1618" y="409"/>
                      </a:lnTo>
                      <a:lnTo>
                        <a:pt x="1620" y="409"/>
                      </a:lnTo>
                      <a:lnTo>
                        <a:pt x="1622" y="409"/>
                      </a:lnTo>
                      <a:lnTo>
                        <a:pt x="1623" y="411"/>
                      </a:lnTo>
                      <a:lnTo>
                        <a:pt x="1623" y="412"/>
                      </a:lnTo>
                      <a:lnTo>
                        <a:pt x="1625" y="412"/>
                      </a:lnTo>
                      <a:lnTo>
                        <a:pt x="1627" y="412"/>
                      </a:lnTo>
                      <a:lnTo>
                        <a:pt x="1629" y="411"/>
                      </a:lnTo>
                      <a:lnTo>
                        <a:pt x="1630" y="411"/>
                      </a:lnTo>
                      <a:lnTo>
                        <a:pt x="1632" y="412"/>
                      </a:lnTo>
                      <a:lnTo>
                        <a:pt x="1632" y="411"/>
                      </a:lnTo>
                      <a:lnTo>
                        <a:pt x="1632" y="409"/>
                      </a:lnTo>
                      <a:lnTo>
                        <a:pt x="1634" y="409"/>
                      </a:lnTo>
                      <a:lnTo>
                        <a:pt x="1635" y="409"/>
                      </a:lnTo>
                      <a:lnTo>
                        <a:pt x="1637" y="407"/>
                      </a:lnTo>
                      <a:lnTo>
                        <a:pt x="1639" y="406"/>
                      </a:lnTo>
                      <a:lnTo>
                        <a:pt x="1640" y="406"/>
                      </a:lnTo>
                      <a:lnTo>
                        <a:pt x="1642" y="407"/>
                      </a:lnTo>
                      <a:lnTo>
                        <a:pt x="1644" y="407"/>
                      </a:lnTo>
                      <a:lnTo>
                        <a:pt x="1645" y="407"/>
                      </a:lnTo>
                      <a:lnTo>
                        <a:pt x="1645" y="406"/>
                      </a:lnTo>
                      <a:lnTo>
                        <a:pt x="1647" y="406"/>
                      </a:lnTo>
                      <a:lnTo>
                        <a:pt x="1647" y="407"/>
                      </a:lnTo>
                      <a:lnTo>
                        <a:pt x="1649" y="407"/>
                      </a:lnTo>
                      <a:lnTo>
                        <a:pt x="1651" y="409"/>
                      </a:lnTo>
                      <a:lnTo>
                        <a:pt x="1652" y="407"/>
                      </a:lnTo>
                      <a:lnTo>
                        <a:pt x="1652" y="406"/>
                      </a:lnTo>
                      <a:lnTo>
                        <a:pt x="1654" y="406"/>
                      </a:lnTo>
                      <a:lnTo>
                        <a:pt x="1656" y="406"/>
                      </a:lnTo>
                      <a:lnTo>
                        <a:pt x="1657" y="406"/>
                      </a:lnTo>
                      <a:lnTo>
                        <a:pt x="1659" y="406"/>
                      </a:lnTo>
                      <a:lnTo>
                        <a:pt x="1659" y="404"/>
                      </a:lnTo>
                      <a:lnTo>
                        <a:pt x="1661" y="404"/>
                      </a:lnTo>
                      <a:lnTo>
                        <a:pt x="1661" y="403"/>
                      </a:lnTo>
                      <a:lnTo>
                        <a:pt x="1661" y="401"/>
                      </a:lnTo>
                      <a:lnTo>
                        <a:pt x="1662" y="401"/>
                      </a:lnTo>
                      <a:lnTo>
                        <a:pt x="1666" y="401"/>
                      </a:lnTo>
                      <a:lnTo>
                        <a:pt x="1666" y="399"/>
                      </a:lnTo>
                      <a:lnTo>
                        <a:pt x="1667" y="398"/>
                      </a:lnTo>
                      <a:lnTo>
                        <a:pt x="1669" y="398"/>
                      </a:lnTo>
                      <a:lnTo>
                        <a:pt x="1671" y="398"/>
                      </a:lnTo>
                      <a:lnTo>
                        <a:pt x="1671" y="396"/>
                      </a:lnTo>
                      <a:lnTo>
                        <a:pt x="1672" y="396"/>
                      </a:lnTo>
                      <a:lnTo>
                        <a:pt x="1674" y="396"/>
                      </a:lnTo>
                      <a:lnTo>
                        <a:pt x="1676" y="396"/>
                      </a:lnTo>
                      <a:lnTo>
                        <a:pt x="1679" y="394"/>
                      </a:lnTo>
                      <a:lnTo>
                        <a:pt x="1679" y="396"/>
                      </a:lnTo>
                      <a:lnTo>
                        <a:pt x="1679" y="398"/>
                      </a:lnTo>
                      <a:lnTo>
                        <a:pt x="1678" y="399"/>
                      </a:lnTo>
                      <a:lnTo>
                        <a:pt x="1676" y="401"/>
                      </a:lnTo>
                      <a:lnTo>
                        <a:pt x="1672" y="406"/>
                      </a:lnTo>
                      <a:lnTo>
                        <a:pt x="1672" y="407"/>
                      </a:lnTo>
                      <a:lnTo>
                        <a:pt x="1669" y="409"/>
                      </a:lnTo>
                      <a:lnTo>
                        <a:pt x="1669" y="411"/>
                      </a:lnTo>
                      <a:lnTo>
                        <a:pt x="1667" y="411"/>
                      </a:lnTo>
                      <a:lnTo>
                        <a:pt x="1664" y="412"/>
                      </a:lnTo>
                      <a:lnTo>
                        <a:pt x="1661" y="414"/>
                      </a:lnTo>
                      <a:lnTo>
                        <a:pt x="1657" y="416"/>
                      </a:lnTo>
                      <a:lnTo>
                        <a:pt x="1656" y="416"/>
                      </a:lnTo>
                      <a:lnTo>
                        <a:pt x="1654" y="417"/>
                      </a:lnTo>
                      <a:lnTo>
                        <a:pt x="1652" y="417"/>
                      </a:lnTo>
                      <a:lnTo>
                        <a:pt x="1651" y="422"/>
                      </a:lnTo>
                      <a:lnTo>
                        <a:pt x="1651" y="424"/>
                      </a:lnTo>
                      <a:lnTo>
                        <a:pt x="1649" y="426"/>
                      </a:lnTo>
                      <a:lnTo>
                        <a:pt x="1649" y="427"/>
                      </a:lnTo>
                      <a:lnTo>
                        <a:pt x="1645" y="432"/>
                      </a:lnTo>
                      <a:lnTo>
                        <a:pt x="1647" y="434"/>
                      </a:lnTo>
                      <a:lnTo>
                        <a:pt x="1649" y="434"/>
                      </a:lnTo>
                      <a:lnTo>
                        <a:pt x="1651" y="434"/>
                      </a:lnTo>
                      <a:lnTo>
                        <a:pt x="1649" y="439"/>
                      </a:lnTo>
                      <a:lnTo>
                        <a:pt x="1642" y="453"/>
                      </a:lnTo>
                      <a:lnTo>
                        <a:pt x="1632" y="475"/>
                      </a:lnTo>
                      <a:lnTo>
                        <a:pt x="1627" y="485"/>
                      </a:lnTo>
                      <a:lnTo>
                        <a:pt x="1617" y="508"/>
                      </a:lnTo>
                      <a:lnTo>
                        <a:pt x="1612" y="516"/>
                      </a:lnTo>
                      <a:lnTo>
                        <a:pt x="1605" y="531"/>
                      </a:lnTo>
                      <a:lnTo>
                        <a:pt x="1603" y="537"/>
                      </a:lnTo>
                      <a:lnTo>
                        <a:pt x="1598" y="545"/>
                      </a:lnTo>
                      <a:lnTo>
                        <a:pt x="1595" y="555"/>
                      </a:lnTo>
                      <a:lnTo>
                        <a:pt x="1539" y="669"/>
                      </a:lnTo>
                      <a:lnTo>
                        <a:pt x="1512" y="724"/>
                      </a:lnTo>
                      <a:lnTo>
                        <a:pt x="1495" y="761"/>
                      </a:lnTo>
                      <a:lnTo>
                        <a:pt x="1475" y="805"/>
                      </a:lnTo>
                      <a:lnTo>
                        <a:pt x="1473" y="805"/>
                      </a:lnTo>
                      <a:lnTo>
                        <a:pt x="1471" y="807"/>
                      </a:lnTo>
                      <a:lnTo>
                        <a:pt x="1470" y="807"/>
                      </a:lnTo>
                      <a:lnTo>
                        <a:pt x="1468" y="807"/>
                      </a:lnTo>
                      <a:lnTo>
                        <a:pt x="1468" y="808"/>
                      </a:lnTo>
                      <a:lnTo>
                        <a:pt x="1468" y="810"/>
                      </a:lnTo>
                      <a:lnTo>
                        <a:pt x="1468" y="811"/>
                      </a:lnTo>
                      <a:lnTo>
                        <a:pt x="1466" y="813"/>
                      </a:lnTo>
                      <a:lnTo>
                        <a:pt x="1465" y="815"/>
                      </a:lnTo>
                      <a:lnTo>
                        <a:pt x="1463" y="815"/>
                      </a:lnTo>
                      <a:lnTo>
                        <a:pt x="1463" y="816"/>
                      </a:lnTo>
                      <a:lnTo>
                        <a:pt x="1460" y="816"/>
                      </a:lnTo>
                      <a:lnTo>
                        <a:pt x="1460" y="818"/>
                      </a:lnTo>
                      <a:lnTo>
                        <a:pt x="1458" y="821"/>
                      </a:lnTo>
                      <a:lnTo>
                        <a:pt x="1456" y="823"/>
                      </a:lnTo>
                      <a:lnTo>
                        <a:pt x="1455" y="823"/>
                      </a:lnTo>
                      <a:lnTo>
                        <a:pt x="1455" y="825"/>
                      </a:lnTo>
                      <a:lnTo>
                        <a:pt x="1455" y="826"/>
                      </a:lnTo>
                      <a:lnTo>
                        <a:pt x="1455" y="830"/>
                      </a:lnTo>
                      <a:lnTo>
                        <a:pt x="1455" y="831"/>
                      </a:lnTo>
                      <a:lnTo>
                        <a:pt x="1455" y="833"/>
                      </a:lnTo>
                      <a:lnTo>
                        <a:pt x="1455" y="836"/>
                      </a:lnTo>
                      <a:lnTo>
                        <a:pt x="1456" y="838"/>
                      </a:lnTo>
                      <a:lnTo>
                        <a:pt x="1458" y="843"/>
                      </a:lnTo>
                      <a:lnTo>
                        <a:pt x="1458" y="844"/>
                      </a:lnTo>
                      <a:lnTo>
                        <a:pt x="1460" y="846"/>
                      </a:lnTo>
                      <a:lnTo>
                        <a:pt x="1461" y="848"/>
                      </a:lnTo>
                      <a:lnTo>
                        <a:pt x="1463" y="849"/>
                      </a:lnTo>
                      <a:lnTo>
                        <a:pt x="1463" y="851"/>
                      </a:lnTo>
                      <a:lnTo>
                        <a:pt x="1466" y="851"/>
                      </a:lnTo>
                      <a:lnTo>
                        <a:pt x="1468" y="853"/>
                      </a:lnTo>
                      <a:lnTo>
                        <a:pt x="1468" y="854"/>
                      </a:lnTo>
                      <a:lnTo>
                        <a:pt x="1470" y="856"/>
                      </a:lnTo>
                      <a:lnTo>
                        <a:pt x="1471" y="857"/>
                      </a:lnTo>
                      <a:lnTo>
                        <a:pt x="1471" y="859"/>
                      </a:lnTo>
                      <a:lnTo>
                        <a:pt x="1473" y="861"/>
                      </a:lnTo>
                      <a:lnTo>
                        <a:pt x="1475" y="861"/>
                      </a:lnTo>
                      <a:lnTo>
                        <a:pt x="1477" y="862"/>
                      </a:lnTo>
                      <a:lnTo>
                        <a:pt x="1478" y="864"/>
                      </a:lnTo>
                      <a:lnTo>
                        <a:pt x="1478" y="866"/>
                      </a:lnTo>
                      <a:lnTo>
                        <a:pt x="1480" y="866"/>
                      </a:lnTo>
                      <a:lnTo>
                        <a:pt x="1480" y="867"/>
                      </a:lnTo>
                      <a:lnTo>
                        <a:pt x="1483" y="871"/>
                      </a:lnTo>
                      <a:lnTo>
                        <a:pt x="1483" y="876"/>
                      </a:lnTo>
                      <a:lnTo>
                        <a:pt x="1483" y="877"/>
                      </a:lnTo>
                      <a:lnTo>
                        <a:pt x="1483" y="879"/>
                      </a:lnTo>
                      <a:lnTo>
                        <a:pt x="1483" y="882"/>
                      </a:lnTo>
                      <a:lnTo>
                        <a:pt x="1485" y="884"/>
                      </a:lnTo>
                      <a:lnTo>
                        <a:pt x="1485" y="885"/>
                      </a:lnTo>
                      <a:lnTo>
                        <a:pt x="1487" y="887"/>
                      </a:lnTo>
                      <a:lnTo>
                        <a:pt x="1485" y="887"/>
                      </a:lnTo>
                      <a:lnTo>
                        <a:pt x="1485" y="889"/>
                      </a:lnTo>
                      <a:lnTo>
                        <a:pt x="1483" y="890"/>
                      </a:lnTo>
                      <a:lnTo>
                        <a:pt x="1480" y="894"/>
                      </a:lnTo>
                      <a:lnTo>
                        <a:pt x="1480" y="895"/>
                      </a:lnTo>
                      <a:lnTo>
                        <a:pt x="1480" y="897"/>
                      </a:lnTo>
                      <a:lnTo>
                        <a:pt x="1480" y="899"/>
                      </a:lnTo>
                      <a:lnTo>
                        <a:pt x="1478" y="902"/>
                      </a:lnTo>
                      <a:lnTo>
                        <a:pt x="1478" y="903"/>
                      </a:lnTo>
                      <a:lnTo>
                        <a:pt x="1478" y="905"/>
                      </a:lnTo>
                      <a:lnTo>
                        <a:pt x="1480" y="908"/>
                      </a:lnTo>
                      <a:lnTo>
                        <a:pt x="1480" y="910"/>
                      </a:lnTo>
                      <a:lnTo>
                        <a:pt x="1480" y="912"/>
                      </a:lnTo>
                      <a:lnTo>
                        <a:pt x="1477" y="913"/>
                      </a:lnTo>
                      <a:lnTo>
                        <a:pt x="1477" y="917"/>
                      </a:lnTo>
                      <a:lnTo>
                        <a:pt x="1473" y="918"/>
                      </a:lnTo>
                      <a:lnTo>
                        <a:pt x="1473" y="920"/>
                      </a:lnTo>
                      <a:lnTo>
                        <a:pt x="1473" y="922"/>
                      </a:lnTo>
                      <a:lnTo>
                        <a:pt x="1473" y="923"/>
                      </a:lnTo>
                      <a:lnTo>
                        <a:pt x="1471" y="923"/>
                      </a:lnTo>
                      <a:lnTo>
                        <a:pt x="1471" y="925"/>
                      </a:lnTo>
                      <a:lnTo>
                        <a:pt x="1470" y="926"/>
                      </a:lnTo>
                      <a:lnTo>
                        <a:pt x="1468" y="928"/>
                      </a:lnTo>
                      <a:lnTo>
                        <a:pt x="1465" y="928"/>
                      </a:lnTo>
                      <a:lnTo>
                        <a:pt x="1465" y="930"/>
                      </a:lnTo>
                      <a:lnTo>
                        <a:pt x="1463" y="930"/>
                      </a:lnTo>
                      <a:lnTo>
                        <a:pt x="1463" y="931"/>
                      </a:lnTo>
                      <a:lnTo>
                        <a:pt x="1465" y="933"/>
                      </a:lnTo>
                      <a:lnTo>
                        <a:pt x="1465" y="935"/>
                      </a:lnTo>
                      <a:lnTo>
                        <a:pt x="1465" y="936"/>
                      </a:lnTo>
                      <a:lnTo>
                        <a:pt x="1465" y="938"/>
                      </a:lnTo>
                      <a:lnTo>
                        <a:pt x="1466" y="941"/>
                      </a:lnTo>
                      <a:lnTo>
                        <a:pt x="1468" y="943"/>
                      </a:lnTo>
                      <a:lnTo>
                        <a:pt x="1468" y="945"/>
                      </a:lnTo>
                      <a:lnTo>
                        <a:pt x="1468" y="946"/>
                      </a:lnTo>
                      <a:lnTo>
                        <a:pt x="1470" y="948"/>
                      </a:lnTo>
                      <a:lnTo>
                        <a:pt x="1471" y="953"/>
                      </a:lnTo>
                      <a:lnTo>
                        <a:pt x="1473" y="954"/>
                      </a:lnTo>
                      <a:lnTo>
                        <a:pt x="1471" y="956"/>
                      </a:lnTo>
                      <a:lnTo>
                        <a:pt x="1473" y="958"/>
                      </a:lnTo>
                      <a:lnTo>
                        <a:pt x="1471" y="958"/>
                      </a:lnTo>
                      <a:lnTo>
                        <a:pt x="1471" y="959"/>
                      </a:lnTo>
                      <a:lnTo>
                        <a:pt x="1470" y="959"/>
                      </a:lnTo>
                      <a:lnTo>
                        <a:pt x="1470" y="961"/>
                      </a:lnTo>
                      <a:lnTo>
                        <a:pt x="1470" y="963"/>
                      </a:lnTo>
                      <a:lnTo>
                        <a:pt x="1470" y="964"/>
                      </a:lnTo>
                      <a:lnTo>
                        <a:pt x="1470" y="966"/>
                      </a:lnTo>
                      <a:lnTo>
                        <a:pt x="1470" y="967"/>
                      </a:lnTo>
                      <a:lnTo>
                        <a:pt x="1470" y="969"/>
                      </a:lnTo>
                      <a:lnTo>
                        <a:pt x="1470" y="971"/>
                      </a:lnTo>
                      <a:lnTo>
                        <a:pt x="1468" y="971"/>
                      </a:lnTo>
                      <a:lnTo>
                        <a:pt x="1468" y="972"/>
                      </a:lnTo>
                      <a:lnTo>
                        <a:pt x="1470" y="974"/>
                      </a:lnTo>
                      <a:lnTo>
                        <a:pt x="1470" y="976"/>
                      </a:lnTo>
                      <a:lnTo>
                        <a:pt x="1468" y="976"/>
                      </a:lnTo>
                      <a:lnTo>
                        <a:pt x="1468" y="977"/>
                      </a:lnTo>
                      <a:lnTo>
                        <a:pt x="1466" y="977"/>
                      </a:lnTo>
                      <a:lnTo>
                        <a:pt x="1466" y="979"/>
                      </a:lnTo>
                      <a:lnTo>
                        <a:pt x="1466" y="981"/>
                      </a:lnTo>
                      <a:lnTo>
                        <a:pt x="1466" y="982"/>
                      </a:lnTo>
                      <a:lnTo>
                        <a:pt x="1465" y="984"/>
                      </a:lnTo>
                      <a:lnTo>
                        <a:pt x="1465" y="986"/>
                      </a:lnTo>
                      <a:lnTo>
                        <a:pt x="1463" y="986"/>
                      </a:lnTo>
                      <a:lnTo>
                        <a:pt x="1461" y="987"/>
                      </a:lnTo>
                      <a:lnTo>
                        <a:pt x="1461" y="989"/>
                      </a:lnTo>
                      <a:lnTo>
                        <a:pt x="1460" y="990"/>
                      </a:lnTo>
                      <a:lnTo>
                        <a:pt x="1460" y="992"/>
                      </a:lnTo>
                      <a:lnTo>
                        <a:pt x="1460" y="994"/>
                      </a:lnTo>
                      <a:lnTo>
                        <a:pt x="1461" y="994"/>
                      </a:lnTo>
                      <a:lnTo>
                        <a:pt x="1461" y="995"/>
                      </a:lnTo>
                      <a:lnTo>
                        <a:pt x="1461" y="997"/>
                      </a:lnTo>
                      <a:lnTo>
                        <a:pt x="1461" y="999"/>
                      </a:lnTo>
                      <a:lnTo>
                        <a:pt x="1463" y="1000"/>
                      </a:lnTo>
                      <a:lnTo>
                        <a:pt x="1463" y="1002"/>
                      </a:lnTo>
                      <a:lnTo>
                        <a:pt x="1461" y="1002"/>
                      </a:lnTo>
                      <a:lnTo>
                        <a:pt x="1461" y="1004"/>
                      </a:lnTo>
                      <a:lnTo>
                        <a:pt x="1460" y="1005"/>
                      </a:lnTo>
                      <a:lnTo>
                        <a:pt x="1460" y="1009"/>
                      </a:lnTo>
                      <a:lnTo>
                        <a:pt x="1458" y="1009"/>
                      </a:lnTo>
                      <a:lnTo>
                        <a:pt x="1458" y="1010"/>
                      </a:lnTo>
                      <a:lnTo>
                        <a:pt x="1458" y="1012"/>
                      </a:lnTo>
                      <a:lnTo>
                        <a:pt x="1460" y="1012"/>
                      </a:lnTo>
                      <a:lnTo>
                        <a:pt x="1461" y="1012"/>
                      </a:lnTo>
                      <a:lnTo>
                        <a:pt x="1463" y="1010"/>
                      </a:lnTo>
                      <a:lnTo>
                        <a:pt x="1465" y="1010"/>
                      </a:lnTo>
                      <a:lnTo>
                        <a:pt x="1466" y="1010"/>
                      </a:lnTo>
                      <a:lnTo>
                        <a:pt x="1468" y="1010"/>
                      </a:lnTo>
                      <a:lnTo>
                        <a:pt x="1468" y="1012"/>
                      </a:lnTo>
                      <a:lnTo>
                        <a:pt x="1466" y="1013"/>
                      </a:lnTo>
                      <a:lnTo>
                        <a:pt x="1465" y="1013"/>
                      </a:lnTo>
                      <a:lnTo>
                        <a:pt x="1465" y="1015"/>
                      </a:lnTo>
                      <a:lnTo>
                        <a:pt x="1463" y="1017"/>
                      </a:lnTo>
                      <a:lnTo>
                        <a:pt x="1461" y="1017"/>
                      </a:lnTo>
                      <a:lnTo>
                        <a:pt x="1460" y="1018"/>
                      </a:lnTo>
                      <a:lnTo>
                        <a:pt x="1458" y="1020"/>
                      </a:lnTo>
                      <a:lnTo>
                        <a:pt x="1453" y="1020"/>
                      </a:lnTo>
                      <a:lnTo>
                        <a:pt x="1392" y="1020"/>
                      </a:lnTo>
                      <a:lnTo>
                        <a:pt x="1357" y="1020"/>
                      </a:lnTo>
                      <a:lnTo>
                        <a:pt x="1309" y="1020"/>
                      </a:lnTo>
                      <a:lnTo>
                        <a:pt x="1271" y="1018"/>
                      </a:lnTo>
                      <a:lnTo>
                        <a:pt x="1167" y="1020"/>
                      </a:lnTo>
                      <a:lnTo>
                        <a:pt x="1159" y="1020"/>
                      </a:lnTo>
                      <a:lnTo>
                        <a:pt x="1159" y="1018"/>
                      </a:lnTo>
                      <a:lnTo>
                        <a:pt x="1157" y="1018"/>
                      </a:lnTo>
                      <a:lnTo>
                        <a:pt x="1157" y="1017"/>
                      </a:lnTo>
                      <a:lnTo>
                        <a:pt x="1156" y="1015"/>
                      </a:lnTo>
                      <a:lnTo>
                        <a:pt x="1156" y="1013"/>
                      </a:lnTo>
                      <a:lnTo>
                        <a:pt x="1156" y="1012"/>
                      </a:lnTo>
                      <a:lnTo>
                        <a:pt x="1154" y="1012"/>
                      </a:lnTo>
                      <a:lnTo>
                        <a:pt x="1152" y="1010"/>
                      </a:lnTo>
                      <a:lnTo>
                        <a:pt x="1151" y="1010"/>
                      </a:lnTo>
                      <a:lnTo>
                        <a:pt x="1149" y="1012"/>
                      </a:lnTo>
                      <a:lnTo>
                        <a:pt x="1149" y="1010"/>
                      </a:lnTo>
                      <a:lnTo>
                        <a:pt x="1147" y="1010"/>
                      </a:lnTo>
                      <a:lnTo>
                        <a:pt x="1147" y="1009"/>
                      </a:lnTo>
                      <a:lnTo>
                        <a:pt x="1146" y="1010"/>
                      </a:lnTo>
                      <a:lnTo>
                        <a:pt x="1144" y="1010"/>
                      </a:lnTo>
                      <a:lnTo>
                        <a:pt x="1146" y="1012"/>
                      </a:lnTo>
                      <a:lnTo>
                        <a:pt x="1144" y="1012"/>
                      </a:lnTo>
                      <a:lnTo>
                        <a:pt x="1144" y="1013"/>
                      </a:lnTo>
                      <a:lnTo>
                        <a:pt x="1142" y="1013"/>
                      </a:lnTo>
                      <a:lnTo>
                        <a:pt x="1142" y="1015"/>
                      </a:lnTo>
                      <a:lnTo>
                        <a:pt x="1140" y="1015"/>
                      </a:lnTo>
                      <a:lnTo>
                        <a:pt x="1139" y="1015"/>
                      </a:lnTo>
                      <a:lnTo>
                        <a:pt x="1137" y="1013"/>
                      </a:lnTo>
                      <a:lnTo>
                        <a:pt x="1135" y="1013"/>
                      </a:lnTo>
                      <a:lnTo>
                        <a:pt x="1135" y="1015"/>
                      </a:lnTo>
                      <a:lnTo>
                        <a:pt x="1135" y="1017"/>
                      </a:lnTo>
                      <a:lnTo>
                        <a:pt x="1135" y="1018"/>
                      </a:lnTo>
                      <a:lnTo>
                        <a:pt x="1134" y="1018"/>
                      </a:lnTo>
                      <a:lnTo>
                        <a:pt x="1134" y="1020"/>
                      </a:lnTo>
                      <a:lnTo>
                        <a:pt x="1134" y="1022"/>
                      </a:lnTo>
                      <a:lnTo>
                        <a:pt x="1134" y="1025"/>
                      </a:lnTo>
                      <a:lnTo>
                        <a:pt x="1132" y="1025"/>
                      </a:lnTo>
                      <a:lnTo>
                        <a:pt x="1130" y="1025"/>
                      </a:lnTo>
                      <a:lnTo>
                        <a:pt x="1129" y="1027"/>
                      </a:lnTo>
                      <a:lnTo>
                        <a:pt x="1127" y="1027"/>
                      </a:lnTo>
                      <a:lnTo>
                        <a:pt x="1125" y="1027"/>
                      </a:lnTo>
                      <a:lnTo>
                        <a:pt x="1124" y="1027"/>
                      </a:lnTo>
                      <a:lnTo>
                        <a:pt x="1122" y="1027"/>
                      </a:lnTo>
                      <a:lnTo>
                        <a:pt x="1122" y="1025"/>
                      </a:lnTo>
                      <a:lnTo>
                        <a:pt x="1120" y="1023"/>
                      </a:lnTo>
                      <a:lnTo>
                        <a:pt x="1120" y="1022"/>
                      </a:lnTo>
                      <a:lnTo>
                        <a:pt x="1118" y="1022"/>
                      </a:lnTo>
                      <a:lnTo>
                        <a:pt x="1118" y="1020"/>
                      </a:lnTo>
                      <a:lnTo>
                        <a:pt x="1117" y="1020"/>
                      </a:lnTo>
                      <a:lnTo>
                        <a:pt x="1117" y="1018"/>
                      </a:lnTo>
                      <a:lnTo>
                        <a:pt x="1115" y="1018"/>
                      </a:lnTo>
                      <a:lnTo>
                        <a:pt x="1113" y="1020"/>
                      </a:lnTo>
                      <a:lnTo>
                        <a:pt x="1112" y="1020"/>
                      </a:lnTo>
                      <a:lnTo>
                        <a:pt x="1110" y="1020"/>
                      </a:lnTo>
                      <a:lnTo>
                        <a:pt x="1108" y="1020"/>
                      </a:lnTo>
                      <a:lnTo>
                        <a:pt x="1108" y="1018"/>
                      </a:lnTo>
                      <a:lnTo>
                        <a:pt x="1105" y="1013"/>
                      </a:lnTo>
                      <a:lnTo>
                        <a:pt x="1107" y="1012"/>
                      </a:lnTo>
                      <a:lnTo>
                        <a:pt x="1105" y="1012"/>
                      </a:lnTo>
                      <a:lnTo>
                        <a:pt x="1105" y="1010"/>
                      </a:lnTo>
                      <a:lnTo>
                        <a:pt x="1103" y="1010"/>
                      </a:lnTo>
                      <a:lnTo>
                        <a:pt x="1105" y="1009"/>
                      </a:lnTo>
                      <a:lnTo>
                        <a:pt x="1103" y="1007"/>
                      </a:lnTo>
                      <a:lnTo>
                        <a:pt x="1102" y="1005"/>
                      </a:lnTo>
                      <a:lnTo>
                        <a:pt x="1102" y="1004"/>
                      </a:lnTo>
                      <a:lnTo>
                        <a:pt x="1103" y="1004"/>
                      </a:lnTo>
                      <a:lnTo>
                        <a:pt x="1103" y="1000"/>
                      </a:lnTo>
                      <a:lnTo>
                        <a:pt x="1102" y="1000"/>
                      </a:lnTo>
                      <a:lnTo>
                        <a:pt x="1100" y="1000"/>
                      </a:lnTo>
                      <a:lnTo>
                        <a:pt x="1098" y="1000"/>
                      </a:lnTo>
                      <a:lnTo>
                        <a:pt x="1097" y="999"/>
                      </a:lnTo>
                      <a:lnTo>
                        <a:pt x="1095" y="999"/>
                      </a:lnTo>
                      <a:lnTo>
                        <a:pt x="1093" y="1000"/>
                      </a:lnTo>
                      <a:lnTo>
                        <a:pt x="1093" y="1002"/>
                      </a:lnTo>
                      <a:lnTo>
                        <a:pt x="1093" y="1004"/>
                      </a:lnTo>
                      <a:lnTo>
                        <a:pt x="1093" y="1005"/>
                      </a:lnTo>
                      <a:lnTo>
                        <a:pt x="1091" y="1004"/>
                      </a:lnTo>
                      <a:lnTo>
                        <a:pt x="1090" y="1002"/>
                      </a:lnTo>
                      <a:lnTo>
                        <a:pt x="1088" y="1002"/>
                      </a:lnTo>
                      <a:lnTo>
                        <a:pt x="1088" y="1000"/>
                      </a:lnTo>
                      <a:lnTo>
                        <a:pt x="1088" y="999"/>
                      </a:lnTo>
                      <a:lnTo>
                        <a:pt x="1090" y="999"/>
                      </a:lnTo>
                      <a:lnTo>
                        <a:pt x="1090" y="997"/>
                      </a:lnTo>
                      <a:lnTo>
                        <a:pt x="1088" y="995"/>
                      </a:lnTo>
                      <a:lnTo>
                        <a:pt x="1088" y="994"/>
                      </a:lnTo>
                      <a:lnTo>
                        <a:pt x="1088" y="992"/>
                      </a:lnTo>
                      <a:lnTo>
                        <a:pt x="1086" y="992"/>
                      </a:lnTo>
                      <a:lnTo>
                        <a:pt x="1086" y="990"/>
                      </a:lnTo>
                      <a:lnTo>
                        <a:pt x="1085" y="987"/>
                      </a:lnTo>
                      <a:lnTo>
                        <a:pt x="1085" y="986"/>
                      </a:lnTo>
                      <a:lnTo>
                        <a:pt x="1086" y="984"/>
                      </a:lnTo>
                      <a:lnTo>
                        <a:pt x="1086" y="982"/>
                      </a:lnTo>
                      <a:lnTo>
                        <a:pt x="1085" y="981"/>
                      </a:lnTo>
                      <a:lnTo>
                        <a:pt x="1083" y="981"/>
                      </a:lnTo>
                      <a:lnTo>
                        <a:pt x="1081" y="981"/>
                      </a:lnTo>
                      <a:lnTo>
                        <a:pt x="1080" y="981"/>
                      </a:lnTo>
                      <a:lnTo>
                        <a:pt x="1078" y="979"/>
                      </a:lnTo>
                      <a:lnTo>
                        <a:pt x="1078" y="977"/>
                      </a:lnTo>
                      <a:lnTo>
                        <a:pt x="1076" y="977"/>
                      </a:lnTo>
                      <a:lnTo>
                        <a:pt x="1075" y="977"/>
                      </a:lnTo>
                      <a:lnTo>
                        <a:pt x="1075" y="979"/>
                      </a:lnTo>
                      <a:lnTo>
                        <a:pt x="1073" y="979"/>
                      </a:lnTo>
                      <a:lnTo>
                        <a:pt x="1073" y="981"/>
                      </a:lnTo>
                      <a:lnTo>
                        <a:pt x="1071" y="981"/>
                      </a:lnTo>
                      <a:lnTo>
                        <a:pt x="1070" y="981"/>
                      </a:lnTo>
                      <a:lnTo>
                        <a:pt x="1070" y="979"/>
                      </a:lnTo>
                      <a:lnTo>
                        <a:pt x="1068" y="979"/>
                      </a:lnTo>
                      <a:lnTo>
                        <a:pt x="1068" y="977"/>
                      </a:lnTo>
                      <a:lnTo>
                        <a:pt x="1068" y="976"/>
                      </a:lnTo>
                      <a:lnTo>
                        <a:pt x="1068" y="974"/>
                      </a:lnTo>
                      <a:lnTo>
                        <a:pt x="1068" y="972"/>
                      </a:lnTo>
                      <a:lnTo>
                        <a:pt x="1066" y="972"/>
                      </a:lnTo>
                      <a:lnTo>
                        <a:pt x="1066" y="971"/>
                      </a:lnTo>
                      <a:lnTo>
                        <a:pt x="1064" y="971"/>
                      </a:lnTo>
                      <a:lnTo>
                        <a:pt x="1063" y="971"/>
                      </a:lnTo>
                      <a:lnTo>
                        <a:pt x="1063" y="969"/>
                      </a:lnTo>
                      <a:lnTo>
                        <a:pt x="1061" y="969"/>
                      </a:lnTo>
                      <a:lnTo>
                        <a:pt x="1059" y="967"/>
                      </a:lnTo>
                      <a:lnTo>
                        <a:pt x="1058" y="967"/>
                      </a:lnTo>
                      <a:lnTo>
                        <a:pt x="1059" y="966"/>
                      </a:lnTo>
                      <a:lnTo>
                        <a:pt x="1058" y="964"/>
                      </a:lnTo>
                      <a:lnTo>
                        <a:pt x="1056" y="964"/>
                      </a:lnTo>
                      <a:lnTo>
                        <a:pt x="1056" y="963"/>
                      </a:lnTo>
                      <a:lnTo>
                        <a:pt x="1056" y="961"/>
                      </a:lnTo>
                      <a:lnTo>
                        <a:pt x="1056" y="959"/>
                      </a:lnTo>
                      <a:lnTo>
                        <a:pt x="1056" y="958"/>
                      </a:lnTo>
                      <a:lnTo>
                        <a:pt x="1056" y="956"/>
                      </a:lnTo>
                      <a:lnTo>
                        <a:pt x="1054" y="954"/>
                      </a:lnTo>
                      <a:lnTo>
                        <a:pt x="1053" y="953"/>
                      </a:lnTo>
                      <a:lnTo>
                        <a:pt x="1051" y="953"/>
                      </a:lnTo>
                      <a:lnTo>
                        <a:pt x="1051" y="951"/>
                      </a:lnTo>
                      <a:lnTo>
                        <a:pt x="1051" y="949"/>
                      </a:lnTo>
                      <a:lnTo>
                        <a:pt x="1049" y="949"/>
                      </a:lnTo>
                      <a:lnTo>
                        <a:pt x="1048" y="949"/>
                      </a:lnTo>
                      <a:lnTo>
                        <a:pt x="1048" y="948"/>
                      </a:lnTo>
                      <a:lnTo>
                        <a:pt x="1046" y="948"/>
                      </a:lnTo>
                      <a:lnTo>
                        <a:pt x="1044" y="948"/>
                      </a:lnTo>
                      <a:lnTo>
                        <a:pt x="1042" y="948"/>
                      </a:lnTo>
                      <a:lnTo>
                        <a:pt x="1042" y="946"/>
                      </a:lnTo>
                      <a:lnTo>
                        <a:pt x="1041" y="945"/>
                      </a:lnTo>
                      <a:lnTo>
                        <a:pt x="1039" y="945"/>
                      </a:lnTo>
                      <a:lnTo>
                        <a:pt x="1037" y="943"/>
                      </a:lnTo>
                      <a:lnTo>
                        <a:pt x="1015" y="943"/>
                      </a:lnTo>
                      <a:lnTo>
                        <a:pt x="978" y="943"/>
                      </a:lnTo>
                      <a:lnTo>
                        <a:pt x="966" y="943"/>
                      </a:lnTo>
                      <a:lnTo>
                        <a:pt x="966" y="945"/>
                      </a:lnTo>
                      <a:lnTo>
                        <a:pt x="966" y="946"/>
                      </a:lnTo>
                      <a:lnTo>
                        <a:pt x="966" y="948"/>
                      </a:lnTo>
                      <a:lnTo>
                        <a:pt x="966" y="949"/>
                      </a:lnTo>
                      <a:lnTo>
                        <a:pt x="965" y="949"/>
                      </a:lnTo>
                      <a:lnTo>
                        <a:pt x="965" y="951"/>
                      </a:lnTo>
                      <a:lnTo>
                        <a:pt x="963" y="951"/>
                      </a:lnTo>
                      <a:lnTo>
                        <a:pt x="961" y="953"/>
                      </a:lnTo>
                      <a:lnTo>
                        <a:pt x="961" y="954"/>
                      </a:lnTo>
                      <a:lnTo>
                        <a:pt x="963" y="954"/>
                      </a:lnTo>
                      <a:lnTo>
                        <a:pt x="961" y="958"/>
                      </a:lnTo>
                      <a:lnTo>
                        <a:pt x="960" y="959"/>
                      </a:lnTo>
                      <a:lnTo>
                        <a:pt x="960" y="961"/>
                      </a:lnTo>
                      <a:lnTo>
                        <a:pt x="956" y="963"/>
                      </a:lnTo>
                      <a:lnTo>
                        <a:pt x="955" y="963"/>
                      </a:lnTo>
                      <a:lnTo>
                        <a:pt x="955" y="964"/>
                      </a:lnTo>
                      <a:lnTo>
                        <a:pt x="955" y="966"/>
                      </a:lnTo>
                      <a:lnTo>
                        <a:pt x="956" y="967"/>
                      </a:lnTo>
                      <a:lnTo>
                        <a:pt x="956" y="969"/>
                      </a:lnTo>
                      <a:lnTo>
                        <a:pt x="955" y="971"/>
                      </a:lnTo>
                      <a:lnTo>
                        <a:pt x="953" y="972"/>
                      </a:lnTo>
                      <a:lnTo>
                        <a:pt x="953" y="974"/>
                      </a:lnTo>
                      <a:lnTo>
                        <a:pt x="953" y="976"/>
                      </a:lnTo>
                      <a:lnTo>
                        <a:pt x="951" y="976"/>
                      </a:lnTo>
                      <a:lnTo>
                        <a:pt x="950" y="976"/>
                      </a:lnTo>
                      <a:lnTo>
                        <a:pt x="948" y="974"/>
                      </a:lnTo>
                      <a:lnTo>
                        <a:pt x="945" y="972"/>
                      </a:lnTo>
                      <a:lnTo>
                        <a:pt x="943" y="972"/>
                      </a:lnTo>
                      <a:lnTo>
                        <a:pt x="941" y="972"/>
                      </a:lnTo>
                      <a:lnTo>
                        <a:pt x="941" y="974"/>
                      </a:lnTo>
                      <a:lnTo>
                        <a:pt x="939" y="974"/>
                      </a:lnTo>
                      <a:lnTo>
                        <a:pt x="939" y="976"/>
                      </a:lnTo>
                      <a:lnTo>
                        <a:pt x="938" y="976"/>
                      </a:lnTo>
                      <a:lnTo>
                        <a:pt x="936" y="976"/>
                      </a:lnTo>
                      <a:lnTo>
                        <a:pt x="936" y="977"/>
                      </a:lnTo>
                      <a:lnTo>
                        <a:pt x="936" y="979"/>
                      </a:lnTo>
                      <a:lnTo>
                        <a:pt x="936" y="981"/>
                      </a:lnTo>
                      <a:lnTo>
                        <a:pt x="934" y="982"/>
                      </a:lnTo>
                      <a:lnTo>
                        <a:pt x="933" y="984"/>
                      </a:lnTo>
                      <a:lnTo>
                        <a:pt x="934" y="984"/>
                      </a:lnTo>
                      <a:lnTo>
                        <a:pt x="934" y="986"/>
                      </a:lnTo>
                      <a:lnTo>
                        <a:pt x="936" y="986"/>
                      </a:lnTo>
                      <a:lnTo>
                        <a:pt x="936" y="987"/>
                      </a:lnTo>
                      <a:lnTo>
                        <a:pt x="934" y="989"/>
                      </a:lnTo>
                      <a:lnTo>
                        <a:pt x="933" y="990"/>
                      </a:lnTo>
                      <a:lnTo>
                        <a:pt x="933" y="992"/>
                      </a:lnTo>
                      <a:lnTo>
                        <a:pt x="934" y="992"/>
                      </a:lnTo>
                      <a:lnTo>
                        <a:pt x="936" y="994"/>
                      </a:lnTo>
                      <a:lnTo>
                        <a:pt x="936" y="995"/>
                      </a:lnTo>
                      <a:lnTo>
                        <a:pt x="936" y="997"/>
                      </a:lnTo>
                      <a:lnTo>
                        <a:pt x="938" y="997"/>
                      </a:lnTo>
                      <a:lnTo>
                        <a:pt x="938" y="999"/>
                      </a:lnTo>
                      <a:lnTo>
                        <a:pt x="938" y="1000"/>
                      </a:lnTo>
                      <a:lnTo>
                        <a:pt x="936" y="1000"/>
                      </a:lnTo>
                      <a:lnTo>
                        <a:pt x="936" y="1002"/>
                      </a:lnTo>
                      <a:lnTo>
                        <a:pt x="934" y="1002"/>
                      </a:lnTo>
                      <a:lnTo>
                        <a:pt x="934" y="1000"/>
                      </a:lnTo>
                      <a:lnTo>
                        <a:pt x="933" y="999"/>
                      </a:lnTo>
                      <a:lnTo>
                        <a:pt x="933" y="1000"/>
                      </a:lnTo>
                      <a:lnTo>
                        <a:pt x="931" y="1002"/>
                      </a:lnTo>
                      <a:lnTo>
                        <a:pt x="931" y="1004"/>
                      </a:lnTo>
                      <a:lnTo>
                        <a:pt x="929" y="1004"/>
                      </a:lnTo>
                      <a:lnTo>
                        <a:pt x="931" y="1005"/>
                      </a:lnTo>
                      <a:lnTo>
                        <a:pt x="929" y="1005"/>
                      </a:lnTo>
                      <a:lnTo>
                        <a:pt x="929" y="1007"/>
                      </a:lnTo>
                      <a:lnTo>
                        <a:pt x="929" y="1009"/>
                      </a:lnTo>
                      <a:lnTo>
                        <a:pt x="928" y="1009"/>
                      </a:lnTo>
                      <a:lnTo>
                        <a:pt x="928" y="1010"/>
                      </a:lnTo>
                      <a:lnTo>
                        <a:pt x="928" y="1012"/>
                      </a:lnTo>
                      <a:lnTo>
                        <a:pt x="926" y="1012"/>
                      </a:lnTo>
                      <a:lnTo>
                        <a:pt x="924" y="1012"/>
                      </a:lnTo>
                      <a:lnTo>
                        <a:pt x="923" y="1012"/>
                      </a:lnTo>
                      <a:lnTo>
                        <a:pt x="921" y="1013"/>
                      </a:lnTo>
                      <a:lnTo>
                        <a:pt x="921" y="1012"/>
                      </a:lnTo>
                      <a:lnTo>
                        <a:pt x="919" y="1012"/>
                      </a:lnTo>
                      <a:lnTo>
                        <a:pt x="918" y="1012"/>
                      </a:lnTo>
                      <a:lnTo>
                        <a:pt x="918" y="1013"/>
                      </a:lnTo>
                      <a:lnTo>
                        <a:pt x="918" y="1015"/>
                      </a:lnTo>
                      <a:lnTo>
                        <a:pt x="918" y="1017"/>
                      </a:lnTo>
                      <a:lnTo>
                        <a:pt x="918" y="1018"/>
                      </a:lnTo>
                      <a:lnTo>
                        <a:pt x="919" y="1020"/>
                      </a:lnTo>
                      <a:lnTo>
                        <a:pt x="918" y="1020"/>
                      </a:lnTo>
                      <a:lnTo>
                        <a:pt x="918" y="1022"/>
                      </a:lnTo>
                      <a:lnTo>
                        <a:pt x="916" y="1023"/>
                      </a:lnTo>
                      <a:lnTo>
                        <a:pt x="916" y="1025"/>
                      </a:lnTo>
                      <a:lnTo>
                        <a:pt x="916" y="1027"/>
                      </a:lnTo>
                      <a:lnTo>
                        <a:pt x="916" y="1028"/>
                      </a:lnTo>
                      <a:lnTo>
                        <a:pt x="918" y="1032"/>
                      </a:lnTo>
                      <a:lnTo>
                        <a:pt x="918" y="1033"/>
                      </a:lnTo>
                      <a:lnTo>
                        <a:pt x="916" y="1035"/>
                      </a:lnTo>
                      <a:lnTo>
                        <a:pt x="914" y="1033"/>
                      </a:lnTo>
                      <a:lnTo>
                        <a:pt x="914" y="1035"/>
                      </a:lnTo>
                      <a:lnTo>
                        <a:pt x="911" y="1036"/>
                      </a:lnTo>
                      <a:lnTo>
                        <a:pt x="909" y="1036"/>
                      </a:lnTo>
                      <a:lnTo>
                        <a:pt x="907" y="1036"/>
                      </a:lnTo>
                      <a:lnTo>
                        <a:pt x="906" y="1036"/>
                      </a:lnTo>
                      <a:lnTo>
                        <a:pt x="904" y="1036"/>
                      </a:lnTo>
                      <a:lnTo>
                        <a:pt x="902" y="1038"/>
                      </a:lnTo>
                      <a:lnTo>
                        <a:pt x="901" y="1038"/>
                      </a:lnTo>
                      <a:lnTo>
                        <a:pt x="901" y="1036"/>
                      </a:lnTo>
                      <a:lnTo>
                        <a:pt x="899" y="1036"/>
                      </a:lnTo>
                      <a:lnTo>
                        <a:pt x="901" y="1033"/>
                      </a:lnTo>
                      <a:lnTo>
                        <a:pt x="901" y="1032"/>
                      </a:lnTo>
                      <a:lnTo>
                        <a:pt x="899" y="1032"/>
                      </a:lnTo>
                      <a:lnTo>
                        <a:pt x="896" y="1033"/>
                      </a:lnTo>
                      <a:lnTo>
                        <a:pt x="894" y="1033"/>
                      </a:lnTo>
                      <a:lnTo>
                        <a:pt x="892" y="1035"/>
                      </a:lnTo>
                      <a:lnTo>
                        <a:pt x="889" y="1035"/>
                      </a:lnTo>
                      <a:lnTo>
                        <a:pt x="889" y="1036"/>
                      </a:lnTo>
                      <a:lnTo>
                        <a:pt x="887" y="1036"/>
                      </a:lnTo>
                      <a:lnTo>
                        <a:pt x="885" y="1035"/>
                      </a:lnTo>
                      <a:lnTo>
                        <a:pt x="884" y="1036"/>
                      </a:lnTo>
                      <a:lnTo>
                        <a:pt x="882" y="1036"/>
                      </a:lnTo>
                      <a:lnTo>
                        <a:pt x="880" y="1035"/>
                      </a:lnTo>
                      <a:lnTo>
                        <a:pt x="879" y="1036"/>
                      </a:lnTo>
                      <a:lnTo>
                        <a:pt x="877" y="1036"/>
                      </a:lnTo>
                      <a:lnTo>
                        <a:pt x="875" y="1036"/>
                      </a:lnTo>
                      <a:lnTo>
                        <a:pt x="875" y="1038"/>
                      </a:lnTo>
                      <a:lnTo>
                        <a:pt x="874" y="1038"/>
                      </a:lnTo>
                      <a:lnTo>
                        <a:pt x="874" y="1040"/>
                      </a:lnTo>
                      <a:lnTo>
                        <a:pt x="872" y="1040"/>
                      </a:lnTo>
                      <a:lnTo>
                        <a:pt x="870" y="1038"/>
                      </a:lnTo>
                      <a:lnTo>
                        <a:pt x="869" y="1038"/>
                      </a:lnTo>
                      <a:lnTo>
                        <a:pt x="867" y="1040"/>
                      </a:lnTo>
                      <a:lnTo>
                        <a:pt x="867" y="1038"/>
                      </a:lnTo>
                      <a:lnTo>
                        <a:pt x="865" y="1036"/>
                      </a:lnTo>
                      <a:lnTo>
                        <a:pt x="863" y="1036"/>
                      </a:lnTo>
                      <a:lnTo>
                        <a:pt x="862" y="1038"/>
                      </a:lnTo>
                      <a:lnTo>
                        <a:pt x="862" y="1040"/>
                      </a:lnTo>
                      <a:lnTo>
                        <a:pt x="860" y="1040"/>
                      </a:lnTo>
                      <a:lnTo>
                        <a:pt x="858" y="1040"/>
                      </a:lnTo>
                      <a:lnTo>
                        <a:pt x="857" y="1038"/>
                      </a:lnTo>
                      <a:lnTo>
                        <a:pt x="857" y="1036"/>
                      </a:lnTo>
                      <a:lnTo>
                        <a:pt x="855" y="1036"/>
                      </a:lnTo>
                      <a:lnTo>
                        <a:pt x="853" y="1036"/>
                      </a:lnTo>
                      <a:lnTo>
                        <a:pt x="852" y="1036"/>
                      </a:lnTo>
                      <a:lnTo>
                        <a:pt x="850" y="1038"/>
                      </a:lnTo>
                      <a:lnTo>
                        <a:pt x="848" y="1038"/>
                      </a:lnTo>
                      <a:lnTo>
                        <a:pt x="848" y="1040"/>
                      </a:lnTo>
                      <a:lnTo>
                        <a:pt x="847" y="1040"/>
                      </a:lnTo>
                      <a:lnTo>
                        <a:pt x="847" y="1041"/>
                      </a:lnTo>
                      <a:lnTo>
                        <a:pt x="845" y="1041"/>
                      </a:lnTo>
                      <a:lnTo>
                        <a:pt x="843" y="1041"/>
                      </a:lnTo>
                      <a:lnTo>
                        <a:pt x="843" y="1043"/>
                      </a:lnTo>
                      <a:lnTo>
                        <a:pt x="843" y="1045"/>
                      </a:lnTo>
                      <a:lnTo>
                        <a:pt x="843" y="1046"/>
                      </a:lnTo>
                      <a:lnTo>
                        <a:pt x="843" y="1048"/>
                      </a:lnTo>
                      <a:lnTo>
                        <a:pt x="842" y="1050"/>
                      </a:lnTo>
                      <a:lnTo>
                        <a:pt x="842" y="1051"/>
                      </a:lnTo>
                      <a:lnTo>
                        <a:pt x="842" y="1053"/>
                      </a:lnTo>
                      <a:lnTo>
                        <a:pt x="843" y="1053"/>
                      </a:lnTo>
                      <a:lnTo>
                        <a:pt x="843" y="1055"/>
                      </a:lnTo>
                      <a:lnTo>
                        <a:pt x="842" y="1055"/>
                      </a:lnTo>
                      <a:lnTo>
                        <a:pt x="843" y="1056"/>
                      </a:lnTo>
                      <a:lnTo>
                        <a:pt x="843" y="1058"/>
                      </a:lnTo>
                      <a:lnTo>
                        <a:pt x="843" y="1059"/>
                      </a:lnTo>
                      <a:lnTo>
                        <a:pt x="842" y="1059"/>
                      </a:lnTo>
                      <a:lnTo>
                        <a:pt x="842" y="1061"/>
                      </a:lnTo>
                      <a:lnTo>
                        <a:pt x="842" y="1063"/>
                      </a:lnTo>
                      <a:lnTo>
                        <a:pt x="840" y="1063"/>
                      </a:lnTo>
                      <a:lnTo>
                        <a:pt x="840" y="1064"/>
                      </a:lnTo>
                      <a:lnTo>
                        <a:pt x="838" y="1064"/>
                      </a:lnTo>
                      <a:lnTo>
                        <a:pt x="836" y="1064"/>
                      </a:lnTo>
                      <a:lnTo>
                        <a:pt x="836" y="1066"/>
                      </a:lnTo>
                      <a:lnTo>
                        <a:pt x="836" y="1068"/>
                      </a:lnTo>
                      <a:lnTo>
                        <a:pt x="835" y="1068"/>
                      </a:lnTo>
                      <a:lnTo>
                        <a:pt x="835" y="1069"/>
                      </a:lnTo>
                      <a:lnTo>
                        <a:pt x="833" y="1069"/>
                      </a:lnTo>
                      <a:lnTo>
                        <a:pt x="833" y="1071"/>
                      </a:lnTo>
                      <a:lnTo>
                        <a:pt x="831" y="1071"/>
                      </a:lnTo>
                      <a:lnTo>
                        <a:pt x="833" y="1073"/>
                      </a:lnTo>
                      <a:lnTo>
                        <a:pt x="831" y="1073"/>
                      </a:lnTo>
                      <a:lnTo>
                        <a:pt x="831" y="1074"/>
                      </a:lnTo>
                      <a:lnTo>
                        <a:pt x="830" y="1074"/>
                      </a:lnTo>
                      <a:lnTo>
                        <a:pt x="828" y="1074"/>
                      </a:lnTo>
                      <a:lnTo>
                        <a:pt x="828" y="1076"/>
                      </a:lnTo>
                      <a:lnTo>
                        <a:pt x="826" y="1076"/>
                      </a:lnTo>
                      <a:lnTo>
                        <a:pt x="828" y="1078"/>
                      </a:lnTo>
                      <a:lnTo>
                        <a:pt x="826" y="1078"/>
                      </a:lnTo>
                      <a:lnTo>
                        <a:pt x="825" y="1078"/>
                      </a:lnTo>
                      <a:lnTo>
                        <a:pt x="825" y="1079"/>
                      </a:lnTo>
                      <a:lnTo>
                        <a:pt x="823" y="1079"/>
                      </a:lnTo>
                      <a:lnTo>
                        <a:pt x="821" y="1079"/>
                      </a:lnTo>
                      <a:lnTo>
                        <a:pt x="821" y="1078"/>
                      </a:lnTo>
                      <a:lnTo>
                        <a:pt x="820" y="1078"/>
                      </a:lnTo>
                      <a:lnTo>
                        <a:pt x="818" y="1078"/>
                      </a:lnTo>
                      <a:lnTo>
                        <a:pt x="818" y="1076"/>
                      </a:lnTo>
                      <a:lnTo>
                        <a:pt x="820" y="1074"/>
                      </a:lnTo>
                      <a:lnTo>
                        <a:pt x="820" y="1073"/>
                      </a:lnTo>
                      <a:lnTo>
                        <a:pt x="818" y="1073"/>
                      </a:lnTo>
                      <a:lnTo>
                        <a:pt x="818" y="1071"/>
                      </a:lnTo>
                      <a:lnTo>
                        <a:pt x="818" y="1069"/>
                      </a:lnTo>
                      <a:lnTo>
                        <a:pt x="816" y="1068"/>
                      </a:lnTo>
                      <a:lnTo>
                        <a:pt x="816" y="1066"/>
                      </a:lnTo>
                      <a:lnTo>
                        <a:pt x="816" y="1064"/>
                      </a:lnTo>
                      <a:lnTo>
                        <a:pt x="816" y="1063"/>
                      </a:lnTo>
                      <a:lnTo>
                        <a:pt x="814" y="1063"/>
                      </a:lnTo>
                      <a:lnTo>
                        <a:pt x="813" y="1061"/>
                      </a:lnTo>
                      <a:lnTo>
                        <a:pt x="811" y="1061"/>
                      </a:lnTo>
                      <a:lnTo>
                        <a:pt x="809" y="1063"/>
                      </a:lnTo>
                      <a:lnTo>
                        <a:pt x="808" y="1063"/>
                      </a:lnTo>
                      <a:lnTo>
                        <a:pt x="808" y="1064"/>
                      </a:lnTo>
                      <a:lnTo>
                        <a:pt x="806" y="1064"/>
                      </a:lnTo>
                      <a:lnTo>
                        <a:pt x="806" y="1066"/>
                      </a:lnTo>
                      <a:lnTo>
                        <a:pt x="804" y="1066"/>
                      </a:lnTo>
                      <a:lnTo>
                        <a:pt x="803" y="1066"/>
                      </a:lnTo>
                      <a:lnTo>
                        <a:pt x="803" y="1068"/>
                      </a:lnTo>
                      <a:lnTo>
                        <a:pt x="799" y="1068"/>
                      </a:lnTo>
                      <a:lnTo>
                        <a:pt x="799" y="1069"/>
                      </a:lnTo>
                      <a:lnTo>
                        <a:pt x="798" y="1069"/>
                      </a:lnTo>
                      <a:lnTo>
                        <a:pt x="798" y="1068"/>
                      </a:lnTo>
                      <a:lnTo>
                        <a:pt x="796" y="1068"/>
                      </a:lnTo>
                      <a:lnTo>
                        <a:pt x="794" y="1066"/>
                      </a:lnTo>
                      <a:lnTo>
                        <a:pt x="794" y="1068"/>
                      </a:lnTo>
                      <a:lnTo>
                        <a:pt x="793" y="1068"/>
                      </a:lnTo>
                      <a:lnTo>
                        <a:pt x="794" y="1068"/>
                      </a:lnTo>
                      <a:lnTo>
                        <a:pt x="794" y="1069"/>
                      </a:lnTo>
                      <a:lnTo>
                        <a:pt x="794" y="1073"/>
                      </a:lnTo>
                      <a:lnTo>
                        <a:pt x="793" y="1074"/>
                      </a:lnTo>
                      <a:lnTo>
                        <a:pt x="793" y="1076"/>
                      </a:lnTo>
                      <a:lnTo>
                        <a:pt x="794" y="1076"/>
                      </a:lnTo>
                      <a:lnTo>
                        <a:pt x="794" y="1078"/>
                      </a:lnTo>
                      <a:lnTo>
                        <a:pt x="794" y="1079"/>
                      </a:lnTo>
                      <a:lnTo>
                        <a:pt x="794" y="1081"/>
                      </a:lnTo>
                      <a:lnTo>
                        <a:pt x="793" y="1081"/>
                      </a:lnTo>
                      <a:lnTo>
                        <a:pt x="791" y="1081"/>
                      </a:lnTo>
                      <a:lnTo>
                        <a:pt x="789" y="1081"/>
                      </a:lnTo>
                      <a:lnTo>
                        <a:pt x="787" y="1081"/>
                      </a:lnTo>
                      <a:lnTo>
                        <a:pt x="787" y="1079"/>
                      </a:lnTo>
                      <a:lnTo>
                        <a:pt x="786" y="1079"/>
                      </a:lnTo>
                      <a:lnTo>
                        <a:pt x="786" y="1078"/>
                      </a:lnTo>
                      <a:lnTo>
                        <a:pt x="784" y="1078"/>
                      </a:lnTo>
                      <a:lnTo>
                        <a:pt x="782" y="1078"/>
                      </a:lnTo>
                      <a:lnTo>
                        <a:pt x="782" y="1076"/>
                      </a:lnTo>
                      <a:lnTo>
                        <a:pt x="781" y="1076"/>
                      </a:lnTo>
                      <a:lnTo>
                        <a:pt x="779" y="1076"/>
                      </a:lnTo>
                      <a:lnTo>
                        <a:pt x="777" y="1078"/>
                      </a:lnTo>
                      <a:lnTo>
                        <a:pt x="776" y="1078"/>
                      </a:lnTo>
                      <a:lnTo>
                        <a:pt x="774" y="1079"/>
                      </a:lnTo>
                      <a:lnTo>
                        <a:pt x="772" y="1079"/>
                      </a:lnTo>
                      <a:lnTo>
                        <a:pt x="771" y="1081"/>
                      </a:lnTo>
                      <a:lnTo>
                        <a:pt x="771" y="1084"/>
                      </a:lnTo>
                      <a:lnTo>
                        <a:pt x="769" y="1086"/>
                      </a:lnTo>
                      <a:lnTo>
                        <a:pt x="769" y="1087"/>
                      </a:lnTo>
                      <a:lnTo>
                        <a:pt x="767" y="1089"/>
                      </a:lnTo>
                      <a:lnTo>
                        <a:pt x="766" y="1089"/>
                      </a:lnTo>
                      <a:lnTo>
                        <a:pt x="764" y="1089"/>
                      </a:lnTo>
                      <a:lnTo>
                        <a:pt x="764" y="1091"/>
                      </a:lnTo>
                      <a:lnTo>
                        <a:pt x="762" y="1091"/>
                      </a:lnTo>
                      <a:lnTo>
                        <a:pt x="762" y="1092"/>
                      </a:lnTo>
                      <a:lnTo>
                        <a:pt x="760" y="1092"/>
                      </a:lnTo>
                      <a:lnTo>
                        <a:pt x="759" y="1091"/>
                      </a:lnTo>
                      <a:lnTo>
                        <a:pt x="759" y="1089"/>
                      </a:lnTo>
                      <a:lnTo>
                        <a:pt x="757" y="1087"/>
                      </a:lnTo>
                      <a:lnTo>
                        <a:pt x="755" y="1087"/>
                      </a:lnTo>
                      <a:lnTo>
                        <a:pt x="755" y="1086"/>
                      </a:lnTo>
                      <a:lnTo>
                        <a:pt x="755" y="1084"/>
                      </a:lnTo>
                      <a:lnTo>
                        <a:pt x="754" y="1086"/>
                      </a:lnTo>
                      <a:lnTo>
                        <a:pt x="754" y="1084"/>
                      </a:lnTo>
                      <a:lnTo>
                        <a:pt x="754" y="1082"/>
                      </a:lnTo>
                      <a:lnTo>
                        <a:pt x="752" y="1082"/>
                      </a:lnTo>
                      <a:lnTo>
                        <a:pt x="750" y="1082"/>
                      </a:lnTo>
                      <a:lnTo>
                        <a:pt x="749" y="1082"/>
                      </a:lnTo>
                      <a:lnTo>
                        <a:pt x="749" y="1081"/>
                      </a:lnTo>
                      <a:lnTo>
                        <a:pt x="749" y="1079"/>
                      </a:lnTo>
                      <a:lnTo>
                        <a:pt x="747" y="1079"/>
                      </a:lnTo>
                      <a:lnTo>
                        <a:pt x="745" y="1078"/>
                      </a:lnTo>
                      <a:lnTo>
                        <a:pt x="744" y="1076"/>
                      </a:lnTo>
                      <a:lnTo>
                        <a:pt x="742" y="1076"/>
                      </a:lnTo>
                      <a:lnTo>
                        <a:pt x="740" y="1076"/>
                      </a:lnTo>
                      <a:lnTo>
                        <a:pt x="738" y="1074"/>
                      </a:lnTo>
                      <a:lnTo>
                        <a:pt x="737" y="1074"/>
                      </a:lnTo>
                      <a:lnTo>
                        <a:pt x="737" y="1076"/>
                      </a:lnTo>
                      <a:lnTo>
                        <a:pt x="735" y="1076"/>
                      </a:lnTo>
                      <a:lnTo>
                        <a:pt x="732" y="1076"/>
                      </a:lnTo>
                      <a:lnTo>
                        <a:pt x="730" y="1076"/>
                      </a:lnTo>
                      <a:lnTo>
                        <a:pt x="727" y="1076"/>
                      </a:lnTo>
                      <a:lnTo>
                        <a:pt x="727" y="1078"/>
                      </a:lnTo>
                      <a:lnTo>
                        <a:pt x="725" y="1078"/>
                      </a:lnTo>
                      <a:lnTo>
                        <a:pt x="723" y="1078"/>
                      </a:lnTo>
                      <a:lnTo>
                        <a:pt x="722" y="1078"/>
                      </a:lnTo>
                      <a:lnTo>
                        <a:pt x="720" y="1078"/>
                      </a:lnTo>
                      <a:lnTo>
                        <a:pt x="718" y="1078"/>
                      </a:lnTo>
                      <a:lnTo>
                        <a:pt x="717" y="1076"/>
                      </a:lnTo>
                      <a:lnTo>
                        <a:pt x="715" y="1076"/>
                      </a:lnTo>
                      <a:lnTo>
                        <a:pt x="713" y="1076"/>
                      </a:lnTo>
                      <a:lnTo>
                        <a:pt x="713" y="1078"/>
                      </a:lnTo>
                      <a:lnTo>
                        <a:pt x="715" y="1078"/>
                      </a:lnTo>
                      <a:lnTo>
                        <a:pt x="713" y="1078"/>
                      </a:lnTo>
                      <a:lnTo>
                        <a:pt x="711" y="1078"/>
                      </a:lnTo>
                      <a:lnTo>
                        <a:pt x="711" y="1076"/>
                      </a:lnTo>
                      <a:lnTo>
                        <a:pt x="710" y="1078"/>
                      </a:lnTo>
                      <a:lnTo>
                        <a:pt x="708" y="1078"/>
                      </a:lnTo>
                      <a:lnTo>
                        <a:pt x="708" y="1076"/>
                      </a:lnTo>
                      <a:lnTo>
                        <a:pt x="706" y="1076"/>
                      </a:lnTo>
                      <a:lnTo>
                        <a:pt x="706" y="1078"/>
                      </a:lnTo>
                      <a:lnTo>
                        <a:pt x="705" y="1078"/>
                      </a:lnTo>
                      <a:lnTo>
                        <a:pt x="705" y="1076"/>
                      </a:lnTo>
                      <a:lnTo>
                        <a:pt x="703" y="1076"/>
                      </a:lnTo>
                      <a:lnTo>
                        <a:pt x="701" y="1076"/>
                      </a:lnTo>
                      <a:lnTo>
                        <a:pt x="701" y="1078"/>
                      </a:lnTo>
                      <a:lnTo>
                        <a:pt x="703" y="1078"/>
                      </a:lnTo>
                      <a:lnTo>
                        <a:pt x="705" y="1079"/>
                      </a:lnTo>
                      <a:lnTo>
                        <a:pt x="705" y="1081"/>
                      </a:lnTo>
                      <a:lnTo>
                        <a:pt x="703" y="1082"/>
                      </a:lnTo>
                      <a:lnTo>
                        <a:pt x="703" y="1084"/>
                      </a:lnTo>
                      <a:lnTo>
                        <a:pt x="701" y="1086"/>
                      </a:lnTo>
                      <a:lnTo>
                        <a:pt x="700" y="1087"/>
                      </a:lnTo>
                      <a:lnTo>
                        <a:pt x="700" y="1089"/>
                      </a:lnTo>
                      <a:lnTo>
                        <a:pt x="698" y="1091"/>
                      </a:lnTo>
                      <a:lnTo>
                        <a:pt x="696" y="1092"/>
                      </a:lnTo>
                      <a:lnTo>
                        <a:pt x="695" y="1092"/>
                      </a:lnTo>
                      <a:lnTo>
                        <a:pt x="695" y="1094"/>
                      </a:lnTo>
                      <a:lnTo>
                        <a:pt x="695" y="1096"/>
                      </a:lnTo>
                      <a:lnTo>
                        <a:pt x="693" y="1096"/>
                      </a:lnTo>
                      <a:lnTo>
                        <a:pt x="691" y="1097"/>
                      </a:lnTo>
                      <a:lnTo>
                        <a:pt x="690" y="1097"/>
                      </a:lnTo>
                      <a:lnTo>
                        <a:pt x="690" y="1099"/>
                      </a:lnTo>
                      <a:lnTo>
                        <a:pt x="688" y="1099"/>
                      </a:lnTo>
                      <a:lnTo>
                        <a:pt x="686" y="1099"/>
                      </a:lnTo>
                      <a:lnTo>
                        <a:pt x="686" y="1101"/>
                      </a:lnTo>
                      <a:lnTo>
                        <a:pt x="684" y="1101"/>
                      </a:lnTo>
                      <a:lnTo>
                        <a:pt x="684" y="1099"/>
                      </a:lnTo>
                      <a:lnTo>
                        <a:pt x="683" y="1099"/>
                      </a:lnTo>
                      <a:lnTo>
                        <a:pt x="683" y="1101"/>
                      </a:lnTo>
                      <a:lnTo>
                        <a:pt x="681" y="1101"/>
                      </a:lnTo>
                      <a:lnTo>
                        <a:pt x="679" y="1102"/>
                      </a:lnTo>
                      <a:lnTo>
                        <a:pt x="678" y="1102"/>
                      </a:lnTo>
                      <a:lnTo>
                        <a:pt x="678" y="1104"/>
                      </a:lnTo>
                      <a:lnTo>
                        <a:pt x="676" y="1104"/>
                      </a:lnTo>
                      <a:lnTo>
                        <a:pt x="676" y="1105"/>
                      </a:lnTo>
                      <a:lnTo>
                        <a:pt x="674" y="1107"/>
                      </a:lnTo>
                      <a:lnTo>
                        <a:pt x="673" y="1107"/>
                      </a:lnTo>
                      <a:lnTo>
                        <a:pt x="671" y="1107"/>
                      </a:lnTo>
                      <a:lnTo>
                        <a:pt x="669" y="1109"/>
                      </a:lnTo>
                      <a:lnTo>
                        <a:pt x="668" y="1107"/>
                      </a:lnTo>
                      <a:lnTo>
                        <a:pt x="668" y="1109"/>
                      </a:lnTo>
                      <a:lnTo>
                        <a:pt x="668" y="1110"/>
                      </a:lnTo>
                      <a:lnTo>
                        <a:pt x="666" y="1112"/>
                      </a:lnTo>
                      <a:lnTo>
                        <a:pt x="664" y="1114"/>
                      </a:lnTo>
                      <a:lnTo>
                        <a:pt x="635" y="1101"/>
                      </a:lnTo>
                      <a:lnTo>
                        <a:pt x="634" y="1101"/>
                      </a:lnTo>
                      <a:lnTo>
                        <a:pt x="615" y="1092"/>
                      </a:lnTo>
                      <a:lnTo>
                        <a:pt x="558" y="1069"/>
                      </a:lnTo>
                      <a:lnTo>
                        <a:pt x="534" y="1059"/>
                      </a:lnTo>
                      <a:lnTo>
                        <a:pt x="482" y="1038"/>
                      </a:lnTo>
                      <a:lnTo>
                        <a:pt x="456" y="1027"/>
                      </a:lnTo>
                      <a:lnTo>
                        <a:pt x="416" y="1005"/>
                      </a:lnTo>
                      <a:lnTo>
                        <a:pt x="404" y="999"/>
                      </a:lnTo>
                      <a:lnTo>
                        <a:pt x="384" y="989"/>
                      </a:lnTo>
                      <a:lnTo>
                        <a:pt x="326" y="959"/>
                      </a:lnTo>
                      <a:lnTo>
                        <a:pt x="315" y="956"/>
                      </a:lnTo>
                      <a:lnTo>
                        <a:pt x="308" y="954"/>
                      </a:lnTo>
                      <a:lnTo>
                        <a:pt x="264" y="946"/>
                      </a:lnTo>
                      <a:lnTo>
                        <a:pt x="244" y="941"/>
                      </a:lnTo>
                      <a:lnTo>
                        <a:pt x="220" y="936"/>
                      </a:lnTo>
                      <a:lnTo>
                        <a:pt x="218" y="935"/>
                      </a:lnTo>
                      <a:lnTo>
                        <a:pt x="173" y="925"/>
                      </a:lnTo>
                      <a:lnTo>
                        <a:pt x="156" y="922"/>
                      </a:lnTo>
                      <a:lnTo>
                        <a:pt x="110" y="912"/>
                      </a:lnTo>
                      <a:lnTo>
                        <a:pt x="90" y="902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7" name="Freeform 17"/>
                <p:cNvSpPr>
                  <a:spLocks noChangeAspect="1" noEditPoints="1"/>
                </p:cNvSpPr>
                <p:nvPr/>
              </p:nvSpPr>
              <p:spPr bwMode="auto">
                <a:xfrm>
                  <a:off x="3505928" y="873382"/>
                  <a:ext cx="1900330" cy="1916798"/>
                </a:xfrm>
                <a:custGeom>
                  <a:avLst/>
                  <a:gdLst>
                    <a:gd name="T0" fmla="*/ 2147483647 w 1218"/>
                    <a:gd name="T1" fmla="*/ 2147483647 h 1146"/>
                    <a:gd name="T2" fmla="*/ 2147483647 w 1218"/>
                    <a:gd name="T3" fmla="*/ 2147483647 h 1146"/>
                    <a:gd name="T4" fmla="*/ 2147483647 w 1218"/>
                    <a:gd name="T5" fmla="*/ 2147483647 h 1146"/>
                    <a:gd name="T6" fmla="*/ 2147483647 w 1218"/>
                    <a:gd name="T7" fmla="*/ 2147483647 h 1146"/>
                    <a:gd name="T8" fmla="*/ 2147483647 w 1218"/>
                    <a:gd name="T9" fmla="*/ 2147483647 h 1146"/>
                    <a:gd name="T10" fmla="*/ 2147483647 w 1218"/>
                    <a:gd name="T11" fmla="*/ 2147483647 h 1146"/>
                    <a:gd name="T12" fmla="*/ 2147483647 w 1218"/>
                    <a:gd name="T13" fmla="*/ 2147483647 h 1146"/>
                    <a:gd name="T14" fmla="*/ 2147483647 w 1218"/>
                    <a:gd name="T15" fmla="*/ 2147483647 h 1146"/>
                    <a:gd name="T16" fmla="*/ 2147483647 w 1218"/>
                    <a:gd name="T17" fmla="*/ 2147483647 h 1146"/>
                    <a:gd name="T18" fmla="*/ 2147483647 w 1218"/>
                    <a:gd name="T19" fmla="*/ 2147483647 h 1146"/>
                    <a:gd name="T20" fmla="*/ 2147483647 w 1218"/>
                    <a:gd name="T21" fmla="*/ 2147483647 h 1146"/>
                    <a:gd name="T22" fmla="*/ 2147483647 w 1218"/>
                    <a:gd name="T23" fmla="*/ 2147483647 h 1146"/>
                    <a:gd name="T24" fmla="*/ 2147483647 w 1218"/>
                    <a:gd name="T25" fmla="*/ 2147483647 h 1146"/>
                    <a:gd name="T26" fmla="*/ 2147483647 w 1218"/>
                    <a:gd name="T27" fmla="*/ 2147483647 h 1146"/>
                    <a:gd name="T28" fmla="*/ 2147483647 w 1218"/>
                    <a:gd name="T29" fmla="*/ 2147483647 h 1146"/>
                    <a:gd name="T30" fmla="*/ 2147483647 w 1218"/>
                    <a:gd name="T31" fmla="*/ 2147483647 h 1146"/>
                    <a:gd name="T32" fmla="*/ 2147483647 w 1218"/>
                    <a:gd name="T33" fmla="*/ 2147483647 h 1146"/>
                    <a:gd name="T34" fmla="*/ 2147483647 w 1218"/>
                    <a:gd name="T35" fmla="*/ 2147483647 h 1146"/>
                    <a:gd name="T36" fmla="*/ 2147483647 w 1218"/>
                    <a:gd name="T37" fmla="*/ 2147483647 h 1146"/>
                    <a:gd name="T38" fmla="*/ 2147483647 w 1218"/>
                    <a:gd name="T39" fmla="*/ 2147483647 h 1146"/>
                    <a:gd name="T40" fmla="*/ 2147483647 w 1218"/>
                    <a:gd name="T41" fmla="*/ 2147483647 h 1146"/>
                    <a:gd name="T42" fmla="*/ 2147483647 w 1218"/>
                    <a:gd name="T43" fmla="*/ 2147483647 h 1146"/>
                    <a:gd name="T44" fmla="*/ 2147483647 w 1218"/>
                    <a:gd name="T45" fmla="*/ 2147483647 h 1146"/>
                    <a:gd name="T46" fmla="*/ 2147483647 w 1218"/>
                    <a:gd name="T47" fmla="*/ 2147483647 h 1146"/>
                    <a:gd name="T48" fmla="*/ 2147483647 w 1218"/>
                    <a:gd name="T49" fmla="*/ 2147483647 h 1146"/>
                    <a:gd name="T50" fmla="*/ 2147483647 w 1218"/>
                    <a:gd name="T51" fmla="*/ 2147483647 h 1146"/>
                    <a:gd name="T52" fmla="*/ 2147483647 w 1218"/>
                    <a:gd name="T53" fmla="*/ 2147483647 h 1146"/>
                    <a:gd name="T54" fmla="*/ 2147483647 w 1218"/>
                    <a:gd name="T55" fmla="*/ 2147483647 h 1146"/>
                    <a:gd name="T56" fmla="*/ 2147483647 w 1218"/>
                    <a:gd name="T57" fmla="*/ 2147483647 h 1146"/>
                    <a:gd name="T58" fmla="*/ 2147483647 w 1218"/>
                    <a:gd name="T59" fmla="*/ 2147483647 h 1146"/>
                    <a:gd name="T60" fmla="*/ 2147483647 w 1218"/>
                    <a:gd name="T61" fmla="*/ 2147483647 h 1146"/>
                    <a:gd name="T62" fmla="*/ 2147483647 w 1218"/>
                    <a:gd name="T63" fmla="*/ 2147483647 h 1146"/>
                    <a:gd name="T64" fmla="*/ 2147483647 w 1218"/>
                    <a:gd name="T65" fmla="*/ 2147483647 h 1146"/>
                    <a:gd name="T66" fmla="*/ 2147483647 w 1218"/>
                    <a:gd name="T67" fmla="*/ 2147483647 h 1146"/>
                    <a:gd name="T68" fmla="*/ 2147483647 w 1218"/>
                    <a:gd name="T69" fmla="*/ 2147483647 h 1146"/>
                    <a:gd name="T70" fmla="*/ 2147483647 w 1218"/>
                    <a:gd name="T71" fmla="*/ 2147483647 h 1146"/>
                    <a:gd name="T72" fmla="*/ 2147483647 w 1218"/>
                    <a:gd name="T73" fmla="*/ 2147483647 h 1146"/>
                    <a:gd name="T74" fmla="*/ 2147483647 w 1218"/>
                    <a:gd name="T75" fmla="*/ 2147483647 h 1146"/>
                    <a:gd name="T76" fmla="*/ 2147483647 w 1218"/>
                    <a:gd name="T77" fmla="*/ 2147483647 h 1146"/>
                    <a:gd name="T78" fmla="*/ 2147483647 w 1218"/>
                    <a:gd name="T79" fmla="*/ 2147483647 h 1146"/>
                    <a:gd name="T80" fmla="*/ 2147483647 w 1218"/>
                    <a:gd name="T81" fmla="*/ 2147483647 h 1146"/>
                    <a:gd name="T82" fmla="*/ 2147483647 w 1218"/>
                    <a:gd name="T83" fmla="*/ 2147483647 h 1146"/>
                    <a:gd name="T84" fmla="*/ 2147483647 w 1218"/>
                    <a:gd name="T85" fmla="*/ 2147483647 h 1146"/>
                    <a:gd name="T86" fmla="*/ 2147483647 w 1218"/>
                    <a:gd name="T87" fmla="*/ 2147483647 h 1146"/>
                    <a:gd name="T88" fmla="*/ 2147483647 w 1218"/>
                    <a:gd name="T89" fmla="*/ 2147483647 h 1146"/>
                    <a:gd name="T90" fmla="*/ 2147483647 w 1218"/>
                    <a:gd name="T91" fmla="*/ 2147483647 h 1146"/>
                    <a:gd name="T92" fmla="*/ 2147483647 w 1218"/>
                    <a:gd name="T93" fmla="*/ 2147483647 h 1146"/>
                    <a:gd name="T94" fmla="*/ 2147483647 w 1218"/>
                    <a:gd name="T95" fmla="*/ 2147483647 h 1146"/>
                    <a:gd name="T96" fmla="*/ 2147483647 w 1218"/>
                    <a:gd name="T97" fmla="*/ 2147483647 h 1146"/>
                    <a:gd name="T98" fmla="*/ 2147483647 w 1218"/>
                    <a:gd name="T99" fmla="*/ 2147483647 h 1146"/>
                    <a:gd name="T100" fmla="*/ 2147483647 w 1218"/>
                    <a:gd name="T101" fmla="*/ 2147483647 h 1146"/>
                    <a:gd name="T102" fmla="*/ 2147483647 w 1218"/>
                    <a:gd name="T103" fmla="*/ 2147483647 h 1146"/>
                    <a:gd name="T104" fmla="*/ 2147483647 w 1218"/>
                    <a:gd name="T105" fmla="*/ 2147483647 h 1146"/>
                    <a:gd name="T106" fmla="*/ 2147483647 w 1218"/>
                    <a:gd name="T107" fmla="*/ 2147483647 h 1146"/>
                    <a:gd name="T108" fmla="*/ 2147483647 w 1218"/>
                    <a:gd name="T109" fmla="*/ 2147483647 h 1146"/>
                    <a:gd name="T110" fmla="*/ 2147483647 w 1218"/>
                    <a:gd name="T111" fmla="*/ 2147483647 h 1146"/>
                    <a:gd name="T112" fmla="*/ 2147483647 w 1218"/>
                    <a:gd name="T113" fmla="*/ 2147483647 h 1146"/>
                    <a:gd name="T114" fmla="*/ 2147483647 w 1218"/>
                    <a:gd name="T115" fmla="*/ 2147483647 h 1146"/>
                    <a:gd name="T116" fmla="*/ 2147483647 w 1218"/>
                    <a:gd name="T117" fmla="*/ 2147483647 h 1146"/>
                    <a:gd name="T118" fmla="*/ 2147483647 w 1218"/>
                    <a:gd name="T119" fmla="*/ 2147483647 h 1146"/>
                    <a:gd name="T120" fmla="*/ 2147483647 w 1218"/>
                    <a:gd name="T121" fmla="*/ 2147483647 h 1146"/>
                    <a:gd name="T122" fmla="*/ 2147483647 w 1218"/>
                    <a:gd name="T123" fmla="*/ 2147483647 h 11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218"/>
                    <a:gd name="T187" fmla="*/ 0 h 1146"/>
                    <a:gd name="T188" fmla="*/ 1218 w 1218"/>
                    <a:gd name="T189" fmla="*/ 1146 h 11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218" h="1146">
                      <a:moveTo>
                        <a:pt x="0" y="240"/>
                      </a:moveTo>
                      <a:lnTo>
                        <a:pt x="0" y="215"/>
                      </a:lnTo>
                      <a:lnTo>
                        <a:pt x="0" y="126"/>
                      </a:lnTo>
                      <a:lnTo>
                        <a:pt x="2" y="125"/>
                      </a:lnTo>
                      <a:lnTo>
                        <a:pt x="2" y="126"/>
                      </a:lnTo>
                      <a:lnTo>
                        <a:pt x="3" y="126"/>
                      </a:lnTo>
                      <a:lnTo>
                        <a:pt x="3" y="128"/>
                      </a:lnTo>
                      <a:lnTo>
                        <a:pt x="5" y="130"/>
                      </a:lnTo>
                      <a:lnTo>
                        <a:pt x="7" y="130"/>
                      </a:lnTo>
                      <a:lnTo>
                        <a:pt x="7" y="131"/>
                      </a:lnTo>
                      <a:lnTo>
                        <a:pt x="9" y="131"/>
                      </a:lnTo>
                      <a:lnTo>
                        <a:pt x="9" y="130"/>
                      </a:lnTo>
                      <a:lnTo>
                        <a:pt x="10" y="131"/>
                      </a:lnTo>
                      <a:lnTo>
                        <a:pt x="10" y="130"/>
                      </a:lnTo>
                      <a:lnTo>
                        <a:pt x="12" y="130"/>
                      </a:lnTo>
                      <a:lnTo>
                        <a:pt x="14" y="128"/>
                      </a:lnTo>
                      <a:lnTo>
                        <a:pt x="15" y="128"/>
                      </a:lnTo>
                      <a:lnTo>
                        <a:pt x="17" y="128"/>
                      </a:lnTo>
                      <a:lnTo>
                        <a:pt x="17" y="126"/>
                      </a:lnTo>
                      <a:lnTo>
                        <a:pt x="17" y="125"/>
                      </a:lnTo>
                      <a:lnTo>
                        <a:pt x="19" y="125"/>
                      </a:lnTo>
                      <a:lnTo>
                        <a:pt x="17" y="125"/>
                      </a:lnTo>
                      <a:lnTo>
                        <a:pt x="17" y="123"/>
                      </a:lnTo>
                      <a:lnTo>
                        <a:pt x="17" y="122"/>
                      </a:lnTo>
                      <a:lnTo>
                        <a:pt x="19" y="122"/>
                      </a:lnTo>
                      <a:lnTo>
                        <a:pt x="19" y="120"/>
                      </a:lnTo>
                      <a:lnTo>
                        <a:pt x="20" y="120"/>
                      </a:lnTo>
                      <a:lnTo>
                        <a:pt x="22" y="120"/>
                      </a:lnTo>
                      <a:lnTo>
                        <a:pt x="22" y="122"/>
                      </a:lnTo>
                      <a:lnTo>
                        <a:pt x="24" y="122"/>
                      </a:lnTo>
                      <a:lnTo>
                        <a:pt x="24" y="120"/>
                      </a:lnTo>
                      <a:lnTo>
                        <a:pt x="25" y="120"/>
                      </a:lnTo>
                      <a:lnTo>
                        <a:pt x="27" y="120"/>
                      </a:lnTo>
                      <a:lnTo>
                        <a:pt x="27" y="122"/>
                      </a:lnTo>
                      <a:lnTo>
                        <a:pt x="29" y="122"/>
                      </a:lnTo>
                      <a:lnTo>
                        <a:pt x="30" y="122"/>
                      </a:lnTo>
                      <a:lnTo>
                        <a:pt x="30" y="123"/>
                      </a:lnTo>
                      <a:lnTo>
                        <a:pt x="30" y="122"/>
                      </a:lnTo>
                      <a:lnTo>
                        <a:pt x="30" y="120"/>
                      </a:lnTo>
                      <a:lnTo>
                        <a:pt x="32" y="120"/>
                      </a:lnTo>
                      <a:lnTo>
                        <a:pt x="34" y="120"/>
                      </a:lnTo>
                      <a:lnTo>
                        <a:pt x="34" y="122"/>
                      </a:lnTo>
                      <a:lnTo>
                        <a:pt x="36" y="122"/>
                      </a:lnTo>
                      <a:lnTo>
                        <a:pt x="36" y="123"/>
                      </a:lnTo>
                      <a:lnTo>
                        <a:pt x="37" y="123"/>
                      </a:lnTo>
                      <a:lnTo>
                        <a:pt x="36" y="122"/>
                      </a:lnTo>
                      <a:lnTo>
                        <a:pt x="37" y="122"/>
                      </a:lnTo>
                      <a:lnTo>
                        <a:pt x="39" y="122"/>
                      </a:lnTo>
                      <a:lnTo>
                        <a:pt x="39" y="120"/>
                      </a:lnTo>
                      <a:lnTo>
                        <a:pt x="41" y="120"/>
                      </a:lnTo>
                      <a:lnTo>
                        <a:pt x="41" y="118"/>
                      </a:lnTo>
                      <a:lnTo>
                        <a:pt x="41" y="117"/>
                      </a:lnTo>
                      <a:lnTo>
                        <a:pt x="41" y="115"/>
                      </a:lnTo>
                      <a:lnTo>
                        <a:pt x="41" y="113"/>
                      </a:lnTo>
                      <a:lnTo>
                        <a:pt x="42" y="113"/>
                      </a:lnTo>
                      <a:lnTo>
                        <a:pt x="42" y="112"/>
                      </a:lnTo>
                      <a:lnTo>
                        <a:pt x="41" y="112"/>
                      </a:lnTo>
                      <a:lnTo>
                        <a:pt x="41" y="113"/>
                      </a:lnTo>
                      <a:lnTo>
                        <a:pt x="41" y="112"/>
                      </a:lnTo>
                      <a:lnTo>
                        <a:pt x="39" y="112"/>
                      </a:lnTo>
                      <a:lnTo>
                        <a:pt x="41" y="112"/>
                      </a:lnTo>
                      <a:lnTo>
                        <a:pt x="41" y="110"/>
                      </a:lnTo>
                      <a:lnTo>
                        <a:pt x="39" y="110"/>
                      </a:lnTo>
                      <a:lnTo>
                        <a:pt x="37" y="110"/>
                      </a:lnTo>
                      <a:lnTo>
                        <a:pt x="37" y="108"/>
                      </a:lnTo>
                      <a:lnTo>
                        <a:pt x="39" y="108"/>
                      </a:lnTo>
                      <a:lnTo>
                        <a:pt x="37" y="108"/>
                      </a:lnTo>
                      <a:lnTo>
                        <a:pt x="39" y="107"/>
                      </a:lnTo>
                      <a:lnTo>
                        <a:pt x="37" y="107"/>
                      </a:lnTo>
                      <a:lnTo>
                        <a:pt x="37" y="105"/>
                      </a:lnTo>
                      <a:lnTo>
                        <a:pt x="37" y="103"/>
                      </a:lnTo>
                      <a:lnTo>
                        <a:pt x="39" y="103"/>
                      </a:lnTo>
                      <a:lnTo>
                        <a:pt x="39" y="105"/>
                      </a:lnTo>
                      <a:lnTo>
                        <a:pt x="41" y="103"/>
                      </a:lnTo>
                      <a:lnTo>
                        <a:pt x="42" y="103"/>
                      </a:lnTo>
                      <a:lnTo>
                        <a:pt x="42" y="105"/>
                      </a:lnTo>
                      <a:lnTo>
                        <a:pt x="44" y="105"/>
                      </a:lnTo>
                      <a:lnTo>
                        <a:pt x="44" y="103"/>
                      </a:lnTo>
                      <a:lnTo>
                        <a:pt x="46" y="103"/>
                      </a:lnTo>
                      <a:lnTo>
                        <a:pt x="47" y="103"/>
                      </a:lnTo>
                      <a:lnTo>
                        <a:pt x="49" y="103"/>
                      </a:lnTo>
                      <a:lnTo>
                        <a:pt x="51" y="102"/>
                      </a:lnTo>
                      <a:lnTo>
                        <a:pt x="49" y="102"/>
                      </a:lnTo>
                      <a:lnTo>
                        <a:pt x="49" y="100"/>
                      </a:lnTo>
                      <a:lnTo>
                        <a:pt x="49" y="99"/>
                      </a:lnTo>
                      <a:lnTo>
                        <a:pt x="47" y="99"/>
                      </a:lnTo>
                      <a:lnTo>
                        <a:pt x="49" y="99"/>
                      </a:lnTo>
                      <a:lnTo>
                        <a:pt x="49" y="97"/>
                      </a:lnTo>
                      <a:lnTo>
                        <a:pt x="51" y="97"/>
                      </a:lnTo>
                      <a:lnTo>
                        <a:pt x="51" y="95"/>
                      </a:lnTo>
                      <a:lnTo>
                        <a:pt x="52" y="95"/>
                      </a:lnTo>
                      <a:lnTo>
                        <a:pt x="52" y="94"/>
                      </a:lnTo>
                      <a:lnTo>
                        <a:pt x="54" y="94"/>
                      </a:lnTo>
                      <a:lnTo>
                        <a:pt x="54" y="92"/>
                      </a:lnTo>
                      <a:lnTo>
                        <a:pt x="56" y="92"/>
                      </a:lnTo>
                      <a:lnTo>
                        <a:pt x="56" y="94"/>
                      </a:lnTo>
                      <a:lnTo>
                        <a:pt x="57" y="95"/>
                      </a:lnTo>
                      <a:lnTo>
                        <a:pt x="57" y="94"/>
                      </a:lnTo>
                      <a:lnTo>
                        <a:pt x="59" y="94"/>
                      </a:lnTo>
                      <a:lnTo>
                        <a:pt x="59" y="95"/>
                      </a:lnTo>
                      <a:lnTo>
                        <a:pt x="61" y="94"/>
                      </a:lnTo>
                      <a:lnTo>
                        <a:pt x="61" y="95"/>
                      </a:lnTo>
                      <a:lnTo>
                        <a:pt x="63" y="95"/>
                      </a:lnTo>
                      <a:lnTo>
                        <a:pt x="63" y="97"/>
                      </a:lnTo>
                      <a:lnTo>
                        <a:pt x="64" y="97"/>
                      </a:lnTo>
                      <a:lnTo>
                        <a:pt x="64" y="95"/>
                      </a:lnTo>
                      <a:lnTo>
                        <a:pt x="66" y="95"/>
                      </a:lnTo>
                      <a:lnTo>
                        <a:pt x="68" y="95"/>
                      </a:lnTo>
                      <a:lnTo>
                        <a:pt x="68" y="94"/>
                      </a:lnTo>
                      <a:lnTo>
                        <a:pt x="68" y="95"/>
                      </a:lnTo>
                      <a:lnTo>
                        <a:pt x="69" y="95"/>
                      </a:lnTo>
                      <a:lnTo>
                        <a:pt x="71" y="95"/>
                      </a:lnTo>
                      <a:lnTo>
                        <a:pt x="71" y="97"/>
                      </a:lnTo>
                      <a:lnTo>
                        <a:pt x="71" y="99"/>
                      </a:lnTo>
                      <a:lnTo>
                        <a:pt x="71" y="100"/>
                      </a:lnTo>
                      <a:lnTo>
                        <a:pt x="73" y="100"/>
                      </a:lnTo>
                      <a:lnTo>
                        <a:pt x="74" y="100"/>
                      </a:lnTo>
                      <a:lnTo>
                        <a:pt x="76" y="100"/>
                      </a:lnTo>
                      <a:lnTo>
                        <a:pt x="78" y="99"/>
                      </a:lnTo>
                      <a:lnTo>
                        <a:pt x="78" y="100"/>
                      </a:lnTo>
                      <a:lnTo>
                        <a:pt x="79" y="100"/>
                      </a:lnTo>
                      <a:lnTo>
                        <a:pt x="79" y="99"/>
                      </a:lnTo>
                      <a:lnTo>
                        <a:pt x="81" y="99"/>
                      </a:lnTo>
                      <a:lnTo>
                        <a:pt x="83" y="100"/>
                      </a:lnTo>
                      <a:lnTo>
                        <a:pt x="85" y="100"/>
                      </a:lnTo>
                      <a:lnTo>
                        <a:pt x="85" y="99"/>
                      </a:lnTo>
                      <a:lnTo>
                        <a:pt x="86" y="99"/>
                      </a:lnTo>
                      <a:lnTo>
                        <a:pt x="86" y="97"/>
                      </a:lnTo>
                      <a:lnTo>
                        <a:pt x="86" y="95"/>
                      </a:lnTo>
                      <a:lnTo>
                        <a:pt x="88" y="95"/>
                      </a:lnTo>
                      <a:lnTo>
                        <a:pt x="88" y="94"/>
                      </a:lnTo>
                      <a:lnTo>
                        <a:pt x="88" y="92"/>
                      </a:lnTo>
                      <a:lnTo>
                        <a:pt x="88" y="90"/>
                      </a:lnTo>
                      <a:lnTo>
                        <a:pt x="86" y="90"/>
                      </a:lnTo>
                      <a:lnTo>
                        <a:pt x="88" y="90"/>
                      </a:lnTo>
                      <a:lnTo>
                        <a:pt x="88" y="89"/>
                      </a:lnTo>
                      <a:lnTo>
                        <a:pt x="86" y="89"/>
                      </a:lnTo>
                      <a:lnTo>
                        <a:pt x="86" y="87"/>
                      </a:lnTo>
                      <a:lnTo>
                        <a:pt x="86" y="85"/>
                      </a:lnTo>
                      <a:lnTo>
                        <a:pt x="88" y="85"/>
                      </a:lnTo>
                      <a:lnTo>
                        <a:pt x="88" y="87"/>
                      </a:lnTo>
                      <a:lnTo>
                        <a:pt x="90" y="87"/>
                      </a:lnTo>
                      <a:lnTo>
                        <a:pt x="90" y="85"/>
                      </a:lnTo>
                      <a:lnTo>
                        <a:pt x="90" y="87"/>
                      </a:lnTo>
                      <a:lnTo>
                        <a:pt x="91" y="87"/>
                      </a:lnTo>
                      <a:lnTo>
                        <a:pt x="93" y="87"/>
                      </a:lnTo>
                      <a:lnTo>
                        <a:pt x="95" y="87"/>
                      </a:lnTo>
                      <a:lnTo>
                        <a:pt x="95" y="85"/>
                      </a:lnTo>
                      <a:lnTo>
                        <a:pt x="96" y="85"/>
                      </a:lnTo>
                      <a:lnTo>
                        <a:pt x="98" y="85"/>
                      </a:lnTo>
                      <a:lnTo>
                        <a:pt x="96" y="84"/>
                      </a:lnTo>
                      <a:lnTo>
                        <a:pt x="98" y="84"/>
                      </a:lnTo>
                      <a:lnTo>
                        <a:pt x="98" y="85"/>
                      </a:lnTo>
                      <a:lnTo>
                        <a:pt x="100" y="85"/>
                      </a:lnTo>
                      <a:lnTo>
                        <a:pt x="100" y="84"/>
                      </a:lnTo>
                      <a:lnTo>
                        <a:pt x="101" y="84"/>
                      </a:lnTo>
                      <a:lnTo>
                        <a:pt x="103" y="84"/>
                      </a:lnTo>
                      <a:lnTo>
                        <a:pt x="105" y="84"/>
                      </a:lnTo>
                      <a:lnTo>
                        <a:pt x="105" y="82"/>
                      </a:lnTo>
                      <a:lnTo>
                        <a:pt x="105" y="80"/>
                      </a:lnTo>
                      <a:lnTo>
                        <a:pt x="106" y="80"/>
                      </a:lnTo>
                      <a:lnTo>
                        <a:pt x="106" y="79"/>
                      </a:lnTo>
                      <a:lnTo>
                        <a:pt x="108" y="80"/>
                      </a:lnTo>
                      <a:lnTo>
                        <a:pt x="110" y="80"/>
                      </a:lnTo>
                      <a:lnTo>
                        <a:pt x="112" y="80"/>
                      </a:lnTo>
                      <a:lnTo>
                        <a:pt x="113" y="80"/>
                      </a:lnTo>
                      <a:lnTo>
                        <a:pt x="112" y="80"/>
                      </a:lnTo>
                      <a:lnTo>
                        <a:pt x="113" y="80"/>
                      </a:lnTo>
                      <a:lnTo>
                        <a:pt x="113" y="79"/>
                      </a:lnTo>
                      <a:lnTo>
                        <a:pt x="115" y="80"/>
                      </a:lnTo>
                      <a:lnTo>
                        <a:pt x="115" y="82"/>
                      </a:lnTo>
                      <a:lnTo>
                        <a:pt x="117" y="82"/>
                      </a:lnTo>
                      <a:lnTo>
                        <a:pt x="117" y="80"/>
                      </a:lnTo>
                      <a:lnTo>
                        <a:pt x="117" y="82"/>
                      </a:lnTo>
                      <a:lnTo>
                        <a:pt x="118" y="82"/>
                      </a:lnTo>
                      <a:lnTo>
                        <a:pt x="118" y="84"/>
                      </a:lnTo>
                      <a:lnTo>
                        <a:pt x="120" y="84"/>
                      </a:lnTo>
                      <a:lnTo>
                        <a:pt x="120" y="82"/>
                      </a:lnTo>
                      <a:lnTo>
                        <a:pt x="122" y="82"/>
                      </a:lnTo>
                      <a:lnTo>
                        <a:pt x="123" y="82"/>
                      </a:lnTo>
                      <a:lnTo>
                        <a:pt x="125" y="82"/>
                      </a:lnTo>
                      <a:lnTo>
                        <a:pt x="125" y="84"/>
                      </a:lnTo>
                      <a:lnTo>
                        <a:pt x="127" y="84"/>
                      </a:lnTo>
                      <a:lnTo>
                        <a:pt x="127" y="82"/>
                      </a:lnTo>
                      <a:lnTo>
                        <a:pt x="127" y="84"/>
                      </a:lnTo>
                      <a:lnTo>
                        <a:pt x="128" y="84"/>
                      </a:lnTo>
                      <a:lnTo>
                        <a:pt x="128" y="82"/>
                      </a:lnTo>
                      <a:lnTo>
                        <a:pt x="130" y="82"/>
                      </a:lnTo>
                      <a:lnTo>
                        <a:pt x="130" y="80"/>
                      </a:lnTo>
                      <a:lnTo>
                        <a:pt x="128" y="80"/>
                      </a:lnTo>
                      <a:lnTo>
                        <a:pt x="130" y="80"/>
                      </a:lnTo>
                      <a:lnTo>
                        <a:pt x="132" y="80"/>
                      </a:lnTo>
                      <a:lnTo>
                        <a:pt x="132" y="79"/>
                      </a:lnTo>
                      <a:lnTo>
                        <a:pt x="132" y="77"/>
                      </a:lnTo>
                      <a:lnTo>
                        <a:pt x="133" y="77"/>
                      </a:lnTo>
                      <a:lnTo>
                        <a:pt x="133" y="76"/>
                      </a:lnTo>
                      <a:lnTo>
                        <a:pt x="133" y="74"/>
                      </a:lnTo>
                      <a:lnTo>
                        <a:pt x="135" y="72"/>
                      </a:lnTo>
                      <a:lnTo>
                        <a:pt x="135" y="74"/>
                      </a:lnTo>
                      <a:lnTo>
                        <a:pt x="137" y="72"/>
                      </a:lnTo>
                      <a:lnTo>
                        <a:pt x="139" y="72"/>
                      </a:lnTo>
                      <a:lnTo>
                        <a:pt x="139" y="71"/>
                      </a:lnTo>
                      <a:lnTo>
                        <a:pt x="139" y="69"/>
                      </a:lnTo>
                      <a:lnTo>
                        <a:pt x="139" y="67"/>
                      </a:lnTo>
                      <a:lnTo>
                        <a:pt x="140" y="67"/>
                      </a:lnTo>
                      <a:lnTo>
                        <a:pt x="140" y="66"/>
                      </a:lnTo>
                      <a:lnTo>
                        <a:pt x="139" y="66"/>
                      </a:lnTo>
                      <a:lnTo>
                        <a:pt x="140" y="64"/>
                      </a:lnTo>
                      <a:lnTo>
                        <a:pt x="139" y="64"/>
                      </a:lnTo>
                      <a:lnTo>
                        <a:pt x="140" y="62"/>
                      </a:lnTo>
                      <a:lnTo>
                        <a:pt x="142" y="62"/>
                      </a:lnTo>
                      <a:lnTo>
                        <a:pt x="144" y="62"/>
                      </a:lnTo>
                      <a:lnTo>
                        <a:pt x="144" y="61"/>
                      </a:lnTo>
                      <a:lnTo>
                        <a:pt x="145" y="62"/>
                      </a:lnTo>
                      <a:lnTo>
                        <a:pt x="145" y="61"/>
                      </a:lnTo>
                      <a:lnTo>
                        <a:pt x="147" y="61"/>
                      </a:lnTo>
                      <a:lnTo>
                        <a:pt x="147" y="59"/>
                      </a:lnTo>
                      <a:lnTo>
                        <a:pt x="145" y="59"/>
                      </a:lnTo>
                      <a:lnTo>
                        <a:pt x="147" y="59"/>
                      </a:lnTo>
                      <a:lnTo>
                        <a:pt x="147" y="57"/>
                      </a:lnTo>
                      <a:lnTo>
                        <a:pt x="147" y="56"/>
                      </a:lnTo>
                      <a:lnTo>
                        <a:pt x="149" y="57"/>
                      </a:lnTo>
                      <a:lnTo>
                        <a:pt x="149" y="56"/>
                      </a:lnTo>
                      <a:lnTo>
                        <a:pt x="150" y="56"/>
                      </a:lnTo>
                      <a:lnTo>
                        <a:pt x="150" y="57"/>
                      </a:lnTo>
                      <a:lnTo>
                        <a:pt x="150" y="56"/>
                      </a:lnTo>
                      <a:lnTo>
                        <a:pt x="152" y="54"/>
                      </a:lnTo>
                      <a:lnTo>
                        <a:pt x="154" y="56"/>
                      </a:lnTo>
                      <a:lnTo>
                        <a:pt x="155" y="56"/>
                      </a:lnTo>
                      <a:lnTo>
                        <a:pt x="154" y="57"/>
                      </a:lnTo>
                      <a:lnTo>
                        <a:pt x="155" y="57"/>
                      </a:lnTo>
                      <a:lnTo>
                        <a:pt x="155" y="59"/>
                      </a:lnTo>
                      <a:lnTo>
                        <a:pt x="157" y="59"/>
                      </a:lnTo>
                      <a:lnTo>
                        <a:pt x="157" y="61"/>
                      </a:lnTo>
                      <a:lnTo>
                        <a:pt x="159" y="61"/>
                      </a:lnTo>
                      <a:lnTo>
                        <a:pt x="159" y="59"/>
                      </a:lnTo>
                      <a:lnTo>
                        <a:pt x="161" y="57"/>
                      </a:lnTo>
                      <a:lnTo>
                        <a:pt x="162" y="56"/>
                      </a:lnTo>
                      <a:lnTo>
                        <a:pt x="164" y="56"/>
                      </a:lnTo>
                      <a:lnTo>
                        <a:pt x="166" y="56"/>
                      </a:lnTo>
                      <a:lnTo>
                        <a:pt x="167" y="56"/>
                      </a:lnTo>
                      <a:lnTo>
                        <a:pt x="167" y="54"/>
                      </a:lnTo>
                      <a:lnTo>
                        <a:pt x="169" y="54"/>
                      </a:lnTo>
                      <a:lnTo>
                        <a:pt x="169" y="53"/>
                      </a:lnTo>
                      <a:lnTo>
                        <a:pt x="171" y="53"/>
                      </a:lnTo>
                      <a:lnTo>
                        <a:pt x="172" y="53"/>
                      </a:lnTo>
                      <a:lnTo>
                        <a:pt x="172" y="54"/>
                      </a:lnTo>
                      <a:lnTo>
                        <a:pt x="174" y="54"/>
                      </a:lnTo>
                      <a:lnTo>
                        <a:pt x="174" y="56"/>
                      </a:lnTo>
                      <a:lnTo>
                        <a:pt x="174" y="57"/>
                      </a:lnTo>
                      <a:lnTo>
                        <a:pt x="174" y="59"/>
                      </a:lnTo>
                      <a:lnTo>
                        <a:pt x="176" y="59"/>
                      </a:lnTo>
                      <a:lnTo>
                        <a:pt x="177" y="59"/>
                      </a:lnTo>
                      <a:lnTo>
                        <a:pt x="177" y="61"/>
                      </a:lnTo>
                      <a:lnTo>
                        <a:pt x="179" y="62"/>
                      </a:lnTo>
                      <a:lnTo>
                        <a:pt x="181" y="62"/>
                      </a:lnTo>
                      <a:lnTo>
                        <a:pt x="182" y="64"/>
                      </a:lnTo>
                      <a:lnTo>
                        <a:pt x="182" y="62"/>
                      </a:lnTo>
                      <a:lnTo>
                        <a:pt x="182" y="64"/>
                      </a:lnTo>
                      <a:lnTo>
                        <a:pt x="182" y="62"/>
                      </a:lnTo>
                      <a:lnTo>
                        <a:pt x="184" y="62"/>
                      </a:lnTo>
                      <a:lnTo>
                        <a:pt x="184" y="61"/>
                      </a:lnTo>
                      <a:lnTo>
                        <a:pt x="184" y="62"/>
                      </a:lnTo>
                      <a:lnTo>
                        <a:pt x="186" y="62"/>
                      </a:lnTo>
                      <a:lnTo>
                        <a:pt x="188" y="61"/>
                      </a:lnTo>
                      <a:lnTo>
                        <a:pt x="189" y="62"/>
                      </a:lnTo>
                      <a:lnTo>
                        <a:pt x="191" y="64"/>
                      </a:lnTo>
                      <a:lnTo>
                        <a:pt x="193" y="64"/>
                      </a:lnTo>
                      <a:lnTo>
                        <a:pt x="194" y="64"/>
                      </a:lnTo>
                      <a:lnTo>
                        <a:pt x="196" y="66"/>
                      </a:lnTo>
                      <a:lnTo>
                        <a:pt x="196" y="64"/>
                      </a:lnTo>
                      <a:lnTo>
                        <a:pt x="196" y="66"/>
                      </a:lnTo>
                      <a:lnTo>
                        <a:pt x="198" y="66"/>
                      </a:lnTo>
                      <a:lnTo>
                        <a:pt x="199" y="66"/>
                      </a:lnTo>
                      <a:lnTo>
                        <a:pt x="199" y="67"/>
                      </a:lnTo>
                      <a:lnTo>
                        <a:pt x="201" y="69"/>
                      </a:lnTo>
                      <a:lnTo>
                        <a:pt x="201" y="67"/>
                      </a:lnTo>
                      <a:lnTo>
                        <a:pt x="203" y="66"/>
                      </a:lnTo>
                      <a:lnTo>
                        <a:pt x="203" y="64"/>
                      </a:lnTo>
                      <a:lnTo>
                        <a:pt x="204" y="64"/>
                      </a:lnTo>
                      <a:lnTo>
                        <a:pt x="204" y="62"/>
                      </a:lnTo>
                      <a:lnTo>
                        <a:pt x="206" y="62"/>
                      </a:lnTo>
                      <a:lnTo>
                        <a:pt x="206" y="61"/>
                      </a:lnTo>
                      <a:lnTo>
                        <a:pt x="208" y="61"/>
                      </a:lnTo>
                      <a:lnTo>
                        <a:pt x="208" y="62"/>
                      </a:lnTo>
                      <a:lnTo>
                        <a:pt x="209" y="62"/>
                      </a:lnTo>
                      <a:lnTo>
                        <a:pt x="211" y="62"/>
                      </a:lnTo>
                      <a:lnTo>
                        <a:pt x="213" y="62"/>
                      </a:lnTo>
                      <a:lnTo>
                        <a:pt x="215" y="61"/>
                      </a:lnTo>
                      <a:lnTo>
                        <a:pt x="216" y="59"/>
                      </a:lnTo>
                      <a:lnTo>
                        <a:pt x="218" y="61"/>
                      </a:lnTo>
                      <a:lnTo>
                        <a:pt x="220" y="61"/>
                      </a:lnTo>
                      <a:lnTo>
                        <a:pt x="218" y="61"/>
                      </a:lnTo>
                      <a:lnTo>
                        <a:pt x="220" y="62"/>
                      </a:lnTo>
                      <a:lnTo>
                        <a:pt x="220" y="64"/>
                      </a:lnTo>
                      <a:lnTo>
                        <a:pt x="221" y="62"/>
                      </a:lnTo>
                      <a:lnTo>
                        <a:pt x="223" y="62"/>
                      </a:lnTo>
                      <a:lnTo>
                        <a:pt x="225" y="62"/>
                      </a:lnTo>
                      <a:lnTo>
                        <a:pt x="225" y="61"/>
                      </a:lnTo>
                      <a:lnTo>
                        <a:pt x="226" y="61"/>
                      </a:lnTo>
                      <a:lnTo>
                        <a:pt x="228" y="61"/>
                      </a:lnTo>
                      <a:lnTo>
                        <a:pt x="230" y="59"/>
                      </a:lnTo>
                      <a:lnTo>
                        <a:pt x="231" y="59"/>
                      </a:lnTo>
                      <a:lnTo>
                        <a:pt x="233" y="59"/>
                      </a:lnTo>
                      <a:lnTo>
                        <a:pt x="235" y="59"/>
                      </a:lnTo>
                      <a:lnTo>
                        <a:pt x="235" y="61"/>
                      </a:lnTo>
                      <a:lnTo>
                        <a:pt x="237" y="61"/>
                      </a:lnTo>
                      <a:lnTo>
                        <a:pt x="238" y="61"/>
                      </a:lnTo>
                      <a:lnTo>
                        <a:pt x="238" y="62"/>
                      </a:lnTo>
                      <a:lnTo>
                        <a:pt x="238" y="61"/>
                      </a:lnTo>
                      <a:lnTo>
                        <a:pt x="240" y="61"/>
                      </a:lnTo>
                      <a:lnTo>
                        <a:pt x="242" y="61"/>
                      </a:lnTo>
                      <a:lnTo>
                        <a:pt x="243" y="61"/>
                      </a:lnTo>
                      <a:lnTo>
                        <a:pt x="245" y="61"/>
                      </a:lnTo>
                      <a:lnTo>
                        <a:pt x="245" y="62"/>
                      </a:lnTo>
                      <a:lnTo>
                        <a:pt x="247" y="62"/>
                      </a:lnTo>
                      <a:lnTo>
                        <a:pt x="248" y="62"/>
                      </a:lnTo>
                      <a:lnTo>
                        <a:pt x="248" y="64"/>
                      </a:lnTo>
                      <a:lnTo>
                        <a:pt x="250" y="64"/>
                      </a:lnTo>
                      <a:lnTo>
                        <a:pt x="250" y="66"/>
                      </a:lnTo>
                      <a:lnTo>
                        <a:pt x="252" y="66"/>
                      </a:lnTo>
                      <a:lnTo>
                        <a:pt x="253" y="64"/>
                      </a:lnTo>
                      <a:lnTo>
                        <a:pt x="255" y="64"/>
                      </a:lnTo>
                      <a:lnTo>
                        <a:pt x="257" y="64"/>
                      </a:lnTo>
                      <a:lnTo>
                        <a:pt x="258" y="64"/>
                      </a:lnTo>
                      <a:lnTo>
                        <a:pt x="258" y="66"/>
                      </a:lnTo>
                      <a:lnTo>
                        <a:pt x="260" y="66"/>
                      </a:lnTo>
                      <a:lnTo>
                        <a:pt x="260" y="64"/>
                      </a:lnTo>
                      <a:lnTo>
                        <a:pt x="260" y="66"/>
                      </a:lnTo>
                      <a:lnTo>
                        <a:pt x="262" y="66"/>
                      </a:lnTo>
                      <a:lnTo>
                        <a:pt x="264" y="67"/>
                      </a:lnTo>
                      <a:lnTo>
                        <a:pt x="264" y="69"/>
                      </a:lnTo>
                      <a:lnTo>
                        <a:pt x="265" y="67"/>
                      </a:lnTo>
                      <a:lnTo>
                        <a:pt x="265" y="69"/>
                      </a:lnTo>
                      <a:lnTo>
                        <a:pt x="267" y="67"/>
                      </a:lnTo>
                      <a:lnTo>
                        <a:pt x="267" y="69"/>
                      </a:lnTo>
                      <a:lnTo>
                        <a:pt x="269" y="69"/>
                      </a:lnTo>
                      <a:lnTo>
                        <a:pt x="270" y="69"/>
                      </a:lnTo>
                      <a:lnTo>
                        <a:pt x="272" y="69"/>
                      </a:lnTo>
                      <a:lnTo>
                        <a:pt x="274" y="69"/>
                      </a:lnTo>
                      <a:lnTo>
                        <a:pt x="275" y="69"/>
                      </a:lnTo>
                      <a:lnTo>
                        <a:pt x="275" y="71"/>
                      </a:lnTo>
                      <a:lnTo>
                        <a:pt x="277" y="69"/>
                      </a:lnTo>
                      <a:lnTo>
                        <a:pt x="279" y="69"/>
                      </a:lnTo>
                      <a:lnTo>
                        <a:pt x="280" y="69"/>
                      </a:lnTo>
                      <a:lnTo>
                        <a:pt x="280" y="67"/>
                      </a:lnTo>
                      <a:lnTo>
                        <a:pt x="282" y="67"/>
                      </a:lnTo>
                      <a:lnTo>
                        <a:pt x="282" y="66"/>
                      </a:lnTo>
                      <a:lnTo>
                        <a:pt x="284" y="66"/>
                      </a:lnTo>
                      <a:lnTo>
                        <a:pt x="284" y="64"/>
                      </a:lnTo>
                      <a:lnTo>
                        <a:pt x="285" y="64"/>
                      </a:lnTo>
                      <a:lnTo>
                        <a:pt x="284" y="62"/>
                      </a:lnTo>
                      <a:lnTo>
                        <a:pt x="282" y="62"/>
                      </a:lnTo>
                      <a:lnTo>
                        <a:pt x="282" y="61"/>
                      </a:lnTo>
                      <a:lnTo>
                        <a:pt x="282" y="59"/>
                      </a:lnTo>
                      <a:lnTo>
                        <a:pt x="282" y="57"/>
                      </a:lnTo>
                      <a:lnTo>
                        <a:pt x="282" y="56"/>
                      </a:lnTo>
                      <a:lnTo>
                        <a:pt x="282" y="54"/>
                      </a:lnTo>
                      <a:lnTo>
                        <a:pt x="282" y="56"/>
                      </a:lnTo>
                      <a:lnTo>
                        <a:pt x="284" y="56"/>
                      </a:lnTo>
                      <a:lnTo>
                        <a:pt x="284" y="54"/>
                      </a:lnTo>
                      <a:lnTo>
                        <a:pt x="284" y="53"/>
                      </a:lnTo>
                      <a:lnTo>
                        <a:pt x="284" y="51"/>
                      </a:lnTo>
                      <a:lnTo>
                        <a:pt x="282" y="49"/>
                      </a:lnTo>
                      <a:lnTo>
                        <a:pt x="282" y="48"/>
                      </a:lnTo>
                      <a:lnTo>
                        <a:pt x="280" y="48"/>
                      </a:lnTo>
                      <a:lnTo>
                        <a:pt x="280" y="46"/>
                      </a:lnTo>
                      <a:lnTo>
                        <a:pt x="279" y="46"/>
                      </a:lnTo>
                      <a:lnTo>
                        <a:pt x="277" y="44"/>
                      </a:lnTo>
                      <a:lnTo>
                        <a:pt x="279" y="44"/>
                      </a:lnTo>
                      <a:lnTo>
                        <a:pt x="277" y="44"/>
                      </a:lnTo>
                      <a:lnTo>
                        <a:pt x="277" y="43"/>
                      </a:lnTo>
                      <a:lnTo>
                        <a:pt x="275" y="43"/>
                      </a:lnTo>
                      <a:lnTo>
                        <a:pt x="275" y="41"/>
                      </a:lnTo>
                      <a:lnTo>
                        <a:pt x="277" y="41"/>
                      </a:lnTo>
                      <a:lnTo>
                        <a:pt x="275" y="41"/>
                      </a:lnTo>
                      <a:lnTo>
                        <a:pt x="275" y="39"/>
                      </a:lnTo>
                      <a:lnTo>
                        <a:pt x="274" y="39"/>
                      </a:lnTo>
                      <a:lnTo>
                        <a:pt x="272" y="39"/>
                      </a:lnTo>
                      <a:lnTo>
                        <a:pt x="272" y="38"/>
                      </a:lnTo>
                      <a:lnTo>
                        <a:pt x="270" y="38"/>
                      </a:lnTo>
                      <a:lnTo>
                        <a:pt x="270" y="36"/>
                      </a:lnTo>
                      <a:lnTo>
                        <a:pt x="272" y="36"/>
                      </a:lnTo>
                      <a:lnTo>
                        <a:pt x="272" y="34"/>
                      </a:lnTo>
                      <a:lnTo>
                        <a:pt x="272" y="33"/>
                      </a:lnTo>
                      <a:lnTo>
                        <a:pt x="270" y="33"/>
                      </a:lnTo>
                      <a:lnTo>
                        <a:pt x="269" y="33"/>
                      </a:lnTo>
                      <a:lnTo>
                        <a:pt x="267" y="33"/>
                      </a:lnTo>
                      <a:lnTo>
                        <a:pt x="267" y="31"/>
                      </a:lnTo>
                      <a:lnTo>
                        <a:pt x="267" y="33"/>
                      </a:lnTo>
                      <a:lnTo>
                        <a:pt x="265" y="31"/>
                      </a:lnTo>
                      <a:lnTo>
                        <a:pt x="264" y="31"/>
                      </a:lnTo>
                      <a:lnTo>
                        <a:pt x="264" y="30"/>
                      </a:lnTo>
                      <a:lnTo>
                        <a:pt x="262" y="30"/>
                      </a:lnTo>
                      <a:lnTo>
                        <a:pt x="264" y="30"/>
                      </a:lnTo>
                      <a:lnTo>
                        <a:pt x="264" y="28"/>
                      </a:lnTo>
                      <a:lnTo>
                        <a:pt x="265" y="26"/>
                      </a:lnTo>
                      <a:lnTo>
                        <a:pt x="265" y="25"/>
                      </a:lnTo>
                      <a:lnTo>
                        <a:pt x="267" y="25"/>
                      </a:lnTo>
                      <a:lnTo>
                        <a:pt x="267" y="23"/>
                      </a:lnTo>
                      <a:lnTo>
                        <a:pt x="267" y="21"/>
                      </a:lnTo>
                      <a:lnTo>
                        <a:pt x="267" y="20"/>
                      </a:lnTo>
                      <a:lnTo>
                        <a:pt x="267" y="21"/>
                      </a:lnTo>
                      <a:lnTo>
                        <a:pt x="269" y="21"/>
                      </a:lnTo>
                      <a:lnTo>
                        <a:pt x="269" y="20"/>
                      </a:lnTo>
                      <a:lnTo>
                        <a:pt x="269" y="21"/>
                      </a:lnTo>
                      <a:lnTo>
                        <a:pt x="270" y="21"/>
                      </a:lnTo>
                      <a:lnTo>
                        <a:pt x="270" y="23"/>
                      </a:lnTo>
                      <a:lnTo>
                        <a:pt x="270" y="25"/>
                      </a:lnTo>
                      <a:lnTo>
                        <a:pt x="272" y="23"/>
                      </a:lnTo>
                      <a:lnTo>
                        <a:pt x="272" y="25"/>
                      </a:lnTo>
                      <a:lnTo>
                        <a:pt x="272" y="23"/>
                      </a:lnTo>
                      <a:lnTo>
                        <a:pt x="274" y="23"/>
                      </a:lnTo>
                      <a:lnTo>
                        <a:pt x="272" y="23"/>
                      </a:lnTo>
                      <a:lnTo>
                        <a:pt x="272" y="21"/>
                      </a:lnTo>
                      <a:lnTo>
                        <a:pt x="272" y="20"/>
                      </a:lnTo>
                      <a:lnTo>
                        <a:pt x="274" y="20"/>
                      </a:lnTo>
                      <a:lnTo>
                        <a:pt x="274" y="18"/>
                      </a:lnTo>
                      <a:lnTo>
                        <a:pt x="275" y="18"/>
                      </a:lnTo>
                      <a:lnTo>
                        <a:pt x="275" y="16"/>
                      </a:lnTo>
                      <a:lnTo>
                        <a:pt x="277" y="16"/>
                      </a:lnTo>
                      <a:lnTo>
                        <a:pt x="275" y="16"/>
                      </a:lnTo>
                      <a:lnTo>
                        <a:pt x="277" y="15"/>
                      </a:lnTo>
                      <a:lnTo>
                        <a:pt x="275" y="15"/>
                      </a:lnTo>
                      <a:lnTo>
                        <a:pt x="275" y="13"/>
                      </a:lnTo>
                      <a:lnTo>
                        <a:pt x="274" y="13"/>
                      </a:lnTo>
                      <a:lnTo>
                        <a:pt x="275" y="11"/>
                      </a:lnTo>
                      <a:lnTo>
                        <a:pt x="277" y="11"/>
                      </a:lnTo>
                      <a:lnTo>
                        <a:pt x="277" y="10"/>
                      </a:lnTo>
                      <a:lnTo>
                        <a:pt x="277" y="8"/>
                      </a:lnTo>
                      <a:lnTo>
                        <a:pt x="275" y="8"/>
                      </a:lnTo>
                      <a:lnTo>
                        <a:pt x="275" y="7"/>
                      </a:lnTo>
                      <a:lnTo>
                        <a:pt x="277" y="7"/>
                      </a:lnTo>
                      <a:lnTo>
                        <a:pt x="279" y="7"/>
                      </a:lnTo>
                      <a:lnTo>
                        <a:pt x="279" y="5"/>
                      </a:lnTo>
                      <a:lnTo>
                        <a:pt x="280" y="5"/>
                      </a:lnTo>
                      <a:lnTo>
                        <a:pt x="282" y="5"/>
                      </a:lnTo>
                      <a:lnTo>
                        <a:pt x="282" y="7"/>
                      </a:lnTo>
                      <a:lnTo>
                        <a:pt x="284" y="7"/>
                      </a:lnTo>
                      <a:lnTo>
                        <a:pt x="285" y="7"/>
                      </a:lnTo>
                      <a:lnTo>
                        <a:pt x="285" y="8"/>
                      </a:lnTo>
                      <a:lnTo>
                        <a:pt x="287" y="10"/>
                      </a:lnTo>
                      <a:lnTo>
                        <a:pt x="289" y="10"/>
                      </a:lnTo>
                      <a:lnTo>
                        <a:pt x="289" y="11"/>
                      </a:lnTo>
                      <a:lnTo>
                        <a:pt x="291" y="11"/>
                      </a:lnTo>
                      <a:lnTo>
                        <a:pt x="292" y="11"/>
                      </a:lnTo>
                      <a:lnTo>
                        <a:pt x="294" y="13"/>
                      </a:lnTo>
                      <a:lnTo>
                        <a:pt x="294" y="11"/>
                      </a:lnTo>
                      <a:lnTo>
                        <a:pt x="294" y="13"/>
                      </a:lnTo>
                      <a:lnTo>
                        <a:pt x="296" y="11"/>
                      </a:lnTo>
                      <a:lnTo>
                        <a:pt x="296" y="13"/>
                      </a:lnTo>
                      <a:lnTo>
                        <a:pt x="296" y="11"/>
                      </a:lnTo>
                      <a:lnTo>
                        <a:pt x="297" y="13"/>
                      </a:lnTo>
                      <a:lnTo>
                        <a:pt x="297" y="15"/>
                      </a:lnTo>
                      <a:lnTo>
                        <a:pt x="299" y="15"/>
                      </a:lnTo>
                      <a:lnTo>
                        <a:pt x="299" y="16"/>
                      </a:lnTo>
                      <a:lnTo>
                        <a:pt x="301" y="16"/>
                      </a:lnTo>
                      <a:lnTo>
                        <a:pt x="302" y="18"/>
                      </a:lnTo>
                      <a:lnTo>
                        <a:pt x="304" y="16"/>
                      </a:lnTo>
                      <a:lnTo>
                        <a:pt x="306" y="16"/>
                      </a:lnTo>
                      <a:lnTo>
                        <a:pt x="307" y="16"/>
                      </a:lnTo>
                      <a:lnTo>
                        <a:pt x="309" y="16"/>
                      </a:lnTo>
                      <a:lnTo>
                        <a:pt x="311" y="16"/>
                      </a:lnTo>
                      <a:lnTo>
                        <a:pt x="313" y="15"/>
                      </a:lnTo>
                      <a:lnTo>
                        <a:pt x="314" y="15"/>
                      </a:lnTo>
                      <a:lnTo>
                        <a:pt x="316" y="15"/>
                      </a:lnTo>
                      <a:lnTo>
                        <a:pt x="318" y="15"/>
                      </a:lnTo>
                      <a:lnTo>
                        <a:pt x="319" y="15"/>
                      </a:lnTo>
                      <a:lnTo>
                        <a:pt x="321" y="15"/>
                      </a:lnTo>
                      <a:lnTo>
                        <a:pt x="323" y="15"/>
                      </a:lnTo>
                      <a:lnTo>
                        <a:pt x="323" y="13"/>
                      </a:lnTo>
                      <a:lnTo>
                        <a:pt x="324" y="15"/>
                      </a:lnTo>
                      <a:lnTo>
                        <a:pt x="329" y="15"/>
                      </a:lnTo>
                      <a:lnTo>
                        <a:pt x="333" y="16"/>
                      </a:lnTo>
                      <a:lnTo>
                        <a:pt x="338" y="13"/>
                      </a:lnTo>
                      <a:lnTo>
                        <a:pt x="336" y="11"/>
                      </a:lnTo>
                      <a:lnTo>
                        <a:pt x="340" y="7"/>
                      </a:lnTo>
                      <a:lnTo>
                        <a:pt x="345" y="7"/>
                      </a:lnTo>
                      <a:lnTo>
                        <a:pt x="348" y="8"/>
                      </a:lnTo>
                      <a:lnTo>
                        <a:pt x="350" y="7"/>
                      </a:lnTo>
                      <a:lnTo>
                        <a:pt x="353" y="3"/>
                      </a:lnTo>
                      <a:lnTo>
                        <a:pt x="358" y="2"/>
                      </a:lnTo>
                      <a:lnTo>
                        <a:pt x="360" y="7"/>
                      </a:lnTo>
                      <a:lnTo>
                        <a:pt x="365" y="3"/>
                      </a:lnTo>
                      <a:lnTo>
                        <a:pt x="370" y="0"/>
                      </a:lnTo>
                      <a:lnTo>
                        <a:pt x="375" y="0"/>
                      </a:lnTo>
                      <a:lnTo>
                        <a:pt x="377" y="7"/>
                      </a:lnTo>
                      <a:lnTo>
                        <a:pt x="378" y="10"/>
                      </a:lnTo>
                      <a:lnTo>
                        <a:pt x="382" y="15"/>
                      </a:lnTo>
                      <a:lnTo>
                        <a:pt x="382" y="16"/>
                      </a:lnTo>
                      <a:lnTo>
                        <a:pt x="383" y="16"/>
                      </a:lnTo>
                      <a:lnTo>
                        <a:pt x="383" y="18"/>
                      </a:lnTo>
                      <a:lnTo>
                        <a:pt x="385" y="20"/>
                      </a:lnTo>
                      <a:lnTo>
                        <a:pt x="387" y="23"/>
                      </a:lnTo>
                      <a:lnTo>
                        <a:pt x="389" y="23"/>
                      </a:lnTo>
                      <a:lnTo>
                        <a:pt x="389" y="25"/>
                      </a:lnTo>
                      <a:lnTo>
                        <a:pt x="390" y="25"/>
                      </a:lnTo>
                      <a:lnTo>
                        <a:pt x="390" y="26"/>
                      </a:lnTo>
                      <a:lnTo>
                        <a:pt x="389" y="26"/>
                      </a:lnTo>
                      <a:lnTo>
                        <a:pt x="389" y="28"/>
                      </a:lnTo>
                      <a:lnTo>
                        <a:pt x="389" y="30"/>
                      </a:lnTo>
                      <a:lnTo>
                        <a:pt x="389" y="31"/>
                      </a:lnTo>
                      <a:lnTo>
                        <a:pt x="390" y="33"/>
                      </a:lnTo>
                      <a:lnTo>
                        <a:pt x="390" y="34"/>
                      </a:lnTo>
                      <a:lnTo>
                        <a:pt x="392" y="34"/>
                      </a:lnTo>
                      <a:lnTo>
                        <a:pt x="392" y="36"/>
                      </a:lnTo>
                      <a:lnTo>
                        <a:pt x="392" y="38"/>
                      </a:lnTo>
                      <a:lnTo>
                        <a:pt x="390" y="38"/>
                      </a:lnTo>
                      <a:lnTo>
                        <a:pt x="390" y="39"/>
                      </a:lnTo>
                      <a:lnTo>
                        <a:pt x="390" y="41"/>
                      </a:lnTo>
                      <a:lnTo>
                        <a:pt x="389" y="41"/>
                      </a:lnTo>
                      <a:lnTo>
                        <a:pt x="389" y="43"/>
                      </a:lnTo>
                      <a:lnTo>
                        <a:pt x="389" y="44"/>
                      </a:lnTo>
                      <a:lnTo>
                        <a:pt x="389" y="46"/>
                      </a:lnTo>
                      <a:lnTo>
                        <a:pt x="389" y="48"/>
                      </a:lnTo>
                      <a:lnTo>
                        <a:pt x="389" y="49"/>
                      </a:lnTo>
                      <a:lnTo>
                        <a:pt x="389" y="51"/>
                      </a:lnTo>
                      <a:lnTo>
                        <a:pt x="389" y="53"/>
                      </a:lnTo>
                      <a:lnTo>
                        <a:pt x="390" y="53"/>
                      </a:lnTo>
                      <a:lnTo>
                        <a:pt x="390" y="54"/>
                      </a:lnTo>
                      <a:lnTo>
                        <a:pt x="392" y="54"/>
                      </a:lnTo>
                      <a:lnTo>
                        <a:pt x="392" y="56"/>
                      </a:lnTo>
                      <a:lnTo>
                        <a:pt x="394" y="57"/>
                      </a:lnTo>
                      <a:lnTo>
                        <a:pt x="394" y="59"/>
                      </a:lnTo>
                      <a:lnTo>
                        <a:pt x="392" y="59"/>
                      </a:lnTo>
                      <a:lnTo>
                        <a:pt x="392" y="61"/>
                      </a:lnTo>
                      <a:lnTo>
                        <a:pt x="392" y="62"/>
                      </a:lnTo>
                      <a:lnTo>
                        <a:pt x="392" y="64"/>
                      </a:lnTo>
                      <a:lnTo>
                        <a:pt x="394" y="64"/>
                      </a:lnTo>
                      <a:lnTo>
                        <a:pt x="394" y="66"/>
                      </a:lnTo>
                      <a:lnTo>
                        <a:pt x="394" y="67"/>
                      </a:lnTo>
                      <a:lnTo>
                        <a:pt x="394" y="69"/>
                      </a:lnTo>
                      <a:lnTo>
                        <a:pt x="395" y="69"/>
                      </a:lnTo>
                      <a:lnTo>
                        <a:pt x="395" y="71"/>
                      </a:lnTo>
                      <a:lnTo>
                        <a:pt x="394" y="71"/>
                      </a:lnTo>
                      <a:lnTo>
                        <a:pt x="394" y="72"/>
                      </a:lnTo>
                      <a:lnTo>
                        <a:pt x="394" y="74"/>
                      </a:lnTo>
                      <a:lnTo>
                        <a:pt x="394" y="76"/>
                      </a:lnTo>
                      <a:lnTo>
                        <a:pt x="395" y="76"/>
                      </a:lnTo>
                      <a:lnTo>
                        <a:pt x="397" y="76"/>
                      </a:lnTo>
                      <a:lnTo>
                        <a:pt x="399" y="76"/>
                      </a:lnTo>
                      <a:lnTo>
                        <a:pt x="400" y="76"/>
                      </a:lnTo>
                      <a:lnTo>
                        <a:pt x="402" y="76"/>
                      </a:lnTo>
                      <a:lnTo>
                        <a:pt x="404" y="76"/>
                      </a:lnTo>
                      <a:lnTo>
                        <a:pt x="405" y="76"/>
                      </a:lnTo>
                      <a:lnTo>
                        <a:pt x="407" y="76"/>
                      </a:lnTo>
                      <a:lnTo>
                        <a:pt x="407" y="74"/>
                      </a:lnTo>
                      <a:lnTo>
                        <a:pt x="409" y="74"/>
                      </a:lnTo>
                      <a:lnTo>
                        <a:pt x="409" y="76"/>
                      </a:lnTo>
                      <a:lnTo>
                        <a:pt x="410" y="76"/>
                      </a:lnTo>
                      <a:lnTo>
                        <a:pt x="410" y="74"/>
                      </a:lnTo>
                      <a:lnTo>
                        <a:pt x="410" y="76"/>
                      </a:lnTo>
                      <a:lnTo>
                        <a:pt x="412" y="76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6" y="77"/>
                      </a:lnTo>
                      <a:lnTo>
                        <a:pt x="417" y="77"/>
                      </a:lnTo>
                      <a:lnTo>
                        <a:pt x="419" y="77"/>
                      </a:lnTo>
                      <a:lnTo>
                        <a:pt x="421" y="77"/>
                      </a:lnTo>
                      <a:lnTo>
                        <a:pt x="422" y="77"/>
                      </a:lnTo>
                      <a:lnTo>
                        <a:pt x="424" y="77"/>
                      </a:lnTo>
                      <a:lnTo>
                        <a:pt x="426" y="77"/>
                      </a:lnTo>
                      <a:lnTo>
                        <a:pt x="427" y="77"/>
                      </a:lnTo>
                      <a:lnTo>
                        <a:pt x="427" y="79"/>
                      </a:lnTo>
                      <a:lnTo>
                        <a:pt x="429" y="77"/>
                      </a:lnTo>
                      <a:lnTo>
                        <a:pt x="431" y="77"/>
                      </a:lnTo>
                      <a:lnTo>
                        <a:pt x="432" y="77"/>
                      </a:lnTo>
                      <a:lnTo>
                        <a:pt x="432" y="79"/>
                      </a:lnTo>
                      <a:lnTo>
                        <a:pt x="434" y="79"/>
                      </a:lnTo>
                      <a:lnTo>
                        <a:pt x="436" y="79"/>
                      </a:lnTo>
                      <a:lnTo>
                        <a:pt x="436" y="80"/>
                      </a:lnTo>
                      <a:lnTo>
                        <a:pt x="437" y="80"/>
                      </a:lnTo>
                      <a:lnTo>
                        <a:pt x="437" y="82"/>
                      </a:lnTo>
                      <a:lnTo>
                        <a:pt x="439" y="82"/>
                      </a:lnTo>
                      <a:lnTo>
                        <a:pt x="439" y="80"/>
                      </a:lnTo>
                      <a:lnTo>
                        <a:pt x="439" y="82"/>
                      </a:lnTo>
                      <a:lnTo>
                        <a:pt x="439" y="84"/>
                      </a:lnTo>
                      <a:lnTo>
                        <a:pt x="441" y="84"/>
                      </a:lnTo>
                      <a:lnTo>
                        <a:pt x="443" y="84"/>
                      </a:lnTo>
                      <a:lnTo>
                        <a:pt x="443" y="85"/>
                      </a:lnTo>
                      <a:lnTo>
                        <a:pt x="444" y="85"/>
                      </a:lnTo>
                      <a:lnTo>
                        <a:pt x="444" y="87"/>
                      </a:lnTo>
                      <a:lnTo>
                        <a:pt x="446" y="87"/>
                      </a:lnTo>
                      <a:lnTo>
                        <a:pt x="446" y="89"/>
                      </a:lnTo>
                      <a:lnTo>
                        <a:pt x="448" y="89"/>
                      </a:lnTo>
                      <a:lnTo>
                        <a:pt x="448" y="87"/>
                      </a:lnTo>
                      <a:lnTo>
                        <a:pt x="448" y="85"/>
                      </a:lnTo>
                      <a:lnTo>
                        <a:pt x="448" y="87"/>
                      </a:lnTo>
                      <a:lnTo>
                        <a:pt x="449" y="87"/>
                      </a:lnTo>
                      <a:lnTo>
                        <a:pt x="451" y="87"/>
                      </a:lnTo>
                      <a:lnTo>
                        <a:pt x="451" y="89"/>
                      </a:lnTo>
                      <a:lnTo>
                        <a:pt x="453" y="89"/>
                      </a:lnTo>
                      <a:lnTo>
                        <a:pt x="453" y="90"/>
                      </a:lnTo>
                      <a:lnTo>
                        <a:pt x="453" y="92"/>
                      </a:lnTo>
                      <a:lnTo>
                        <a:pt x="454" y="94"/>
                      </a:lnTo>
                      <a:lnTo>
                        <a:pt x="454" y="92"/>
                      </a:lnTo>
                      <a:lnTo>
                        <a:pt x="456" y="92"/>
                      </a:lnTo>
                      <a:lnTo>
                        <a:pt x="456" y="94"/>
                      </a:lnTo>
                      <a:lnTo>
                        <a:pt x="454" y="94"/>
                      </a:lnTo>
                      <a:lnTo>
                        <a:pt x="454" y="95"/>
                      </a:lnTo>
                      <a:lnTo>
                        <a:pt x="456" y="95"/>
                      </a:lnTo>
                      <a:lnTo>
                        <a:pt x="456" y="97"/>
                      </a:lnTo>
                      <a:lnTo>
                        <a:pt x="456" y="99"/>
                      </a:lnTo>
                      <a:lnTo>
                        <a:pt x="456" y="100"/>
                      </a:lnTo>
                      <a:lnTo>
                        <a:pt x="456" y="102"/>
                      </a:lnTo>
                      <a:lnTo>
                        <a:pt x="458" y="102"/>
                      </a:lnTo>
                      <a:lnTo>
                        <a:pt x="458" y="100"/>
                      </a:lnTo>
                      <a:lnTo>
                        <a:pt x="459" y="102"/>
                      </a:lnTo>
                      <a:lnTo>
                        <a:pt x="461" y="100"/>
                      </a:lnTo>
                      <a:lnTo>
                        <a:pt x="463" y="100"/>
                      </a:lnTo>
                      <a:lnTo>
                        <a:pt x="463" y="99"/>
                      </a:lnTo>
                      <a:lnTo>
                        <a:pt x="465" y="99"/>
                      </a:lnTo>
                      <a:lnTo>
                        <a:pt x="465" y="100"/>
                      </a:lnTo>
                      <a:lnTo>
                        <a:pt x="465" y="102"/>
                      </a:lnTo>
                      <a:lnTo>
                        <a:pt x="465" y="103"/>
                      </a:lnTo>
                      <a:lnTo>
                        <a:pt x="466" y="103"/>
                      </a:lnTo>
                      <a:lnTo>
                        <a:pt x="466" y="102"/>
                      </a:lnTo>
                      <a:lnTo>
                        <a:pt x="466" y="103"/>
                      </a:lnTo>
                      <a:lnTo>
                        <a:pt x="468" y="103"/>
                      </a:lnTo>
                      <a:lnTo>
                        <a:pt x="468" y="102"/>
                      </a:lnTo>
                      <a:lnTo>
                        <a:pt x="470" y="102"/>
                      </a:lnTo>
                      <a:lnTo>
                        <a:pt x="470" y="103"/>
                      </a:lnTo>
                      <a:lnTo>
                        <a:pt x="471" y="103"/>
                      </a:lnTo>
                      <a:lnTo>
                        <a:pt x="471" y="105"/>
                      </a:lnTo>
                      <a:lnTo>
                        <a:pt x="471" y="107"/>
                      </a:lnTo>
                      <a:lnTo>
                        <a:pt x="473" y="107"/>
                      </a:lnTo>
                      <a:lnTo>
                        <a:pt x="473" y="105"/>
                      </a:lnTo>
                      <a:lnTo>
                        <a:pt x="475" y="105"/>
                      </a:lnTo>
                      <a:lnTo>
                        <a:pt x="476" y="107"/>
                      </a:lnTo>
                      <a:lnTo>
                        <a:pt x="476" y="108"/>
                      </a:lnTo>
                      <a:lnTo>
                        <a:pt x="476" y="110"/>
                      </a:lnTo>
                      <a:lnTo>
                        <a:pt x="476" y="108"/>
                      </a:lnTo>
                      <a:lnTo>
                        <a:pt x="478" y="110"/>
                      </a:lnTo>
                      <a:lnTo>
                        <a:pt x="480" y="110"/>
                      </a:lnTo>
                      <a:lnTo>
                        <a:pt x="481" y="110"/>
                      </a:lnTo>
                      <a:lnTo>
                        <a:pt x="481" y="112"/>
                      </a:lnTo>
                      <a:lnTo>
                        <a:pt x="483" y="110"/>
                      </a:lnTo>
                      <a:lnTo>
                        <a:pt x="483" y="108"/>
                      </a:lnTo>
                      <a:lnTo>
                        <a:pt x="481" y="108"/>
                      </a:lnTo>
                      <a:lnTo>
                        <a:pt x="483" y="108"/>
                      </a:lnTo>
                      <a:lnTo>
                        <a:pt x="485" y="108"/>
                      </a:lnTo>
                      <a:lnTo>
                        <a:pt x="485" y="110"/>
                      </a:lnTo>
                      <a:lnTo>
                        <a:pt x="486" y="110"/>
                      </a:lnTo>
                      <a:lnTo>
                        <a:pt x="488" y="108"/>
                      </a:lnTo>
                      <a:lnTo>
                        <a:pt x="488" y="110"/>
                      </a:lnTo>
                      <a:lnTo>
                        <a:pt x="490" y="110"/>
                      </a:lnTo>
                      <a:lnTo>
                        <a:pt x="490" y="112"/>
                      </a:lnTo>
                      <a:lnTo>
                        <a:pt x="490" y="110"/>
                      </a:lnTo>
                      <a:lnTo>
                        <a:pt x="492" y="110"/>
                      </a:lnTo>
                      <a:lnTo>
                        <a:pt x="492" y="108"/>
                      </a:lnTo>
                      <a:lnTo>
                        <a:pt x="492" y="107"/>
                      </a:lnTo>
                      <a:lnTo>
                        <a:pt x="493" y="108"/>
                      </a:lnTo>
                      <a:lnTo>
                        <a:pt x="493" y="110"/>
                      </a:lnTo>
                      <a:lnTo>
                        <a:pt x="492" y="110"/>
                      </a:lnTo>
                      <a:lnTo>
                        <a:pt x="492" y="112"/>
                      </a:lnTo>
                      <a:lnTo>
                        <a:pt x="493" y="112"/>
                      </a:lnTo>
                      <a:lnTo>
                        <a:pt x="495" y="112"/>
                      </a:lnTo>
                      <a:lnTo>
                        <a:pt x="497" y="112"/>
                      </a:lnTo>
                      <a:lnTo>
                        <a:pt x="497" y="110"/>
                      </a:lnTo>
                      <a:lnTo>
                        <a:pt x="498" y="110"/>
                      </a:lnTo>
                      <a:lnTo>
                        <a:pt x="498" y="108"/>
                      </a:lnTo>
                      <a:lnTo>
                        <a:pt x="498" y="110"/>
                      </a:lnTo>
                      <a:lnTo>
                        <a:pt x="498" y="112"/>
                      </a:lnTo>
                      <a:lnTo>
                        <a:pt x="498" y="113"/>
                      </a:lnTo>
                      <a:lnTo>
                        <a:pt x="498" y="115"/>
                      </a:lnTo>
                      <a:lnTo>
                        <a:pt x="497" y="115"/>
                      </a:lnTo>
                      <a:lnTo>
                        <a:pt x="498" y="117"/>
                      </a:lnTo>
                      <a:lnTo>
                        <a:pt x="500" y="115"/>
                      </a:lnTo>
                      <a:lnTo>
                        <a:pt x="502" y="115"/>
                      </a:lnTo>
                      <a:lnTo>
                        <a:pt x="503" y="113"/>
                      </a:lnTo>
                      <a:lnTo>
                        <a:pt x="503" y="115"/>
                      </a:lnTo>
                      <a:lnTo>
                        <a:pt x="505" y="115"/>
                      </a:lnTo>
                      <a:lnTo>
                        <a:pt x="507" y="115"/>
                      </a:lnTo>
                      <a:lnTo>
                        <a:pt x="508" y="115"/>
                      </a:lnTo>
                      <a:lnTo>
                        <a:pt x="508" y="117"/>
                      </a:lnTo>
                      <a:lnTo>
                        <a:pt x="508" y="118"/>
                      </a:lnTo>
                      <a:lnTo>
                        <a:pt x="507" y="118"/>
                      </a:lnTo>
                      <a:lnTo>
                        <a:pt x="507" y="120"/>
                      </a:lnTo>
                      <a:lnTo>
                        <a:pt x="507" y="122"/>
                      </a:lnTo>
                      <a:lnTo>
                        <a:pt x="508" y="122"/>
                      </a:lnTo>
                      <a:lnTo>
                        <a:pt x="510" y="122"/>
                      </a:lnTo>
                      <a:lnTo>
                        <a:pt x="510" y="123"/>
                      </a:lnTo>
                      <a:lnTo>
                        <a:pt x="510" y="125"/>
                      </a:lnTo>
                      <a:lnTo>
                        <a:pt x="508" y="125"/>
                      </a:lnTo>
                      <a:lnTo>
                        <a:pt x="508" y="126"/>
                      </a:lnTo>
                      <a:lnTo>
                        <a:pt x="508" y="128"/>
                      </a:lnTo>
                      <a:lnTo>
                        <a:pt x="510" y="128"/>
                      </a:lnTo>
                      <a:lnTo>
                        <a:pt x="510" y="126"/>
                      </a:lnTo>
                      <a:lnTo>
                        <a:pt x="512" y="126"/>
                      </a:lnTo>
                      <a:lnTo>
                        <a:pt x="513" y="126"/>
                      </a:lnTo>
                      <a:lnTo>
                        <a:pt x="515" y="125"/>
                      </a:lnTo>
                      <a:lnTo>
                        <a:pt x="517" y="125"/>
                      </a:lnTo>
                      <a:lnTo>
                        <a:pt x="519" y="125"/>
                      </a:lnTo>
                      <a:lnTo>
                        <a:pt x="519" y="126"/>
                      </a:lnTo>
                      <a:lnTo>
                        <a:pt x="520" y="126"/>
                      </a:lnTo>
                      <a:lnTo>
                        <a:pt x="520" y="128"/>
                      </a:lnTo>
                      <a:lnTo>
                        <a:pt x="522" y="128"/>
                      </a:lnTo>
                      <a:lnTo>
                        <a:pt x="522" y="130"/>
                      </a:lnTo>
                      <a:lnTo>
                        <a:pt x="522" y="131"/>
                      </a:lnTo>
                      <a:lnTo>
                        <a:pt x="522" y="133"/>
                      </a:lnTo>
                      <a:lnTo>
                        <a:pt x="520" y="133"/>
                      </a:lnTo>
                      <a:lnTo>
                        <a:pt x="519" y="133"/>
                      </a:lnTo>
                      <a:lnTo>
                        <a:pt x="517" y="133"/>
                      </a:lnTo>
                      <a:lnTo>
                        <a:pt x="517" y="135"/>
                      </a:lnTo>
                      <a:lnTo>
                        <a:pt x="517" y="136"/>
                      </a:lnTo>
                      <a:lnTo>
                        <a:pt x="517" y="140"/>
                      </a:lnTo>
                      <a:lnTo>
                        <a:pt x="517" y="141"/>
                      </a:lnTo>
                      <a:lnTo>
                        <a:pt x="519" y="141"/>
                      </a:lnTo>
                      <a:lnTo>
                        <a:pt x="519" y="143"/>
                      </a:lnTo>
                      <a:lnTo>
                        <a:pt x="520" y="143"/>
                      </a:lnTo>
                      <a:lnTo>
                        <a:pt x="520" y="145"/>
                      </a:lnTo>
                      <a:lnTo>
                        <a:pt x="519" y="145"/>
                      </a:lnTo>
                      <a:lnTo>
                        <a:pt x="519" y="146"/>
                      </a:lnTo>
                      <a:lnTo>
                        <a:pt x="519" y="148"/>
                      </a:lnTo>
                      <a:lnTo>
                        <a:pt x="520" y="148"/>
                      </a:lnTo>
                      <a:lnTo>
                        <a:pt x="520" y="149"/>
                      </a:lnTo>
                      <a:lnTo>
                        <a:pt x="520" y="151"/>
                      </a:lnTo>
                      <a:lnTo>
                        <a:pt x="520" y="153"/>
                      </a:lnTo>
                      <a:lnTo>
                        <a:pt x="522" y="154"/>
                      </a:lnTo>
                      <a:lnTo>
                        <a:pt x="524" y="154"/>
                      </a:lnTo>
                      <a:lnTo>
                        <a:pt x="524" y="156"/>
                      </a:lnTo>
                      <a:lnTo>
                        <a:pt x="525" y="156"/>
                      </a:lnTo>
                      <a:lnTo>
                        <a:pt x="525" y="158"/>
                      </a:lnTo>
                      <a:lnTo>
                        <a:pt x="529" y="159"/>
                      </a:lnTo>
                      <a:lnTo>
                        <a:pt x="530" y="159"/>
                      </a:lnTo>
                      <a:lnTo>
                        <a:pt x="532" y="161"/>
                      </a:lnTo>
                      <a:lnTo>
                        <a:pt x="534" y="163"/>
                      </a:lnTo>
                      <a:lnTo>
                        <a:pt x="535" y="164"/>
                      </a:lnTo>
                      <a:lnTo>
                        <a:pt x="537" y="166"/>
                      </a:lnTo>
                      <a:lnTo>
                        <a:pt x="539" y="166"/>
                      </a:lnTo>
                      <a:lnTo>
                        <a:pt x="541" y="168"/>
                      </a:lnTo>
                      <a:lnTo>
                        <a:pt x="542" y="168"/>
                      </a:lnTo>
                      <a:lnTo>
                        <a:pt x="542" y="169"/>
                      </a:lnTo>
                      <a:lnTo>
                        <a:pt x="542" y="171"/>
                      </a:lnTo>
                      <a:lnTo>
                        <a:pt x="544" y="171"/>
                      </a:lnTo>
                      <a:lnTo>
                        <a:pt x="546" y="172"/>
                      </a:lnTo>
                      <a:lnTo>
                        <a:pt x="546" y="174"/>
                      </a:lnTo>
                      <a:lnTo>
                        <a:pt x="547" y="176"/>
                      </a:lnTo>
                      <a:lnTo>
                        <a:pt x="547" y="174"/>
                      </a:lnTo>
                      <a:lnTo>
                        <a:pt x="549" y="174"/>
                      </a:lnTo>
                      <a:lnTo>
                        <a:pt x="549" y="176"/>
                      </a:lnTo>
                      <a:lnTo>
                        <a:pt x="549" y="177"/>
                      </a:lnTo>
                      <a:lnTo>
                        <a:pt x="549" y="179"/>
                      </a:lnTo>
                      <a:lnTo>
                        <a:pt x="549" y="181"/>
                      </a:lnTo>
                      <a:lnTo>
                        <a:pt x="547" y="181"/>
                      </a:lnTo>
                      <a:lnTo>
                        <a:pt x="547" y="182"/>
                      </a:lnTo>
                      <a:lnTo>
                        <a:pt x="546" y="184"/>
                      </a:lnTo>
                      <a:lnTo>
                        <a:pt x="546" y="186"/>
                      </a:lnTo>
                      <a:lnTo>
                        <a:pt x="546" y="187"/>
                      </a:lnTo>
                      <a:lnTo>
                        <a:pt x="546" y="189"/>
                      </a:lnTo>
                      <a:lnTo>
                        <a:pt x="546" y="190"/>
                      </a:lnTo>
                      <a:lnTo>
                        <a:pt x="544" y="190"/>
                      </a:lnTo>
                      <a:lnTo>
                        <a:pt x="544" y="192"/>
                      </a:lnTo>
                      <a:lnTo>
                        <a:pt x="544" y="194"/>
                      </a:lnTo>
                      <a:lnTo>
                        <a:pt x="546" y="194"/>
                      </a:lnTo>
                      <a:lnTo>
                        <a:pt x="546" y="195"/>
                      </a:lnTo>
                      <a:lnTo>
                        <a:pt x="544" y="197"/>
                      </a:lnTo>
                      <a:lnTo>
                        <a:pt x="544" y="199"/>
                      </a:lnTo>
                      <a:lnTo>
                        <a:pt x="544" y="200"/>
                      </a:lnTo>
                      <a:lnTo>
                        <a:pt x="544" y="202"/>
                      </a:lnTo>
                      <a:lnTo>
                        <a:pt x="544" y="204"/>
                      </a:lnTo>
                      <a:lnTo>
                        <a:pt x="544" y="205"/>
                      </a:lnTo>
                      <a:lnTo>
                        <a:pt x="544" y="207"/>
                      </a:lnTo>
                      <a:lnTo>
                        <a:pt x="546" y="207"/>
                      </a:lnTo>
                      <a:lnTo>
                        <a:pt x="546" y="209"/>
                      </a:lnTo>
                      <a:lnTo>
                        <a:pt x="547" y="209"/>
                      </a:lnTo>
                      <a:lnTo>
                        <a:pt x="547" y="210"/>
                      </a:lnTo>
                      <a:lnTo>
                        <a:pt x="547" y="212"/>
                      </a:lnTo>
                      <a:lnTo>
                        <a:pt x="549" y="212"/>
                      </a:lnTo>
                      <a:lnTo>
                        <a:pt x="549" y="213"/>
                      </a:lnTo>
                      <a:lnTo>
                        <a:pt x="551" y="215"/>
                      </a:lnTo>
                      <a:lnTo>
                        <a:pt x="549" y="217"/>
                      </a:lnTo>
                      <a:lnTo>
                        <a:pt x="549" y="218"/>
                      </a:lnTo>
                      <a:lnTo>
                        <a:pt x="551" y="218"/>
                      </a:lnTo>
                      <a:lnTo>
                        <a:pt x="551" y="222"/>
                      </a:lnTo>
                      <a:lnTo>
                        <a:pt x="552" y="222"/>
                      </a:lnTo>
                      <a:lnTo>
                        <a:pt x="552" y="223"/>
                      </a:lnTo>
                      <a:lnTo>
                        <a:pt x="554" y="223"/>
                      </a:lnTo>
                      <a:lnTo>
                        <a:pt x="554" y="225"/>
                      </a:lnTo>
                      <a:lnTo>
                        <a:pt x="556" y="225"/>
                      </a:lnTo>
                      <a:lnTo>
                        <a:pt x="556" y="227"/>
                      </a:lnTo>
                      <a:lnTo>
                        <a:pt x="556" y="228"/>
                      </a:lnTo>
                      <a:lnTo>
                        <a:pt x="557" y="230"/>
                      </a:lnTo>
                      <a:lnTo>
                        <a:pt x="559" y="230"/>
                      </a:lnTo>
                      <a:lnTo>
                        <a:pt x="559" y="232"/>
                      </a:lnTo>
                      <a:lnTo>
                        <a:pt x="559" y="233"/>
                      </a:lnTo>
                      <a:lnTo>
                        <a:pt x="559" y="235"/>
                      </a:lnTo>
                      <a:lnTo>
                        <a:pt x="561" y="235"/>
                      </a:lnTo>
                      <a:lnTo>
                        <a:pt x="561" y="236"/>
                      </a:lnTo>
                      <a:lnTo>
                        <a:pt x="562" y="236"/>
                      </a:lnTo>
                      <a:lnTo>
                        <a:pt x="562" y="238"/>
                      </a:lnTo>
                      <a:lnTo>
                        <a:pt x="562" y="240"/>
                      </a:lnTo>
                      <a:lnTo>
                        <a:pt x="562" y="241"/>
                      </a:lnTo>
                      <a:lnTo>
                        <a:pt x="562" y="243"/>
                      </a:lnTo>
                      <a:lnTo>
                        <a:pt x="562" y="245"/>
                      </a:lnTo>
                      <a:lnTo>
                        <a:pt x="564" y="245"/>
                      </a:lnTo>
                      <a:lnTo>
                        <a:pt x="564" y="246"/>
                      </a:lnTo>
                      <a:lnTo>
                        <a:pt x="564" y="248"/>
                      </a:lnTo>
                      <a:lnTo>
                        <a:pt x="566" y="250"/>
                      </a:lnTo>
                      <a:lnTo>
                        <a:pt x="566" y="253"/>
                      </a:lnTo>
                      <a:lnTo>
                        <a:pt x="568" y="253"/>
                      </a:lnTo>
                      <a:lnTo>
                        <a:pt x="569" y="253"/>
                      </a:lnTo>
                      <a:lnTo>
                        <a:pt x="571" y="253"/>
                      </a:lnTo>
                      <a:lnTo>
                        <a:pt x="573" y="253"/>
                      </a:lnTo>
                      <a:lnTo>
                        <a:pt x="574" y="253"/>
                      </a:lnTo>
                      <a:lnTo>
                        <a:pt x="574" y="255"/>
                      </a:lnTo>
                      <a:lnTo>
                        <a:pt x="574" y="256"/>
                      </a:lnTo>
                      <a:lnTo>
                        <a:pt x="576" y="256"/>
                      </a:lnTo>
                      <a:lnTo>
                        <a:pt x="578" y="258"/>
                      </a:lnTo>
                      <a:lnTo>
                        <a:pt x="583" y="261"/>
                      </a:lnTo>
                      <a:lnTo>
                        <a:pt x="583" y="263"/>
                      </a:lnTo>
                      <a:lnTo>
                        <a:pt x="584" y="264"/>
                      </a:lnTo>
                      <a:lnTo>
                        <a:pt x="586" y="266"/>
                      </a:lnTo>
                      <a:lnTo>
                        <a:pt x="588" y="266"/>
                      </a:lnTo>
                      <a:lnTo>
                        <a:pt x="590" y="266"/>
                      </a:lnTo>
                      <a:lnTo>
                        <a:pt x="590" y="268"/>
                      </a:lnTo>
                      <a:lnTo>
                        <a:pt x="590" y="269"/>
                      </a:lnTo>
                      <a:lnTo>
                        <a:pt x="590" y="271"/>
                      </a:lnTo>
                      <a:lnTo>
                        <a:pt x="590" y="273"/>
                      </a:lnTo>
                      <a:lnTo>
                        <a:pt x="588" y="273"/>
                      </a:lnTo>
                      <a:lnTo>
                        <a:pt x="588" y="274"/>
                      </a:lnTo>
                      <a:lnTo>
                        <a:pt x="588" y="276"/>
                      </a:lnTo>
                      <a:lnTo>
                        <a:pt x="590" y="278"/>
                      </a:lnTo>
                      <a:lnTo>
                        <a:pt x="590" y="279"/>
                      </a:lnTo>
                      <a:lnTo>
                        <a:pt x="588" y="281"/>
                      </a:lnTo>
                      <a:lnTo>
                        <a:pt x="588" y="282"/>
                      </a:lnTo>
                      <a:lnTo>
                        <a:pt x="590" y="282"/>
                      </a:lnTo>
                      <a:lnTo>
                        <a:pt x="590" y="284"/>
                      </a:lnTo>
                      <a:lnTo>
                        <a:pt x="588" y="284"/>
                      </a:lnTo>
                      <a:lnTo>
                        <a:pt x="590" y="287"/>
                      </a:lnTo>
                      <a:lnTo>
                        <a:pt x="591" y="287"/>
                      </a:lnTo>
                      <a:lnTo>
                        <a:pt x="591" y="289"/>
                      </a:lnTo>
                      <a:lnTo>
                        <a:pt x="591" y="291"/>
                      </a:lnTo>
                      <a:lnTo>
                        <a:pt x="595" y="292"/>
                      </a:lnTo>
                      <a:lnTo>
                        <a:pt x="595" y="294"/>
                      </a:lnTo>
                      <a:lnTo>
                        <a:pt x="596" y="294"/>
                      </a:lnTo>
                      <a:lnTo>
                        <a:pt x="598" y="292"/>
                      </a:lnTo>
                      <a:lnTo>
                        <a:pt x="600" y="292"/>
                      </a:lnTo>
                      <a:lnTo>
                        <a:pt x="603" y="292"/>
                      </a:lnTo>
                      <a:lnTo>
                        <a:pt x="605" y="292"/>
                      </a:lnTo>
                      <a:lnTo>
                        <a:pt x="605" y="294"/>
                      </a:lnTo>
                      <a:lnTo>
                        <a:pt x="605" y="296"/>
                      </a:lnTo>
                      <a:lnTo>
                        <a:pt x="606" y="296"/>
                      </a:lnTo>
                      <a:lnTo>
                        <a:pt x="606" y="297"/>
                      </a:lnTo>
                      <a:lnTo>
                        <a:pt x="606" y="299"/>
                      </a:lnTo>
                      <a:lnTo>
                        <a:pt x="606" y="301"/>
                      </a:lnTo>
                      <a:lnTo>
                        <a:pt x="606" y="302"/>
                      </a:lnTo>
                      <a:lnTo>
                        <a:pt x="608" y="304"/>
                      </a:lnTo>
                      <a:lnTo>
                        <a:pt x="608" y="305"/>
                      </a:lnTo>
                      <a:lnTo>
                        <a:pt x="608" y="307"/>
                      </a:lnTo>
                      <a:lnTo>
                        <a:pt x="606" y="307"/>
                      </a:lnTo>
                      <a:lnTo>
                        <a:pt x="606" y="310"/>
                      </a:lnTo>
                      <a:lnTo>
                        <a:pt x="605" y="310"/>
                      </a:lnTo>
                      <a:lnTo>
                        <a:pt x="605" y="312"/>
                      </a:lnTo>
                      <a:lnTo>
                        <a:pt x="605" y="314"/>
                      </a:lnTo>
                      <a:lnTo>
                        <a:pt x="606" y="314"/>
                      </a:lnTo>
                      <a:lnTo>
                        <a:pt x="605" y="315"/>
                      </a:lnTo>
                      <a:lnTo>
                        <a:pt x="605" y="317"/>
                      </a:lnTo>
                      <a:lnTo>
                        <a:pt x="603" y="317"/>
                      </a:lnTo>
                      <a:lnTo>
                        <a:pt x="603" y="319"/>
                      </a:lnTo>
                      <a:lnTo>
                        <a:pt x="605" y="319"/>
                      </a:lnTo>
                      <a:lnTo>
                        <a:pt x="606" y="319"/>
                      </a:lnTo>
                      <a:lnTo>
                        <a:pt x="608" y="317"/>
                      </a:lnTo>
                      <a:lnTo>
                        <a:pt x="610" y="317"/>
                      </a:lnTo>
                      <a:lnTo>
                        <a:pt x="611" y="317"/>
                      </a:lnTo>
                      <a:lnTo>
                        <a:pt x="611" y="315"/>
                      </a:lnTo>
                      <a:lnTo>
                        <a:pt x="613" y="315"/>
                      </a:lnTo>
                      <a:lnTo>
                        <a:pt x="613" y="317"/>
                      </a:lnTo>
                      <a:lnTo>
                        <a:pt x="615" y="317"/>
                      </a:lnTo>
                      <a:lnTo>
                        <a:pt x="615" y="319"/>
                      </a:lnTo>
                      <a:lnTo>
                        <a:pt x="617" y="320"/>
                      </a:lnTo>
                      <a:lnTo>
                        <a:pt x="617" y="324"/>
                      </a:lnTo>
                      <a:lnTo>
                        <a:pt x="615" y="324"/>
                      </a:lnTo>
                      <a:lnTo>
                        <a:pt x="613" y="324"/>
                      </a:lnTo>
                      <a:lnTo>
                        <a:pt x="613" y="325"/>
                      </a:lnTo>
                      <a:lnTo>
                        <a:pt x="613" y="327"/>
                      </a:lnTo>
                      <a:lnTo>
                        <a:pt x="615" y="327"/>
                      </a:lnTo>
                      <a:lnTo>
                        <a:pt x="615" y="328"/>
                      </a:lnTo>
                      <a:lnTo>
                        <a:pt x="615" y="332"/>
                      </a:lnTo>
                      <a:lnTo>
                        <a:pt x="615" y="333"/>
                      </a:lnTo>
                      <a:lnTo>
                        <a:pt x="615" y="335"/>
                      </a:lnTo>
                      <a:lnTo>
                        <a:pt x="613" y="335"/>
                      </a:lnTo>
                      <a:lnTo>
                        <a:pt x="615" y="337"/>
                      </a:lnTo>
                      <a:lnTo>
                        <a:pt x="617" y="335"/>
                      </a:lnTo>
                      <a:lnTo>
                        <a:pt x="618" y="335"/>
                      </a:lnTo>
                      <a:lnTo>
                        <a:pt x="618" y="337"/>
                      </a:lnTo>
                      <a:lnTo>
                        <a:pt x="620" y="337"/>
                      </a:lnTo>
                      <a:lnTo>
                        <a:pt x="622" y="338"/>
                      </a:lnTo>
                      <a:lnTo>
                        <a:pt x="623" y="342"/>
                      </a:lnTo>
                      <a:lnTo>
                        <a:pt x="625" y="342"/>
                      </a:lnTo>
                      <a:lnTo>
                        <a:pt x="627" y="342"/>
                      </a:lnTo>
                      <a:lnTo>
                        <a:pt x="628" y="343"/>
                      </a:lnTo>
                      <a:lnTo>
                        <a:pt x="630" y="343"/>
                      </a:lnTo>
                      <a:lnTo>
                        <a:pt x="632" y="343"/>
                      </a:lnTo>
                      <a:lnTo>
                        <a:pt x="633" y="343"/>
                      </a:lnTo>
                      <a:lnTo>
                        <a:pt x="635" y="343"/>
                      </a:lnTo>
                      <a:lnTo>
                        <a:pt x="637" y="343"/>
                      </a:lnTo>
                      <a:lnTo>
                        <a:pt x="638" y="343"/>
                      </a:lnTo>
                      <a:lnTo>
                        <a:pt x="640" y="345"/>
                      </a:lnTo>
                      <a:lnTo>
                        <a:pt x="642" y="345"/>
                      </a:lnTo>
                      <a:lnTo>
                        <a:pt x="644" y="345"/>
                      </a:lnTo>
                      <a:lnTo>
                        <a:pt x="644" y="347"/>
                      </a:lnTo>
                      <a:lnTo>
                        <a:pt x="645" y="348"/>
                      </a:lnTo>
                      <a:lnTo>
                        <a:pt x="644" y="350"/>
                      </a:lnTo>
                      <a:lnTo>
                        <a:pt x="644" y="351"/>
                      </a:lnTo>
                      <a:lnTo>
                        <a:pt x="645" y="351"/>
                      </a:lnTo>
                      <a:lnTo>
                        <a:pt x="647" y="353"/>
                      </a:lnTo>
                      <a:lnTo>
                        <a:pt x="649" y="353"/>
                      </a:lnTo>
                      <a:lnTo>
                        <a:pt x="650" y="353"/>
                      </a:lnTo>
                      <a:lnTo>
                        <a:pt x="650" y="351"/>
                      </a:lnTo>
                      <a:lnTo>
                        <a:pt x="649" y="350"/>
                      </a:lnTo>
                      <a:lnTo>
                        <a:pt x="649" y="348"/>
                      </a:lnTo>
                      <a:lnTo>
                        <a:pt x="650" y="347"/>
                      </a:lnTo>
                      <a:lnTo>
                        <a:pt x="652" y="347"/>
                      </a:lnTo>
                      <a:lnTo>
                        <a:pt x="654" y="347"/>
                      </a:lnTo>
                      <a:lnTo>
                        <a:pt x="655" y="347"/>
                      </a:lnTo>
                      <a:lnTo>
                        <a:pt x="655" y="345"/>
                      </a:lnTo>
                      <a:lnTo>
                        <a:pt x="655" y="343"/>
                      </a:lnTo>
                      <a:lnTo>
                        <a:pt x="655" y="342"/>
                      </a:lnTo>
                      <a:lnTo>
                        <a:pt x="657" y="342"/>
                      </a:lnTo>
                      <a:lnTo>
                        <a:pt x="657" y="343"/>
                      </a:lnTo>
                      <a:lnTo>
                        <a:pt x="659" y="343"/>
                      </a:lnTo>
                      <a:lnTo>
                        <a:pt x="657" y="345"/>
                      </a:lnTo>
                      <a:lnTo>
                        <a:pt x="657" y="347"/>
                      </a:lnTo>
                      <a:lnTo>
                        <a:pt x="659" y="347"/>
                      </a:lnTo>
                      <a:lnTo>
                        <a:pt x="660" y="347"/>
                      </a:lnTo>
                      <a:lnTo>
                        <a:pt x="660" y="345"/>
                      </a:lnTo>
                      <a:lnTo>
                        <a:pt x="660" y="343"/>
                      </a:lnTo>
                      <a:lnTo>
                        <a:pt x="662" y="343"/>
                      </a:lnTo>
                      <a:lnTo>
                        <a:pt x="662" y="345"/>
                      </a:lnTo>
                      <a:lnTo>
                        <a:pt x="664" y="345"/>
                      </a:lnTo>
                      <a:lnTo>
                        <a:pt x="664" y="347"/>
                      </a:lnTo>
                      <a:lnTo>
                        <a:pt x="666" y="347"/>
                      </a:lnTo>
                      <a:lnTo>
                        <a:pt x="671" y="347"/>
                      </a:lnTo>
                      <a:lnTo>
                        <a:pt x="672" y="345"/>
                      </a:lnTo>
                      <a:lnTo>
                        <a:pt x="674" y="345"/>
                      </a:lnTo>
                      <a:lnTo>
                        <a:pt x="676" y="345"/>
                      </a:lnTo>
                      <a:lnTo>
                        <a:pt x="676" y="343"/>
                      </a:lnTo>
                      <a:lnTo>
                        <a:pt x="677" y="342"/>
                      </a:lnTo>
                      <a:lnTo>
                        <a:pt x="681" y="338"/>
                      </a:lnTo>
                      <a:lnTo>
                        <a:pt x="682" y="337"/>
                      </a:lnTo>
                      <a:lnTo>
                        <a:pt x="684" y="335"/>
                      </a:lnTo>
                      <a:lnTo>
                        <a:pt x="684" y="332"/>
                      </a:lnTo>
                      <a:lnTo>
                        <a:pt x="684" y="328"/>
                      </a:lnTo>
                      <a:lnTo>
                        <a:pt x="684" y="324"/>
                      </a:lnTo>
                      <a:lnTo>
                        <a:pt x="684" y="322"/>
                      </a:lnTo>
                      <a:lnTo>
                        <a:pt x="684" y="320"/>
                      </a:lnTo>
                      <a:lnTo>
                        <a:pt x="684" y="319"/>
                      </a:lnTo>
                      <a:lnTo>
                        <a:pt x="684" y="317"/>
                      </a:lnTo>
                      <a:lnTo>
                        <a:pt x="684" y="315"/>
                      </a:lnTo>
                      <a:lnTo>
                        <a:pt x="684" y="314"/>
                      </a:lnTo>
                      <a:lnTo>
                        <a:pt x="684" y="312"/>
                      </a:lnTo>
                      <a:lnTo>
                        <a:pt x="686" y="312"/>
                      </a:lnTo>
                      <a:lnTo>
                        <a:pt x="686" y="310"/>
                      </a:lnTo>
                      <a:lnTo>
                        <a:pt x="686" y="309"/>
                      </a:lnTo>
                      <a:lnTo>
                        <a:pt x="687" y="309"/>
                      </a:lnTo>
                      <a:lnTo>
                        <a:pt x="689" y="304"/>
                      </a:lnTo>
                      <a:lnTo>
                        <a:pt x="691" y="302"/>
                      </a:lnTo>
                      <a:lnTo>
                        <a:pt x="691" y="301"/>
                      </a:lnTo>
                      <a:lnTo>
                        <a:pt x="693" y="299"/>
                      </a:lnTo>
                      <a:lnTo>
                        <a:pt x="696" y="297"/>
                      </a:lnTo>
                      <a:lnTo>
                        <a:pt x="699" y="292"/>
                      </a:lnTo>
                      <a:lnTo>
                        <a:pt x="701" y="291"/>
                      </a:lnTo>
                      <a:lnTo>
                        <a:pt x="703" y="291"/>
                      </a:lnTo>
                      <a:lnTo>
                        <a:pt x="703" y="289"/>
                      </a:lnTo>
                      <a:lnTo>
                        <a:pt x="704" y="289"/>
                      </a:lnTo>
                      <a:lnTo>
                        <a:pt x="706" y="287"/>
                      </a:lnTo>
                      <a:lnTo>
                        <a:pt x="706" y="286"/>
                      </a:lnTo>
                      <a:lnTo>
                        <a:pt x="708" y="282"/>
                      </a:lnTo>
                      <a:lnTo>
                        <a:pt x="709" y="282"/>
                      </a:lnTo>
                      <a:lnTo>
                        <a:pt x="709" y="279"/>
                      </a:lnTo>
                      <a:lnTo>
                        <a:pt x="709" y="278"/>
                      </a:lnTo>
                      <a:lnTo>
                        <a:pt x="711" y="278"/>
                      </a:lnTo>
                      <a:lnTo>
                        <a:pt x="711" y="276"/>
                      </a:lnTo>
                      <a:lnTo>
                        <a:pt x="714" y="274"/>
                      </a:lnTo>
                      <a:lnTo>
                        <a:pt x="714" y="273"/>
                      </a:lnTo>
                      <a:lnTo>
                        <a:pt x="716" y="268"/>
                      </a:lnTo>
                      <a:lnTo>
                        <a:pt x="716" y="266"/>
                      </a:lnTo>
                      <a:lnTo>
                        <a:pt x="718" y="266"/>
                      </a:lnTo>
                      <a:lnTo>
                        <a:pt x="718" y="264"/>
                      </a:lnTo>
                      <a:lnTo>
                        <a:pt x="720" y="263"/>
                      </a:lnTo>
                      <a:lnTo>
                        <a:pt x="721" y="263"/>
                      </a:lnTo>
                      <a:lnTo>
                        <a:pt x="721" y="261"/>
                      </a:lnTo>
                      <a:lnTo>
                        <a:pt x="721" y="259"/>
                      </a:lnTo>
                      <a:lnTo>
                        <a:pt x="725" y="256"/>
                      </a:lnTo>
                      <a:lnTo>
                        <a:pt x="726" y="253"/>
                      </a:lnTo>
                      <a:lnTo>
                        <a:pt x="728" y="251"/>
                      </a:lnTo>
                      <a:lnTo>
                        <a:pt x="730" y="250"/>
                      </a:lnTo>
                      <a:lnTo>
                        <a:pt x="731" y="250"/>
                      </a:lnTo>
                      <a:lnTo>
                        <a:pt x="733" y="248"/>
                      </a:lnTo>
                      <a:lnTo>
                        <a:pt x="735" y="248"/>
                      </a:lnTo>
                      <a:lnTo>
                        <a:pt x="736" y="248"/>
                      </a:lnTo>
                      <a:lnTo>
                        <a:pt x="738" y="248"/>
                      </a:lnTo>
                      <a:lnTo>
                        <a:pt x="740" y="248"/>
                      </a:lnTo>
                      <a:lnTo>
                        <a:pt x="740" y="246"/>
                      </a:lnTo>
                      <a:lnTo>
                        <a:pt x="740" y="248"/>
                      </a:lnTo>
                      <a:lnTo>
                        <a:pt x="742" y="246"/>
                      </a:lnTo>
                      <a:lnTo>
                        <a:pt x="743" y="246"/>
                      </a:lnTo>
                      <a:lnTo>
                        <a:pt x="743" y="245"/>
                      </a:lnTo>
                      <a:lnTo>
                        <a:pt x="745" y="243"/>
                      </a:lnTo>
                      <a:lnTo>
                        <a:pt x="748" y="240"/>
                      </a:lnTo>
                      <a:lnTo>
                        <a:pt x="750" y="240"/>
                      </a:lnTo>
                      <a:lnTo>
                        <a:pt x="750" y="238"/>
                      </a:lnTo>
                      <a:lnTo>
                        <a:pt x="752" y="236"/>
                      </a:lnTo>
                      <a:lnTo>
                        <a:pt x="752" y="235"/>
                      </a:lnTo>
                      <a:lnTo>
                        <a:pt x="753" y="233"/>
                      </a:lnTo>
                      <a:lnTo>
                        <a:pt x="755" y="233"/>
                      </a:lnTo>
                      <a:lnTo>
                        <a:pt x="757" y="232"/>
                      </a:lnTo>
                      <a:lnTo>
                        <a:pt x="769" y="228"/>
                      </a:lnTo>
                      <a:lnTo>
                        <a:pt x="772" y="228"/>
                      </a:lnTo>
                      <a:lnTo>
                        <a:pt x="774" y="227"/>
                      </a:lnTo>
                      <a:lnTo>
                        <a:pt x="775" y="225"/>
                      </a:lnTo>
                      <a:lnTo>
                        <a:pt x="777" y="223"/>
                      </a:lnTo>
                      <a:lnTo>
                        <a:pt x="780" y="223"/>
                      </a:lnTo>
                      <a:lnTo>
                        <a:pt x="780" y="222"/>
                      </a:lnTo>
                      <a:lnTo>
                        <a:pt x="782" y="220"/>
                      </a:lnTo>
                      <a:lnTo>
                        <a:pt x="784" y="218"/>
                      </a:lnTo>
                      <a:lnTo>
                        <a:pt x="785" y="218"/>
                      </a:lnTo>
                      <a:lnTo>
                        <a:pt x="785" y="217"/>
                      </a:lnTo>
                      <a:lnTo>
                        <a:pt x="787" y="217"/>
                      </a:lnTo>
                      <a:lnTo>
                        <a:pt x="787" y="215"/>
                      </a:lnTo>
                      <a:lnTo>
                        <a:pt x="789" y="213"/>
                      </a:lnTo>
                      <a:lnTo>
                        <a:pt x="792" y="210"/>
                      </a:lnTo>
                      <a:lnTo>
                        <a:pt x="792" y="209"/>
                      </a:lnTo>
                      <a:lnTo>
                        <a:pt x="794" y="207"/>
                      </a:lnTo>
                      <a:lnTo>
                        <a:pt x="794" y="205"/>
                      </a:lnTo>
                      <a:lnTo>
                        <a:pt x="796" y="202"/>
                      </a:lnTo>
                      <a:lnTo>
                        <a:pt x="796" y="200"/>
                      </a:lnTo>
                      <a:lnTo>
                        <a:pt x="797" y="199"/>
                      </a:lnTo>
                      <a:lnTo>
                        <a:pt x="797" y="197"/>
                      </a:lnTo>
                      <a:lnTo>
                        <a:pt x="799" y="194"/>
                      </a:lnTo>
                      <a:lnTo>
                        <a:pt x="799" y="192"/>
                      </a:lnTo>
                      <a:lnTo>
                        <a:pt x="801" y="190"/>
                      </a:lnTo>
                      <a:lnTo>
                        <a:pt x="801" y="187"/>
                      </a:lnTo>
                      <a:lnTo>
                        <a:pt x="802" y="186"/>
                      </a:lnTo>
                      <a:lnTo>
                        <a:pt x="802" y="184"/>
                      </a:lnTo>
                      <a:lnTo>
                        <a:pt x="804" y="182"/>
                      </a:lnTo>
                      <a:lnTo>
                        <a:pt x="806" y="182"/>
                      </a:lnTo>
                      <a:lnTo>
                        <a:pt x="807" y="181"/>
                      </a:lnTo>
                      <a:lnTo>
                        <a:pt x="811" y="177"/>
                      </a:lnTo>
                      <a:lnTo>
                        <a:pt x="812" y="177"/>
                      </a:lnTo>
                      <a:lnTo>
                        <a:pt x="814" y="177"/>
                      </a:lnTo>
                      <a:lnTo>
                        <a:pt x="819" y="176"/>
                      </a:lnTo>
                      <a:lnTo>
                        <a:pt x="826" y="174"/>
                      </a:lnTo>
                      <a:lnTo>
                        <a:pt x="829" y="174"/>
                      </a:lnTo>
                      <a:lnTo>
                        <a:pt x="831" y="174"/>
                      </a:lnTo>
                      <a:lnTo>
                        <a:pt x="833" y="174"/>
                      </a:lnTo>
                      <a:lnTo>
                        <a:pt x="834" y="174"/>
                      </a:lnTo>
                      <a:lnTo>
                        <a:pt x="836" y="174"/>
                      </a:lnTo>
                      <a:lnTo>
                        <a:pt x="836" y="179"/>
                      </a:lnTo>
                      <a:lnTo>
                        <a:pt x="838" y="181"/>
                      </a:lnTo>
                      <a:lnTo>
                        <a:pt x="838" y="182"/>
                      </a:lnTo>
                      <a:lnTo>
                        <a:pt x="839" y="182"/>
                      </a:lnTo>
                      <a:lnTo>
                        <a:pt x="839" y="186"/>
                      </a:lnTo>
                      <a:lnTo>
                        <a:pt x="841" y="186"/>
                      </a:lnTo>
                      <a:lnTo>
                        <a:pt x="841" y="189"/>
                      </a:lnTo>
                      <a:lnTo>
                        <a:pt x="841" y="190"/>
                      </a:lnTo>
                      <a:lnTo>
                        <a:pt x="841" y="192"/>
                      </a:lnTo>
                      <a:lnTo>
                        <a:pt x="839" y="194"/>
                      </a:lnTo>
                      <a:lnTo>
                        <a:pt x="839" y="205"/>
                      </a:lnTo>
                      <a:lnTo>
                        <a:pt x="839" y="207"/>
                      </a:lnTo>
                      <a:lnTo>
                        <a:pt x="838" y="209"/>
                      </a:lnTo>
                      <a:lnTo>
                        <a:pt x="839" y="209"/>
                      </a:lnTo>
                      <a:lnTo>
                        <a:pt x="841" y="209"/>
                      </a:lnTo>
                      <a:lnTo>
                        <a:pt x="843" y="209"/>
                      </a:lnTo>
                      <a:lnTo>
                        <a:pt x="845" y="209"/>
                      </a:lnTo>
                      <a:lnTo>
                        <a:pt x="846" y="209"/>
                      </a:lnTo>
                      <a:lnTo>
                        <a:pt x="846" y="210"/>
                      </a:lnTo>
                      <a:lnTo>
                        <a:pt x="848" y="210"/>
                      </a:lnTo>
                      <a:lnTo>
                        <a:pt x="848" y="209"/>
                      </a:lnTo>
                      <a:lnTo>
                        <a:pt x="850" y="209"/>
                      </a:lnTo>
                      <a:lnTo>
                        <a:pt x="850" y="210"/>
                      </a:lnTo>
                      <a:lnTo>
                        <a:pt x="851" y="209"/>
                      </a:lnTo>
                      <a:lnTo>
                        <a:pt x="851" y="210"/>
                      </a:lnTo>
                      <a:lnTo>
                        <a:pt x="853" y="210"/>
                      </a:lnTo>
                      <a:lnTo>
                        <a:pt x="855" y="210"/>
                      </a:lnTo>
                      <a:lnTo>
                        <a:pt x="856" y="209"/>
                      </a:lnTo>
                      <a:lnTo>
                        <a:pt x="858" y="209"/>
                      </a:lnTo>
                      <a:lnTo>
                        <a:pt x="860" y="209"/>
                      </a:lnTo>
                      <a:lnTo>
                        <a:pt x="860" y="207"/>
                      </a:lnTo>
                      <a:lnTo>
                        <a:pt x="860" y="209"/>
                      </a:lnTo>
                      <a:lnTo>
                        <a:pt x="861" y="209"/>
                      </a:lnTo>
                      <a:lnTo>
                        <a:pt x="863" y="209"/>
                      </a:lnTo>
                      <a:lnTo>
                        <a:pt x="865" y="209"/>
                      </a:lnTo>
                      <a:lnTo>
                        <a:pt x="866" y="207"/>
                      </a:lnTo>
                      <a:lnTo>
                        <a:pt x="868" y="209"/>
                      </a:lnTo>
                      <a:lnTo>
                        <a:pt x="870" y="209"/>
                      </a:lnTo>
                      <a:lnTo>
                        <a:pt x="868" y="209"/>
                      </a:lnTo>
                      <a:lnTo>
                        <a:pt x="868" y="207"/>
                      </a:lnTo>
                      <a:lnTo>
                        <a:pt x="870" y="207"/>
                      </a:lnTo>
                      <a:lnTo>
                        <a:pt x="872" y="207"/>
                      </a:lnTo>
                      <a:lnTo>
                        <a:pt x="872" y="205"/>
                      </a:lnTo>
                      <a:lnTo>
                        <a:pt x="873" y="205"/>
                      </a:lnTo>
                      <a:lnTo>
                        <a:pt x="875" y="205"/>
                      </a:lnTo>
                      <a:lnTo>
                        <a:pt x="877" y="207"/>
                      </a:lnTo>
                      <a:lnTo>
                        <a:pt x="878" y="207"/>
                      </a:lnTo>
                      <a:lnTo>
                        <a:pt x="878" y="209"/>
                      </a:lnTo>
                      <a:lnTo>
                        <a:pt x="880" y="209"/>
                      </a:lnTo>
                      <a:lnTo>
                        <a:pt x="880" y="210"/>
                      </a:lnTo>
                      <a:lnTo>
                        <a:pt x="882" y="210"/>
                      </a:lnTo>
                      <a:lnTo>
                        <a:pt x="882" y="212"/>
                      </a:lnTo>
                      <a:lnTo>
                        <a:pt x="882" y="213"/>
                      </a:lnTo>
                      <a:lnTo>
                        <a:pt x="882" y="215"/>
                      </a:lnTo>
                      <a:lnTo>
                        <a:pt x="883" y="215"/>
                      </a:lnTo>
                      <a:lnTo>
                        <a:pt x="883" y="217"/>
                      </a:lnTo>
                      <a:lnTo>
                        <a:pt x="885" y="220"/>
                      </a:lnTo>
                      <a:lnTo>
                        <a:pt x="887" y="222"/>
                      </a:lnTo>
                      <a:lnTo>
                        <a:pt x="888" y="223"/>
                      </a:lnTo>
                      <a:lnTo>
                        <a:pt x="890" y="227"/>
                      </a:lnTo>
                      <a:lnTo>
                        <a:pt x="892" y="228"/>
                      </a:lnTo>
                      <a:lnTo>
                        <a:pt x="894" y="230"/>
                      </a:lnTo>
                      <a:lnTo>
                        <a:pt x="894" y="232"/>
                      </a:lnTo>
                      <a:lnTo>
                        <a:pt x="895" y="232"/>
                      </a:lnTo>
                      <a:lnTo>
                        <a:pt x="895" y="233"/>
                      </a:lnTo>
                      <a:lnTo>
                        <a:pt x="897" y="233"/>
                      </a:lnTo>
                      <a:lnTo>
                        <a:pt x="899" y="233"/>
                      </a:lnTo>
                      <a:lnTo>
                        <a:pt x="900" y="235"/>
                      </a:lnTo>
                      <a:lnTo>
                        <a:pt x="902" y="235"/>
                      </a:lnTo>
                      <a:lnTo>
                        <a:pt x="902" y="236"/>
                      </a:lnTo>
                      <a:lnTo>
                        <a:pt x="902" y="238"/>
                      </a:lnTo>
                      <a:lnTo>
                        <a:pt x="904" y="238"/>
                      </a:lnTo>
                      <a:lnTo>
                        <a:pt x="904" y="240"/>
                      </a:lnTo>
                      <a:lnTo>
                        <a:pt x="937" y="255"/>
                      </a:lnTo>
                      <a:lnTo>
                        <a:pt x="939" y="255"/>
                      </a:lnTo>
                      <a:lnTo>
                        <a:pt x="939" y="256"/>
                      </a:lnTo>
                      <a:lnTo>
                        <a:pt x="941" y="256"/>
                      </a:lnTo>
                      <a:lnTo>
                        <a:pt x="941" y="258"/>
                      </a:lnTo>
                      <a:lnTo>
                        <a:pt x="942" y="258"/>
                      </a:lnTo>
                      <a:lnTo>
                        <a:pt x="944" y="258"/>
                      </a:lnTo>
                      <a:lnTo>
                        <a:pt x="946" y="259"/>
                      </a:lnTo>
                      <a:lnTo>
                        <a:pt x="948" y="259"/>
                      </a:lnTo>
                      <a:lnTo>
                        <a:pt x="948" y="261"/>
                      </a:lnTo>
                      <a:lnTo>
                        <a:pt x="948" y="259"/>
                      </a:lnTo>
                      <a:lnTo>
                        <a:pt x="949" y="259"/>
                      </a:lnTo>
                      <a:lnTo>
                        <a:pt x="951" y="259"/>
                      </a:lnTo>
                      <a:lnTo>
                        <a:pt x="953" y="259"/>
                      </a:lnTo>
                      <a:lnTo>
                        <a:pt x="954" y="259"/>
                      </a:lnTo>
                      <a:lnTo>
                        <a:pt x="956" y="259"/>
                      </a:lnTo>
                      <a:lnTo>
                        <a:pt x="958" y="259"/>
                      </a:lnTo>
                      <a:lnTo>
                        <a:pt x="959" y="259"/>
                      </a:lnTo>
                      <a:lnTo>
                        <a:pt x="961" y="261"/>
                      </a:lnTo>
                      <a:lnTo>
                        <a:pt x="963" y="263"/>
                      </a:lnTo>
                      <a:lnTo>
                        <a:pt x="964" y="263"/>
                      </a:lnTo>
                      <a:lnTo>
                        <a:pt x="966" y="263"/>
                      </a:lnTo>
                      <a:lnTo>
                        <a:pt x="968" y="263"/>
                      </a:lnTo>
                      <a:lnTo>
                        <a:pt x="970" y="263"/>
                      </a:lnTo>
                      <a:lnTo>
                        <a:pt x="971" y="261"/>
                      </a:lnTo>
                      <a:lnTo>
                        <a:pt x="973" y="261"/>
                      </a:lnTo>
                      <a:lnTo>
                        <a:pt x="975" y="261"/>
                      </a:lnTo>
                      <a:lnTo>
                        <a:pt x="976" y="261"/>
                      </a:lnTo>
                      <a:lnTo>
                        <a:pt x="976" y="259"/>
                      </a:lnTo>
                      <a:lnTo>
                        <a:pt x="978" y="261"/>
                      </a:lnTo>
                      <a:lnTo>
                        <a:pt x="980" y="261"/>
                      </a:lnTo>
                      <a:lnTo>
                        <a:pt x="981" y="261"/>
                      </a:lnTo>
                      <a:lnTo>
                        <a:pt x="983" y="261"/>
                      </a:lnTo>
                      <a:lnTo>
                        <a:pt x="985" y="261"/>
                      </a:lnTo>
                      <a:lnTo>
                        <a:pt x="986" y="261"/>
                      </a:lnTo>
                      <a:lnTo>
                        <a:pt x="988" y="261"/>
                      </a:lnTo>
                      <a:lnTo>
                        <a:pt x="990" y="261"/>
                      </a:lnTo>
                      <a:lnTo>
                        <a:pt x="991" y="261"/>
                      </a:lnTo>
                      <a:lnTo>
                        <a:pt x="993" y="263"/>
                      </a:lnTo>
                      <a:lnTo>
                        <a:pt x="995" y="263"/>
                      </a:lnTo>
                      <a:lnTo>
                        <a:pt x="997" y="264"/>
                      </a:lnTo>
                      <a:lnTo>
                        <a:pt x="997" y="266"/>
                      </a:lnTo>
                      <a:lnTo>
                        <a:pt x="998" y="266"/>
                      </a:lnTo>
                      <a:lnTo>
                        <a:pt x="997" y="269"/>
                      </a:lnTo>
                      <a:lnTo>
                        <a:pt x="997" y="271"/>
                      </a:lnTo>
                      <a:lnTo>
                        <a:pt x="997" y="273"/>
                      </a:lnTo>
                      <a:lnTo>
                        <a:pt x="997" y="274"/>
                      </a:lnTo>
                      <a:lnTo>
                        <a:pt x="995" y="274"/>
                      </a:lnTo>
                      <a:lnTo>
                        <a:pt x="993" y="276"/>
                      </a:lnTo>
                      <a:lnTo>
                        <a:pt x="991" y="278"/>
                      </a:lnTo>
                      <a:lnTo>
                        <a:pt x="991" y="279"/>
                      </a:lnTo>
                      <a:lnTo>
                        <a:pt x="991" y="281"/>
                      </a:lnTo>
                      <a:lnTo>
                        <a:pt x="990" y="282"/>
                      </a:lnTo>
                      <a:lnTo>
                        <a:pt x="990" y="286"/>
                      </a:lnTo>
                      <a:lnTo>
                        <a:pt x="1012" y="292"/>
                      </a:lnTo>
                      <a:lnTo>
                        <a:pt x="1034" y="301"/>
                      </a:lnTo>
                      <a:lnTo>
                        <a:pt x="1034" y="302"/>
                      </a:lnTo>
                      <a:lnTo>
                        <a:pt x="1034" y="304"/>
                      </a:lnTo>
                      <a:lnTo>
                        <a:pt x="1035" y="304"/>
                      </a:lnTo>
                      <a:lnTo>
                        <a:pt x="1035" y="302"/>
                      </a:lnTo>
                      <a:lnTo>
                        <a:pt x="1037" y="301"/>
                      </a:lnTo>
                      <a:lnTo>
                        <a:pt x="1037" y="299"/>
                      </a:lnTo>
                      <a:lnTo>
                        <a:pt x="1037" y="297"/>
                      </a:lnTo>
                      <a:lnTo>
                        <a:pt x="1039" y="297"/>
                      </a:lnTo>
                      <a:lnTo>
                        <a:pt x="1040" y="297"/>
                      </a:lnTo>
                      <a:lnTo>
                        <a:pt x="1040" y="296"/>
                      </a:lnTo>
                      <a:lnTo>
                        <a:pt x="1040" y="297"/>
                      </a:lnTo>
                      <a:lnTo>
                        <a:pt x="1042" y="297"/>
                      </a:lnTo>
                      <a:lnTo>
                        <a:pt x="1042" y="296"/>
                      </a:lnTo>
                      <a:lnTo>
                        <a:pt x="1042" y="294"/>
                      </a:lnTo>
                      <a:lnTo>
                        <a:pt x="1044" y="294"/>
                      </a:lnTo>
                      <a:lnTo>
                        <a:pt x="1042" y="294"/>
                      </a:lnTo>
                      <a:lnTo>
                        <a:pt x="1042" y="292"/>
                      </a:lnTo>
                      <a:lnTo>
                        <a:pt x="1044" y="292"/>
                      </a:lnTo>
                      <a:lnTo>
                        <a:pt x="1044" y="291"/>
                      </a:lnTo>
                      <a:lnTo>
                        <a:pt x="1042" y="292"/>
                      </a:lnTo>
                      <a:lnTo>
                        <a:pt x="1042" y="291"/>
                      </a:lnTo>
                      <a:lnTo>
                        <a:pt x="1044" y="291"/>
                      </a:lnTo>
                      <a:lnTo>
                        <a:pt x="1044" y="289"/>
                      </a:lnTo>
                      <a:lnTo>
                        <a:pt x="1046" y="291"/>
                      </a:lnTo>
                      <a:lnTo>
                        <a:pt x="1047" y="291"/>
                      </a:lnTo>
                      <a:lnTo>
                        <a:pt x="1047" y="292"/>
                      </a:lnTo>
                      <a:lnTo>
                        <a:pt x="1049" y="292"/>
                      </a:lnTo>
                      <a:lnTo>
                        <a:pt x="1049" y="294"/>
                      </a:lnTo>
                      <a:lnTo>
                        <a:pt x="1049" y="296"/>
                      </a:lnTo>
                      <a:lnTo>
                        <a:pt x="1049" y="297"/>
                      </a:lnTo>
                      <a:lnTo>
                        <a:pt x="1047" y="297"/>
                      </a:lnTo>
                      <a:lnTo>
                        <a:pt x="1047" y="299"/>
                      </a:lnTo>
                      <a:lnTo>
                        <a:pt x="1047" y="301"/>
                      </a:lnTo>
                      <a:lnTo>
                        <a:pt x="1046" y="302"/>
                      </a:lnTo>
                      <a:lnTo>
                        <a:pt x="1047" y="302"/>
                      </a:lnTo>
                      <a:lnTo>
                        <a:pt x="1047" y="301"/>
                      </a:lnTo>
                      <a:lnTo>
                        <a:pt x="1049" y="301"/>
                      </a:lnTo>
                      <a:lnTo>
                        <a:pt x="1049" y="302"/>
                      </a:lnTo>
                      <a:lnTo>
                        <a:pt x="1051" y="301"/>
                      </a:lnTo>
                      <a:lnTo>
                        <a:pt x="1051" y="299"/>
                      </a:lnTo>
                      <a:lnTo>
                        <a:pt x="1051" y="297"/>
                      </a:lnTo>
                      <a:lnTo>
                        <a:pt x="1051" y="299"/>
                      </a:lnTo>
                      <a:lnTo>
                        <a:pt x="1051" y="297"/>
                      </a:lnTo>
                      <a:lnTo>
                        <a:pt x="1051" y="296"/>
                      </a:lnTo>
                      <a:lnTo>
                        <a:pt x="1051" y="294"/>
                      </a:lnTo>
                      <a:lnTo>
                        <a:pt x="1052" y="294"/>
                      </a:lnTo>
                      <a:lnTo>
                        <a:pt x="1051" y="294"/>
                      </a:lnTo>
                      <a:lnTo>
                        <a:pt x="1052" y="292"/>
                      </a:lnTo>
                      <a:lnTo>
                        <a:pt x="1052" y="291"/>
                      </a:lnTo>
                      <a:lnTo>
                        <a:pt x="1051" y="291"/>
                      </a:lnTo>
                      <a:lnTo>
                        <a:pt x="1052" y="291"/>
                      </a:lnTo>
                      <a:lnTo>
                        <a:pt x="1052" y="289"/>
                      </a:lnTo>
                      <a:lnTo>
                        <a:pt x="1054" y="291"/>
                      </a:lnTo>
                      <a:lnTo>
                        <a:pt x="1054" y="292"/>
                      </a:lnTo>
                      <a:lnTo>
                        <a:pt x="1052" y="292"/>
                      </a:lnTo>
                      <a:lnTo>
                        <a:pt x="1052" y="294"/>
                      </a:lnTo>
                      <a:lnTo>
                        <a:pt x="1054" y="292"/>
                      </a:lnTo>
                      <a:lnTo>
                        <a:pt x="1056" y="292"/>
                      </a:lnTo>
                      <a:lnTo>
                        <a:pt x="1056" y="294"/>
                      </a:lnTo>
                      <a:lnTo>
                        <a:pt x="1056" y="296"/>
                      </a:lnTo>
                      <a:lnTo>
                        <a:pt x="1056" y="297"/>
                      </a:lnTo>
                      <a:lnTo>
                        <a:pt x="1057" y="297"/>
                      </a:lnTo>
                      <a:lnTo>
                        <a:pt x="1057" y="296"/>
                      </a:lnTo>
                      <a:lnTo>
                        <a:pt x="1057" y="294"/>
                      </a:lnTo>
                      <a:lnTo>
                        <a:pt x="1057" y="292"/>
                      </a:lnTo>
                      <a:lnTo>
                        <a:pt x="1056" y="291"/>
                      </a:lnTo>
                      <a:lnTo>
                        <a:pt x="1057" y="291"/>
                      </a:lnTo>
                      <a:lnTo>
                        <a:pt x="1059" y="291"/>
                      </a:lnTo>
                      <a:lnTo>
                        <a:pt x="1059" y="289"/>
                      </a:lnTo>
                      <a:lnTo>
                        <a:pt x="1061" y="289"/>
                      </a:lnTo>
                      <a:lnTo>
                        <a:pt x="1062" y="289"/>
                      </a:lnTo>
                      <a:lnTo>
                        <a:pt x="1062" y="291"/>
                      </a:lnTo>
                      <a:lnTo>
                        <a:pt x="1062" y="292"/>
                      </a:lnTo>
                      <a:lnTo>
                        <a:pt x="1062" y="294"/>
                      </a:lnTo>
                      <a:lnTo>
                        <a:pt x="1064" y="294"/>
                      </a:lnTo>
                      <a:lnTo>
                        <a:pt x="1066" y="292"/>
                      </a:lnTo>
                      <a:lnTo>
                        <a:pt x="1067" y="292"/>
                      </a:lnTo>
                      <a:lnTo>
                        <a:pt x="1067" y="294"/>
                      </a:lnTo>
                      <a:lnTo>
                        <a:pt x="1069" y="294"/>
                      </a:lnTo>
                      <a:lnTo>
                        <a:pt x="1069" y="296"/>
                      </a:lnTo>
                      <a:lnTo>
                        <a:pt x="1069" y="297"/>
                      </a:lnTo>
                      <a:lnTo>
                        <a:pt x="1069" y="299"/>
                      </a:lnTo>
                      <a:lnTo>
                        <a:pt x="1067" y="299"/>
                      </a:lnTo>
                      <a:lnTo>
                        <a:pt x="1069" y="301"/>
                      </a:lnTo>
                      <a:lnTo>
                        <a:pt x="1067" y="302"/>
                      </a:lnTo>
                      <a:lnTo>
                        <a:pt x="1069" y="302"/>
                      </a:lnTo>
                      <a:lnTo>
                        <a:pt x="1069" y="304"/>
                      </a:lnTo>
                      <a:lnTo>
                        <a:pt x="1071" y="304"/>
                      </a:lnTo>
                      <a:lnTo>
                        <a:pt x="1071" y="302"/>
                      </a:lnTo>
                      <a:lnTo>
                        <a:pt x="1073" y="301"/>
                      </a:lnTo>
                      <a:lnTo>
                        <a:pt x="1073" y="299"/>
                      </a:lnTo>
                      <a:lnTo>
                        <a:pt x="1074" y="299"/>
                      </a:lnTo>
                      <a:lnTo>
                        <a:pt x="1074" y="297"/>
                      </a:lnTo>
                      <a:lnTo>
                        <a:pt x="1074" y="296"/>
                      </a:lnTo>
                      <a:lnTo>
                        <a:pt x="1073" y="294"/>
                      </a:lnTo>
                      <a:lnTo>
                        <a:pt x="1074" y="294"/>
                      </a:lnTo>
                      <a:lnTo>
                        <a:pt x="1074" y="292"/>
                      </a:lnTo>
                      <a:lnTo>
                        <a:pt x="1076" y="294"/>
                      </a:lnTo>
                      <a:lnTo>
                        <a:pt x="1078" y="294"/>
                      </a:lnTo>
                      <a:lnTo>
                        <a:pt x="1078" y="296"/>
                      </a:lnTo>
                      <a:lnTo>
                        <a:pt x="1078" y="297"/>
                      </a:lnTo>
                      <a:lnTo>
                        <a:pt x="1078" y="299"/>
                      </a:lnTo>
                      <a:lnTo>
                        <a:pt x="1079" y="299"/>
                      </a:lnTo>
                      <a:lnTo>
                        <a:pt x="1079" y="301"/>
                      </a:lnTo>
                      <a:lnTo>
                        <a:pt x="1079" y="302"/>
                      </a:lnTo>
                      <a:lnTo>
                        <a:pt x="1081" y="302"/>
                      </a:lnTo>
                      <a:lnTo>
                        <a:pt x="1081" y="304"/>
                      </a:lnTo>
                      <a:lnTo>
                        <a:pt x="1081" y="305"/>
                      </a:lnTo>
                      <a:lnTo>
                        <a:pt x="1083" y="305"/>
                      </a:lnTo>
                      <a:lnTo>
                        <a:pt x="1083" y="307"/>
                      </a:lnTo>
                      <a:lnTo>
                        <a:pt x="1083" y="309"/>
                      </a:lnTo>
                      <a:lnTo>
                        <a:pt x="1083" y="310"/>
                      </a:lnTo>
                      <a:lnTo>
                        <a:pt x="1083" y="309"/>
                      </a:lnTo>
                      <a:lnTo>
                        <a:pt x="1084" y="310"/>
                      </a:lnTo>
                      <a:lnTo>
                        <a:pt x="1084" y="309"/>
                      </a:lnTo>
                      <a:lnTo>
                        <a:pt x="1084" y="307"/>
                      </a:lnTo>
                      <a:lnTo>
                        <a:pt x="1084" y="304"/>
                      </a:lnTo>
                      <a:lnTo>
                        <a:pt x="1084" y="302"/>
                      </a:lnTo>
                      <a:lnTo>
                        <a:pt x="1084" y="301"/>
                      </a:lnTo>
                      <a:lnTo>
                        <a:pt x="1083" y="301"/>
                      </a:lnTo>
                      <a:lnTo>
                        <a:pt x="1084" y="299"/>
                      </a:lnTo>
                      <a:lnTo>
                        <a:pt x="1084" y="297"/>
                      </a:lnTo>
                      <a:lnTo>
                        <a:pt x="1083" y="297"/>
                      </a:lnTo>
                      <a:lnTo>
                        <a:pt x="1083" y="296"/>
                      </a:lnTo>
                      <a:lnTo>
                        <a:pt x="1084" y="296"/>
                      </a:lnTo>
                      <a:lnTo>
                        <a:pt x="1084" y="294"/>
                      </a:lnTo>
                      <a:lnTo>
                        <a:pt x="1086" y="294"/>
                      </a:lnTo>
                      <a:lnTo>
                        <a:pt x="1088" y="294"/>
                      </a:lnTo>
                      <a:lnTo>
                        <a:pt x="1089" y="294"/>
                      </a:lnTo>
                      <a:lnTo>
                        <a:pt x="1089" y="296"/>
                      </a:lnTo>
                      <a:lnTo>
                        <a:pt x="1089" y="297"/>
                      </a:lnTo>
                      <a:lnTo>
                        <a:pt x="1088" y="299"/>
                      </a:lnTo>
                      <a:lnTo>
                        <a:pt x="1089" y="299"/>
                      </a:lnTo>
                      <a:lnTo>
                        <a:pt x="1091" y="299"/>
                      </a:lnTo>
                      <a:lnTo>
                        <a:pt x="1091" y="297"/>
                      </a:lnTo>
                      <a:lnTo>
                        <a:pt x="1093" y="297"/>
                      </a:lnTo>
                      <a:lnTo>
                        <a:pt x="1094" y="297"/>
                      </a:lnTo>
                      <a:lnTo>
                        <a:pt x="1093" y="296"/>
                      </a:lnTo>
                      <a:lnTo>
                        <a:pt x="1094" y="296"/>
                      </a:lnTo>
                      <a:lnTo>
                        <a:pt x="1096" y="296"/>
                      </a:lnTo>
                      <a:lnTo>
                        <a:pt x="1096" y="294"/>
                      </a:lnTo>
                      <a:lnTo>
                        <a:pt x="1098" y="294"/>
                      </a:lnTo>
                      <a:lnTo>
                        <a:pt x="1100" y="294"/>
                      </a:lnTo>
                      <a:lnTo>
                        <a:pt x="1101" y="294"/>
                      </a:lnTo>
                      <a:lnTo>
                        <a:pt x="1101" y="296"/>
                      </a:lnTo>
                      <a:lnTo>
                        <a:pt x="1101" y="297"/>
                      </a:lnTo>
                      <a:lnTo>
                        <a:pt x="1101" y="299"/>
                      </a:lnTo>
                      <a:lnTo>
                        <a:pt x="1103" y="299"/>
                      </a:lnTo>
                      <a:lnTo>
                        <a:pt x="1105" y="299"/>
                      </a:lnTo>
                      <a:lnTo>
                        <a:pt x="1103" y="297"/>
                      </a:lnTo>
                      <a:lnTo>
                        <a:pt x="1105" y="297"/>
                      </a:lnTo>
                      <a:lnTo>
                        <a:pt x="1106" y="297"/>
                      </a:lnTo>
                      <a:lnTo>
                        <a:pt x="1108" y="297"/>
                      </a:lnTo>
                      <a:lnTo>
                        <a:pt x="1108" y="299"/>
                      </a:lnTo>
                      <a:lnTo>
                        <a:pt x="1110" y="299"/>
                      </a:lnTo>
                      <a:lnTo>
                        <a:pt x="1110" y="301"/>
                      </a:lnTo>
                      <a:lnTo>
                        <a:pt x="1110" y="302"/>
                      </a:lnTo>
                      <a:lnTo>
                        <a:pt x="1108" y="302"/>
                      </a:lnTo>
                      <a:lnTo>
                        <a:pt x="1106" y="302"/>
                      </a:lnTo>
                      <a:lnTo>
                        <a:pt x="1105" y="304"/>
                      </a:lnTo>
                      <a:lnTo>
                        <a:pt x="1106" y="304"/>
                      </a:lnTo>
                      <a:lnTo>
                        <a:pt x="1108" y="304"/>
                      </a:lnTo>
                      <a:lnTo>
                        <a:pt x="1108" y="302"/>
                      </a:lnTo>
                      <a:lnTo>
                        <a:pt x="1110" y="302"/>
                      </a:lnTo>
                      <a:lnTo>
                        <a:pt x="1110" y="304"/>
                      </a:lnTo>
                      <a:lnTo>
                        <a:pt x="1110" y="302"/>
                      </a:lnTo>
                      <a:lnTo>
                        <a:pt x="1111" y="301"/>
                      </a:lnTo>
                      <a:lnTo>
                        <a:pt x="1113" y="301"/>
                      </a:lnTo>
                      <a:lnTo>
                        <a:pt x="1113" y="302"/>
                      </a:lnTo>
                      <a:lnTo>
                        <a:pt x="1113" y="304"/>
                      </a:lnTo>
                      <a:lnTo>
                        <a:pt x="1113" y="305"/>
                      </a:lnTo>
                      <a:lnTo>
                        <a:pt x="1113" y="307"/>
                      </a:lnTo>
                      <a:lnTo>
                        <a:pt x="1111" y="307"/>
                      </a:lnTo>
                      <a:lnTo>
                        <a:pt x="1111" y="309"/>
                      </a:lnTo>
                      <a:lnTo>
                        <a:pt x="1113" y="309"/>
                      </a:lnTo>
                      <a:lnTo>
                        <a:pt x="1113" y="310"/>
                      </a:lnTo>
                      <a:lnTo>
                        <a:pt x="1113" y="309"/>
                      </a:lnTo>
                      <a:lnTo>
                        <a:pt x="1113" y="310"/>
                      </a:lnTo>
                      <a:lnTo>
                        <a:pt x="1113" y="309"/>
                      </a:lnTo>
                      <a:lnTo>
                        <a:pt x="1113" y="307"/>
                      </a:lnTo>
                      <a:lnTo>
                        <a:pt x="1113" y="305"/>
                      </a:lnTo>
                      <a:lnTo>
                        <a:pt x="1115" y="305"/>
                      </a:lnTo>
                      <a:lnTo>
                        <a:pt x="1115" y="307"/>
                      </a:lnTo>
                      <a:lnTo>
                        <a:pt x="1115" y="305"/>
                      </a:lnTo>
                      <a:lnTo>
                        <a:pt x="1115" y="304"/>
                      </a:lnTo>
                      <a:lnTo>
                        <a:pt x="1116" y="304"/>
                      </a:lnTo>
                      <a:lnTo>
                        <a:pt x="1115" y="304"/>
                      </a:lnTo>
                      <a:lnTo>
                        <a:pt x="1115" y="302"/>
                      </a:lnTo>
                      <a:lnTo>
                        <a:pt x="1116" y="302"/>
                      </a:lnTo>
                      <a:lnTo>
                        <a:pt x="1118" y="302"/>
                      </a:lnTo>
                      <a:lnTo>
                        <a:pt x="1118" y="301"/>
                      </a:lnTo>
                      <a:lnTo>
                        <a:pt x="1120" y="301"/>
                      </a:lnTo>
                      <a:lnTo>
                        <a:pt x="1120" y="302"/>
                      </a:lnTo>
                      <a:lnTo>
                        <a:pt x="1122" y="302"/>
                      </a:lnTo>
                      <a:lnTo>
                        <a:pt x="1122" y="304"/>
                      </a:lnTo>
                      <a:lnTo>
                        <a:pt x="1120" y="304"/>
                      </a:lnTo>
                      <a:lnTo>
                        <a:pt x="1120" y="305"/>
                      </a:lnTo>
                      <a:lnTo>
                        <a:pt x="1122" y="305"/>
                      </a:lnTo>
                      <a:lnTo>
                        <a:pt x="1122" y="307"/>
                      </a:lnTo>
                      <a:lnTo>
                        <a:pt x="1120" y="309"/>
                      </a:lnTo>
                      <a:lnTo>
                        <a:pt x="1122" y="307"/>
                      </a:lnTo>
                      <a:lnTo>
                        <a:pt x="1122" y="309"/>
                      </a:lnTo>
                      <a:lnTo>
                        <a:pt x="1122" y="310"/>
                      </a:lnTo>
                      <a:lnTo>
                        <a:pt x="1123" y="310"/>
                      </a:lnTo>
                      <a:lnTo>
                        <a:pt x="1122" y="310"/>
                      </a:lnTo>
                      <a:lnTo>
                        <a:pt x="1123" y="310"/>
                      </a:lnTo>
                      <a:lnTo>
                        <a:pt x="1123" y="309"/>
                      </a:lnTo>
                      <a:lnTo>
                        <a:pt x="1123" y="307"/>
                      </a:lnTo>
                      <a:lnTo>
                        <a:pt x="1123" y="304"/>
                      </a:lnTo>
                      <a:lnTo>
                        <a:pt x="1123" y="305"/>
                      </a:lnTo>
                      <a:lnTo>
                        <a:pt x="1123" y="307"/>
                      </a:lnTo>
                      <a:lnTo>
                        <a:pt x="1123" y="309"/>
                      </a:lnTo>
                      <a:lnTo>
                        <a:pt x="1123" y="310"/>
                      </a:lnTo>
                      <a:lnTo>
                        <a:pt x="1123" y="312"/>
                      </a:lnTo>
                      <a:lnTo>
                        <a:pt x="1123" y="314"/>
                      </a:lnTo>
                      <a:lnTo>
                        <a:pt x="1123" y="312"/>
                      </a:lnTo>
                      <a:lnTo>
                        <a:pt x="1125" y="312"/>
                      </a:lnTo>
                      <a:lnTo>
                        <a:pt x="1125" y="314"/>
                      </a:lnTo>
                      <a:lnTo>
                        <a:pt x="1127" y="314"/>
                      </a:lnTo>
                      <a:lnTo>
                        <a:pt x="1125" y="312"/>
                      </a:lnTo>
                      <a:lnTo>
                        <a:pt x="1123" y="310"/>
                      </a:lnTo>
                      <a:lnTo>
                        <a:pt x="1125" y="310"/>
                      </a:lnTo>
                      <a:lnTo>
                        <a:pt x="1125" y="309"/>
                      </a:lnTo>
                      <a:lnTo>
                        <a:pt x="1125" y="307"/>
                      </a:lnTo>
                      <a:lnTo>
                        <a:pt x="1125" y="305"/>
                      </a:lnTo>
                      <a:lnTo>
                        <a:pt x="1125" y="307"/>
                      </a:lnTo>
                      <a:lnTo>
                        <a:pt x="1127" y="307"/>
                      </a:lnTo>
                      <a:lnTo>
                        <a:pt x="1127" y="305"/>
                      </a:lnTo>
                      <a:lnTo>
                        <a:pt x="1128" y="305"/>
                      </a:lnTo>
                      <a:lnTo>
                        <a:pt x="1130" y="305"/>
                      </a:lnTo>
                      <a:lnTo>
                        <a:pt x="1130" y="304"/>
                      </a:lnTo>
                      <a:lnTo>
                        <a:pt x="1132" y="304"/>
                      </a:lnTo>
                      <a:lnTo>
                        <a:pt x="1133" y="305"/>
                      </a:lnTo>
                      <a:lnTo>
                        <a:pt x="1133" y="307"/>
                      </a:lnTo>
                      <a:lnTo>
                        <a:pt x="1132" y="309"/>
                      </a:lnTo>
                      <a:lnTo>
                        <a:pt x="1132" y="310"/>
                      </a:lnTo>
                      <a:lnTo>
                        <a:pt x="1130" y="310"/>
                      </a:lnTo>
                      <a:lnTo>
                        <a:pt x="1132" y="312"/>
                      </a:lnTo>
                      <a:lnTo>
                        <a:pt x="1132" y="310"/>
                      </a:lnTo>
                      <a:lnTo>
                        <a:pt x="1132" y="312"/>
                      </a:lnTo>
                      <a:lnTo>
                        <a:pt x="1133" y="312"/>
                      </a:lnTo>
                      <a:lnTo>
                        <a:pt x="1132" y="312"/>
                      </a:lnTo>
                      <a:lnTo>
                        <a:pt x="1133" y="312"/>
                      </a:lnTo>
                      <a:lnTo>
                        <a:pt x="1133" y="314"/>
                      </a:lnTo>
                      <a:lnTo>
                        <a:pt x="1133" y="315"/>
                      </a:lnTo>
                      <a:lnTo>
                        <a:pt x="1135" y="317"/>
                      </a:lnTo>
                      <a:lnTo>
                        <a:pt x="1135" y="319"/>
                      </a:lnTo>
                      <a:lnTo>
                        <a:pt x="1133" y="319"/>
                      </a:lnTo>
                      <a:lnTo>
                        <a:pt x="1135" y="319"/>
                      </a:lnTo>
                      <a:lnTo>
                        <a:pt x="1135" y="320"/>
                      </a:lnTo>
                      <a:lnTo>
                        <a:pt x="1137" y="320"/>
                      </a:lnTo>
                      <a:lnTo>
                        <a:pt x="1137" y="319"/>
                      </a:lnTo>
                      <a:lnTo>
                        <a:pt x="1138" y="319"/>
                      </a:lnTo>
                      <a:lnTo>
                        <a:pt x="1137" y="319"/>
                      </a:lnTo>
                      <a:lnTo>
                        <a:pt x="1137" y="317"/>
                      </a:lnTo>
                      <a:lnTo>
                        <a:pt x="1137" y="315"/>
                      </a:lnTo>
                      <a:lnTo>
                        <a:pt x="1137" y="314"/>
                      </a:lnTo>
                      <a:lnTo>
                        <a:pt x="1138" y="314"/>
                      </a:lnTo>
                      <a:lnTo>
                        <a:pt x="1140" y="314"/>
                      </a:lnTo>
                      <a:lnTo>
                        <a:pt x="1140" y="312"/>
                      </a:lnTo>
                      <a:lnTo>
                        <a:pt x="1140" y="310"/>
                      </a:lnTo>
                      <a:lnTo>
                        <a:pt x="1140" y="309"/>
                      </a:lnTo>
                      <a:lnTo>
                        <a:pt x="1142" y="309"/>
                      </a:lnTo>
                      <a:lnTo>
                        <a:pt x="1142" y="310"/>
                      </a:lnTo>
                      <a:lnTo>
                        <a:pt x="1142" y="309"/>
                      </a:lnTo>
                      <a:lnTo>
                        <a:pt x="1143" y="309"/>
                      </a:lnTo>
                      <a:lnTo>
                        <a:pt x="1143" y="307"/>
                      </a:lnTo>
                      <a:lnTo>
                        <a:pt x="1142" y="307"/>
                      </a:lnTo>
                      <a:lnTo>
                        <a:pt x="1143" y="307"/>
                      </a:lnTo>
                      <a:lnTo>
                        <a:pt x="1145" y="309"/>
                      </a:lnTo>
                      <a:lnTo>
                        <a:pt x="1143" y="309"/>
                      </a:lnTo>
                      <a:lnTo>
                        <a:pt x="1143" y="310"/>
                      </a:lnTo>
                      <a:lnTo>
                        <a:pt x="1145" y="310"/>
                      </a:lnTo>
                      <a:lnTo>
                        <a:pt x="1145" y="312"/>
                      </a:lnTo>
                      <a:lnTo>
                        <a:pt x="1143" y="312"/>
                      </a:lnTo>
                      <a:lnTo>
                        <a:pt x="1142" y="312"/>
                      </a:lnTo>
                      <a:lnTo>
                        <a:pt x="1143" y="312"/>
                      </a:lnTo>
                      <a:lnTo>
                        <a:pt x="1145" y="314"/>
                      </a:lnTo>
                      <a:lnTo>
                        <a:pt x="1143" y="314"/>
                      </a:lnTo>
                      <a:lnTo>
                        <a:pt x="1143" y="315"/>
                      </a:lnTo>
                      <a:lnTo>
                        <a:pt x="1142" y="315"/>
                      </a:lnTo>
                      <a:lnTo>
                        <a:pt x="1143" y="315"/>
                      </a:lnTo>
                      <a:lnTo>
                        <a:pt x="1145" y="315"/>
                      </a:lnTo>
                      <a:lnTo>
                        <a:pt x="1143" y="315"/>
                      </a:lnTo>
                      <a:lnTo>
                        <a:pt x="1143" y="317"/>
                      </a:lnTo>
                      <a:lnTo>
                        <a:pt x="1142" y="317"/>
                      </a:lnTo>
                      <a:lnTo>
                        <a:pt x="1143" y="319"/>
                      </a:lnTo>
                      <a:lnTo>
                        <a:pt x="1143" y="317"/>
                      </a:lnTo>
                      <a:lnTo>
                        <a:pt x="1145" y="317"/>
                      </a:lnTo>
                      <a:lnTo>
                        <a:pt x="1145" y="315"/>
                      </a:lnTo>
                      <a:lnTo>
                        <a:pt x="1147" y="315"/>
                      </a:lnTo>
                      <a:lnTo>
                        <a:pt x="1147" y="317"/>
                      </a:lnTo>
                      <a:lnTo>
                        <a:pt x="1147" y="319"/>
                      </a:lnTo>
                      <a:lnTo>
                        <a:pt x="1145" y="320"/>
                      </a:lnTo>
                      <a:lnTo>
                        <a:pt x="1145" y="322"/>
                      </a:lnTo>
                      <a:lnTo>
                        <a:pt x="1145" y="320"/>
                      </a:lnTo>
                      <a:lnTo>
                        <a:pt x="1147" y="320"/>
                      </a:lnTo>
                      <a:lnTo>
                        <a:pt x="1147" y="319"/>
                      </a:lnTo>
                      <a:lnTo>
                        <a:pt x="1149" y="319"/>
                      </a:lnTo>
                      <a:lnTo>
                        <a:pt x="1149" y="320"/>
                      </a:lnTo>
                      <a:lnTo>
                        <a:pt x="1149" y="322"/>
                      </a:lnTo>
                      <a:lnTo>
                        <a:pt x="1149" y="320"/>
                      </a:lnTo>
                      <a:lnTo>
                        <a:pt x="1149" y="319"/>
                      </a:lnTo>
                      <a:lnTo>
                        <a:pt x="1149" y="317"/>
                      </a:lnTo>
                      <a:lnTo>
                        <a:pt x="1149" y="315"/>
                      </a:lnTo>
                      <a:lnTo>
                        <a:pt x="1150" y="315"/>
                      </a:lnTo>
                      <a:lnTo>
                        <a:pt x="1150" y="317"/>
                      </a:lnTo>
                      <a:lnTo>
                        <a:pt x="1152" y="317"/>
                      </a:lnTo>
                      <a:lnTo>
                        <a:pt x="1150" y="317"/>
                      </a:lnTo>
                      <a:lnTo>
                        <a:pt x="1150" y="315"/>
                      </a:lnTo>
                      <a:lnTo>
                        <a:pt x="1150" y="314"/>
                      </a:lnTo>
                      <a:lnTo>
                        <a:pt x="1152" y="315"/>
                      </a:lnTo>
                      <a:lnTo>
                        <a:pt x="1154" y="317"/>
                      </a:lnTo>
                      <a:lnTo>
                        <a:pt x="1154" y="319"/>
                      </a:lnTo>
                      <a:lnTo>
                        <a:pt x="1154" y="320"/>
                      </a:lnTo>
                      <a:lnTo>
                        <a:pt x="1154" y="322"/>
                      </a:lnTo>
                      <a:lnTo>
                        <a:pt x="1154" y="324"/>
                      </a:lnTo>
                      <a:lnTo>
                        <a:pt x="1152" y="324"/>
                      </a:lnTo>
                      <a:lnTo>
                        <a:pt x="1154" y="324"/>
                      </a:lnTo>
                      <a:lnTo>
                        <a:pt x="1155" y="322"/>
                      </a:lnTo>
                      <a:lnTo>
                        <a:pt x="1155" y="320"/>
                      </a:lnTo>
                      <a:lnTo>
                        <a:pt x="1154" y="319"/>
                      </a:lnTo>
                      <a:lnTo>
                        <a:pt x="1155" y="315"/>
                      </a:lnTo>
                      <a:lnTo>
                        <a:pt x="1157" y="315"/>
                      </a:lnTo>
                      <a:lnTo>
                        <a:pt x="1159" y="317"/>
                      </a:lnTo>
                      <a:lnTo>
                        <a:pt x="1159" y="319"/>
                      </a:lnTo>
                      <a:lnTo>
                        <a:pt x="1160" y="319"/>
                      </a:lnTo>
                      <a:lnTo>
                        <a:pt x="1160" y="317"/>
                      </a:lnTo>
                      <a:lnTo>
                        <a:pt x="1160" y="319"/>
                      </a:lnTo>
                      <a:lnTo>
                        <a:pt x="1160" y="317"/>
                      </a:lnTo>
                      <a:lnTo>
                        <a:pt x="1159" y="317"/>
                      </a:lnTo>
                      <a:lnTo>
                        <a:pt x="1159" y="314"/>
                      </a:lnTo>
                      <a:lnTo>
                        <a:pt x="1160" y="314"/>
                      </a:lnTo>
                      <a:lnTo>
                        <a:pt x="1160" y="312"/>
                      </a:lnTo>
                      <a:lnTo>
                        <a:pt x="1162" y="310"/>
                      </a:lnTo>
                      <a:lnTo>
                        <a:pt x="1162" y="312"/>
                      </a:lnTo>
                      <a:lnTo>
                        <a:pt x="1164" y="312"/>
                      </a:lnTo>
                      <a:lnTo>
                        <a:pt x="1162" y="312"/>
                      </a:lnTo>
                      <a:lnTo>
                        <a:pt x="1162" y="314"/>
                      </a:lnTo>
                      <a:lnTo>
                        <a:pt x="1164" y="314"/>
                      </a:lnTo>
                      <a:lnTo>
                        <a:pt x="1165" y="315"/>
                      </a:lnTo>
                      <a:lnTo>
                        <a:pt x="1165" y="317"/>
                      </a:lnTo>
                      <a:lnTo>
                        <a:pt x="1164" y="317"/>
                      </a:lnTo>
                      <a:lnTo>
                        <a:pt x="1164" y="319"/>
                      </a:lnTo>
                      <a:lnTo>
                        <a:pt x="1164" y="320"/>
                      </a:lnTo>
                      <a:lnTo>
                        <a:pt x="1164" y="319"/>
                      </a:lnTo>
                      <a:lnTo>
                        <a:pt x="1162" y="319"/>
                      </a:lnTo>
                      <a:lnTo>
                        <a:pt x="1162" y="320"/>
                      </a:lnTo>
                      <a:lnTo>
                        <a:pt x="1164" y="320"/>
                      </a:lnTo>
                      <a:lnTo>
                        <a:pt x="1164" y="322"/>
                      </a:lnTo>
                      <a:lnTo>
                        <a:pt x="1162" y="322"/>
                      </a:lnTo>
                      <a:lnTo>
                        <a:pt x="1164" y="324"/>
                      </a:lnTo>
                      <a:lnTo>
                        <a:pt x="1164" y="325"/>
                      </a:lnTo>
                      <a:lnTo>
                        <a:pt x="1162" y="325"/>
                      </a:lnTo>
                      <a:lnTo>
                        <a:pt x="1162" y="327"/>
                      </a:lnTo>
                      <a:lnTo>
                        <a:pt x="1160" y="325"/>
                      </a:lnTo>
                      <a:lnTo>
                        <a:pt x="1160" y="327"/>
                      </a:lnTo>
                      <a:lnTo>
                        <a:pt x="1159" y="327"/>
                      </a:lnTo>
                      <a:lnTo>
                        <a:pt x="1159" y="328"/>
                      </a:lnTo>
                      <a:lnTo>
                        <a:pt x="1160" y="328"/>
                      </a:lnTo>
                      <a:lnTo>
                        <a:pt x="1162" y="328"/>
                      </a:lnTo>
                      <a:lnTo>
                        <a:pt x="1162" y="327"/>
                      </a:lnTo>
                      <a:lnTo>
                        <a:pt x="1162" y="328"/>
                      </a:lnTo>
                      <a:lnTo>
                        <a:pt x="1164" y="328"/>
                      </a:lnTo>
                      <a:lnTo>
                        <a:pt x="1164" y="327"/>
                      </a:lnTo>
                      <a:lnTo>
                        <a:pt x="1165" y="327"/>
                      </a:lnTo>
                      <a:lnTo>
                        <a:pt x="1167" y="327"/>
                      </a:lnTo>
                      <a:lnTo>
                        <a:pt x="1167" y="328"/>
                      </a:lnTo>
                      <a:lnTo>
                        <a:pt x="1169" y="328"/>
                      </a:lnTo>
                      <a:lnTo>
                        <a:pt x="1169" y="327"/>
                      </a:lnTo>
                      <a:lnTo>
                        <a:pt x="1170" y="327"/>
                      </a:lnTo>
                      <a:lnTo>
                        <a:pt x="1170" y="325"/>
                      </a:lnTo>
                      <a:lnTo>
                        <a:pt x="1170" y="324"/>
                      </a:lnTo>
                      <a:lnTo>
                        <a:pt x="1170" y="322"/>
                      </a:lnTo>
                      <a:lnTo>
                        <a:pt x="1172" y="324"/>
                      </a:lnTo>
                      <a:lnTo>
                        <a:pt x="1172" y="325"/>
                      </a:lnTo>
                      <a:lnTo>
                        <a:pt x="1172" y="327"/>
                      </a:lnTo>
                      <a:lnTo>
                        <a:pt x="1172" y="328"/>
                      </a:lnTo>
                      <a:lnTo>
                        <a:pt x="1174" y="327"/>
                      </a:lnTo>
                      <a:lnTo>
                        <a:pt x="1172" y="327"/>
                      </a:lnTo>
                      <a:lnTo>
                        <a:pt x="1174" y="327"/>
                      </a:lnTo>
                      <a:lnTo>
                        <a:pt x="1174" y="325"/>
                      </a:lnTo>
                      <a:lnTo>
                        <a:pt x="1174" y="324"/>
                      </a:lnTo>
                      <a:lnTo>
                        <a:pt x="1174" y="322"/>
                      </a:lnTo>
                      <a:lnTo>
                        <a:pt x="1176" y="322"/>
                      </a:lnTo>
                      <a:lnTo>
                        <a:pt x="1176" y="320"/>
                      </a:lnTo>
                      <a:lnTo>
                        <a:pt x="1177" y="320"/>
                      </a:lnTo>
                      <a:lnTo>
                        <a:pt x="1179" y="320"/>
                      </a:lnTo>
                      <a:lnTo>
                        <a:pt x="1179" y="322"/>
                      </a:lnTo>
                      <a:lnTo>
                        <a:pt x="1179" y="320"/>
                      </a:lnTo>
                      <a:lnTo>
                        <a:pt x="1181" y="320"/>
                      </a:lnTo>
                      <a:lnTo>
                        <a:pt x="1181" y="319"/>
                      </a:lnTo>
                      <a:lnTo>
                        <a:pt x="1182" y="319"/>
                      </a:lnTo>
                      <a:lnTo>
                        <a:pt x="1181" y="319"/>
                      </a:lnTo>
                      <a:lnTo>
                        <a:pt x="1182" y="319"/>
                      </a:lnTo>
                      <a:lnTo>
                        <a:pt x="1184" y="319"/>
                      </a:lnTo>
                      <a:lnTo>
                        <a:pt x="1184" y="320"/>
                      </a:lnTo>
                      <a:lnTo>
                        <a:pt x="1184" y="322"/>
                      </a:lnTo>
                      <a:lnTo>
                        <a:pt x="1182" y="322"/>
                      </a:lnTo>
                      <a:lnTo>
                        <a:pt x="1181" y="322"/>
                      </a:lnTo>
                      <a:lnTo>
                        <a:pt x="1179" y="324"/>
                      </a:lnTo>
                      <a:lnTo>
                        <a:pt x="1177" y="324"/>
                      </a:lnTo>
                      <a:lnTo>
                        <a:pt x="1177" y="325"/>
                      </a:lnTo>
                      <a:lnTo>
                        <a:pt x="1179" y="325"/>
                      </a:lnTo>
                      <a:lnTo>
                        <a:pt x="1179" y="327"/>
                      </a:lnTo>
                      <a:lnTo>
                        <a:pt x="1177" y="327"/>
                      </a:lnTo>
                      <a:lnTo>
                        <a:pt x="1179" y="327"/>
                      </a:lnTo>
                      <a:lnTo>
                        <a:pt x="1177" y="327"/>
                      </a:lnTo>
                      <a:lnTo>
                        <a:pt x="1177" y="328"/>
                      </a:lnTo>
                      <a:lnTo>
                        <a:pt x="1177" y="327"/>
                      </a:lnTo>
                      <a:lnTo>
                        <a:pt x="1177" y="328"/>
                      </a:lnTo>
                      <a:lnTo>
                        <a:pt x="1176" y="328"/>
                      </a:lnTo>
                      <a:lnTo>
                        <a:pt x="1177" y="328"/>
                      </a:lnTo>
                      <a:lnTo>
                        <a:pt x="1179" y="328"/>
                      </a:lnTo>
                      <a:lnTo>
                        <a:pt x="1179" y="330"/>
                      </a:lnTo>
                      <a:lnTo>
                        <a:pt x="1179" y="332"/>
                      </a:lnTo>
                      <a:lnTo>
                        <a:pt x="1177" y="332"/>
                      </a:lnTo>
                      <a:lnTo>
                        <a:pt x="1179" y="332"/>
                      </a:lnTo>
                      <a:lnTo>
                        <a:pt x="1177" y="333"/>
                      </a:lnTo>
                      <a:lnTo>
                        <a:pt x="1179" y="333"/>
                      </a:lnTo>
                      <a:lnTo>
                        <a:pt x="1179" y="335"/>
                      </a:lnTo>
                      <a:lnTo>
                        <a:pt x="1177" y="335"/>
                      </a:lnTo>
                      <a:lnTo>
                        <a:pt x="1179" y="335"/>
                      </a:lnTo>
                      <a:lnTo>
                        <a:pt x="1179" y="337"/>
                      </a:lnTo>
                      <a:lnTo>
                        <a:pt x="1179" y="335"/>
                      </a:lnTo>
                      <a:lnTo>
                        <a:pt x="1179" y="333"/>
                      </a:lnTo>
                      <a:lnTo>
                        <a:pt x="1181" y="333"/>
                      </a:lnTo>
                      <a:lnTo>
                        <a:pt x="1179" y="333"/>
                      </a:lnTo>
                      <a:lnTo>
                        <a:pt x="1181" y="333"/>
                      </a:lnTo>
                      <a:lnTo>
                        <a:pt x="1182" y="333"/>
                      </a:lnTo>
                      <a:lnTo>
                        <a:pt x="1182" y="332"/>
                      </a:lnTo>
                      <a:lnTo>
                        <a:pt x="1184" y="333"/>
                      </a:lnTo>
                      <a:lnTo>
                        <a:pt x="1184" y="335"/>
                      </a:lnTo>
                      <a:lnTo>
                        <a:pt x="1182" y="337"/>
                      </a:lnTo>
                      <a:lnTo>
                        <a:pt x="1184" y="337"/>
                      </a:lnTo>
                      <a:lnTo>
                        <a:pt x="1182" y="337"/>
                      </a:lnTo>
                      <a:lnTo>
                        <a:pt x="1184" y="337"/>
                      </a:lnTo>
                      <a:lnTo>
                        <a:pt x="1184" y="335"/>
                      </a:lnTo>
                      <a:lnTo>
                        <a:pt x="1186" y="335"/>
                      </a:lnTo>
                      <a:lnTo>
                        <a:pt x="1184" y="335"/>
                      </a:lnTo>
                      <a:lnTo>
                        <a:pt x="1186" y="333"/>
                      </a:lnTo>
                      <a:lnTo>
                        <a:pt x="1184" y="333"/>
                      </a:lnTo>
                      <a:lnTo>
                        <a:pt x="1184" y="332"/>
                      </a:lnTo>
                      <a:lnTo>
                        <a:pt x="1184" y="330"/>
                      </a:lnTo>
                      <a:lnTo>
                        <a:pt x="1186" y="330"/>
                      </a:lnTo>
                      <a:lnTo>
                        <a:pt x="1186" y="333"/>
                      </a:lnTo>
                      <a:lnTo>
                        <a:pt x="1187" y="333"/>
                      </a:lnTo>
                      <a:lnTo>
                        <a:pt x="1187" y="335"/>
                      </a:lnTo>
                      <a:lnTo>
                        <a:pt x="1187" y="337"/>
                      </a:lnTo>
                      <a:lnTo>
                        <a:pt x="1187" y="335"/>
                      </a:lnTo>
                      <a:lnTo>
                        <a:pt x="1187" y="333"/>
                      </a:lnTo>
                      <a:lnTo>
                        <a:pt x="1189" y="333"/>
                      </a:lnTo>
                      <a:lnTo>
                        <a:pt x="1189" y="332"/>
                      </a:lnTo>
                      <a:lnTo>
                        <a:pt x="1189" y="330"/>
                      </a:lnTo>
                      <a:lnTo>
                        <a:pt x="1191" y="330"/>
                      </a:lnTo>
                      <a:lnTo>
                        <a:pt x="1191" y="332"/>
                      </a:lnTo>
                      <a:lnTo>
                        <a:pt x="1191" y="333"/>
                      </a:lnTo>
                      <a:lnTo>
                        <a:pt x="1192" y="335"/>
                      </a:lnTo>
                      <a:lnTo>
                        <a:pt x="1191" y="335"/>
                      </a:lnTo>
                      <a:lnTo>
                        <a:pt x="1191" y="337"/>
                      </a:lnTo>
                      <a:lnTo>
                        <a:pt x="1191" y="338"/>
                      </a:lnTo>
                      <a:lnTo>
                        <a:pt x="1192" y="338"/>
                      </a:lnTo>
                      <a:lnTo>
                        <a:pt x="1194" y="338"/>
                      </a:lnTo>
                      <a:lnTo>
                        <a:pt x="1192" y="337"/>
                      </a:lnTo>
                      <a:lnTo>
                        <a:pt x="1192" y="338"/>
                      </a:lnTo>
                      <a:lnTo>
                        <a:pt x="1192" y="337"/>
                      </a:lnTo>
                      <a:lnTo>
                        <a:pt x="1192" y="335"/>
                      </a:lnTo>
                      <a:lnTo>
                        <a:pt x="1192" y="333"/>
                      </a:lnTo>
                      <a:lnTo>
                        <a:pt x="1194" y="332"/>
                      </a:lnTo>
                      <a:lnTo>
                        <a:pt x="1194" y="333"/>
                      </a:lnTo>
                      <a:lnTo>
                        <a:pt x="1196" y="333"/>
                      </a:lnTo>
                      <a:lnTo>
                        <a:pt x="1196" y="335"/>
                      </a:lnTo>
                      <a:lnTo>
                        <a:pt x="1194" y="337"/>
                      </a:lnTo>
                      <a:lnTo>
                        <a:pt x="1196" y="337"/>
                      </a:lnTo>
                      <a:lnTo>
                        <a:pt x="1196" y="335"/>
                      </a:lnTo>
                      <a:lnTo>
                        <a:pt x="1196" y="333"/>
                      </a:lnTo>
                      <a:lnTo>
                        <a:pt x="1194" y="332"/>
                      </a:lnTo>
                      <a:lnTo>
                        <a:pt x="1196" y="330"/>
                      </a:lnTo>
                      <a:lnTo>
                        <a:pt x="1196" y="332"/>
                      </a:lnTo>
                      <a:lnTo>
                        <a:pt x="1196" y="330"/>
                      </a:lnTo>
                      <a:lnTo>
                        <a:pt x="1198" y="330"/>
                      </a:lnTo>
                      <a:lnTo>
                        <a:pt x="1196" y="330"/>
                      </a:lnTo>
                      <a:lnTo>
                        <a:pt x="1196" y="328"/>
                      </a:lnTo>
                      <a:lnTo>
                        <a:pt x="1198" y="328"/>
                      </a:lnTo>
                      <a:lnTo>
                        <a:pt x="1198" y="327"/>
                      </a:lnTo>
                      <a:lnTo>
                        <a:pt x="1198" y="325"/>
                      </a:lnTo>
                      <a:lnTo>
                        <a:pt x="1199" y="327"/>
                      </a:lnTo>
                      <a:lnTo>
                        <a:pt x="1199" y="325"/>
                      </a:lnTo>
                      <a:lnTo>
                        <a:pt x="1199" y="327"/>
                      </a:lnTo>
                      <a:lnTo>
                        <a:pt x="1199" y="325"/>
                      </a:lnTo>
                      <a:lnTo>
                        <a:pt x="1201" y="325"/>
                      </a:lnTo>
                      <a:lnTo>
                        <a:pt x="1199" y="325"/>
                      </a:lnTo>
                      <a:lnTo>
                        <a:pt x="1198" y="325"/>
                      </a:lnTo>
                      <a:lnTo>
                        <a:pt x="1199" y="324"/>
                      </a:lnTo>
                      <a:lnTo>
                        <a:pt x="1201" y="324"/>
                      </a:lnTo>
                      <a:lnTo>
                        <a:pt x="1201" y="322"/>
                      </a:lnTo>
                      <a:lnTo>
                        <a:pt x="1203" y="322"/>
                      </a:lnTo>
                      <a:lnTo>
                        <a:pt x="1203" y="320"/>
                      </a:lnTo>
                      <a:lnTo>
                        <a:pt x="1204" y="320"/>
                      </a:lnTo>
                      <a:lnTo>
                        <a:pt x="1206" y="322"/>
                      </a:lnTo>
                      <a:lnTo>
                        <a:pt x="1206" y="324"/>
                      </a:lnTo>
                      <a:lnTo>
                        <a:pt x="1206" y="325"/>
                      </a:lnTo>
                      <a:lnTo>
                        <a:pt x="1204" y="325"/>
                      </a:lnTo>
                      <a:lnTo>
                        <a:pt x="1203" y="327"/>
                      </a:lnTo>
                      <a:lnTo>
                        <a:pt x="1204" y="327"/>
                      </a:lnTo>
                      <a:lnTo>
                        <a:pt x="1204" y="328"/>
                      </a:lnTo>
                      <a:lnTo>
                        <a:pt x="1203" y="328"/>
                      </a:lnTo>
                      <a:lnTo>
                        <a:pt x="1201" y="328"/>
                      </a:lnTo>
                      <a:lnTo>
                        <a:pt x="1203" y="328"/>
                      </a:lnTo>
                      <a:lnTo>
                        <a:pt x="1203" y="330"/>
                      </a:lnTo>
                      <a:lnTo>
                        <a:pt x="1201" y="330"/>
                      </a:lnTo>
                      <a:lnTo>
                        <a:pt x="1199" y="330"/>
                      </a:lnTo>
                      <a:lnTo>
                        <a:pt x="1199" y="332"/>
                      </a:lnTo>
                      <a:lnTo>
                        <a:pt x="1201" y="330"/>
                      </a:lnTo>
                      <a:lnTo>
                        <a:pt x="1203" y="330"/>
                      </a:lnTo>
                      <a:lnTo>
                        <a:pt x="1203" y="332"/>
                      </a:lnTo>
                      <a:lnTo>
                        <a:pt x="1203" y="333"/>
                      </a:lnTo>
                      <a:lnTo>
                        <a:pt x="1204" y="333"/>
                      </a:lnTo>
                      <a:lnTo>
                        <a:pt x="1204" y="335"/>
                      </a:lnTo>
                      <a:lnTo>
                        <a:pt x="1204" y="337"/>
                      </a:lnTo>
                      <a:lnTo>
                        <a:pt x="1203" y="337"/>
                      </a:lnTo>
                      <a:lnTo>
                        <a:pt x="1203" y="338"/>
                      </a:lnTo>
                      <a:lnTo>
                        <a:pt x="1201" y="338"/>
                      </a:lnTo>
                      <a:lnTo>
                        <a:pt x="1199" y="342"/>
                      </a:lnTo>
                      <a:lnTo>
                        <a:pt x="1199" y="343"/>
                      </a:lnTo>
                      <a:lnTo>
                        <a:pt x="1198" y="345"/>
                      </a:lnTo>
                      <a:lnTo>
                        <a:pt x="1198" y="347"/>
                      </a:lnTo>
                      <a:lnTo>
                        <a:pt x="1199" y="345"/>
                      </a:lnTo>
                      <a:lnTo>
                        <a:pt x="1199" y="343"/>
                      </a:lnTo>
                      <a:lnTo>
                        <a:pt x="1201" y="343"/>
                      </a:lnTo>
                      <a:lnTo>
                        <a:pt x="1201" y="342"/>
                      </a:lnTo>
                      <a:lnTo>
                        <a:pt x="1201" y="340"/>
                      </a:lnTo>
                      <a:lnTo>
                        <a:pt x="1203" y="340"/>
                      </a:lnTo>
                      <a:lnTo>
                        <a:pt x="1204" y="338"/>
                      </a:lnTo>
                      <a:lnTo>
                        <a:pt x="1204" y="337"/>
                      </a:lnTo>
                      <a:lnTo>
                        <a:pt x="1206" y="337"/>
                      </a:lnTo>
                      <a:lnTo>
                        <a:pt x="1206" y="335"/>
                      </a:lnTo>
                      <a:lnTo>
                        <a:pt x="1206" y="333"/>
                      </a:lnTo>
                      <a:lnTo>
                        <a:pt x="1206" y="332"/>
                      </a:lnTo>
                      <a:lnTo>
                        <a:pt x="1208" y="330"/>
                      </a:lnTo>
                      <a:lnTo>
                        <a:pt x="1209" y="332"/>
                      </a:lnTo>
                      <a:lnTo>
                        <a:pt x="1208" y="332"/>
                      </a:lnTo>
                      <a:lnTo>
                        <a:pt x="1208" y="333"/>
                      </a:lnTo>
                      <a:lnTo>
                        <a:pt x="1209" y="333"/>
                      </a:lnTo>
                      <a:lnTo>
                        <a:pt x="1208" y="335"/>
                      </a:lnTo>
                      <a:lnTo>
                        <a:pt x="1209" y="335"/>
                      </a:lnTo>
                      <a:lnTo>
                        <a:pt x="1208" y="337"/>
                      </a:lnTo>
                      <a:lnTo>
                        <a:pt x="1208" y="338"/>
                      </a:lnTo>
                      <a:lnTo>
                        <a:pt x="1206" y="340"/>
                      </a:lnTo>
                      <a:lnTo>
                        <a:pt x="1206" y="342"/>
                      </a:lnTo>
                      <a:lnTo>
                        <a:pt x="1204" y="343"/>
                      </a:lnTo>
                      <a:lnTo>
                        <a:pt x="1206" y="343"/>
                      </a:lnTo>
                      <a:lnTo>
                        <a:pt x="1208" y="345"/>
                      </a:lnTo>
                      <a:lnTo>
                        <a:pt x="1206" y="343"/>
                      </a:lnTo>
                      <a:lnTo>
                        <a:pt x="1206" y="342"/>
                      </a:lnTo>
                      <a:lnTo>
                        <a:pt x="1208" y="342"/>
                      </a:lnTo>
                      <a:lnTo>
                        <a:pt x="1208" y="340"/>
                      </a:lnTo>
                      <a:lnTo>
                        <a:pt x="1208" y="338"/>
                      </a:lnTo>
                      <a:lnTo>
                        <a:pt x="1209" y="340"/>
                      </a:lnTo>
                      <a:lnTo>
                        <a:pt x="1209" y="343"/>
                      </a:lnTo>
                      <a:lnTo>
                        <a:pt x="1209" y="342"/>
                      </a:lnTo>
                      <a:lnTo>
                        <a:pt x="1211" y="343"/>
                      </a:lnTo>
                      <a:lnTo>
                        <a:pt x="1209" y="342"/>
                      </a:lnTo>
                      <a:lnTo>
                        <a:pt x="1209" y="340"/>
                      </a:lnTo>
                      <a:lnTo>
                        <a:pt x="1209" y="338"/>
                      </a:lnTo>
                      <a:lnTo>
                        <a:pt x="1209" y="337"/>
                      </a:lnTo>
                      <a:lnTo>
                        <a:pt x="1211" y="337"/>
                      </a:lnTo>
                      <a:lnTo>
                        <a:pt x="1214" y="335"/>
                      </a:lnTo>
                      <a:lnTo>
                        <a:pt x="1214" y="333"/>
                      </a:lnTo>
                      <a:lnTo>
                        <a:pt x="1216" y="333"/>
                      </a:lnTo>
                      <a:lnTo>
                        <a:pt x="1216" y="335"/>
                      </a:lnTo>
                      <a:lnTo>
                        <a:pt x="1214" y="335"/>
                      </a:lnTo>
                      <a:lnTo>
                        <a:pt x="1214" y="337"/>
                      </a:lnTo>
                      <a:lnTo>
                        <a:pt x="1214" y="338"/>
                      </a:lnTo>
                      <a:lnTo>
                        <a:pt x="1214" y="340"/>
                      </a:lnTo>
                      <a:lnTo>
                        <a:pt x="1216" y="340"/>
                      </a:lnTo>
                      <a:lnTo>
                        <a:pt x="1216" y="342"/>
                      </a:lnTo>
                      <a:lnTo>
                        <a:pt x="1214" y="345"/>
                      </a:lnTo>
                      <a:lnTo>
                        <a:pt x="1214" y="347"/>
                      </a:lnTo>
                      <a:lnTo>
                        <a:pt x="1214" y="348"/>
                      </a:lnTo>
                      <a:lnTo>
                        <a:pt x="1213" y="348"/>
                      </a:lnTo>
                      <a:lnTo>
                        <a:pt x="1213" y="350"/>
                      </a:lnTo>
                      <a:lnTo>
                        <a:pt x="1211" y="350"/>
                      </a:lnTo>
                      <a:lnTo>
                        <a:pt x="1209" y="351"/>
                      </a:lnTo>
                      <a:lnTo>
                        <a:pt x="1209" y="353"/>
                      </a:lnTo>
                      <a:lnTo>
                        <a:pt x="1211" y="353"/>
                      </a:lnTo>
                      <a:lnTo>
                        <a:pt x="1209" y="355"/>
                      </a:lnTo>
                      <a:lnTo>
                        <a:pt x="1209" y="356"/>
                      </a:lnTo>
                      <a:lnTo>
                        <a:pt x="1209" y="358"/>
                      </a:lnTo>
                      <a:lnTo>
                        <a:pt x="1211" y="358"/>
                      </a:lnTo>
                      <a:lnTo>
                        <a:pt x="1211" y="360"/>
                      </a:lnTo>
                      <a:lnTo>
                        <a:pt x="1211" y="361"/>
                      </a:lnTo>
                      <a:lnTo>
                        <a:pt x="1213" y="361"/>
                      </a:lnTo>
                      <a:lnTo>
                        <a:pt x="1214" y="361"/>
                      </a:lnTo>
                      <a:lnTo>
                        <a:pt x="1213" y="363"/>
                      </a:lnTo>
                      <a:lnTo>
                        <a:pt x="1213" y="365"/>
                      </a:lnTo>
                      <a:lnTo>
                        <a:pt x="1211" y="365"/>
                      </a:lnTo>
                      <a:lnTo>
                        <a:pt x="1211" y="366"/>
                      </a:lnTo>
                      <a:lnTo>
                        <a:pt x="1211" y="368"/>
                      </a:lnTo>
                      <a:lnTo>
                        <a:pt x="1209" y="370"/>
                      </a:lnTo>
                      <a:lnTo>
                        <a:pt x="1211" y="371"/>
                      </a:lnTo>
                      <a:lnTo>
                        <a:pt x="1209" y="371"/>
                      </a:lnTo>
                      <a:lnTo>
                        <a:pt x="1209" y="373"/>
                      </a:lnTo>
                      <a:lnTo>
                        <a:pt x="1208" y="374"/>
                      </a:lnTo>
                      <a:lnTo>
                        <a:pt x="1208" y="376"/>
                      </a:lnTo>
                      <a:lnTo>
                        <a:pt x="1209" y="376"/>
                      </a:lnTo>
                      <a:lnTo>
                        <a:pt x="1209" y="378"/>
                      </a:lnTo>
                      <a:lnTo>
                        <a:pt x="1211" y="379"/>
                      </a:lnTo>
                      <a:lnTo>
                        <a:pt x="1211" y="381"/>
                      </a:lnTo>
                      <a:lnTo>
                        <a:pt x="1211" y="383"/>
                      </a:lnTo>
                      <a:lnTo>
                        <a:pt x="1211" y="384"/>
                      </a:lnTo>
                      <a:lnTo>
                        <a:pt x="1209" y="384"/>
                      </a:lnTo>
                      <a:lnTo>
                        <a:pt x="1209" y="386"/>
                      </a:lnTo>
                      <a:lnTo>
                        <a:pt x="1209" y="388"/>
                      </a:lnTo>
                      <a:lnTo>
                        <a:pt x="1208" y="388"/>
                      </a:lnTo>
                      <a:lnTo>
                        <a:pt x="1208" y="389"/>
                      </a:lnTo>
                      <a:lnTo>
                        <a:pt x="1209" y="391"/>
                      </a:lnTo>
                      <a:lnTo>
                        <a:pt x="1209" y="392"/>
                      </a:lnTo>
                      <a:lnTo>
                        <a:pt x="1208" y="394"/>
                      </a:lnTo>
                      <a:lnTo>
                        <a:pt x="1208" y="396"/>
                      </a:lnTo>
                      <a:lnTo>
                        <a:pt x="1206" y="396"/>
                      </a:lnTo>
                      <a:lnTo>
                        <a:pt x="1204" y="396"/>
                      </a:lnTo>
                      <a:lnTo>
                        <a:pt x="1204" y="397"/>
                      </a:lnTo>
                      <a:lnTo>
                        <a:pt x="1203" y="397"/>
                      </a:lnTo>
                      <a:lnTo>
                        <a:pt x="1201" y="397"/>
                      </a:lnTo>
                      <a:lnTo>
                        <a:pt x="1199" y="397"/>
                      </a:lnTo>
                      <a:lnTo>
                        <a:pt x="1196" y="397"/>
                      </a:lnTo>
                      <a:lnTo>
                        <a:pt x="1194" y="397"/>
                      </a:lnTo>
                      <a:lnTo>
                        <a:pt x="1194" y="399"/>
                      </a:lnTo>
                      <a:lnTo>
                        <a:pt x="1192" y="401"/>
                      </a:lnTo>
                      <a:lnTo>
                        <a:pt x="1192" y="402"/>
                      </a:lnTo>
                      <a:lnTo>
                        <a:pt x="1194" y="404"/>
                      </a:lnTo>
                      <a:lnTo>
                        <a:pt x="1194" y="406"/>
                      </a:lnTo>
                      <a:lnTo>
                        <a:pt x="1196" y="404"/>
                      </a:lnTo>
                      <a:lnTo>
                        <a:pt x="1198" y="404"/>
                      </a:lnTo>
                      <a:lnTo>
                        <a:pt x="1199" y="404"/>
                      </a:lnTo>
                      <a:lnTo>
                        <a:pt x="1201" y="404"/>
                      </a:lnTo>
                      <a:lnTo>
                        <a:pt x="1203" y="406"/>
                      </a:lnTo>
                      <a:lnTo>
                        <a:pt x="1204" y="407"/>
                      </a:lnTo>
                      <a:lnTo>
                        <a:pt x="1204" y="409"/>
                      </a:lnTo>
                      <a:lnTo>
                        <a:pt x="1203" y="409"/>
                      </a:lnTo>
                      <a:lnTo>
                        <a:pt x="1201" y="412"/>
                      </a:lnTo>
                      <a:lnTo>
                        <a:pt x="1203" y="412"/>
                      </a:lnTo>
                      <a:lnTo>
                        <a:pt x="1203" y="414"/>
                      </a:lnTo>
                      <a:lnTo>
                        <a:pt x="1203" y="415"/>
                      </a:lnTo>
                      <a:lnTo>
                        <a:pt x="1203" y="419"/>
                      </a:lnTo>
                      <a:lnTo>
                        <a:pt x="1201" y="419"/>
                      </a:lnTo>
                      <a:lnTo>
                        <a:pt x="1201" y="420"/>
                      </a:lnTo>
                      <a:lnTo>
                        <a:pt x="1199" y="424"/>
                      </a:lnTo>
                      <a:lnTo>
                        <a:pt x="1199" y="425"/>
                      </a:lnTo>
                      <a:lnTo>
                        <a:pt x="1199" y="427"/>
                      </a:lnTo>
                      <a:lnTo>
                        <a:pt x="1199" y="429"/>
                      </a:lnTo>
                      <a:lnTo>
                        <a:pt x="1198" y="429"/>
                      </a:lnTo>
                      <a:lnTo>
                        <a:pt x="1198" y="430"/>
                      </a:lnTo>
                      <a:lnTo>
                        <a:pt x="1198" y="432"/>
                      </a:lnTo>
                      <a:lnTo>
                        <a:pt x="1198" y="434"/>
                      </a:lnTo>
                      <a:lnTo>
                        <a:pt x="1198" y="435"/>
                      </a:lnTo>
                      <a:lnTo>
                        <a:pt x="1196" y="435"/>
                      </a:lnTo>
                      <a:lnTo>
                        <a:pt x="1196" y="437"/>
                      </a:lnTo>
                      <a:lnTo>
                        <a:pt x="1198" y="437"/>
                      </a:lnTo>
                      <a:lnTo>
                        <a:pt x="1196" y="438"/>
                      </a:lnTo>
                      <a:lnTo>
                        <a:pt x="1194" y="438"/>
                      </a:lnTo>
                      <a:lnTo>
                        <a:pt x="1194" y="440"/>
                      </a:lnTo>
                      <a:lnTo>
                        <a:pt x="1192" y="440"/>
                      </a:lnTo>
                      <a:lnTo>
                        <a:pt x="1191" y="443"/>
                      </a:lnTo>
                      <a:lnTo>
                        <a:pt x="1191" y="445"/>
                      </a:lnTo>
                      <a:lnTo>
                        <a:pt x="1189" y="445"/>
                      </a:lnTo>
                      <a:lnTo>
                        <a:pt x="1187" y="447"/>
                      </a:lnTo>
                      <a:lnTo>
                        <a:pt x="1186" y="447"/>
                      </a:lnTo>
                      <a:lnTo>
                        <a:pt x="1186" y="445"/>
                      </a:lnTo>
                      <a:lnTo>
                        <a:pt x="1184" y="445"/>
                      </a:lnTo>
                      <a:lnTo>
                        <a:pt x="1182" y="445"/>
                      </a:lnTo>
                      <a:lnTo>
                        <a:pt x="1182" y="447"/>
                      </a:lnTo>
                      <a:lnTo>
                        <a:pt x="1184" y="447"/>
                      </a:lnTo>
                      <a:lnTo>
                        <a:pt x="1184" y="448"/>
                      </a:lnTo>
                      <a:lnTo>
                        <a:pt x="1184" y="450"/>
                      </a:lnTo>
                      <a:lnTo>
                        <a:pt x="1182" y="450"/>
                      </a:lnTo>
                      <a:lnTo>
                        <a:pt x="1182" y="452"/>
                      </a:lnTo>
                      <a:lnTo>
                        <a:pt x="1182" y="453"/>
                      </a:lnTo>
                      <a:lnTo>
                        <a:pt x="1182" y="455"/>
                      </a:lnTo>
                      <a:lnTo>
                        <a:pt x="1181" y="455"/>
                      </a:lnTo>
                      <a:lnTo>
                        <a:pt x="1179" y="457"/>
                      </a:lnTo>
                      <a:lnTo>
                        <a:pt x="1179" y="458"/>
                      </a:lnTo>
                      <a:lnTo>
                        <a:pt x="1181" y="458"/>
                      </a:lnTo>
                      <a:lnTo>
                        <a:pt x="1182" y="458"/>
                      </a:lnTo>
                      <a:lnTo>
                        <a:pt x="1182" y="457"/>
                      </a:lnTo>
                      <a:lnTo>
                        <a:pt x="1184" y="457"/>
                      </a:lnTo>
                      <a:lnTo>
                        <a:pt x="1184" y="458"/>
                      </a:lnTo>
                      <a:lnTo>
                        <a:pt x="1182" y="460"/>
                      </a:lnTo>
                      <a:lnTo>
                        <a:pt x="1182" y="461"/>
                      </a:lnTo>
                      <a:lnTo>
                        <a:pt x="1182" y="463"/>
                      </a:lnTo>
                      <a:lnTo>
                        <a:pt x="1182" y="465"/>
                      </a:lnTo>
                      <a:lnTo>
                        <a:pt x="1182" y="466"/>
                      </a:lnTo>
                      <a:lnTo>
                        <a:pt x="1182" y="468"/>
                      </a:lnTo>
                      <a:lnTo>
                        <a:pt x="1182" y="470"/>
                      </a:lnTo>
                      <a:lnTo>
                        <a:pt x="1182" y="471"/>
                      </a:lnTo>
                      <a:lnTo>
                        <a:pt x="1184" y="471"/>
                      </a:lnTo>
                      <a:lnTo>
                        <a:pt x="1184" y="473"/>
                      </a:lnTo>
                      <a:lnTo>
                        <a:pt x="1182" y="473"/>
                      </a:lnTo>
                      <a:lnTo>
                        <a:pt x="1181" y="473"/>
                      </a:lnTo>
                      <a:lnTo>
                        <a:pt x="1179" y="473"/>
                      </a:lnTo>
                      <a:lnTo>
                        <a:pt x="1177" y="473"/>
                      </a:lnTo>
                      <a:lnTo>
                        <a:pt x="1176" y="473"/>
                      </a:lnTo>
                      <a:lnTo>
                        <a:pt x="1176" y="475"/>
                      </a:lnTo>
                      <a:lnTo>
                        <a:pt x="1177" y="475"/>
                      </a:lnTo>
                      <a:lnTo>
                        <a:pt x="1177" y="476"/>
                      </a:lnTo>
                      <a:lnTo>
                        <a:pt x="1176" y="476"/>
                      </a:lnTo>
                      <a:lnTo>
                        <a:pt x="1176" y="478"/>
                      </a:lnTo>
                      <a:lnTo>
                        <a:pt x="1176" y="480"/>
                      </a:lnTo>
                      <a:lnTo>
                        <a:pt x="1174" y="481"/>
                      </a:lnTo>
                      <a:lnTo>
                        <a:pt x="1172" y="481"/>
                      </a:lnTo>
                      <a:lnTo>
                        <a:pt x="1170" y="481"/>
                      </a:lnTo>
                      <a:lnTo>
                        <a:pt x="1169" y="481"/>
                      </a:lnTo>
                      <a:lnTo>
                        <a:pt x="1169" y="483"/>
                      </a:lnTo>
                      <a:lnTo>
                        <a:pt x="1167" y="483"/>
                      </a:lnTo>
                      <a:lnTo>
                        <a:pt x="1167" y="484"/>
                      </a:lnTo>
                      <a:lnTo>
                        <a:pt x="1167" y="483"/>
                      </a:lnTo>
                      <a:lnTo>
                        <a:pt x="1165" y="483"/>
                      </a:lnTo>
                      <a:lnTo>
                        <a:pt x="1164" y="483"/>
                      </a:lnTo>
                      <a:lnTo>
                        <a:pt x="1165" y="483"/>
                      </a:lnTo>
                      <a:lnTo>
                        <a:pt x="1165" y="484"/>
                      </a:lnTo>
                      <a:lnTo>
                        <a:pt x="1164" y="484"/>
                      </a:lnTo>
                      <a:lnTo>
                        <a:pt x="1164" y="486"/>
                      </a:lnTo>
                      <a:lnTo>
                        <a:pt x="1162" y="486"/>
                      </a:lnTo>
                      <a:lnTo>
                        <a:pt x="1162" y="488"/>
                      </a:lnTo>
                      <a:lnTo>
                        <a:pt x="1160" y="488"/>
                      </a:lnTo>
                      <a:lnTo>
                        <a:pt x="1160" y="489"/>
                      </a:lnTo>
                      <a:lnTo>
                        <a:pt x="1160" y="491"/>
                      </a:lnTo>
                      <a:lnTo>
                        <a:pt x="1162" y="491"/>
                      </a:lnTo>
                      <a:lnTo>
                        <a:pt x="1160" y="491"/>
                      </a:lnTo>
                      <a:lnTo>
                        <a:pt x="1162" y="493"/>
                      </a:lnTo>
                      <a:lnTo>
                        <a:pt x="1164" y="493"/>
                      </a:lnTo>
                      <a:lnTo>
                        <a:pt x="1164" y="494"/>
                      </a:lnTo>
                      <a:lnTo>
                        <a:pt x="1164" y="496"/>
                      </a:lnTo>
                      <a:lnTo>
                        <a:pt x="1164" y="498"/>
                      </a:lnTo>
                      <a:lnTo>
                        <a:pt x="1165" y="498"/>
                      </a:lnTo>
                      <a:lnTo>
                        <a:pt x="1165" y="496"/>
                      </a:lnTo>
                      <a:lnTo>
                        <a:pt x="1167" y="496"/>
                      </a:lnTo>
                      <a:lnTo>
                        <a:pt x="1167" y="498"/>
                      </a:lnTo>
                      <a:lnTo>
                        <a:pt x="1167" y="499"/>
                      </a:lnTo>
                      <a:lnTo>
                        <a:pt x="1167" y="501"/>
                      </a:lnTo>
                      <a:lnTo>
                        <a:pt x="1167" y="499"/>
                      </a:lnTo>
                      <a:lnTo>
                        <a:pt x="1169" y="499"/>
                      </a:lnTo>
                      <a:lnTo>
                        <a:pt x="1169" y="501"/>
                      </a:lnTo>
                      <a:lnTo>
                        <a:pt x="1167" y="501"/>
                      </a:lnTo>
                      <a:lnTo>
                        <a:pt x="1165" y="501"/>
                      </a:lnTo>
                      <a:lnTo>
                        <a:pt x="1165" y="499"/>
                      </a:lnTo>
                      <a:lnTo>
                        <a:pt x="1165" y="501"/>
                      </a:lnTo>
                      <a:lnTo>
                        <a:pt x="1165" y="503"/>
                      </a:lnTo>
                      <a:lnTo>
                        <a:pt x="1164" y="503"/>
                      </a:lnTo>
                      <a:lnTo>
                        <a:pt x="1162" y="503"/>
                      </a:lnTo>
                      <a:lnTo>
                        <a:pt x="1164" y="503"/>
                      </a:lnTo>
                      <a:lnTo>
                        <a:pt x="1162" y="503"/>
                      </a:lnTo>
                      <a:lnTo>
                        <a:pt x="1162" y="504"/>
                      </a:lnTo>
                      <a:lnTo>
                        <a:pt x="1164" y="503"/>
                      </a:lnTo>
                      <a:lnTo>
                        <a:pt x="1164" y="504"/>
                      </a:lnTo>
                      <a:lnTo>
                        <a:pt x="1162" y="504"/>
                      </a:lnTo>
                      <a:lnTo>
                        <a:pt x="1160" y="504"/>
                      </a:lnTo>
                      <a:lnTo>
                        <a:pt x="1159" y="504"/>
                      </a:lnTo>
                      <a:lnTo>
                        <a:pt x="1159" y="506"/>
                      </a:lnTo>
                      <a:lnTo>
                        <a:pt x="1160" y="506"/>
                      </a:lnTo>
                      <a:lnTo>
                        <a:pt x="1160" y="507"/>
                      </a:lnTo>
                      <a:lnTo>
                        <a:pt x="1162" y="509"/>
                      </a:lnTo>
                      <a:lnTo>
                        <a:pt x="1160" y="509"/>
                      </a:lnTo>
                      <a:lnTo>
                        <a:pt x="1160" y="511"/>
                      </a:lnTo>
                      <a:lnTo>
                        <a:pt x="1162" y="511"/>
                      </a:lnTo>
                      <a:lnTo>
                        <a:pt x="1162" y="512"/>
                      </a:lnTo>
                      <a:lnTo>
                        <a:pt x="1160" y="512"/>
                      </a:lnTo>
                      <a:lnTo>
                        <a:pt x="1160" y="514"/>
                      </a:lnTo>
                      <a:lnTo>
                        <a:pt x="1162" y="514"/>
                      </a:lnTo>
                      <a:lnTo>
                        <a:pt x="1162" y="516"/>
                      </a:lnTo>
                      <a:lnTo>
                        <a:pt x="1160" y="516"/>
                      </a:lnTo>
                      <a:lnTo>
                        <a:pt x="1160" y="517"/>
                      </a:lnTo>
                      <a:lnTo>
                        <a:pt x="1160" y="519"/>
                      </a:lnTo>
                      <a:lnTo>
                        <a:pt x="1159" y="519"/>
                      </a:lnTo>
                      <a:lnTo>
                        <a:pt x="1159" y="521"/>
                      </a:lnTo>
                      <a:lnTo>
                        <a:pt x="1159" y="522"/>
                      </a:lnTo>
                      <a:lnTo>
                        <a:pt x="1159" y="524"/>
                      </a:lnTo>
                      <a:lnTo>
                        <a:pt x="1157" y="524"/>
                      </a:lnTo>
                      <a:lnTo>
                        <a:pt x="1157" y="526"/>
                      </a:lnTo>
                      <a:lnTo>
                        <a:pt x="1157" y="527"/>
                      </a:lnTo>
                      <a:lnTo>
                        <a:pt x="1155" y="527"/>
                      </a:lnTo>
                      <a:lnTo>
                        <a:pt x="1155" y="526"/>
                      </a:lnTo>
                      <a:lnTo>
                        <a:pt x="1154" y="527"/>
                      </a:lnTo>
                      <a:lnTo>
                        <a:pt x="1152" y="527"/>
                      </a:lnTo>
                      <a:lnTo>
                        <a:pt x="1154" y="527"/>
                      </a:lnTo>
                      <a:lnTo>
                        <a:pt x="1154" y="529"/>
                      </a:lnTo>
                      <a:lnTo>
                        <a:pt x="1155" y="529"/>
                      </a:lnTo>
                      <a:lnTo>
                        <a:pt x="1155" y="530"/>
                      </a:lnTo>
                      <a:lnTo>
                        <a:pt x="1154" y="530"/>
                      </a:lnTo>
                      <a:lnTo>
                        <a:pt x="1152" y="530"/>
                      </a:lnTo>
                      <a:lnTo>
                        <a:pt x="1152" y="532"/>
                      </a:lnTo>
                      <a:lnTo>
                        <a:pt x="1150" y="532"/>
                      </a:lnTo>
                      <a:lnTo>
                        <a:pt x="1152" y="532"/>
                      </a:lnTo>
                      <a:lnTo>
                        <a:pt x="1152" y="534"/>
                      </a:lnTo>
                      <a:lnTo>
                        <a:pt x="1150" y="534"/>
                      </a:lnTo>
                      <a:lnTo>
                        <a:pt x="1152" y="535"/>
                      </a:lnTo>
                      <a:lnTo>
                        <a:pt x="1150" y="535"/>
                      </a:lnTo>
                      <a:lnTo>
                        <a:pt x="1150" y="537"/>
                      </a:lnTo>
                      <a:lnTo>
                        <a:pt x="1149" y="537"/>
                      </a:lnTo>
                      <a:lnTo>
                        <a:pt x="1149" y="539"/>
                      </a:lnTo>
                      <a:lnTo>
                        <a:pt x="1149" y="537"/>
                      </a:lnTo>
                      <a:lnTo>
                        <a:pt x="1147" y="537"/>
                      </a:lnTo>
                      <a:lnTo>
                        <a:pt x="1147" y="539"/>
                      </a:lnTo>
                      <a:lnTo>
                        <a:pt x="1147" y="540"/>
                      </a:lnTo>
                      <a:lnTo>
                        <a:pt x="1145" y="540"/>
                      </a:lnTo>
                      <a:lnTo>
                        <a:pt x="1147" y="540"/>
                      </a:lnTo>
                      <a:lnTo>
                        <a:pt x="1147" y="542"/>
                      </a:lnTo>
                      <a:lnTo>
                        <a:pt x="1145" y="542"/>
                      </a:lnTo>
                      <a:lnTo>
                        <a:pt x="1145" y="544"/>
                      </a:lnTo>
                      <a:lnTo>
                        <a:pt x="1147" y="544"/>
                      </a:lnTo>
                      <a:lnTo>
                        <a:pt x="1145" y="544"/>
                      </a:lnTo>
                      <a:lnTo>
                        <a:pt x="1143" y="544"/>
                      </a:lnTo>
                      <a:lnTo>
                        <a:pt x="1143" y="545"/>
                      </a:lnTo>
                      <a:lnTo>
                        <a:pt x="1142" y="545"/>
                      </a:lnTo>
                      <a:lnTo>
                        <a:pt x="1142" y="547"/>
                      </a:lnTo>
                      <a:lnTo>
                        <a:pt x="1143" y="547"/>
                      </a:lnTo>
                      <a:lnTo>
                        <a:pt x="1142" y="547"/>
                      </a:lnTo>
                      <a:lnTo>
                        <a:pt x="1142" y="545"/>
                      </a:lnTo>
                      <a:lnTo>
                        <a:pt x="1140" y="545"/>
                      </a:lnTo>
                      <a:lnTo>
                        <a:pt x="1140" y="547"/>
                      </a:lnTo>
                      <a:lnTo>
                        <a:pt x="1142" y="547"/>
                      </a:lnTo>
                      <a:lnTo>
                        <a:pt x="1140" y="547"/>
                      </a:lnTo>
                      <a:lnTo>
                        <a:pt x="1138" y="547"/>
                      </a:lnTo>
                      <a:lnTo>
                        <a:pt x="1138" y="549"/>
                      </a:lnTo>
                      <a:lnTo>
                        <a:pt x="1137" y="550"/>
                      </a:lnTo>
                      <a:lnTo>
                        <a:pt x="1137" y="549"/>
                      </a:lnTo>
                      <a:lnTo>
                        <a:pt x="1137" y="550"/>
                      </a:lnTo>
                      <a:lnTo>
                        <a:pt x="1135" y="550"/>
                      </a:lnTo>
                      <a:lnTo>
                        <a:pt x="1133" y="550"/>
                      </a:lnTo>
                      <a:lnTo>
                        <a:pt x="1135" y="550"/>
                      </a:lnTo>
                      <a:lnTo>
                        <a:pt x="1135" y="552"/>
                      </a:lnTo>
                      <a:lnTo>
                        <a:pt x="1133" y="552"/>
                      </a:lnTo>
                      <a:lnTo>
                        <a:pt x="1133" y="553"/>
                      </a:lnTo>
                      <a:lnTo>
                        <a:pt x="1135" y="553"/>
                      </a:lnTo>
                      <a:lnTo>
                        <a:pt x="1133" y="555"/>
                      </a:lnTo>
                      <a:lnTo>
                        <a:pt x="1133" y="553"/>
                      </a:lnTo>
                      <a:lnTo>
                        <a:pt x="1133" y="555"/>
                      </a:lnTo>
                      <a:lnTo>
                        <a:pt x="1133" y="557"/>
                      </a:lnTo>
                      <a:lnTo>
                        <a:pt x="1135" y="557"/>
                      </a:lnTo>
                      <a:lnTo>
                        <a:pt x="1133" y="557"/>
                      </a:lnTo>
                      <a:lnTo>
                        <a:pt x="1133" y="558"/>
                      </a:lnTo>
                      <a:lnTo>
                        <a:pt x="1133" y="560"/>
                      </a:lnTo>
                      <a:lnTo>
                        <a:pt x="1132" y="560"/>
                      </a:lnTo>
                      <a:lnTo>
                        <a:pt x="1132" y="562"/>
                      </a:lnTo>
                      <a:lnTo>
                        <a:pt x="1130" y="562"/>
                      </a:lnTo>
                      <a:lnTo>
                        <a:pt x="1132" y="562"/>
                      </a:lnTo>
                      <a:lnTo>
                        <a:pt x="1132" y="563"/>
                      </a:lnTo>
                      <a:lnTo>
                        <a:pt x="1130" y="563"/>
                      </a:lnTo>
                      <a:lnTo>
                        <a:pt x="1132" y="563"/>
                      </a:lnTo>
                      <a:lnTo>
                        <a:pt x="1130" y="565"/>
                      </a:lnTo>
                      <a:lnTo>
                        <a:pt x="1128" y="565"/>
                      </a:lnTo>
                      <a:lnTo>
                        <a:pt x="1128" y="567"/>
                      </a:lnTo>
                      <a:lnTo>
                        <a:pt x="1127" y="567"/>
                      </a:lnTo>
                      <a:lnTo>
                        <a:pt x="1127" y="568"/>
                      </a:lnTo>
                      <a:lnTo>
                        <a:pt x="1127" y="567"/>
                      </a:lnTo>
                      <a:lnTo>
                        <a:pt x="1125" y="568"/>
                      </a:lnTo>
                      <a:lnTo>
                        <a:pt x="1127" y="568"/>
                      </a:lnTo>
                      <a:lnTo>
                        <a:pt x="1127" y="570"/>
                      </a:lnTo>
                      <a:lnTo>
                        <a:pt x="1125" y="570"/>
                      </a:lnTo>
                      <a:lnTo>
                        <a:pt x="1127" y="570"/>
                      </a:lnTo>
                      <a:lnTo>
                        <a:pt x="1127" y="572"/>
                      </a:lnTo>
                      <a:lnTo>
                        <a:pt x="1125" y="572"/>
                      </a:lnTo>
                      <a:lnTo>
                        <a:pt x="1125" y="573"/>
                      </a:lnTo>
                      <a:lnTo>
                        <a:pt x="1123" y="573"/>
                      </a:lnTo>
                      <a:lnTo>
                        <a:pt x="1125" y="575"/>
                      </a:lnTo>
                      <a:lnTo>
                        <a:pt x="1125" y="573"/>
                      </a:lnTo>
                      <a:lnTo>
                        <a:pt x="1125" y="575"/>
                      </a:lnTo>
                      <a:lnTo>
                        <a:pt x="1123" y="575"/>
                      </a:lnTo>
                      <a:lnTo>
                        <a:pt x="1123" y="576"/>
                      </a:lnTo>
                      <a:lnTo>
                        <a:pt x="1125" y="576"/>
                      </a:lnTo>
                      <a:lnTo>
                        <a:pt x="1123" y="576"/>
                      </a:lnTo>
                      <a:lnTo>
                        <a:pt x="1125" y="578"/>
                      </a:lnTo>
                      <a:lnTo>
                        <a:pt x="1125" y="576"/>
                      </a:lnTo>
                      <a:lnTo>
                        <a:pt x="1125" y="578"/>
                      </a:lnTo>
                      <a:lnTo>
                        <a:pt x="1123" y="578"/>
                      </a:lnTo>
                      <a:lnTo>
                        <a:pt x="1123" y="580"/>
                      </a:lnTo>
                      <a:lnTo>
                        <a:pt x="1125" y="580"/>
                      </a:lnTo>
                      <a:lnTo>
                        <a:pt x="1125" y="581"/>
                      </a:lnTo>
                      <a:lnTo>
                        <a:pt x="1123" y="581"/>
                      </a:lnTo>
                      <a:lnTo>
                        <a:pt x="1123" y="583"/>
                      </a:lnTo>
                      <a:lnTo>
                        <a:pt x="1123" y="585"/>
                      </a:lnTo>
                      <a:lnTo>
                        <a:pt x="1123" y="586"/>
                      </a:lnTo>
                      <a:lnTo>
                        <a:pt x="1123" y="588"/>
                      </a:lnTo>
                      <a:lnTo>
                        <a:pt x="1123" y="590"/>
                      </a:lnTo>
                      <a:lnTo>
                        <a:pt x="1122" y="590"/>
                      </a:lnTo>
                      <a:lnTo>
                        <a:pt x="1122" y="591"/>
                      </a:lnTo>
                      <a:lnTo>
                        <a:pt x="1120" y="591"/>
                      </a:lnTo>
                      <a:lnTo>
                        <a:pt x="1122" y="593"/>
                      </a:lnTo>
                      <a:lnTo>
                        <a:pt x="1120" y="594"/>
                      </a:lnTo>
                      <a:lnTo>
                        <a:pt x="1118" y="596"/>
                      </a:lnTo>
                      <a:lnTo>
                        <a:pt x="1116" y="596"/>
                      </a:lnTo>
                      <a:lnTo>
                        <a:pt x="1116" y="598"/>
                      </a:lnTo>
                      <a:lnTo>
                        <a:pt x="1115" y="599"/>
                      </a:lnTo>
                      <a:lnTo>
                        <a:pt x="1115" y="598"/>
                      </a:lnTo>
                      <a:lnTo>
                        <a:pt x="1113" y="599"/>
                      </a:lnTo>
                      <a:lnTo>
                        <a:pt x="1113" y="601"/>
                      </a:lnTo>
                      <a:lnTo>
                        <a:pt x="1113" y="603"/>
                      </a:lnTo>
                      <a:lnTo>
                        <a:pt x="1111" y="603"/>
                      </a:lnTo>
                      <a:lnTo>
                        <a:pt x="1111" y="604"/>
                      </a:lnTo>
                      <a:lnTo>
                        <a:pt x="1110" y="606"/>
                      </a:lnTo>
                      <a:lnTo>
                        <a:pt x="1110" y="604"/>
                      </a:lnTo>
                      <a:lnTo>
                        <a:pt x="1110" y="606"/>
                      </a:lnTo>
                      <a:lnTo>
                        <a:pt x="1108" y="606"/>
                      </a:lnTo>
                      <a:lnTo>
                        <a:pt x="1108" y="608"/>
                      </a:lnTo>
                      <a:lnTo>
                        <a:pt x="1106" y="608"/>
                      </a:lnTo>
                      <a:lnTo>
                        <a:pt x="1106" y="609"/>
                      </a:lnTo>
                      <a:lnTo>
                        <a:pt x="1105" y="609"/>
                      </a:lnTo>
                      <a:lnTo>
                        <a:pt x="1103" y="611"/>
                      </a:lnTo>
                      <a:lnTo>
                        <a:pt x="1101" y="611"/>
                      </a:lnTo>
                      <a:lnTo>
                        <a:pt x="1101" y="613"/>
                      </a:lnTo>
                      <a:lnTo>
                        <a:pt x="1101" y="611"/>
                      </a:lnTo>
                      <a:lnTo>
                        <a:pt x="1101" y="613"/>
                      </a:lnTo>
                      <a:lnTo>
                        <a:pt x="1100" y="613"/>
                      </a:lnTo>
                      <a:lnTo>
                        <a:pt x="1098" y="613"/>
                      </a:lnTo>
                      <a:lnTo>
                        <a:pt x="1098" y="614"/>
                      </a:lnTo>
                      <a:lnTo>
                        <a:pt x="1096" y="616"/>
                      </a:lnTo>
                      <a:lnTo>
                        <a:pt x="1098" y="616"/>
                      </a:lnTo>
                      <a:lnTo>
                        <a:pt x="1096" y="617"/>
                      </a:lnTo>
                      <a:lnTo>
                        <a:pt x="1096" y="619"/>
                      </a:lnTo>
                      <a:lnTo>
                        <a:pt x="1096" y="621"/>
                      </a:lnTo>
                      <a:lnTo>
                        <a:pt x="1096" y="622"/>
                      </a:lnTo>
                      <a:lnTo>
                        <a:pt x="1096" y="624"/>
                      </a:lnTo>
                      <a:lnTo>
                        <a:pt x="1094" y="624"/>
                      </a:lnTo>
                      <a:lnTo>
                        <a:pt x="1094" y="626"/>
                      </a:lnTo>
                      <a:lnTo>
                        <a:pt x="1094" y="627"/>
                      </a:lnTo>
                      <a:lnTo>
                        <a:pt x="1093" y="627"/>
                      </a:lnTo>
                      <a:lnTo>
                        <a:pt x="1093" y="629"/>
                      </a:lnTo>
                      <a:lnTo>
                        <a:pt x="1093" y="631"/>
                      </a:lnTo>
                      <a:lnTo>
                        <a:pt x="1091" y="631"/>
                      </a:lnTo>
                      <a:lnTo>
                        <a:pt x="1091" y="632"/>
                      </a:lnTo>
                      <a:lnTo>
                        <a:pt x="1089" y="632"/>
                      </a:lnTo>
                      <a:lnTo>
                        <a:pt x="1089" y="634"/>
                      </a:lnTo>
                      <a:lnTo>
                        <a:pt x="1088" y="634"/>
                      </a:lnTo>
                      <a:lnTo>
                        <a:pt x="1086" y="634"/>
                      </a:lnTo>
                      <a:lnTo>
                        <a:pt x="1086" y="636"/>
                      </a:lnTo>
                      <a:lnTo>
                        <a:pt x="1084" y="636"/>
                      </a:lnTo>
                      <a:lnTo>
                        <a:pt x="1084" y="637"/>
                      </a:lnTo>
                      <a:lnTo>
                        <a:pt x="1083" y="637"/>
                      </a:lnTo>
                      <a:lnTo>
                        <a:pt x="1083" y="639"/>
                      </a:lnTo>
                      <a:lnTo>
                        <a:pt x="1084" y="639"/>
                      </a:lnTo>
                      <a:lnTo>
                        <a:pt x="1083" y="640"/>
                      </a:lnTo>
                      <a:lnTo>
                        <a:pt x="1084" y="640"/>
                      </a:lnTo>
                      <a:lnTo>
                        <a:pt x="1083" y="640"/>
                      </a:lnTo>
                      <a:lnTo>
                        <a:pt x="1083" y="642"/>
                      </a:lnTo>
                      <a:lnTo>
                        <a:pt x="1081" y="644"/>
                      </a:lnTo>
                      <a:lnTo>
                        <a:pt x="1081" y="645"/>
                      </a:lnTo>
                      <a:lnTo>
                        <a:pt x="1079" y="647"/>
                      </a:lnTo>
                      <a:lnTo>
                        <a:pt x="1078" y="649"/>
                      </a:lnTo>
                      <a:lnTo>
                        <a:pt x="1076" y="650"/>
                      </a:lnTo>
                      <a:lnTo>
                        <a:pt x="1076" y="652"/>
                      </a:lnTo>
                      <a:lnTo>
                        <a:pt x="1074" y="652"/>
                      </a:lnTo>
                      <a:lnTo>
                        <a:pt x="1074" y="654"/>
                      </a:lnTo>
                      <a:lnTo>
                        <a:pt x="1074" y="655"/>
                      </a:lnTo>
                      <a:lnTo>
                        <a:pt x="1073" y="657"/>
                      </a:lnTo>
                      <a:lnTo>
                        <a:pt x="1071" y="659"/>
                      </a:lnTo>
                      <a:lnTo>
                        <a:pt x="1071" y="660"/>
                      </a:lnTo>
                      <a:lnTo>
                        <a:pt x="1069" y="660"/>
                      </a:lnTo>
                      <a:lnTo>
                        <a:pt x="1067" y="662"/>
                      </a:lnTo>
                      <a:lnTo>
                        <a:pt x="1066" y="662"/>
                      </a:lnTo>
                      <a:lnTo>
                        <a:pt x="1066" y="663"/>
                      </a:lnTo>
                      <a:lnTo>
                        <a:pt x="1064" y="663"/>
                      </a:lnTo>
                      <a:lnTo>
                        <a:pt x="1062" y="663"/>
                      </a:lnTo>
                      <a:lnTo>
                        <a:pt x="1061" y="663"/>
                      </a:lnTo>
                      <a:lnTo>
                        <a:pt x="1059" y="663"/>
                      </a:lnTo>
                      <a:lnTo>
                        <a:pt x="1057" y="663"/>
                      </a:lnTo>
                      <a:lnTo>
                        <a:pt x="1057" y="662"/>
                      </a:lnTo>
                      <a:lnTo>
                        <a:pt x="1056" y="662"/>
                      </a:lnTo>
                      <a:lnTo>
                        <a:pt x="1054" y="662"/>
                      </a:lnTo>
                      <a:lnTo>
                        <a:pt x="1052" y="663"/>
                      </a:lnTo>
                      <a:lnTo>
                        <a:pt x="1051" y="665"/>
                      </a:lnTo>
                      <a:lnTo>
                        <a:pt x="1034" y="678"/>
                      </a:lnTo>
                      <a:lnTo>
                        <a:pt x="1032" y="680"/>
                      </a:lnTo>
                      <a:lnTo>
                        <a:pt x="1015" y="691"/>
                      </a:lnTo>
                      <a:lnTo>
                        <a:pt x="1003" y="701"/>
                      </a:lnTo>
                      <a:lnTo>
                        <a:pt x="998" y="705"/>
                      </a:lnTo>
                      <a:lnTo>
                        <a:pt x="997" y="706"/>
                      </a:lnTo>
                      <a:lnTo>
                        <a:pt x="995" y="708"/>
                      </a:lnTo>
                      <a:lnTo>
                        <a:pt x="993" y="706"/>
                      </a:lnTo>
                      <a:lnTo>
                        <a:pt x="993" y="708"/>
                      </a:lnTo>
                      <a:lnTo>
                        <a:pt x="993" y="709"/>
                      </a:lnTo>
                      <a:lnTo>
                        <a:pt x="991" y="709"/>
                      </a:lnTo>
                      <a:lnTo>
                        <a:pt x="991" y="711"/>
                      </a:lnTo>
                      <a:lnTo>
                        <a:pt x="990" y="711"/>
                      </a:lnTo>
                      <a:lnTo>
                        <a:pt x="986" y="713"/>
                      </a:lnTo>
                      <a:lnTo>
                        <a:pt x="963" y="732"/>
                      </a:lnTo>
                      <a:lnTo>
                        <a:pt x="963" y="734"/>
                      </a:lnTo>
                      <a:lnTo>
                        <a:pt x="964" y="734"/>
                      </a:lnTo>
                      <a:lnTo>
                        <a:pt x="966" y="734"/>
                      </a:lnTo>
                      <a:lnTo>
                        <a:pt x="968" y="734"/>
                      </a:lnTo>
                      <a:lnTo>
                        <a:pt x="968" y="736"/>
                      </a:lnTo>
                      <a:lnTo>
                        <a:pt x="970" y="736"/>
                      </a:lnTo>
                      <a:lnTo>
                        <a:pt x="973" y="736"/>
                      </a:lnTo>
                      <a:lnTo>
                        <a:pt x="975" y="737"/>
                      </a:lnTo>
                      <a:lnTo>
                        <a:pt x="976" y="739"/>
                      </a:lnTo>
                      <a:lnTo>
                        <a:pt x="978" y="739"/>
                      </a:lnTo>
                      <a:lnTo>
                        <a:pt x="980" y="739"/>
                      </a:lnTo>
                      <a:lnTo>
                        <a:pt x="986" y="737"/>
                      </a:lnTo>
                      <a:lnTo>
                        <a:pt x="990" y="737"/>
                      </a:lnTo>
                      <a:lnTo>
                        <a:pt x="991" y="736"/>
                      </a:lnTo>
                      <a:lnTo>
                        <a:pt x="991" y="737"/>
                      </a:lnTo>
                      <a:lnTo>
                        <a:pt x="993" y="737"/>
                      </a:lnTo>
                      <a:lnTo>
                        <a:pt x="997" y="737"/>
                      </a:lnTo>
                      <a:lnTo>
                        <a:pt x="997" y="739"/>
                      </a:lnTo>
                      <a:lnTo>
                        <a:pt x="998" y="739"/>
                      </a:lnTo>
                      <a:lnTo>
                        <a:pt x="1000" y="739"/>
                      </a:lnTo>
                      <a:lnTo>
                        <a:pt x="1002" y="741"/>
                      </a:lnTo>
                      <a:lnTo>
                        <a:pt x="1002" y="742"/>
                      </a:lnTo>
                      <a:lnTo>
                        <a:pt x="1002" y="744"/>
                      </a:lnTo>
                      <a:lnTo>
                        <a:pt x="1003" y="744"/>
                      </a:lnTo>
                      <a:lnTo>
                        <a:pt x="1003" y="746"/>
                      </a:lnTo>
                      <a:lnTo>
                        <a:pt x="1005" y="749"/>
                      </a:lnTo>
                      <a:lnTo>
                        <a:pt x="1007" y="751"/>
                      </a:lnTo>
                      <a:lnTo>
                        <a:pt x="1008" y="751"/>
                      </a:lnTo>
                      <a:lnTo>
                        <a:pt x="1012" y="751"/>
                      </a:lnTo>
                      <a:lnTo>
                        <a:pt x="1013" y="752"/>
                      </a:lnTo>
                      <a:lnTo>
                        <a:pt x="1015" y="752"/>
                      </a:lnTo>
                      <a:lnTo>
                        <a:pt x="1017" y="754"/>
                      </a:lnTo>
                      <a:lnTo>
                        <a:pt x="1018" y="755"/>
                      </a:lnTo>
                      <a:lnTo>
                        <a:pt x="1020" y="757"/>
                      </a:lnTo>
                      <a:lnTo>
                        <a:pt x="1020" y="759"/>
                      </a:lnTo>
                      <a:lnTo>
                        <a:pt x="1020" y="760"/>
                      </a:lnTo>
                      <a:lnTo>
                        <a:pt x="1018" y="762"/>
                      </a:lnTo>
                      <a:lnTo>
                        <a:pt x="1018" y="764"/>
                      </a:lnTo>
                      <a:lnTo>
                        <a:pt x="1018" y="765"/>
                      </a:lnTo>
                      <a:lnTo>
                        <a:pt x="1017" y="765"/>
                      </a:lnTo>
                      <a:lnTo>
                        <a:pt x="1015" y="767"/>
                      </a:lnTo>
                      <a:lnTo>
                        <a:pt x="1013" y="767"/>
                      </a:lnTo>
                      <a:lnTo>
                        <a:pt x="1012" y="767"/>
                      </a:lnTo>
                      <a:lnTo>
                        <a:pt x="1010" y="767"/>
                      </a:lnTo>
                      <a:lnTo>
                        <a:pt x="1008" y="767"/>
                      </a:lnTo>
                      <a:lnTo>
                        <a:pt x="1007" y="767"/>
                      </a:lnTo>
                      <a:lnTo>
                        <a:pt x="1007" y="769"/>
                      </a:lnTo>
                      <a:lnTo>
                        <a:pt x="1005" y="770"/>
                      </a:lnTo>
                      <a:lnTo>
                        <a:pt x="1005" y="772"/>
                      </a:lnTo>
                      <a:lnTo>
                        <a:pt x="1005" y="774"/>
                      </a:lnTo>
                      <a:lnTo>
                        <a:pt x="1005" y="775"/>
                      </a:lnTo>
                      <a:lnTo>
                        <a:pt x="1007" y="777"/>
                      </a:lnTo>
                      <a:lnTo>
                        <a:pt x="1007" y="778"/>
                      </a:lnTo>
                      <a:lnTo>
                        <a:pt x="1007" y="780"/>
                      </a:lnTo>
                      <a:lnTo>
                        <a:pt x="1008" y="780"/>
                      </a:lnTo>
                      <a:lnTo>
                        <a:pt x="1010" y="782"/>
                      </a:lnTo>
                      <a:lnTo>
                        <a:pt x="1012" y="783"/>
                      </a:lnTo>
                      <a:lnTo>
                        <a:pt x="1012" y="785"/>
                      </a:lnTo>
                      <a:lnTo>
                        <a:pt x="1012" y="787"/>
                      </a:lnTo>
                      <a:lnTo>
                        <a:pt x="1012" y="788"/>
                      </a:lnTo>
                      <a:lnTo>
                        <a:pt x="1010" y="788"/>
                      </a:lnTo>
                      <a:lnTo>
                        <a:pt x="1008" y="788"/>
                      </a:lnTo>
                      <a:lnTo>
                        <a:pt x="1007" y="790"/>
                      </a:lnTo>
                      <a:lnTo>
                        <a:pt x="1005" y="790"/>
                      </a:lnTo>
                      <a:lnTo>
                        <a:pt x="1003" y="792"/>
                      </a:lnTo>
                      <a:lnTo>
                        <a:pt x="1002" y="793"/>
                      </a:lnTo>
                      <a:lnTo>
                        <a:pt x="1002" y="795"/>
                      </a:lnTo>
                      <a:lnTo>
                        <a:pt x="1002" y="796"/>
                      </a:lnTo>
                      <a:lnTo>
                        <a:pt x="1003" y="796"/>
                      </a:lnTo>
                      <a:lnTo>
                        <a:pt x="1005" y="796"/>
                      </a:lnTo>
                      <a:lnTo>
                        <a:pt x="1007" y="798"/>
                      </a:lnTo>
                      <a:lnTo>
                        <a:pt x="1007" y="800"/>
                      </a:lnTo>
                      <a:lnTo>
                        <a:pt x="1007" y="801"/>
                      </a:lnTo>
                      <a:lnTo>
                        <a:pt x="1005" y="803"/>
                      </a:lnTo>
                      <a:lnTo>
                        <a:pt x="1003" y="805"/>
                      </a:lnTo>
                      <a:lnTo>
                        <a:pt x="1002" y="805"/>
                      </a:lnTo>
                      <a:lnTo>
                        <a:pt x="1000" y="806"/>
                      </a:lnTo>
                      <a:lnTo>
                        <a:pt x="998" y="806"/>
                      </a:lnTo>
                      <a:lnTo>
                        <a:pt x="997" y="806"/>
                      </a:lnTo>
                      <a:lnTo>
                        <a:pt x="995" y="806"/>
                      </a:lnTo>
                      <a:lnTo>
                        <a:pt x="995" y="808"/>
                      </a:lnTo>
                      <a:lnTo>
                        <a:pt x="993" y="808"/>
                      </a:lnTo>
                      <a:lnTo>
                        <a:pt x="993" y="810"/>
                      </a:lnTo>
                      <a:lnTo>
                        <a:pt x="993" y="811"/>
                      </a:lnTo>
                      <a:lnTo>
                        <a:pt x="993" y="815"/>
                      </a:lnTo>
                      <a:lnTo>
                        <a:pt x="995" y="816"/>
                      </a:lnTo>
                      <a:lnTo>
                        <a:pt x="995" y="818"/>
                      </a:lnTo>
                      <a:lnTo>
                        <a:pt x="995" y="819"/>
                      </a:lnTo>
                      <a:lnTo>
                        <a:pt x="995" y="821"/>
                      </a:lnTo>
                      <a:lnTo>
                        <a:pt x="997" y="821"/>
                      </a:lnTo>
                      <a:lnTo>
                        <a:pt x="998" y="823"/>
                      </a:lnTo>
                      <a:lnTo>
                        <a:pt x="998" y="824"/>
                      </a:lnTo>
                      <a:lnTo>
                        <a:pt x="998" y="826"/>
                      </a:lnTo>
                      <a:lnTo>
                        <a:pt x="998" y="828"/>
                      </a:lnTo>
                      <a:lnTo>
                        <a:pt x="997" y="828"/>
                      </a:lnTo>
                      <a:lnTo>
                        <a:pt x="997" y="826"/>
                      </a:lnTo>
                      <a:lnTo>
                        <a:pt x="993" y="824"/>
                      </a:lnTo>
                      <a:lnTo>
                        <a:pt x="991" y="824"/>
                      </a:lnTo>
                      <a:lnTo>
                        <a:pt x="990" y="824"/>
                      </a:lnTo>
                      <a:lnTo>
                        <a:pt x="986" y="824"/>
                      </a:lnTo>
                      <a:lnTo>
                        <a:pt x="985" y="824"/>
                      </a:lnTo>
                      <a:lnTo>
                        <a:pt x="985" y="826"/>
                      </a:lnTo>
                      <a:lnTo>
                        <a:pt x="983" y="828"/>
                      </a:lnTo>
                      <a:lnTo>
                        <a:pt x="983" y="829"/>
                      </a:lnTo>
                      <a:lnTo>
                        <a:pt x="981" y="829"/>
                      </a:lnTo>
                      <a:lnTo>
                        <a:pt x="980" y="831"/>
                      </a:lnTo>
                      <a:lnTo>
                        <a:pt x="978" y="833"/>
                      </a:lnTo>
                      <a:lnTo>
                        <a:pt x="976" y="833"/>
                      </a:lnTo>
                      <a:lnTo>
                        <a:pt x="976" y="834"/>
                      </a:lnTo>
                      <a:lnTo>
                        <a:pt x="975" y="834"/>
                      </a:lnTo>
                      <a:lnTo>
                        <a:pt x="975" y="836"/>
                      </a:lnTo>
                      <a:lnTo>
                        <a:pt x="975" y="838"/>
                      </a:lnTo>
                      <a:lnTo>
                        <a:pt x="973" y="838"/>
                      </a:lnTo>
                      <a:lnTo>
                        <a:pt x="973" y="839"/>
                      </a:lnTo>
                      <a:lnTo>
                        <a:pt x="973" y="841"/>
                      </a:lnTo>
                      <a:lnTo>
                        <a:pt x="971" y="842"/>
                      </a:lnTo>
                      <a:lnTo>
                        <a:pt x="971" y="844"/>
                      </a:lnTo>
                      <a:lnTo>
                        <a:pt x="971" y="846"/>
                      </a:lnTo>
                      <a:lnTo>
                        <a:pt x="971" y="847"/>
                      </a:lnTo>
                      <a:lnTo>
                        <a:pt x="971" y="849"/>
                      </a:lnTo>
                      <a:lnTo>
                        <a:pt x="971" y="851"/>
                      </a:lnTo>
                      <a:lnTo>
                        <a:pt x="971" y="852"/>
                      </a:lnTo>
                      <a:lnTo>
                        <a:pt x="971" y="854"/>
                      </a:lnTo>
                      <a:lnTo>
                        <a:pt x="970" y="854"/>
                      </a:lnTo>
                      <a:lnTo>
                        <a:pt x="970" y="856"/>
                      </a:lnTo>
                      <a:lnTo>
                        <a:pt x="968" y="856"/>
                      </a:lnTo>
                      <a:lnTo>
                        <a:pt x="964" y="856"/>
                      </a:lnTo>
                      <a:lnTo>
                        <a:pt x="963" y="857"/>
                      </a:lnTo>
                      <a:lnTo>
                        <a:pt x="963" y="859"/>
                      </a:lnTo>
                      <a:lnTo>
                        <a:pt x="961" y="859"/>
                      </a:lnTo>
                      <a:lnTo>
                        <a:pt x="961" y="861"/>
                      </a:lnTo>
                      <a:lnTo>
                        <a:pt x="959" y="861"/>
                      </a:lnTo>
                      <a:lnTo>
                        <a:pt x="956" y="862"/>
                      </a:lnTo>
                      <a:lnTo>
                        <a:pt x="954" y="862"/>
                      </a:lnTo>
                      <a:lnTo>
                        <a:pt x="954" y="861"/>
                      </a:lnTo>
                      <a:lnTo>
                        <a:pt x="953" y="861"/>
                      </a:lnTo>
                      <a:lnTo>
                        <a:pt x="949" y="862"/>
                      </a:lnTo>
                      <a:lnTo>
                        <a:pt x="948" y="862"/>
                      </a:lnTo>
                      <a:lnTo>
                        <a:pt x="946" y="862"/>
                      </a:lnTo>
                      <a:lnTo>
                        <a:pt x="944" y="862"/>
                      </a:lnTo>
                      <a:lnTo>
                        <a:pt x="944" y="864"/>
                      </a:lnTo>
                      <a:lnTo>
                        <a:pt x="942" y="864"/>
                      </a:lnTo>
                      <a:lnTo>
                        <a:pt x="941" y="864"/>
                      </a:lnTo>
                      <a:lnTo>
                        <a:pt x="939" y="864"/>
                      </a:lnTo>
                      <a:lnTo>
                        <a:pt x="937" y="864"/>
                      </a:lnTo>
                      <a:lnTo>
                        <a:pt x="937" y="865"/>
                      </a:lnTo>
                      <a:lnTo>
                        <a:pt x="936" y="865"/>
                      </a:lnTo>
                      <a:lnTo>
                        <a:pt x="934" y="867"/>
                      </a:lnTo>
                      <a:lnTo>
                        <a:pt x="932" y="869"/>
                      </a:lnTo>
                      <a:lnTo>
                        <a:pt x="931" y="870"/>
                      </a:lnTo>
                      <a:lnTo>
                        <a:pt x="929" y="872"/>
                      </a:lnTo>
                      <a:lnTo>
                        <a:pt x="927" y="872"/>
                      </a:lnTo>
                      <a:lnTo>
                        <a:pt x="926" y="874"/>
                      </a:lnTo>
                      <a:lnTo>
                        <a:pt x="924" y="874"/>
                      </a:lnTo>
                      <a:lnTo>
                        <a:pt x="922" y="875"/>
                      </a:lnTo>
                      <a:lnTo>
                        <a:pt x="921" y="877"/>
                      </a:lnTo>
                      <a:lnTo>
                        <a:pt x="919" y="877"/>
                      </a:lnTo>
                      <a:lnTo>
                        <a:pt x="919" y="879"/>
                      </a:lnTo>
                      <a:lnTo>
                        <a:pt x="919" y="880"/>
                      </a:lnTo>
                      <a:lnTo>
                        <a:pt x="919" y="882"/>
                      </a:lnTo>
                      <a:lnTo>
                        <a:pt x="919" y="884"/>
                      </a:lnTo>
                      <a:lnTo>
                        <a:pt x="921" y="885"/>
                      </a:lnTo>
                      <a:lnTo>
                        <a:pt x="921" y="887"/>
                      </a:lnTo>
                      <a:lnTo>
                        <a:pt x="921" y="888"/>
                      </a:lnTo>
                      <a:lnTo>
                        <a:pt x="921" y="890"/>
                      </a:lnTo>
                      <a:lnTo>
                        <a:pt x="921" y="892"/>
                      </a:lnTo>
                      <a:lnTo>
                        <a:pt x="921" y="893"/>
                      </a:lnTo>
                      <a:lnTo>
                        <a:pt x="921" y="897"/>
                      </a:lnTo>
                      <a:lnTo>
                        <a:pt x="921" y="902"/>
                      </a:lnTo>
                      <a:lnTo>
                        <a:pt x="922" y="905"/>
                      </a:lnTo>
                      <a:lnTo>
                        <a:pt x="922" y="907"/>
                      </a:lnTo>
                      <a:lnTo>
                        <a:pt x="921" y="907"/>
                      </a:lnTo>
                      <a:lnTo>
                        <a:pt x="919" y="910"/>
                      </a:lnTo>
                      <a:lnTo>
                        <a:pt x="919" y="911"/>
                      </a:lnTo>
                      <a:lnTo>
                        <a:pt x="917" y="915"/>
                      </a:lnTo>
                      <a:lnTo>
                        <a:pt x="915" y="915"/>
                      </a:lnTo>
                      <a:lnTo>
                        <a:pt x="915" y="916"/>
                      </a:lnTo>
                      <a:lnTo>
                        <a:pt x="914" y="918"/>
                      </a:lnTo>
                      <a:lnTo>
                        <a:pt x="914" y="920"/>
                      </a:lnTo>
                      <a:lnTo>
                        <a:pt x="912" y="920"/>
                      </a:lnTo>
                      <a:lnTo>
                        <a:pt x="910" y="921"/>
                      </a:lnTo>
                      <a:lnTo>
                        <a:pt x="910" y="923"/>
                      </a:lnTo>
                      <a:lnTo>
                        <a:pt x="909" y="923"/>
                      </a:lnTo>
                      <a:lnTo>
                        <a:pt x="909" y="925"/>
                      </a:lnTo>
                      <a:lnTo>
                        <a:pt x="907" y="925"/>
                      </a:lnTo>
                      <a:lnTo>
                        <a:pt x="904" y="930"/>
                      </a:lnTo>
                      <a:lnTo>
                        <a:pt x="904" y="931"/>
                      </a:lnTo>
                      <a:lnTo>
                        <a:pt x="902" y="934"/>
                      </a:lnTo>
                      <a:lnTo>
                        <a:pt x="902" y="936"/>
                      </a:lnTo>
                      <a:lnTo>
                        <a:pt x="904" y="936"/>
                      </a:lnTo>
                      <a:lnTo>
                        <a:pt x="904" y="939"/>
                      </a:lnTo>
                      <a:lnTo>
                        <a:pt x="905" y="941"/>
                      </a:lnTo>
                      <a:lnTo>
                        <a:pt x="905" y="943"/>
                      </a:lnTo>
                      <a:lnTo>
                        <a:pt x="907" y="944"/>
                      </a:lnTo>
                      <a:lnTo>
                        <a:pt x="907" y="946"/>
                      </a:lnTo>
                      <a:lnTo>
                        <a:pt x="909" y="948"/>
                      </a:lnTo>
                      <a:lnTo>
                        <a:pt x="910" y="949"/>
                      </a:lnTo>
                      <a:lnTo>
                        <a:pt x="912" y="949"/>
                      </a:lnTo>
                      <a:lnTo>
                        <a:pt x="914" y="951"/>
                      </a:lnTo>
                      <a:lnTo>
                        <a:pt x="915" y="953"/>
                      </a:lnTo>
                      <a:lnTo>
                        <a:pt x="917" y="953"/>
                      </a:lnTo>
                      <a:lnTo>
                        <a:pt x="917" y="954"/>
                      </a:lnTo>
                      <a:lnTo>
                        <a:pt x="919" y="954"/>
                      </a:lnTo>
                      <a:lnTo>
                        <a:pt x="921" y="956"/>
                      </a:lnTo>
                      <a:lnTo>
                        <a:pt x="922" y="957"/>
                      </a:lnTo>
                      <a:lnTo>
                        <a:pt x="924" y="957"/>
                      </a:lnTo>
                      <a:lnTo>
                        <a:pt x="926" y="959"/>
                      </a:lnTo>
                      <a:lnTo>
                        <a:pt x="924" y="961"/>
                      </a:lnTo>
                      <a:lnTo>
                        <a:pt x="924" y="962"/>
                      </a:lnTo>
                      <a:lnTo>
                        <a:pt x="924" y="964"/>
                      </a:lnTo>
                      <a:lnTo>
                        <a:pt x="924" y="966"/>
                      </a:lnTo>
                      <a:lnTo>
                        <a:pt x="924" y="967"/>
                      </a:lnTo>
                      <a:lnTo>
                        <a:pt x="924" y="969"/>
                      </a:lnTo>
                      <a:lnTo>
                        <a:pt x="924" y="972"/>
                      </a:lnTo>
                      <a:lnTo>
                        <a:pt x="922" y="972"/>
                      </a:lnTo>
                      <a:lnTo>
                        <a:pt x="922" y="974"/>
                      </a:lnTo>
                      <a:lnTo>
                        <a:pt x="922" y="976"/>
                      </a:lnTo>
                      <a:lnTo>
                        <a:pt x="922" y="977"/>
                      </a:lnTo>
                      <a:lnTo>
                        <a:pt x="922" y="979"/>
                      </a:lnTo>
                      <a:lnTo>
                        <a:pt x="922" y="980"/>
                      </a:lnTo>
                      <a:lnTo>
                        <a:pt x="922" y="982"/>
                      </a:lnTo>
                      <a:lnTo>
                        <a:pt x="922" y="984"/>
                      </a:lnTo>
                      <a:lnTo>
                        <a:pt x="921" y="984"/>
                      </a:lnTo>
                      <a:lnTo>
                        <a:pt x="921" y="985"/>
                      </a:lnTo>
                      <a:lnTo>
                        <a:pt x="921" y="987"/>
                      </a:lnTo>
                      <a:lnTo>
                        <a:pt x="919" y="989"/>
                      </a:lnTo>
                      <a:lnTo>
                        <a:pt x="921" y="990"/>
                      </a:lnTo>
                      <a:lnTo>
                        <a:pt x="919" y="994"/>
                      </a:lnTo>
                      <a:lnTo>
                        <a:pt x="919" y="995"/>
                      </a:lnTo>
                      <a:lnTo>
                        <a:pt x="917" y="995"/>
                      </a:lnTo>
                      <a:lnTo>
                        <a:pt x="917" y="997"/>
                      </a:lnTo>
                      <a:lnTo>
                        <a:pt x="917" y="998"/>
                      </a:lnTo>
                      <a:lnTo>
                        <a:pt x="915" y="1000"/>
                      </a:lnTo>
                      <a:lnTo>
                        <a:pt x="915" y="1002"/>
                      </a:lnTo>
                      <a:lnTo>
                        <a:pt x="915" y="1003"/>
                      </a:lnTo>
                      <a:lnTo>
                        <a:pt x="914" y="1005"/>
                      </a:lnTo>
                      <a:lnTo>
                        <a:pt x="914" y="1007"/>
                      </a:lnTo>
                      <a:lnTo>
                        <a:pt x="912" y="1010"/>
                      </a:lnTo>
                      <a:lnTo>
                        <a:pt x="912" y="1012"/>
                      </a:lnTo>
                      <a:lnTo>
                        <a:pt x="910" y="1013"/>
                      </a:lnTo>
                      <a:lnTo>
                        <a:pt x="909" y="1013"/>
                      </a:lnTo>
                      <a:lnTo>
                        <a:pt x="907" y="1015"/>
                      </a:lnTo>
                      <a:lnTo>
                        <a:pt x="905" y="1015"/>
                      </a:lnTo>
                      <a:lnTo>
                        <a:pt x="904" y="1018"/>
                      </a:lnTo>
                      <a:lnTo>
                        <a:pt x="902" y="1021"/>
                      </a:lnTo>
                      <a:lnTo>
                        <a:pt x="902" y="1023"/>
                      </a:lnTo>
                      <a:lnTo>
                        <a:pt x="902" y="1025"/>
                      </a:lnTo>
                      <a:lnTo>
                        <a:pt x="902" y="1026"/>
                      </a:lnTo>
                      <a:lnTo>
                        <a:pt x="902" y="1028"/>
                      </a:lnTo>
                      <a:lnTo>
                        <a:pt x="900" y="1028"/>
                      </a:lnTo>
                      <a:lnTo>
                        <a:pt x="900" y="1030"/>
                      </a:lnTo>
                      <a:lnTo>
                        <a:pt x="899" y="1031"/>
                      </a:lnTo>
                      <a:lnTo>
                        <a:pt x="895" y="1033"/>
                      </a:lnTo>
                      <a:lnTo>
                        <a:pt x="895" y="1035"/>
                      </a:lnTo>
                      <a:lnTo>
                        <a:pt x="895" y="1036"/>
                      </a:lnTo>
                      <a:lnTo>
                        <a:pt x="894" y="1036"/>
                      </a:lnTo>
                      <a:lnTo>
                        <a:pt x="894" y="1038"/>
                      </a:lnTo>
                      <a:lnTo>
                        <a:pt x="894" y="1040"/>
                      </a:lnTo>
                      <a:lnTo>
                        <a:pt x="892" y="1041"/>
                      </a:lnTo>
                      <a:lnTo>
                        <a:pt x="890" y="1043"/>
                      </a:lnTo>
                      <a:lnTo>
                        <a:pt x="888" y="1046"/>
                      </a:lnTo>
                      <a:lnTo>
                        <a:pt x="887" y="1046"/>
                      </a:lnTo>
                      <a:lnTo>
                        <a:pt x="887" y="1048"/>
                      </a:lnTo>
                      <a:lnTo>
                        <a:pt x="885" y="1049"/>
                      </a:lnTo>
                      <a:lnTo>
                        <a:pt x="885" y="1051"/>
                      </a:lnTo>
                      <a:lnTo>
                        <a:pt x="883" y="1053"/>
                      </a:lnTo>
                      <a:lnTo>
                        <a:pt x="883" y="1054"/>
                      </a:lnTo>
                      <a:lnTo>
                        <a:pt x="882" y="1054"/>
                      </a:lnTo>
                      <a:lnTo>
                        <a:pt x="880" y="1054"/>
                      </a:lnTo>
                      <a:lnTo>
                        <a:pt x="878" y="1054"/>
                      </a:lnTo>
                      <a:lnTo>
                        <a:pt x="875" y="1056"/>
                      </a:lnTo>
                      <a:lnTo>
                        <a:pt x="873" y="1058"/>
                      </a:lnTo>
                      <a:lnTo>
                        <a:pt x="872" y="1058"/>
                      </a:lnTo>
                      <a:lnTo>
                        <a:pt x="870" y="1059"/>
                      </a:lnTo>
                      <a:lnTo>
                        <a:pt x="868" y="1061"/>
                      </a:lnTo>
                      <a:lnTo>
                        <a:pt x="866" y="1063"/>
                      </a:lnTo>
                      <a:lnTo>
                        <a:pt x="866" y="1064"/>
                      </a:lnTo>
                      <a:lnTo>
                        <a:pt x="865" y="1066"/>
                      </a:lnTo>
                      <a:lnTo>
                        <a:pt x="863" y="1067"/>
                      </a:lnTo>
                      <a:lnTo>
                        <a:pt x="861" y="1069"/>
                      </a:lnTo>
                      <a:lnTo>
                        <a:pt x="860" y="1071"/>
                      </a:lnTo>
                      <a:lnTo>
                        <a:pt x="858" y="1072"/>
                      </a:lnTo>
                      <a:lnTo>
                        <a:pt x="858" y="1074"/>
                      </a:lnTo>
                      <a:lnTo>
                        <a:pt x="858" y="1076"/>
                      </a:lnTo>
                      <a:lnTo>
                        <a:pt x="858" y="1077"/>
                      </a:lnTo>
                      <a:lnTo>
                        <a:pt x="856" y="1077"/>
                      </a:lnTo>
                      <a:lnTo>
                        <a:pt x="856" y="1079"/>
                      </a:lnTo>
                      <a:lnTo>
                        <a:pt x="855" y="1081"/>
                      </a:lnTo>
                      <a:lnTo>
                        <a:pt x="855" y="1082"/>
                      </a:lnTo>
                      <a:lnTo>
                        <a:pt x="853" y="1082"/>
                      </a:lnTo>
                      <a:lnTo>
                        <a:pt x="853" y="1084"/>
                      </a:lnTo>
                      <a:lnTo>
                        <a:pt x="853" y="1086"/>
                      </a:lnTo>
                      <a:lnTo>
                        <a:pt x="851" y="1086"/>
                      </a:lnTo>
                      <a:lnTo>
                        <a:pt x="850" y="1087"/>
                      </a:lnTo>
                      <a:lnTo>
                        <a:pt x="848" y="1089"/>
                      </a:lnTo>
                      <a:lnTo>
                        <a:pt x="848" y="1090"/>
                      </a:lnTo>
                      <a:lnTo>
                        <a:pt x="846" y="1090"/>
                      </a:lnTo>
                      <a:lnTo>
                        <a:pt x="845" y="1090"/>
                      </a:lnTo>
                      <a:lnTo>
                        <a:pt x="845" y="1092"/>
                      </a:lnTo>
                      <a:lnTo>
                        <a:pt x="845" y="1094"/>
                      </a:lnTo>
                      <a:lnTo>
                        <a:pt x="843" y="1094"/>
                      </a:lnTo>
                      <a:lnTo>
                        <a:pt x="843" y="1095"/>
                      </a:lnTo>
                      <a:lnTo>
                        <a:pt x="841" y="1095"/>
                      </a:lnTo>
                      <a:lnTo>
                        <a:pt x="839" y="1097"/>
                      </a:lnTo>
                      <a:lnTo>
                        <a:pt x="839" y="1100"/>
                      </a:lnTo>
                      <a:lnTo>
                        <a:pt x="839" y="1102"/>
                      </a:lnTo>
                      <a:lnTo>
                        <a:pt x="839" y="1104"/>
                      </a:lnTo>
                      <a:lnTo>
                        <a:pt x="838" y="1105"/>
                      </a:lnTo>
                      <a:lnTo>
                        <a:pt x="838" y="1107"/>
                      </a:lnTo>
                      <a:lnTo>
                        <a:pt x="836" y="1107"/>
                      </a:lnTo>
                      <a:lnTo>
                        <a:pt x="836" y="1109"/>
                      </a:lnTo>
                      <a:lnTo>
                        <a:pt x="836" y="1110"/>
                      </a:lnTo>
                      <a:lnTo>
                        <a:pt x="834" y="1110"/>
                      </a:lnTo>
                      <a:lnTo>
                        <a:pt x="834" y="1113"/>
                      </a:lnTo>
                      <a:lnTo>
                        <a:pt x="834" y="1115"/>
                      </a:lnTo>
                      <a:lnTo>
                        <a:pt x="836" y="1117"/>
                      </a:lnTo>
                      <a:lnTo>
                        <a:pt x="836" y="1118"/>
                      </a:lnTo>
                      <a:lnTo>
                        <a:pt x="836" y="1120"/>
                      </a:lnTo>
                      <a:lnTo>
                        <a:pt x="834" y="1120"/>
                      </a:lnTo>
                      <a:lnTo>
                        <a:pt x="834" y="1122"/>
                      </a:lnTo>
                      <a:lnTo>
                        <a:pt x="834" y="1123"/>
                      </a:lnTo>
                      <a:lnTo>
                        <a:pt x="833" y="1125"/>
                      </a:lnTo>
                      <a:lnTo>
                        <a:pt x="833" y="1127"/>
                      </a:lnTo>
                      <a:lnTo>
                        <a:pt x="831" y="1127"/>
                      </a:lnTo>
                      <a:lnTo>
                        <a:pt x="831" y="1128"/>
                      </a:lnTo>
                      <a:lnTo>
                        <a:pt x="831" y="1130"/>
                      </a:lnTo>
                      <a:lnTo>
                        <a:pt x="829" y="1132"/>
                      </a:lnTo>
                      <a:lnTo>
                        <a:pt x="829" y="1133"/>
                      </a:lnTo>
                      <a:lnTo>
                        <a:pt x="829" y="1135"/>
                      </a:lnTo>
                      <a:lnTo>
                        <a:pt x="828" y="1136"/>
                      </a:lnTo>
                      <a:lnTo>
                        <a:pt x="826" y="1138"/>
                      </a:lnTo>
                      <a:lnTo>
                        <a:pt x="826" y="1140"/>
                      </a:lnTo>
                      <a:lnTo>
                        <a:pt x="824" y="1141"/>
                      </a:lnTo>
                      <a:lnTo>
                        <a:pt x="824" y="1143"/>
                      </a:lnTo>
                      <a:lnTo>
                        <a:pt x="824" y="1145"/>
                      </a:lnTo>
                      <a:lnTo>
                        <a:pt x="824" y="1146"/>
                      </a:lnTo>
                      <a:lnTo>
                        <a:pt x="823" y="1146"/>
                      </a:lnTo>
                      <a:lnTo>
                        <a:pt x="797" y="1145"/>
                      </a:lnTo>
                      <a:lnTo>
                        <a:pt x="763" y="1143"/>
                      </a:lnTo>
                      <a:lnTo>
                        <a:pt x="721" y="1140"/>
                      </a:lnTo>
                      <a:lnTo>
                        <a:pt x="655" y="1136"/>
                      </a:lnTo>
                      <a:lnTo>
                        <a:pt x="630" y="1135"/>
                      </a:lnTo>
                      <a:lnTo>
                        <a:pt x="596" y="1132"/>
                      </a:lnTo>
                      <a:lnTo>
                        <a:pt x="547" y="1128"/>
                      </a:lnTo>
                      <a:lnTo>
                        <a:pt x="503" y="1125"/>
                      </a:lnTo>
                      <a:lnTo>
                        <a:pt x="454" y="1122"/>
                      </a:lnTo>
                      <a:lnTo>
                        <a:pt x="407" y="1118"/>
                      </a:lnTo>
                      <a:lnTo>
                        <a:pt x="368" y="1115"/>
                      </a:lnTo>
                      <a:lnTo>
                        <a:pt x="260" y="1107"/>
                      </a:lnTo>
                      <a:lnTo>
                        <a:pt x="211" y="1102"/>
                      </a:lnTo>
                      <a:lnTo>
                        <a:pt x="211" y="1104"/>
                      </a:lnTo>
                      <a:lnTo>
                        <a:pt x="209" y="1104"/>
                      </a:lnTo>
                      <a:lnTo>
                        <a:pt x="208" y="1104"/>
                      </a:lnTo>
                      <a:lnTo>
                        <a:pt x="206" y="1105"/>
                      </a:lnTo>
                      <a:lnTo>
                        <a:pt x="204" y="1105"/>
                      </a:lnTo>
                      <a:lnTo>
                        <a:pt x="204" y="1107"/>
                      </a:lnTo>
                      <a:lnTo>
                        <a:pt x="203" y="1107"/>
                      </a:lnTo>
                      <a:lnTo>
                        <a:pt x="203" y="1105"/>
                      </a:lnTo>
                      <a:lnTo>
                        <a:pt x="203" y="1104"/>
                      </a:lnTo>
                      <a:lnTo>
                        <a:pt x="201" y="1104"/>
                      </a:lnTo>
                      <a:lnTo>
                        <a:pt x="201" y="1102"/>
                      </a:lnTo>
                      <a:lnTo>
                        <a:pt x="201" y="1100"/>
                      </a:lnTo>
                      <a:lnTo>
                        <a:pt x="201" y="1099"/>
                      </a:lnTo>
                      <a:lnTo>
                        <a:pt x="201" y="1095"/>
                      </a:lnTo>
                      <a:lnTo>
                        <a:pt x="199" y="1095"/>
                      </a:lnTo>
                      <a:lnTo>
                        <a:pt x="199" y="1094"/>
                      </a:lnTo>
                      <a:lnTo>
                        <a:pt x="198" y="1092"/>
                      </a:lnTo>
                      <a:lnTo>
                        <a:pt x="196" y="1090"/>
                      </a:lnTo>
                      <a:lnTo>
                        <a:pt x="194" y="1090"/>
                      </a:lnTo>
                      <a:lnTo>
                        <a:pt x="193" y="1090"/>
                      </a:lnTo>
                      <a:lnTo>
                        <a:pt x="191" y="1090"/>
                      </a:lnTo>
                      <a:lnTo>
                        <a:pt x="189" y="1090"/>
                      </a:lnTo>
                      <a:lnTo>
                        <a:pt x="188" y="1090"/>
                      </a:lnTo>
                      <a:lnTo>
                        <a:pt x="186" y="1090"/>
                      </a:lnTo>
                      <a:lnTo>
                        <a:pt x="186" y="1089"/>
                      </a:lnTo>
                      <a:lnTo>
                        <a:pt x="184" y="1089"/>
                      </a:lnTo>
                      <a:lnTo>
                        <a:pt x="182" y="1090"/>
                      </a:lnTo>
                      <a:lnTo>
                        <a:pt x="181" y="1090"/>
                      </a:lnTo>
                      <a:lnTo>
                        <a:pt x="179" y="1089"/>
                      </a:lnTo>
                      <a:lnTo>
                        <a:pt x="177" y="1089"/>
                      </a:lnTo>
                      <a:lnTo>
                        <a:pt x="177" y="1087"/>
                      </a:lnTo>
                      <a:lnTo>
                        <a:pt x="176" y="1087"/>
                      </a:lnTo>
                      <a:lnTo>
                        <a:pt x="176" y="1086"/>
                      </a:lnTo>
                      <a:lnTo>
                        <a:pt x="174" y="1086"/>
                      </a:lnTo>
                      <a:lnTo>
                        <a:pt x="176" y="1084"/>
                      </a:lnTo>
                      <a:lnTo>
                        <a:pt x="176" y="1082"/>
                      </a:lnTo>
                      <a:lnTo>
                        <a:pt x="174" y="1082"/>
                      </a:lnTo>
                      <a:lnTo>
                        <a:pt x="176" y="1081"/>
                      </a:lnTo>
                      <a:lnTo>
                        <a:pt x="176" y="1079"/>
                      </a:lnTo>
                      <a:lnTo>
                        <a:pt x="177" y="1079"/>
                      </a:lnTo>
                      <a:lnTo>
                        <a:pt x="177" y="1077"/>
                      </a:lnTo>
                      <a:lnTo>
                        <a:pt x="176" y="1077"/>
                      </a:lnTo>
                      <a:lnTo>
                        <a:pt x="174" y="1076"/>
                      </a:lnTo>
                      <a:lnTo>
                        <a:pt x="174" y="1074"/>
                      </a:lnTo>
                      <a:lnTo>
                        <a:pt x="172" y="1072"/>
                      </a:lnTo>
                      <a:lnTo>
                        <a:pt x="172" y="1071"/>
                      </a:lnTo>
                      <a:lnTo>
                        <a:pt x="171" y="1071"/>
                      </a:lnTo>
                      <a:lnTo>
                        <a:pt x="171" y="1069"/>
                      </a:lnTo>
                      <a:lnTo>
                        <a:pt x="167" y="1069"/>
                      </a:lnTo>
                      <a:lnTo>
                        <a:pt x="167" y="1067"/>
                      </a:lnTo>
                      <a:lnTo>
                        <a:pt x="166" y="1066"/>
                      </a:lnTo>
                      <a:lnTo>
                        <a:pt x="164" y="1063"/>
                      </a:lnTo>
                      <a:lnTo>
                        <a:pt x="162" y="1063"/>
                      </a:lnTo>
                      <a:lnTo>
                        <a:pt x="161" y="1061"/>
                      </a:lnTo>
                      <a:lnTo>
                        <a:pt x="159" y="1061"/>
                      </a:lnTo>
                      <a:lnTo>
                        <a:pt x="157" y="1061"/>
                      </a:lnTo>
                      <a:lnTo>
                        <a:pt x="155" y="1061"/>
                      </a:lnTo>
                      <a:lnTo>
                        <a:pt x="154" y="1061"/>
                      </a:lnTo>
                      <a:lnTo>
                        <a:pt x="152" y="1061"/>
                      </a:lnTo>
                      <a:lnTo>
                        <a:pt x="150" y="1059"/>
                      </a:lnTo>
                      <a:lnTo>
                        <a:pt x="150" y="1058"/>
                      </a:lnTo>
                      <a:lnTo>
                        <a:pt x="147" y="1058"/>
                      </a:lnTo>
                      <a:lnTo>
                        <a:pt x="145" y="1058"/>
                      </a:lnTo>
                      <a:lnTo>
                        <a:pt x="144" y="1058"/>
                      </a:lnTo>
                      <a:lnTo>
                        <a:pt x="142" y="1056"/>
                      </a:lnTo>
                      <a:lnTo>
                        <a:pt x="140" y="1056"/>
                      </a:lnTo>
                      <a:lnTo>
                        <a:pt x="140" y="1054"/>
                      </a:lnTo>
                      <a:lnTo>
                        <a:pt x="142" y="1053"/>
                      </a:lnTo>
                      <a:lnTo>
                        <a:pt x="142" y="1051"/>
                      </a:lnTo>
                      <a:lnTo>
                        <a:pt x="140" y="1049"/>
                      </a:lnTo>
                      <a:lnTo>
                        <a:pt x="139" y="1049"/>
                      </a:lnTo>
                      <a:lnTo>
                        <a:pt x="137" y="1049"/>
                      </a:lnTo>
                      <a:lnTo>
                        <a:pt x="135" y="1049"/>
                      </a:lnTo>
                      <a:lnTo>
                        <a:pt x="135" y="1048"/>
                      </a:lnTo>
                      <a:lnTo>
                        <a:pt x="132" y="1046"/>
                      </a:lnTo>
                      <a:lnTo>
                        <a:pt x="130" y="1046"/>
                      </a:lnTo>
                      <a:lnTo>
                        <a:pt x="128" y="1046"/>
                      </a:lnTo>
                      <a:lnTo>
                        <a:pt x="127" y="1046"/>
                      </a:lnTo>
                      <a:lnTo>
                        <a:pt x="125" y="1046"/>
                      </a:lnTo>
                      <a:lnTo>
                        <a:pt x="123" y="1046"/>
                      </a:lnTo>
                      <a:lnTo>
                        <a:pt x="123" y="1044"/>
                      </a:lnTo>
                      <a:lnTo>
                        <a:pt x="123" y="1043"/>
                      </a:lnTo>
                      <a:lnTo>
                        <a:pt x="123" y="1041"/>
                      </a:lnTo>
                      <a:lnTo>
                        <a:pt x="123" y="1040"/>
                      </a:lnTo>
                      <a:lnTo>
                        <a:pt x="123" y="1038"/>
                      </a:lnTo>
                      <a:lnTo>
                        <a:pt x="122" y="1036"/>
                      </a:lnTo>
                      <a:lnTo>
                        <a:pt x="122" y="1035"/>
                      </a:lnTo>
                      <a:lnTo>
                        <a:pt x="122" y="1033"/>
                      </a:lnTo>
                      <a:lnTo>
                        <a:pt x="122" y="1031"/>
                      </a:lnTo>
                      <a:lnTo>
                        <a:pt x="120" y="1031"/>
                      </a:lnTo>
                      <a:lnTo>
                        <a:pt x="120" y="1030"/>
                      </a:lnTo>
                      <a:lnTo>
                        <a:pt x="118" y="1030"/>
                      </a:lnTo>
                      <a:lnTo>
                        <a:pt x="118" y="1028"/>
                      </a:lnTo>
                      <a:lnTo>
                        <a:pt x="120" y="1026"/>
                      </a:lnTo>
                      <a:lnTo>
                        <a:pt x="120" y="1025"/>
                      </a:lnTo>
                      <a:lnTo>
                        <a:pt x="118" y="1023"/>
                      </a:lnTo>
                      <a:lnTo>
                        <a:pt x="118" y="1021"/>
                      </a:lnTo>
                      <a:lnTo>
                        <a:pt x="118" y="1020"/>
                      </a:lnTo>
                      <a:lnTo>
                        <a:pt x="118" y="1018"/>
                      </a:lnTo>
                      <a:lnTo>
                        <a:pt x="117" y="1018"/>
                      </a:lnTo>
                      <a:lnTo>
                        <a:pt x="117" y="1017"/>
                      </a:lnTo>
                      <a:lnTo>
                        <a:pt x="115" y="1017"/>
                      </a:lnTo>
                      <a:lnTo>
                        <a:pt x="115" y="1015"/>
                      </a:lnTo>
                      <a:lnTo>
                        <a:pt x="117" y="1013"/>
                      </a:lnTo>
                      <a:lnTo>
                        <a:pt x="117" y="1012"/>
                      </a:lnTo>
                      <a:lnTo>
                        <a:pt x="117" y="1010"/>
                      </a:lnTo>
                      <a:lnTo>
                        <a:pt x="117" y="1008"/>
                      </a:lnTo>
                      <a:lnTo>
                        <a:pt x="117" y="1007"/>
                      </a:lnTo>
                      <a:lnTo>
                        <a:pt x="117" y="1005"/>
                      </a:lnTo>
                      <a:lnTo>
                        <a:pt x="117" y="1003"/>
                      </a:lnTo>
                      <a:lnTo>
                        <a:pt x="118" y="1003"/>
                      </a:lnTo>
                      <a:lnTo>
                        <a:pt x="118" y="1002"/>
                      </a:lnTo>
                      <a:lnTo>
                        <a:pt x="120" y="998"/>
                      </a:lnTo>
                      <a:lnTo>
                        <a:pt x="120" y="997"/>
                      </a:lnTo>
                      <a:lnTo>
                        <a:pt x="120" y="995"/>
                      </a:lnTo>
                      <a:lnTo>
                        <a:pt x="118" y="995"/>
                      </a:lnTo>
                      <a:lnTo>
                        <a:pt x="118" y="994"/>
                      </a:lnTo>
                      <a:lnTo>
                        <a:pt x="117" y="994"/>
                      </a:lnTo>
                      <a:lnTo>
                        <a:pt x="117" y="992"/>
                      </a:lnTo>
                      <a:lnTo>
                        <a:pt x="115" y="992"/>
                      </a:lnTo>
                      <a:lnTo>
                        <a:pt x="113" y="992"/>
                      </a:lnTo>
                      <a:lnTo>
                        <a:pt x="112" y="990"/>
                      </a:lnTo>
                      <a:lnTo>
                        <a:pt x="112" y="989"/>
                      </a:lnTo>
                      <a:lnTo>
                        <a:pt x="112" y="987"/>
                      </a:lnTo>
                      <a:lnTo>
                        <a:pt x="112" y="985"/>
                      </a:lnTo>
                      <a:lnTo>
                        <a:pt x="110" y="984"/>
                      </a:lnTo>
                      <a:lnTo>
                        <a:pt x="106" y="982"/>
                      </a:lnTo>
                      <a:lnTo>
                        <a:pt x="105" y="979"/>
                      </a:lnTo>
                      <a:lnTo>
                        <a:pt x="105" y="977"/>
                      </a:lnTo>
                      <a:lnTo>
                        <a:pt x="103" y="976"/>
                      </a:lnTo>
                      <a:lnTo>
                        <a:pt x="101" y="974"/>
                      </a:lnTo>
                      <a:lnTo>
                        <a:pt x="101" y="972"/>
                      </a:lnTo>
                      <a:lnTo>
                        <a:pt x="101" y="971"/>
                      </a:lnTo>
                      <a:lnTo>
                        <a:pt x="101" y="969"/>
                      </a:lnTo>
                      <a:lnTo>
                        <a:pt x="101" y="967"/>
                      </a:lnTo>
                      <a:lnTo>
                        <a:pt x="101" y="966"/>
                      </a:lnTo>
                      <a:lnTo>
                        <a:pt x="101" y="964"/>
                      </a:lnTo>
                      <a:lnTo>
                        <a:pt x="100" y="961"/>
                      </a:lnTo>
                      <a:lnTo>
                        <a:pt x="98" y="959"/>
                      </a:lnTo>
                      <a:lnTo>
                        <a:pt x="98" y="957"/>
                      </a:lnTo>
                      <a:lnTo>
                        <a:pt x="96" y="956"/>
                      </a:lnTo>
                      <a:lnTo>
                        <a:pt x="96" y="953"/>
                      </a:lnTo>
                      <a:lnTo>
                        <a:pt x="96" y="951"/>
                      </a:lnTo>
                      <a:lnTo>
                        <a:pt x="96" y="949"/>
                      </a:lnTo>
                      <a:lnTo>
                        <a:pt x="95" y="946"/>
                      </a:lnTo>
                      <a:lnTo>
                        <a:pt x="93" y="944"/>
                      </a:lnTo>
                      <a:lnTo>
                        <a:pt x="91" y="944"/>
                      </a:lnTo>
                      <a:lnTo>
                        <a:pt x="91" y="941"/>
                      </a:lnTo>
                      <a:lnTo>
                        <a:pt x="91" y="939"/>
                      </a:lnTo>
                      <a:lnTo>
                        <a:pt x="90" y="938"/>
                      </a:lnTo>
                      <a:lnTo>
                        <a:pt x="90" y="936"/>
                      </a:lnTo>
                      <a:lnTo>
                        <a:pt x="88" y="934"/>
                      </a:lnTo>
                      <a:lnTo>
                        <a:pt x="88" y="933"/>
                      </a:lnTo>
                      <a:lnTo>
                        <a:pt x="86" y="931"/>
                      </a:lnTo>
                      <a:lnTo>
                        <a:pt x="86" y="930"/>
                      </a:lnTo>
                      <a:lnTo>
                        <a:pt x="85" y="928"/>
                      </a:lnTo>
                      <a:lnTo>
                        <a:pt x="83" y="926"/>
                      </a:lnTo>
                      <a:lnTo>
                        <a:pt x="81" y="926"/>
                      </a:lnTo>
                      <a:lnTo>
                        <a:pt x="81" y="923"/>
                      </a:lnTo>
                      <a:lnTo>
                        <a:pt x="79" y="921"/>
                      </a:lnTo>
                      <a:lnTo>
                        <a:pt x="79" y="920"/>
                      </a:lnTo>
                      <a:lnTo>
                        <a:pt x="78" y="920"/>
                      </a:lnTo>
                      <a:lnTo>
                        <a:pt x="74" y="916"/>
                      </a:lnTo>
                      <a:lnTo>
                        <a:pt x="73" y="916"/>
                      </a:lnTo>
                      <a:lnTo>
                        <a:pt x="73" y="918"/>
                      </a:lnTo>
                      <a:lnTo>
                        <a:pt x="71" y="916"/>
                      </a:lnTo>
                      <a:lnTo>
                        <a:pt x="71" y="915"/>
                      </a:lnTo>
                      <a:lnTo>
                        <a:pt x="69" y="913"/>
                      </a:lnTo>
                      <a:lnTo>
                        <a:pt x="69" y="910"/>
                      </a:lnTo>
                      <a:lnTo>
                        <a:pt x="69" y="908"/>
                      </a:lnTo>
                      <a:lnTo>
                        <a:pt x="69" y="907"/>
                      </a:lnTo>
                      <a:lnTo>
                        <a:pt x="69" y="902"/>
                      </a:lnTo>
                      <a:lnTo>
                        <a:pt x="66" y="898"/>
                      </a:lnTo>
                      <a:lnTo>
                        <a:pt x="66" y="897"/>
                      </a:lnTo>
                      <a:lnTo>
                        <a:pt x="64" y="897"/>
                      </a:lnTo>
                      <a:lnTo>
                        <a:pt x="64" y="895"/>
                      </a:lnTo>
                      <a:lnTo>
                        <a:pt x="63" y="893"/>
                      </a:lnTo>
                      <a:lnTo>
                        <a:pt x="61" y="892"/>
                      </a:lnTo>
                      <a:lnTo>
                        <a:pt x="59" y="892"/>
                      </a:lnTo>
                      <a:lnTo>
                        <a:pt x="57" y="890"/>
                      </a:lnTo>
                      <a:lnTo>
                        <a:pt x="57" y="888"/>
                      </a:lnTo>
                      <a:lnTo>
                        <a:pt x="56" y="887"/>
                      </a:lnTo>
                      <a:lnTo>
                        <a:pt x="54" y="885"/>
                      </a:lnTo>
                      <a:lnTo>
                        <a:pt x="54" y="884"/>
                      </a:lnTo>
                      <a:lnTo>
                        <a:pt x="52" y="882"/>
                      </a:lnTo>
                      <a:lnTo>
                        <a:pt x="49" y="882"/>
                      </a:lnTo>
                      <a:lnTo>
                        <a:pt x="49" y="880"/>
                      </a:lnTo>
                      <a:lnTo>
                        <a:pt x="47" y="879"/>
                      </a:lnTo>
                      <a:lnTo>
                        <a:pt x="46" y="877"/>
                      </a:lnTo>
                      <a:lnTo>
                        <a:pt x="44" y="875"/>
                      </a:lnTo>
                      <a:lnTo>
                        <a:pt x="44" y="874"/>
                      </a:lnTo>
                      <a:lnTo>
                        <a:pt x="42" y="869"/>
                      </a:lnTo>
                      <a:lnTo>
                        <a:pt x="41" y="867"/>
                      </a:lnTo>
                      <a:lnTo>
                        <a:pt x="41" y="864"/>
                      </a:lnTo>
                      <a:lnTo>
                        <a:pt x="41" y="862"/>
                      </a:lnTo>
                      <a:lnTo>
                        <a:pt x="41" y="861"/>
                      </a:lnTo>
                      <a:lnTo>
                        <a:pt x="41" y="857"/>
                      </a:lnTo>
                      <a:lnTo>
                        <a:pt x="41" y="856"/>
                      </a:lnTo>
                      <a:lnTo>
                        <a:pt x="41" y="854"/>
                      </a:lnTo>
                      <a:lnTo>
                        <a:pt x="42" y="854"/>
                      </a:lnTo>
                      <a:lnTo>
                        <a:pt x="44" y="852"/>
                      </a:lnTo>
                      <a:lnTo>
                        <a:pt x="46" y="849"/>
                      </a:lnTo>
                      <a:lnTo>
                        <a:pt x="46" y="847"/>
                      </a:lnTo>
                      <a:lnTo>
                        <a:pt x="49" y="847"/>
                      </a:lnTo>
                      <a:lnTo>
                        <a:pt x="49" y="846"/>
                      </a:lnTo>
                      <a:lnTo>
                        <a:pt x="51" y="846"/>
                      </a:lnTo>
                      <a:lnTo>
                        <a:pt x="52" y="844"/>
                      </a:lnTo>
                      <a:lnTo>
                        <a:pt x="54" y="842"/>
                      </a:lnTo>
                      <a:lnTo>
                        <a:pt x="54" y="841"/>
                      </a:lnTo>
                      <a:lnTo>
                        <a:pt x="54" y="839"/>
                      </a:lnTo>
                      <a:lnTo>
                        <a:pt x="54" y="838"/>
                      </a:lnTo>
                      <a:lnTo>
                        <a:pt x="56" y="838"/>
                      </a:lnTo>
                      <a:lnTo>
                        <a:pt x="57" y="838"/>
                      </a:lnTo>
                      <a:lnTo>
                        <a:pt x="59" y="836"/>
                      </a:lnTo>
                      <a:lnTo>
                        <a:pt x="61" y="836"/>
                      </a:lnTo>
                      <a:lnTo>
                        <a:pt x="81" y="792"/>
                      </a:lnTo>
                      <a:lnTo>
                        <a:pt x="98" y="755"/>
                      </a:lnTo>
                      <a:lnTo>
                        <a:pt x="125" y="700"/>
                      </a:lnTo>
                      <a:lnTo>
                        <a:pt x="181" y="586"/>
                      </a:lnTo>
                      <a:lnTo>
                        <a:pt x="184" y="576"/>
                      </a:lnTo>
                      <a:lnTo>
                        <a:pt x="189" y="568"/>
                      </a:lnTo>
                      <a:lnTo>
                        <a:pt x="191" y="562"/>
                      </a:lnTo>
                      <a:lnTo>
                        <a:pt x="198" y="547"/>
                      </a:lnTo>
                      <a:lnTo>
                        <a:pt x="203" y="539"/>
                      </a:lnTo>
                      <a:lnTo>
                        <a:pt x="213" y="516"/>
                      </a:lnTo>
                      <a:lnTo>
                        <a:pt x="218" y="506"/>
                      </a:lnTo>
                      <a:lnTo>
                        <a:pt x="228" y="484"/>
                      </a:lnTo>
                      <a:lnTo>
                        <a:pt x="235" y="470"/>
                      </a:lnTo>
                      <a:lnTo>
                        <a:pt x="237" y="465"/>
                      </a:lnTo>
                      <a:lnTo>
                        <a:pt x="235" y="465"/>
                      </a:lnTo>
                      <a:lnTo>
                        <a:pt x="233" y="465"/>
                      </a:lnTo>
                      <a:lnTo>
                        <a:pt x="231" y="463"/>
                      </a:lnTo>
                      <a:lnTo>
                        <a:pt x="235" y="458"/>
                      </a:lnTo>
                      <a:lnTo>
                        <a:pt x="235" y="457"/>
                      </a:lnTo>
                      <a:lnTo>
                        <a:pt x="237" y="455"/>
                      </a:lnTo>
                      <a:lnTo>
                        <a:pt x="237" y="453"/>
                      </a:lnTo>
                      <a:lnTo>
                        <a:pt x="238" y="448"/>
                      </a:lnTo>
                      <a:lnTo>
                        <a:pt x="240" y="448"/>
                      </a:lnTo>
                      <a:lnTo>
                        <a:pt x="242" y="447"/>
                      </a:lnTo>
                      <a:lnTo>
                        <a:pt x="243" y="447"/>
                      </a:lnTo>
                      <a:lnTo>
                        <a:pt x="247" y="445"/>
                      </a:lnTo>
                      <a:lnTo>
                        <a:pt x="250" y="443"/>
                      </a:lnTo>
                      <a:lnTo>
                        <a:pt x="253" y="442"/>
                      </a:lnTo>
                      <a:lnTo>
                        <a:pt x="255" y="442"/>
                      </a:lnTo>
                      <a:lnTo>
                        <a:pt x="255" y="440"/>
                      </a:lnTo>
                      <a:lnTo>
                        <a:pt x="258" y="438"/>
                      </a:lnTo>
                      <a:lnTo>
                        <a:pt x="258" y="437"/>
                      </a:lnTo>
                      <a:lnTo>
                        <a:pt x="262" y="432"/>
                      </a:lnTo>
                      <a:lnTo>
                        <a:pt x="264" y="430"/>
                      </a:lnTo>
                      <a:lnTo>
                        <a:pt x="265" y="429"/>
                      </a:lnTo>
                      <a:lnTo>
                        <a:pt x="265" y="427"/>
                      </a:lnTo>
                      <a:lnTo>
                        <a:pt x="265" y="425"/>
                      </a:lnTo>
                      <a:lnTo>
                        <a:pt x="262" y="427"/>
                      </a:lnTo>
                      <a:lnTo>
                        <a:pt x="260" y="427"/>
                      </a:lnTo>
                      <a:lnTo>
                        <a:pt x="258" y="427"/>
                      </a:lnTo>
                      <a:lnTo>
                        <a:pt x="257" y="427"/>
                      </a:lnTo>
                      <a:lnTo>
                        <a:pt x="257" y="429"/>
                      </a:lnTo>
                      <a:lnTo>
                        <a:pt x="255" y="429"/>
                      </a:lnTo>
                      <a:lnTo>
                        <a:pt x="253" y="429"/>
                      </a:lnTo>
                      <a:lnTo>
                        <a:pt x="252" y="430"/>
                      </a:lnTo>
                      <a:lnTo>
                        <a:pt x="252" y="432"/>
                      </a:lnTo>
                      <a:lnTo>
                        <a:pt x="248" y="432"/>
                      </a:lnTo>
                      <a:lnTo>
                        <a:pt x="247" y="432"/>
                      </a:lnTo>
                      <a:lnTo>
                        <a:pt x="247" y="434"/>
                      </a:lnTo>
                      <a:lnTo>
                        <a:pt x="247" y="435"/>
                      </a:lnTo>
                      <a:lnTo>
                        <a:pt x="245" y="435"/>
                      </a:lnTo>
                      <a:lnTo>
                        <a:pt x="245" y="437"/>
                      </a:lnTo>
                      <a:lnTo>
                        <a:pt x="243" y="437"/>
                      </a:lnTo>
                      <a:lnTo>
                        <a:pt x="242" y="437"/>
                      </a:lnTo>
                      <a:lnTo>
                        <a:pt x="240" y="437"/>
                      </a:lnTo>
                      <a:lnTo>
                        <a:pt x="238" y="437"/>
                      </a:lnTo>
                      <a:lnTo>
                        <a:pt x="238" y="438"/>
                      </a:lnTo>
                      <a:lnTo>
                        <a:pt x="237" y="440"/>
                      </a:lnTo>
                      <a:lnTo>
                        <a:pt x="235" y="438"/>
                      </a:lnTo>
                      <a:lnTo>
                        <a:pt x="233" y="438"/>
                      </a:lnTo>
                      <a:lnTo>
                        <a:pt x="233" y="437"/>
                      </a:lnTo>
                      <a:lnTo>
                        <a:pt x="231" y="437"/>
                      </a:lnTo>
                      <a:lnTo>
                        <a:pt x="231" y="438"/>
                      </a:lnTo>
                      <a:lnTo>
                        <a:pt x="230" y="438"/>
                      </a:lnTo>
                      <a:lnTo>
                        <a:pt x="228" y="438"/>
                      </a:lnTo>
                      <a:lnTo>
                        <a:pt x="226" y="437"/>
                      </a:lnTo>
                      <a:lnTo>
                        <a:pt x="225" y="437"/>
                      </a:lnTo>
                      <a:lnTo>
                        <a:pt x="223" y="438"/>
                      </a:lnTo>
                      <a:lnTo>
                        <a:pt x="221" y="440"/>
                      </a:lnTo>
                      <a:lnTo>
                        <a:pt x="220" y="440"/>
                      </a:lnTo>
                      <a:lnTo>
                        <a:pt x="218" y="440"/>
                      </a:lnTo>
                      <a:lnTo>
                        <a:pt x="218" y="442"/>
                      </a:lnTo>
                      <a:lnTo>
                        <a:pt x="218" y="443"/>
                      </a:lnTo>
                      <a:lnTo>
                        <a:pt x="216" y="442"/>
                      </a:lnTo>
                      <a:lnTo>
                        <a:pt x="215" y="442"/>
                      </a:lnTo>
                      <a:lnTo>
                        <a:pt x="213" y="443"/>
                      </a:lnTo>
                      <a:lnTo>
                        <a:pt x="211" y="443"/>
                      </a:lnTo>
                      <a:lnTo>
                        <a:pt x="209" y="443"/>
                      </a:lnTo>
                      <a:lnTo>
                        <a:pt x="209" y="442"/>
                      </a:lnTo>
                      <a:lnTo>
                        <a:pt x="208" y="440"/>
                      </a:lnTo>
                      <a:lnTo>
                        <a:pt x="206" y="440"/>
                      </a:lnTo>
                      <a:lnTo>
                        <a:pt x="204" y="440"/>
                      </a:lnTo>
                      <a:lnTo>
                        <a:pt x="203" y="440"/>
                      </a:lnTo>
                      <a:lnTo>
                        <a:pt x="203" y="438"/>
                      </a:lnTo>
                      <a:lnTo>
                        <a:pt x="203" y="437"/>
                      </a:lnTo>
                      <a:lnTo>
                        <a:pt x="204" y="434"/>
                      </a:lnTo>
                      <a:lnTo>
                        <a:pt x="206" y="432"/>
                      </a:lnTo>
                      <a:lnTo>
                        <a:pt x="206" y="430"/>
                      </a:lnTo>
                      <a:lnTo>
                        <a:pt x="206" y="429"/>
                      </a:lnTo>
                      <a:lnTo>
                        <a:pt x="206" y="427"/>
                      </a:lnTo>
                      <a:lnTo>
                        <a:pt x="204" y="425"/>
                      </a:lnTo>
                      <a:lnTo>
                        <a:pt x="204" y="424"/>
                      </a:lnTo>
                      <a:lnTo>
                        <a:pt x="203" y="424"/>
                      </a:lnTo>
                      <a:lnTo>
                        <a:pt x="201" y="424"/>
                      </a:lnTo>
                      <a:lnTo>
                        <a:pt x="199" y="425"/>
                      </a:lnTo>
                      <a:lnTo>
                        <a:pt x="198" y="425"/>
                      </a:lnTo>
                      <a:lnTo>
                        <a:pt x="196" y="425"/>
                      </a:lnTo>
                      <a:lnTo>
                        <a:pt x="194" y="425"/>
                      </a:lnTo>
                      <a:lnTo>
                        <a:pt x="193" y="424"/>
                      </a:lnTo>
                      <a:lnTo>
                        <a:pt x="193" y="422"/>
                      </a:lnTo>
                      <a:lnTo>
                        <a:pt x="191" y="422"/>
                      </a:lnTo>
                      <a:lnTo>
                        <a:pt x="191" y="420"/>
                      </a:lnTo>
                      <a:lnTo>
                        <a:pt x="189" y="420"/>
                      </a:lnTo>
                      <a:lnTo>
                        <a:pt x="188" y="420"/>
                      </a:lnTo>
                      <a:lnTo>
                        <a:pt x="186" y="420"/>
                      </a:lnTo>
                      <a:lnTo>
                        <a:pt x="184" y="420"/>
                      </a:lnTo>
                      <a:lnTo>
                        <a:pt x="184" y="419"/>
                      </a:lnTo>
                      <a:lnTo>
                        <a:pt x="184" y="417"/>
                      </a:lnTo>
                      <a:lnTo>
                        <a:pt x="182" y="417"/>
                      </a:lnTo>
                      <a:lnTo>
                        <a:pt x="182" y="415"/>
                      </a:lnTo>
                      <a:lnTo>
                        <a:pt x="181" y="415"/>
                      </a:lnTo>
                      <a:lnTo>
                        <a:pt x="179" y="415"/>
                      </a:lnTo>
                      <a:lnTo>
                        <a:pt x="177" y="415"/>
                      </a:lnTo>
                      <a:lnTo>
                        <a:pt x="177" y="414"/>
                      </a:lnTo>
                      <a:lnTo>
                        <a:pt x="176" y="414"/>
                      </a:lnTo>
                      <a:lnTo>
                        <a:pt x="176" y="412"/>
                      </a:lnTo>
                      <a:lnTo>
                        <a:pt x="176" y="411"/>
                      </a:lnTo>
                      <a:lnTo>
                        <a:pt x="174" y="411"/>
                      </a:lnTo>
                      <a:lnTo>
                        <a:pt x="174" y="407"/>
                      </a:lnTo>
                      <a:lnTo>
                        <a:pt x="174" y="406"/>
                      </a:lnTo>
                      <a:lnTo>
                        <a:pt x="172" y="406"/>
                      </a:lnTo>
                      <a:lnTo>
                        <a:pt x="172" y="404"/>
                      </a:lnTo>
                      <a:lnTo>
                        <a:pt x="171" y="402"/>
                      </a:lnTo>
                      <a:lnTo>
                        <a:pt x="169" y="404"/>
                      </a:lnTo>
                      <a:lnTo>
                        <a:pt x="169" y="402"/>
                      </a:lnTo>
                      <a:lnTo>
                        <a:pt x="166" y="401"/>
                      </a:lnTo>
                      <a:lnTo>
                        <a:pt x="166" y="402"/>
                      </a:lnTo>
                      <a:lnTo>
                        <a:pt x="166" y="401"/>
                      </a:lnTo>
                      <a:lnTo>
                        <a:pt x="164" y="401"/>
                      </a:lnTo>
                      <a:lnTo>
                        <a:pt x="166" y="399"/>
                      </a:lnTo>
                      <a:lnTo>
                        <a:pt x="166" y="397"/>
                      </a:lnTo>
                      <a:lnTo>
                        <a:pt x="164" y="397"/>
                      </a:lnTo>
                      <a:lnTo>
                        <a:pt x="164" y="399"/>
                      </a:lnTo>
                      <a:lnTo>
                        <a:pt x="162" y="397"/>
                      </a:lnTo>
                      <a:lnTo>
                        <a:pt x="162" y="399"/>
                      </a:lnTo>
                      <a:lnTo>
                        <a:pt x="162" y="397"/>
                      </a:lnTo>
                      <a:lnTo>
                        <a:pt x="161" y="397"/>
                      </a:lnTo>
                      <a:lnTo>
                        <a:pt x="159" y="397"/>
                      </a:lnTo>
                      <a:lnTo>
                        <a:pt x="157" y="397"/>
                      </a:lnTo>
                      <a:lnTo>
                        <a:pt x="157" y="396"/>
                      </a:lnTo>
                      <a:lnTo>
                        <a:pt x="155" y="396"/>
                      </a:lnTo>
                      <a:lnTo>
                        <a:pt x="155" y="397"/>
                      </a:lnTo>
                      <a:lnTo>
                        <a:pt x="154" y="397"/>
                      </a:lnTo>
                      <a:lnTo>
                        <a:pt x="154" y="396"/>
                      </a:lnTo>
                      <a:lnTo>
                        <a:pt x="152" y="397"/>
                      </a:lnTo>
                      <a:lnTo>
                        <a:pt x="152" y="399"/>
                      </a:lnTo>
                      <a:lnTo>
                        <a:pt x="150" y="397"/>
                      </a:lnTo>
                      <a:lnTo>
                        <a:pt x="149" y="397"/>
                      </a:lnTo>
                      <a:lnTo>
                        <a:pt x="147" y="397"/>
                      </a:lnTo>
                      <a:lnTo>
                        <a:pt x="147" y="399"/>
                      </a:lnTo>
                      <a:lnTo>
                        <a:pt x="145" y="397"/>
                      </a:lnTo>
                      <a:lnTo>
                        <a:pt x="144" y="397"/>
                      </a:lnTo>
                      <a:lnTo>
                        <a:pt x="142" y="397"/>
                      </a:lnTo>
                      <a:lnTo>
                        <a:pt x="144" y="396"/>
                      </a:lnTo>
                      <a:lnTo>
                        <a:pt x="142" y="396"/>
                      </a:lnTo>
                      <a:lnTo>
                        <a:pt x="142" y="394"/>
                      </a:lnTo>
                      <a:lnTo>
                        <a:pt x="142" y="392"/>
                      </a:lnTo>
                      <a:lnTo>
                        <a:pt x="140" y="394"/>
                      </a:lnTo>
                      <a:lnTo>
                        <a:pt x="140" y="396"/>
                      </a:lnTo>
                      <a:lnTo>
                        <a:pt x="139" y="394"/>
                      </a:lnTo>
                      <a:lnTo>
                        <a:pt x="139" y="392"/>
                      </a:lnTo>
                      <a:lnTo>
                        <a:pt x="137" y="392"/>
                      </a:lnTo>
                      <a:lnTo>
                        <a:pt x="137" y="394"/>
                      </a:lnTo>
                      <a:lnTo>
                        <a:pt x="135" y="394"/>
                      </a:lnTo>
                      <a:lnTo>
                        <a:pt x="135" y="392"/>
                      </a:lnTo>
                      <a:lnTo>
                        <a:pt x="135" y="391"/>
                      </a:lnTo>
                      <a:lnTo>
                        <a:pt x="133" y="392"/>
                      </a:lnTo>
                      <a:lnTo>
                        <a:pt x="133" y="391"/>
                      </a:lnTo>
                      <a:lnTo>
                        <a:pt x="132" y="391"/>
                      </a:lnTo>
                      <a:lnTo>
                        <a:pt x="130" y="391"/>
                      </a:lnTo>
                      <a:lnTo>
                        <a:pt x="130" y="389"/>
                      </a:lnTo>
                      <a:lnTo>
                        <a:pt x="128" y="388"/>
                      </a:lnTo>
                      <a:lnTo>
                        <a:pt x="127" y="388"/>
                      </a:lnTo>
                      <a:lnTo>
                        <a:pt x="125" y="386"/>
                      </a:lnTo>
                      <a:lnTo>
                        <a:pt x="123" y="386"/>
                      </a:lnTo>
                      <a:lnTo>
                        <a:pt x="125" y="384"/>
                      </a:lnTo>
                      <a:lnTo>
                        <a:pt x="123" y="384"/>
                      </a:lnTo>
                      <a:lnTo>
                        <a:pt x="122" y="384"/>
                      </a:lnTo>
                      <a:lnTo>
                        <a:pt x="122" y="386"/>
                      </a:lnTo>
                      <a:lnTo>
                        <a:pt x="120" y="384"/>
                      </a:lnTo>
                      <a:lnTo>
                        <a:pt x="120" y="386"/>
                      </a:lnTo>
                      <a:lnTo>
                        <a:pt x="118" y="386"/>
                      </a:lnTo>
                      <a:lnTo>
                        <a:pt x="118" y="384"/>
                      </a:lnTo>
                      <a:lnTo>
                        <a:pt x="118" y="386"/>
                      </a:lnTo>
                      <a:lnTo>
                        <a:pt x="117" y="386"/>
                      </a:lnTo>
                      <a:lnTo>
                        <a:pt x="115" y="384"/>
                      </a:lnTo>
                      <a:lnTo>
                        <a:pt x="113" y="384"/>
                      </a:lnTo>
                      <a:lnTo>
                        <a:pt x="113" y="383"/>
                      </a:lnTo>
                      <a:lnTo>
                        <a:pt x="113" y="381"/>
                      </a:lnTo>
                      <a:lnTo>
                        <a:pt x="113" y="379"/>
                      </a:lnTo>
                      <a:lnTo>
                        <a:pt x="113" y="378"/>
                      </a:lnTo>
                      <a:lnTo>
                        <a:pt x="112" y="378"/>
                      </a:lnTo>
                      <a:lnTo>
                        <a:pt x="110" y="378"/>
                      </a:lnTo>
                      <a:lnTo>
                        <a:pt x="108" y="378"/>
                      </a:lnTo>
                      <a:lnTo>
                        <a:pt x="106" y="378"/>
                      </a:lnTo>
                      <a:lnTo>
                        <a:pt x="106" y="376"/>
                      </a:lnTo>
                      <a:lnTo>
                        <a:pt x="105" y="376"/>
                      </a:lnTo>
                      <a:lnTo>
                        <a:pt x="105" y="374"/>
                      </a:lnTo>
                      <a:lnTo>
                        <a:pt x="103" y="374"/>
                      </a:lnTo>
                      <a:lnTo>
                        <a:pt x="103" y="373"/>
                      </a:lnTo>
                      <a:lnTo>
                        <a:pt x="103" y="371"/>
                      </a:lnTo>
                      <a:lnTo>
                        <a:pt x="101" y="371"/>
                      </a:lnTo>
                      <a:lnTo>
                        <a:pt x="100" y="371"/>
                      </a:lnTo>
                      <a:lnTo>
                        <a:pt x="98" y="371"/>
                      </a:lnTo>
                      <a:lnTo>
                        <a:pt x="96" y="370"/>
                      </a:lnTo>
                      <a:lnTo>
                        <a:pt x="96" y="371"/>
                      </a:lnTo>
                      <a:lnTo>
                        <a:pt x="95" y="371"/>
                      </a:lnTo>
                      <a:lnTo>
                        <a:pt x="93" y="370"/>
                      </a:lnTo>
                      <a:lnTo>
                        <a:pt x="95" y="370"/>
                      </a:lnTo>
                      <a:lnTo>
                        <a:pt x="93" y="368"/>
                      </a:lnTo>
                      <a:lnTo>
                        <a:pt x="91" y="368"/>
                      </a:lnTo>
                      <a:lnTo>
                        <a:pt x="90" y="368"/>
                      </a:lnTo>
                      <a:lnTo>
                        <a:pt x="90" y="366"/>
                      </a:lnTo>
                      <a:lnTo>
                        <a:pt x="88" y="366"/>
                      </a:lnTo>
                      <a:lnTo>
                        <a:pt x="88" y="365"/>
                      </a:lnTo>
                      <a:lnTo>
                        <a:pt x="86" y="363"/>
                      </a:lnTo>
                      <a:lnTo>
                        <a:pt x="86" y="361"/>
                      </a:lnTo>
                      <a:lnTo>
                        <a:pt x="86" y="360"/>
                      </a:lnTo>
                      <a:lnTo>
                        <a:pt x="86" y="358"/>
                      </a:lnTo>
                      <a:lnTo>
                        <a:pt x="88" y="355"/>
                      </a:lnTo>
                      <a:lnTo>
                        <a:pt x="88" y="353"/>
                      </a:lnTo>
                      <a:lnTo>
                        <a:pt x="90" y="351"/>
                      </a:lnTo>
                      <a:lnTo>
                        <a:pt x="90" y="350"/>
                      </a:lnTo>
                      <a:lnTo>
                        <a:pt x="88" y="350"/>
                      </a:lnTo>
                      <a:lnTo>
                        <a:pt x="88" y="347"/>
                      </a:lnTo>
                      <a:lnTo>
                        <a:pt x="88" y="345"/>
                      </a:lnTo>
                      <a:lnTo>
                        <a:pt x="86" y="345"/>
                      </a:lnTo>
                      <a:lnTo>
                        <a:pt x="85" y="345"/>
                      </a:lnTo>
                      <a:lnTo>
                        <a:pt x="85" y="343"/>
                      </a:lnTo>
                      <a:lnTo>
                        <a:pt x="85" y="342"/>
                      </a:lnTo>
                      <a:lnTo>
                        <a:pt x="83" y="340"/>
                      </a:lnTo>
                      <a:lnTo>
                        <a:pt x="81" y="340"/>
                      </a:lnTo>
                      <a:lnTo>
                        <a:pt x="78" y="343"/>
                      </a:lnTo>
                      <a:lnTo>
                        <a:pt x="78" y="345"/>
                      </a:lnTo>
                      <a:lnTo>
                        <a:pt x="76" y="347"/>
                      </a:lnTo>
                      <a:lnTo>
                        <a:pt x="74" y="347"/>
                      </a:lnTo>
                      <a:lnTo>
                        <a:pt x="74" y="348"/>
                      </a:lnTo>
                      <a:lnTo>
                        <a:pt x="73" y="348"/>
                      </a:lnTo>
                      <a:lnTo>
                        <a:pt x="71" y="351"/>
                      </a:lnTo>
                      <a:lnTo>
                        <a:pt x="71" y="353"/>
                      </a:lnTo>
                      <a:lnTo>
                        <a:pt x="68" y="350"/>
                      </a:lnTo>
                      <a:lnTo>
                        <a:pt x="66" y="348"/>
                      </a:lnTo>
                      <a:lnTo>
                        <a:pt x="66" y="347"/>
                      </a:lnTo>
                      <a:lnTo>
                        <a:pt x="63" y="347"/>
                      </a:lnTo>
                      <a:lnTo>
                        <a:pt x="63" y="345"/>
                      </a:lnTo>
                      <a:lnTo>
                        <a:pt x="61" y="343"/>
                      </a:lnTo>
                      <a:lnTo>
                        <a:pt x="59" y="343"/>
                      </a:lnTo>
                      <a:lnTo>
                        <a:pt x="57" y="345"/>
                      </a:lnTo>
                      <a:lnTo>
                        <a:pt x="56" y="345"/>
                      </a:lnTo>
                      <a:lnTo>
                        <a:pt x="56" y="343"/>
                      </a:lnTo>
                      <a:lnTo>
                        <a:pt x="54" y="343"/>
                      </a:lnTo>
                      <a:lnTo>
                        <a:pt x="52" y="342"/>
                      </a:lnTo>
                      <a:lnTo>
                        <a:pt x="51" y="342"/>
                      </a:lnTo>
                      <a:lnTo>
                        <a:pt x="52" y="340"/>
                      </a:lnTo>
                      <a:lnTo>
                        <a:pt x="51" y="340"/>
                      </a:lnTo>
                      <a:lnTo>
                        <a:pt x="51" y="338"/>
                      </a:lnTo>
                      <a:lnTo>
                        <a:pt x="51" y="337"/>
                      </a:lnTo>
                      <a:lnTo>
                        <a:pt x="49" y="337"/>
                      </a:lnTo>
                      <a:lnTo>
                        <a:pt x="49" y="335"/>
                      </a:lnTo>
                      <a:lnTo>
                        <a:pt x="47" y="335"/>
                      </a:lnTo>
                      <a:lnTo>
                        <a:pt x="46" y="335"/>
                      </a:lnTo>
                      <a:lnTo>
                        <a:pt x="46" y="333"/>
                      </a:lnTo>
                      <a:lnTo>
                        <a:pt x="46" y="332"/>
                      </a:lnTo>
                      <a:lnTo>
                        <a:pt x="46" y="330"/>
                      </a:lnTo>
                      <a:lnTo>
                        <a:pt x="47" y="330"/>
                      </a:lnTo>
                      <a:lnTo>
                        <a:pt x="46" y="328"/>
                      </a:lnTo>
                      <a:lnTo>
                        <a:pt x="46" y="327"/>
                      </a:lnTo>
                      <a:lnTo>
                        <a:pt x="44" y="325"/>
                      </a:lnTo>
                      <a:lnTo>
                        <a:pt x="42" y="325"/>
                      </a:lnTo>
                      <a:lnTo>
                        <a:pt x="42" y="324"/>
                      </a:lnTo>
                      <a:lnTo>
                        <a:pt x="42" y="322"/>
                      </a:lnTo>
                      <a:lnTo>
                        <a:pt x="44" y="322"/>
                      </a:lnTo>
                      <a:lnTo>
                        <a:pt x="44" y="320"/>
                      </a:lnTo>
                      <a:lnTo>
                        <a:pt x="42" y="319"/>
                      </a:lnTo>
                      <a:lnTo>
                        <a:pt x="41" y="319"/>
                      </a:lnTo>
                      <a:lnTo>
                        <a:pt x="41" y="320"/>
                      </a:lnTo>
                      <a:lnTo>
                        <a:pt x="41" y="319"/>
                      </a:lnTo>
                      <a:lnTo>
                        <a:pt x="39" y="319"/>
                      </a:lnTo>
                      <a:lnTo>
                        <a:pt x="39" y="317"/>
                      </a:lnTo>
                      <a:lnTo>
                        <a:pt x="39" y="315"/>
                      </a:lnTo>
                      <a:lnTo>
                        <a:pt x="37" y="315"/>
                      </a:lnTo>
                      <a:lnTo>
                        <a:pt x="37" y="317"/>
                      </a:lnTo>
                      <a:lnTo>
                        <a:pt x="37" y="315"/>
                      </a:lnTo>
                      <a:lnTo>
                        <a:pt x="36" y="315"/>
                      </a:lnTo>
                      <a:lnTo>
                        <a:pt x="34" y="314"/>
                      </a:lnTo>
                      <a:lnTo>
                        <a:pt x="32" y="314"/>
                      </a:lnTo>
                      <a:lnTo>
                        <a:pt x="32" y="312"/>
                      </a:lnTo>
                      <a:lnTo>
                        <a:pt x="30" y="312"/>
                      </a:lnTo>
                      <a:lnTo>
                        <a:pt x="30" y="310"/>
                      </a:lnTo>
                      <a:lnTo>
                        <a:pt x="29" y="310"/>
                      </a:lnTo>
                      <a:lnTo>
                        <a:pt x="29" y="309"/>
                      </a:lnTo>
                      <a:lnTo>
                        <a:pt x="27" y="309"/>
                      </a:lnTo>
                      <a:lnTo>
                        <a:pt x="27" y="307"/>
                      </a:lnTo>
                      <a:lnTo>
                        <a:pt x="25" y="305"/>
                      </a:lnTo>
                      <a:lnTo>
                        <a:pt x="24" y="305"/>
                      </a:lnTo>
                      <a:lnTo>
                        <a:pt x="22" y="305"/>
                      </a:lnTo>
                      <a:lnTo>
                        <a:pt x="22" y="304"/>
                      </a:lnTo>
                      <a:lnTo>
                        <a:pt x="20" y="302"/>
                      </a:lnTo>
                      <a:lnTo>
                        <a:pt x="19" y="302"/>
                      </a:lnTo>
                      <a:lnTo>
                        <a:pt x="19" y="301"/>
                      </a:lnTo>
                      <a:lnTo>
                        <a:pt x="19" y="299"/>
                      </a:lnTo>
                      <a:lnTo>
                        <a:pt x="17" y="299"/>
                      </a:lnTo>
                      <a:lnTo>
                        <a:pt x="17" y="297"/>
                      </a:lnTo>
                      <a:lnTo>
                        <a:pt x="15" y="296"/>
                      </a:lnTo>
                      <a:lnTo>
                        <a:pt x="17" y="296"/>
                      </a:lnTo>
                      <a:lnTo>
                        <a:pt x="17" y="294"/>
                      </a:lnTo>
                      <a:lnTo>
                        <a:pt x="17" y="292"/>
                      </a:lnTo>
                      <a:lnTo>
                        <a:pt x="17" y="291"/>
                      </a:lnTo>
                      <a:lnTo>
                        <a:pt x="19" y="289"/>
                      </a:lnTo>
                      <a:lnTo>
                        <a:pt x="19" y="287"/>
                      </a:lnTo>
                      <a:lnTo>
                        <a:pt x="17" y="286"/>
                      </a:lnTo>
                      <a:lnTo>
                        <a:pt x="17" y="284"/>
                      </a:lnTo>
                      <a:lnTo>
                        <a:pt x="15" y="282"/>
                      </a:lnTo>
                      <a:lnTo>
                        <a:pt x="17" y="282"/>
                      </a:lnTo>
                      <a:lnTo>
                        <a:pt x="17" y="281"/>
                      </a:lnTo>
                      <a:lnTo>
                        <a:pt x="17" y="279"/>
                      </a:lnTo>
                      <a:lnTo>
                        <a:pt x="15" y="279"/>
                      </a:lnTo>
                      <a:lnTo>
                        <a:pt x="15" y="278"/>
                      </a:lnTo>
                      <a:lnTo>
                        <a:pt x="14" y="276"/>
                      </a:lnTo>
                      <a:lnTo>
                        <a:pt x="12" y="276"/>
                      </a:lnTo>
                      <a:lnTo>
                        <a:pt x="12" y="274"/>
                      </a:lnTo>
                      <a:lnTo>
                        <a:pt x="10" y="274"/>
                      </a:lnTo>
                      <a:lnTo>
                        <a:pt x="9" y="274"/>
                      </a:lnTo>
                      <a:lnTo>
                        <a:pt x="7" y="274"/>
                      </a:lnTo>
                      <a:lnTo>
                        <a:pt x="5" y="273"/>
                      </a:lnTo>
                      <a:lnTo>
                        <a:pt x="3" y="271"/>
                      </a:lnTo>
                      <a:lnTo>
                        <a:pt x="3" y="269"/>
                      </a:lnTo>
                      <a:lnTo>
                        <a:pt x="3" y="268"/>
                      </a:lnTo>
                      <a:lnTo>
                        <a:pt x="2" y="268"/>
                      </a:lnTo>
                      <a:lnTo>
                        <a:pt x="3" y="268"/>
                      </a:lnTo>
                      <a:lnTo>
                        <a:pt x="3" y="266"/>
                      </a:lnTo>
                      <a:lnTo>
                        <a:pt x="3" y="264"/>
                      </a:lnTo>
                      <a:lnTo>
                        <a:pt x="3" y="263"/>
                      </a:lnTo>
                      <a:lnTo>
                        <a:pt x="2" y="259"/>
                      </a:lnTo>
                      <a:lnTo>
                        <a:pt x="2" y="258"/>
                      </a:lnTo>
                      <a:lnTo>
                        <a:pt x="2" y="256"/>
                      </a:lnTo>
                      <a:lnTo>
                        <a:pt x="3" y="256"/>
                      </a:lnTo>
                      <a:lnTo>
                        <a:pt x="3" y="255"/>
                      </a:lnTo>
                      <a:lnTo>
                        <a:pt x="3" y="253"/>
                      </a:lnTo>
                      <a:lnTo>
                        <a:pt x="3" y="251"/>
                      </a:lnTo>
                      <a:lnTo>
                        <a:pt x="3" y="248"/>
                      </a:lnTo>
                      <a:lnTo>
                        <a:pt x="3" y="246"/>
                      </a:lnTo>
                      <a:lnTo>
                        <a:pt x="3" y="245"/>
                      </a:lnTo>
                      <a:lnTo>
                        <a:pt x="2" y="245"/>
                      </a:lnTo>
                      <a:lnTo>
                        <a:pt x="2" y="243"/>
                      </a:lnTo>
                      <a:lnTo>
                        <a:pt x="2" y="241"/>
                      </a:lnTo>
                      <a:lnTo>
                        <a:pt x="0" y="241"/>
                      </a:lnTo>
                      <a:lnTo>
                        <a:pt x="0" y="240"/>
                      </a:lnTo>
                      <a:close/>
                      <a:moveTo>
                        <a:pt x="1110" y="299"/>
                      </a:moveTo>
                      <a:lnTo>
                        <a:pt x="1110" y="297"/>
                      </a:lnTo>
                      <a:lnTo>
                        <a:pt x="1110" y="299"/>
                      </a:lnTo>
                      <a:close/>
                      <a:moveTo>
                        <a:pt x="1115" y="299"/>
                      </a:moveTo>
                      <a:lnTo>
                        <a:pt x="1115" y="301"/>
                      </a:lnTo>
                      <a:lnTo>
                        <a:pt x="1113" y="299"/>
                      </a:lnTo>
                      <a:lnTo>
                        <a:pt x="1115" y="299"/>
                      </a:lnTo>
                      <a:close/>
                      <a:moveTo>
                        <a:pt x="1116" y="301"/>
                      </a:moveTo>
                      <a:lnTo>
                        <a:pt x="1118" y="301"/>
                      </a:lnTo>
                      <a:lnTo>
                        <a:pt x="1116" y="301"/>
                      </a:lnTo>
                      <a:close/>
                      <a:moveTo>
                        <a:pt x="1123" y="301"/>
                      </a:moveTo>
                      <a:lnTo>
                        <a:pt x="1122" y="301"/>
                      </a:lnTo>
                      <a:lnTo>
                        <a:pt x="1123" y="301"/>
                      </a:lnTo>
                      <a:close/>
                      <a:moveTo>
                        <a:pt x="1123" y="302"/>
                      </a:moveTo>
                      <a:lnTo>
                        <a:pt x="1125" y="302"/>
                      </a:lnTo>
                      <a:lnTo>
                        <a:pt x="1123" y="302"/>
                      </a:lnTo>
                      <a:close/>
                      <a:moveTo>
                        <a:pt x="1194" y="332"/>
                      </a:moveTo>
                      <a:lnTo>
                        <a:pt x="1192" y="330"/>
                      </a:lnTo>
                      <a:lnTo>
                        <a:pt x="1192" y="328"/>
                      </a:lnTo>
                      <a:lnTo>
                        <a:pt x="1192" y="327"/>
                      </a:lnTo>
                      <a:lnTo>
                        <a:pt x="1192" y="325"/>
                      </a:lnTo>
                      <a:lnTo>
                        <a:pt x="1194" y="325"/>
                      </a:lnTo>
                      <a:lnTo>
                        <a:pt x="1194" y="327"/>
                      </a:lnTo>
                      <a:lnTo>
                        <a:pt x="1192" y="327"/>
                      </a:lnTo>
                      <a:lnTo>
                        <a:pt x="1192" y="328"/>
                      </a:lnTo>
                      <a:lnTo>
                        <a:pt x="1194" y="328"/>
                      </a:lnTo>
                      <a:lnTo>
                        <a:pt x="1194" y="330"/>
                      </a:lnTo>
                      <a:lnTo>
                        <a:pt x="1194" y="332"/>
                      </a:lnTo>
                      <a:close/>
                      <a:moveTo>
                        <a:pt x="1218" y="342"/>
                      </a:moveTo>
                      <a:lnTo>
                        <a:pt x="1216" y="340"/>
                      </a:lnTo>
                      <a:lnTo>
                        <a:pt x="1216" y="338"/>
                      </a:lnTo>
                      <a:lnTo>
                        <a:pt x="1214" y="338"/>
                      </a:lnTo>
                      <a:lnTo>
                        <a:pt x="1214" y="337"/>
                      </a:lnTo>
                      <a:lnTo>
                        <a:pt x="1216" y="337"/>
                      </a:lnTo>
                      <a:lnTo>
                        <a:pt x="1216" y="338"/>
                      </a:lnTo>
                      <a:lnTo>
                        <a:pt x="1218" y="340"/>
                      </a:lnTo>
                      <a:lnTo>
                        <a:pt x="1218" y="342"/>
                      </a:lnTo>
                      <a:close/>
                      <a:moveTo>
                        <a:pt x="1182" y="330"/>
                      </a:moveTo>
                      <a:lnTo>
                        <a:pt x="1182" y="328"/>
                      </a:lnTo>
                      <a:lnTo>
                        <a:pt x="1182" y="327"/>
                      </a:lnTo>
                      <a:lnTo>
                        <a:pt x="1184" y="327"/>
                      </a:lnTo>
                      <a:lnTo>
                        <a:pt x="1184" y="325"/>
                      </a:lnTo>
                      <a:lnTo>
                        <a:pt x="1186" y="325"/>
                      </a:lnTo>
                      <a:lnTo>
                        <a:pt x="1186" y="327"/>
                      </a:lnTo>
                      <a:lnTo>
                        <a:pt x="1184" y="328"/>
                      </a:lnTo>
                      <a:lnTo>
                        <a:pt x="1182" y="330"/>
                      </a:lnTo>
                      <a:close/>
                      <a:moveTo>
                        <a:pt x="1179" y="328"/>
                      </a:moveTo>
                      <a:lnTo>
                        <a:pt x="1179" y="327"/>
                      </a:lnTo>
                      <a:lnTo>
                        <a:pt x="1179" y="328"/>
                      </a:lnTo>
                      <a:close/>
                      <a:moveTo>
                        <a:pt x="1187" y="332"/>
                      </a:moveTo>
                      <a:lnTo>
                        <a:pt x="1187" y="330"/>
                      </a:lnTo>
                      <a:lnTo>
                        <a:pt x="1189" y="330"/>
                      </a:lnTo>
                      <a:lnTo>
                        <a:pt x="1187" y="330"/>
                      </a:lnTo>
                      <a:lnTo>
                        <a:pt x="1187" y="332"/>
                      </a:lnTo>
                      <a:close/>
                      <a:moveTo>
                        <a:pt x="1181" y="332"/>
                      </a:moveTo>
                      <a:lnTo>
                        <a:pt x="1182" y="332"/>
                      </a:lnTo>
                      <a:lnTo>
                        <a:pt x="1181" y="332"/>
                      </a:lnTo>
                      <a:close/>
                      <a:moveTo>
                        <a:pt x="1127" y="302"/>
                      </a:moveTo>
                      <a:lnTo>
                        <a:pt x="1127" y="304"/>
                      </a:lnTo>
                      <a:lnTo>
                        <a:pt x="1128" y="304"/>
                      </a:lnTo>
                      <a:lnTo>
                        <a:pt x="1127" y="304"/>
                      </a:lnTo>
                      <a:lnTo>
                        <a:pt x="1125" y="304"/>
                      </a:lnTo>
                      <a:lnTo>
                        <a:pt x="1125" y="302"/>
                      </a:lnTo>
                      <a:lnTo>
                        <a:pt x="1127" y="302"/>
                      </a:lnTo>
                      <a:close/>
                      <a:moveTo>
                        <a:pt x="1049" y="301"/>
                      </a:moveTo>
                      <a:lnTo>
                        <a:pt x="1049" y="299"/>
                      </a:lnTo>
                      <a:lnTo>
                        <a:pt x="1051" y="301"/>
                      </a:lnTo>
                      <a:lnTo>
                        <a:pt x="1049" y="301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8" name="Freeform 18"/>
                <p:cNvSpPr>
                  <a:spLocks noChangeAspect="1"/>
                </p:cNvSpPr>
                <p:nvPr/>
              </p:nvSpPr>
              <p:spPr bwMode="auto">
                <a:xfrm>
                  <a:off x="6563854" y="2743347"/>
                  <a:ext cx="274343" cy="314448"/>
                </a:xfrm>
                <a:custGeom>
                  <a:avLst/>
                  <a:gdLst>
                    <a:gd name="T0" fmla="*/ 2147483647 w 176"/>
                    <a:gd name="T1" fmla="*/ 2147483647 h 189"/>
                    <a:gd name="T2" fmla="*/ 2147483647 w 176"/>
                    <a:gd name="T3" fmla="*/ 2147483647 h 189"/>
                    <a:gd name="T4" fmla="*/ 2147483647 w 176"/>
                    <a:gd name="T5" fmla="*/ 2147483647 h 189"/>
                    <a:gd name="T6" fmla="*/ 2147483647 w 176"/>
                    <a:gd name="T7" fmla="*/ 2147483647 h 189"/>
                    <a:gd name="T8" fmla="*/ 2147483647 w 176"/>
                    <a:gd name="T9" fmla="*/ 2147483647 h 189"/>
                    <a:gd name="T10" fmla="*/ 2147483647 w 176"/>
                    <a:gd name="T11" fmla="*/ 2147483647 h 189"/>
                    <a:gd name="T12" fmla="*/ 2147483647 w 176"/>
                    <a:gd name="T13" fmla="*/ 2147483647 h 189"/>
                    <a:gd name="T14" fmla="*/ 2147483647 w 176"/>
                    <a:gd name="T15" fmla="*/ 2147483647 h 189"/>
                    <a:gd name="T16" fmla="*/ 2147483647 w 176"/>
                    <a:gd name="T17" fmla="*/ 2147483647 h 189"/>
                    <a:gd name="T18" fmla="*/ 2147483647 w 176"/>
                    <a:gd name="T19" fmla="*/ 2147483647 h 189"/>
                    <a:gd name="T20" fmla="*/ 2147483647 w 176"/>
                    <a:gd name="T21" fmla="*/ 2147483647 h 189"/>
                    <a:gd name="T22" fmla="*/ 2147483647 w 176"/>
                    <a:gd name="T23" fmla="*/ 2147483647 h 189"/>
                    <a:gd name="T24" fmla="*/ 2147483647 w 176"/>
                    <a:gd name="T25" fmla="*/ 2147483647 h 189"/>
                    <a:gd name="T26" fmla="*/ 2147483647 w 176"/>
                    <a:gd name="T27" fmla="*/ 2147483647 h 189"/>
                    <a:gd name="T28" fmla="*/ 2147483647 w 176"/>
                    <a:gd name="T29" fmla="*/ 2147483647 h 189"/>
                    <a:gd name="T30" fmla="*/ 2147483647 w 176"/>
                    <a:gd name="T31" fmla="*/ 2147483647 h 189"/>
                    <a:gd name="T32" fmla="*/ 2147483647 w 176"/>
                    <a:gd name="T33" fmla="*/ 2147483647 h 189"/>
                    <a:gd name="T34" fmla="*/ 2147483647 w 176"/>
                    <a:gd name="T35" fmla="*/ 2147483647 h 189"/>
                    <a:gd name="T36" fmla="*/ 2147483647 w 176"/>
                    <a:gd name="T37" fmla="*/ 2147483647 h 189"/>
                    <a:gd name="T38" fmla="*/ 2147483647 w 176"/>
                    <a:gd name="T39" fmla="*/ 2147483647 h 189"/>
                    <a:gd name="T40" fmla="*/ 2147483647 w 176"/>
                    <a:gd name="T41" fmla="*/ 2147483647 h 189"/>
                    <a:gd name="T42" fmla="*/ 2147483647 w 176"/>
                    <a:gd name="T43" fmla="*/ 2147483647 h 189"/>
                    <a:gd name="T44" fmla="*/ 2147483647 w 176"/>
                    <a:gd name="T45" fmla="*/ 2147483647 h 189"/>
                    <a:gd name="T46" fmla="*/ 2147483647 w 176"/>
                    <a:gd name="T47" fmla="*/ 2147483647 h 189"/>
                    <a:gd name="T48" fmla="*/ 2147483647 w 176"/>
                    <a:gd name="T49" fmla="*/ 2147483647 h 189"/>
                    <a:gd name="T50" fmla="*/ 2147483647 w 176"/>
                    <a:gd name="T51" fmla="*/ 2147483647 h 189"/>
                    <a:gd name="T52" fmla="*/ 2147483647 w 176"/>
                    <a:gd name="T53" fmla="*/ 2147483647 h 189"/>
                    <a:gd name="T54" fmla="*/ 0 w 176"/>
                    <a:gd name="T55" fmla="*/ 2147483647 h 189"/>
                    <a:gd name="T56" fmla="*/ 2147483647 w 176"/>
                    <a:gd name="T57" fmla="*/ 2147483647 h 189"/>
                    <a:gd name="T58" fmla="*/ 2147483647 w 176"/>
                    <a:gd name="T59" fmla="*/ 2147483647 h 189"/>
                    <a:gd name="T60" fmla="*/ 2147483647 w 176"/>
                    <a:gd name="T61" fmla="*/ 2147483647 h 189"/>
                    <a:gd name="T62" fmla="*/ 2147483647 w 176"/>
                    <a:gd name="T63" fmla="*/ 2147483647 h 189"/>
                    <a:gd name="T64" fmla="*/ 2147483647 w 176"/>
                    <a:gd name="T65" fmla="*/ 2147483647 h 189"/>
                    <a:gd name="T66" fmla="*/ 2147483647 w 176"/>
                    <a:gd name="T67" fmla="*/ 2147483647 h 189"/>
                    <a:gd name="T68" fmla="*/ 2147483647 w 176"/>
                    <a:gd name="T69" fmla="*/ 2147483647 h 189"/>
                    <a:gd name="T70" fmla="*/ 2147483647 w 176"/>
                    <a:gd name="T71" fmla="*/ 2147483647 h 189"/>
                    <a:gd name="T72" fmla="*/ 2147483647 w 176"/>
                    <a:gd name="T73" fmla="*/ 2147483647 h 189"/>
                    <a:gd name="T74" fmla="*/ 2147483647 w 176"/>
                    <a:gd name="T75" fmla="*/ 2147483647 h 189"/>
                    <a:gd name="T76" fmla="*/ 2147483647 w 176"/>
                    <a:gd name="T77" fmla="*/ 2147483647 h 189"/>
                    <a:gd name="T78" fmla="*/ 2147483647 w 176"/>
                    <a:gd name="T79" fmla="*/ 2147483647 h 189"/>
                    <a:gd name="T80" fmla="*/ 2147483647 w 176"/>
                    <a:gd name="T81" fmla="*/ 2147483647 h 189"/>
                    <a:gd name="T82" fmla="*/ 2147483647 w 176"/>
                    <a:gd name="T83" fmla="*/ 2147483647 h 189"/>
                    <a:gd name="T84" fmla="*/ 2147483647 w 176"/>
                    <a:gd name="T85" fmla="*/ 2147483647 h 189"/>
                    <a:gd name="T86" fmla="*/ 2147483647 w 176"/>
                    <a:gd name="T87" fmla="*/ 2147483647 h 189"/>
                    <a:gd name="T88" fmla="*/ 2147483647 w 176"/>
                    <a:gd name="T89" fmla="*/ 2147483647 h 189"/>
                    <a:gd name="T90" fmla="*/ 2147483647 w 176"/>
                    <a:gd name="T91" fmla="*/ 2147483647 h 189"/>
                    <a:gd name="T92" fmla="*/ 2147483647 w 176"/>
                    <a:gd name="T93" fmla="*/ 2147483647 h 189"/>
                    <a:gd name="T94" fmla="*/ 2147483647 w 176"/>
                    <a:gd name="T95" fmla="*/ 2147483647 h 189"/>
                    <a:gd name="T96" fmla="*/ 2147483647 w 176"/>
                    <a:gd name="T97" fmla="*/ 2147483647 h 189"/>
                    <a:gd name="T98" fmla="*/ 2147483647 w 176"/>
                    <a:gd name="T99" fmla="*/ 2147483647 h 189"/>
                    <a:gd name="T100" fmla="*/ 2147483647 w 176"/>
                    <a:gd name="T101" fmla="*/ 2147483647 h 189"/>
                    <a:gd name="T102" fmla="*/ 2147483647 w 176"/>
                    <a:gd name="T103" fmla="*/ 2147483647 h 189"/>
                    <a:gd name="T104" fmla="*/ 2147483647 w 176"/>
                    <a:gd name="T105" fmla="*/ 2147483647 h 189"/>
                    <a:gd name="T106" fmla="*/ 2147483647 w 176"/>
                    <a:gd name="T107" fmla="*/ 2147483647 h 189"/>
                    <a:gd name="T108" fmla="*/ 2147483647 w 176"/>
                    <a:gd name="T109" fmla="*/ 2147483647 h 189"/>
                    <a:gd name="T110" fmla="*/ 2147483647 w 176"/>
                    <a:gd name="T111" fmla="*/ 2147483647 h 189"/>
                    <a:gd name="T112" fmla="*/ 2147483647 w 176"/>
                    <a:gd name="T113" fmla="*/ 2147483647 h 189"/>
                    <a:gd name="T114" fmla="*/ 2147483647 w 176"/>
                    <a:gd name="T115" fmla="*/ 2147483647 h 189"/>
                    <a:gd name="T116" fmla="*/ 2147483647 w 176"/>
                    <a:gd name="T117" fmla="*/ 2147483647 h 189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76"/>
                    <a:gd name="T178" fmla="*/ 0 h 189"/>
                    <a:gd name="T179" fmla="*/ 176 w 176"/>
                    <a:gd name="T180" fmla="*/ 189 h 189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76" h="189">
                      <a:moveTo>
                        <a:pt x="166" y="84"/>
                      </a:moveTo>
                      <a:lnTo>
                        <a:pt x="167" y="82"/>
                      </a:lnTo>
                      <a:lnTo>
                        <a:pt x="169" y="82"/>
                      </a:lnTo>
                      <a:lnTo>
                        <a:pt x="173" y="84"/>
                      </a:lnTo>
                      <a:lnTo>
                        <a:pt x="174" y="88"/>
                      </a:lnTo>
                      <a:lnTo>
                        <a:pt x="174" y="90"/>
                      </a:lnTo>
                      <a:lnTo>
                        <a:pt x="176" y="90"/>
                      </a:lnTo>
                      <a:lnTo>
                        <a:pt x="174" y="92"/>
                      </a:lnTo>
                      <a:lnTo>
                        <a:pt x="173" y="92"/>
                      </a:lnTo>
                      <a:lnTo>
                        <a:pt x="171" y="92"/>
                      </a:lnTo>
                      <a:lnTo>
                        <a:pt x="169" y="93"/>
                      </a:lnTo>
                      <a:lnTo>
                        <a:pt x="167" y="93"/>
                      </a:lnTo>
                      <a:lnTo>
                        <a:pt x="166" y="93"/>
                      </a:lnTo>
                      <a:lnTo>
                        <a:pt x="164" y="95"/>
                      </a:lnTo>
                      <a:lnTo>
                        <a:pt x="162" y="95"/>
                      </a:lnTo>
                      <a:lnTo>
                        <a:pt x="161" y="95"/>
                      </a:lnTo>
                      <a:lnTo>
                        <a:pt x="157" y="97"/>
                      </a:lnTo>
                      <a:lnTo>
                        <a:pt x="156" y="97"/>
                      </a:lnTo>
                      <a:lnTo>
                        <a:pt x="154" y="98"/>
                      </a:lnTo>
                      <a:lnTo>
                        <a:pt x="152" y="98"/>
                      </a:lnTo>
                      <a:lnTo>
                        <a:pt x="152" y="100"/>
                      </a:lnTo>
                      <a:lnTo>
                        <a:pt x="151" y="100"/>
                      </a:lnTo>
                      <a:lnTo>
                        <a:pt x="149" y="102"/>
                      </a:lnTo>
                      <a:lnTo>
                        <a:pt x="149" y="103"/>
                      </a:lnTo>
                      <a:lnTo>
                        <a:pt x="145" y="103"/>
                      </a:lnTo>
                      <a:lnTo>
                        <a:pt x="144" y="105"/>
                      </a:lnTo>
                      <a:lnTo>
                        <a:pt x="142" y="105"/>
                      </a:lnTo>
                      <a:lnTo>
                        <a:pt x="139" y="106"/>
                      </a:lnTo>
                      <a:lnTo>
                        <a:pt x="139" y="108"/>
                      </a:lnTo>
                      <a:lnTo>
                        <a:pt x="135" y="110"/>
                      </a:lnTo>
                      <a:lnTo>
                        <a:pt x="132" y="113"/>
                      </a:lnTo>
                      <a:lnTo>
                        <a:pt x="130" y="115"/>
                      </a:lnTo>
                      <a:lnTo>
                        <a:pt x="129" y="116"/>
                      </a:lnTo>
                      <a:lnTo>
                        <a:pt x="127" y="118"/>
                      </a:lnTo>
                      <a:lnTo>
                        <a:pt x="125" y="118"/>
                      </a:lnTo>
                      <a:lnTo>
                        <a:pt x="125" y="120"/>
                      </a:lnTo>
                      <a:lnTo>
                        <a:pt x="124" y="121"/>
                      </a:lnTo>
                      <a:lnTo>
                        <a:pt x="122" y="123"/>
                      </a:lnTo>
                      <a:lnTo>
                        <a:pt x="120" y="125"/>
                      </a:lnTo>
                      <a:lnTo>
                        <a:pt x="117" y="128"/>
                      </a:lnTo>
                      <a:lnTo>
                        <a:pt x="115" y="131"/>
                      </a:lnTo>
                      <a:lnTo>
                        <a:pt x="115" y="133"/>
                      </a:lnTo>
                      <a:lnTo>
                        <a:pt x="113" y="133"/>
                      </a:lnTo>
                      <a:lnTo>
                        <a:pt x="115" y="133"/>
                      </a:lnTo>
                      <a:lnTo>
                        <a:pt x="112" y="136"/>
                      </a:lnTo>
                      <a:lnTo>
                        <a:pt x="112" y="138"/>
                      </a:lnTo>
                      <a:lnTo>
                        <a:pt x="110" y="139"/>
                      </a:lnTo>
                      <a:lnTo>
                        <a:pt x="108" y="141"/>
                      </a:lnTo>
                      <a:lnTo>
                        <a:pt x="107" y="144"/>
                      </a:lnTo>
                      <a:lnTo>
                        <a:pt x="105" y="146"/>
                      </a:lnTo>
                      <a:lnTo>
                        <a:pt x="105" y="148"/>
                      </a:lnTo>
                      <a:lnTo>
                        <a:pt x="103" y="148"/>
                      </a:lnTo>
                      <a:lnTo>
                        <a:pt x="103" y="149"/>
                      </a:lnTo>
                      <a:lnTo>
                        <a:pt x="102" y="151"/>
                      </a:lnTo>
                      <a:lnTo>
                        <a:pt x="103" y="151"/>
                      </a:lnTo>
                      <a:lnTo>
                        <a:pt x="103" y="152"/>
                      </a:lnTo>
                      <a:lnTo>
                        <a:pt x="102" y="154"/>
                      </a:lnTo>
                      <a:lnTo>
                        <a:pt x="98" y="157"/>
                      </a:lnTo>
                      <a:lnTo>
                        <a:pt x="93" y="162"/>
                      </a:lnTo>
                      <a:lnTo>
                        <a:pt x="93" y="164"/>
                      </a:lnTo>
                      <a:lnTo>
                        <a:pt x="91" y="166"/>
                      </a:lnTo>
                      <a:lnTo>
                        <a:pt x="90" y="169"/>
                      </a:lnTo>
                      <a:lnTo>
                        <a:pt x="90" y="171"/>
                      </a:lnTo>
                      <a:lnTo>
                        <a:pt x="88" y="172"/>
                      </a:lnTo>
                      <a:lnTo>
                        <a:pt x="88" y="174"/>
                      </a:lnTo>
                      <a:lnTo>
                        <a:pt x="88" y="175"/>
                      </a:lnTo>
                      <a:lnTo>
                        <a:pt x="86" y="175"/>
                      </a:lnTo>
                      <a:lnTo>
                        <a:pt x="86" y="177"/>
                      </a:lnTo>
                      <a:lnTo>
                        <a:pt x="85" y="177"/>
                      </a:lnTo>
                      <a:lnTo>
                        <a:pt x="83" y="177"/>
                      </a:lnTo>
                      <a:lnTo>
                        <a:pt x="83" y="179"/>
                      </a:lnTo>
                      <a:lnTo>
                        <a:pt x="81" y="180"/>
                      </a:lnTo>
                      <a:lnTo>
                        <a:pt x="80" y="180"/>
                      </a:lnTo>
                      <a:lnTo>
                        <a:pt x="76" y="184"/>
                      </a:lnTo>
                      <a:lnTo>
                        <a:pt x="75" y="184"/>
                      </a:lnTo>
                      <a:lnTo>
                        <a:pt x="73" y="185"/>
                      </a:lnTo>
                      <a:lnTo>
                        <a:pt x="73" y="184"/>
                      </a:lnTo>
                      <a:lnTo>
                        <a:pt x="71" y="185"/>
                      </a:lnTo>
                      <a:lnTo>
                        <a:pt x="69" y="185"/>
                      </a:lnTo>
                      <a:lnTo>
                        <a:pt x="69" y="187"/>
                      </a:lnTo>
                      <a:lnTo>
                        <a:pt x="68" y="187"/>
                      </a:lnTo>
                      <a:lnTo>
                        <a:pt x="66" y="187"/>
                      </a:lnTo>
                      <a:lnTo>
                        <a:pt x="64" y="187"/>
                      </a:lnTo>
                      <a:lnTo>
                        <a:pt x="64" y="185"/>
                      </a:lnTo>
                      <a:lnTo>
                        <a:pt x="63" y="187"/>
                      </a:lnTo>
                      <a:lnTo>
                        <a:pt x="64" y="187"/>
                      </a:lnTo>
                      <a:lnTo>
                        <a:pt x="63" y="187"/>
                      </a:lnTo>
                      <a:lnTo>
                        <a:pt x="63" y="185"/>
                      </a:lnTo>
                      <a:lnTo>
                        <a:pt x="61" y="185"/>
                      </a:lnTo>
                      <a:lnTo>
                        <a:pt x="59" y="185"/>
                      </a:lnTo>
                      <a:lnTo>
                        <a:pt x="58" y="185"/>
                      </a:lnTo>
                      <a:lnTo>
                        <a:pt x="58" y="184"/>
                      </a:lnTo>
                      <a:lnTo>
                        <a:pt x="58" y="185"/>
                      </a:lnTo>
                      <a:lnTo>
                        <a:pt x="56" y="184"/>
                      </a:lnTo>
                      <a:lnTo>
                        <a:pt x="56" y="185"/>
                      </a:lnTo>
                      <a:lnTo>
                        <a:pt x="54" y="185"/>
                      </a:lnTo>
                      <a:lnTo>
                        <a:pt x="56" y="185"/>
                      </a:lnTo>
                      <a:lnTo>
                        <a:pt x="56" y="187"/>
                      </a:lnTo>
                      <a:lnTo>
                        <a:pt x="54" y="187"/>
                      </a:lnTo>
                      <a:lnTo>
                        <a:pt x="54" y="189"/>
                      </a:lnTo>
                      <a:lnTo>
                        <a:pt x="53" y="189"/>
                      </a:lnTo>
                      <a:lnTo>
                        <a:pt x="51" y="189"/>
                      </a:lnTo>
                      <a:lnTo>
                        <a:pt x="51" y="187"/>
                      </a:lnTo>
                      <a:lnTo>
                        <a:pt x="53" y="187"/>
                      </a:lnTo>
                      <a:lnTo>
                        <a:pt x="51" y="185"/>
                      </a:lnTo>
                      <a:lnTo>
                        <a:pt x="51" y="187"/>
                      </a:lnTo>
                      <a:lnTo>
                        <a:pt x="49" y="187"/>
                      </a:lnTo>
                      <a:lnTo>
                        <a:pt x="49" y="185"/>
                      </a:lnTo>
                      <a:lnTo>
                        <a:pt x="48" y="185"/>
                      </a:lnTo>
                      <a:lnTo>
                        <a:pt x="46" y="185"/>
                      </a:lnTo>
                      <a:lnTo>
                        <a:pt x="44" y="185"/>
                      </a:lnTo>
                      <a:lnTo>
                        <a:pt x="42" y="185"/>
                      </a:lnTo>
                      <a:lnTo>
                        <a:pt x="42" y="184"/>
                      </a:lnTo>
                      <a:lnTo>
                        <a:pt x="41" y="184"/>
                      </a:lnTo>
                      <a:lnTo>
                        <a:pt x="41" y="182"/>
                      </a:lnTo>
                      <a:lnTo>
                        <a:pt x="39" y="182"/>
                      </a:lnTo>
                      <a:lnTo>
                        <a:pt x="39" y="180"/>
                      </a:lnTo>
                      <a:lnTo>
                        <a:pt x="37" y="180"/>
                      </a:lnTo>
                      <a:lnTo>
                        <a:pt x="37" y="179"/>
                      </a:lnTo>
                      <a:lnTo>
                        <a:pt x="37" y="180"/>
                      </a:lnTo>
                      <a:lnTo>
                        <a:pt x="37" y="179"/>
                      </a:lnTo>
                      <a:lnTo>
                        <a:pt x="37" y="180"/>
                      </a:lnTo>
                      <a:lnTo>
                        <a:pt x="36" y="179"/>
                      </a:lnTo>
                      <a:lnTo>
                        <a:pt x="37" y="179"/>
                      </a:lnTo>
                      <a:lnTo>
                        <a:pt x="37" y="177"/>
                      </a:lnTo>
                      <a:lnTo>
                        <a:pt x="36" y="177"/>
                      </a:lnTo>
                      <a:lnTo>
                        <a:pt x="34" y="175"/>
                      </a:lnTo>
                      <a:lnTo>
                        <a:pt x="36" y="175"/>
                      </a:lnTo>
                      <a:lnTo>
                        <a:pt x="34" y="175"/>
                      </a:lnTo>
                      <a:lnTo>
                        <a:pt x="34" y="177"/>
                      </a:lnTo>
                      <a:lnTo>
                        <a:pt x="32" y="177"/>
                      </a:lnTo>
                      <a:lnTo>
                        <a:pt x="32" y="175"/>
                      </a:lnTo>
                      <a:lnTo>
                        <a:pt x="32" y="174"/>
                      </a:lnTo>
                      <a:lnTo>
                        <a:pt x="31" y="174"/>
                      </a:lnTo>
                      <a:lnTo>
                        <a:pt x="29" y="174"/>
                      </a:lnTo>
                      <a:lnTo>
                        <a:pt x="29" y="175"/>
                      </a:lnTo>
                      <a:lnTo>
                        <a:pt x="29" y="174"/>
                      </a:lnTo>
                      <a:lnTo>
                        <a:pt x="27" y="174"/>
                      </a:lnTo>
                      <a:lnTo>
                        <a:pt x="27" y="172"/>
                      </a:lnTo>
                      <a:lnTo>
                        <a:pt x="27" y="174"/>
                      </a:lnTo>
                      <a:lnTo>
                        <a:pt x="26" y="174"/>
                      </a:lnTo>
                      <a:lnTo>
                        <a:pt x="26" y="172"/>
                      </a:lnTo>
                      <a:lnTo>
                        <a:pt x="27" y="172"/>
                      </a:lnTo>
                      <a:lnTo>
                        <a:pt x="26" y="172"/>
                      </a:lnTo>
                      <a:lnTo>
                        <a:pt x="24" y="172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2" y="171"/>
                      </a:lnTo>
                      <a:lnTo>
                        <a:pt x="21" y="171"/>
                      </a:lnTo>
                      <a:lnTo>
                        <a:pt x="21" y="169"/>
                      </a:lnTo>
                      <a:lnTo>
                        <a:pt x="19" y="169"/>
                      </a:lnTo>
                      <a:lnTo>
                        <a:pt x="19" y="167"/>
                      </a:lnTo>
                      <a:lnTo>
                        <a:pt x="19" y="166"/>
                      </a:lnTo>
                      <a:lnTo>
                        <a:pt x="19" y="164"/>
                      </a:lnTo>
                      <a:lnTo>
                        <a:pt x="21" y="164"/>
                      </a:lnTo>
                      <a:lnTo>
                        <a:pt x="21" y="162"/>
                      </a:lnTo>
                      <a:lnTo>
                        <a:pt x="22" y="162"/>
                      </a:lnTo>
                      <a:lnTo>
                        <a:pt x="22" y="161"/>
                      </a:lnTo>
                      <a:lnTo>
                        <a:pt x="24" y="162"/>
                      </a:lnTo>
                      <a:lnTo>
                        <a:pt x="24" y="161"/>
                      </a:lnTo>
                      <a:lnTo>
                        <a:pt x="24" y="159"/>
                      </a:lnTo>
                      <a:lnTo>
                        <a:pt x="24" y="157"/>
                      </a:lnTo>
                      <a:lnTo>
                        <a:pt x="26" y="157"/>
                      </a:lnTo>
                      <a:lnTo>
                        <a:pt x="26" y="156"/>
                      </a:lnTo>
                      <a:lnTo>
                        <a:pt x="26" y="154"/>
                      </a:lnTo>
                      <a:lnTo>
                        <a:pt x="24" y="154"/>
                      </a:lnTo>
                      <a:lnTo>
                        <a:pt x="22" y="154"/>
                      </a:lnTo>
                      <a:lnTo>
                        <a:pt x="21" y="154"/>
                      </a:lnTo>
                      <a:lnTo>
                        <a:pt x="21" y="152"/>
                      </a:lnTo>
                      <a:lnTo>
                        <a:pt x="19" y="152"/>
                      </a:lnTo>
                      <a:lnTo>
                        <a:pt x="17" y="152"/>
                      </a:lnTo>
                      <a:lnTo>
                        <a:pt x="15" y="151"/>
                      </a:lnTo>
                      <a:lnTo>
                        <a:pt x="15" y="149"/>
                      </a:lnTo>
                      <a:lnTo>
                        <a:pt x="15" y="148"/>
                      </a:lnTo>
                      <a:lnTo>
                        <a:pt x="15" y="144"/>
                      </a:lnTo>
                      <a:lnTo>
                        <a:pt x="14" y="144"/>
                      </a:lnTo>
                      <a:lnTo>
                        <a:pt x="14" y="143"/>
                      </a:lnTo>
                      <a:lnTo>
                        <a:pt x="14" y="141"/>
                      </a:lnTo>
                      <a:lnTo>
                        <a:pt x="12" y="139"/>
                      </a:lnTo>
                      <a:lnTo>
                        <a:pt x="14" y="138"/>
                      </a:lnTo>
                      <a:lnTo>
                        <a:pt x="12" y="138"/>
                      </a:lnTo>
                      <a:lnTo>
                        <a:pt x="10" y="138"/>
                      </a:lnTo>
                      <a:lnTo>
                        <a:pt x="9" y="138"/>
                      </a:lnTo>
                      <a:lnTo>
                        <a:pt x="9" y="136"/>
                      </a:lnTo>
                      <a:lnTo>
                        <a:pt x="9" y="134"/>
                      </a:lnTo>
                      <a:lnTo>
                        <a:pt x="7" y="134"/>
                      </a:lnTo>
                      <a:lnTo>
                        <a:pt x="7" y="133"/>
                      </a:lnTo>
                      <a:lnTo>
                        <a:pt x="5" y="133"/>
                      </a:lnTo>
                      <a:lnTo>
                        <a:pt x="5" y="131"/>
                      </a:lnTo>
                      <a:lnTo>
                        <a:pt x="5" y="129"/>
                      </a:lnTo>
                      <a:lnTo>
                        <a:pt x="4" y="129"/>
                      </a:lnTo>
                      <a:lnTo>
                        <a:pt x="4" y="128"/>
                      </a:lnTo>
                      <a:lnTo>
                        <a:pt x="2" y="128"/>
                      </a:lnTo>
                      <a:lnTo>
                        <a:pt x="2" y="126"/>
                      </a:lnTo>
                      <a:lnTo>
                        <a:pt x="0" y="125"/>
                      </a:lnTo>
                      <a:lnTo>
                        <a:pt x="0" y="123"/>
                      </a:lnTo>
                      <a:lnTo>
                        <a:pt x="0" y="121"/>
                      </a:lnTo>
                      <a:lnTo>
                        <a:pt x="0" y="120"/>
                      </a:lnTo>
                      <a:lnTo>
                        <a:pt x="0" y="118"/>
                      </a:lnTo>
                      <a:lnTo>
                        <a:pt x="0" y="116"/>
                      </a:lnTo>
                      <a:lnTo>
                        <a:pt x="0" y="115"/>
                      </a:lnTo>
                      <a:lnTo>
                        <a:pt x="2" y="113"/>
                      </a:lnTo>
                      <a:lnTo>
                        <a:pt x="2" y="111"/>
                      </a:lnTo>
                      <a:lnTo>
                        <a:pt x="2" y="110"/>
                      </a:lnTo>
                      <a:lnTo>
                        <a:pt x="4" y="110"/>
                      </a:lnTo>
                      <a:lnTo>
                        <a:pt x="4" y="108"/>
                      </a:lnTo>
                      <a:lnTo>
                        <a:pt x="5" y="108"/>
                      </a:lnTo>
                      <a:lnTo>
                        <a:pt x="7" y="108"/>
                      </a:lnTo>
                      <a:lnTo>
                        <a:pt x="9" y="110"/>
                      </a:lnTo>
                      <a:lnTo>
                        <a:pt x="9" y="108"/>
                      </a:lnTo>
                      <a:lnTo>
                        <a:pt x="10" y="108"/>
                      </a:lnTo>
                      <a:lnTo>
                        <a:pt x="10" y="110"/>
                      </a:lnTo>
                      <a:lnTo>
                        <a:pt x="14" y="110"/>
                      </a:lnTo>
                      <a:lnTo>
                        <a:pt x="15" y="110"/>
                      </a:lnTo>
                      <a:lnTo>
                        <a:pt x="17" y="111"/>
                      </a:lnTo>
                      <a:lnTo>
                        <a:pt x="21" y="113"/>
                      </a:lnTo>
                      <a:lnTo>
                        <a:pt x="22" y="115"/>
                      </a:lnTo>
                      <a:lnTo>
                        <a:pt x="24" y="115"/>
                      </a:lnTo>
                      <a:lnTo>
                        <a:pt x="26" y="113"/>
                      </a:lnTo>
                      <a:lnTo>
                        <a:pt x="41" y="108"/>
                      </a:lnTo>
                      <a:lnTo>
                        <a:pt x="41" y="98"/>
                      </a:lnTo>
                      <a:lnTo>
                        <a:pt x="39" y="98"/>
                      </a:lnTo>
                      <a:lnTo>
                        <a:pt x="39" y="97"/>
                      </a:lnTo>
                      <a:lnTo>
                        <a:pt x="39" y="98"/>
                      </a:lnTo>
                      <a:lnTo>
                        <a:pt x="39" y="97"/>
                      </a:lnTo>
                      <a:lnTo>
                        <a:pt x="39" y="95"/>
                      </a:lnTo>
                      <a:lnTo>
                        <a:pt x="37" y="95"/>
                      </a:lnTo>
                      <a:lnTo>
                        <a:pt x="39" y="95"/>
                      </a:lnTo>
                      <a:lnTo>
                        <a:pt x="39" y="93"/>
                      </a:lnTo>
                      <a:lnTo>
                        <a:pt x="41" y="93"/>
                      </a:lnTo>
                      <a:lnTo>
                        <a:pt x="41" y="92"/>
                      </a:lnTo>
                      <a:lnTo>
                        <a:pt x="41" y="90"/>
                      </a:lnTo>
                      <a:lnTo>
                        <a:pt x="41" y="88"/>
                      </a:lnTo>
                      <a:lnTo>
                        <a:pt x="39" y="88"/>
                      </a:lnTo>
                      <a:lnTo>
                        <a:pt x="39" y="87"/>
                      </a:lnTo>
                      <a:lnTo>
                        <a:pt x="37" y="85"/>
                      </a:lnTo>
                      <a:lnTo>
                        <a:pt x="37" y="84"/>
                      </a:lnTo>
                      <a:lnTo>
                        <a:pt x="36" y="84"/>
                      </a:lnTo>
                      <a:lnTo>
                        <a:pt x="37" y="84"/>
                      </a:lnTo>
                      <a:lnTo>
                        <a:pt x="37" y="82"/>
                      </a:lnTo>
                      <a:lnTo>
                        <a:pt x="39" y="82"/>
                      </a:lnTo>
                      <a:lnTo>
                        <a:pt x="39" y="80"/>
                      </a:lnTo>
                      <a:lnTo>
                        <a:pt x="37" y="80"/>
                      </a:lnTo>
                      <a:lnTo>
                        <a:pt x="39" y="80"/>
                      </a:lnTo>
                      <a:lnTo>
                        <a:pt x="39" y="79"/>
                      </a:lnTo>
                      <a:lnTo>
                        <a:pt x="41" y="79"/>
                      </a:lnTo>
                      <a:lnTo>
                        <a:pt x="42" y="77"/>
                      </a:lnTo>
                      <a:lnTo>
                        <a:pt x="44" y="75"/>
                      </a:lnTo>
                      <a:lnTo>
                        <a:pt x="46" y="75"/>
                      </a:lnTo>
                      <a:lnTo>
                        <a:pt x="48" y="75"/>
                      </a:lnTo>
                      <a:lnTo>
                        <a:pt x="46" y="62"/>
                      </a:lnTo>
                      <a:lnTo>
                        <a:pt x="44" y="57"/>
                      </a:lnTo>
                      <a:lnTo>
                        <a:pt x="44" y="56"/>
                      </a:lnTo>
                      <a:lnTo>
                        <a:pt x="42" y="54"/>
                      </a:lnTo>
                      <a:lnTo>
                        <a:pt x="41" y="51"/>
                      </a:lnTo>
                      <a:lnTo>
                        <a:pt x="41" y="49"/>
                      </a:lnTo>
                      <a:lnTo>
                        <a:pt x="39" y="49"/>
                      </a:lnTo>
                      <a:lnTo>
                        <a:pt x="39" y="47"/>
                      </a:lnTo>
                      <a:lnTo>
                        <a:pt x="41" y="47"/>
                      </a:lnTo>
                      <a:lnTo>
                        <a:pt x="41" y="46"/>
                      </a:lnTo>
                      <a:lnTo>
                        <a:pt x="39" y="46"/>
                      </a:lnTo>
                      <a:lnTo>
                        <a:pt x="39" y="44"/>
                      </a:lnTo>
                      <a:lnTo>
                        <a:pt x="37" y="44"/>
                      </a:lnTo>
                      <a:lnTo>
                        <a:pt x="37" y="42"/>
                      </a:lnTo>
                      <a:lnTo>
                        <a:pt x="36" y="42"/>
                      </a:lnTo>
                      <a:lnTo>
                        <a:pt x="34" y="42"/>
                      </a:lnTo>
                      <a:lnTo>
                        <a:pt x="32" y="42"/>
                      </a:lnTo>
                      <a:lnTo>
                        <a:pt x="31" y="42"/>
                      </a:lnTo>
                      <a:lnTo>
                        <a:pt x="31" y="41"/>
                      </a:lnTo>
                      <a:lnTo>
                        <a:pt x="29" y="41"/>
                      </a:lnTo>
                      <a:lnTo>
                        <a:pt x="27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4" y="38"/>
                      </a:lnTo>
                      <a:lnTo>
                        <a:pt x="24" y="36"/>
                      </a:lnTo>
                      <a:lnTo>
                        <a:pt x="24" y="34"/>
                      </a:lnTo>
                      <a:lnTo>
                        <a:pt x="24" y="33"/>
                      </a:lnTo>
                      <a:lnTo>
                        <a:pt x="26" y="33"/>
                      </a:lnTo>
                      <a:lnTo>
                        <a:pt x="26" y="31"/>
                      </a:lnTo>
                      <a:lnTo>
                        <a:pt x="26" y="29"/>
                      </a:lnTo>
                      <a:lnTo>
                        <a:pt x="26" y="28"/>
                      </a:lnTo>
                      <a:lnTo>
                        <a:pt x="24" y="26"/>
                      </a:lnTo>
                      <a:lnTo>
                        <a:pt x="22" y="24"/>
                      </a:lnTo>
                      <a:lnTo>
                        <a:pt x="21" y="23"/>
                      </a:lnTo>
                      <a:lnTo>
                        <a:pt x="21" y="24"/>
                      </a:lnTo>
                      <a:lnTo>
                        <a:pt x="21" y="23"/>
                      </a:lnTo>
                      <a:lnTo>
                        <a:pt x="21" y="21"/>
                      </a:lnTo>
                      <a:lnTo>
                        <a:pt x="19" y="21"/>
                      </a:lnTo>
                      <a:lnTo>
                        <a:pt x="19" y="19"/>
                      </a:lnTo>
                      <a:lnTo>
                        <a:pt x="19" y="18"/>
                      </a:lnTo>
                      <a:lnTo>
                        <a:pt x="19" y="16"/>
                      </a:lnTo>
                      <a:lnTo>
                        <a:pt x="19" y="15"/>
                      </a:lnTo>
                      <a:lnTo>
                        <a:pt x="21" y="15"/>
                      </a:lnTo>
                      <a:lnTo>
                        <a:pt x="21" y="13"/>
                      </a:lnTo>
                      <a:lnTo>
                        <a:pt x="22" y="13"/>
                      </a:lnTo>
                      <a:lnTo>
                        <a:pt x="22" y="11"/>
                      </a:lnTo>
                      <a:lnTo>
                        <a:pt x="24" y="11"/>
                      </a:lnTo>
                      <a:lnTo>
                        <a:pt x="24" y="13"/>
                      </a:lnTo>
                      <a:lnTo>
                        <a:pt x="24" y="11"/>
                      </a:lnTo>
                      <a:lnTo>
                        <a:pt x="22" y="11"/>
                      </a:lnTo>
                      <a:lnTo>
                        <a:pt x="22" y="10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19" y="8"/>
                      </a:lnTo>
                      <a:lnTo>
                        <a:pt x="19" y="6"/>
                      </a:lnTo>
                      <a:lnTo>
                        <a:pt x="19" y="5"/>
                      </a:lnTo>
                      <a:lnTo>
                        <a:pt x="21" y="5"/>
                      </a:lnTo>
                      <a:lnTo>
                        <a:pt x="21" y="3"/>
                      </a:lnTo>
                      <a:lnTo>
                        <a:pt x="22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22" y="1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1"/>
                      </a:lnTo>
                      <a:lnTo>
                        <a:pt x="27" y="1"/>
                      </a:lnTo>
                      <a:lnTo>
                        <a:pt x="29" y="1"/>
                      </a:lnTo>
                      <a:lnTo>
                        <a:pt x="31" y="3"/>
                      </a:lnTo>
                      <a:lnTo>
                        <a:pt x="32" y="3"/>
                      </a:lnTo>
                      <a:lnTo>
                        <a:pt x="32" y="1"/>
                      </a:lnTo>
                      <a:lnTo>
                        <a:pt x="34" y="1"/>
                      </a:lnTo>
                      <a:lnTo>
                        <a:pt x="34" y="3"/>
                      </a:lnTo>
                      <a:lnTo>
                        <a:pt x="36" y="3"/>
                      </a:lnTo>
                      <a:lnTo>
                        <a:pt x="36" y="5"/>
                      </a:lnTo>
                      <a:lnTo>
                        <a:pt x="37" y="5"/>
                      </a:lnTo>
                      <a:lnTo>
                        <a:pt x="39" y="6"/>
                      </a:lnTo>
                      <a:lnTo>
                        <a:pt x="41" y="6"/>
                      </a:lnTo>
                      <a:lnTo>
                        <a:pt x="41" y="8"/>
                      </a:lnTo>
                      <a:lnTo>
                        <a:pt x="42" y="10"/>
                      </a:lnTo>
                      <a:lnTo>
                        <a:pt x="42" y="11"/>
                      </a:lnTo>
                      <a:lnTo>
                        <a:pt x="44" y="11"/>
                      </a:lnTo>
                      <a:lnTo>
                        <a:pt x="46" y="10"/>
                      </a:lnTo>
                      <a:lnTo>
                        <a:pt x="48" y="10"/>
                      </a:lnTo>
                      <a:lnTo>
                        <a:pt x="49" y="10"/>
                      </a:lnTo>
                      <a:lnTo>
                        <a:pt x="51" y="10"/>
                      </a:lnTo>
                      <a:lnTo>
                        <a:pt x="51" y="11"/>
                      </a:lnTo>
                      <a:lnTo>
                        <a:pt x="53" y="11"/>
                      </a:lnTo>
                      <a:lnTo>
                        <a:pt x="54" y="13"/>
                      </a:lnTo>
                      <a:lnTo>
                        <a:pt x="56" y="15"/>
                      </a:lnTo>
                      <a:lnTo>
                        <a:pt x="58" y="16"/>
                      </a:lnTo>
                      <a:lnTo>
                        <a:pt x="59" y="18"/>
                      </a:lnTo>
                      <a:lnTo>
                        <a:pt x="61" y="18"/>
                      </a:lnTo>
                      <a:lnTo>
                        <a:pt x="63" y="19"/>
                      </a:lnTo>
                      <a:lnTo>
                        <a:pt x="64" y="19"/>
                      </a:lnTo>
                      <a:lnTo>
                        <a:pt x="68" y="21"/>
                      </a:lnTo>
                      <a:lnTo>
                        <a:pt x="69" y="21"/>
                      </a:lnTo>
                      <a:lnTo>
                        <a:pt x="71" y="21"/>
                      </a:lnTo>
                      <a:lnTo>
                        <a:pt x="73" y="21"/>
                      </a:lnTo>
                      <a:lnTo>
                        <a:pt x="75" y="21"/>
                      </a:lnTo>
                      <a:lnTo>
                        <a:pt x="78" y="23"/>
                      </a:lnTo>
                      <a:lnTo>
                        <a:pt x="80" y="23"/>
                      </a:lnTo>
                      <a:lnTo>
                        <a:pt x="83" y="24"/>
                      </a:lnTo>
                      <a:lnTo>
                        <a:pt x="85" y="24"/>
                      </a:lnTo>
                      <a:lnTo>
                        <a:pt x="86" y="28"/>
                      </a:lnTo>
                      <a:lnTo>
                        <a:pt x="88" y="28"/>
                      </a:lnTo>
                      <a:lnTo>
                        <a:pt x="90" y="28"/>
                      </a:lnTo>
                      <a:lnTo>
                        <a:pt x="91" y="29"/>
                      </a:lnTo>
                      <a:lnTo>
                        <a:pt x="93" y="31"/>
                      </a:lnTo>
                      <a:lnTo>
                        <a:pt x="95" y="33"/>
                      </a:lnTo>
                      <a:lnTo>
                        <a:pt x="95" y="34"/>
                      </a:lnTo>
                      <a:lnTo>
                        <a:pt x="97" y="34"/>
                      </a:lnTo>
                      <a:lnTo>
                        <a:pt x="100" y="34"/>
                      </a:lnTo>
                      <a:lnTo>
                        <a:pt x="103" y="34"/>
                      </a:lnTo>
                      <a:lnTo>
                        <a:pt x="105" y="36"/>
                      </a:lnTo>
                      <a:lnTo>
                        <a:pt x="107" y="38"/>
                      </a:lnTo>
                      <a:lnTo>
                        <a:pt x="108" y="39"/>
                      </a:lnTo>
                      <a:lnTo>
                        <a:pt x="110" y="41"/>
                      </a:lnTo>
                      <a:lnTo>
                        <a:pt x="113" y="42"/>
                      </a:lnTo>
                      <a:lnTo>
                        <a:pt x="115" y="42"/>
                      </a:lnTo>
                      <a:lnTo>
                        <a:pt x="117" y="42"/>
                      </a:lnTo>
                      <a:lnTo>
                        <a:pt x="118" y="42"/>
                      </a:lnTo>
                      <a:lnTo>
                        <a:pt x="120" y="42"/>
                      </a:lnTo>
                      <a:lnTo>
                        <a:pt x="122" y="44"/>
                      </a:lnTo>
                      <a:lnTo>
                        <a:pt x="122" y="46"/>
                      </a:lnTo>
                      <a:lnTo>
                        <a:pt x="122" y="47"/>
                      </a:lnTo>
                      <a:lnTo>
                        <a:pt x="122" y="49"/>
                      </a:lnTo>
                      <a:lnTo>
                        <a:pt x="122" y="51"/>
                      </a:lnTo>
                      <a:lnTo>
                        <a:pt x="124" y="52"/>
                      </a:lnTo>
                      <a:lnTo>
                        <a:pt x="125" y="54"/>
                      </a:lnTo>
                      <a:lnTo>
                        <a:pt x="125" y="56"/>
                      </a:lnTo>
                      <a:lnTo>
                        <a:pt x="127" y="57"/>
                      </a:lnTo>
                      <a:lnTo>
                        <a:pt x="129" y="57"/>
                      </a:lnTo>
                      <a:lnTo>
                        <a:pt x="130" y="57"/>
                      </a:lnTo>
                      <a:lnTo>
                        <a:pt x="130" y="59"/>
                      </a:lnTo>
                      <a:lnTo>
                        <a:pt x="132" y="59"/>
                      </a:lnTo>
                      <a:lnTo>
                        <a:pt x="132" y="61"/>
                      </a:lnTo>
                      <a:lnTo>
                        <a:pt x="132" y="62"/>
                      </a:lnTo>
                      <a:lnTo>
                        <a:pt x="134" y="62"/>
                      </a:lnTo>
                      <a:lnTo>
                        <a:pt x="134" y="64"/>
                      </a:lnTo>
                      <a:lnTo>
                        <a:pt x="135" y="64"/>
                      </a:lnTo>
                      <a:lnTo>
                        <a:pt x="137" y="64"/>
                      </a:lnTo>
                      <a:lnTo>
                        <a:pt x="139" y="64"/>
                      </a:lnTo>
                      <a:lnTo>
                        <a:pt x="140" y="65"/>
                      </a:lnTo>
                      <a:lnTo>
                        <a:pt x="142" y="65"/>
                      </a:lnTo>
                      <a:lnTo>
                        <a:pt x="142" y="67"/>
                      </a:lnTo>
                      <a:lnTo>
                        <a:pt x="144" y="69"/>
                      </a:lnTo>
                      <a:lnTo>
                        <a:pt x="145" y="69"/>
                      </a:lnTo>
                      <a:lnTo>
                        <a:pt x="147" y="69"/>
                      </a:lnTo>
                      <a:lnTo>
                        <a:pt x="149" y="69"/>
                      </a:lnTo>
                      <a:lnTo>
                        <a:pt x="151" y="69"/>
                      </a:lnTo>
                      <a:lnTo>
                        <a:pt x="151" y="67"/>
                      </a:lnTo>
                      <a:lnTo>
                        <a:pt x="152" y="67"/>
                      </a:lnTo>
                      <a:lnTo>
                        <a:pt x="154" y="69"/>
                      </a:lnTo>
                      <a:lnTo>
                        <a:pt x="156" y="70"/>
                      </a:lnTo>
                      <a:lnTo>
                        <a:pt x="157" y="70"/>
                      </a:lnTo>
                      <a:lnTo>
                        <a:pt x="157" y="72"/>
                      </a:lnTo>
                      <a:lnTo>
                        <a:pt x="159" y="74"/>
                      </a:lnTo>
                      <a:lnTo>
                        <a:pt x="159" y="75"/>
                      </a:lnTo>
                      <a:lnTo>
                        <a:pt x="159" y="77"/>
                      </a:lnTo>
                      <a:lnTo>
                        <a:pt x="159" y="79"/>
                      </a:lnTo>
                      <a:lnTo>
                        <a:pt x="159" y="80"/>
                      </a:lnTo>
                      <a:lnTo>
                        <a:pt x="159" y="82"/>
                      </a:lnTo>
                      <a:lnTo>
                        <a:pt x="161" y="84"/>
                      </a:lnTo>
                      <a:lnTo>
                        <a:pt x="162" y="84"/>
                      </a:lnTo>
                      <a:lnTo>
                        <a:pt x="164" y="84"/>
                      </a:lnTo>
                      <a:lnTo>
                        <a:pt x="166" y="84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69" name="Freeform 19"/>
                <p:cNvSpPr>
                  <a:spLocks noChangeAspect="1"/>
                </p:cNvSpPr>
                <p:nvPr/>
              </p:nvSpPr>
              <p:spPr bwMode="auto">
                <a:xfrm>
                  <a:off x="6563854" y="2632954"/>
                  <a:ext cx="455009" cy="260925"/>
                </a:xfrm>
                <a:custGeom>
                  <a:avLst/>
                  <a:gdLst>
                    <a:gd name="T0" fmla="*/ 2147483647 w 292"/>
                    <a:gd name="T1" fmla="*/ 2147483647 h 156"/>
                    <a:gd name="T2" fmla="*/ 2147483647 w 292"/>
                    <a:gd name="T3" fmla="*/ 2147483647 h 156"/>
                    <a:gd name="T4" fmla="*/ 2147483647 w 292"/>
                    <a:gd name="T5" fmla="*/ 2147483647 h 156"/>
                    <a:gd name="T6" fmla="*/ 2147483647 w 292"/>
                    <a:gd name="T7" fmla="*/ 2147483647 h 156"/>
                    <a:gd name="T8" fmla="*/ 2147483647 w 292"/>
                    <a:gd name="T9" fmla="*/ 2147483647 h 156"/>
                    <a:gd name="T10" fmla="*/ 2147483647 w 292"/>
                    <a:gd name="T11" fmla="*/ 2147483647 h 156"/>
                    <a:gd name="T12" fmla="*/ 2147483647 w 292"/>
                    <a:gd name="T13" fmla="*/ 2147483647 h 156"/>
                    <a:gd name="T14" fmla="*/ 2147483647 w 292"/>
                    <a:gd name="T15" fmla="*/ 2147483647 h 156"/>
                    <a:gd name="T16" fmla="*/ 2147483647 w 292"/>
                    <a:gd name="T17" fmla="*/ 2147483647 h 156"/>
                    <a:gd name="T18" fmla="*/ 2147483647 w 292"/>
                    <a:gd name="T19" fmla="*/ 2147483647 h 156"/>
                    <a:gd name="T20" fmla="*/ 2147483647 w 292"/>
                    <a:gd name="T21" fmla="*/ 2147483647 h 156"/>
                    <a:gd name="T22" fmla="*/ 2147483647 w 292"/>
                    <a:gd name="T23" fmla="*/ 2147483647 h 156"/>
                    <a:gd name="T24" fmla="*/ 2147483647 w 292"/>
                    <a:gd name="T25" fmla="*/ 2147483647 h 156"/>
                    <a:gd name="T26" fmla="*/ 2147483647 w 292"/>
                    <a:gd name="T27" fmla="*/ 2147483647 h 156"/>
                    <a:gd name="T28" fmla="*/ 2147483647 w 292"/>
                    <a:gd name="T29" fmla="*/ 2147483647 h 156"/>
                    <a:gd name="T30" fmla="*/ 2147483647 w 292"/>
                    <a:gd name="T31" fmla="*/ 2147483647 h 156"/>
                    <a:gd name="T32" fmla="*/ 2147483647 w 292"/>
                    <a:gd name="T33" fmla="*/ 2147483647 h 156"/>
                    <a:gd name="T34" fmla="*/ 2147483647 w 292"/>
                    <a:gd name="T35" fmla="*/ 2147483647 h 156"/>
                    <a:gd name="T36" fmla="*/ 2147483647 w 292"/>
                    <a:gd name="T37" fmla="*/ 2147483647 h 156"/>
                    <a:gd name="T38" fmla="*/ 2147483647 w 292"/>
                    <a:gd name="T39" fmla="*/ 2147483647 h 156"/>
                    <a:gd name="T40" fmla="*/ 2147483647 w 292"/>
                    <a:gd name="T41" fmla="*/ 2147483647 h 156"/>
                    <a:gd name="T42" fmla="*/ 2147483647 w 292"/>
                    <a:gd name="T43" fmla="*/ 2147483647 h 156"/>
                    <a:gd name="T44" fmla="*/ 2147483647 w 292"/>
                    <a:gd name="T45" fmla="*/ 2147483647 h 156"/>
                    <a:gd name="T46" fmla="*/ 2147483647 w 292"/>
                    <a:gd name="T47" fmla="*/ 2147483647 h 156"/>
                    <a:gd name="T48" fmla="*/ 2147483647 w 292"/>
                    <a:gd name="T49" fmla="*/ 2147483647 h 156"/>
                    <a:gd name="T50" fmla="*/ 2147483647 w 292"/>
                    <a:gd name="T51" fmla="*/ 2147483647 h 156"/>
                    <a:gd name="T52" fmla="*/ 2147483647 w 292"/>
                    <a:gd name="T53" fmla="*/ 2147483647 h 156"/>
                    <a:gd name="T54" fmla="*/ 2147483647 w 292"/>
                    <a:gd name="T55" fmla="*/ 2147483647 h 156"/>
                    <a:gd name="T56" fmla="*/ 2147483647 w 292"/>
                    <a:gd name="T57" fmla="*/ 2147483647 h 156"/>
                    <a:gd name="T58" fmla="*/ 2147483647 w 292"/>
                    <a:gd name="T59" fmla="*/ 2147483647 h 156"/>
                    <a:gd name="T60" fmla="*/ 2147483647 w 292"/>
                    <a:gd name="T61" fmla="*/ 0 h 156"/>
                    <a:gd name="T62" fmla="*/ 2147483647 w 292"/>
                    <a:gd name="T63" fmla="*/ 0 h 156"/>
                    <a:gd name="T64" fmla="*/ 2147483647 w 292"/>
                    <a:gd name="T65" fmla="*/ 2147483647 h 156"/>
                    <a:gd name="T66" fmla="*/ 2147483647 w 292"/>
                    <a:gd name="T67" fmla="*/ 2147483647 h 156"/>
                    <a:gd name="T68" fmla="*/ 2147483647 w 292"/>
                    <a:gd name="T69" fmla="*/ 2147483647 h 156"/>
                    <a:gd name="T70" fmla="*/ 2147483647 w 292"/>
                    <a:gd name="T71" fmla="*/ 2147483647 h 156"/>
                    <a:gd name="T72" fmla="*/ 2147483647 w 292"/>
                    <a:gd name="T73" fmla="*/ 2147483647 h 156"/>
                    <a:gd name="T74" fmla="*/ 2147483647 w 292"/>
                    <a:gd name="T75" fmla="*/ 2147483647 h 156"/>
                    <a:gd name="T76" fmla="*/ 2147483647 w 292"/>
                    <a:gd name="T77" fmla="*/ 2147483647 h 156"/>
                    <a:gd name="T78" fmla="*/ 2147483647 w 292"/>
                    <a:gd name="T79" fmla="*/ 2147483647 h 156"/>
                    <a:gd name="T80" fmla="*/ 2147483647 w 292"/>
                    <a:gd name="T81" fmla="*/ 2147483647 h 156"/>
                    <a:gd name="T82" fmla="*/ 2147483647 w 292"/>
                    <a:gd name="T83" fmla="*/ 2147483647 h 156"/>
                    <a:gd name="T84" fmla="*/ 2147483647 w 292"/>
                    <a:gd name="T85" fmla="*/ 2147483647 h 156"/>
                    <a:gd name="T86" fmla="*/ 2147483647 w 292"/>
                    <a:gd name="T87" fmla="*/ 2147483647 h 156"/>
                    <a:gd name="T88" fmla="*/ 2147483647 w 292"/>
                    <a:gd name="T89" fmla="*/ 2147483647 h 156"/>
                    <a:gd name="T90" fmla="*/ 2147483647 w 292"/>
                    <a:gd name="T91" fmla="*/ 2147483647 h 156"/>
                    <a:gd name="T92" fmla="*/ 2147483647 w 292"/>
                    <a:gd name="T93" fmla="*/ 2147483647 h 156"/>
                    <a:gd name="T94" fmla="*/ 2147483647 w 292"/>
                    <a:gd name="T95" fmla="*/ 2147483647 h 156"/>
                    <a:gd name="T96" fmla="*/ 2147483647 w 292"/>
                    <a:gd name="T97" fmla="*/ 2147483647 h 156"/>
                    <a:gd name="T98" fmla="*/ 2147483647 w 292"/>
                    <a:gd name="T99" fmla="*/ 2147483647 h 156"/>
                    <a:gd name="T100" fmla="*/ 2147483647 w 292"/>
                    <a:gd name="T101" fmla="*/ 2147483647 h 156"/>
                    <a:gd name="T102" fmla="*/ 2147483647 w 292"/>
                    <a:gd name="T103" fmla="*/ 2147483647 h 156"/>
                    <a:gd name="T104" fmla="*/ 2147483647 w 292"/>
                    <a:gd name="T105" fmla="*/ 2147483647 h 156"/>
                    <a:gd name="T106" fmla="*/ 2147483647 w 292"/>
                    <a:gd name="T107" fmla="*/ 2147483647 h 156"/>
                    <a:gd name="T108" fmla="*/ 2147483647 w 292"/>
                    <a:gd name="T109" fmla="*/ 2147483647 h 156"/>
                    <a:gd name="T110" fmla="*/ 2147483647 w 292"/>
                    <a:gd name="T111" fmla="*/ 2147483647 h 156"/>
                    <a:gd name="T112" fmla="*/ 2147483647 w 292"/>
                    <a:gd name="T113" fmla="*/ 2147483647 h 156"/>
                    <a:gd name="T114" fmla="*/ 2147483647 w 292"/>
                    <a:gd name="T115" fmla="*/ 2147483647 h 156"/>
                    <a:gd name="T116" fmla="*/ 2147483647 w 292"/>
                    <a:gd name="T117" fmla="*/ 2147483647 h 156"/>
                    <a:gd name="T118" fmla="*/ 2147483647 w 292"/>
                    <a:gd name="T119" fmla="*/ 2147483647 h 156"/>
                    <a:gd name="T120" fmla="*/ 2147483647 w 292"/>
                    <a:gd name="T121" fmla="*/ 2147483647 h 156"/>
                    <a:gd name="T122" fmla="*/ 2147483647 w 292"/>
                    <a:gd name="T123" fmla="*/ 2147483647 h 156"/>
                    <a:gd name="T124" fmla="*/ 2147483647 w 292"/>
                    <a:gd name="T125" fmla="*/ 2147483647 h 15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92"/>
                    <a:gd name="T190" fmla="*/ 0 h 156"/>
                    <a:gd name="T191" fmla="*/ 292 w 292"/>
                    <a:gd name="T192" fmla="*/ 156 h 15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92" h="156">
                      <a:moveTo>
                        <a:pt x="0" y="48"/>
                      </a:moveTo>
                      <a:lnTo>
                        <a:pt x="2" y="48"/>
                      </a:lnTo>
                      <a:lnTo>
                        <a:pt x="2" y="46"/>
                      </a:lnTo>
                      <a:lnTo>
                        <a:pt x="4" y="46"/>
                      </a:lnTo>
                      <a:lnTo>
                        <a:pt x="4" y="44"/>
                      </a:lnTo>
                      <a:lnTo>
                        <a:pt x="5" y="44"/>
                      </a:lnTo>
                      <a:lnTo>
                        <a:pt x="7" y="44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9" y="41"/>
                      </a:lnTo>
                      <a:lnTo>
                        <a:pt x="9" y="39"/>
                      </a:lnTo>
                      <a:lnTo>
                        <a:pt x="9" y="38"/>
                      </a:lnTo>
                      <a:lnTo>
                        <a:pt x="10" y="38"/>
                      </a:lnTo>
                      <a:lnTo>
                        <a:pt x="12" y="36"/>
                      </a:lnTo>
                      <a:lnTo>
                        <a:pt x="14" y="35"/>
                      </a:lnTo>
                      <a:lnTo>
                        <a:pt x="15" y="33"/>
                      </a:lnTo>
                      <a:lnTo>
                        <a:pt x="17" y="35"/>
                      </a:lnTo>
                      <a:lnTo>
                        <a:pt x="17" y="33"/>
                      </a:lnTo>
                      <a:lnTo>
                        <a:pt x="19" y="33"/>
                      </a:lnTo>
                      <a:lnTo>
                        <a:pt x="21" y="33"/>
                      </a:lnTo>
                      <a:lnTo>
                        <a:pt x="22" y="33"/>
                      </a:lnTo>
                      <a:lnTo>
                        <a:pt x="24" y="31"/>
                      </a:lnTo>
                      <a:lnTo>
                        <a:pt x="24" y="33"/>
                      </a:lnTo>
                      <a:lnTo>
                        <a:pt x="24" y="31"/>
                      </a:lnTo>
                      <a:lnTo>
                        <a:pt x="26" y="31"/>
                      </a:lnTo>
                      <a:lnTo>
                        <a:pt x="26" y="30"/>
                      </a:lnTo>
                      <a:lnTo>
                        <a:pt x="27" y="30"/>
                      </a:lnTo>
                      <a:lnTo>
                        <a:pt x="27" y="28"/>
                      </a:lnTo>
                      <a:lnTo>
                        <a:pt x="27" y="26"/>
                      </a:lnTo>
                      <a:lnTo>
                        <a:pt x="29" y="26"/>
                      </a:lnTo>
                      <a:lnTo>
                        <a:pt x="29" y="25"/>
                      </a:lnTo>
                      <a:lnTo>
                        <a:pt x="31" y="23"/>
                      </a:lnTo>
                      <a:lnTo>
                        <a:pt x="32" y="23"/>
                      </a:lnTo>
                      <a:lnTo>
                        <a:pt x="32" y="21"/>
                      </a:lnTo>
                      <a:lnTo>
                        <a:pt x="34" y="21"/>
                      </a:lnTo>
                      <a:lnTo>
                        <a:pt x="36" y="20"/>
                      </a:lnTo>
                      <a:lnTo>
                        <a:pt x="34" y="20"/>
                      </a:lnTo>
                      <a:lnTo>
                        <a:pt x="36" y="18"/>
                      </a:lnTo>
                      <a:lnTo>
                        <a:pt x="37" y="18"/>
                      </a:lnTo>
                      <a:lnTo>
                        <a:pt x="37" y="16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2"/>
                      </a:lnTo>
                      <a:lnTo>
                        <a:pt x="39" y="10"/>
                      </a:lnTo>
                      <a:lnTo>
                        <a:pt x="41" y="10"/>
                      </a:lnTo>
                      <a:lnTo>
                        <a:pt x="41" y="8"/>
                      </a:lnTo>
                      <a:lnTo>
                        <a:pt x="39" y="8"/>
                      </a:lnTo>
                      <a:lnTo>
                        <a:pt x="39" y="7"/>
                      </a:lnTo>
                      <a:lnTo>
                        <a:pt x="41" y="7"/>
                      </a:lnTo>
                      <a:lnTo>
                        <a:pt x="42" y="7"/>
                      </a:lnTo>
                      <a:lnTo>
                        <a:pt x="42" y="5"/>
                      </a:lnTo>
                      <a:lnTo>
                        <a:pt x="44" y="5"/>
                      </a:lnTo>
                      <a:lnTo>
                        <a:pt x="46" y="5"/>
                      </a:lnTo>
                      <a:lnTo>
                        <a:pt x="46" y="3"/>
                      </a:lnTo>
                      <a:lnTo>
                        <a:pt x="46" y="5"/>
                      </a:lnTo>
                      <a:lnTo>
                        <a:pt x="48" y="5"/>
                      </a:lnTo>
                      <a:lnTo>
                        <a:pt x="48" y="7"/>
                      </a:lnTo>
                      <a:lnTo>
                        <a:pt x="49" y="7"/>
                      </a:lnTo>
                      <a:lnTo>
                        <a:pt x="49" y="8"/>
                      </a:lnTo>
                      <a:lnTo>
                        <a:pt x="49" y="10"/>
                      </a:lnTo>
                      <a:lnTo>
                        <a:pt x="51" y="10"/>
                      </a:lnTo>
                      <a:lnTo>
                        <a:pt x="51" y="12"/>
                      </a:lnTo>
                      <a:lnTo>
                        <a:pt x="51" y="13"/>
                      </a:lnTo>
                      <a:lnTo>
                        <a:pt x="53" y="13"/>
                      </a:lnTo>
                      <a:lnTo>
                        <a:pt x="53" y="15"/>
                      </a:lnTo>
                      <a:lnTo>
                        <a:pt x="53" y="16"/>
                      </a:lnTo>
                      <a:lnTo>
                        <a:pt x="51" y="16"/>
                      </a:lnTo>
                      <a:lnTo>
                        <a:pt x="53" y="16"/>
                      </a:lnTo>
                      <a:lnTo>
                        <a:pt x="53" y="18"/>
                      </a:lnTo>
                      <a:lnTo>
                        <a:pt x="54" y="16"/>
                      </a:lnTo>
                      <a:lnTo>
                        <a:pt x="56" y="16"/>
                      </a:lnTo>
                      <a:lnTo>
                        <a:pt x="56" y="18"/>
                      </a:lnTo>
                      <a:lnTo>
                        <a:pt x="54" y="18"/>
                      </a:lnTo>
                      <a:lnTo>
                        <a:pt x="56" y="20"/>
                      </a:lnTo>
                      <a:lnTo>
                        <a:pt x="58" y="20"/>
                      </a:lnTo>
                      <a:lnTo>
                        <a:pt x="59" y="20"/>
                      </a:lnTo>
                      <a:lnTo>
                        <a:pt x="59" y="18"/>
                      </a:lnTo>
                      <a:lnTo>
                        <a:pt x="59" y="16"/>
                      </a:lnTo>
                      <a:lnTo>
                        <a:pt x="61" y="15"/>
                      </a:lnTo>
                      <a:lnTo>
                        <a:pt x="63" y="15"/>
                      </a:lnTo>
                      <a:lnTo>
                        <a:pt x="64" y="15"/>
                      </a:lnTo>
                      <a:lnTo>
                        <a:pt x="66" y="15"/>
                      </a:lnTo>
                      <a:lnTo>
                        <a:pt x="68" y="13"/>
                      </a:lnTo>
                      <a:lnTo>
                        <a:pt x="68" y="15"/>
                      </a:lnTo>
                      <a:lnTo>
                        <a:pt x="69" y="15"/>
                      </a:lnTo>
                      <a:lnTo>
                        <a:pt x="71" y="15"/>
                      </a:lnTo>
                      <a:lnTo>
                        <a:pt x="71" y="18"/>
                      </a:lnTo>
                      <a:lnTo>
                        <a:pt x="73" y="20"/>
                      </a:lnTo>
                      <a:lnTo>
                        <a:pt x="75" y="20"/>
                      </a:lnTo>
                      <a:lnTo>
                        <a:pt x="76" y="20"/>
                      </a:lnTo>
                      <a:lnTo>
                        <a:pt x="78" y="21"/>
                      </a:lnTo>
                      <a:lnTo>
                        <a:pt x="80" y="23"/>
                      </a:lnTo>
                      <a:lnTo>
                        <a:pt x="81" y="23"/>
                      </a:lnTo>
                      <a:lnTo>
                        <a:pt x="83" y="25"/>
                      </a:lnTo>
                      <a:lnTo>
                        <a:pt x="86" y="25"/>
                      </a:lnTo>
                      <a:lnTo>
                        <a:pt x="86" y="26"/>
                      </a:lnTo>
                      <a:lnTo>
                        <a:pt x="88" y="26"/>
                      </a:lnTo>
                      <a:lnTo>
                        <a:pt x="88" y="28"/>
                      </a:lnTo>
                      <a:lnTo>
                        <a:pt x="90" y="28"/>
                      </a:lnTo>
                      <a:lnTo>
                        <a:pt x="90" y="30"/>
                      </a:lnTo>
                      <a:lnTo>
                        <a:pt x="91" y="31"/>
                      </a:lnTo>
                      <a:lnTo>
                        <a:pt x="91" y="33"/>
                      </a:lnTo>
                      <a:lnTo>
                        <a:pt x="93" y="33"/>
                      </a:lnTo>
                      <a:lnTo>
                        <a:pt x="93" y="35"/>
                      </a:lnTo>
                      <a:lnTo>
                        <a:pt x="95" y="35"/>
                      </a:lnTo>
                      <a:lnTo>
                        <a:pt x="95" y="36"/>
                      </a:lnTo>
                      <a:lnTo>
                        <a:pt x="97" y="36"/>
                      </a:lnTo>
                      <a:lnTo>
                        <a:pt x="97" y="38"/>
                      </a:lnTo>
                      <a:lnTo>
                        <a:pt x="97" y="39"/>
                      </a:lnTo>
                      <a:lnTo>
                        <a:pt x="98" y="39"/>
                      </a:lnTo>
                      <a:lnTo>
                        <a:pt x="98" y="38"/>
                      </a:lnTo>
                      <a:lnTo>
                        <a:pt x="100" y="38"/>
                      </a:lnTo>
                      <a:lnTo>
                        <a:pt x="103" y="39"/>
                      </a:lnTo>
                      <a:lnTo>
                        <a:pt x="103" y="41"/>
                      </a:lnTo>
                      <a:lnTo>
                        <a:pt x="102" y="41"/>
                      </a:lnTo>
                      <a:lnTo>
                        <a:pt x="102" y="43"/>
                      </a:lnTo>
                      <a:lnTo>
                        <a:pt x="103" y="43"/>
                      </a:lnTo>
                      <a:lnTo>
                        <a:pt x="105" y="43"/>
                      </a:lnTo>
                      <a:lnTo>
                        <a:pt x="105" y="41"/>
                      </a:lnTo>
                      <a:lnTo>
                        <a:pt x="107" y="41"/>
                      </a:lnTo>
                      <a:lnTo>
                        <a:pt x="107" y="39"/>
                      </a:lnTo>
                      <a:lnTo>
                        <a:pt x="108" y="39"/>
                      </a:lnTo>
                      <a:lnTo>
                        <a:pt x="108" y="41"/>
                      </a:lnTo>
                      <a:lnTo>
                        <a:pt x="110" y="41"/>
                      </a:lnTo>
                      <a:lnTo>
                        <a:pt x="112" y="43"/>
                      </a:lnTo>
                      <a:lnTo>
                        <a:pt x="112" y="44"/>
                      </a:lnTo>
                      <a:lnTo>
                        <a:pt x="112" y="46"/>
                      </a:lnTo>
                      <a:lnTo>
                        <a:pt x="112" y="48"/>
                      </a:lnTo>
                      <a:lnTo>
                        <a:pt x="113" y="48"/>
                      </a:lnTo>
                      <a:lnTo>
                        <a:pt x="113" y="46"/>
                      </a:lnTo>
                      <a:lnTo>
                        <a:pt x="115" y="48"/>
                      </a:lnTo>
                      <a:lnTo>
                        <a:pt x="115" y="46"/>
                      </a:lnTo>
                      <a:lnTo>
                        <a:pt x="117" y="46"/>
                      </a:lnTo>
                      <a:lnTo>
                        <a:pt x="117" y="48"/>
                      </a:lnTo>
                      <a:lnTo>
                        <a:pt x="117" y="49"/>
                      </a:lnTo>
                      <a:lnTo>
                        <a:pt x="118" y="51"/>
                      </a:lnTo>
                      <a:lnTo>
                        <a:pt x="120" y="51"/>
                      </a:lnTo>
                      <a:lnTo>
                        <a:pt x="120" y="53"/>
                      </a:lnTo>
                      <a:lnTo>
                        <a:pt x="122" y="53"/>
                      </a:lnTo>
                      <a:lnTo>
                        <a:pt x="124" y="53"/>
                      </a:lnTo>
                      <a:lnTo>
                        <a:pt x="124" y="51"/>
                      </a:lnTo>
                      <a:lnTo>
                        <a:pt x="124" y="49"/>
                      </a:lnTo>
                      <a:lnTo>
                        <a:pt x="125" y="49"/>
                      </a:lnTo>
                      <a:lnTo>
                        <a:pt x="125" y="48"/>
                      </a:lnTo>
                      <a:lnTo>
                        <a:pt x="125" y="46"/>
                      </a:lnTo>
                      <a:lnTo>
                        <a:pt x="125" y="44"/>
                      </a:lnTo>
                      <a:lnTo>
                        <a:pt x="127" y="44"/>
                      </a:lnTo>
                      <a:lnTo>
                        <a:pt x="129" y="44"/>
                      </a:lnTo>
                      <a:lnTo>
                        <a:pt x="129" y="43"/>
                      </a:lnTo>
                      <a:lnTo>
                        <a:pt x="130" y="43"/>
                      </a:lnTo>
                      <a:lnTo>
                        <a:pt x="132" y="43"/>
                      </a:lnTo>
                      <a:lnTo>
                        <a:pt x="132" y="44"/>
                      </a:lnTo>
                      <a:lnTo>
                        <a:pt x="134" y="44"/>
                      </a:lnTo>
                      <a:lnTo>
                        <a:pt x="137" y="44"/>
                      </a:lnTo>
                      <a:lnTo>
                        <a:pt x="140" y="43"/>
                      </a:lnTo>
                      <a:lnTo>
                        <a:pt x="147" y="43"/>
                      </a:lnTo>
                      <a:lnTo>
                        <a:pt x="149" y="46"/>
                      </a:lnTo>
                      <a:lnTo>
                        <a:pt x="151" y="46"/>
                      </a:lnTo>
                      <a:lnTo>
                        <a:pt x="152" y="46"/>
                      </a:lnTo>
                      <a:lnTo>
                        <a:pt x="152" y="48"/>
                      </a:lnTo>
                      <a:lnTo>
                        <a:pt x="154" y="48"/>
                      </a:lnTo>
                      <a:lnTo>
                        <a:pt x="154" y="46"/>
                      </a:lnTo>
                      <a:lnTo>
                        <a:pt x="166" y="43"/>
                      </a:lnTo>
                      <a:lnTo>
                        <a:pt x="166" y="41"/>
                      </a:lnTo>
                      <a:lnTo>
                        <a:pt x="167" y="41"/>
                      </a:lnTo>
                      <a:lnTo>
                        <a:pt x="167" y="39"/>
                      </a:lnTo>
                      <a:lnTo>
                        <a:pt x="167" y="41"/>
                      </a:lnTo>
                      <a:lnTo>
                        <a:pt x="167" y="39"/>
                      </a:lnTo>
                      <a:lnTo>
                        <a:pt x="169" y="39"/>
                      </a:lnTo>
                      <a:lnTo>
                        <a:pt x="171" y="38"/>
                      </a:lnTo>
                      <a:lnTo>
                        <a:pt x="173" y="38"/>
                      </a:lnTo>
                      <a:lnTo>
                        <a:pt x="173" y="39"/>
                      </a:lnTo>
                      <a:lnTo>
                        <a:pt x="174" y="38"/>
                      </a:lnTo>
                      <a:lnTo>
                        <a:pt x="176" y="38"/>
                      </a:lnTo>
                      <a:lnTo>
                        <a:pt x="178" y="38"/>
                      </a:lnTo>
                      <a:lnTo>
                        <a:pt x="179" y="38"/>
                      </a:lnTo>
                      <a:lnTo>
                        <a:pt x="179" y="36"/>
                      </a:lnTo>
                      <a:lnTo>
                        <a:pt x="181" y="36"/>
                      </a:lnTo>
                      <a:lnTo>
                        <a:pt x="183" y="36"/>
                      </a:lnTo>
                      <a:lnTo>
                        <a:pt x="183" y="35"/>
                      </a:lnTo>
                      <a:lnTo>
                        <a:pt x="184" y="35"/>
                      </a:lnTo>
                      <a:lnTo>
                        <a:pt x="186" y="35"/>
                      </a:lnTo>
                      <a:lnTo>
                        <a:pt x="186" y="33"/>
                      </a:lnTo>
                      <a:lnTo>
                        <a:pt x="188" y="33"/>
                      </a:lnTo>
                      <a:lnTo>
                        <a:pt x="188" y="35"/>
                      </a:lnTo>
                      <a:lnTo>
                        <a:pt x="188" y="33"/>
                      </a:lnTo>
                      <a:lnTo>
                        <a:pt x="188" y="35"/>
                      </a:lnTo>
                      <a:lnTo>
                        <a:pt x="189" y="35"/>
                      </a:lnTo>
                      <a:lnTo>
                        <a:pt x="188" y="35"/>
                      </a:lnTo>
                      <a:lnTo>
                        <a:pt x="189" y="35"/>
                      </a:lnTo>
                      <a:lnTo>
                        <a:pt x="191" y="35"/>
                      </a:lnTo>
                      <a:lnTo>
                        <a:pt x="191" y="33"/>
                      </a:lnTo>
                      <a:lnTo>
                        <a:pt x="189" y="33"/>
                      </a:lnTo>
                      <a:lnTo>
                        <a:pt x="189" y="31"/>
                      </a:lnTo>
                      <a:lnTo>
                        <a:pt x="188" y="31"/>
                      </a:lnTo>
                      <a:lnTo>
                        <a:pt x="188" y="30"/>
                      </a:lnTo>
                      <a:lnTo>
                        <a:pt x="188" y="28"/>
                      </a:lnTo>
                      <a:lnTo>
                        <a:pt x="189" y="26"/>
                      </a:lnTo>
                      <a:lnTo>
                        <a:pt x="189" y="28"/>
                      </a:lnTo>
                      <a:lnTo>
                        <a:pt x="191" y="28"/>
                      </a:lnTo>
                      <a:lnTo>
                        <a:pt x="191" y="26"/>
                      </a:lnTo>
                      <a:lnTo>
                        <a:pt x="191" y="25"/>
                      </a:lnTo>
                      <a:lnTo>
                        <a:pt x="193" y="25"/>
                      </a:lnTo>
                      <a:lnTo>
                        <a:pt x="193" y="23"/>
                      </a:lnTo>
                      <a:lnTo>
                        <a:pt x="194" y="21"/>
                      </a:lnTo>
                      <a:lnTo>
                        <a:pt x="196" y="21"/>
                      </a:lnTo>
                      <a:lnTo>
                        <a:pt x="198" y="21"/>
                      </a:lnTo>
                      <a:lnTo>
                        <a:pt x="200" y="21"/>
                      </a:lnTo>
                      <a:lnTo>
                        <a:pt x="201" y="21"/>
                      </a:lnTo>
                      <a:lnTo>
                        <a:pt x="203" y="20"/>
                      </a:lnTo>
                      <a:lnTo>
                        <a:pt x="201" y="20"/>
                      </a:lnTo>
                      <a:lnTo>
                        <a:pt x="203" y="18"/>
                      </a:lnTo>
                      <a:lnTo>
                        <a:pt x="203" y="16"/>
                      </a:lnTo>
                      <a:lnTo>
                        <a:pt x="201" y="16"/>
                      </a:lnTo>
                      <a:lnTo>
                        <a:pt x="201" y="15"/>
                      </a:lnTo>
                      <a:lnTo>
                        <a:pt x="201" y="13"/>
                      </a:lnTo>
                      <a:lnTo>
                        <a:pt x="203" y="13"/>
                      </a:lnTo>
                      <a:lnTo>
                        <a:pt x="205" y="13"/>
                      </a:lnTo>
                      <a:lnTo>
                        <a:pt x="205" y="12"/>
                      </a:lnTo>
                      <a:lnTo>
                        <a:pt x="206" y="10"/>
                      </a:lnTo>
                      <a:lnTo>
                        <a:pt x="208" y="10"/>
                      </a:lnTo>
                      <a:lnTo>
                        <a:pt x="210" y="10"/>
                      </a:lnTo>
                      <a:lnTo>
                        <a:pt x="211" y="10"/>
                      </a:lnTo>
                      <a:lnTo>
                        <a:pt x="213" y="10"/>
                      </a:lnTo>
                      <a:lnTo>
                        <a:pt x="213" y="8"/>
                      </a:lnTo>
                      <a:lnTo>
                        <a:pt x="215" y="8"/>
                      </a:lnTo>
                      <a:lnTo>
                        <a:pt x="215" y="10"/>
                      </a:lnTo>
                      <a:lnTo>
                        <a:pt x="215" y="8"/>
                      </a:lnTo>
                      <a:lnTo>
                        <a:pt x="216" y="8"/>
                      </a:lnTo>
                      <a:lnTo>
                        <a:pt x="218" y="8"/>
                      </a:lnTo>
                      <a:lnTo>
                        <a:pt x="218" y="7"/>
                      </a:lnTo>
                      <a:lnTo>
                        <a:pt x="220" y="7"/>
                      </a:lnTo>
                      <a:lnTo>
                        <a:pt x="221" y="5"/>
                      </a:lnTo>
                      <a:lnTo>
                        <a:pt x="223" y="5"/>
                      </a:lnTo>
                      <a:lnTo>
                        <a:pt x="225" y="5"/>
                      </a:lnTo>
                      <a:lnTo>
                        <a:pt x="227" y="5"/>
                      </a:lnTo>
                      <a:lnTo>
                        <a:pt x="227" y="7"/>
                      </a:lnTo>
                      <a:lnTo>
                        <a:pt x="228" y="7"/>
                      </a:lnTo>
                      <a:lnTo>
                        <a:pt x="228" y="5"/>
                      </a:lnTo>
                      <a:lnTo>
                        <a:pt x="228" y="7"/>
                      </a:lnTo>
                      <a:lnTo>
                        <a:pt x="228" y="5"/>
                      </a:lnTo>
                      <a:lnTo>
                        <a:pt x="228" y="7"/>
                      </a:lnTo>
                      <a:lnTo>
                        <a:pt x="230" y="5"/>
                      </a:lnTo>
                      <a:lnTo>
                        <a:pt x="230" y="7"/>
                      </a:lnTo>
                      <a:lnTo>
                        <a:pt x="230" y="5"/>
                      </a:lnTo>
                      <a:lnTo>
                        <a:pt x="232" y="5"/>
                      </a:lnTo>
                      <a:lnTo>
                        <a:pt x="232" y="3"/>
                      </a:lnTo>
                      <a:lnTo>
                        <a:pt x="233" y="3"/>
                      </a:lnTo>
                      <a:lnTo>
                        <a:pt x="233" y="5"/>
                      </a:lnTo>
                      <a:lnTo>
                        <a:pt x="235" y="5"/>
                      </a:lnTo>
                      <a:lnTo>
                        <a:pt x="233" y="5"/>
                      </a:lnTo>
                      <a:lnTo>
                        <a:pt x="235" y="5"/>
                      </a:lnTo>
                      <a:lnTo>
                        <a:pt x="233" y="5"/>
                      </a:lnTo>
                      <a:lnTo>
                        <a:pt x="235" y="5"/>
                      </a:lnTo>
                      <a:lnTo>
                        <a:pt x="233" y="7"/>
                      </a:lnTo>
                      <a:lnTo>
                        <a:pt x="233" y="8"/>
                      </a:lnTo>
                      <a:lnTo>
                        <a:pt x="235" y="8"/>
                      </a:lnTo>
                      <a:lnTo>
                        <a:pt x="235" y="10"/>
                      </a:lnTo>
                      <a:lnTo>
                        <a:pt x="237" y="10"/>
                      </a:lnTo>
                      <a:lnTo>
                        <a:pt x="238" y="10"/>
                      </a:lnTo>
                      <a:lnTo>
                        <a:pt x="238" y="8"/>
                      </a:lnTo>
                      <a:lnTo>
                        <a:pt x="238" y="10"/>
                      </a:lnTo>
                      <a:lnTo>
                        <a:pt x="238" y="8"/>
                      </a:lnTo>
                      <a:lnTo>
                        <a:pt x="240" y="8"/>
                      </a:lnTo>
                      <a:lnTo>
                        <a:pt x="242" y="8"/>
                      </a:lnTo>
                      <a:lnTo>
                        <a:pt x="243" y="8"/>
                      </a:lnTo>
                      <a:lnTo>
                        <a:pt x="245" y="8"/>
                      </a:lnTo>
                      <a:lnTo>
                        <a:pt x="245" y="7"/>
                      </a:lnTo>
                      <a:lnTo>
                        <a:pt x="247" y="7"/>
                      </a:lnTo>
                      <a:lnTo>
                        <a:pt x="249" y="7"/>
                      </a:lnTo>
                      <a:lnTo>
                        <a:pt x="249" y="5"/>
                      </a:lnTo>
                      <a:lnTo>
                        <a:pt x="250" y="5"/>
                      </a:lnTo>
                      <a:lnTo>
                        <a:pt x="252" y="5"/>
                      </a:lnTo>
                      <a:lnTo>
                        <a:pt x="252" y="3"/>
                      </a:lnTo>
                      <a:lnTo>
                        <a:pt x="254" y="3"/>
                      </a:lnTo>
                      <a:lnTo>
                        <a:pt x="254" y="2"/>
                      </a:lnTo>
                      <a:lnTo>
                        <a:pt x="255" y="2"/>
                      </a:lnTo>
                      <a:lnTo>
                        <a:pt x="257" y="2"/>
                      </a:lnTo>
                      <a:lnTo>
                        <a:pt x="257" y="0"/>
                      </a:lnTo>
                      <a:lnTo>
                        <a:pt x="257" y="2"/>
                      </a:lnTo>
                      <a:lnTo>
                        <a:pt x="259" y="2"/>
                      </a:lnTo>
                      <a:lnTo>
                        <a:pt x="259" y="0"/>
                      </a:lnTo>
                      <a:lnTo>
                        <a:pt x="259" y="2"/>
                      </a:lnTo>
                      <a:lnTo>
                        <a:pt x="260" y="2"/>
                      </a:lnTo>
                      <a:lnTo>
                        <a:pt x="262" y="2"/>
                      </a:lnTo>
                      <a:lnTo>
                        <a:pt x="264" y="0"/>
                      </a:lnTo>
                      <a:lnTo>
                        <a:pt x="264" y="2"/>
                      </a:lnTo>
                      <a:lnTo>
                        <a:pt x="264" y="0"/>
                      </a:lnTo>
                      <a:lnTo>
                        <a:pt x="264" y="2"/>
                      </a:lnTo>
                      <a:lnTo>
                        <a:pt x="264" y="3"/>
                      </a:lnTo>
                      <a:lnTo>
                        <a:pt x="265" y="3"/>
                      </a:lnTo>
                      <a:lnTo>
                        <a:pt x="267" y="3"/>
                      </a:lnTo>
                      <a:lnTo>
                        <a:pt x="269" y="3"/>
                      </a:lnTo>
                      <a:lnTo>
                        <a:pt x="270" y="3"/>
                      </a:lnTo>
                      <a:lnTo>
                        <a:pt x="274" y="5"/>
                      </a:lnTo>
                      <a:lnTo>
                        <a:pt x="281" y="7"/>
                      </a:lnTo>
                      <a:lnTo>
                        <a:pt x="282" y="7"/>
                      </a:lnTo>
                      <a:lnTo>
                        <a:pt x="284" y="7"/>
                      </a:lnTo>
                      <a:lnTo>
                        <a:pt x="284" y="8"/>
                      </a:lnTo>
                      <a:lnTo>
                        <a:pt x="284" y="7"/>
                      </a:lnTo>
                      <a:lnTo>
                        <a:pt x="286" y="7"/>
                      </a:lnTo>
                      <a:lnTo>
                        <a:pt x="286" y="8"/>
                      </a:lnTo>
                      <a:lnTo>
                        <a:pt x="287" y="8"/>
                      </a:lnTo>
                      <a:lnTo>
                        <a:pt x="289" y="8"/>
                      </a:lnTo>
                      <a:lnTo>
                        <a:pt x="289" y="7"/>
                      </a:lnTo>
                      <a:lnTo>
                        <a:pt x="289" y="8"/>
                      </a:lnTo>
                      <a:lnTo>
                        <a:pt x="291" y="8"/>
                      </a:lnTo>
                      <a:lnTo>
                        <a:pt x="292" y="8"/>
                      </a:lnTo>
                      <a:lnTo>
                        <a:pt x="292" y="10"/>
                      </a:lnTo>
                      <a:lnTo>
                        <a:pt x="292" y="12"/>
                      </a:lnTo>
                      <a:lnTo>
                        <a:pt x="291" y="12"/>
                      </a:lnTo>
                      <a:lnTo>
                        <a:pt x="291" y="13"/>
                      </a:lnTo>
                      <a:lnTo>
                        <a:pt x="291" y="15"/>
                      </a:lnTo>
                      <a:lnTo>
                        <a:pt x="291" y="16"/>
                      </a:lnTo>
                      <a:lnTo>
                        <a:pt x="289" y="16"/>
                      </a:lnTo>
                      <a:lnTo>
                        <a:pt x="287" y="18"/>
                      </a:lnTo>
                      <a:lnTo>
                        <a:pt x="287" y="20"/>
                      </a:lnTo>
                      <a:lnTo>
                        <a:pt x="286" y="21"/>
                      </a:lnTo>
                      <a:lnTo>
                        <a:pt x="286" y="23"/>
                      </a:lnTo>
                      <a:lnTo>
                        <a:pt x="284" y="23"/>
                      </a:lnTo>
                      <a:lnTo>
                        <a:pt x="286" y="25"/>
                      </a:lnTo>
                      <a:lnTo>
                        <a:pt x="284" y="25"/>
                      </a:lnTo>
                      <a:lnTo>
                        <a:pt x="284" y="26"/>
                      </a:lnTo>
                      <a:lnTo>
                        <a:pt x="282" y="26"/>
                      </a:lnTo>
                      <a:lnTo>
                        <a:pt x="282" y="28"/>
                      </a:lnTo>
                      <a:lnTo>
                        <a:pt x="282" y="30"/>
                      </a:lnTo>
                      <a:lnTo>
                        <a:pt x="281" y="30"/>
                      </a:lnTo>
                      <a:lnTo>
                        <a:pt x="281" y="31"/>
                      </a:lnTo>
                      <a:lnTo>
                        <a:pt x="281" y="33"/>
                      </a:lnTo>
                      <a:lnTo>
                        <a:pt x="279" y="33"/>
                      </a:lnTo>
                      <a:lnTo>
                        <a:pt x="279" y="35"/>
                      </a:lnTo>
                      <a:lnTo>
                        <a:pt x="279" y="36"/>
                      </a:lnTo>
                      <a:lnTo>
                        <a:pt x="277" y="36"/>
                      </a:lnTo>
                      <a:lnTo>
                        <a:pt x="277" y="38"/>
                      </a:lnTo>
                      <a:lnTo>
                        <a:pt x="276" y="38"/>
                      </a:lnTo>
                      <a:lnTo>
                        <a:pt x="276" y="39"/>
                      </a:lnTo>
                      <a:lnTo>
                        <a:pt x="274" y="41"/>
                      </a:lnTo>
                      <a:lnTo>
                        <a:pt x="272" y="43"/>
                      </a:lnTo>
                      <a:lnTo>
                        <a:pt x="272" y="44"/>
                      </a:lnTo>
                      <a:lnTo>
                        <a:pt x="270" y="44"/>
                      </a:lnTo>
                      <a:lnTo>
                        <a:pt x="270" y="46"/>
                      </a:lnTo>
                      <a:lnTo>
                        <a:pt x="269" y="46"/>
                      </a:lnTo>
                      <a:lnTo>
                        <a:pt x="267" y="46"/>
                      </a:lnTo>
                      <a:lnTo>
                        <a:pt x="267" y="48"/>
                      </a:lnTo>
                      <a:lnTo>
                        <a:pt x="269" y="48"/>
                      </a:lnTo>
                      <a:lnTo>
                        <a:pt x="267" y="48"/>
                      </a:lnTo>
                      <a:lnTo>
                        <a:pt x="265" y="48"/>
                      </a:lnTo>
                      <a:lnTo>
                        <a:pt x="265" y="49"/>
                      </a:lnTo>
                      <a:lnTo>
                        <a:pt x="264" y="49"/>
                      </a:lnTo>
                      <a:lnTo>
                        <a:pt x="264" y="51"/>
                      </a:lnTo>
                      <a:lnTo>
                        <a:pt x="262" y="53"/>
                      </a:lnTo>
                      <a:lnTo>
                        <a:pt x="260" y="54"/>
                      </a:lnTo>
                      <a:lnTo>
                        <a:pt x="260" y="56"/>
                      </a:lnTo>
                      <a:lnTo>
                        <a:pt x="260" y="58"/>
                      </a:lnTo>
                      <a:lnTo>
                        <a:pt x="259" y="58"/>
                      </a:lnTo>
                      <a:lnTo>
                        <a:pt x="259" y="59"/>
                      </a:lnTo>
                      <a:lnTo>
                        <a:pt x="257" y="59"/>
                      </a:lnTo>
                      <a:lnTo>
                        <a:pt x="257" y="61"/>
                      </a:lnTo>
                      <a:lnTo>
                        <a:pt x="257" y="59"/>
                      </a:lnTo>
                      <a:lnTo>
                        <a:pt x="257" y="61"/>
                      </a:lnTo>
                      <a:lnTo>
                        <a:pt x="255" y="61"/>
                      </a:lnTo>
                      <a:lnTo>
                        <a:pt x="255" y="62"/>
                      </a:lnTo>
                      <a:lnTo>
                        <a:pt x="254" y="64"/>
                      </a:lnTo>
                      <a:lnTo>
                        <a:pt x="252" y="64"/>
                      </a:lnTo>
                      <a:lnTo>
                        <a:pt x="252" y="66"/>
                      </a:lnTo>
                      <a:lnTo>
                        <a:pt x="252" y="67"/>
                      </a:lnTo>
                      <a:lnTo>
                        <a:pt x="250" y="67"/>
                      </a:lnTo>
                      <a:lnTo>
                        <a:pt x="249" y="67"/>
                      </a:lnTo>
                      <a:lnTo>
                        <a:pt x="249" y="69"/>
                      </a:lnTo>
                      <a:lnTo>
                        <a:pt x="247" y="69"/>
                      </a:lnTo>
                      <a:lnTo>
                        <a:pt x="247" y="71"/>
                      </a:lnTo>
                      <a:lnTo>
                        <a:pt x="245" y="71"/>
                      </a:lnTo>
                      <a:lnTo>
                        <a:pt x="245" y="72"/>
                      </a:lnTo>
                      <a:lnTo>
                        <a:pt x="243" y="72"/>
                      </a:lnTo>
                      <a:lnTo>
                        <a:pt x="243" y="74"/>
                      </a:lnTo>
                      <a:lnTo>
                        <a:pt x="242" y="76"/>
                      </a:lnTo>
                      <a:lnTo>
                        <a:pt x="242" y="77"/>
                      </a:lnTo>
                      <a:lnTo>
                        <a:pt x="242" y="79"/>
                      </a:lnTo>
                      <a:lnTo>
                        <a:pt x="240" y="79"/>
                      </a:lnTo>
                      <a:lnTo>
                        <a:pt x="240" y="81"/>
                      </a:lnTo>
                      <a:lnTo>
                        <a:pt x="238" y="81"/>
                      </a:lnTo>
                      <a:lnTo>
                        <a:pt x="238" y="79"/>
                      </a:lnTo>
                      <a:lnTo>
                        <a:pt x="237" y="81"/>
                      </a:lnTo>
                      <a:lnTo>
                        <a:pt x="235" y="81"/>
                      </a:lnTo>
                      <a:lnTo>
                        <a:pt x="233" y="82"/>
                      </a:lnTo>
                      <a:lnTo>
                        <a:pt x="233" y="84"/>
                      </a:lnTo>
                      <a:lnTo>
                        <a:pt x="232" y="84"/>
                      </a:lnTo>
                      <a:lnTo>
                        <a:pt x="230" y="85"/>
                      </a:lnTo>
                      <a:lnTo>
                        <a:pt x="230" y="87"/>
                      </a:lnTo>
                      <a:lnTo>
                        <a:pt x="230" y="85"/>
                      </a:lnTo>
                      <a:lnTo>
                        <a:pt x="230" y="87"/>
                      </a:lnTo>
                      <a:lnTo>
                        <a:pt x="228" y="87"/>
                      </a:lnTo>
                      <a:lnTo>
                        <a:pt x="228" y="89"/>
                      </a:lnTo>
                      <a:lnTo>
                        <a:pt x="227" y="90"/>
                      </a:lnTo>
                      <a:lnTo>
                        <a:pt x="225" y="92"/>
                      </a:lnTo>
                      <a:lnTo>
                        <a:pt x="225" y="94"/>
                      </a:lnTo>
                      <a:lnTo>
                        <a:pt x="223" y="95"/>
                      </a:lnTo>
                      <a:lnTo>
                        <a:pt x="221" y="99"/>
                      </a:lnTo>
                      <a:lnTo>
                        <a:pt x="218" y="100"/>
                      </a:lnTo>
                      <a:lnTo>
                        <a:pt x="218" y="102"/>
                      </a:lnTo>
                      <a:lnTo>
                        <a:pt x="216" y="104"/>
                      </a:lnTo>
                      <a:lnTo>
                        <a:pt x="216" y="105"/>
                      </a:lnTo>
                      <a:lnTo>
                        <a:pt x="215" y="107"/>
                      </a:lnTo>
                      <a:lnTo>
                        <a:pt x="215" y="108"/>
                      </a:lnTo>
                      <a:lnTo>
                        <a:pt x="213" y="108"/>
                      </a:lnTo>
                      <a:lnTo>
                        <a:pt x="213" y="110"/>
                      </a:lnTo>
                      <a:lnTo>
                        <a:pt x="211" y="112"/>
                      </a:lnTo>
                      <a:lnTo>
                        <a:pt x="211" y="113"/>
                      </a:lnTo>
                      <a:lnTo>
                        <a:pt x="210" y="115"/>
                      </a:lnTo>
                      <a:lnTo>
                        <a:pt x="208" y="117"/>
                      </a:lnTo>
                      <a:lnTo>
                        <a:pt x="208" y="118"/>
                      </a:lnTo>
                      <a:lnTo>
                        <a:pt x="206" y="118"/>
                      </a:lnTo>
                      <a:lnTo>
                        <a:pt x="205" y="118"/>
                      </a:lnTo>
                      <a:lnTo>
                        <a:pt x="203" y="120"/>
                      </a:lnTo>
                      <a:lnTo>
                        <a:pt x="203" y="122"/>
                      </a:lnTo>
                      <a:lnTo>
                        <a:pt x="201" y="123"/>
                      </a:lnTo>
                      <a:lnTo>
                        <a:pt x="200" y="125"/>
                      </a:lnTo>
                      <a:lnTo>
                        <a:pt x="198" y="125"/>
                      </a:lnTo>
                      <a:lnTo>
                        <a:pt x="196" y="127"/>
                      </a:lnTo>
                      <a:lnTo>
                        <a:pt x="194" y="128"/>
                      </a:lnTo>
                      <a:lnTo>
                        <a:pt x="193" y="130"/>
                      </a:lnTo>
                      <a:lnTo>
                        <a:pt x="191" y="130"/>
                      </a:lnTo>
                      <a:lnTo>
                        <a:pt x="191" y="131"/>
                      </a:lnTo>
                      <a:lnTo>
                        <a:pt x="189" y="133"/>
                      </a:lnTo>
                      <a:lnTo>
                        <a:pt x="188" y="135"/>
                      </a:lnTo>
                      <a:lnTo>
                        <a:pt x="186" y="136"/>
                      </a:lnTo>
                      <a:lnTo>
                        <a:pt x="184" y="138"/>
                      </a:lnTo>
                      <a:lnTo>
                        <a:pt x="184" y="140"/>
                      </a:lnTo>
                      <a:lnTo>
                        <a:pt x="184" y="141"/>
                      </a:lnTo>
                      <a:lnTo>
                        <a:pt x="184" y="143"/>
                      </a:lnTo>
                      <a:lnTo>
                        <a:pt x="183" y="145"/>
                      </a:lnTo>
                      <a:lnTo>
                        <a:pt x="181" y="146"/>
                      </a:lnTo>
                      <a:lnTo>
                        <a:pt x="181" y="148"/>
                      </a:lnTo>
                      <a:lnTo>
                        <a:pt x="179" y="150"/>
                      </a:lnTo>
                      <a:lnTo>
                        <a:pt x="179" y="151"/>
                      </a:lnTo>
                      <a:lnTo>
                        <a:pt x="178" y="154"/>
                      </a:lnTo>
                      <a:lnTo>
                        <a:pt x="176" y="156"/>
                      </a:lnTo>
                      <a:lnTo>
                        <a:pt x="174" y="156"/>
                      </a:lnTo>
                      <a:lnTo>
                        <a:pt x="174" y="154"/>
                      </a:lnTo>
                      <a:lnTo>
                        <a:pt x="173" y="150"/>
                      </a:lnTo>
                      <a:lnTo>
                        <a:pt x="169" y="148"/>
                      </a:lnTo>
                      <a:lnTo>
                        <a:pt x="167" y="148"/>
                      </a:lnTo>
                      <a:lnTo>
                        <a:pt x="166" y="150"/>
                      </a:lnTo>
                      <a:lnTo>
                        <a:pt x="164" y="150"/>
                      </a:lnTo>
                      <a:lnTo>
                        <a:pt x="162" y="150"/>
                      </a:lnTo>
                      <a:lnTo>
                        <a:pt x="161" y="150"/>
                      </a:lnTo>
                      <a:lnTo>
                        <a:pt x="159" y="148"/>
                      </a:lnTo>
                      <a:lnTo>
                        <a:pt x="159" y="146"/>
                      </a:lnTo>
                      <a:lnTo>
                        <a:pt x="159" y="145"/>
                      </a:lnTo>
                      <a:lnTo>
                        <a:pt x="159" y="143"/>
                      </a:lnTo>
                      <a:lnTo>
                        <a:pt x="159" y="141"/>
                      </a:lnTo>
                      <a:lnTo>
                        <a:pt x="159" y="140"/>
                      </a:lnTo>
                      <a:lnTo>
                        <a:pt x="157" y="138"/>
                      </a:lnTo>
                      <a:lnTo>
                        <a:pt x="157" y="136"/>
                      </a:lnTo>
                      <a:lnTo>
                        <a:pt x="156" y="136"/>
                      </a:lnTo>
                      <a:lnTo>
                        <a:pt x="154" y="135"/>
                      </a:lnTo>
                      <a:lnTo>
                        <a:pt x="152" y="133"/>
                      </a:lnTo>
                      <a:lnTo>
                        <a:pt x="151" y="133"/>
                      </a:lnTo>
                      <a:lnTo>
                        <a:pt x="151" y="135"/>
                      </a:lnTo>
                      <a:lnTo>
                        <a:pt x="149" y="135"/>
                      </a:lnTo>
                      <a:lnTo>
                        <a:pt x="147" y="135"/>
                      </a:lnTo>
                      <a:lnTo>
                        <a:pt x="145" y="135"/>
                      </a:lnTo>
                      <a:lnTo>
                        <a:pt x="144" y="135"/>
                      </a:lnTo>
                      <a:lnTo>
                        <a:pt x="142" y="133"/>
                      </a:lnTo>
                      <a:lnTo>
                        <a:pt x="142" y="131"/>
                      </a:lnTo>
                      <a:lnTo>
                        <a:pt x="140" y="131"/>
                      </a:lnTo>
                      <a:lnTo>
                        <a:pt x="139" y="130"/>
                      </a:lnTo>
                      <a:lnTo>
                        <a:pt x="137" y="130"/>
                      </a:lnTo>
                      <a:lnTo>
                        <a:pt x="135" y="130"/>
                      </a:lnTo>
                      <a:lnTo>
                        <a:pt x="134" y="130"/>
                      </a:lnTo>
                      <a:lnTo>
                        <a:pt x="134" y="128"/>
                      </a:lnTo>
                      <a:lnTo>
                        <a:pt x="132" y="128"/>
                      </a:lnTo>
                      <a:lnTo>
                        <a:pt x="132" y="127"/>
                      </a:lnTo>
                      <a:lnTo>
                        <a:pt x="132" y="125"/>
                      </a:lnTo>
                      <a:lnTo>
                        <a:pt x="130" y="125"/>
                      </a:lnTo>
                      <a:lnTo>
                        <a:pt x="130" y="123"/>
                      </a:lnTo>
                      <a:lnTo>
                        <a:pt x="129" y="123"/>
                      </a:lnTo>
                      <a:lnTo>
                        <a:pt x="127" y="123"/>
                      </a:lnTo>
                      <a:lnTo>
                        <a:pt x="125" y="122"/>
                      </a:lnTo>
                      <a:lnTo>
                        <a:pt x="125" y="120"/>
                      </a:lnTo>
                      <a:lnTo>
                        <a:pt x="124" y="118"/>
                      </a:lnTo>
                      <a:lnTo>
                        <a:pt x="122" y="117"/>
                      </a:lnTo>
                      <a:lnTo>
                        <a:pt x="122" y="115"/>
                      </a:lnTo>
                      <a:lnTo>
                        <a:pt x="122" y="113"/>
                      </a:lnTo>
                      <a:lnTo>
                        <a:pt x="122" y="112"/>
                      </a:lnTo>
                      <a:lnTo>
                        <a:pt x="122" y="110"/>
                      </a:lnTo>
                      <a:lnTo>
                        <a:pt x="120" y="108"/>
                      </a:lnTo>
                      <a:lnTo>
                        <a:pt x="118" y="108"/>
                      </a:lnTo>
                      <a:lnTo>
                        <a:pt x="117" y="108"/>
                      </a:lnTo>
                      <a:lnTo>
                        <a:pt x="115" y="108"/>
                      </a:lnTo>
                      <a:lnTo>
                        <a:pt x="113" y="108"/>
                      </a:lnTo>
                      <a:lnTo>
                        <a:pt x="110" y="107"/>
                      </a:lnTo>
                      <a:lnTo>
                        <a:pt x="108" y="105"/>
                      </a:lnTo>
                      <a:lnTo>
                        <a:pt x="107" y="104"/>
                      </a:lnTo>
                      <a:lnTo>
                        <a:pt x="105" y="102"/>
                      </a:lnTo>
                      <a:lnTo>
                        <a:pt x="103" y="100"/>
                      </a:lnTo>
                      <a:lnTo>
                        <a:pt x="100" y="100"/>
                      </a:lnTo>
                      <a:lnTo>
                        <a:pt x="97" y="100"/>
                      </a:lnTo>
                      <a:lnTo>
                        <a:pt x="95" y="100"/>
                      </a:lnTo>
                      <a:lnTo>
                        <a:pt x="95" y="99"/>
                      </a:lnTo>
                      <a:lnTo>
                        <a:pt x="93" y="97"/>
                      </a:lnTo>
                      <a:lnTo>
                        <a:pt x="91" y="95"/>
                      </a:lnTo>
                      <a:lnTo>
                        <a:pt x="90" y="94"/>
                      </a:lnTo>
                      <a:lnTo>
                        <a:pt x="88" y="94"/>
                      </a:lnTo>
                      <a:lnTo>
                        <a:pt x="86" y="94"/>
                      </a:lnTo>
                      <a:lnTo>
                        <a:pt x="85" y="90"/>
                      </a:lnTo>
                      <a:lnTo>
                        <a:pt x="83" y="90"/>
                      </a:lnTo>
                      <a:lnTo>
                        <a:pt x="80" y="89"/>
                      </a:lnTo>
                      <a:lnTo>
                        <a:pt x="78" y="89"/>
                      </a:lnTo>
                      <a:lnTo>
                        <a:pt x="75" y="87"/>
                      </a:lnTo>
                      <a:lnTo>
                        <a:pt x="73" y="87"/>
                      </a:lnTo>
                      <a:lnTo>
                        <a:pt x="71" y="87"/>
                      </a:lnTo>
                      <a:lnTo>
                        <a:pt x="69" y="87"/>
                      </a:lnTo>
                      <a:lnTo>
                        <a:pt x="68" y="87"/>
                      </a:lnTo>
                      <a:lnTo>
                        <a:pt x="64" y="85"/>
                      </a:lnTo>
                      <a:lnTo>
                        <a:pt x="63" y="85"/>
                      </a:lnTo>
                      <a:lnTo>
                        <a:pt x="61" y="84"/>
                      </a:lnTo>
                      <a:lnTo>
                        <a:pt x="59" y="84"/>
                      </a:lnTo>
                      <a:lnTo>
                        <a:pt x="58" y="82"/>
                      </a:lnTo>
                      <a:lnTo>
                        <a:pt x="56" y="81"/>
                      </a:lnTo>
                      <a:lnTo>
                        <a:pt x="54" y="79"/>
                      </a:lnTo>
                      <a:lnTo>
                        <a:pt x="53" y="77"/>
                      </a:lnTo>
                      <a:lnTo>
                        <a:pt x="51" y="77"/>
                      </a:lnTo>
                      <a:lnTo>
                        <a:pt x="51" y="76"/>
                      </a:lnTo>
                      <a:lnTo>
                        <a:pt x="49" y="76"/>
                      </a:lnTo>
                      <a:lnTo>
                        <a:pt x="48" y="76"/>
                      </a:lnTo>
                      <a:lnTo>
                        <a:pt x="46" y="76"/>
                      </a:lnTo>
                      <a:lnTo>
                        <a:pt x="44" y="77"/>
                      </a:lnTo>
                      <a:lnTo>
                        <a:pt x="42" y="77"/>
                      </a:lnTo>
                      <a:lnTo>
                        <a:pt x="42" y="76"/>
                      </a:lnTo>
                      <a:lnTo>
                        <a:pt x="41" y="74"/>
                      </a:lnTo>
                      <a:lnTo>
                        <a:pt x="41" y="72"/>
                      </a:lnTo>
                      <a:lnTo>
                        <a:pt x="39" y="72"/>
                      </a:lnTo>
                      <a:lnTo>
                        <a:pt x="37" y="71"/>
                      </a:lnTo>
                      <a:lnTo>
                        <a:pt x="36" y="71"/>
                      </a:lnTo>
                      <a:lnTo>
                        <a:pt x="36" y="69"/>
                      </a:lnTo>
                      <a:lnTo>
                        <a:pt x="34" y="69"/>
                      </a:lnTo>
                      <a:lnTo>
                        <a:pt x="34" y="67"/>
                      </a:lnTo>
                      <a:lnTo>
                        <a:pt x="32" y="67"/>
                      </a:lnTo>
                      <a:lnTo>
                        <a:pt x="32" y="69"/>
                      </a:lnTo>
                      <a:lnTo>
                        <a:pt x="31" y="69"/>
                      </a:lnTo>
                      <a:lnTo>
                        <a:pt x="29" y="67"/>
                      </a:lnTo>
                      <a:lnTo>
                        <a:pt x="27" y="67"/>
                      </a:lnTo>
                      <a:lnTo>
                        <a:pt x="26" y="67"/>
                      </a:lnTo>
                      <a:lnTo>
                        <a:pt x="24" y="66"/>
                      </a:lnTo>
                      <a:lnTo>
                        <a:pt x="22" y="66"/>
                      </a:lnTo>
                      <a:lnTo>
                        <a:pt x="22" y="64"/>
                      </a:lnTo>
                      <a:lnTo>
                        <a:pt x="24" y="64"/>
                      </a:lnTo>
                      <a:lnTo>
                        <a:pt x="22" y="62"/>
                      </a:lnTo>
                      <a:lnTo>
                        <a:pt x="21" y="62"/>
                      </a:lnTo>
                      <a:lnTo>
                        <a:pt x="21" y="61"/>
                      </a:lnTo>
                      <a:lnTo>
                        <a:pt x="19" y="61"/>
                      </a:lnTo>
                      <a:lnTo>
                        <a:pt x="17" y="61"/>
                      </a:lnTo>
                      <a:lnTo>
                        <a:pt x="17" y="59"/>
                      </a:lnTo>
                      <a:lnTo>
                        <a:pt x="15" y="59"/>
                      </a:lnTo>
                      <a:lnTo>
                        <a:pt x="14" y="58"/>
                      </a:lnTo>
                      <a:lnTo>
                        <a:pt x="12" y="58"/>
                      </a:lnTo>
                      <a:lnTo>
                        <a:pt x="12" y="59"/>
                      </a:lnTo>
                      <a:lnTo>
                        <a:pt x="10" y="58"/>
                      </a:lnTo>
                      <a:lnTo>
                        <a:pt x="9" y="59"/>
                      </a:lnTo>
                      <a:lnTo>
                        <a:pt x="9" y="58"/>
                      </a:lnTo>
                      <a:lnTo>
                        <a:pt x="7" y="58"/>
                      </a:lnTo>
                      <a:lnTo>
                        <a:pt x="5" y="58"/>
                      </a:lnTo>
                      <a:lnTo>
                        <a:pt x="4" y="56"/>
                      </a:lnTo>
                      <a:lnTo>
                        <a:pt x="4" y="54"/>
                      </a:lnTo>
                      <a:lnTo>
                        <a:pt x="5" y="54"/>
                      </a:lnTo>
                      <a:lnTo>
                        <a:pt x="5" y="53"/>
                      </a:lnTo>
                      <a:lnTo>
                        <a:pt x="4" y="53"/>
                      </a:lnTo>
                      <a:lnTo>
                        <a:pt x="4" y="51"/>
                      </a:lnTo>
                      <a:lnTo>
                        <a:pt x="2" y="51"/>
                      </a:lnTo>
                      <a:lnTo>
                        <a:pt x="2" y="49"/>
                      </a:lnTo>
                      <a:lnTo>
                        <a:pt x="0" y="48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0" name="Freeform 20"/>
                <p:cNvSpPr>
                  <a:spLocks noChangeAspect="1" noEditPoints="1"/>
                </p:cNvSpPr>
                <p:nvPr/>
              </p:nvSpPr>
              <p:spPr bwMode="auto">
                <a:xfrm>
                  <a:off x="5008127" y="1432030"/>
                  <a:ext cx="1027114" cy="1425053"/>
                </a:xfrm>
                <a:custGeom>
                  <a:avLst/>
                  <a:gdLst>
                    <a:gd name="T0" fmla="*/ 2147483647 w 658"/>
                    <a:gd name="T1" fmla="*/ 2147483647 h 851"/>
                    <a:gd name="T2" fmla="*/ 2147483647 w 658"/>
                    <a:gd name="T3" fmla="*/ 2147483647 h 851"/>
                    <a:gd name="T4" fmla="*/ 2147483647 w 658"/>
                    <a:gd name="T5" fmla="*/ 2147483647 h 851"/>
                    <a:gd name="T6" fmla="*/ 2147483647 w 658"/>
                    <a:gd name="T7" fmla="*/ 2147483647 h 851"/>
                    <a:gd name="T8" fmla="*/ 2147483647 w 658"/>
                    <a:gd name="T9" fmla="*/ 2147483647 h 851"/>
                    <a:gd name="T10" fmla="*/ 2147483647 w 658"/>
                    <a:gd name="T11" fmla="*/ 2147483647 h 851"/>
                    <a:gd name="T12" fmla="*/ 2147483647 w 658"/>
                    <a:gd name="T13" fmla="*/ 2147483647 h 851"/>
                    <a:gd name="T14" fmla="*/ 2147483647 w 658"/>
                    <a:gd name="T15" fmla="*/ 2147483647 h 851"/>
                    <a:gd name="T16" fmla="*/ 2147483647 w 658"/>
                    <a:gd name="T17" fmla="*/ 2147483647 h 851"/>
                    <a:gd name="T18" fmla="*/ 2147483647 w 658"/>
                    <a:gd name="T19" fmla="*/ 2147483647 h 851"/>
                    <a:gd name="T20" fmla="*/ 2147483647 w 658"/>
                    <a:gd name="T21" fmla="*/ 2147483647 h 851"/>
                    <a:gd name="T22" fmla="*/ 2147483647 w 658"/>
                    <a:gd name="T23" fmla="*/ 2147483647 h 851"/>
                    <a:gd name="T24" fmla="*/ 2147483647 w 658"/>
                    <a:gd name="T25" fmla="*/ 2147483647 h 851"/>
                    <a:gd name="T26" fmla="*/ 2147483647 w 658"/>
                    <a:gd name="T27" fmla="*/ 2147483647 h 851"/>
                    <a:gd name="T28" fmla="*/ 2147483647 w 658"/>
                    <a:gd name="T29" fmla="*/ 2147483647 h 851"/>
                    <a:gd name="T30" fmla="*/ 2147483647 w 658"/>
                    <a:gd name="T31" fmla="*/ 2147483647 h 851"/>
                    <a:gd name="T32" fmla="*/ 2147483647 w 658"/>
                    <a:gd name="T33" fmla="*/ 2147483647 h 851"/>
                    <a:gd name="T34" fmla="*/ 2147483647 w 658"/>
                    <a:gd name="T35" fmla="*/ 2147483647 h 851"/>
                    <a:gd name="T36" fmla="*/ 2147483647 w 658"/>
                    <a:gd name="T37" fmla="*/ 2147483647 h 851"/>
                    <a:gd name="T38" fmla="*/ 2147483647 w 658"/>
                    <a:gd name="T39" fmla="*/ 2147483647 h 851"/>
                    <a:gd name="T40" fmla="*/ 2147483647 w 658"/>
                    <a:gd name="T41" fmla="*/ 2147483647 h 851"/>
                    <a:gd name="T42" fmla="*/ 2147483647 w 658"/>
                    <a:gd name="T43" fmla="*/ 2147483647 h 851"/>
                    <a:gd name="T44" fmla="*/ 2147483647 w 658"/>
                    <a:gd name="T45" fmla="*/ 2147483647 h 851"/>
                    <a:gd name="T46" fmla="*/ 2147483647 w 658"/>
                    <a:gd name="T47" fmla="*/ 2147483647 h 851"/>
                    <a:gd name="T48" fmla="*/ 2147483647 w 658"/>
                    <a:gd name="T49" fmla="*/ 2147483647 h 851"/>
                    <a:gd name="T50" fmla="*/ 2147483647 w 658"/>
                    <a:gd name="T51" fmla="*/ 2147483647 h 851"/>
                    <a:gd name="T52" fmla="*/ 2147483647 w 658"/>
                    <a:gd name="T53" fmla="*/ 2147483647 h 851"/>
                    <a:gd name="T54" fmla="*/ 2147483647 w 658"/>
                    <a:gd name="T55" fmla="*/ 2147483647 h 851"/>
                    <a:gd name="T56" fmla="*/ 2147483647 w 658"/>
                    <a:gd name="T57" fmla="*/ 2147483647 h 851"/>
                    <a:gd name="T58" fmla="*/ 2147483647 w 658"/>
                    <a:gd name="T59" fmla="*/ 2147483647 h 851"/>
                    <a:gd name="T60" fmla="*/ 2147483647 w 658"/>
                    <a:gd name="T61" fmla="*/ 2147483647 h 851"/>
                    <a:gd name="T62" fmla="*/ 2147483647 w 658"/>
                    <a:gd name="T63" fmla="*/ 2147483647 h 851"/>
                    <a:gd name="T64" fmla="*/ 2147483647 w 658"/>
                    <a:gd name="T65" fmla="*/ 2147483647 h 851"/>
                    <a:gd name="T66" fmla="*/ 2147483647 w 658"/>
                    <a:gd name="T67" fmla="*/ 2147483647 h 851"/>
                    <a:gd name="T68" fmla="*/ 2147483647 w 658"/>
                    <a:gd name="T69" fmla="*/ 2147483647 h 851"/>
                    <a:gd name="T70" fmla="*/ 2147483647 w 658"/>
                    <a:gd name="T71" fmla="*/ 2147483647 h 851"/>
                    <a:gd name="T72" fmla="*/ 2147483647 w 658"/>
                    <a:gd name="T73" fmla="*/ 2147483647 h 851"/>
                    <a:gd name="T74" fmla="*/ 2147483647 w 658"/>
                    <a:gd name="T75" fmla="*/ 2147483647 h 851"/>
                    <a:gd name="T76" fmla="*/ 2147483647 w 658"/>
                    <a:gd name="T77" fmla="*/ 2147483647 h 851"/>
                    <a:gd name="T78" fmla="*/ 2147483647 w 658"/>
                    <a:gd name="T79" fmla="*/ 2147483647 h 851"/>
                    <a:gd name="T80" fmla="*/ 2147483647 w 658"/>
                    <a:gd name="T81" fmla="*/ 2147483647 h 851"/>
                    <a:gd name="T82" fmla="*/ 2147483647 w 658"/>
                    <a:gd name="T83" fmla="*/ 2147483647 h 851"/>
                    <a:gd name="T84" fmla="*/ 2147483647 w 658"/>
                    <a:gd name="T85" fmla="*/ 2147483647 h 851"/>
                    <a:gd name="T86" fmla="*/ 2147483647 w 658"/>
                    <a:gd name="T87" fmla="*/ 2147483647 h 851"/>
                    <a:gd name="T88" fmla="*/ 2147483647 w 658"/>
                    <a:gd name="T89" fmla="*/ 2147483647 h 851"/>
                    <a:gd name="T90" fmla="*/ 2147483647 w 658"/>
                    <a:gd name="T91" fmla="*/ 2147483647 h 851"/>
                    <a:gd name="T92" fmla="*/ 2147483647 w 658"/>
                    <a:gd name="T93" fmla="*/ 2147483647 h 851"/>
                    <a:gd name="T94" fmla="*/ 2147483647 w 658"/>
                    <a:gd name="T95" fmla="*/ 2147483647 h 851"/>
                    <a:gd name="T96" fmla="*/ 2147483647 w 658"/>
                    <a:gd name="T97" fmla="*/ 2147483647 h 851"/>
                    <a:gd name="T98" fmla="*/ 2147483647 w 658"/>
                    <a:gd name="T99" fmla="*/ 2147483647 h 851"/>
                    <a:gd name="T100" fmla="*/ 2147483647 w 658"/>
                    <a:gd name="T101" fmla="*/ 2147483647 h 851"/>
                    <a:gd name="T102" fmla="*/ 2147483647 w 658"/>
                    <a:gd name="T103" fmla="*/ 2147483647 h 851"/>
                    <a:gd name="T104" fmla="*/ 2147483647 w 658"/>
                    <a:gd name="T105" fmla="*/ 2147483647 h 851"/>
                    <a:gd name="T106" fmla="*/ 2147483647 w 658"/>
                    <a:gd name="T107" fmla="*/ 2147483647 h 851"/>
                    <a:gd name="T108" fmla="*/ 2147483647 w 658"/>
                    <a:gd name="T109" fmla="*/ 2147483647 h 851"/>
                    <a:gd name="T110" fmla="*/ 2147483647 w 658"/>
                    <a:gd name="T111" fmla="*/ 2147483647 h 851"/>
                    <a:gd name="T112" fmla="*/ 2147483647 w 658"/>
                    <a:gd name="T113" fmla="*/ 2147483647 h 851"/>
                    <a:gd name="T114" fmla="*/ 2147483647 w 658"/>
                    <a:gd name="T115" fmla="*/ 2147483647 h 851"/>
                    <a:gd name="T116" fmla="*/ 2147483647 w 658"/>
                    <a:gd name="T117" fmla="*/ 2147483647 h 851"/>
                    <a:gd name="T118" fmla="*/ 2147483647 w 658"/>
                    <a:gd name="T119" fmla="*/ 2147483647 h 851"/>
                    <a:gd name="T120" fmla="*/ 2147483647 w 658"/>
                    <a:gd name="T121" fmla="*/ 2147483647 h 851"/>
                    <a:gd name="T122" fmla="*/ 2147483647 w 658"/>
                    <a:gd name="T123" fmla="*/ 2147483647 h 851"/>
                    <a:gd name="T124" fmla="*/ 2147483647 w 658"/>
                    <a:gd name="T125" fmla="*/ 2147483647 h 851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58"/>
                    <a:gd name="T190" fmla="*/ 0 h 851"/>
                    <a:gd name="T191" fmla="*/ 658 w 658"/>
                    <a:gd name="T192" fmla="*/ 851 h 851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58" h="851">
                      <a:moveTo>
                        <a:pt x="272" y="20"/>
                      </a:moveTo>
                      <a:lnTo>
                        <a:pt x="273" y="20"/>
                      </a:lnTo>
                      <a:lnTo>
                        <a:pt x="275" y="20"/>
                      </a:lnTo>
                      <a:lnTo>
                        <a:pt x="275" y="16"/>
                      </a:lnTo>
                      <a:lnTo>
                        <a:pt x="277" y="16"/>
                      </a:lnTo>
                      <a:lnTo>
                        <a:pt x="277" y="13"/>
                      </a:lnTo>
                      <a:lnTo>
                        <a:pt x="277" y="15"/>
                      </a:lnTo>
                      <a:lnTo>
                        <a:pt x="277" y="16"/>
                      </a:lnTo>
                      <a:lnTo>
                        <a:pt x="278" y="16"/>
                      </a:lnTo>
                      <a:lnTo>
                        <a:pt x="277" y="18"/>
                      </a:lnTo>
                      <a:lnTo>
                        <a:pt x="277" y="20"/>
                      </a:lnTo>
                      <a:lnTo>
                        <a:pt x="278" y="16"/>
                      </a:lnTo>
                      <a:lnTo>
                        <a:pt x="278" y="15"/>
                      </a:lnTo>
                      <a:lnTo>
                        <a:pt x="277" y="15"/>
                      </a:lnTo>
                      <a:lnTo>
                        <a:pt x="277" y="13"/>
                      </a:lnTo>
                      <a:lnTo>
                        <a:pt x="277" y="12"/>
                      </a:lnTo>
                      <a:lnTo>
                        <a:pt x="278" y="12"/>
                      </a:lnTo>
                      <a:lnTo>
                        <a:pt x="280" y="12"/>
                      </a:lnTo>
                      <a:lnTo>
                        <a:pt x="280" y="13"/>
                      </a:lnTo>
                      <a:lnTo>
                        <a:pt x="278" y="13"/>
                      </a:lnTo>
                      <a:lnTo>
                        <a:pt x="278" y="15"/>
                      </a:lnTo>
                      <a:lnTo>
                        <a:pt x="280" y="16"/>
                      </a:lnTo>
                      <a:lnTo>
                        <a:pt x="278" y="18"/>
                      </a:lnTo>
                      <a:lnTo>
                        <a:pt x="278" y="20"/>
                      </a:lnTo>
                      <a:lnTo>
                        <a:pt x="277" y="20"/>
                      </a:lnTo>
                      <a:lnTo>
                        <a:pt x="277" y="21"/>
                      </a:lnTo>
                      <a:lnTo>
                        <a:pt x="278" y="20"/>
                      </a:lnTo>
                      <a:lnTo>
                        <a:pt x="280" y="20"/>
                      </a:lnTo>
                      <a:lnTo>
                        <a:pt x="280" y="18"/>
                      </a:lnTo>
                      <a:lnTo>
                        <a:pt x="282" y="16"/>
                      </a:lnTo>
                      <a:lnTo>
                        <a:pt x="282" y="15"/>
                      </a:lnTo>
                      <a:lnTo>
                        <a:pt x="282" y="13"/>
                      </a:lnTo>
                      <a:lnTo>
                        <a:pt x="284" y="15"/>
                      </a:lnTo>
                      <a:lnTo>
                        <a:pt x="284" y="13"/>
                      </a:lnTo>
                      <a:lnTo>
                        <a:pt x="285" y="12"/>
                      </a:lnTo>
                      <a:lnTo>
                        <a:pt x="285" y="10"/>
                      </a:lnTo>
                      <a:lnTo>
                        <a:pt x="285" y="8"/>
                      </a:lnTo>
                      <a:lnTo>
                        <a:pt x="287" y="8"/>
                      </a:lnTo>
                      <a:lnTo>
                        <a:pt x="289" y="8"/>
                      </a:lnTo>
                      <a:lnTo>
                        <a:pt x="290" y="8"/>
                      </a:lnTo>
                      <a:lnTo>
                        <a:pt x="290" y="10"/>
                      </a:lnTo>
                      <a:lnTo>
                        <a:pt x="289" y="12"/>
                      </a:lnTo>
                      <a:lnTo>
                        <a:pt x="289" y="10"/>
                      </a:lnTo>
                      <a:lnTo>
                        <a:pt x="289" y="12"/>
                      </a:lnTo>
                      <a:lnTo>
                        <a:pt x="287" y="13"/>
                      </a:lnTo>
                      <a:lnTo>
                        <a:pt x="287" y="15"/>
                      </a:lnTo>
                      <a:lnTo>
                        <a:pt x="287" y="16"/>
                      </a:lnTo>
                      <a:lnTo>
                        <a:pt x="285" y="16"/>
                      </a:lnTo>
                      <a:lnTo>
                        <a:pt x="287" y="16"/>
                      </a:lnTo>
                      <a:lnTo>
                        <a:pt x="287" y="18"/>
                      </a:lnTo>
                      <a:lnTo>
                        <a:pt x="289" y="20"/>
                      </a:lnTo>
                      <a:lnTo>
                        <a:pt x="289" y="21"/>
                      </a:lnTo>
                      <a:lnTo>
                        <a:pt x="289" y="23"/>
                      </a:lnTo>
                      <a:lnTo>
                        <a:pt x="289" y="25"/>
                      </a:lnTo>
                      <a:lnTo>
                        <a:pt x="290" y="25"/>
                      </a:lnTo>
                      <a:lnTo>
                        <a:pt x="289" y="26"/>
                      </a:lnTo>
                      <a:lnTo>
                        <a:pt x="290" y="28"/>
                      </a:lnTo>
                      <a:lnTo>
                        <a:pt x="289" y="28"/>
                      </a:lnTo>
                      <a:lnTo>
                        <a:pt x="289" y="30"/>
                      </a:lnTo>
                      <a:lnTo>
                        <a:pt x="290" y="30"/>
                      </a:lnTo>
                      <a:lnTo>
                        <a:pt x="292" y="30"/>
                      </a:lnTo>
                      <a:lnTo>
                        <a:pt x="294" y="31"/>
                      </a:lnTo>
                      <a:lnTo>
                        <a:pt x="294" y="30"/>
                      </a:lnTo>
                      <a:lnTo>
                        <a:pt x="295" y="30"/>
                      </a:lnTo>
                      <a:lnTo>
                        <a:pt x="297" y="28"/>
                      </a:lnTo>
                      <a:lnTo>
                        <a:pt x="297" y="26"/>
                      </a:lnTo>
                      <a:lnTo>
                        <a:pt x="297" y="25"/>
                      </a:lnTo>
                      <a:lnTo>
                        <a:pt x="297" y="23"/>
                      </a:lnTo>
                      <a:lnTo>
                        <a:pt x="297" y="21"/>
                      </a:lnTo>
                      <a:lnTo>
                        <a:pt x="299" y="21"/>
                      </a:lnTo>
                      <a:lnTo>
                        <a:pt x="299" y="20"/>
                      </a:lnTo>
                      <a:lnTo>
                        <a:pt x="300" y="20"/>
                      </a:lnTo>
                      <a:lnTo>
                        <a:pt x="300" y="21"/>
                      </a:lnTo>
                      <a:lnTo>
                        <a:pt x="300" y="23"/>
                      </a:lnTo>
                      <a:lnTo>
                        <a:pt x="299" y="23"/>
                      </a:lnTo>
                      <a:lnTo>
                        <a:pt x="299" y="25"/>
                      </a:lnTo>
                      <a:lnTo>
                        <a:pt x="297" y="23"/>
                      </a:lnTo>
                      <a:lnTo>
                        <a:pt x="297" y="25"/>
                      </a:lnTo>
                      <a:lnTo>
                        <a:pt x="299" y="25"/>
                      </a:lnTo>
                      <a:lnTo>
                        <a:pt x="299" y="23"/>
                      </a:lnTo>
                      <a:lnTo>
                        <a:pt x="299" y="25"/>
                      </a:lnTo>
                      <a:lnTo>
                        <a:pt x="299" y="26"/>
                      </a:lnTo>
                      <a:lnTo>
                        <a:pt x="300" y="26"/>
                      </a:lnTo>
                      <a:lnTo>
                        <a:pt x="299" y="25"/>
                      </a:lnTo>
                      <a:lnTo>
                        <a:pt x="300" y="25"/>
                      </a:lnTo>
                      <a:lnTo>
                        <a:pt x="300" y="23"/>
                      </a:lnTo>
                      <a:lnTo>
                        <a:pt x="302" y="21"/>
                      </a:lnTo>
                      <a:lnTo>
                        <a:pt x="302" y="23"/>
                      </a:lnTo>
                      <a:lnTo>
                        <a:pt x="302" y="25"/>
                      </a:lnTo>
                      <a:lnTo>
                        <a:pt x="302" y="26"/>
                      </a:lnTo>
                      <a:lnTo>
                        <a:pt x="302" y="25"/>
                      </a:lnTo>
                      <a:lnTo>
                        <a:pt x="304" y="25"/>
                      </a:lnTo>
                      <a:lnTo>
                        <a:pt x="305" y="25"/>
                      </a:lnTo>
                      <a:lnTo>
                        <a:pt x="304" y="25"/>
                      </a:lnTo>
                      <a:lnTo>
                        <a:pt x="305" y="25"/>
                      </a:lnTo>
                      <a:lnTo>
                        <a:pt x="304" y="26"/>
                      </a:lnTo>
                      <a:lnTo>
                        <a:pt x="305" y="26"/>
                      </a:lnTo>
                      <a:lnTo>
                        <a:pt x="305" y="25"/>
                      </a:lnTo>
                      <a:lnTo>
                        <a:pt x="305" y="23"/>
                      </a:lnTo>
                      <a:lnTo>
                        <a:pt x="307" y="23"/>
                      </a:lnTo>
                      <a:lnTo>
                        <a:pt x="307" y="25"/>
                      </a:lnTo>
                      <a:lnTo>
                        <a:pt x="307" y="26"/>
                      </a:lnTo>
                      <a:lnTo>
                        <a:pt x="305" y="26"/>
                      </a:lnTo>
                      <a:lnTo>
                        <a:pt x="305" y="28"/>
                      </a:lnTo>
                      <a:lnTo>
                        <a:pt x="307" y="28"/>
                      </a:lnTo>
                      <a:lnTo>
                        <a:pt x="305" y="28"/>
                      </a:lnTo>
                      <a:lnTo>
                        <a:pt x="305" y="30"/>
                      </a:lnTo>
                      <a:lnTo>
                        <a:pt x="304" y="30"/>
                      </a:lnTo>
                      <a:lnTo>
                        <a:pt x="305" y="30"/>
                      </a:lnTo>
                      <a:lnTo>
                        <a:pt x="307" y="30"/>
                      </a:lnTo>
                      <a:lnTo>
                        <a:pt x="307" y="31"/>
                      </a:lnTo>
                      <a:lnTo>
                        <a:pt x="305" y="31"/>
                      </a:lnTo>
                      <a:lnTo>
                        <a:pt x="305" y="33"/>
                      </a:lnTo>
                      <a:lnTo>
                        <a:pt x="304" y="33"/>
                      </a:lnTo>
                      <a:lnTo>
                        <a:pt x="302" y="31"/>
                      </a:lnTo>
                      <a:lnTo>
                        <a:pt x="302" y="33"/>
                      </a:lnTo>
                      <a:lnTo>
                        <a:pt x="300" y="33"/>
                      </a:lnTo>
                      <a:lnTo>
                        <a:pt x="302" y="33"/>
                      </a:lnTo>
                      <a:lnTo>
                        <a:pt x="304" y="33"/>
                      </a:lnTo>
                      <a:lnTo>
                        <a:pt x="305" y="33"/>
                      </a:lnTo>
                      <a:lnTo>
                        <a:pt x="305" y="35"/>
                      </a:lnTo>
                      <a:lnTo>
                        <a:pt x="307" y="36"/>
                      </a:lnTo>
                      <a:lnTo>
                        <a:pt x="307" y="35"/>
                      </a:lnTo>
                      <a:lnTo>
                        <a:pt x="307" y="33"/>
                      </a:lnTo>
                      <a:lnTo>
                        <a:pt x="307" y="31"/>
                      </a:lnTo>
                      <a:lnTo>
                        <a:pt x="309" y="30"/>
                      </a:lnTo>
                      <a:lnTo>
                        <a:pt x="311" y="28"/>
                      </a:lnTo>
                      <a:lnTo>
                        <a:pt x="311" y="26"/>
                      </a:lnTo>
                      <a:lnTo>
                        <a:pt x="311" y="25"/>
                      </a:lnTo>
                      <a:lnTo>
                        <a:pt x="312" y="25"/>
                      </a:lnTo>
                      <a:lnTo>
                        <a:pt x="314" y="25"/>
                      </a:lnTo>
                      <a:lnTo>
                        <a:pt x="312" y="25"/>
                      </a:lnTo>
                      <a:lnTo>
                        <a:pt x="312" y="23"/>
                      </a:lnTo>
                      <a:lnTo>
                        <a:pt x="314" y="23"/>
                      </a:lnTo>
                      <a:lnTo>
                        <a:pt x="316" y="23"/>
                      </a:lnTo>
                      <a:lnTo>
                        <a:pt x="317" y="25"/>
                      </a:lnTo>
                      <a:lnTo>
                        <a:pt x="316" y="25"/>
                      </a:lnTo>
                      <a:lnTo>
                        <a:pt x="317" y="25"/>
                      </a:lnTo>
                      <a:lnTo>
                        <a:pt x="316" y="26"/>
                      </a:lnTo>
                      <a:lnTo>
                        <a:pt x="317" y="26"/>
                      </a:lnTo>
                      <a:lnTo>
                        <a:pt x="316" y="26"/>
                      </a:lnTo>
                      <a:lnTo>
                        <a:pt x="316" y="28"/>
                      </a:lnTo>
                      <a:lnTo>
                        <a:pt x="314" y="28"/>
                      </a:lnTo>
                      <a:lnTo>
                        <a:pt x="314" y="26"/>
                      </a:lnTo>
                      <a:lnTo>
                        <a:pt x="314" y="28"/>
                      </a:lnTo>
                      <a:lnTo>
                        <a:pt x="314" y="30"/>
                      </a:lnTo>
                      <a:lnTo>
                        <a:pt x="312" y="30"/>
                      </a:lnTo>
                      <a:lnTo>
                        <a:pt x="312" y="28"/>
                      </a:lnTo>
                      <a:lnTo>
                        <a:pt x="312" y="30"/>
                      </a:lnTo>
                      <a:lnTo>
                        <a:pt x="311" y="30"/>
                      </a:lnTo>
                      <a:lnTo>
                        <a:pt x="311" y="31"/>
                      </a:lnTo>
                      <a:lnTo>
                        <a:pt x="311" y="33"/>
                      </a:lnTo>
                      <a:lnTo>
                        <a:pt x="311" y="35"/>
                      </a:lnTo>
                      <a:lnTo>
                        <a:pt x="309" y="35"/>
                      </a:lnTo>
                      <a:lnTo>
                        <a:pt x="311" y="35"/>
                      </a:lnTo>
                      <a:lnTo>
                        <a:pt x="309" y="36"/>
                      </a:lnTo>
                      <a:lnTo>
                        <a:pt x="311" y="38"/>
                      </a:lnTo>
                      <a:lnTo>
                        <a:pt x="309" y="39"/>
                      </a:lnTo>
                      <a:lnTo>
                        <a:pt x="309" y="38"/>
                      </a:lnTo>
                      <a:lnTo>
                        <a:pt x="307" y="38"/>
                      </a:lnTo>
                      <a:lnTo>
                        <a:pt x="307" y="39"/>
                      </a:lnTo>
                      <a:lnTo>
                        <a:pt x="305" y="39"/>
                      </a:lnTo>
                      <a:lnTo>
                        <a:pt x="304" y="39"/>
                      </a:lnTo>
                      <a:lnTo>
                        <a:pt x="305" y="39"/>
                      </a:lnTo>
                      <a:lnTo>
                        <a:pt x="305" y="41"/>
                      </a:lnTo>
                      <a:lnTo>
                        <a:pt x="305" y="39"/>
                      </a:lnTo>
                      <a:lnTo>
                        <a:pt x="307" y="39"/>
                      </a:lnTo>
                      <a:lnTo>
                        <a:pt x="307" y="38"/>
                      </a:lnTo>
                      <a:lnTo>
                        <a:pt x="309" y="39"/>
                      </a:lnTo>
                      <a:lnTo>
                        <a:pt x="309" y="41"/>
                      </a:lnTo>
                      <a:lnTo>
                        <a:pt x="307" y="41"/>
                      </a:lnTo>
                      <a:lnTo>
                        <a:pt x="305" y="43"/>
                      </a:lnTo>
                      <a:lnTo>
                        <a:pt x="304" y="43"/>
                      </a:lnTo>
                      <a:lnTo>
                        <a:pt x="304" y="44"/>
                      </a:lnTo>
                      <a:lnTo>
                        <a:pt x="304" y="43"/>
                      </a:lnTo>
                      <a:lnTo>
                        <a:pt x="305" y="43"/>
                      </a:lnTo>
                      <a:lnTo>
                        <a:pt x="307" y="43"/>
                      </a:lnTo>
                      <a:lnTo>
                        <a:pt x="309" y="43"/>
                      </a:lnTo>
                      <a:lnTo>
                        <a:pt x="309" y="41"/>
                      </a:lnTo>
                      <a:lnTo>
                        <a:pt x="311" y="41"/>
                      </a:lnTo>
                      <a:lnTo>
                        <a:pt x="311" y="39"/>
                      </a:lnTo>
                      <a:lnTo>
                        <a:pt x="311" y="41"/>
                      </a:lnTo>
                      <a:lnTo>
                        <a:pt x="312" y="41"/>
                      </a:lnTo>
                      <a:lnTo>
                        <a:pt x="312" y="43"/>
                      </a:lnTo>
                      <a:lnTo>
                        <a:pt x="312" y="41"/>
                      </a:lnTo>
                      <a:lnTo>
                        <a:pt x="312" y="39"/>
                      </a:lnTo>
                      <a:lnTo>
                        <a:pt x="312" y="38"/>
                      </a:lnTo>
                      <a:lnTo>
                        <a:pt x="312" y="36"/>
                      </a:lnTo>
                      <a:lnTo>
                        <a:pt x="314" y="36"/>
                      </a:lnTo>
                      <a:lnTo>
                        <a:pt x="314" y="35"/>
                      </a:lnTo>
                      <a:lnTo>
                        <a:pt x="316" y="35"/>
                      </a:lnTo>
                      <a:lnTo>
                        <a:pt x="316" y="36"/>
                      </a:lnTo>
                      <a:lnTo>
                        <a:pt x="316" y="38"/>
                      </a:lnTo>
                      <a:lnTo>
                        <a:pt x="314" y="38"/>
                      </a:lnTo>
                      <a:lnTo>
                        <a:pt x="314" y="39"/>
                      </a:lnTo>
                      <a:lnTo>
                        <a:pt x="316" y="39"/>
                      </a:lnTo>
                      <a:lnTo>
                        <a:pt x="316" y="41"/>
                      </a:lnTo>
                      <a:lnTo>
                        <a:pt x="316" y="39"/>
                      </a:lnTo>
                      <a:lnTo>
                        <a:pt x="314" y="39"/>
                      </a:lnTo>
                      <a:lnTo>
                        <a:pt x="316" y="39"/>
                      </a:lnTo>
                      <a:lnTo>
                        <a:pt x="316" y="38"/>
                      </a:lnTo>
                      <a:lnTo>
                        <a:pt x="316" y="36"/>
                      </a:lnTo>
                      <a:lnTo>
                        <a:pt x="317" y="36"/>
                      </a:lnTo>
                      <a:lnTo>
                        <a:pt x="317" y="35"/>
                      </a:lnTo>
                      <a:lnTo>
                        <a:pt x="319" y="35"/>
                      </a:lnTo>
                      <a:lnTo>
                        <a:pt x="319" y="36"/>
                      </a:lnTo>
                      <a:lnTo>
                        <a:pt x="321" y="36"/>
                      </a:lnTo>
                      <a:lnTo>
                        <a:pt x="321" y="35"/>
                      </a:lnTo>
                      <a:lnTo>
                        <a:pt x="319" y="35"/>
                      </a:lnTo>
                      <a:lnTo>
                        <a:pt x="317" y="35"/>
                      </a:lnTo>
                      <a:lnTo>
                        <a:pt x="319" y="33"/>
                      </a:lnTo>
                      <a:lnTo>
                        <a:pt x="319" y="31"/>
                      </a:lnTo>
                      <a:lnTo>
                        <a:pt x="319" y="30"/>
                      </a:lnTo>
                      <a:lnTo>
                        <a:pt x="321" y="30"/>
                      </a:lnTo>
                      <a:lnTo>
                        <a:pt x="321" y="28"/>
                      </a:lnTo>
                      <a:lnTo>
                        <a:pt x="322" y="28"/>
                      </a:lnTo>
                      <a:lnTo>
                        <a:pt x="322" y="26"/>
                      </a:lnTo>
                      <a:lnTo>
                        <a:pt x="321" y="26"/>
                      </a:lnTo>
                      <a:lnTo>
                        <a:pt x="321" y="25"/>
                      </a:lnTo>
                      <a:lnTo>
                        <a:pt x="322" y="25"/>
                      </a:lnTo>
                      <a:lnTo>
                        <a:pt x="324" y="25"/>
                      </a:lnTo>
                      <a:lnTo>
                        <a:pt x="324" y="26"/>
                      </a:lnTo>
                      <a:lnTo>
                        <a:pt x="326" y="26"/>
                      </a:lnTo>
                      <a:lnTo>
                        <a:pt x="326" y="28"/>
                      </a:lnTo>
                      <a:lnTo>
                        <a:pt x="326" y="30"/>
                      </a:lnTo>
                      <a:lnTo>
                        <a:pt x="326" y="31"/>
                      </a:lnTo>
                      <a:lnTo>
                        <a:pt x="326" y="30"/>
                      </a:lnTo>
                      <a:lnTo>
                        <a:pt x="327" y="30"/>
                      </a:lnTo>
                      <a:lnTo>
                        <a:pt x="327" y="33"/>
                      </a:lnTo>
                      <a:lnTo>
                        <a:pt x="327" y="35"/>
                      </a:lnTo>
                      <a:lnTo>
                        <a:pt x="327" y="36"/>
                      </a:lnTo>
                      <a:lnTo>
                        <a:pt x="327" y="35"/>
                      </a:lnTo>
                      <a:lnTo>
                        <a:pt x="326" y="35"/>
                      </a:lnTo>
                      <a:lnTo>
                        <a:pt x="326" y="36"/>
                      </a:lnTo>
                      <a:lnTo>
                        <a:pt x="324" y="36"/>
                      </a:lnTo>
                      <a:lnTo>
                        <a:pt x="324" y="38"/>
                      </a:lnTo>
                      <a:lnTo>
                        <a:pt x="322" y="38"/>
                      </a:lnTo>
                      <a:lnTo>
                        <a:pt x="321" y="38"/>
                      </a:lnTo>
                      <a:lnTo>
                        <a:pt x="319" y="39"/>
                      </a:lnTo>
                      <a:lnTo>
                        <a:pt x="319" y="41"/>
                      </a:lnTo>
                      <a:lnTo>
                        <a:pt x="319" y="43"/>
                      </a:lnTo>
                      <a:lnTo>
                        <a:pt x="319" y="41"/>
                      </a:lnTo>
                      <a:lnTo>
                        <a:pt x="321" y="39"/>
                      </a:lnTo>
                      <a:lnTo>
                        <a:pt x="322" y="39"/>
                      </a:lnTo>
                      <a:lnTo>
                        <a:pt x="322" y="41"/>
                      </a:lnTo>
                      <a:lnTo>
                        <a:pt x="321" y="43"/>
                      </a:lnTo>
                      <a:lnTo>
                        <a:pt x="321" y="44"/>
                      </a:lnTo>
                      <a:lnTo>
                        <a:pt x="319" y="46"/>
                      </a:lnTo>
                      <a:lnTo>
                        <a:pt x="317" y="46"/>
                      </a:lnTo>
                      <a:lnTo>
                        <a:pt x="317" y="48"/>
                      </a:lnTo>
                      <a:lnTo>
                        <a:pt x="317" y="49"/>
                      </a:lnTo>
                      <a:lnTo>
                        <a:pt x="317" y="48"/>
                      </a:lnTo>
                      <a:lnTo>
                        <a:pt x="319" y="48"/>
                      </a:lnTo>
                      <a:lnTo>
                        <a:pt x="317" y="46"/>
                      </a:lnTo>
                      <a:lnTo>
                        <a:pt x="319" y="46"/>
                      </a:lnTo>
                      <a:lnTo>
                        <a:pt x="321" y="46"/>
                      </a:lnTo>
                      <a:lnTo>
                        <a:pt x="321" y="44"/>
                      </a:lnTo>
                      <a:lnTo>
                        <a:pt x="321" y="43"/>
                      </a:lnTo>
                      <a:lnTo>
                        <a:pt x="322" y="41"/>
                      </a:lnTo>
                      <a:lnTo>
                        <a:pt x="322" y="39"/>
                      </a:lnTo>
                      <a:lnTo>
                        <a:pt x="324" y="39"/>
                      </a:lnTo>
                      <a:lnTo>
                        <a:pt x="324" y="41"/>
                      </a:lnTo>
                      <a:lnTo>
                        <a:pt x="324" y="39"/>
                      </a:lnTo>
                      <a:lnTo>
                        <a:pt x="326" y="41"/>
                      </a:lnTo>
                      <a:lnTo>
                        <a:pt x="327" y="41"/>
                      </a:lnTo>
                      <a:lnTo>
                        <a:pt x="326" y="43"/>
                      </a:lnTo>
                      <a:lnTo>
                        <a:pt x="326" y="44"/>
                      </a:lnTo>
                      <a:lnTo>
                        <a:pt x="326" y="46"/>
                      </a:lnTo>
                      <a:lnTo>
                        <a:pt x="326" y="44"/>
                      </a:lnTo>
                      <a:lnTo>
                        <a:pt x="324" y="46"/>
                      </a:lnTo>
                      <a:lnTo>
                        <a:pt x="326" y="46"/>
                      </a:lnTo>
                      <a:lnTo>
                        <a:pt x="324" y="48"/>
                      </a:lnTo>
                      <a:lnTo>
                        <a:pt x="324" y="49"/>
                      </a:lnTo>
                      <a:lnTo>
                        <a:pt x="322" y="49"/>
                      </a:lnTo>
                      <a:lnTo>
                        <a:pt x="322" y="51"/>
                      </a:lnTo>
                      <a:lnTo>
                        <a:pt x="322" y="53"/>
                      </a:lnTo>
                      <a:lnTo>
                        <a:pt x="322" y="54"/>
                      </a:lnTo>
                      <a:lnTo>
                        <a:pt x="322" y="56"/>
                      </a:lnTo>
                      <a:lnTo>
                        <a:pt x="322" y="57"/>
                      </a:lnTo>
                      <a:lnTo>
                        <a:pt x="321" y="57"/>
                      </a:lnTo>
                      <a:lnTo>
                        <a:pt x="321" y="59"/>
                      </a:lnTo>
                      <a:lnTo>
                        <a:pt x="321" y="61"/>
                      </a:lnTo>
                      <a:lnTo>
                        <a:pt x="321" y="62"/>
                      </a:lnTo>
                      <a:lnTo>
                        <a:pt x="322" y="64"/>
                      </a:lnTo>
                      <a:lnTo>
                        <a:pt x="324" y="64"/>
                      </a:lnTo>
                      <a:lnTo>
                        <a:pt x="324" y="66"/>
                      </a:lnTo>
                      <a:lnTo>
                        <a:pt x="326" y="66"/>
                      </a:lnTo>
                      <a:lnTo>
                        <a:pt x="326" y="64"/>
                      </a:lnTo>
                      <a:lnTo>
                        <a:pt x="327" y="64"/>
                      </a:lnTo>
                      <a:lnTo>
                        <a:pt x="329" y="64"/>
                      </a:lnTo>
                      <a:lnTo>
                        <a:pt x="329" y="62"/>
                      </a:lnTo>
                      <a:lnTo>
                        <a:pt x="329" y="61"/>
                      </a:lnTo>
                      <a:lnTo>
                        <a:pt x="331" y="59"/>
                      </a:lnTo>
                      <a:lnTo>
                        <a:pt x="332" y="59"/>
                      </a:lnTo>
                      <a:lnTo>
                        <a:pt x="334" y="59"/>
                      </a:lnTo>
                      <a:lnTo>
                        <a:pt x="334" y="57"/>
                      </a:lnTo>
                      <a:lnTo>
                        <a:pt x="334" y="56"/>
                      </a:lnTo>
                      <a:lnTo>
                        <a:pt x="332" y="56"/>
                      </a:lnTo>
                      <a:lnTo>
                        <a:pt x="332" y="54"/>
                      </a:lnTo>
                      <a:lnTo>
                        <a:pt x="331" y="53"/>
                      </a:lnTo>
                      <a:lnTo>
                        <a:pt x="331" y="51"/>
                      </a:lnTo>
                      <a:lnTo>
                        <a:pt x="331" y="49"/>
                      </a:lnTo>
                      <a:lnTo>
                        <a:pt x="332" y="49"/>
                      </a:lnTo>
                      <a:lnTo>
                        <a:pt x="331" y="49"/>
                      </a:lnTo>
                      <a:lnTo>
                        <a:pt x="332" y="48"/>
                      </a:lnTo>
                      <a:lnTo>
                        <a:pt x="332" y="46"/>
                      </a:lnTo>
                      <a:lnTo>
                        <a:pt x="334" y="46"/>
                      </a:lnTo>
                      <a:lnTo>
                        <a:pt x="334" y="44"/>
                      </a:lnTo>
                      <a:lnTo>
                        <a:pt x="336" y="44"/>
                      </a:lnTo>
                      <a:lnTo>
                        <a:pt x="336" y="43"/>
                      </a:lnTo>
                      <a:lnTo>
                        <a:pt x="338" y="43"/>
                      </a:lnTo>
                      <a:lnTo>
                        <a:pt x="338" y="44"/>
                      </a:lnTo>
                      <a:lnTo>
                        <a:pt x="336" y="46"/>
                      </a:lnTo>
                      <a:lnTo>
                        <a:pt x="338" y="46"/>
                      </a:lnTo>
                      <a:lnTo>
                        <a:pt x="338" y="48"/>
                      </a:lnTo>
                      <a:lnTo>
                        <a:pt x="339" y="48"/>
                      </a:lnTo>
                      <a:lnTo>
                        <a:pt x="339" y="46"/>
                      </a:lnTo>
                      <a:lnTo>
                        <a:pt x="338" y="46"/>
                      </a:lnTo>
                      <a:lnTo>
                        <a:pt x="339" y="46"/>
                      </a:lnTo>
                      <a:lnTo>
                        <a:pt x="339" y="44"/>
                      </a:lnTo>
                      <a:lnTo>
                        <a:pt x="339" y="46"/>
                      </a:lnTo>
                      <a:lnTo>
                        <a:pt x="338" y="46"/>
                      </a:lnTo>
                      <a:lnTo>
                        <a:pt x="338" y="44"/>
                      </a:lnTo>
                      <a:lnTo>
                        <a:pt x="339" y="43"/>
                      </a:lnTo>
                      <a:lnTo>
                        <a:pt x="339" y="41"/>
                      </a:lnTo>
                      <a:lnTo>
                        <a:pt x="339" y="39"/>
                      </a:lnTo>
                      <a:lnTo>
                        <a:pt x="341" y="39"/>
                      </a:lnTo>
                      <a:lnTo>
                        <a:pt x="343" y="41"/>
                      </a:lnTo>
                      <a:lnTo>
                        <a:pt x="341" y="41"/>
                      </a:lnTo>
                      <a:lnTo>
                        <a:pt x="343" y="41"/>
                      </a:lnTo>
                      <a:lnTo>
                        <a:pt x="343" y="43"/>
                      </a:lnTo>
                      <a:lnTo>
                        <a:pt x="341" y="44"/>
                      </a:lnTo>
                      <a:lnTo>
                        <a:pt x="343" y="44"/>
                      </a:lnTo>
                      <a:lnTo>
                        <a:pt x="343" y="43"/>
                      </a:lnTo>
                      <a:lnTo>
                        <a:pt x="343" y="44"/>
                      </a:lnTo>
                      <a:lnTo>
                        <a:pt x="343" y="46"/>
                      </a:lnTo>
                      <a:lnTo>
                        <a:pt x="344" y="46"/>
                      </a:lnTo>
                      <a:lnTo>
                        <a:pt x="346" y="48"/>
                      </a:lnTo>
                      <a:lnTo>
                        <a:pt x="346" y="46"/>
                      </a:lnTo>
                      <a:lnTo>
                        <a:pt x="344" y="46"/>
                      </a:lnTo>
                      <a:lnTo>
                        <a:pt x="343" y="46"/>
                      </a:lnTo>
                      <a:lnTo>
                        <a:pt x="343" y="44"/>
                      </a:lnTo>
                      <a:lnTo>
                        <a:pt x="344" y="43"/>
                      </a:lnTo>
                      <a:lnTo>
                        <a:pt x="343" y="41"/>
                      </a:lnTo>
                      <a:lnTo>
                        <a:pt x="343" y="39"/>
                      </a:lnTo>
                      <a:lnTo>
                        <a:pt x="343" y="38"/>
                      </a:lnTo>
                      <a:lnTo>
                        <a:pt x="344" y="38"/>
                      </a:lnTo>
                      <a:lnTo>
                        <a:pt x="343" y="38"/>
                      </a:lnTo>
                      <a:lnTo>
                        <a:pt x="344" y="36"/>
                      </a:lnTo>
                      <a:lnTo>
                        <a:pt x="346" y="35"/>
                      </a:lnTo>
                      <a:lnTo>
                        <a:pt x="344" y="33"/>
                      </a:lnTo>
                      <a:lnTo>
                        <a:pt x="344" y="31"/>
                      </a:lnTo>
                      <a:lnTo>
                        <a:pt x="344" y="30"/>
                      </a:lnTo>
                      <a:lnTo>
                        <a:pt x="346" y="30"/>
                      </a:lnTo>
                      <a:lnTo>
                        <a:pt x="346" y="31"/>
                      </a:lnTo>
                      <a:lnTo>
                        <a:pt x="346" y="33"/>
                      </a:lnTo>
                      <a:lnTo>
                        <a:pt x="346" y="35"/>
                      </a:lnTo>
                      <a:lnTo>
                        <a:pt x="346" y="36"/>
                      </a:lnTo>
                      <a:lnTo>
                        <a:pt x="346" y="38"/>
                      </a:lnTo>
                      <a:lnTo>
                        <a:pt x="346" y="39"/>
                      </a:lnTo>
                      <a:lnTo>
                        <a:pt x="348" y="41"/>
                      </a:lnTo>
                      <a:lnTo>
                        <a:pt x="348" y="39"/>
                      </a:lnTo>
                      <a:lnTo>
                        <a:pt x="349" y="39"/>
                      </a:lnTo>
                      <a:lnTo>
                        <a:pt x="348" y="38"/>
                      </a:lnTo>
                      <a:lnTo>
                        <a:pt x="348" y="36"/>
                      </a:lnTo>
                      <a:lnTo>
                        <a:pt x="349" y="36"/>
                      </a:lnTo>
                      <a:lnTo>
                        <a:pt x="349" y="38"/>
                      </a:lnTo>
                      <a:lnTo>
                        <a:pt x="349" y="39"/>
                      </a:lnTo>
                      <a:lnTo>
                        <a:pt x="349" y="41"/>
                      </a:lnTo>
                      <a:lnTo>
                        <a:pt x="351" y="41"/>
                      </a:lnTo>
                      <a:lnTo>
                        <a:pt x="353" y="41"/>
                      </a:lnTo>
                      <a:lnTo>
                        <a:pt x="354" y="41"/>
                      </a:lnTo>
                      <a:lnTo>
                        <a:pt x="356" y="41"/>
                      </a:lnTo>
                      <a:lnTo>
                        <a:pt x="356" y="43"/>
                      </a:lnTo>
                      <a:lnTo>
                        <a:pt x="354" y="43"/>
                      </a:lnTo>
                      <a:lnTo>
                        <a:pt x="356" y="43"/>
                      </a:lnTo>
                      <a:lnTo>
                        <a:pt x="356" y="44"/>
                      </a:lnTo>
                      <a:lnTo>
                        <a:pt x="354" y="44"/>
                      </a:lnTo>
                      <a:lnTo>
                        <a:pt x="354" y="46"/>
                      </a:lnTo>
                      <a:lnTo>
                        <a:pt x="356" y="46"/>
                      </a:lnTo>
                      <a:lnTo>
                        <a:pt x="358" y="44"/>
                      </a:lnTo>
                      <a:lnTo>
                        <a:pt x="360" y="44"/>
                      </a:lnTo>
                      <a:lnTo>
                        <a:pt x="360" y="43"/>
                      </a:lnTo>
                      <a:lnTo>
                        <a:pt x="358" y="43"/>
                      </a:lnTo>
                      <a:lnTo>
                        <a:pt x="358" y="41"/>
                      </a:lnTo>
                      <a:lnTo>
                        <a:pt x="360" y="41"/>
                      </a:lnTo>
                      <a:lnTo>
                        <a:pt x="360" y="39"/>
                      </a:lnTo>
                      <a:lnTo>
                        <a:pt x="361" y="41"/>
                      </a:lnTo>
                      <a:lnTo>
                        <a:pt x="360" y="41"/>
                      </a:lnTo>
                      <a:lnTo>
                        <a:pt x="360" y="43"/>
                      </a:lnTo>
                      <a:lnTo>
                        <a:pt x="360" y="41"/>
                      </a:lnTo>
                      <a:lnTo>
                        <a:pt x="360" y="43"/>
                      </a:lnTo>
                      <a:lnTo>
                        <a:pt x="361" y="43"/>
                      </a:lnTo>
                      <a:lnTo>
                        <a:pt x="361" y="44"/>
                      </a:lnTo>
                      <a:lnTo>
                        <a:pt x="361" y="43"/>
                      </a:lnTo>
                      <a:lnTo>
                        <a:pt x="363" y="43"/>
                      </a:lnTo>
                      <a:lnTo>
                        <a:pt x="361" y="43"/>
                      </a:lnTo>
                      <a:lnTo>
                        <a:pt x="360" y="43"/>
                      </a:lnTo>
                      <a:lnTo>
                        <a:pt x="361" y="41"/>
                      </a:lnTo>
                      <a:lnTo>
                        <a:pt x="363" y="41"/>
                      </a:lnTo>
                      <a:lnTo>
                        <a:pt x="363" y="43"/>
                      </a:lnTo>
                      <a:lnTo>
                        <a:pt x="365" y="43"/>
                      </a:lnTo>
                      <a:lnTo>
                        <a:pt x="365" y="41"/>
                      </a:lnTo>
                      <a:lnTo>
                        <a:pt x="363" y="41"/>
                      </a:lnTo>
                      <a:lnTo>
                        <a:pt x="361" y="41"/>
                      </a:lnTo>
                      <a:lnTo>
                        <a:pt x="363" y="41"/>
                      </a:lnTo>
                      <a:lnTo>
                        <a:pt x="363" y="39"/>
                      </a:lnTo>
                      <a:lnTo>
                        <a:pt x="365" y="39"/>
                      </a:lnTo>
                      <a:lnTo>
                        <a:pt x="363" y="39"/>
                      </a:lnTo>
                      <a:lnTo>
                        <a:pt x="365" y="39"/>
                      </a:lnTo>
                      <a:lnTo>
                        <a:pt x="365" y="38"/>
                      </a:lnTo>
                      <a:lnTo>
                        <a:pt x="365" y="39"/>
                      </a:lnTo>
                      <a:lnTo>
                        <a:pt x="365" y="38"/>
                      </a:lnTo>
                      <a:lnTo>
                        <a:pt x="366" y="38"/>
                      </a:lnTo>
                      <a:lnTo>
                        <a:pt x="366" y="39"/>
                      </a:lnTo>
                      <a:lnTo>
                        <a:pt x="368" y="39"/>
                      </a:lnTo>
                      <a:lnTo>
                        <a:pt x="368" y="38"/>
                      </a:lnTo>
                      <a:lnTo>
                        <a:pt x="366" y="38"/>
                      </a:lnTo>
                      <a:lnTo>
                        <a:pt x="366" y="36"/>
                      </a:lnTo>
                      <a:lnTo>
                        <a:pt x="368" y="38"/>
                      </a:lnTo>
                      <a:lnTo>
                        <a:pt x="366" y="36"/>
                      </a:lnTo>
                      <a:lnTo>
                        <a:pt x="368" y="36"/>
                      </a:lnTo>
                      <a:lnTo>
                        <a:pt x="370" y="36"/>
                      </a:lnTo>
                      <a:lnTo>
                        <a:pt x="368" y="36"/>
                      </a:lnTo>
                      <a:lnTo>
                        <a:pt x="368" y="35"/>
                      </a:lnTo>
                      <a:lnTo>
                        <a:pt x="370" y="35"/>
                      </a:lnTo>
                      <a:lnTo>
                        <a:pt x="370" y="36"/>
                      </a:lnTo>
                      <a:lnTo>
                        <a:pt x="370" y="35"/>
                      </a:lnTo>
                      <a:lnTo>
                        <a:pt x="371" y="35"/>
                      </a:lnTo>
                      <a:lnTo>
                        <a:pt x="373" y="36"/>
                      </a:lnTo>
                      <a:lnTo>
                        <a:pt x="371" y="36"/>
                      </a:lnTo>
                      <a:lnTo>
                        <a:pt x="370" y="38"/>
                      </a:lnTo>
                      <a:lnTo>
                        <a:pt x="371" y="39"/>
                      </a:lnTo>
                      <a:lnTo>
                        <a:pt x="371" y="41"/>
                      </a:lnTo>
                      <a:lnTo>
                        <a:pt x="370" y="41"/>
                      </a:lnTo>
                      <a:lnTo>
                        <a:pt x="370" y="39"/>
                      </a:lnTo>
                      <a:lnTo>
                        <a:pt x="370" y="38"/>
                      </a:lnTo>
                      <a:lnTo>
                        <a:pt x="370" y="41"/>
                      </a:lnTo>
                      <a:lnTo>
                        <a:pt x="368" y="41"/>
                      </a:lnTo>
                      <a:lnTo>
                        <a:pt x="366" y="41"/>
                      </a:lnTo>
                      <a:lnTo>
                        <a:pt x="368" y="41"/>
                      </a:lnTo>
                      <a:lnTo>
                        <a:pt x="366" y="41"/>
                      </a:lnTo>
                      <a:lnTo>
                        <a:pt x="366" y="43"/>
                      </a:lnTo>
                      <a:lnTo>
                        <a:pt x="365" y="41"/>
                      </a:lnTo>
                      <a:lnTo>
                        <a:pt x="365" y="43"/>
                      </a:lnTo>
                      <a:lnTo>
                        <a:pt x="366" y="43"/>
                      </a:lnTo>
                      <a:lnTo>
                        <a:pt x="366" y="41"/>
                      </a:lnTo>
                      <a:lnTo>
                        <a:pt x="368" y="43"/>
                      </a:lnTo>
                      <a:lnTo>
                        <a:pt x="366" y="43"/>
                      </a:lnTo>
                      <a:lnTo>
                        <a:pt x="365" y="43"/>
                      </a:lnTo>
                      <a:lnTo>
                        <a:pt x="363" y="44"/>
                      </a:lnTo>
                      <a:lnTo>
                        <a:pt x="365" y="44"/>
                      </a:lnTo>
                      <a:lnTo>
                        <a:pt x="366" y="44"/>
                      </a:lnTo>
                      <a:lnTo>
                        <a:pt x="365" y="44"/>
                      </a:lnTo>
                      <a:lnTo>
                        <a:pt x="366" y="44"/>
                      </a:lnTo>
                      <a:lnTo>
                        <a:pt x="366" y="46"/>
                      </a:lnTo>
                      <a:lnTo>
                        <a:pt x="365" y="46"/>
                      </a:lnTo>
                      <a:lnTo>
                        <a:pt x="363" y="46"/>
                      </a:lnTo>
                      <a:lnTo>
                        <a:pt x="365" y="48"/>
                      </a:lnTo>
                      <a:lnTo>
                        <a:pt x="363" y="49"/>
                      </a:lnTo>
                      <a:lnTo>
                        <a:pt x="365" y="49"/>
                      </a:lnTo>
                      <a:lnTo>
                        <a:pt x="365" y="51"/>
                      </a:lnTo>
                      <a:lnTo>
                        <a:pt x="365" y="53"/>
                      </a:lnTo>
                      <a:lnTo>
                        <a:pt x="363" y="51"/>
                      </a:lnTo>
                      <a:lnTo>
                        <a:pt x="363" y="53"/>
                      </a:lnTo>
                      <a:lnTo>
                        <a:pt x="363" y="51"/>
                      </a:lnTo>
                      <a:lnTo>
                        <a:pt x="361" y="51"/>
                      </a:lnTo>
                      <a:lnTo>
                        <a:pt x="361" y="53"/>
                      </a:lnTo>
                      <a:lnTo>
                        <a:pt x="361" y="51"/>
                      </a:lnTo>
                      <a:lnTo>
                        <a:pt x="363" y="51"/>
                      </a:lnTo>
                      <a:lnTo>
                        <a:pt x="363" y="53"/>
                      </a:lnTo>
                      <a:lnTo>
                        <a:pt x="363" y="54"/>
                      </a:lnTo>
                      <a:lnTo>
                        <a:pt x="365" y="54"/>
                      </a:lnTo>
                      <a:lnTo>
                        <a:pt x="365" y="56"/>
                      </a:lnTo>
                      <a:lnTo>
                        <a:pt x="363" y="56"/>
                      </a:lnTo>
                      <a:lnTo>
                        <a:pt x="361" y="56"/>
                      </a:lnTo>
                      <a:lnTo>
                        <a:pt x="363" y="56"/>
                      </a:lnTo>
                      <a:lnTo>
                        <a:pt x="365" y="56"/>
                      </a:lnTo>
                      <a:lnTo>
                        <a:pt x="365" y="54"/>
                      </a:lnTo>
                      <a:lnTo>
                        <a:pt x="363" y="54"/>
                      </a:lnTo>
                      <a:lnTo>
                        <a:pt x="363" y="53"/>
                      </a:lnTo>
                      <a:lnTo>
                        <a:pt x="365" y="53"/>
                      </a:lnTo>
                      <a:lnTo>
                        <a:pt x="366" y="53"/>
                      </a:lnTo>
                      <a:lnTo>
                        <a:pt x="366" y="51"/>
                      </a:lnTo>
                      <a:lnTo>
                        <a:pt x="368" y="51"/>
                      </a:lnTo>
                      <a:lnTo>
                        <a:pt x="368" y="53"/>
                      </a:lnTo>
                      <a:lnTo>
                        <a:pt x="370" y="53"/>
                      </a:lnTo>
                      <a:lnTo>
                        <a:pt x="370" y="54"/>
                      </a:lnTo>
                      <a:lnTo>
                        <a:pt x="368" y="54"/>
                      </a:lnTo>
                      <a:lnTo>
                        <a:pt x="370" y="54"/>
                      </a:lnTo>
                      <a:lnTo>
                        <a:pt x="371" y="54"/>
                      </a:lnTo>
                      <a:lnTo>
                        <a:pt x="371" y="56"/>
                      </a:lnTo>
                      <a:lnTo>
                        <a:pt x="370" y="56"/>
                      </a:lnTo>
                      <a:lnTo>
                        <a:pt x="371" y="56"/>
                      </a:lnTo>
                      <a:lnTo>
                        <a:pt x="371" y="54"/>
                      </a:lnTo>
                      <a:lnTo>
                        <a:pt x="373" y="54"/>
                      </a:lnTo>
                      <a:lnTo>
                        <a:pt x="373" y="56"/>
                      </a:lnTo>
                      <a:lnTo>
                        <a:pt x="371" y="56"/>
                      </a:lnTo>
                      <a:lnTo>
                        <a:pt x="371" y="57"/>
                      </a:lnTo>
                      <a:lnTo>
                        <a:pt x="373" y="57"/>
                      </a:lnTo>
                      <a:lnTo>
                        <a:pt x="373" y="56"/>
                      </a:lnTo>
                      <a:lnTo>
                        <a:pt x="373" y="57"/>
                      </a:lnTo>
                      <a:lnTo>
                        <a:pt x="371" y="57"/>
                      </a:lnTo>
                      <a:lnTo>
                        <a:pt x="371" y="56"/>
                      </a:lnTo>
                      <a:lnTo>
                        <a:pt x="373" y="56"/>
                      </a:lnTo>
                      <a:lnTo>
                        <a:pt x="373" y="54"/>
                      </a:lnTo>
                      <a:lnTo>
                        <a:pt x="371" y="54"/>
                      </a:lnTo>
                      <a:lnTo>
                        <a:pt x="370" y="54"/>
                      </a:lnTo>
                      <a:lnTo>
                        <a:pt x="370" y="53"/>
                      </a:lnTo>
                      <a:lnTo>
                        <a:pt x="371" y="51"/>
                      </a:lnTo>
                      <a:lnTo>
                        <a:pt x="371" y="49"/>
                      </a:lnTo>
                      <a:lnTo>
                        <a:pt x="371" y="48"/>
                      </a:lnTo>
                      <a:lnTo>
                        <a:pt x="373" y="49"/>
                      </a:lnTo>
                      <a:lnTo>
                        <a:pt x="373" y="51"/>
                      </a:lnTo>
                      <a:lnTo>
                        <a:pt x="375" y="53"/>
                      </a:lnTo>
                      <a:lnTo>
                        <a:pt x="376" y="53"/>
                      </a:lnTo>
                      <a:lnTo>
                        <a:pt x="376" y="54"/>
                      </a:lnTo>
                      <a:lnTo>
                        <a:pt x="375" y="56"/>
                      </a:lnTo>
                      <a:lnTo>
                        <a:pt x="375" y="57"/>
                      </a:lnTo>
                      <a:lnTo>
                        <a:pt x="376" y="57"/>
                      </a:lnTo>
                      <a:lnTo>
                        <a:pt x="375" y="59"/>
                      </a:lnTo>
                      <a:lnTo>
                        <a:pt x="375" y="57"/>
                      </a:lnTo>
                      <a:lnTo>
                        <a:pt x="376" y="57"/>
                      </a:lnTo>
                      <a:lnTo>
                        <a:pt x="376" y="59"/>
                      </a:lnTo>
                      <a:lnTo>
                        <a:pt x="375" y="61"/>
                      </a:lnTo>
                      <a:lnTo>
                        <a:pt x="373" y="61"/>
                      </a:lnTo>
                      <a:lnTo>
                        <a:pt x="375" y="61"/>
                      </a:lnTo>
                      <a:lnTo>
                        <a:pt x="376" y="61"/>
                      </a:lnTo>
                      <a:lnTo>
                        <a:pt x="376" y="62"/>
                      </a:lnTo>
                      <a:lnTo>
                        <a:pt x="375" y="62"/>
                      </a:lnTo>
                      <a:lnTo>
                        <a:pt x="373" y="62"/>
                      </a:lnTo>
                      <a:lnTo>
                        <a:pt x="375" y="62"/>
                      </a:lnTo>
                      <a:lnTo>
                        <a:pt x="376" y="62"/>
                      </a:lnTo>
                      <a:lnTo>
                        <a:pt x="378" y="62"/>
                      </a:lnTo>
                      <a:lnTo>
                        <a:pt x="378" y="64"/>
                      </a:lnTo>
                      <a:lnTo>
                        <a:pt x="376" y="64"/>
                      </a:lnTo>
                      <a:lnTo>
                        <a:pt x="376" y="66"/>
                      </a:lnTo>
                      <a:lnTo>
                        <a:pt x="375" y="66"/>
                      </a:lnTo>
                      <a:lnTo>
                        <a:pt x="376" y="66"/>
                      </a:lnTo>
                      <a:lnTo>
                        <a:pt x="376" y="64"/>
                      </a:lnTo>
                      <a:lnTo>
                        <a:pt x="378" y="64"/>
                      </a:lnTo>
                      <a:lnTo>
                        <a:pt x="378" y="62"/>
                      </a:lnTo>
                      <a:lnTo>
                        <a:pt x="376" y="62"/>
                      </a:lnTo>
                      <a:lnTo>
                        <a:pt x="376" y="61"/>
                      </a:lnTo>
                      <a:lnTo>
                        <a:pt x="378" y="61"/>
                      </a:lnTo>
                      <a:lnTo>
                        <a:pt x="378" y="62"/>
                      </a:lnTo>
                      <a:lnTo>
                        <a:pt x="380" y="62"/>
                      </a:lnTo>
                      <a:lnTo>
                        <a:pt x="381" y="62"/>
                      </a:lnTo>
                      <a:lnTo>
                        <a:pt x="383" y="62"/>
                      </a:lnTo>
                      <a:lnTo>
                        <a:pt x="385" y="62"/>
                      </a:lnTo>
                      <a:lnTo>
                        <a:pt x="385" y="64"/>
                      </a:lnTo>
                      <a:lnTo>
                        <a:pt x="383" y="64"/>
                      </a:lnTo>
                      <a:lnTo>
                        <a:pt x="383" y="66"/>
                      </a:lnTo>
                      <a:lnTo>
                        <a:pt x="381" y="66"/>
                      </a:lnTo>
                      <a:lnTo>
                        <a:pt x="381" y="64"/>
                      </a:lnTo>
                      <a:lnTo>
                        <a:pt x="381" y="66"/>
                      </a:lnTo>
                      <a:lnTo>
                        <a:pt x="380" y="66"/>
                      </a:lnTo>
                      <a:lnTo>
                        <a:pt x="380" y="67"/>
                      </a:lnTo>
                      <a:lnTo>
                        <a:pt x="378" y="69"/>
                      </a:lnTo>
                      <a:lnTo>
                        <a:pt x="376" y="69"/>
                      </a:lnTo>
                      <a:lnTo>
                        <a:pt x="375" y="69"/>
                      </a:lnTo>
                      <a:lnTo>
                        <a:pt x="373" y="71"/>
                      </a:lnTo>
                      <a:lnTo>
                        <a:pt x="373" y="69"/>
                      </a:lnTo>
                      <a:lnTo>
                        <a:pt x="373" y="71"/>
                      </a:lnTo>
                      <a:lnTo>
                        <a:pt x="375" y="71"/>
                      </a:lnTo>
                      <a:lnTo>
                        <a:pt x="373" y="71"/>
                      </a:lnTo>
                      <a:lnTo>
                        <a:pt x="375" y="71"/>
                      </a:lnTo>
                      <a:lnTo>
                        <a:pt x="376" y="69"/>
                      </a:lnTo>
                      <a:lnTo>
                        <a:pt x="378" y="69"/>
                      </a:lnTo>
                      <a:lnTo>
                        <a:pt x="380" y="69"/>
                      </a:lnTo>
                      <a:lnTo>
                        <a:pt x="381" y="67"/>
                      </a:lnTo>
                      <a:lnTo>
                        <a:pt x="383" y="67"/>
                      </a:lnTo>
                      <a:lnTo>
                        <a:pt x="381" y="69"/>
                      </a:lnTo>
                      <a:lnTo>
                        <a:pt x="380" y="71"/>
                      </a:lnTo>
                      <a:lnTo>
                        <a:pt x="381" y="69"/>
                      </a:lnTo>
                      <a:lnTo>
                        <a:pt x="383" y="69"/>
                      </a:lnTo>
                      <a:lnTo>
                        <a:pt x="383" y="71"/>
                      </a:lnTo>
                      <a:lnTo>
                        <a:pt x="385" y="71"/>
                      </a:lnTo>
                      <a:lnTo>
                        <a:pt x="385" y="72"/>
                      </a:lnTo>
                      <a:lnTo>
                        <a:pt x="383" y="72"/>
                      </a:lnTo>
                      <a:lnTo>
                        <a:pt x="385" y="72"/>
                      </a:lnTo>
                      <a:lnTo>
                        <a:pt x="385" y="71"/>
                      </a:lnTo>
                      <a:lnTo>
                        <a:pt x="385" y="69"/>
                      </a:lnTo>
                      <a:lnTo>
                        <a:pt x="387" y="69"/>
                      </a:lnTo>
                      <a:lnTo>
                        <a:pt x="387" y="71"/>
                      </a:lnTo>
                      <a:lnTo>
                        <a:pt x="387" y="69"/>
                      </a:lnTo>
                      <a:lnTo>
                        <a:pt x="388" y="69"/>
                      </a:lnTo>
                      <a:lnTo>
                        <a:pt x="388" y="67"/>
                      </a:lnTo>
                      <a:lnTo>
                        <a:pt x="388" y="66"/>
                      </a:lnTo>
                      <a:lnTo>
                        <a:pt x="390" y="66"/>
                      </a:lnTo>
                      <a:lnTo>
                        <a:pt x="388" y="67"/>
                      </a:lnTo>
                      <a:lnTo>
                        <a:pt x="388" y="69"/>
                      </a:lnTo>
                      <a:lnTo>
                        <a:pt x="390" y="69"/>
                      </a:lnTo>
                      <a:lnTo>
                        <a:pt x="388" y="69"/>
                      </a:lnTo>
                      <a:lnTo>
                        <a:pt x="388" y="67"/>
                      </a:lnTo>
                      <a:lnTo>
                        <a:pt x="390" y="67"/>
                      </a:lnTo>
                      <a:lnTo>
                        <a:pt x="390" y="66"/>
                      </a:lnTo>
                      <a:lnTo>
                        <a:pt x="388" y="66"/>
                      </a:lnTo>
                      <a:lnTo>
                        <a:pt x="388" y="64"/>
                      </a:lnTo>
                      <a:lnTo>
                        <a:pt x="390" y="64"/>
                      </a:lnTo>
                      <a:lnTo>
                        <a:pt x="388" y="64"/>
                      </a:lnTo>
                      <a:lnTo>
                        <a:pt x="388" y="62"/>
                      </a:lnTo>
                      <a:lnTo>
                        <a:pt x="390" y="62"/>
                      </a:lnTo>
                      <a:lnTo>
                        <a:pt x="392" y="62"/>
                      </a:lnTo>
                      <a:lnTo>
                        <a:pt x="393" y="64"/>
                      </a:lnTo>
                      <a:lnTo>
                        <a:pt x="393" y="66"/>
                      </a:lnTo>
                      <a:lnTo>
                        <a:pt x="392" y="66"/>
                      </a:lnTo>
                      <a:lnTo>
                        <a:pt x="390" y="67"/>
                      </a:lnTo>
                      <a:lnTo>
                        <a:pt x="390" y="69"/>
                      </a:lnTo>
                      <a:lnTo>
                        <a:pt x="390" y="71"/>
                      </a:lnTo>
                      <a:lnTo>
                        <a:pt x="392" y="71"/>
                      </a:lnTo>
                      <a:lnTo>
                        <a:pt x="390" y="71"/>
                      </a:lnTo>
                      <a:lnTo>
                        <a:pt x="390" y="72"/>
                      </a:lnTo>
                      <a:lnTo>
                        <a:pt x="392" y="72"/>
                      </a:lnTo>
                      <a:lnTo>
                        <a:pt x="390" y="72"/>
                      </a:lnTo>
                      <a:lnTo>
                        <a:pt x="392" y="72"/>
                      </a:lnTo>
                      <a:lnTo>
                        <a:pt x="393" y="72"/>
                      </a:lnTo>
                      <a:lnTo>
                        <a:pt x="392" y="74"/>
                      </a:lnTo>
                      <a:lnTo>
                        <a:pt x="393" y="72"/>
                      </a:lnTo>
                      <a:lnTo>
                        <a:pt x="393" y="74"/>
                      </a:lnTo>
                      <a:lnTo>
                        <a:pt x="395" y="74"/>
                      </a:lnTo>
                      <a:lnTo>
                        <a:pt x="393" y="74"/>
                      </a:lnTo>
                      <a:lnTo>
                        <a:pt x="393" y="76"/>
                      </a:lnTo>
                      <a:lnTo>
                        <a:pt x="392" y="76"/>
                      </a:lnTo>
                      <a:lnTo>
                        <a:pt x="393" y="76"/>
                      </a:lnTo>
                      <a:lnTo>
                        <a:pt x="393" y="74"/>
                      </a:lnTo>
                      <a:lnTo>
                        <a:pt x="395" y="74"/>
                      </a:lnTo>
                      <a:lnTo>
                        <a:pt x="395" y="76"/>
                      </a:lnTo>
                      <a:lnTo>
                        <a:pt x="397" y="76"/>
                      </a:lnTo>
                      <a:lnTo>
                        <a:pt x="397" y="74"/>
                      </a:lnTo>
                      <a:lnTo>
                        <a:pt x="398" y="74"/>
                      </a:lnTo>
                      <a:lnTo>
                        <a:pt x="398" y="72"/>
                      </a:lnTo>
                      <a:lnTo>
                        <a:pt x="400" y="72"/>
                      </a:lnTo>
                      <a:lnTo>
                        <a:pt x="398" y="72"/>
                      </a:lnTo>
                      <a:lnTo>
                        <a:pt x="400" y="72"/>
                      </a:lnTo>
                      <a:lnTo>
                        <a:pt x="400" y="74"/>
                      </a:lnTo>
                      <a:lnTo>
                        <a:pt x="398" y="76"/>
                      </a:lnTo>
                      <a:lnTo>
                        <a:pt x="398" y="77"/>
                      </a:lnTo>
                      <a:lnTo>
                        <a:pt x="397" y="77"/>
                      </a:lnTo>
                      <a:lnTo>
                        <a:pt x="395" y="77"/>
                      </a:lnTo>
                      <a:lnTo>
                        <a:pt x="395" y="79"/>
                      </a:lnTo>
                      <a:lnTo>
                        <a:pt x="393" y="79"/>
                      </a:lnTo>
                      <a:lnTo>
                        <a:pt x="393" y="80"/>
                      </a:lnTo>
                      <a:lnTo>
                        <a:pt x="392" y="80"/>
                      </a:lnTo>
                      <a:lnTo>
                        <a:pt x="393" y="80"/>
                      </a:lnTo>
                      <a:lnTo>
                        <a:pt x="393" y="79"/>
                      </a:lnTo>
                      <a:lnTo>
                        <a:pt x="395" y="79"/>
                      </a:lnTo>
                      <a:lnTo>
                        <a:pt x="397" y="79"/>
                      </a:lnTo>
                      <a:lnTo>
                        <a:pt x="397" y="80"/>
                      </a:lnTo>
                      <a:lnTo>
                        <a:pt x="397" y="79"/>
                      </a:lnTo>
                      <a:lnTo>
                        <a:pt x="398" y="79"/>
                      </a:lnTo>
                      <a:lnTo>
                        <a:pt x="400" y="79"/>
                      </a:lnTo>
                      <a:lnTo>
                        <a:pt x="398" y="80"/>
                      </a:lnTo>
                      <a:lnTo>
                        <a:pt x="400" y="79"/>
                      </a:lnTo>
                      <a:lnTo>
                        <a:pt x="400" y="77"/>
                      </a:lnTo>
                      <a:lnTo>
                        <a:pt x="400" y="79"/>
                      </a:lnTo>
                      <a:lnTo>
                        <a:pt x="400" y="80"/>
                      </a:lnTo>
                      <a:lnTo>
                        <a:pt x="402" y="80"/>
                      </a:lnTo>
                      <a:lnTo>
                        <a:pt x="400" y="80"/>
                      </a:lnTo>
                      <a:lnTo>
                        <a:pt x="400" y="79"/>
                      </a:lnTo>
                      <a:lnTo>
                        <a:pt x="400" y="77"/>
                      </a:lnTo>
                      <a:lnTo>
                        <a:pt x="402" y="77"/>
                      </a:lnTo>
                      <a:lnTo>
                        <a:pt x="402" y="79"/>
                      </a:lnTo>
                      <a:lnTo>
                        <a:pt x="403" y="80"/>
                      </a:lnTo>
                      <a:lnTo>
                        <a:pt x="403" y="82"/>
                      </a:lnTo>
                      <a:lnTo>
                        <a:pt x="403" y="84"/>
                      </a:lnTo>
                      <a:lnTo>
                        <a:pt x="403" y="85"/>
                      </a:lnTo>
                      <a:lnTo>
                        <a:pt x="403" y="84"/>
                      </a:lnTo>
                      <a:lnTo>
                        <a:pt x="402" y="84"/>
                      </a:lnTo>
                      <a:lnTo>
                        <a:pt x="402" y="85"/>
                      </a:lnTo>
                      <a:lnTo>
                        <a:pt x="402" y="84"/>
                      </a:lnTo>
                      <a:lnTo>
                        <a:pt x="403" y="85"/>
                      </a:lnTo>
                      <a:lnTo>
                        <a:pt x="403" y="87"/>
                      </a:lnTo>
                      <a:lnTo>
                        <a:pt x="405" y="87"/>
                      </a:lnTo>
                      <a:lnTo>
                        <a:pt x="403" y="87"/>
                      </a:lnTo>
                      <a:lnTo>
                        <a:pt x="405" y="87"/>
                      </a:lnTo>
                      <a:lnTo>
                        <a:pt x="403" y="89"/>
                      </a:lnTo>
                      <a:lnTo>
                        <a:pt x="403" y="90"/>
                      </a:lnTo>
                      <a:lnTo>
                        <a:pt x="405" y="90"/>
                      </a:lnTo>
                      <a:lnTo>
                        <a:pt x="407" y="90"/>
                      </a:lnTo>
                      <a:lnTo>
                        <a:pt x="405" y="90"/>
                      </a:lnTo>
                      <a:lnTo>
                        <a:pt x="405" y="92"/>
                      </a:lnTo>
                      <a:lnTo>
                        <a:pt x="403" y="92"/>
                      </a:lnTo>
                      <a:lnTo>
                        <a:pt x="403" y="94"/>
                      </a:lnTo>
                      <a:lnTo>
                        <a:pt x="403" y="97"/>
                      </a:lnTo>
                      <a:lnTo>
                        <a:pt x="403" y="102"/>
                      </a:lnTo>
                      <a:lnTo>
                        <a:pt x="405" y="102"/>
                      </a:lnTo>
                      <a:lnTo>
                        <a:pt x="407" y="102"/>
                      </a:lnTo>
                      <a:lnTo>
                        <a:pt x="408" y="103"/>
                      </a:lnTo>
                      <a:lnTo>
                        <a:pt x="410" y="105"/>
                      </a:lnTo>
                      <a:lnTo>
                        <a:pt x="408" y="105"/>
                      </a:lnTo>
                      <a:lnTo>
                        <a:pt x="408" y="107"/>
                      </a:lnTo>
                      <a:lnTo>
                        <a:pt x="408" y="105"/>
                      </a:lnTo>
                      <a:lnTo>
                        <a:pt x="410" y="105"/>
                      </a:lnTo>
                      <a:lnTo>
                        <a:pt x="412" y="107"/>
                      </a:lnTo>
                      <a:lnTo>
                        <a:pt x="412" y="108"/>
                      </a:lnTo>
                      <a:lnTo>
                        <a:pt x="412" y="110"/>
                      </a:lnTo>
                      <a:lnTo>
                        <a:pt x="410" y="110"/>
                      </a:lnTo>
                      <a:lnTo>
                        <a:pt x="410" y="108"/>
                      </a:lnTo>
                      <a:lnTo>
                        <a:pt x="410" y="110"/>
                      </a:lnTo>
                      <a:lnTo>
                        <a:pt x="412" y="110"/>
                      </a:lnTo>
                      <a:lnTo>
                        <a:pt x="412" y="108"/>
                      </a:lnTo>
                      <a:lnTo>
                        <a:pt x="414" y="108"/>
                      </a:lnTo>
                      <a:lnTo>
                        <a:pt x="414" y="110"/>
                      </a:lnTo>
                      <a:lnTo>
                        <a:pt x="414" y="112"/>
                      </a:lnTo>
                      <a:lnTo>
                        <a:pt x="414" y="113"/>
                      </a:lnTo>
                      <a:lnTo>
                        <a:pt x="414" y="115"/>
                      </a:lnTo>
                      <a:lnTo>
                        <a:pt x="414" y="113"/>
                      </a:lnTo>
                      <a:lnTo>
                        <a:pt x="415" y="115"/>
                      </a:lnTo>
                      <a:lnTo>
                        <a:pt x="415" y="117"/>
                      </a:lnTo>
                      <a:lnTo>
                        <a:pt x="417" y="118"/>
                      </a:lnTo>
                      <a:lnTo>
                        <a:pt x="417" y="120"/>
                      </a:lnTo>
                      <a:lnTo>
                        <a:pt x="415" y="120"/>
                      </a:lnTo>
                      <a:lnTo>
                        <a:pt x="415" y="122"/>
                      </a:lnTo>
                      <a:lnTo>
                        <a:pt x="414" y="122"/>
                      </a:lnTo>
                      <a:lnTo>
                        <a:pt x="412" y="122"/>
                      </a:lnTo>
                      <a:lnTo>
                        <a:pt x="414" y="122"/>
                      </a:lnTo>
                      <a:lnTo>
                        <a:pt x="415" y="122"/>
                      </a:lnTo>
                      <a:lnTo>
                        <a:pt x="415" y="123"/>
                      </a:lnTo>
                      <a:lnTo>
                        <a:pt x="415" y="125"/>
                      </a:lnTo>
                      <a:lnTo>
                        <a:pt x="414" y="125"/>
                      </a:lnTo>
                      <a:lnTo>
                        <a:pt x="414" y="126"/>
                      </a:lnTo>
                      <a:lnTo>
                        <a:pt x="412" y="126"/>
                      </a:lnTo>
                      <a:lnTo>
                        <a:pt x="410" y="126"/>
                      </a:lnTo>
                      <a:lnTo>
                        <a:pt x="415" y="131"/>
                      </a:lnTo>
                      <a:lnTo>
                        <a:pt x="419" y="135"/>
                      </a:lnTo>
                      <a:lnTo>
                        <a:pt x="420" y="135"/>
                      </a:lnTo>
                      <a:lnTo>
                        <a:pt x="422" y="133"/>
                      </a:lnTo>
                      <a:lnTo>
                        <a:pt x="424" y="133"/>
                      </a:lnTo>
                      <a:lnTo>
                        <a:pt x="425" y="133"/>
                      </a:lnTo>
                      <a:lnTo>
                        <a:pt x="427" y="133"/>
                      </a:lnTo>
                      <a:lnTo>
                        <a:pt x="429" y="133"/>
                      </a:lnTo>
                      <a:lnTo>
                        <a:pt x="430" y="131"/>
                      </a:lnTo>
                      <a:lnTo>
                        <a:pt x="432" y="131"/>
                      </a:lnTo>
                      <a:lnTo>
                        <a:pt x="434" y="131"/>
                      </a:lnTo>
                      <a:lnTo>
                        <a:pt x="434" y="130"/>
                      </a:lnTo>
                      <a:lnTo>
                        <a:pt x="436" y="130"/>
                      </a:lnTo>
                      <a:lnTo>
                        <a:pt x="437" y="130"/>
                      </a:lnTo>
                      <a:lnTo>
                        <a:pt x="437" y="128"/>
                      </a:lnTo>
                      <a:lnTo>
                        <a:pt x="439" y="126"/>
                      </a:lnTo>
                      <a:lnTo>
                        <a:pt x="439" y="128"/>
                      </a:lnTo>
                      <a:lnTo>
                        <a:pt x="441" y="128"/>
                      </a:lnTo>
                      <a:lnTo>
                        <a:pt x="439" y="128"/>
                      </a:lnTo>
                      <a:lnTo>
                        <a:pt x="441" y="128"/>
                      </a:lnTo>
                      <a:lnTo>
                        <a:pt x="441" y="126"/>
                      </a:lnTo>
                      <a:lnTo>
                        <a:pt x="439" y="126"/>
                      </a:lnTo>
                      <a:lnTo>
                        <a:pt x="441" y="126"/>
                      </a:lnTo>
                      <a:lnTo>
                        <a:pt x="442" y="126"/>
                      </a:lnTo>
                      <a:lnTo>
                        <a:pt x="441" y="126"/>
                      </a:lnTo>
                      <a:lnTo>
                        <a:pt x="442" y="128"/>
                      </a:lnTo>
                      <a:lnTo>
                        <a:pt x="442" y="126"/>
                      </a:lnTo>
                      <a:lnTo>
                        <a:pt x="442" y="128"/>
                      </a:lnTo>
                      <a:lnTo>
                        <a:pt x="442" y="126"/>
                      </a:lnTo>
                      <a:lnTo>
                        <a:pt x="441" y="126"/>
                      </a:lnTo>
                      <a:lnTo>
                        <a:pt x="442" y="126"/>
                      </a:lnTo>
                      <a:lnTo>
                        <a:pt x="444" y="126"/>
                      </a:lnTo>
                      <a:lnTo>
                        <a:pt x="446" y="126"/>
                      </a:lnTo>
                      <a:lnTo>
                        <a:pt x="447" y="126"/>
                      </a:lnTo>
                      <a:lnTo>
                        <a:pt x="447" y="125"/>
                      </a:lnTo>
                      <a:lnTo>
                        <a:pt x="449" y="125"/>
                      </a:lnTo>
                      <a:lnTo>
                        <a:pt x="449" y="126"/>
                      </a:lnTo>
                      <a:lnTo>
                        <a:pt x="447" y="126"/>
                      </a:lnTo>
                      <a:lnTo>
                        <a:pt x="447" y="128"/>
                      </a:lnTo>
                      <a:lnTo>
                        <a:pt x="449" y="130"/>
                      </a:lnTo>
                      <a:lnTo>
                        <a:pt x="447" y="130"/>
                      </a:lnTo>
                      <a:lnTo>
                        <a:pt x="446" y="130"/>
                      </a:lnTo>
                      <a:lnTo>
                        <a:pt x="446" y="128"/>
                      </a:lnTo>
                      <a:lnTo>
                        <a:pt x="446" y="130"/>
                      </a:lnTo>
                      <a:lnTo>
                        <a:pt x="444" y="130"/>
                      </a:lnTo>
                      <a:lnTo>
                        <a:pt x="444" y="128"/>
                      </a:lnTo>
                      <a:lnTo>
                        <a:pt x="444" y="130"/>
                      </a:lnTo>
                      <a:lnTo>
                        <a:pt x="444" y="128"/>
                      </a:lnTo>
                      <a:lnTo>
                        <a:pt x="444" y="130"/>
                      </a:lnTo>
                      <a:lnTo>
                        <a:pt x="442" y="130"/>
                      </a:lnTo>
                      <a:lnTo>
                        <a:pt x="441" y="130"/>
                      </a:lnTo>
                      <a:lnTo>
                        <a:pt x="441" y="131"/>
                      </a:lnTo>
                      <a:lnTo>
                        <a:pt x="439" y="131"/>
                      </a:lnTo>
                      <a:lnTo>
                        <a:pt x="441" y="131"/>
                      </a:lnTo>
                      <a:lnTo>
                        <a:pt x="442" y="131"/>
                      </a:lnTo>
                      <a:lnTo>
                        <a:pt x="444" y="131"/>
                      </a:lnTo>
                      <a:lnTo>
                        <a:pt x="442" y="131"/>
                      </a:lnTo>
                      <a:lnTo>
                        <a:pt x="444" y="131"/>
                      </a:lnTo>
                      <a:lnTo>
                        <a:pt x="444" y="133"/>
                      </a:lnTo>
                      <a:lnTo>
                        <a:pt x="444" y="131"/>
                      </a:lnTo>
                      <a:lnTo>
                        <a:pt x="459" y="131"/>
                      </a:lnTo>
                      <a:lnTo>
                        <a:pt x="459" y="130"/>
                      </a:lnTo>
                      <a:lnTo>
                        <a:pt x="461" y="128"/>
                      </a:lnTo>
                      <a:lnTo>
                        <a:pt x="463" y="126"/>
                      </a:lnTo>
                      <a:lnTo>
                        <a:pt x="464" y="125"/>
                      </a:lnTo>
                      <a:lnTo>
                        <a:pt x="464" y="123"/>
                      </a:lnTo>
                      <a:lnTo>
                        <a:pt x="466" y="123"/>
                      </a:lnTo>
                      <a:lnTo>
                        <a:pt x="466" y="122"/>
                      </a:lnTo>
                      <a:lnTo>
                        <a:pt x="468" y="122"/>
                      </a:lnTo>
                      <a:lnTo>
                        <a:pt x="469" y="120"/>
                      </a:lnTo>
                      <a:lnTo>
                        <a:pt x="471" y="120"/>
                      </a:lnTo>
                      <a:lnTo>
                        <a:pt x="471" y="118"/>
                      </a:lnTo>
                      <a:lnTo>
                        <a:pt x="473" y="117"/>
                      </a:lnTo>
                      <a:lnTo>
                        <a:pt x="473" y="115"/>
                      </a:lnTo>
                      <a:lnTo>
                        <a:pt x="473" y="113"/>
                      </a:lnTo>
                      <a:lnTo>
                        <a:pt x="474" y="112"/>
                      </a:lnTo>
                      <a:lnTo>
                        <a:pt x="476" y="110"/>
                      </a:lnTo>
                      <a:lnTo>
                        <a:pt x="478" y="108"/>
                      </a:lnTo>
                      <a:lnTo>
                        <a:pt x="479" y="108"/>
                      </a:lnTo>
                      <a:lnTo>
                        <a:pt x="481" y="108"/>
                      </a:lnTo>
                      <a:lnTo>
                        <a:pt x="483" y="108"/>
                      </a:lnTo>
                      <a:lnTo>
                        <a:pt x="484" y="108"/>
                      </a:lnTo>
                      <a:lnTo>
                        <a:pt x="486" y="108"/>
                      </a:lnTo>
                      <a:lnTo>
                        <a:pt x="488" y="108"/>
                      </a:lnTo>
                      <a:lnTo>
                        <a:pt x="490" y="108"/>
                      </a:lnTo>
                      <a:lnTo>
                        <a:pt x="491" y="108"/>
                      </a:lnTo>
                      <a:lnTo>
                        <a:pt x="491" y="110"/>
                      </a:lnTo>
                      <a:lnTo>
                        <a:pt x="493" y="112"/>
                      </a:lnTo>
                      <a:lnTo>
                        <a:pt x="495" y="113"/>
                      </a:lnTo>
                      <a:lnTo>
                        <a:pt x="495" y="115"/>
                      </a:lnTo>
                      <a:lnTo>
                        <a:pt x="496" y="117"/>
                      </a:lnTo>
                      <a:lnTo>
                        <a:pt x="498" y="118"/>
                      </a:lnTo>
                      <a:lnTo>
                        <a:pt x="498" y="120"/>
                      </a:lnTo>
                      <a:lnTo>
                        <a:pt x="498" y="122"/>
                      </a:lnTo>
                      <a:lnTo>
                        <a:pt x="500" y="122"/>
                      </a:lnTo>
                      <a:lnTo>
                        <a:pt x="501" y="122"/>
                      </a:lnTo>
                      <a:lnTo>
                        <a:pt x="501" y="120"/>
                      </a:lnTo>
                      <a:lnTo>
                        <a:pt x="503" y="120"/>
                      </a:lnTo>
                      <a:lnTo>
                        <a:pt x="505" y="120"/>
                      </a:lnTo>
                      <a:lnTo>
                        <a:pt x="505" y="122"/>
                      </a:lnTo>
                      <a:lnTo>
                        <a:pt x="503" y="122"/>
                      </a:lnTo>
                      <a:lnTo>
                        <a:pt x="505" y="122"/>
                      </a:lnTo>
                      <a:lnTo>
                        <a:pt x="505" y="120"/>
                      </a:lnTo>
                      <a:lnTo>
                        <a:pt x="503" y="120"/>
                      </a:lnTo>
                      <a:lnTo>
                        <a:pt x="505" y="120"/>
                      </a:lnTo>
                      <a:lnTo>
                        <a:pt x="506" y="120"/>
                      </a:lnTo>
                      <a:lnTo>
                        <a:pt x="506" y="118"/>
                      </a:lnTo>
                      <a:lnTo>
                        <a:pt x="506" y="120"/>
                      </a:lnTo>
                      <a:lnTo>
                        <a:pt x="508" y="120"/>
                      </a:lnTo>
                      <a:lnTo>
                        <a:pt x="508" y="118"/>
                      </a:lnTo>
                      <a:lnTo>
                        <a:pt x="510" y="118"/>
                      </a:lnTo>
                      <a:lnTo>
                        <a:pt x="508" y="120"/>
                      </a:lnTo>
                      <a:lnTo>
                        <a:pt x="506" y="122"/>
                      </a:lnTo>
                      <a:lnTo>
                        <a:pt x="508" y="122"/>
                      </a:lnTo>
                      <a:lnTo>
                        <a:pt x="508" y="120"/>
                      </a:lnTo>
                      <a:lnTo>
                        <a:pt x="510" y="122"/>
                      </a:lnTo>
                      <a:lnTo>
                        <a:pt x="512" y="122"/>
                      </a:lnTo>
                      <a:lnTo>
                        <a:pt x="512" y="120"/>
                      </a:lnTo>
                      <a:lnTo>
                        <a:pt x="513" y="120"/>
                      </a:lnTo>
                      <a:lnTo>
                        <a:pt x="513" y="122"/>
                      </a:lnTo>
                      <a:lnTo>
                        <a:pt x="513" y="120"/>
                      </a:lnTo>
                      <a:lnTo>
                        <a:pt x="515" y="120"/>
                      </a:lnTo>
                      <a:lnTo>
                        <a:pt x="515" y="122"/>
                      </a:lnTo>
                      <a:lnTo>
                        <a:pt x="515" y="120"/>
                      </a:lnTo>
                      <a:lnTo>
                        <a:pt x="513" y="120"/>
                      </a:lnTo>
                      <a:lnTo>
                        <a:pt x="512" y="120"/>
                      </a:lnTo>
                      <a:lnTo>
                        <a:pt x="510" y="120"/>
                      </a:lnTo>
                      <a:lnTo>
                        <a:pt x="510" y="118"/>
                      </a:lnTo>
                      <a:lnTo>
                        <a:pt x="510" y="120"/>
                      </a:lnTo>
                      <a:lnTo>
                        <a:pt x="512" y="120"/>
                      </a:lnTo>
                      <a:lnTo>
                        <a:pt x="513" y="120"/>
                      </a:lnTo>
                      <a:lnTo>
                        <a:pt x="515" y="120"/>
                      </a:lnTo>
                      <a:lnTo>
                        <a:pt x="518" y="120"/>
                      </a:lnTo>
                      <a:lnTo>
                        <a:pt x="520" y="122"/>
                      </a:lnTo>
                      <a:lnTo>
                        <a:pt x="523" y="122"/>
                      </a:lnTo>
                      <a:lnTo>
                        <a:pt x="525" y="123"/>
                      </a:lnTo>
                      <a:lnTo>
                        <a:pt x="527" y="123"/>
                      </a:lnTo>
                      <a:lnTo>
                        <a:pt x="532" y="125"/>
                      </a:lnTo>
                      <a:lnTo>
                        <a:pt x="533" y="126"/>
                      </a:lnTo>
                      <a:lnTo>
                        <a:pt x="535" y="126"/>
                      </a:lnTo>
                      <a:lnTo>
                        <a:pt x="537" y="128"/>
                      </a:lnTo>
                      <a:lnTo>
                        <a:pt x="539" y="128"/>
                      </a:lnTo>
                      <a:lnTo>
                        <a:pt x="540" y="130"/>
                      </a:lnTo>
                      <a:lnTo>
                        <a:pt x="544" y="130"/>
                      </a:lnTo>
                      <a:lnTo>
                        <a:pt x="545" y="131"/>
                      </a:lnTo>
                      <a:lnTo>
                        <a:pt x="547" y="131"/>
                      </a:lnTo>
                      <a:lnTo>
                        <a:pt x="549" y="133"/>
                      </a:lnTo>
                      <a:lnTo>
                        <a:pt x="550" y="133"/>
                      </a:lnTo>
                      <a:lnTo>
                        <a:pt x="552" y="135"/>
                      </a:lnTo>
                      <a:lnTo>
                        <a:pt x="555" y="135"/>
                      </a:lnTo>
                      <a:lnTo>
                        <a:pt x="555" y="136"/>
                      </a:lnTo>
                      <a:lnTo>
                        <a:pt x="557" y="136"/>
                      </a:lnTo>
                      <a:lnTo>
                        <a:pt x="560" y="138"/>
                      </a:lnTo>
                      <a:lnTo>
                        <a:pt x="564" y="140"/>
                      </a:lnTo>
                      <a:lnTo>
                        <a:pt x="566" y="140"/>
                      </a:lnTo>
                      <a:lnTo>
                        <a:pt x="567" y="140"/>
                      </a:lnTo>
                      <a:lnTo>
                        <a:pt x="567" y="141"/>
                      </a:lnTo>
                      <a:lnTo>
                        <a:pt x="569" y="141"/>
                      </a:lnTo>
                      <a:lnTo>
                        <a:pt x="569" y="140"/>
                      </a:lnTo>
                      <a:lnTo>
                        <a:pt x="567" y="140"/>
                      </a:lnTo>
                      <a:lnTo>
                        <a:pt x="569" y="140"/>
                      </a:lnTo>
                      <a:lnTo>
                        <a:pt x="569" y="138"/>
                      </a:lnTo>
                      <a:lnTo>
                        <a:pt x="569" y="140"/>
                      </a:lnTo>
                      <a:lnTo>
                        <a:pt x="569" y="141"/>
                      </a:lnTo>
                      <a:lnTo>
                        <a:pt x="571" y="141"/>
                      </a:lnTo>
                      <a:lnTo>
                        <a:pt x="571" y="143"/>
                      </a:lnTo>
                      <a:lnTo>
                        <a:pt x="572" y="143"/>
                      </a:lnTo>
                      <a:lnTo>
                        <a:pt x="574" y="143"/>
                      </a:lnTo>
                      <a:lnTo>
                        <a:pt x="574" y="145"/>
                      </a:lnTo>
                      <a:lnTo>
                        <a:pt x="574" y="146"/>
                      </a:lnTo>
                      <a:lnTo>
                        <a:pt x="572" y="148"/>
                      </a:lnTo>
                      <a:lnTo>
                        <a:pt x="574" y="148"/>
                      </a:lnTo>
                      <a:lnTo>
                        <a:pt x="574" y="146"/>
                      </a:lnTo>
                      <a:lnTo>
                        <a:pt x="574" y="145"/>
                      </a:lnTo>
                      <a:lnTo>
                        <a:pt x="574" y="143"/>
                      </a:lnTo>
                      <a:lnTo>
                        <a:pt x="574" y="141"/>
                      </a:lnTo>
                      <a:lnTo>
                        <a:pt x="572" y="141"/>
                      </a:lnTo>
                      <a:lnTo>
                        <a:pt x="571" y="141"/>
                      </a:lnTo>
                      <a:lnTo>
                        <a:pt x="572" y="141"/>
                      </a:lnTo>
                      <a:lnTo>
                        <a:pt x="572" y="140"/>
                      </a:lnTo>
                      <a:lnTo>
                        <a:pt x="571" y="140"/>
                      </a:lnTo>
                      <a:lnTo>
                        <a:pt x="569" y="140"/>
                      </a:lnTo>
                      <a:lnTo>
                        <a:pt x="571" y="140"/>
                      </a:lnTo>
                      <a:lnTo>
                        <a:pt x="572" y="140"/>
                      </a:lnTo>
                      <a:lnTo>
                        <a:pt x="576" y="143"/>
                      </a:lnTo>
                      <a:lnTo>
                        <a:pt x="576" y="145"/>
                      </a:lnTo>
                      <a:lnTo>
                        <a:pt x="577" y="146"/>
                      </a:lnTo>
                      <a:lnTo>
                        <a:pt x="579" y="146"/>
                      </a:lnTo>
                      <a:lnTo>
                        <a:pt x="581" y="148"/>
                      </a:lnTo>
                      <a:lnTo>
                        <a:pt x="582" y="148"/>
                      </a:lnTo>
                      <a:lnTo>
                        <a:pt x="582" y="149"/>
                      </a:lnTo>
                      <a:lnTo>
                        <a:pt x="584" y="149"/>
                      </a:lnTo>
                      <a:lnTo>
                        <a:pt x="586" y="151"/>
                      </a:lnTo>
                      <a:lnTo>
                        <a:pt x="588" y="151"/>
                      </a:lnTo>
                      <a:lnTo>
                        <a:pt x="589" y="151"/>
                      </a:lnTo>
                      <a:lnTo>
                        <a:pt x="591" y="151"/>
                      </a:lnTo>
                      <a:lnTo>
                        <a:pt x="593" y="151"/>
                      </a:lnTo>
                      <a:lnTo>
                        <a:pt x="593" y="153"/>
                      </a:lnTo>
                      <a:lnTo>
                        <a:pt x="594" y="154"/>
                      </a:lnTo>
                      <a:lnTo>
                        <a:pt x="594" y="153"/>
                      </a:lnTo>
                      <a:lnTo>
                        <a:pt x="596" y="153"/>
                      </a:lnTo>
                      <a:lnTo>
                        <a:pt x="598" y="153"/>
                      </a:lnTo>
                      <a:lnTo>
                        <a:pt x="598" y="154"/>
                      </a:lnTo>
                      <a:lnTo>
                        <a:pt x="599" y="154"/>
                      </a:lnTo>
                      <a:lnTo>
                        <a:pt x="603" y="154"/>
                      </a:lnTo>
                      <a:lnTo>
                        <a:pt x="604" y="154"/>
                      </a:lnTo>
                      <a:lnTo>
                        <a:pt x="606" y="154"/>
                      </a:lnTo>
                      <a:lnTo>
                        <a:pt x="606" y="156"/>
                      </a:lnTo>
                      <a:lnTo>
                        <a:pt x="604" y="156"/>
                      </a:lnTo>
                      <a:lnTo>
                        <a:pt x="604" y="154"/>
                      </a:lnTo>
                      <a:lnTo>
                        <a:pt x="604" y="156"/>
                      </a:lnTo>
                      <a:lnTo>
                        <a:pt x="606" y="156"/>
                      </a:lnTo>
                      <a:lnTo>
                        <a:pt x="608" y="158"/>
                      </a:lnTo>
                      <a:lnTo>
                        <a:pt x="609" y="158"/>
                      </a:lnTo>
                      <a:lnTo>
                        <a:pt x="613" y="158"/>
                      </a:lnTo>
                      <a:lnTo>
                        <a:pt x="615" y="158"/>
                      </a:lnTo>
                      <a:lnTo>
                        <a:pt x="615" y="159"/>
                      </a:lnTo>
                      <a:lnTo>
                        <a:pt x="613" y="159"/>
                      </a:lnTo>
                      <a:lnTo>
                        <a:pt x="615" y="159"/>
                      </a:lnTo>
                      <a:lnTo>
                        <a:pt x="615" y="161"/>
                      </a:lnTo>
                      <a:lnTo>
                        <a:pt x="615" y="159"/>
                      </a:lnTo>
                      <a:lnTo>
                        <a:pt x="616" y="159"/>
                      </a:lnTo>
                      <a:lnTo>
                        <a:pt x="616" y="161"/>
                      </a:lnTo>
                      <a:lnTo>
                        <a:pt x="616" y="163"/>
                      </a:lnTo>
                      <a:lnTo>
                        <a:pt x="615" y="163"/>
                      </a:lnTo>
                      <a:lnTo>
                        <a:pt x="616" y="163"/>
                      </a:lnTo>
                      <a:lnTo>
                        <a:pt x="618" y="163"/>
                      </a:lnTo>
                      <a:lnTo>
                        <a:pt x="618" y="164"/>
                      </a:lnTo>
                      <a:lnTo>
                        <a:pt x="618" y="163"/>
                      </a:lnTo>
                      <a:lnTo>
                        <a:pt x="620" y="163"/>
                      </a:lnTo>
                      <a:lnTo>
                        <a:pt x="620" y="164"/>
                      </a:lnTo>
                      <a:lnTo>
                        <a:pt x="620" y="163"/>
                      </a:lnTo>
                      <a:lnTo>
                        <a:pt x="620" y="159"/>
                      </a:lnTo>
                      <a:lnTo>
                        <a:pt x="621" y="158"/>
                      </a:lnTo>
                      <a:lnTo>
                        <a:pt x="620" y="158"/>
                      </a:lnTo>
                      <a:lnTo>
                        <a:pt x="618" y="158"/>
                      </a:lnTo>
                      <a:lnTo>
                        <a:pt x="618" y="156"/>
                      </a:lnTo>
                      <a:lnTo>
                        <a:pt x="616" y="156"/>
                      </a:lnTo>
                      <a:lnTo>
                        <a:pt x="615" y="156"/>
                      </a:lnTo>
                      <a:lnTo>
                        <a:pt x="615" y="154"/>
                      </a:lnTo>
                      <a:lnTo>
                        <a:pt x="616" y="153"/>
                      </a:lnTo>
                      <a:lnTo>
                        <a:pt x="618" y="151"/>
                      </a:lnTo>
                      <a:lnTo>
                        <a:pt x="616" y="151"/>
                      </a:lnTo>
                      <a:lnTo>
                        <a:pt x="616" y="153"/>
                      </a:lnTo>
                      <a:lnTo>
                        <a:pt x="616" y="151"/>
                      </a:lnTo>
                      <a:lnTo>
                        <a:pt x="618" y="151"/>
                      </a:lnTo>
                      <a:lnTo>
                        <a:pt x="618" y="153"/>
                      </a:lnTo>
                      <a:lnTo>
                        <a:pt x="620" y="154"/>
                      </a:lnTo>
                      <a:lnTo>
                        <a:pt x="620" y="153"/>
                      </a:lnTo>
                      <a:lnTo>
                        <a:pt x="620" y="151"/>
                      </a:lnTo>
                      <a:lnTo>
                        <a:pt x="623" y="153"/>
                      </a:lnTo>
                      <a:lnTo>
                        <a:pt x="625" y="153"/>
                      </a:lnTo>
                      <a:lnTo>
                        <a:pt x="626" y="153"/>
                      </a:lnTo>
                      <a:lnTo>
                        <a:pt x="630" y="153"/>
                      </a:lnTo>
                      <a:lnTo>
                        <a:pt x="631" y="151"/>
                      </a:lnTo>
                      <a:lnTo>
                        <a:pt x="633" y="151"/>
                      </a:lnTo>
                      <a:lnTo>
                        <a:pt x="635" y="151"/>
                      </a:lnTo>
                      <a:lnTo>
                        <a:pt x="635" y="153"/>
                      </a:lnTo>
                      <a:lnTo>
                        <a:pt x="635" y="154"/>
                      </a:lnTo>
                      <a:lnTo>
                        <a:pt x="636" y="156"/>
                      </a:lnTo>
                      <a:lnTo>
                        <a:pt x="636" y="158"/>
                      </a:lnTo>
                      <a:lnTo>
                        <a:pt x="638" y="158"/>
                      </a:lnTo>
                      <a:lnTo>
                        <a:pt x="638" y="156"/>
                      </a:lnTo>
                      <a:lnTo>
                        <a:pt x="638" y="154"/>
                      </a:lnTo>
                      <a:lnTo>
                        <a:pt x="640" y="154"/>
                      </a:lnTo>
                      <a:lnTo>
                        <a:pt x="642" y="154"/>
                      </a:lnTo>
                      <a:lnTo>
                        <a:pt x="643" y="154"/>
                      </a:lnTo>
                      <a:lnTo>
                        <a:pt x="645" y="154"/>
                      </a:lnTo>
                      <a:lnTo>
                        <a:pt x="647" y="154"/>
                      </a:lnTo>
                      <a:lnTo>
                        <a:pt x="648" y="154"/>
                      </a:lnTo>
                      <a:lnTo>
                        <a:pt x="650" y="154"/>
                      </a:lnTo>
                      <a:lnTo>
                        <a:pt x="653" y="154"/>
                      </a:lnTo>
                      <a:lnTo>
                        <a:pt x="655" y="154"/>
                      </a:lnTo>
                      <a:lnTo>
                        <a:pt x="657" y="154"/>
                      </a:lnTo>
                      <a:lnTo>
                        <a:pt x="657" y="156"/>
                      </a:lnTo>
                      <a:lnTo>
                        <a:pt x="657" y="158"/>
                      </a:lnTo>
                      <a:lnTo>
                        <a:pt x="653" y="159"/>
                      </a:lnTo>
                      <a:lnTo>
                        <a:pt x="653" y="161"/>
                      </a:lnTo>
                      <a:lnTo>
                        <a:pt x="655" y="161"/>
                      </a:lnTo>
                      <a:lnTo>
                        <a:pt x="655" y="163"/>
                      </a:lnTo>
                      <a:lnTo>
                        <a:pt x="655" y="164"/>
                      </a:lnTo>
                      <a:lnTo>
                        <a:pt x="653" y="164"/>
                      </a:lnTo>
                      <a:lnTo>
                        <a:pt x="653" y="166"/>
                      </a:lnTo>
                      <a:lnTo>
                        <a:pt x="653" y="168"/>
                      </a:lnTo>
                      <a:lnTo>
                        <a:pt x="653" y="169"/>
                      </a:lnTo>
                      <a:lnTo>
                        <a:pt x="653" y="171"/>
                      </a:lnTo>
                      <a:lnTo>
                        <a:pt x="655" y="172"/>
                      </a:lnTo>
                      <a:lnTo>
                        <a:pt x="657" y="174"/>
                      </a:lnTo>
                      <a:lnTo>
                        <a:pt x="658" y="176"/>
                      </a:lnTo>
                      <a:lnTo>
                        <a:pt x="658" y="177"/>
                      </a:lnTo>
                      <a:lnTo>
                        <a:pt x="658" y="179"/>
                      </a:lnTo>
                      <a:lnTo>
                        <a:pt x="657" y="179"/>
                      </a:lnTo>
                      <a:lnTo>
                        <a:pt x="657" y="181"/>
                      </a:lnTo>
                      <a:lnTo>
                        <a:pt x="657" y="182"/>
                      </a:lnTo>
                      <a:lnTo>
                        <a:pt x="655" y="184"/>
                      </a:lnTo>
                      <a:lnTo>
                        <a:pt x="653" y="184"/>
                      </a:lnTo>
                      <a:lnTo>
                        <a:pt x="653" y="186"/>
                      </a:lnTo>
                      <a:lnTo>
                        <a:pt x="652" y="186"/>
                      </a:lnTo>
                      <a:lnTo>
                        <a:pt x="652" y="187"/>
                      </a:lnTo>
                      <a:lnTo>
                        <a:pt x="650" y="189"/>
                      </a:lnTo>
                      <a:lnTo>
                        <a:pt x="648" y="191"/>
                      </a:lnTo>
                      <a:lnTo>
                        <a:pt x="647" y="191"/>
                      </a:lnTo>
                      <a:lnTo>
                        <a:pt x="647" y="192"/>
                      </a:lnTo>
                      <a:lnTo>
                        <a:pt x="647" y="194"/>
                      </a:lnTo>
                      <a:lnTo>
                        <a:pt x="645" y="195"/>
                      </a:lnTo>
                      <a:lnTo>
                        <a:pt x="645" y="197"/>
                      </a:lnTo>
                      <a:lnTo>
                        <a:pt x="645" y="199"/>
                      </a:lnTo>
                      <a:lnTo>
                        <a:pt x="645" y="197"/>
                      </a:lnTo>
                      <a:lnTo>
                        <a:pt x="643" y="197"/>
                      </a:lnTo>
                      <a:lnTo>
                        <a:pt x="643" y="199"/>
                      </a:lnTo>
                      <a:lnTo>
                        <a:pt x="642" y="200"/>
                      </a:lnTo>
                      <a:lnTo>
                        <a:pt x="642" y="202"/>
                      </a:lnTo>
                      <a:lnTo>
                        <a:pt x="640" y="202"/>
                      </a:lnTo>
                      <a:lnTo>
                        <a:pt x="640" y="204"/>
                      </a:lnTo>
                      <a:lnTo>
                        <a:pt x="638" y="204"/>
                      </a:lnTo>
                      <a:lnTo>
                        <a:pt x="636" y="204"/>
                      </a:lnTo>
                      <a:lnTo>
                        <a:pt x="635" y="204"/>
                      </a:lnTo>
                      <a:lnTo>
                        <a:pt x="633" y="204"/>
                      </a:lnTo>
                      <a:lnTo>
                        <a:pt x="631" y="205"/>
                      </a:lnTo>
                      <a:lnTo>
                        <a:pt x="630" y="205"/>
                      </a:lnTo>
                      <a:lnTo>
                        <a:pt x="628" y="205"/>
                      </a:lnTo>
                      <a:lnTo>
                        <a:pt x="628" y="207"/>
                      </a:lnTo>
                      <a:lnTo>
                        <a:pt x="630" y="207"/>
                      </a:lnTo>
                      <a:lnTo>
                        <a:pt x="631" y="207"/>
                      </a:lnTo>
                      <a:lnTo>
                        <a:pt x="631" y="209"/>
                      </a:lnTo>
                      <a:lnTo>
                        <a:pt x="630" y="209"/>
                      </a:lnTo>
                      <a:lnTo>
                        <a:pt x="630" y="210"/>
                      </a:lnTo>
                      <a:lnTo>
                        <a:pt x="628" y="210"/>
                      </a:lnTo>
                      <a:lnTo>
                        <a:pt x="628" y="212"/>
                      </a:lnTo>
                      <a:lnTo>
                        <a:pt x="628" y="214"/>
                      </a:lnTo>
                      <a:lnTo>
                        <a:pt x="626" y="214"/>
                      </a:lnTo>
                      <a:lnTo>
                        <a:pt x="626" y="215"/>
                      </a:lnTo>
                      <a:lnTo>
                        <a:pt x="625" y="217"/>
                      </a:lnTo>
                      <a:lnTo>
                        <a:pt x="623" y="217"/>
                      </a:lnTo>
                      <a:lnTo>
                        <a:pt x="621" y="217"/>
                      </a:lnTo>
                      <a:lnTo>
                        <a:pt x="621" y="218"/>
                      </a:lnTo>
                      <a:lnTo>
                        <a:pt x="621" y="220"/>
                      </a:lnTo>
                      <a:lnTo>
                        <a:pt x="620" y="222"/>
                      </a:lnTo>
                      <a:lnTo>
                        <a:pt x="618" y="222"/>
                      </a:lnTo>
                      <a:lnTo>
                        <a:pt x="618" y="220"/>
                      </a:lnTo>
                      <a:lnTo>
                        <a:pt x="616" y="220"/>
                      </a:lnTo>
                      <a:lnTo>
                        <a:pt x="615" y="222"/>
                      </a:lnTo>
                      <a:lnTo>
                        <a:pt x="613" y="222"/>
                      </a:lnTo>
                      <a:lnTo>
                        <a:pt x="611" y="222"/>
                      </a:lnTo>
                      <a:lnTo>
                        <a:pt x="609" y="220"/>
                      </a:lnTo>
                      <a:lnTo>
                        <a:pt x="608" y="220"/>
                      </a:lnTo>
                      <a:lnTo>
                        <a:pt x="606" y="222"/>
                      </a:lnTo>
                      <a:lnTo>
                        <a:pt x="604" y="222"/>
                      </a:lnTo>
                      <a:lnTo>
                        <a:pt x="603" y="222"/>
                      </a:lnTo>
                      <a:lnTo>
                        <a:pt x="603" y="223"/>
                      </a:lnTo>
                      <a:lnTo>
                        <a:pt x="601" y="225"/>
                      </a:lnTo>
                      <a:lnTo>
                        <a:pt x="601" y="223"/>
                      </a:lnTo>
                      <a:lnTo>
                        <a:pt x="599" y="223"/>
                      </a:lnTo>
                      <a:lnTo>
                        <a:pt x="599" y="222"/>
                      </a:lnTo>
                      <a:lnTo>
                        <a:pt x="598" y="223"/>
                      </a:lnTo>
                      <a:lnTo>
                        <a:pt x="598" y="225"/>
                      </a:lnTo>
                      <a:lnTo>
                        <a:pt x="596" y="225"/>
                      </a:lnTo>
                      <a:lnTo>
                        <a:pt x="594" y="225"/>
                      </a:lnTo>
                      <a:lnTo>
                        <a:pt x="594" y="223"/>
                      </a:lnTo>
                      <a:lnTo>
                        <a:pt x="594" y="222"/>
                      </a:lnTo>
                      <a:lnTo>
                        <a:pt x="593" y="222"/>
                      </a:lnTo>
                      <a:lnTo>
                        <a:pt x="593" y="223"/>
                      </a:lnTo>
                      <a:lnTo>
                        <a:pt x="593" y="225"/>
                      </a:lnTo>
                      <a:lnTo>
                        <a:pt x="591" y="225"/>
                      </a:lnTo>
                      <a:lnTo>
                        <a:pt x="589" y="227"/>
                      </a:lnTo>
                      <a:lnTo>
                        <a:pt x="589" y="228"/>
                      </a:lnTo>
                      <a:lnTo>
                        <a:pt x="588" y="230"/>
                      </a:lnTo>
                      <a:lnTo>
                        <a:pt x="588" y="232"/>
                      </a:lnTo>
                      <a:lnTo>
                        <a:pt x="586" y="232"/>
                      </a:lnTo>
                      <a:lnTo>
                        <a:pt x="586" y="233"/>
                      </a:lnTo>
                      <a:lnTo>
                        <a:pt x="584" y="233"/>
                      </a:lnTo>
                      <a:lnTo>
                        <a:pt x="582" y="235"/>
                      </a:lnTo>
                      <a:lnTo>
                        <a:pt x="581" y="237"/>
                      </a:lnTo>
                      <a:lnTo>
                        <a:pt x="581" y="238"/>
                      </a:lnTo>
                      <a:lnTo>
                        <a:pt x="579" y="238"/>
                      </a:lnTo>
                      <a:lnTo>
                        <a:pt x="579" y="240"/>
                      </a:lnTo>
                      <a:lnTo>
                        <a:pt x="577" y="240"/>
                      </a:lnTo>
                      <a:lnTo>
                        <a:pt x="577" y="241"/>
                      </a:lnTo>
                      <a:lnTo>
                        <a:pt x="576" y="241"/>
                      </a:lnTo>
                      <a:lnTo>
                        <a:pt x="576" y="243"/>
                      </a:lnTo>
                      <a:lnTo>
                        <a:pt x="576" y="245"/>
                      </a:lnTo>
                      <a:lnTo>
                        <a:pt x="576" y="248"/>
                      </a:lnTo>
                      <a:lnTo>
                        <a:pt x="576" y="250"/>
                      </a:lnTo>
                      <a:lnTo>
                        <a:pt x="576" y="251"/>
                      </a:lnTo>
                      <a:lnTo>
                        <a:pt x="576" y="253"/>
                      </a:lnTo>
                      <a:lnTo>
                        <a:pt x="576" y="255"/>
                      </a:lnTo>
                      <a:lnTo>
                        <a:pt x="574" y="255"/>
                      </a:lnTo>
                      <a:lnTo>
                        <a:pt x="574" y="258"/>
                      </a:lnTo>
                      <a:lnTo>
                        <a:pt x="572" y="259"/>
                      </a:lnTo>
                      <a:lnTo>
                        <a:pt x="572" y="261"/>
                      </a:lnTo>
                      <a:lnTo>
                        <a:pt x="571" y="261"/>
                      </a:lnTo>
                      <a:lnTo>
                        <a:pt x="571" y="263"/>
                      </a:lnTo>
                      <a:lnTo>
                        <a:pt x="571" y="264"/>
                      </a:lnTo>
                      <a:lnTo>
                        <a:pt x="571" y="266"/>
                      </a:lnTo>
                      <a:lnTo>
                        <a:pt x="569" y="266"/>
                      </a:lnTo>
                      <a:lnTo>
                        <a:pt x="569" y="268"/>
                      </a:lnTo>
                      <a:lnTo>
                        <a:pt x="567" y="268"/>
                      </a:lnTo>
                      <a:lnTo>
                        <a:pt x="566" y="268"/>
                      </a:lnTo>
                      <a:lnTo>
                        <a:pt x="566" y="269"/>
                      </a:lnTo>
                      <a:lnTo>
                        <a:pt x="566" y="271"/>
                      </a:lnTo>
                      <a:lnTo>
                        <a:pt x="564" y="271"/>
                      </a:lnTo>
                      <a:lnTo>
                        <a:pt x="564" y="273"/>
                      </a:lnTo>
                      <a:lnTo>
                        <a:pt x="562" y="273"/>
                      </a:lnTo>
                      <a:lnTo>
                        <a:pt x="562" y="271"/>
                      </a:lnTo>
                      <a:lnTo>
                        <a:pt x="562" y="273"/>
                      </a:lnTo>
                      <a:lnTo>
                        <a:pt x="560" y="273"/>
                      </a:lnTo>
                      <a:lnTo>
                        <a:pt x="560" y="274"/>
                      </a:lnTo>
                      <a:lnTo>
                        <a:pt x="560" y="276"/>
                      </a:lnTo>
                      <a:lnTo>
                        <a:pt x="559" y="278"/>
                      </a:lnTo>
                      <a:lnTo>
                        <a:pt x="559" y="279"/>
                      </a:lnTo>
                      <a:lnTo>
                        <a:pt x="559" y="281"/>
                      </a:lnTo>
                      <a:lnTo>
                        <a:pt x="557" y="282"/>
                      </a:lnTo>
                      <a:lnTo>
                        <a:pt x="555" y="282"/>
                      </a:lnTo>
                      <a:lnTo>
                        <a:pt x="555" y="284"/>
                      </a:lnTo>
                      <a:lnTo>
                        <a:pt x="554" y="284"/>
                      </a:lnTo>
                      <a:lnTo>
                        <a:pt x="554" y="286"/>
                      </a:lnTo>
                      <a:lnTo>
                        <a:pt x="555" y="286"/>
                      </a:lnTo>
                      <a:lnTo>
                        <a:pt x="555" y="287"/>
                      </a:lnTo>
                      <a:lnTo>
                        <a:pt x="552" y="287"/>
                      </a:lnTo>
                      <a:lnTo>
                        <a:pt x="550" y="289"/>
                      </a:lnTo>
                      <a:lnTo>
                        <a:pt x="547" y="292"/>
                      </a:lnTo>
                      <a:lnTo>
                        <a:pt x="547" y="294"/>
                      </a:lnTo>
                      <a:lnTo>
                        <a:pt x="545" y="294"/>
                      </a:lnTo>
                      <a:lnTo>
                        <a:pt x="547" y="299"/>
                      </a:lnTo>
                      <a:lnTo>
                        <a:pt x="547" y="301"/>
                      </a:lnTo>
                      <a:lnTo>
                        <a:pt x="549" y="304"/>
                      </a:lnTo>
                      <a:lnTo>
                        <a:pt x="549" y="305"/>
                      </a:lnTo>
                      <a:lnTo>
                        <a:pt x="549" y="307"/>
                      </a:lnTo>
                      <a:lnTo>
                        <a:pt x="549" y="309"/>
                      </a:lnTo>
                      <a:lnTo>
                        <a:pt x="550" y="309"/>
                      </a:lnTo>
                      <a:lnTo>
                        <a:pt x="552" y="309"/>
                      </a:lnTo>
                      <a:lnTo>
                        <a:pt x="554" y="309"/>
                      </a:lnTo>
                      <a:lnTo>
                        <a:pt x="557" y="312"/>
                      </a:lnTo>
                      <a:lnTo>
                        <a:pt x="557" y="314"/>
                      </a:lnTo>
                      <a:lnTo>
                        <a:pt x="557" y="315"/>
                      </a:lnTo>
                      <a:lnTo>
                        <a:pt x="559" y="317"/>
                      </a:lnTo>
                      <a:lnTo>
                        <a:pt x="559" y="319"/>
                      </a:lnTo>
                      <a:lnTo>
                        <a:pt x="559" y="320"/>
                      </a:lnTo>
                      <a:lnTo>
                        <a:pt x="557" y="322"/>
                      </a:lnTo>
                      <a:lnTo>
                        <a:pt x="557" y="325"/>
                      </a:lnTo>
                      <a:lnTo>
                        <a:pt x="557" y="327"/>
                      </a:lnTo>
                      <a:lnTo>
                        <a:pt x="555" y="328"/>
                      </a:lnTo>
                      <a:lnTo>
                        <a:pt x="554" y="332"/>
                      </a:lnTo>
                      <a:lnTo>
                        <a:pt x="552" y="333"/>
                      </a:lnTo>
                      <a:lnTo>
                        <a:pt x="550" y="335"/>
                      </a:lnTo>
                      <a:lnTo>
                        <a:pt x="549" y="337"/>
                      </a:lnTo>
                      <a:lnTo>
                        <a:pt x="550" y="338"/>
                      </a:lnTo>
                      <a:lnTo>
                        <a:pt x="552" y="338"/>
                      </a:lnTo>
                      <a:lnTo>
                        <a:pt x="552" y="340"/>
                      </a:lnTo>
                      <a:lnTo>
                        <a:pt x="552" y="342"/>
                      </a:lnTo>
                      <a:lnTo>
                        <a:pt x="550" y="343"/>
                      </a:lnTo>
                      <a:lnTo>
                        <a:pt x="550" y="345"/>
                      </a:lnTo>
                      <a:lnTo>
                        <a:pt x="550" y="347"/>
                      </a:lnTo>
                      <a:lnTo>
                        <a:pt x="550" y="348"/>
                      </a:lnTo>
                      <a:lnTo>
                        <a:pt x="552" y="348"/>
                      </a:lnTo>
                      <a:lnTo>
                        <a:pt x="554" y="350"/>
                      </a:lnTo>
                      <a:lnTo>
                        <a:pt x="555" y="350"/>
                      </a:lnTo>
                      <a:lnTo>
                        <a:pt x="555" y="351"/>
                      </a:lnTo>
                      <a:lnTo>
                        <a:pt x="555" y="355"/>
                      </a:lnTo>
                      <a:lnTo>
                        <a:pt x="555" y="356"/>
                      </a:lnTo>
                      <a:lnTo>
                        <a:pt x="557" y="358"/>
                      </a:lnTo>
                      <a:lnTo>
                        <a:pt x="559" y="360"/>
                      </a:lnTo>
                      <a:lnTo>
                        <a:pt x="559" y="361"/>
                      </a:lnTo>
                      <a:lnTo>
                        <a:pt x="559" y="363"/>
                      </a:lnTo>
                      <a:lnTo>
                        <a:pt x="559" y="366"/>
                      </a:lnTo>
                      <a:lnTo>
                        <a:pt x="560" y="366"/>
                      </a:lnTo>
                      <a:lnTo>
                        <a:pt x="560" y="368"/>
                      </a:lnTo>
                      <a:lnTo>
                        <a:pt x="560" y="370"/>
                      </a:lnTo>
                      <a:lnTo>
                        <a:pt x="560" y="371"/>
                      </a:lnTo>
                      <a:lnTo>
                        <a:pt x="562" y="373"/>
                      </a:lnTo>
                      <a:lnTo>
                        <a:pt x="562" y="374"/>
                      </a:lnTo>
                      <a:lnTo>
                        <a:pt x="562" y="376"/>
                      </a:lnTo>
                      <a:lnTo>
                        <a:pt x="562" y="378"/>
                      </a:lnTo>
                      <a:lnTo>
                        <a:pt x="564" y="379"/>
                      </a:lnTo>
                      <a:lnTo>
                        <a:pt x="564" y="381"/>
                      </a:lnTo>
                      <a:lnTo>
                        <a:pt x="564" y="383"/>
                      </a:lnTo>
                      <a:lnTo>
                        <a:pt x="564" y="384"/>
                      </a:lnTo>
                      <a:lnTo>
                        <a:pt x="562" y="386"/>
                      </a:lnTo>
                      <a:lnTo>
                        <a:pt x="560" y="388"/>
                      </a:lnTo>
                      <a:lnTo>
                        <a:pt x="562" y="389"/>
                      </a:lnTo>
                      <a:lnTo>
                        <a:pt x="562" y="391"/>
                      </a:lnTo>
                      <a:lnTo>
                        <a:pt x="562" y="394"/>
                      </a:lnTo>
                      <a:lnTo>
                        <a:pt x="562" y="396"/>
                      </a:lnTo>
                      <a:lnTo>
                        <a:pt x="562" y="397"/>
                      </a:lnTo>
                      <a:lnTo>
                        <a:pt x="560" y="397"/>
                      </a:lnTo>
                      <a:lnTo>
                        <a:pt x="559" y="399"/>
                      </a:lnTo>
                      <a:lnTo>
                        <a:pt x="557" y="399"/>
                      </a:lnTo>
                      <a:lnTo>
                        <a:pt x="557" y="401"/>
                      </a:lnTo>
                      <a:lnTo>
                        <a:pt x="555" y="401"/>
                      </a:lnTo>
                      <a:lnTo>
                        <a:pt x="554" y="401"/>
                      </a:lnTo>
                      <a:lnTo>
                        <a:pt x="554" y="402"/>
                      </a:lnTo>
                      <a:lnTo>
                        <a:pt x="552" y="402"/>
                      </a:lnTo>
                      <a:lnTo>
                        <a:pt x="552" y="404"/>
                      </a:lnTo>
                      <a:lnTo>
                        <a:pt x="552" y="406"/>
                      </a:lnTo>
                      <a:lnTo>
                        <a:pt x="550" y="406"/>
                      </a:lnTo>
                      <a:lnTo>
                        <a:pt x="549" y="406"/>
                      </a:lnTo>
                      <a:lnTo>
                        <a:pt x="549" y="407"/>
                      </a:lnTo>
                      <a:lnTo>
                        <a:pt x="547" y="411"/>
                      </a:lnTo>
                      <a:lnTo>
                        <a:pt x="545" y="411"/>
                      </a:lnTo>
                      <a:lnTo>
                        <a:pt x="545" y="412"/>
                      </a:lnTo>
                      <a:lnTo>
                        <a:pt x="545" y="414"/>
                      </a:lnTo>
                      <a:lnTo>
                        <a:pt x="545" y="416"/>
                      </a:lnTo>
                      <a:lnTo>
                        <a:pt x="544" y="416"/>
                      </a:lnTo>
                      <a:lnTo>
                        <a:pt x="544" y="417"/>
                      </a:lnTo>
                      <a:lnTo>
                        <a:pt x="542" y="417"/>
                      </a:lnTo>
                      <a:lnTo>
                        <a:pt x="542" y="419"/>
                      </a:lnTo>
                      <a:lnTo>
                        <a:pt x="542" y="420"/>
                      </a:lnTo>
                      <a:lnTo>
                        <a:pt x="540" y="419"/>
                      </a:lnTo>
                      <a:lnTo>
                        <a:pt x="540" y="420"/>
                      </a:lnTo>
                      <a:lnTo>
                        <a:pt x="539" y="420"/>
                      </a:lnTo>
                      <a:lnTo>
                        <a:pt x="537" y="420"/>
                      </a:lnTo>
                      <a:lnTo>
                        <a:pt x="535" y="424"/>
                      </a:lnTo>
                      <a:lnTo>
                        <a:pt x="537" y="424"/>
                      </a:lnTo>
                      <a:lnTo>
                        <a:pt x="537" y="425"/>
                      </a:lnTo>
                      <a:lnTo>
                        <a:pt x="537" y="427"/>
                      </a:lnTo>
                      <a:lnTo>
                        <a:pt x="537" y="429"/>
                      </a:lnTo>
                      <a:lnTo>
                        <a:pt x="537" y="430"/>
                      </a:lnTo>
                      <a:lnTo>
                        <a:pt x="537" y="432"/>
                      </a:lnTo>
                      <a:lnTo>
                        <a:pt x="539" y="432"/>
                      </a:lnTo>
                      <a:lnTo>
                        <a:pt x="537" y="434"/>
                      </a:lnTo>
                      <a:lnTo>
                        <a:pt x="535" y="434"/>
                      </a:lnTo>
                      <a:lnTo>
                        <a:pt x="535" y="435"/>
                      </a:lnTo>
                      <a:lnTo>
                        <a:pt x="535" y="437"/>
                      </a:lnTo>
                      <a:lnTo>
                        <a:pt x="535" y="439"/>
                      </a:lnTo>
                      <a:lnTo>
                        <a:pt x="537" y="439"/>
                      </a:lnTo>
                      <a:lnTo>
                        <a:pt x="537" y="440"/>
                      </a:lnTo>
                      <a:lnTo>
                        <a:pt x="535" y="442"/>
                      </a:lnTo>
                      <a:lnTo>
                        <a:pt x="537" y="442"/>
                      </a:lnTo>
                      <a:lnTo>
                        <a:pt x="537" y="443"/>
                      </a:lnTo>
                      <a:lnTo>
                        <a:pt x="537" y="445"/>
                      </a:lnTo>
                      <a:lnTo>
                        <a:pt x="539" y="445"/>
                      </a:lnTo>
                      <a:lnTo>
                        <a:pt x="537" y="445"/>
                      </a:lnTo>
                      <a:lnTo>
                        <a:pt x="537" y="447"/>
                      </a:lnTo>
                      <a:lnTo>
                        <a:pt x="535" y="448"/>
                      </a:lnTo>
                      <a:lnTo>
                        <a:pt x="537" y="450"/>
                      </a:lnTo>
                      <a:lnTo>
                        <a:pt x="537" y="452"/>
                      </a:lnTo>
                      <a:lnTo>
                        <a:pt x="537" y="453"/>
                      </a:lnTo>
                      <a:lnTo>
                        <a:pt x="537" y="455"/>
                      </a:lnTo>
                      <a:lnTo>
                        <a:pt x="539" y="455"/>
                      </a:lnTo>
                      <a:lnTo>
                        <a:pt x="540" y="457"/>
                      </a:lnTo>
                      <a:lnTo>
                        <a:pt x="540" y="458"/>
                      </a:lnTo>
                      <a:lnTo>
                        <a:pt x="540" y="460"/>
                      </a:lnTo>
                      <a:lnTo>
                        <a:pt x="539" y="460"/>
                      </a:lnTo>
                      <a:lnTo>
                        <a:pt x="539" y="461"/>
                      </a:lnTo>
                      <a:lnTo>
                        <a:pt x="539" y="463"/>
                      </a:lnTo>
                      <a:lnTo>
                        <a:pt x="540" y="466"/>
                      </a:lnTo>
                      <a:lnTo>
                        <a:pt x="542" y="468"/>
                      </a:lnTo>
                      <a:lnTo>
                        <a:pt x="544" y="468"/>
                      </a:lnTo>
                      <a:lnTo>
                        <a:pt x="545" y="468"/>
                      </a:lnTo>
                      <a:lnTo>
                        <a:pt x="547" y="468"/>
                      </a:lnTo>
                      <a:lnTo>
                        <a:pt x="547" y="470"/>
                      </a:lnTo>
                      <a:lnTo>
                        <a:pt x="547" y="471"/>
                      </a:lnTo>
                      <a:lnTo>
                        <a:pt x="547" y="473"/>
                      </a:lnTo>
                      <a:lnTo>
                        <a:pt x="549" y="473"/>
                      </a:lnTo>
                      <a:lnTo>
                        <a:pt x="550" y="475"/>
                      </a:lnTo>
                      <a:lnTo>
                        <a:pt x="552" y="475"/>
                      </a:lnTo>
                      <a:lnTo>
                        <a:pt x="552" y="476"/>
                      </a:lnTo>
                      <a:lnTo>
                        <a:pt x="555" y="478"/>
                      </a:lnTo>
                      <a:lnTo>
                        <a:pt x="557" y="478"/>
                      </a:lnTo>
                      <a:lnTo>
                        <a:pt x="557" y="480"/>
                      </a:lnTo>
                      <a:lnTo>
                        <a:pt x="559" y="480"/>
                      </a:lnTo>
                      <a:lnTo>
                        <a:pt x="559" y="481"/>
                      </a:lnTo>
                      <a:lnTo>
                        <a:pt x="559" y="483"/>
                      </a:lnTo>
                      <a:lnTo>
                        <a:pt x="559" y="484"/>
                      </a:lnTo>
                      <a:lnTo>
                        <a:pt x="559" y="486"/>
                      </a:lnTo>
                      <a:lnTo>
                        <a:pt x="559" y="488"/>
                      </a:lnTo>
                      <a:lnTo>
                        <a:pt x="560" y="488"/>
                      </a:lnTo>
                      <a:lnTo>
                        <a:pt x="560" y="489"/>
                      </a:lnTo>
                      <a:lnTo>
                        <a:pt x="559" y="489"/>
                      </a:lnTo>
                      <a:lnTo>
                        <a:pt x="559" y="491"/>
                      </a:lnTo>
                      <a:lnTo>
                        <a:pt x="559" y="493"/>
                      </a:lnTo>
                      <a:lnTo>
                        <a:pt x="557" y="494"/>
                      </a:lnTo>
                      <a:lnTo>
                        <a:pt x="557" y="496"/>
                      </a:lnTo>
                      <a:lnTo>
                        <a:pt x="557" y="499"/>
                      </a:lnTo>
                      <a:lnTo>
                        <a:pt x="557" y="501"/>
                      </a:lnTo>
                      <a:lnTo>
                        <a:pt x="557" y="503"/>
                      </a:lnTo>
                      <a:lnTo>
                        <a:pt x="555" y="503"/>
                      </a:lnTo>
                      <a:lnTo>
                        <a:pt x="555" y="504"/>
                      </a:lnTo>
                      <a:lnTo>
                        <a:pt x="557" y="504"/>
                      </a:lnTo>
                      <a:lnTo>
                        <a:pt x="557" y="506"/>
                      </a:lnTo>
                      <a:lnTo>
                        <a:pt x="555" y="506"/>
                      </a:lnTo>
                      <a:lnTo>
                        <a:pt x="555" y="507"/>
                      </a:lnTo>
                      <a:lnTo>
                        <a:pt x="555" y="509"/>
                      </a:lnTo>
                      <a:lnTo>
                        <a:pt x="555" y="511"/>
                      </a:lnTo>
                      <a:lnTo>
                        <a:pt x="554" y="512"/>
                      </a:lnTo>
                      <a:lnTo>
                        <a:pt x="554" y="514"/>
                      </a:lnTo>
                      <a:lnTo>
                        <a:pt x="554" y="516"/>
                      </a:lnTo>
                      <a:lnTo>
                        <a:pt x="552" y="516"/>
                      </a:lnTo>
                      <a:lnTo>
                        <a:pt x="554" y="517"/>
                      </a:lnTo>
                      <a:lnTo>
                        <a:pt x="552" y="519"/>
                      </a:lnTo>
                      <a:lnTo>
                        <a:pt x="552" y="521"/>
                      </a:lnTo>
                      <a:lnTo>
                        <a:pt x="550" y="521"/>
                      </a:lnTo>
                      <a:lnTo>
                        <a:pt x="550" y="522"/>
                      </a:lnTo>
                      <a:lnTo>
                        <a:pt x="549" y="522"/>
                      </a:lnTo>
                      <a:lnTo>
                        <a:pt x="547" y="524"/>
                      </a:lnTo>
                      <a:lnTo>
                        <a:pt x="547" y="526"/>
                      </a:lnTo>
                      <a:lnTo>
                        <a:pt x="545" y="526"/>
                      </a:lnTo>
                      <a:lnTo>
                        <a:pt x="545" y="527"/>
                      </a:lnTo>
                      <a:lnTo>
                        <a:pt x="544" y="527"/>
                      </a:lnTo>
                      <a:lnTo>
                        <a:pt x="542" y="527"/>
                      </a:lnTo>
                      <a:lnTo>
                        <a:pt x="540" y="527"/>
                      </a:lnTo>
                      <a:lnTo>
                        <a:pt x="539" y="526"/>
                      </a:lnTo>
                      <a:lnTo>
                        <a:pt x="537" y="526"/>
                      </a:lnTo>
                      <a:lnTo>
                        <a:pt x="537" y="527"/>
                      </a:lnTo>
                      <a:lnTo>
                        <a:pt x="535" y="527"/>
                      </a:lnTo>
                      <a:lnTo>
                        <a:pt x="535" y="529"/>
                      </a:lnTo>
                      <a:lnTo>
                        <a:pt x="533" y="529"/>
                      </a:lnTo>
                      <a:lnTo>
                        <a:pt x="532" y="529"/>
                      </a:lnTo>
                      <a:lnTo>
                        <a:pt x="530" y="529"/>
                      </a:lnTo>
                      <a:lnTo>
                        <a:pt x="528" y="529"/>
                      </a:lnTo>
                      <a:lnTo>
                        <a:pt x="528" y="527"/>
                      </a:lnTo>
                      <a:lnTo>
                        <a:pt x="525" y="527"/>
                      </a:lnTo>
                      <a:lnTo>
                        <a:pt x="522" y="527"/>
                      </a:lnTo>
                      <a:lnTo>
                        <a:pt x="522" y="529"/>
                      </a:lnTo>
                      <a:lnTo>
                        <a:pt x="520" y="529"/>
                      </a:lnTo>
                      <a:lnTo>
                        <a:pt x="520" y="530"/>
                      </a:lnTo>
                      <a:lnTo>
                        <a:pt x="518" y="530"/>
                      </a:lnTo>
                      <a:lnTo>
                        <a:pt x="517" y="530"/>
                      </a:lnTo>
                      <a:lnTo>
                        <a:pt x="515" y="530"/>
                      </a:lnTo>
                      <a:lnTo>
                        <a:pt x="513" y="530"/>
                      </a:lnTo>
                      <a:lnTo>
                        <a:pt x="512" y="530"/>
                      </a:lnTo>
                      <a:lnTo>
                        <a:pt x="512" y="532"/>
                      </a:lnTo>
                      <a:lnTo>
                        <a:pt x="510" y="532"/>
                      </a:lnTo>
                      <a:lnTo>
                        <a:pt x="508" y="532"/>
                      </a:lnTo>
                      <a:lnTo>
                        <a:pt x="508" y="534"/>
                      </a:lnTo>
                      <a:lnTo>
                        <a:pt x="506" y="534"/>
                      </a:lnTo>
                      <a:lnTo>
                        <a:pt x="506" y="535"/>
                      </a:lnTo>
                      <a:lnTo>
                        <a:pt x="505" y="535"/>
                      </a:lnTo>
                      <a:lnTo>
                        <a:pt x="503" y="535"/>
                      </a:lnTo>
                      <a:lnTo>
                        <a:pt x="503" y="534"/>
                      </a:lnTo>
                      <a:lnTo>
                        <a:pt x="503" y="535"/>
                      </a:lnTo>
                      <a:lnTo>
                        <a:pt x="501" y="535"/>
                      </a:lnTo>
                      <a:lnTo>
                        <a:pt x="500" y="535"/>
                      </a:lnTo>
                      <a:lnTo>
                        <a:pt x="500" y="534"/>
                      </a:lnTo>
                      <a:lnTo>
                        <a:pt x="498" y="532"/>
                      </a:lnTo>
                      <a:lnTo>
                        <a:pt x="498" y="530"/>
                      </a:lnTo>
                      <a:lnTo>
                        <a:pt x="496" y="530"/>
                      </a:lnTo>
                      <a:lnTo>
                        <a:pt x="495" y="530"/>
                      </a:lnTo>
                      <a:lnTo>
                        <a:pt x="493" y="530"/>
                      </a:lnTo>
                      <a:lnTo>
                        <a:pt x="493" y="529"/>
                      </a:lnTo>
                      <a:lnTo>
                        <a:pt x="493" y="527"/>
                      </a:lnTo>
                      <a:lnTo>
                        <a:pt x="491" y="526"/>
                      </a:lnTo>
                      <a:lnTo>
                        <a:pt x="490" y="527"/>
                      </a:lnTo>
                      <a:lnTo>
                        <a:pt x="490" y="526"/>
                      </a:lnTo>
                      <a:lnTo>
                        <a:pt x="486" y="526"/>
                      </a:lnTo>
                      <a:lnTo>
                        <a:pt x="484" y="524"/>
                      </a:lnTo>
                      <a:lnTo>
                        <a:pt x="481" y="522"/>
                      </a:lnTo>
                      <a:lnTo>
                        <a:pt x="479" y="522"/>
                      </a:lnTo>
                      <a:lnTo>
                        <a:pt x="478" y="522"/>
                      </a:lnTo>
                      <a:lnTo>
                        <a:pt x="474" y="522"/>
                      </a:lnTo>
                      <a:lnTo>
                        <a:pt x="473" y="522"/>
                      </a:lnTo>
                      <a:lnTo>
                        <a:pt x="471" y="522"/>
                      </a:lnTo>
                      <a:lnTo>
                        <a:pt x="471" y="524"/>
                      </a:lnTo>
                      <a:lnTo>
                        <a:pt x="471" y="522"/>
                      </a:lnTo>
                      <a:lnTo>
                        <a:pt x="469" y="522"/>
                      </a:lnTo>
                      <a:lnTo>
                        <a:pt x="469" y="524"/>
                      </a:lnTo>
                      <a:lnTo>
                        <a:pt x="468" y="524"/>
                      </a:lnTo>
                      <a:lnTo>
                        <a:pt x="466" y="524"/>
                      </a:lnTo>
                      <a:lnTo>
                        <a:pt x="464" y="526"/>
                      </a:lnTo>
                      <a:lnTo>
                        <a:pt x="463" y="527"/>
                      </a:lnTo>
                      <a:lnTo>
                        <a:pt x="461" y="527"/>
                      </a:lnTo>
                      <a:lnTo>
                        <a:pt x="459" y="527"/>
                      </a:lnTo>
                      <a:lnTo>
                        <a:pt x="457" y="527"/>
                      </a:lnTo>
                      <a:lnTo>
                        <a:pt x="457" y="529"/>
                      </a:lnTo>
                      <a:lnTo>
                        <a:pt x="456" y="529"/>
                      </a:lnTo>
                      <a:lnTo>
                        <a:pt x="456" y="527"/>
                      </a:lnTo>
                      <a:lnTo>
                        <a:pt x="454" y="526"/>
                      </a:lnTo>
                      <a:lnTo>
                        <a:pt x="452" y="526"/>
                      </a:lnTo>
                      <a:lnTo>
                        <a:pt x="452" y="527"/>
                      </a:lnTo>
                      <a:lnTo>
                        <a:pt x="451" y="527"/>
                      </a:lnTo>
                      <a:lnTo>
                        <a:pt x="449" y="527"/>
                      </a:lnTo>
                      <a:lnTo>
                        <a:pt x="447" y="527"/>
                      </a:lnTo>
                      <a:lnTo>
                        <a:pt x="446" y="527"/>
                      </a:lnTo>
                      <a:lnTo>
                        <a:pt x="446" y="529"/>
                      </a:lnTo>
                      <a:lnTo>
                        <a:pt x="444" y="529"/>
                      </a:lnTo>
                      <a:lnTo>
                        <a:pt x="444" y="530"/>
                      </a:lnTo>
                      <a:lnTo>
                        <a:pt x="444" y="532"/>
                      </a:lnTo>
                      <a:lnTo>
                        <a:pt x="444" y="534"/>
                      </a:lnTo>
                      <a:lnTo>
                        <a:pt x="442" y="532"/>
                      </a:lnTo>
                      <a:lnTo>
                        <a:pt x="442" y="530"/>
                      </a:lnTo>
                      <a:lnTo>
                        <a:pt x="441" y="530"/>
                      </a:lnTo>
                      <a:lnTo>
                        <a:pt x="439" y="530"/>
                      </a:lnTo>
                      <a:lnTo>
                        <a:pt x="439" y="532"/>
                      </a:lnTo>
                      <a:lnTo>
                        <a:pt x="439" y="534"/>
                      </a:lnTo>
                      <a:lnTo>
                        <a:pt x="441" y="534"/>
                      </a:lnTo>
                      <a:lnTo>
                        <a:pt x="441" y="535"/>
                      </a:lnTo>
                      <a:lnTo>
                        <a:pt x="441" y="537"/>
                      </a:lnTo>
                      <a:lnTo>
                        <a:pt x="439" y="535"/>
                      </a:lnTo>
                      <a:lnTo>
                        <a:pt x="439" y="534"/>
                      </a:lnTo>
                      <a:lnTo>
                        <a:pt x="437" y="535"/>
                      </a:lnTo>
                      <a:lnTo>
                        <a:pt x="437" y="537"/>
                      </a:lnTo>
                      <a:lnTo>
                        <a:pt x="436" y="537"/>
                      </a:lnTo>
                      <a:lnTo>
                        <a:pt x="434" y="537"/>
                      </a:lnTo>
                      <a:lnTo>
                        <a:pt x="434" y="539"/>
                      </a:lnTo>
                      <a:lnTo>
                        <a:pt x="434" y="540"/>
                      </a:lnTo>
                      <a:lnTo>
                        <a:pt x="434" y="542"/>
                      </a:lnTo>
                      <a:lnTo>
                        <a:pt x="432" y="542"/>
                      </a:lnTo>
                      <a:lnTo>
                        <a:pt x="430" y="544"/>
                      </a:lnTo>
                      <a:lnTo>
                        <a:pt x="430" y="545"/>
                      </a:lnTo>
                      <a:lnTo>
                        <a:pt x="430" y="547"/>
                      </a:lnTo>
                      <a:lnTo>
                        <a:pt x="429" y="549"/>
                      </a:lnTo>
                      <a:lnTo>
                        <a:pt x="427" y="549"/>
                      </a:lnTo>
                      <a:lnTo>
                        <a:pt x="427" y="550"/>
                      </a:lnTo>
                      <a:lnTo>
                        <a:pt x="427" y="549"/>
                      </a:lnTo>
                      <a:lnTo>
                        <a:pt x="425" y="549"/>
                      </a:lnTo>
                      <a:lnTo>
                        <a:pt x="425" y="550"/>
                      </a:lnTo>
                      <a:lnTo>
                        <a:pt x="425" y="552"/>
                      </a:lnTo>
                      <a:lnTo>
                        <a:pt x="424" y="552"/>
                      </a:lnTo>
                      <a:lnTo>
                        <a:pt x="424" y="553"/>
                      </a:lnTo>
                      <a:lnTo>
                        <a:pt x="424" y="555"/>
                      </a:lnTo>
                      <a:lnTo>
                        <a:pt x="424" y="557"/>
                      </a:lnTo>
                      <a:lnTo>
                        <a:pt x="422" y="558"/>
                      </a:lnTo>
                      <a:lnTo>
                        <a:pt x="422" y="560"/>
                      </a:lnTo>
                      <a:lnTo>
                        <a:pt x="420" y="560"/>
                      </a:lnTo>
                      <a:lnTo>
                        <a:pt x="419" y="560"/>
                      </a:lnTo>
                      <a:lnTo>
                        <a:pt x="417" y="560"/>
                      </a:lnTo>
                      <a:lnTo>
                        <a:pt x="415" y="560"/>
                      </a:lnTo>
                      <a:lnTo>
                        <a:pt x="414" y="560"/>
                      </a:lnTo>
                      <a:lnTo>
                        <a:pt x="412" y="562"/>
                      </a:lnTo>
                      <a:lnTo>
                        <a:pt x="410" y="562"/>
                      </a:lnTo>
                      <a:lnTo>
                        <a:pt x="410" y="563"/>
                      </a:lnTo>
                      <a:lnTo>
                        <a:pt x="408" y="563"/>
                      </a:lnTo>
                      <a:lnTo>
                        <a:pt x="407" y="565"/>
                      </a:lnTo>
                      <a:lnTo>
                        <a:pt x="405" y="565"/>
                      </a:lnTo>
                      <a:lnTo>
                        <a:pt x="403" y="567"/>
                      </a:lnTo>
                      <a:lnTo>
                        <a:pt x="402" y="567"/>
                      </a:lnTo>
                      <a:lnTo>
                        <a:pt x="402" y="568"/>
                      </a:lnTo>
                      <a:lnTo>
                        <a:pt x="400" y="570"/>
                      </a:lnTo>
                      <a:lnTo>
                        <a:pt x="397" y="570"/>
                      </a:lnTo>
                      <a:lnTo>
                        <a:pt x="397" y="572"/>
                      </a:lnTo>
                      <a:lnTo>
                        <a:pt x="395" y="573"/>
                      </a:lnTo>
                      <a:lnTo>
                        <a:pt x="393" y="573"/>
                      </a:lnTo>
                      <a:lnTo>
                        <a:pt x="393" y="575"/>
                      </a:lnTo>
                      <a:lnTo>
                        <a:pt x="393" y="576"/>
                      </a:lnTo>
                      <a:lnTo>
                        <a:pt x="392" y="576"/>
                      </a:lnTo>
                      <a:lnTo>
                        <a:pt x="392" y="578"/>
                      </a:lnTo>
                      <a:lnTo>
                        <a:pt x="390" y="578"/>
                      </a:lnTo>
                      <a:lnTo>
                        <a:pt x="390" y="580"/>
                      </a:lnTo>
                      <a:lnTo>
                        <a:pt x="388" y="580"/>
                      </a:lnTo>
                      <a:lnTo>
                        <a:pt x="387" y="581"/>
                      </a:lnTo>
                      <a:lnTo>
                        <a:pt x="387" y="583"/>
                      </a:lnTo>
                      <a:lnTo>
                        <a:pt x="385" y="583"/>
                      </a:lnTo>
                      <a:lnTo>
                        <a:pt x="385" y="585"/>
                      </a:lnTo>
                      <a:lnTo>
                        <a:pt x="385" y="586"/>
                      </a:lnTo>
                      <a:lnTo>
                        <a:pt x="383" y="586"/>
                      </a:lnTo>
                      <a:lnTo>
                        <a:pt x="381" y="586"/>
                      </a:lnTo>
                      <a:lnTo>
                        <a:pt x="380" y="585"/>
                      </a:lnTo>
                      <a:lnTo>
                        <a:pt x="380" y="583"/>
                      </a:lnTo>
                      <a:lnTo>
                        <a:pt x="378" y="583"/>
                      </a:lnTo>
                      <a:lnTo>
                        <a:pt x="376" y="585"/>
                      </a:lnTo>
                      <a:lnTo>
                        <a:pt x="376" y="583"/>
                      </a:lnTo>
                      <a:lnTo>
                        <a:pt x="375" y="583"/>
                      </a:lnTo>
                      <a:lnTo>
                        <a:pt x="373" y="583"/>
                      </a:lnTo>
                      <a:lnTo>
                        <a:pt x="371" y="585"/>
                      </a:lnTo>
                      <a:lnTo>
                        <a:pt x="370" y="585"/>
                      </a:lnTo>
                      <a:lnTo>
                        <a:pt x="370" y="586"/>
                      </a:lnTo>
                      <a:lnTo>
                        <a:pt x="370" y="588"/>
                      </a:lnTo>
                      <a:lnTo>
                        <a:pt x="368" y="588"/>
                      </a:lnTo>
                      <a:lnTo>
                        <a:pt x="366" y="590"/>
                      </a:lnTo>
                      <a:lnTo>
                        <a:pt x="366" y="588"/>
                      </a:lnTo>
                      <a:lnTo>
                        <a:pt x="365" y="588"/>
                      </a:lnTo>
                      <a:lnTo>
                        <a:pt x="365" y="590"/>
                      </a:lnTo>
                      <a:lnTo>
                        <a:pt x="363" y="591"/>
                      </a:lnTo>
                      <a:lnTo>
                        <a:pt x="363" y="593"/>
                      </a:lnTo>
                      <a:lnTo>
                        <a:pt x="361" y="593"/>
                      </a:lnTo>
                      <a:lnTo>
                        <a:pt x="360" y="593"/>
                      </a:lnTo>
                      <a:lnTo>
                        <a:pt x="358" y="595"/>
                      </a:lnTo>
                      <a:lnTo>
                        <a:pt x="356" y="595"/>
                      </a:lnTo>
                      <a:lnTo>
                        <a:pt x="354" y="595"/>
                      </a:lnTo>
                      <a:lnTo>
                        <a:pt x="353" y="596"/>
                      </a:lnTo>
                      <a:lnTo>
                        <a:pt x="351" y="596"/>
                      </a:lnTo>
                      <a:lnTo>
                        <a:pt x="349" y="596"/>
                      </a:lnTo>
                      <a:lnTo>
                        <a:pt x="348" y="596"/>
                      </a:lnTo>
                      <a:lnTo>
                        <a:pt x="346" y="596"/>
                      </a:lnTo>
                      <a:lnTo>
                        <a:pt x="344" y="596"/>
                      </a:lnTo>
                      <a:lnTo>
                        <a:pt x="343" y="596"/>
                      </a:lnTo>
                      <a:lnTo>
                        <a:pt x="343" y="598"/>
                      </a:lnTo>
                      <a:lnTo>
                        <a:pt x="341" y="598"/>
                      </a:lnTo>
                      <a:lnTo>
                        <a:pt x="341" y="596"/>
                      </a:lnTo>
                      <a:lnTo>
                        <a:pt x="341" y="598"/>
                      </a:lnTo>
                      <a:lnTo>
                        <a:pt x="339" y="598"/>
                      </a:lnTo>
                      <a:lnTo>
                        <a:pt x="338" y="599"/>
                      </a:lnTo>
                      <a:lnTo>
                        <a:pt x="336" y="599"/>
                      </a:lnTo>
                      <a:lnTo>
                        <a:pt x="336" y="601"/>
                      </a:lnTo>
                      <a:lnTo>
                        <a:pt x="334" y="601"/>
                      </a:lnTo>
                      <a:lnTo>
                        <a:pt x="334" y="599"/>
                      </a:lnTo>
                      <a:lnTo>
                        <a:pt x="332" y="601"/>
                      </a:lnTo>
                      <a:lnTo>
                        <a:pt x="331" y="601"/>
                      </a:lnTo>
                      <a:lnTo>
                        <a:pt x="331" y="603"/>
                      </a:lnTo>
                      <a:lnTo>
                        <a:pt x="329" y="601"/>
                      </a:lnTo>
                      <a:lnTo>
                        <a:pt x="327" y="601"/>
                      </a:lnTo>
                      <a:lnTo>
                        <a:pt x="327" y="603"/>
                      </a:lnTo>
                      <a:lnTo>
                        <a:pt x="326" y="603"/>
                      </a:lnTo>
                      <a:lnTo>
                        <a:pt x="324" y="603"/>
                      </a:lnTo>
                      <a:lnTo>
                        <a:pt x="322" y="603"/>
                      </a:lnTo>
                      <a:lnTo>
                        <a:pt x="322" y="604"/>
                      </a:lnTo>
                      <a:lnTo>
                        <a:pt x="321" y="606"/>
                      </a:lnTo>
                      <a:lnTo>
                        <a:pt x="319" y="606"/>
                      </a:lnTo>
                      <a:lnTo>
                        <a:pt x="317" y="606"/>
                      </a:lnTo>
                      <a:lnTo>
                        <a:pt x="317" y="608"/>
                      </a:lnTo>
                      <a:lnTo>
                        <a:pt x="317" y="609"/>
                      </a:lnTo>
                      <a:lnTo>
                        <a:pt x="316" y="609"/>
                      </a:lnTo>
                      <a:lnTo>
                        <a:pt x="316" y="611"/>
                      </a:lnTo>
                      <a:lnTo>
                        <a:pt x="314" y="611"/>
                      </a:lnTo>
                      <a:lnTo>
                        <a:pt x="314" y="613"/>
                      </a:lnTo>
                      <a:lnTo>
                        <a:pt x="314" y="611"/>
                      </a:lnTo>
                      <a:lnTo>
                        <a:pt x="312" y="611"/>
                      </a:lnTo>
                      <a:lnTo>
                        <a:pt x="312" y="613"/>
                      </a:lnTo>
                      <a:lnTo>
                        <a:pt x="311" y="613"/>
                      </a:lnTo>
                      <a:lnTo>
                        <a:pt x="311" y="614"/>
                      </a:lnTo>
                      <a:lnTo>
                        <a:pt x="311" y="616"/>
                      </a:lnTo>
                      <a:lnTo>
                        <a:pt x="309" y="616"/>
                      </a:lnTo>
                      <a:lnTo>
                        <a:pt x="309" y="618"/>
                      </a:lnTo>
                      <a:lnTo>
                        <a:pt x="311" y="618"/>
                      </a:lnTo>
                      <a:lnTo>
                        <a:pt x="309" y="619"/>
                      </a:lnTo>
                      <a:lnTo>
                        <a:pt x="309" y="618"/>
                      </a:lnTo>
                      <a:lnTo>
                        <a:pt x="309" y="619"/>
                      </a:lnTo>
                      <a:lnTo>
                        <a:pt x="309" y="621"/>
                      </a:lnTo>
                      <a:lnTo>
                        <a:pt x="309" y="622"/>
                      </a:lnTo>
                      <a:lnTo>
                        <a:pt x="307" y="622"/>
                      </a:lnTo>
                      <a:lnTo>
                        <a:pt x="309" y="622"/>
                      </a:lnTo>
                      <a:lnTo>
                        <a:pt x="307" y="622"/>
                      </a:lnTo>
                      <a:lnTo>
                        <a:pt x="307" y="624"/>
                      </a:lnTo>
                      <a:lnTo>
                        <a:pt x="307" y="626"/>
                      </a:lnTo>
                      <a:lnTo>
                        <a:pt x="305" y="627"/>
                      </a:lnTo>
                      <a:lnTo>
                        <a:pt x="305" y="629"/>
                      </a:lnTo>
                      <a:lnTo>
                        <a:pt x="304" y="629"/>
                      </a:lnTo>
                      <a:lnTo>
                        <a:pt x="305" y="631"/>
                      </a:lnTo>
                      <a:lnTo>
                        <a:pt x="304" y="632"/>
                      </a:lnTo>
                      <a:lnTo>
                        <a:pt x="305" y="632"/>
                      </a:lnTo>
                      <a:lnTo>
                        <a:pt x="305" y="634"/>
                      </a:lnTo>
                      <a:lnTo>
                        <a:pt x="304" y="634"/>
                      </a:lnTo>
                      <a:lnTo>
                        <a:pt x="304" y="636"/>
                      </a:lnTo>
                      <a:lnTo>
                        <a:pt x="304" y="637"/>
                      </a:lnTo>
                      <a:lnTo>
                        <a:pt x="302" y="637"/>
                      </a:lnTo>
                      <a:lnTo>
                        <a:pt x="304" y="637"/>
                      </a:lnTo>
                      <a:lnTo>
                        <a:pt x="304" y="639"/>
                      </a:lnTo>
                      <a:lnTo>
                        <a:pt x="302" y="639"/>
                      </a:lnTo>
                      <a:lnTo>
                        <a:pt x="302" y="641"/>
                      </a:lnTo>
                      <a:lnTo>
                        <a:pt x="302" y="642"/>
                      </a:lnTo>
                      <a:lnTo>
                        <a:pt x="304" y="642"/>
                      </a:lnTo>
                      <a:lnTo>
                        <a:pt x="304" y="644"/>
                      </a:lnTo>
                      <a:lnTo>
                        <a:pt x="302" y="644"/>
                      </a:lnTo>
                      <a:lnTo>
                        <a:pt x="302" y="642"/>
                      </a:lnTo>
                      <a:lnTo>
                        <a:pt x="302" y="644"/>
                      </a:lnTo>
                      <a:lnTo>
                        <a:pt x="300" y="644"/>
                      </a:lnTo>
                      <a:lnTo>
                        <a:pt x="302" y="645"/>
                      </a:lnTo>
                      <a:lnTo>
                        <a:pt x="302" y="647"/>
                      </a:lnTo>
                      <a:lnTo>
                        <a:pt x="302" y="649"/>
                      </a:lnTo>
                      <a:lnTo>
                        <a:pt x="300" y="649"/>
                      </a:lnTo>
                      <a:lnTo>
                        <a:pt x="300" y="650"/>
                      </a:lnTo>
                      <a:lnTo>
                        <a:pt x="300" y="652"/>
                      </a:lnTo>
                      <a:lnTo>
                        <a:pt x="300" y="654"/>
                      </a:lnTo>
                      <a:lnTo>
                        <a:pt x="300" y="655"/>
                      </a:lnTo>
                      <a:lnTo>
                        <a:pt x="300" y="657"/>
                      </a:lnTo>
                      <a:lnTo>
                        <a:pt x="299" y="657"/>
                      </a:lnTo>
                      <a:lnTo>
                        <a:pt x="299" y="659"/>
                      </a:lnTo>
                      <a:lnTo>
                        <a:pt x="297" y="659"/>
                      </a:lnTo>
                      <a:lnTo>
                        <a:pt x="297" y="660"/>
                      </a:lnTo>
                      <a:lnTo>
                        <a:pt x="297" y="662"/>
                      </a:lnTo>
                      <a:lnTo>
                        <a:pt x="295" y="662"/>
                      </a:lnTo>
                      <a:lnTo>
                        <a:pt x="294" y="663"/>
                      </a:lnTo>
                      <a:lnTo>
                        <a:pt x="294" y="665"/>
                      </a:lnTo>
                      <a:lnTo>
                        <a:pt x="292" y="665"/>
                      </a:lnTo>
                      <a:lnTo>
                        <a:pt x="292" y="667"/>
                      </a:lnTo>
                      <a:lnTo>
                        <a:pt x="292" y="668"/>
                      </a:lnTo>
                      <a:lnTo>
                        <a:pt x="292" y="670"/>
                      </a:lnTo>
                      <a:lnTo>
                        <a:pt x="290" y="670"/>
                      </a:lnTo>
                      <a:lnTo>
                        <a:pt x="290" y="672"/>
                      </a:lnTo>
                      <a:lnTo>
                        <a:pt x="290" y="673"/>
                      </a:lnTo>
                      <a:lnTo>
                        <a:pt x="290" y="675"/>
                      </a:lnTo>
                      <a:lnTo>
                        <a:pt x="289" y="675"/>
                      </a:lnTo>
                      <a:lnTo>
                        <a:pt x="289" y="677"/>
                      </a:lnTo>
                      <a:lnTo>
                        <a:pt x="287" y="677"/>
                      </a:lnTo>
                      <a:lnTo>
                        <a:pt x="287" y="678"/>
                      </a:lnTo>
                      <a:lnTo>
                        <a:pt x="287" y="680"/>
                      </a:lnTo>
                      <a:lnTo>
                        <a:pt x="285" y="680"/>
                      </a:lnTo>
                      <a:lnTo>
                        <a:pt x="287" y="682"/>
                      </a:lnTo>
                      <a:lnTo>
                        <a:pt x="285" y="682"/>
                      </a:lnTo>
                      <a:lnTo>
                        <a:pt x="285" y="683"/>
                      </a:lnTo>
                      <a:lnTo>
                        <a:pt x="285" y="685"/>
                      </a:lnTo>
                      <a:lnTo>
                        <a:pt x="285" y="686"/>
                      </a:lnTo>
                      <a:lnTo>
                        <a:pt x="285" y="688"/>
                      </a:lnTo>
                      <a:lnTo>
                        <a:pt x="284" y="690"/>
                      </a:lnTo>
                      <a:lnTo>
                        <a:pt x="284" y="691"/>
                      </a:lnTo>
                      <a:lnTo>
                        <a:pt x="284" y="693"/>
                      </a:lnTo>
                      <a:lnTo>
                        <a:pt x="282" y="695"/>
                      </a:lnTo>
                      <a:lnTo>
                        <a:pt x="280" y="695"/>
                      </a:lnTo>
                      <a:lnTo>
                        <a:pt x="280" y="696"/>
                      </a:lnTo>
                      <a:lnTo>
                        <a:pt x="282" y="696"/>
                      </a:lnTo>
                      <a:lnTo>
                        <a:pt x="282" y="698"/>
                      </a:lnTo>
                      <a:lnTo>
                        <a:pt x="284" y="698"/>
                      </a:lnTo>
                      <a:lnTo>
                        <a:pt x="282" y="698"/>
                      </a:lnTo>
                      <a:lnTo>
                        <a:pt x="280" y="698"/>
                      </a:lnTo>
                      <a:lnTo>
                        <a:pt x="280" y="700"/>
                      </a:lnTo>
                      <a:lnTo>
                        <a:pt x="278" y="700"/>
                      </a:lnTo>
                      <a:lnTo>
                        <a:pt x="277" y="701"/>
                      </a:lnTo>
                      <a:lnTo>
                        <a:pt x="278" y="701"/>
                      </a:lnTo>
                      <a:lnTo>
                        <a:pt x="277" y="701"/>
                      </a:lnTo>
                      <a:lnTo>
                        <a:pt x="278" y="701"/>
                      </a:lnTo>
                      <a:lnTo>
                        <a:pt x="278" y="703"/>
                      </a:lnTo>
                      <a:lnTo>
                        <a:pt x="277" y="703"/>
                      </a:lnTo>
                      <a:lnTo>
                        <a:pt x="277" y="705"/>
                      </a:lnTo>
                      <a:lnTo>
                        <a:pt x="277" y="706"/>
                      </a:lnTo>
                      <a:lnTo>
                        <a:pt x="275" y="708"/>
                      </a:lnTo>
                      <a:lnTo>
                        <a:pt x="273" y="708"/>
                      </a:lnTo>
                      <a:lnTo>
                        <a:pt x="273" y="709"/>
                      </a:lnTo>
                      <a:lnTo>
                        <a:pt x="272" y="709"/>
                      </a:lnTo>
                      <a:lnTo>
                        <a:pt x="272" y="711"/>
                      </a:lnTo>
                      <a:lnTo>
                        <a:pt x="270" y="711"/>
                      </a:lnTo>
                      <a:lnTo>
                        <a:pt x="272" y="711"/>
                      </a:lnTo>
                      <a:lnTo>
                        <a:pt x="270" y="713"/>
                      </a:lnTo>
                      <a:lnTo>
                        <a:pt x="270" y="711"/>
                      </a:lnTo>
                      <a:lnTo>
                        <a:pt x="268" y="713"/>
                      </a:lnTo>
                      <a:lnTo>
                        <a:pt x="267" y="713"/>
                      </a:lnTo>
                      <a:lnTo>
                        <a:pt x="267" y="714"/>
                      </a:lnTo>
                      <a:lnTo>
                        <a:pt x="265" y="716"/>
                      </a:lnTo>
                      <a:lnTo>
                        <a:pt x="265" y="718"/>
                      </a:lnTo>
                      <a:lnTo>
                        <a:pt x="265" y="719"/>
                      </a:lnTo>
                      <a:lnTo>
                        <a:pt x="263" y="721"/>
                      </a:lnTo>
                      <a:lnTo>
                        <a:pt x="263" y="723"/>
                      </a:lnTo>
                      <a:lnTo>
                        <a:pt x="262" y="723"/>
                      </a:lnTo>
                      <a:lnTo>
                        <a:pt x="262" y="724"/>
                      </a:lnTo>
                      <a:lnTo>
                        <a:pt x="262" y="726"/>
                      </a:lnTo>
                      <a:lnTo>
                        <a:pt x="262" y="728"/>
                      </a:lnTo>
                      <a:lnTo>
                        <a:pt x="262" y="729"/>
                      </a:lnTo>
                      <a:lnTo>
                        <a:pt x="262" y="731"/>
                      </a:lnTo>
                      <a:lnTo>
                        <a:pt x="263" y="732"/>
                      </a:lnTo>
                      <a:lnTo>
                        <a:pt x="265" y="734"/>
                      </a:lnTo>
                      <a:lnTo>
                        <a:pt x="267" y="736"/>
                      </a:lnTo>
                      <a:lnTo>
                        <a:pt x="265" y="736"/>
                      </a:lnTo>
                      <a:lnTo>
                        <a:pt x="267" y="737"/>
                      </a:lnTo>
                      <a:lnTo>
                        <a:pt x="267" y="739"/>
                      </a:lnTo>
                      <a:lnTo>
                        <a:pt x="267" y="741"/>
                      </a:lnTo>
                      <a:lnTo>
                        <a:pt x="267" y="742"/>
                      </a:lnTo>
                      <a:lnTo>
                        <a:pt x="268" y="742"/>
                      </a:lnTo>
                      <a:lnTo>
                        <a:pt x="268" y="744"/>
                      </a:lnTo>
                      <a:lnTo>
                        <a:pt x="267" y="744"/>
                      </a:lnTo>
                      <a:lnTo>
                        <a:pt x="268" y="744"/>
                      </a:lnTo>
                      <a:lnTo>
                        <a:pt x="267" y="746"/>
                      </a:lnTo>
                      <a:lnTo>
                        <a:pt x="267" y="747"/>
                      </a:lnTo>
                      <a:lnTo>
                        <a:pt x="268" y="747"/>
                      </a:lnTo>
                      <a:lnTo>
                        <a:pt x="268" y="749"/>
                      </a:lnTo>
                      <a:lnTo>
                        <a:pt x="270" y="751"/>
                      </a:lnTo>
                      <a:lnTo>
                        <a:pt x="270" y="752"/>
                      </a:lnTo>
                      <a:lnTo>
                        <a:pt x="270" y="754"/>
                      </a:lnTo>
                      <a:lnTo>
                        <a:pt x="270" y="755"/>
                      </a:lnTo>
                      <a:lnTo>
                        <a:pt x="270" y="757"/>
                      </a:lnTo>
                      <a:lnTo>
                        <a:pt x="270" y="759"/>
                      </a:lnTo>
                      <a:lnTo>
                        <a:pt x="270" y="760"/>
                      </a:lnTo>
                      <a:lnTo>
                        <a:pt x="270" y="762"/>
                      </a:lnTo>
                      <a:lnTo>
                        <a:pt x="270" y="764"/>
                      </a:lnTo>
                      <a:lnTo>
                        <a:pt x="270" y="765"/>
                      </a:lnTo>
                      <a:lnTo>
                        <a:pt x="272" y="765"/>
                      </a:lnTo>
                      <a:lnTo>
                        <a:pt x="273" y="767"/>
                      </a:lnTo>
                      <a:lnTo>
                        <a:pt x="275" y="767"/>
                      </a:lnTo>
                      <a:lnTo>
                        <a:pt x="277" y="767"/>
                      </a:lnTo>
                      <a:lnTo>
                        <a:pt x="277" y="769"/>
                      </a:lnTo>
                      <a:lnTo>
                        <a:pt x="278" y="770"/>
                      </a:lnTo>
                      <a:lnTo>
                        <a:pt x="278" y="772"/>
                      </a:lnTo>
                      <a:lnTo>
                        <a:pt x="280" y="772"/>
                      </a:lnTo>
                      <a:lnTo>
                        <a:pt x="278" y="774"/>
                      </a:lnTo>
                      <a:lnTo>
                        <a:pt x="280" y="774"/>
                      </a:lnTo>
                      <a:lnTo>
                        <a:pt x="280" y="775"/>
                      </a:lnTo>
                      <a:lnTo>
                        <a:pt x="280" y="777"/>
                      </a:lnTo>
                      <a:lnTo>
                        <a:pt x="282" y="778"/>
                      </a:lnTo>
                      <a:lnTo>
                        <a:pt x="280" y="778"/>
                      </a:lnTo>
                      <a:lnTo>
                        <a:pt x="280" y="780"/>
                      </a:lnTo>
                      <a:lnTo>
                        <a:pt x="278" y="780"/>
                      </a:lnTo>
                      <a:lnTo>
                        <a:pt x="278" y="782"/>
                      </a:lnTo>
                      <a:lnTo>
                        <a:pt x="277" y="782"/>
                      </a:lnTo>
                      <a:lnTo>
                        <a:pt x="277" y="783"/>
                      </a:lnTo>
                      <a:lnTo>
                        <a:pt x="277" y="785"/>
                      </a:lnTo>
                      <a:lnTo>
                        <a:pt x="275" y="785"/>
                      </a:lnTo>
                      <a:lnTo>
                        <a:pt x="275" y="787"/>
                      </a:lnTo>
                      <a:lnTo>
                        <a:pt x="275" y="788"/>
                      </a:lnTo>
                      <a:lnTo>
                        <a:pt x="277" y="788"/>
                      </a:lnTo>
                      <a:lnTo>
                        <a:pt x="275" y="788"/>
                      </a:lnTo>
                      <a:lnTo>
                        <a:pt x="277" y="790"/>
                      </a:lnTo>
                      <a:lnTo>
                        <a:pt x="277" y="792"/>
                      </a:lnTo>
                      <a:lnTo>
                        <a:pt x="277" y="793"/>
                      </a:lnTo>
                      <a:lnTo>
                        <a:pt x="277" y="795"/>
                      </a:lnTo>
                      <a:lnTo>
                        <a:pt x="277" y="797"/>
                      </a:lnTo>
                      <a:lnTo>
                        <a:pt x="277" y="798"/>
                      </a:lnTo>
                      <a:lnTo>
                        <a:pt x="275" y="798"/>
                      </a:lnTo>
                      <a:lnTo>
                        <a:pt x="277" y="798"/>
                      </a:lnTo>
                      <a:lnTo>
                        <a:pt x="277" y="800"/>
                      </a:lnTo>
                      <a:lnTo>
                        <a:pt x="277" y="801"/>
                      </a:lnTo>
                      <a:lnTo>
                        <a:pt x="277" y="803"/>
                      </a:lnTo>
                      <a:lnTo>
                        <a:pt x="277" y="805"/>
                      </a:lnTo>
                      <a:lnTo>
                        <a:pt x="277" y="806"/>
                      </a:lnTo>
                      <a:lnTo>
                        <a:pt x="275" y="808"/>
                      </a:lnTo>
                      <a:lnTo>
                        <a:pt x="275" y="810"/>
                      </a:lnTo>
                      <a:lnTo>
                        <a:pt x="275" y="811"/>
                      </a:lnTo>
                      <a:lnTo>
                        <a:pt x="273" y="811"/>
                      </a:lnTo>
                      <a:lnTo>
                        <a:pt x="273" y="813"/>
                      </a:lnTo>
                      <a:lnTo>
                        <a:pt x="273" y="815"/>
                      </a:lnTo>
                      <a:lnTo>
                        <a:pt x="273" y="818"/>
                      </a:lnTo>
                      <a:lnTo>
                        <a:pt x="275" y="818"/>
                      </a:lnTo>
                      <a:lnTo>
                        <a:pt x="275" y="820"/>
                      </a:lnTo>
                      <a:lnTo>
                        <a:pt x="275" y="821"/>
                      </a:lnTo>
                      <a:lnTo>
                        <a:pt x="275" y="823"/>
                      </a:lnTo>
                      <a:lnTo>
                        <a:pt x="275" y="824"/>
                      </a:lnTo>
                      <a:lnTo>
                        <a:pt x="273" y="824"/>
                      </a:lnTo>
                      <a:lnTo>
                        <a:pt x="275" y="824"/>
                      </a:lnTo>
                      <a:lnTo>
                        <a:pt x="273" y="826"/>
                      </a:lnTo>
                      <a:lnTo>
                        <a:pt x="275" y="826"/>
                      </a:lnTo>
                      <a:lnTo>
                        <a:pt x="273" y="826"/>
                      </a:lnTo>
                      <a:lnTo>
                        <a:pt x="273" y="828"/>
                      </a:lnTo>
                      <a:lnTo>
                        <a:pt x="273" y="829"/>
                      </a:lnTo>
                      <a:lnTo>
                        <a:pt x="272" y="829"/>
                      </a:lnTo>
                      <a:lnTo>
                        <a:pt x="272" y="831"/>
                      </a:lnTo>
                      <a:lnTo>
                        <a:pt x="272" y="833"/>
                      </a:lnTo>
                      <a:lnTo>
                        <a:pt x="273" y="833"/>
                      </a:lnTo>
                      <a:lnTo>
                        <a:pt x="273" y="834"/>
                      </a:lnTo>
                      <a:lnTo>
                        <a:pt x="272" y="834"/>
                      </a:lnTo>
                      <a:lnTo>
                        <a:pt x="273" y="834"/>
                      </a:lnTo>
                      <a:lnTo>
                        <a:pt x="272" y="834"/>
                      </a:lnTo>
                      <a:lnTo>
                        <a:pt x="272" y="836"/>
                      </a:lnTo>
                      <a:lnTo>
                        <a:pt x="272" y="838"/>
                      </a:lnTo>
                      <a:lnTo>
                        <a:pt x="272" y="836"/>
                      </a:lnTo>
                      <a:lnTo>
                        <a:pt x="272" y="838"/>
                      </a:lnTo>
                      <a:lnTo>
                        <a:pt x="270" y="838"/>
                      </a:lnTo>
                      <a:lnTo>
                        <a:pt x="270" y="839"/>
                      </a:lnTo>
                      <a:lnTo>
                        <a:pt x="270" y="841"/>
                      </a:lnTo>
                      <a:lnTo>
                        <a:pt x="268" y="841"/>
                      </a:lnTo>
                      <a:lnTo>
                        <a:pt x="268" y="843"/>
                      </a:lnTo>
                      <a:lnTo>
                        <a:pt x="267" y="843"/>
                      </a:lnTo>
                      <a:lnTo>
                        <a:pt x="268" y="843"/>
                      </a:lnTo>
                      <a:lnTo>
                        <a:pt x="267" y="843"/>
                      </a:lnTo>
                      <a:lnTo>
                        <a:pt x="267" y="844"/>
                      </a:lnTo>
                      <a:lnTo>
                        <a:pt x="265" y="844"/>
                      </a:lnTo>
                      <a:lnTo>
                        <a:pt x="267" y="844"/>
                      </a:lnTo>
                      <a:lnTo>
                        <a:pt x="265" y="844"/>
                      </a:lnTo>
                      <a:lnTo>
                        <a:pt x="265" y="846"/>
                      </a:lnTo>
                      <a:lnTo>
                        <a:pt x="265" y="847"/>
                      </a:lnTo>
                      <a:lnTo>
                        <a:pt x="265" y="849"/>
                      </a:lnTo>
                      <a:lnTo>
                        <a:pt x="263" y="849"/>
                      </a:lnTo>
                      <a:lnTo>
                        <a:pt x="262" y="849"/>
                      </a:lnTo>
                      <a:lnTo>
                        <a:pt x="260" y="849"/>
                      </a:lnTo>
                      <a:lnTo>
                        <a:pt x="260" y="851"/>
                      </a:lnTo>
                      <a:lnTo>
                        <a:pt x="260" y="849"/>
                      </a:lnTo>
                      <a:lnTo>
                        <a:pt x="258" y="847"/>
                      </a:lnTo>
                      <a:lnTo>
                        <a:pt x="258" y="846"/>
                      </a:lnTo>
                      <a:lnTo>
                        <a:pt x="258" y="844"/>
                      </a:lnTo>
                      <a:lnTo>
                        <a:pt x="258" y="843"/>
                      </a:lnTo>
                      <a:lnTo>
                        <a:pt x="256" y="843"/>
                      </a:lnTo>
                      <a:lnTo>
                        <a:pt x="255" y="843"/>
                      </a:lnTo>
                      <a:lnTo>
                        <a:pt x="253" y="844"/>
                      </a:lnTo>
                      <a:lnTo>
                        <a:pt x="251" y="846"/>
                      </a:lnTo>
                      <a:lnTo>
                        <a:pt x="250" y="846"/>
                      </a:lnTo>
                      <a:lnTo>
                        <a:pt x="248" y="846"/>
                      </a:lnTo>
                      <a:lnTo>
                        <a:pt x="246" y="846"/>
                      </a:lnTo>
                      <a:lnTo>
                        <a:pt x="245" y="846"/>
                      </a:lnTo>
                      <a:lnTo>
                        <a:pt x="243" y="844"/>
                      </a:lnTo>
                      <a:lnTo>
                        <a:pt x="241" y="843"/>
                      </a:lnTo>
                      <a:lnTo>
                        <a:pt x="241" y="841"/>
                      </a:lnTo>
                      <a:lnTo>
                        <a:pt x="238" y="843"/>
                      </a:lnTo>
                      <a:lnTo>
                        <a:pt x="235" y="843"/>
                      </a:lnTo>
                      <a:lnTo>
                        <a:pt x="233" y="843"/>
                      </a:lnTo>
                      <a:lnTo>
                        <a:pt x="231" y="843"/>
                      </a:lnTo>
                      <a:lnTo>
                        <a:pt x="229" y="843"/>
                      </a:lnTo>
                      <a:lnTo>
                        <a:pt x="228" y="843"/>
                      </a:lnTo>
                      <a:lnTo>
                        <a:pt x="226" y="843"/>
                      </a:lnTo>
                      <a:lnTo>
                        <a:pt x="226" y="841"/>
                      </a:lnTo>
                      <a:lnTo>
                        <a:pt x="224" y="839"/>
                      </a:lnTo>
                      <a:lnTo>
                        <a:pt x="224" y="838"/>
                      </a:lnTo>
                      <a:lnTo>
                        <a:pt x="223" y="836"/>
                      </a:lnTo>
                      <a:lnTo>
                        <a:pt x="221" y="834"/>
                      </a:lnTo>
                      <a:lnTo>
                        <a:pt x="219" y="833"/>
                      </a:lnTo>
                      <a:lnTo>
                        <a:pt x="218" y="833"/>
                      </a:lnTo>
                      <a:lnTo>
                        <a:pt x="218" y="831"/>
                      </a:lnTo>
                      <a:lnTo>
                        <a:pt x="218" y="829"/>
                      </a:lnTo>
                      <a:lnTo>
                        <a:pt x="218" y="828"/>
                      </a:lnTo>
                      <a:lnTo>
                        <a:pt x="216" y="828"/>
                      </a:lnTo>
                      <a:lnTo>
                        <a:pt x="216" y="826"/>
                      </a:lnTo>
                      <a:lnTo>
                        <a:pt x="216" y="824"/>
                      </a:lnTo>
                      <a:lnTo>
                        <a:pt x="216" y="823"/>
                      </a:lnTo>
                      <a:lnTo>
                        <a:pt x="216" y="821"/>
                      </a:lnTo>
                      <a:lnTo>
                        <a:pt x="216" y="820"/>
                      </a:lnTo>
                      <a:lnTo>
                        <a:pt x="216" y="818"/>
                      </a:lnTo>
                      <a:lnTo>
                        <a:pt x="216" y="816"/>
                      </a:lnTo>
                      <a:lnTo>
                        <a:pt x="216" y="815"/>
                      </a:lnTo>
                      <a:lnTo>
                        <a:pt x="214" y="815"/>
                      </a:lnTo>
                      <a:lnTo>
                        <a:pt x="214" y="813"/>
                      </a:lnTo>
                      <a:lnTo>
                        <a:pt x="214" y="811"/>
                      </a:lnTo>
                      <a:lnTo>
                        <a:pt x="213" y="811"/>
                      </a:lnTo>
                      <a:lnTo>
                        <a:pt x="214" y="811"/>
                      </a:lnTo>
                      <a:lnTo>
                        <a:pt x="214" y="810"/>
                      </a:lnTo>
                      <a:lnTo>
                        <a:pt x="213" y="810"/>
                      </a:lnTo>
                      <a:lnTo>
                        <a:pt x="213" y="808"/>
                      </a:lnTo>
                      <a:lnTo>
                        <a:pt x="211" y="808"/>
                      </a:lnTo>
                      <a:lnTo>
                        <a:pt x="209" y="808"/>
                      </a:lnTo>
                      <a:lnTo>
                        <a:pt x="207" y="808"/>
                      </a:lnTo>
                      <a:lnTo>
                        <a:pt x="206" y="808"/>
                      </a:lnTo>
                      <a:lnTo>
                        <a:pt x="206" y="806"/>
                      </a:lnTo>
                      <a:lnTo>
                        <a:pt x="206" y="805"/>
                      </a:lnTo>
                      <a:lnTo>
                        <a:pt x="206" y="803"/>
                      </a:lnTo>
                      <a:lnTo>
                        <a:pt x="204" y="803"/>
                      </a:lnTo>
                      <a:lnTo>
                        <a:pt x="202" y="803"/>
                      </a:lnTo>
                      <a:lnTo>
                        <a:pt x="201" y="803"/>
                      </a:lnTo>
                      <a:lnTo>
                        <a:pt x="199" y="803"/>
                      </a:lnTo>
                      <a:lnTo>
                        <a:pt x="199" y="801"/>
                      </a:lnTo>
                      <a:lnTo>
                        <a:pt x="199" y="800"/>
                      </a:lnTo>
                      <a:lnTo>
                        <a:pt x="199" y="798"/>
                      </a:lnTo>
                      <a:lnTo>
                        <a:pt x="201" y="797"/>
                      </a:lnTo>
                      <a:lnTo>
                        <a:pt x="202" y="795"/>
                      </a:lnTo>
                      <a:lnTo>
                        <a:pt x="202" y="793"/>
                      </a:lnTo>
                      <a:lnTo>
                        <a:pt x="202" y="792"/>
                      </a:lnTo>
                      <a:lnTo>
                        <a:pt x="204" y="790"/>
                      </a:lnTo>
                      <a:lnTo>
                        <a:pt x="204" y="788"/>
                      </a:lnTo>
                      <a:lnTo>
                        <a:pt x="206" y="788"/>
                      </a:lnTo>
                      <a:lnTo>
                        <a:pt x="206" y="787"/>
                      </a:lnTo>
                      <a:lnTo>
                        <a:pt x="207" y="787"/>
                      </a:lnTo>
                      <a:lnTo>
                        <a:pt x="209" y="785"/>
                      </a:lnTo>
                      <a:lnTo>
                        <a:pt x="207" y="783"/>
                      </a:lnTo>
                      <a:lnTo>
                        <a:pt x="206" y="782"/>
                      </a:lnTo>
                      <a:lnTo>
                        <a:pt x="206" y="780"/>
                      </a:lnTo>
                      <a:lnTo>
                        <a:pt x="207" y="780"/>
                      </a:lnTo>
                      <a:lnTo>
                        <a:pt x="207" y="778"/>
                      </a:lnTo>
                      <a:lnTo>
                        <a:pt x="206" y="778"/>
                      </a:lnTo>
                      <a:lnTo>
                        <a:pt x="204" y="778"/>
                      </a:lnTo>
                      <a:lnTo>
                        <a:pt x="204" y="777"/>
                      </a:lnTo>
                      <a:lnTo>
                        <a:pt x="202" y="777"/>
                      </a:lnTo>
                      <a:lnTo>
                        <a:pt x="201" y="777"/>
                      </a:lnTo>
                      <a:lnTo>
                        <a:pt x="199" y="777"/>
                      </a:lnTo>
                      <a:lnTo>
                        <a:pt x="199" y="775"/>
                      </a:lnTo>
                      <a:lnTo>
                        <a:pt x="199" y="774"/>
                      </a:lnTo>
                      <a:lnTo>
                        <a:pt x="199" y="772"/>
                      </a:lnTo>
                      <a:lnTo>
                        <a:pt x="201" y="772"/>
                      </a:lnTo>
                      <a:lnTo>
                        <a:pt x="199" y="772"/>
                      </a:lnTo>
                      <a:lnTo>
                        <a:pt x="197" y="770"/>
                      </a:lnTo>
                      <a:lnTo>
                        <a:pt x="196" y="770"/>
                      </a:lnTo>
                      <a:lnTo>
                        <a:pt x="194" y="770"/>
                      </a:lnTo>
                      <a:lnTo>
                        <a:pt x="192" y="770"/>
                      </a:lnTo>
                      <a:lnTo>
                        <a:pt x="191" y="770"/>
                      </a:lnTo>
                      <a:lnTo>
                        <a:pt x="191" y="772"/>
                      </a:lnTo>
                      <a:lnTo>
                        <a:pt x="189" y="772"/>
                      </a:lnTo>
                      <a:lnTo>
                        <a:pt x="187" y="772"/>
                      </a:lnTo>
                      <a:lnTo>
                        <a:pt x="187" y="770"/>
                      </a:lnTo>
                      <a:lnTo>
                        <a:pt x="189" y="770"/>
                      </a:lnTo>
                      <a:lnTo>
                        <a:pt x="189" y="769"/>
                      </a:lnTo>
                      <a:lnTo>
                        <a:pt x="187" y="767"/>
                      </a:lnTo>
                      <a:lnTo>
                        <a:pt x="186" y="767"/>
                      </a:lnTo>
                      <a:lnTo>
                        <a:pt x="186" y="765"/>
                      </a:lnTo>
                      <a:lnTo>
                        <a:pt x="184" y="764"/>
                      </a:lnTo>
                      <a:lnTo>
                        <a:pt x="184" y="762"/>
                      </a:lnTo>
                      <a:lnTo>
                        <a:pt x="182" y="762"/>
                      </a:lnTo>
                      <a:lnTo>
                        <a:pt x="180" y="762"/>
                      </a:lnTo>
                      <a:lnTo>
                        <a:pt x="180" y="760"/>
                      </a:lnTo>
                      <a:lnTo>
                        <a:pt x="182" y="760"/>
                      </a:lnTo>
                      <a:lnTo>
                        <a:pt x="182" y="759"/>
                      </a:lnTo>
                      <a:lnTo>
                        <a:pt x="182" y="757"/>
                      </a:lnTo>
                      <a:lnTo>
                        <a:pt x="182" y="755"/>
                      </a:lnTo>
                      <a:lnTo>
                        <a:pt x="182" y="754"/>
                      </a:lnTo>
                      <a:lnTo>
                        <a:pt x="182" y="752"/>
                      </a:lnTo>
                      <a:lnTo>
                        <a:pt x="180" y="752"/>
                      </a:lnTo>
                      <a:lnTo>
                        <a:pt x="180" y="751"/>
                      </a:lnTo>
                      <a:lnTo>
                        <a:pt x="180" y="749"/>
                      </a:lnTo>
                      <a:lnTo>
                        <a:pt x="180" y="747"/>
                      </a:lnTo>
                      <a:lnTo>
                        <a:pt x="179" y="747"/>
                      </a:lnTo>
                      <a:lnTo>
                        <a:pt x="177" y="747"/>
                      </a:lnTo>
                      <a:lnTo>
                        <a:pt x="175" y="747"/>
                      </a:lnTo>
                      <a:lnTo>
                        <a:pt x="175" y="746"/>
                      </a:lnTo>
                      <a:lnTo>
                        <a:pt x="174" y="746"/>
                      </a:lnTo>
                      <a:lnTo>
                        <a:pt x="172" y="746"/>
                      </a:lnTo>
                      <a:lnTo>
                        <a:pt x="172" y="744"/>
                      </a:lnTo>
                      <a:lnTo>
                        <a:pt x="172" y="742"/>
                      </a:lnTo>
                      <a:lnTo>
                        <a:pt x="174" y="742"/>
                      </a:lnTo>
                      <a:lnTo>
                        <a:pt x="172" y="742"/>
                      </a:lnTo>
                      <a:lnTo>
                        <a:pt x="174" y="742"/>
                      </a:lnTo>
                      <a:lnTo>
                        <a:pt x="174" y="741"/>
                      </a:lnTo>
                      <a:lnTo>
                        <a:pt x="172" y="739"/>
                      </a:lnTo>
                      <a:lnTo>
                        <a:pt x="172" y="741"/>
                      </a:lnTo>
                      <a:lnTo>
                        <a:pt x="172" y="739"/>
                      </a:lnTo>
                      <a:lnTo>
                        <a:pt x="170" y="739"/>
                      </a:lnTo>
                      <a:lnTo>
                        <a:pt x="170" y="741"/>
                      </a:lnTo>
                      <a:lnTo>
                        <a:pt x="169" y="741"/>
                      </a:lnTo>
                      <a:lnTo>
                        <a:pt x="167" y="741"/>
                      </a:lnTo>
                      <a:lnTo>
                        <a:pt x="165" y="741"/>
                      </a:lnTo>
                      <a:lnTo>
                        <a:pt x="164" y="741"/>
                      </a:lnTo>
                      <a:lnTo>
                        <a:pt x="165" y="741"/>
                      </a:lnTo>
                      <a:lnTo>
                        <a:pt x="164" y="741"/>
                      </a:lnTo>
                      <a:lnTo>
                        <a:pt x="162" y="741"/>
                      </a:lnTo>
                      <a:lnTo>
                        <a:pt x="160" y="741"/>
                      </a:lnTo>
                      <a:lnTo>
                        <a:pt x="160" y="739"/>
                      </a:lnTo>
                      <a:lnTo>
                        <a:pt x="159" y="739"/>
                      </a:lnTo>
                      <a:lnTo>
                        <a:pt x="160" y="739"/>
                      </a:lnTo>
                      <a:lnTo>
                        <a:pt x="160" y="737"/>
                      </a:lnTo>
                      <a:lnTo>
                        <a:pt x="160" y="739"/>
                      </a:lnTo>
                      <a:lnTo>
                        <a:pt x="160" y="737"/>
                      </a:lnTo>
                      <a:lnTo>
                        <a:pt x="162" y="737"/>
                      </a:lnTo>
                      <a:lnTo>
                        <a:pt x="162" y="736"/>
                      </a:lnTo>
                      <a:lnTo>
                        <a:pt x="160" y="736"/>
                      </a:lnTo>
                      <a:lnTo>
                        <a:pt x="159" y="736"/>
                      </a:lnTo>
                      <a:lnTo>
                        <a:pt x="159" y="734"/>
                      </a:lnTo>
                      <a:lnTo>
                        <a:pt x="160" y="734"/>
                      </a:lnTo>
                      <a:lnTo>
                        <a:pt x="162" y="734"/>
                      </a:lnTo>
                      <a:lnTo>
                        <a:pt x="162" y="732"/>
                      </a:lnTo>
                      <a:lnTo>
                        <a:pt x="164" y="732"/>
                      </a:lnTo>
                      <a:lnTo>
                        <a:pt x="162" y="732"/>
                      </a:lnTo>
                      <a:lnTo>
                        <a:pt x="164" y="732"/>
                      </a:lnTo>
                      <a:lnTo>
                        <a:pt x="164" y="731"/>
                      </a:lnTo>
                      <a:lnTo>
                        <a:pt x="165" y="731"/>
                      </a:lnTo>
                      <a:lnTo>
                        <a:pt x="164" y="731"/>
                      </a:lnTo>
                      <a:lnTo>
                        <a:pt x="164" y="729"/>
                      </a:lnTo>
                      <a:lnTo>
                        <a:pt x="165" y="729"/>
                      </a:lnTo>
                      <a:lnTo>
                        <a:pt x="164" y="729"/>
                      </a:lnTo>
                      <a:lnTo>
                        <a:pt x="165" y="729"/>
                      </a:lnTo>
                      <a:lnTo>
                        <a:pt x="167" y="729"/>
                      </a:lnTo>
                      <a:lnTo>
                        <a:pt x="165" y="728"/>
                      </a:lnTo>
                      <a:lnTo>
                        <a:pt x="167" y="728"/>
                      </a:lnTo>
                      <a:lnTo>
                        <a:pt x="167" y="726"/>
                      </a:lnTo>
                      <a:lnTo>
                        <a:pt x="169" y="726"/>
                      </a:lnTo>
                      <a:lnTo>
                        <a:pt x="169" y="724"/>
                      </a:lnTo>
                      <a:lnTo>
                        <a:pt x="167" y="724"/>
                      </a:lnTo>
                      <a:lnTo>
                        <a:pt x="167" y="723"/>
                      </a:lnTo>
                      <a:lnTo>
                        <a:pt x="167" y="721"/>
                      </a:lnTo>
                      <a:lnTo>
                        <a:pt x="169" y="721"/>
                      </a:lnTo>
                      <a:lnTo>
                        <a:pt x="170" y="723"/>
                      </a:lnTo>
                      <a:lnTo>
                        <a:pt x="170" y="721"/>
                      </a:lnTo>
                      <a:lnTo>
                        <a:pt x="172" y="721"/>
                      </a:lnTo>
                      <a:lnTo>
                        <a:pt x="174" y="721"/>
                      </a:lnTo>
                      <a:lnTo>
                        <a:pt x="174" y="719"/>
                      </a:lnTo>
                      <a:lnTo>
                        <a:pt x="174" y="718"/>
                      </a:lnTo>
                      <a:lnTo>
                        <a:pt x="175" y="718"/>
                      </a:lnTo>
                      <a:lnTo>
                        <a:pt x="175" y="716"/>
                      </a:lnTo>
                      <a:lnTo>
                        <a:pt x="175" y="714"/>
                      </a:lnTo>
                      <a:lnTo>
                        <a:pt x="174" y="714"/>
                      </a:lnTo>
                      <a:lnTo>
                        <a:pt x="175" y="714"/>
                      </a:lnTo>
                      <a:lnTo>
                        <a:pt x="175" y="713"/>
                      </a:lnTo>
                      <a:lnTo>
                        <a:pt x="174" y="713"/>
                      </a:lnTo>
                      <a:lnTo>
                        <a:pt x="174" y="711"/>
                      </a:lnTo>
                      <a:lnTo>
                        <a:pt x="172" y="709"/>
                      </a:lnTo>
                      <a:lnTo>
                        <a:pt x="172" y="708"/>
                      </a:lnTo>
                      <a:lnTo>
                        <a:pt x="174" y="709"/>
                      </a:lnTo>
                      <a:lnTo>
                        <a:pt x="174" y="708"/>
                      </a:lnTo>
                      <a:lnTo>
                        <a:pt x="174" y="706"/>
                      </a:lnTo>
                      <a:lnTo>
                        <a:pt x="175" y="706"/>
                      </a:lnTo>
                      <a:lnTo>
                        <a:pt x="175" y="705"/>
                      </a:lnTo>
                      <a:lnTo>
                        <a:pt x="177" y="705"/>
                      </a:lnTo>
                      <a:lnTo>
                        <a:pt x="175" y="705"/>
                      </a:lnTo>
                      <a:lnTo>
                        <a:pt x="175" y="703"/>
                      </a:lnTo>
                      <a:lnTo>
                        <a:pt x="175" y="701"/>
                      </a:lnTo>
                      <a:lnTo>
                        <a:pt x="174" y="701"/>
                      </a:lnTo>
                      <a:lnTo>
                        <a:pt x="174" y="700"/>
                      </a:lnTo>
                      <a:lnTo>
                        <a:pt x="174" y="698"/>
                      </a:lnTo>
                      <a:lnTo>
                        <a:pt x="174" y="700"/>
                      </a:lnTo>
                      <a:lnTo>
                        <a:pt x="174" y="698"/>
                      </a:lnTo>
                      <a:lnTo>
                        <a:pt x="175" y="698"/>
                      </a:lnTo>
                      <a:lnTo>
                        <a:pt x="175" y="696"/>
                      </a:lnTo>
                      <a:lnTo>
                        <a:pt x="174" y="696"/>
                      </a:lnTo>
                      <a:lnTo>
                        <a:pt x="175" y="696"/>
                      </a:lnTo>
                      <a:lnTo>
                        <a:pt x="175" y="695"/>
                      </a:lnTo>
                      <a:lnTo>
                        <a:pt x="177" y="695"/>
                      </a:lnTo>
                      <a:lnTo>
                        <a:pt x="177" y="693"/>
                      </a:lnTo>
                      <a:lnTo>
                        <a:pt x="177" y="695"/>
                      </a:lnTo>
                      <a:lnTo>
                        <a:pt x="177" y="693"/>
                      </a:lnTo>
                      <a:lnTo>
                        <a:pt x="179" y="693"/>
                      </a:lnTo>
                      <a:lnTo>
                        <a:pt x="179" y="691"/>
                      </a:lnTo>
                      <a:lnTo>
                        <a:pt x="180" y="691"/>
                      </a:lnTo>
                      <a:lnTo>
                        <a:pt x="180" y="690"/>
                      </a:lnTo>
                      <a:lnTo>
                        <a:pt x="180" y="688"/>
                      </a:lnTo>
                      <a:lnTo>
                        <a:pt x="180" y="686"/>
                      </a:lnTo>
                      <a:lnTo>
                        <a:pt x="180" y="685"/>
                      </a:lnTo>
                      <a:lnTo>
                        <a:pt x="182" y="685"/>
                      </a:lnTo>
                      <a:lnTo>
                        <a:pt x="184" y="685"/>
                      </a:lnTo>
                      <a:lnTo>
                        <a:pt x="184" y="683"/>
                      </a:lnTo>
                      <a:lnTo>
                        <a:pt x="186" y="683"/>
                      </a:lnTo>
                      <a:lnTo>
                        <a:pt x="184" y="683"/>
                      </a:lnTo>
                      <a:lnTo>
                        <a:pt x="184" y="682"/>
                      </a:lnTo>
                      <a:lnTo>
                        <a:pt x="186" y="682"/>
                      </a:lnTo>
                      <a:lnTo>
                        <a:pt x="184" y="680"/>
                      </a:lnTo>
                      <a:lnTo>
                        <a:pt x="186" y="680"/>
                      </a:lnTo>
                      <a:lnTo>
                        <a:pt x="184" y="680"/>
                      </a:lnTo>
                      <a:lnTo>
                        <a:pt x="184" y="678"/>
                      </a:lnTo>
                      <a:lnTo>
                        <a:pt x="186" y="678"/>
                      </a:lnTo>
                      <a:lnTo>
                        <a:pt x="186" y="677"/>
                      </a:lnTo>
                      <a:lnTo>
                        <a:pt x="186" y="675"/>
                      </a:lnTo>
                      <a:lnTo>
                        <a:pt x="187" y="675"/>
                      </a:lnTo>
                      <a:lnTo>
                        <a:pt x="187" y="677"/>
                      </a:lnTo>
                      <a:lnTo>
                        <a:pt x="189" y="677"/>
                      </a:lnTo>
                      <a:lnTo>
                        <a:pt x="191" y="677"/>
                      </a:lnTo>
                      <a:lnTo>
                        <a:pt x="192" y="677"/>
                      </a:lnTo>
                      <a:lnTo>
                        <a:pt x="192" y="675"/>
                      </a:lnTo>
                      <a:lnTo>
                        <a:pt x="194" y="673"/>
                      </a:lnTo>
                      <a:lnTo>
                        <a:pt x="196" y="673"/>
                      </a:lnTo>
                      <a:lnTo>
                        <a:pt x="197" y="672"/>
                      </a:lnTo>
                      <a:lnTo>
                        <a:pt x="199" y="672"/>
                      </a:lnTo>
                      <a:lnTo>
                        <a:pt x="201" y="672"/>
                      </a:lnTo>
                      <a:lnTo>
                        <a:pt x="202" y="672"/>
                      </a:lnTo>
                      <a:lnTo>
                        <a:pt x="204" y="672"/>
                      </a:lnTo>
                      <a:lnTo>
                        <a:pt x="206" y="672"/>
                      </a:lnTo>
                      <a:lnTo>
                        <a:pt x="207" y="672"/>
                      </a:lnTo>
                      <a:lnTo>
                        <a:pt x="209" y="672"/>
                      </a:lnTo>
                      <a:lnTo>
                        <a:pt x="209" y="670"/>
                      </a:lnTo>
                      <a:lnTo>
                        <a:pt x="211" y="668"/>
                      </a:lnTo>
                      <a:lnTo>
                        <a:pt x="213" y="668"/>
                      </a:lnTo>
                      <a:lnTo>
                        <a:pt x="213" y="667"/>
                      </a:lnTo>
                      <a:lnTo>
                        <a:pt x="213" y="665"/>
                      </a:lnTo>
                      <a:lnTo>
                        <a:pt x="213" y="663"/>
                      </a:lnTo>
                      <a:lnTo>
                        <a:pt x="213" y="662"/>
                      </a:lnTo>
                      <a:lnTo>
                        <a:pt x="214" y="660"/>
                      </a:lnTo>
                      <a:lnTo>
                        <a:pt x="213" y="659"/>
                      </a:lnTo>
                      <a:lnTo>
                        <a:pt x="211" y="659"/>
                      </a:lnTo>
                      <a:lnTo>
                        <a:pt x="211" y="657"/>
                      </a:lnTo>
                      <a:lnTo>
                        <a:pt x="213" y="657"/>
                      </a:lnTo>
                      <a:lnTo>
                        <a:pt x="213" y="655"/>
                      </a:lnTo>
                      <a:lnTo>
                        <a:pt x="213" y="654"/>
                      </a:lnTo>
                      <a:lnTo>
                        <a:pt x="214" y="654"/>
                      </a:lnTo>
                      <a:lnTo>
                        <a:pt x="214" y="652"/>
                      </a:lnTo>
                      <a:lnTo>
                        <a:pt x="214" y="650"/>
                      </a:lnTo>
                      <a:lnTo>
                        <a:pt x="216" y="650"/>
                      </a:lnTo>
                      <a:lnTo>
                        <a:pt x="216" y="649"/>
                      </a:lnTo>
                      <a:lnTo>
                        <a:pt x="216" y="647"/>
                      </a:lnTo>
                      <a:lnTo>
                        <a:pt x="216" y="645"/>
                      </a:lnTo>
                      <a:lnTo>
                        <a:pt x="214" y="645"/>
                      </a:lnTo>
                      <a:lnTo>
                        <a:pt x="216" y="645"/>
                      </a:lnTo>
                      <a:lnTo>
                        <a:pt x="216" y="644"/>
                      </a:lnTo>
                      <a:lnTo>
                        <a:pt x="216" y="642"/>
                      </a:lnTo>
                      <a:lnTo>
                        <a:pt x="214" y="642"/>
                      </a:lnTo>
                      <a:lnTo>
                        <a:pt x="214" y="641"/>
                      </a:lnTo>
                      <a:lnTo>
                        <a:pt x="213" y="639"/>
                      </a:lnTo>
                      <a:lnTo>
                        <a:pt x="211" y="639"/>
                      </a:lnTo>
                      <a:lnTo>
                        <a:pt x="211" y="637"/>
                      </a:lnTo>
                      <a:lnTo>
                        <a:pt x="209" y="637"/>
                      </a:lnTo>
                      <a:lnTo>
                        <a:pt x="207" y="636"/>
                      </a:lnTo>
                      <a:lnTo>
                        <a:pt x="207" y="634"/>
                      </a:lnTo>
                      <a:lnTo>
                        <a:pt x="206" y="634"/>
                      </a:lnTo>
                      <a:lnTo>
                        <a:pt x="206" y="632"/>
                      </a:lnTo>
                      <a:lnTo>
                        <a:pt x="204" y="632"/>
                      </a:lnTo>
                      <a:lnTo>
                        <a:pt x="202" y="632"/>
                      </a:lnTo>
                      <a:lnTo>
                        <a:pt x="201" y="632"/>
                      </a:lnTo>
                      <a:lnTo>
                        <a:pt x="199" y="632"/>
                      </a:lnTo>
                      <a:lnTo>
                        <a:pt x="199" y="634"/>
                      </a:lnTo>
                      <a:lnTo>
                        <a:pt x="199" y="632"/>
                      </a:lnTo>
                      <a:lnTo>
                        <a:pt x="197" y="632"/>
                      </a:lnTo>
                      <a:lnTo>
                        <a:pt x="197" y="634"/>
                      </a:lnTo>
                      <a:lnTo>
                        <a:pt x="196" y="634"/>
                      </a:lnTo>
                      <a:lnTo>
                        <a:pt x="194" y="634"/>
                      </a:lnTo>
                      <a:lnTo>
                        <a:pt x="192" y="634"/>
                      </a:lnTo>
                      <a:lnTo>
                        <a:pt x="191" y="634"/>
                      </a:lnTo>
                      <a:lnTo>
                        <a:pt x="191" y="636"/>
                      </a:lnTo>
                      <a:lnTo>
                        <a:pt x="189" y="636"/>
                      </a:lnTo>
                      <a:lnTo>
                        <a:pt x="189" y="634"/>
                      </a:lnTo>
                      <a:lnTo>
                        <a:pt x="189" y="636"/>
                      </a:lnTo>
                      <a:lnTo>
                        <a:pt x="187" y="636"/>
                      </a:lnTo>
                      <a:lnTo>
                        <a:pt x="187" y="637"/>
                      </a:lnTo>
                      <a:lnTo>
                        <a:pt x="186" y="637"/>
                      </a:lnTo>
                      <a:lnTo>
                        <a:pt x="184" y="637"/>
                      </a:lnTo>
                      <a:lnTo>
                        <a:pt x="182" y="637"/>
                      </a:lnTo>
                      <a:lnTo>
                        <a:pt x="182" y="639"/>
                      </a:lnTo>
                      <a:lnTo>
                        <a:pt x="180" y="637"/>
                      </a:lnTo>
                      <a:lnTo>
                        <a:pt x="180" y="639"/>
                      </a:lnTo>
                      <a:lnTo>
                        <a:pt x="180" y="637"/>
                      </a:lnTo>
                      <a:lnTo>
                        <a:pt x="179" y="637"/>
                      </a:lnTo>
                      <a:lnTo>
                        <a:pt x="179" y="639"/>
                      </a:lnTo>
                      <a:lnTo>
                        <a:pt x="177" y="639"/>
                      </a:lnTo>
                      <a:lnTo>
                        <a:pt x="179" y="637"/>
                      </a:lnTo>
                      <a:lnTo>
                        <a:pt x="177" y="637"/>
                      </a:lnTo>
                      <a:lnTo>
                        <a:pt x="177" y="639"/>
                      </a:lnTo>
                      <a:lnTo>
                        <a:pt x="175" y="639"/>
                      </a:lnTo>
                      <a:lnTo>
                        <a:pt x="175" y="641"/>
                      </a:lnTo>
                      <a:lnTo>
                        <a:pt x="174" y="641"/>
                      </a:lnTo>
                      <a:lnTo>
                        <a:pt x="172" y="641"/>
                      </a:lnTo>
                      <a:lnTo>
                        <a:pt x="172" y="642"/>
                      </a:lnTo>
                      <a:lnTo>
                        <a:pt x="170" y="642"/>
                      </a:lnTo>
                      <a:lnTo>
                        <a:pt x="170" y="644"/>
                      </a:lnTo>
                      <a:lnTo>
                        <a:pt x="169" y="644"/>
                      </a:lnTo>
                      <a:lnTo>
                        <a:pt x="169" y="645"/>
                      </a:lnTo>
                      <a:lnTo>
                        <a:pt x="167" y="645"/>
                      </a:lnTo>
                      <a:lnTo>
                        <a:pt x="167" y="647"/>
                      </a:lnTo>
                      <a:lnTo>
                        <a:pt x="167" y="645"/>
                      </a:lnTo>
                      <a:lnTo>
                        <a:pt x="167" y="647"/>
                      </a:lnTo>
                      <a:lnTo>
                        <a:pt x="165" y="647"/>
                      </a:lnTo>
                      <a:lnTo>
                        <a:pt x="167" y="647"/>
                      </a:lnTo>
                      <a:lnTo>
                        <a:pt x="165" y="647"/>
                      </a:lnTo>
                      <a:lnTo>
                        <a:pt x="164" y="647"/>
                      </a:lnTo>
                      <a:lnTo>
                        <a:pt x="162" y="647"/>
                      </a:lnTo>
                      <a:lnTo>
                        <a:pt x="162" y="645"/>
                      </a:lnTo>
                      <a:lnTo>
                        <a:pt x="160" y="645"/>
                      </a:lnTo>
                      <a:lnTo>
                        <a:pt x="160" y="644"/>
                      </a:lnTo>
                      <a:lnTo>
                        <a:pt x="160" y="642"/>
                      </a:lnTo>
                      <a:lnTo>
                        <a:pt x="159" y="642"/>
                      </a:lnTo>
                      <a:lnTo>
                        <a:pt x="159" y="641"/>
                      </a:lnTo>
                      <a:lnTo>
                        <a:pt x="157" y="641"/>
                      </a:lnTo>
                      <a:lnTo>
                        <a:pt x="155" y="641"/>
                      </a:lnTo>
                      <a:lnTo>
                        <a:pt x="157" y="641"/>
                      </a:lnTo>
                      <a:lnTo>
                        <a:pt x="157" y="639"/>
                      </a:lnTo>
                      <a:lnTo>
                        <a:pt x="155" y="639"/>
                      </a:lnTo>
                      <a:lnTo>
                        <a:pt x="157" y="639"/>
                      </a:lnTo>
                      <a:lnTo>
                        <a:pt x="155" y="639"/>
                      </a:lnTo>
                      <a:lnTo>
                        <a:pt x="155" y="637"/>
                      </a:lnTo>
                      <a:lnTo>
                        <a:pt x="157" y="637"/>
                      </a:lnTo>
                      <a:lnTo>
                        <a:pt x="155" y="637"/>
                      </a:lnTo>
                      <a:lnTo>
                        <a:pt x="155" y="636"/>
                      </a:lnTo>
                      <a:lnTo>
                        <a:pt x="153" y="636"/>
                      </a:lnTo>
                      <a:lnTo>
                        <a:pt x="153" y="634"/>
                      </a:lnTo>
                      <a:lnTo>
                        <a:pt x="152" y="634"/>
                      </a:lnTo>
                      <a:lnTo>
                        <a:pt x="152" y="632"/>
                      </a:lnTo>
                      <a:lnTo>
                        <a:pt x="150" y="632"/>
                      </a:lnTo>
                      <a:lnTo>
                        <a:pt x="150" y="631"/>
                      </a:lnTo>
                      <a:lnTo>
                        <a:pt x="148" y="629"/>
                      </a:lnTo>
                      <a:lnTo>
                        <a:pt x="148" y="627"/>
                      </a:lnTo>
                      <a:lnTo>
                        <a:pt x="147" y="627"/>
                      </a:lnTo>
                      <a:lnTo>
                        <a:pt x="147" y="626"/>
                      </a:lnTo>
                      <a:lnTo>
                        <a:pt x="145" y="626"/>
                      </a:lnTo>
                      <a:lnTo>
                        <a:pt x="143" y="626"/>
                      </a:lnTo>
                      <a:lnTo>
                        <a:pt x="143" y="624"/>
                      </a:lnTo>
                      <a:lnTo>
                        <a:pt x="143" y="626"/>
                      </a:lnTo>
                      <a:lnTo>
                        <a:pt x="143" y="624"/>
                      </a:lnTo>
                      <a:lnTo>
                        <a:pt x="142" y="624"/>
                      </a:lnTo>
                      <a:lnTo>
                        <a:pt x="143" y="624"/>
                      </a:lnTo>
                      <a:lnTo>
                        <a:pt x="142" y="624"/>
                      </a:lnTo>
                      <a:lnTo>
                        <a:pt x="142" y="622"/>
                      </a:lnTo>
                      <a:lnTo>
                        <a:pt x="143" y="622"/>
                      </a:lnTo>
                      <a:lnTo>
                        <a:pt x="142" y="622"/>
                      </a:lnTo>
                      <a:lnTo>
                        <a:pt x="142" y="621"/>
                      </a:lnTo>
                      <a:lnTo>
                        <a:pt x="142" y="619"/>
                      </a:lnTo>
                      <a:lnTo>
                        <a:pt x="140" y="619"/>
                      </a:lnTo>
                      <a:lnTo>
                        <a:pt x="142" y="619"/>
                      </a:lnTo>
                      <a:lnTo>
                        <a:pt x="142" y="618"/>
                      </a:lnTo>
                      <a:lnTo>
                        <a:pt x="140" y="618"/>
                      </a:lnTo>
                      <a:lnTo>
                        <a:pt x="138" y="618"/>
                      </a:lnTo>
                      <a:lnTo>
                        <a:pt x="138" y="616"/>
                      </a:lnTo>
                      <a:lnTo>
                        <a:pt x="138" y="618"/>
                      </a:lnTo>
                      <a:lnTo>
                        <a:pt x="137" y="618"/>
                      </a:lnTo>
                      <a:lnTo>
                        <a:pt x="137" y="616"/>
                      </a:lnTo>
                      <a:lnTo>
                        <a:pt x="137" y="614"/>
                      </a:lnTo>
                      <a:lnTo>
                        <a:pt x="137" y="613"/>
                      </a:lnTo>
                      <a:lnTo>
                        <a:pt x="135" y="613"/>
                      </a:lnTo>
                      <a:lnTo>
                        <a:pt x="135" y="611"/>
                      </a:lnTo>
                      <a:lnTo>
                        <a:pt x="133" y="611"/>
                      </a:lnTo>
                      <a:lnTo>
                        <a:pt x="135" y="611"/>
                      </a:lnTo>
                      <a:lnTo>
                        <a:pt x="137" y="611"/>
                      </a:lnTo>
                      <a:lnTo>
                        <a:pt x="135" y="611"/>
                      </a:lnTo>
                      <a:lnTo>
                        <a:pt x="135" y="609"/>
                      </a:lnTo>
                      <a:lnTo>
                        <a:pt x="133" y="608"/>
                      </a:lnTo>
                      <a:lnTo>
                        <a:pt x="133" y="606"/>
                      </a:lnTo>
                      <a:lnTo>
                        <a:pt x="131" y="606"/>
                      </a:lnTo>
                      <a:lnTo>
                        <a:pt x="130" y="606"/>
                      </a:lnTo>
                      <a:lnTo>
                        <a:pt x="130" y="608"/>
                      </a:lnTo>
                      <a:lnTo>
                        <a:pt x="131" y="608"/>
                      </a:lnTo>
                      <a:lnTo>
                        <a:pt x="131" y="609"/>
                      </a:lnTo>
                      <a:lnTo>
                        <a:pt x="133" y="609"/>
                      </a:lnTo>
                      <a:lnTo>
                        <a:pt x="131" y="609"/>
                      </a:lnTo>
                      <a:lnTo>
                        <a:pt x="130" y="609"/>
                      </a:lnTo>
                      <a:lnTo>
                        <a:pt x="130" y="608"/>
                      </a:lnTo>
                      <a:lnTo>
                        <a:pt x="130" y="606"/>
                      </a:lnTo>
                      <a:lnTo>
                        <a:pt x="130" y="604"/>
                      </a:lnTo>
                      <a:lnTo>
                        <a:pt x="128" y="604"/>
                      </a:lnTo>
                      <a:lnTo>
                        <a:pt x="128" y="603"/>
                      </a:lnTo>
                      <a:lnTo>
                        <a:pt x="128" y="601"/>
                      </a:lnTo>
                      <a:lnTo>
                        <a:pt x="126" y="601"/>
                      </a:lnTo>
                      <a:lnTo>
                        <a:pt x="125" y="601"/>
                      </a:lnTo>
                      <a:lnTo>
                        <a:pt x="125" y="599"/>
                      </a:lnTo>
                      <a:lnTo>
                        <a:pt x="125" y="598"/>
                      </a:lnTo>
                      <a:lnTo>
                        <a:pt x="123" y="598"/>
                      </a:lnTo>
                      <a:lnTo>
                        <a:pt x="121" y="598"/>
                      </a:lnTo>
                      <a:lnTo>
                        <a:pt x="121" y="599"/>
                      </a:lnTo>
                      <a:lnTo>
                        <a:pt x="121" y="598"/>
                      </a:lnTo>
                      <a:lnTo>
                        <a:pt x="120" y="598"/>
                      </a:lnTo>
                      <a:lnTo>
                        <a:pt x="120" y="596"/>
                      </a:lnTo>
                      <a:lnTo>
                        <a:pt x="120" y="595"/>
                      </a:lnTo>
                      <a:lnTo>
                        <a:pt x="118" y="595"/>
                      </a:lnTo>
                      <a:lnTo>
                        <a:pt x="118" y="593"/>
                      </a:lnTo>
                      <a:lnTo>
                        <a:pt x="118" y="591"/>
                      </a:lnTo>
                      <a:lnTo>
                        <a:pt x="118" y="590"/>
                      </a:lnTo>
                      <a:lnTo>
                        <a:pt x="116" y="590"/>
                      </a:lnTo>
                      <a:lnTo>
                        <a:pt x="115" y="590"/>
                      </a:lnTo>
                      <a:lnTo>
                        <a:pt x="113" y="590"/>
                      </a:lnTo>
                      <a:lnTo>
                        <a:pt x="113" y="591"/>
                      </a:lnTo>
                      <a:lnTo>
                        <a:pt x="111" y="591"/>
                      </a:lnTo>
                      <a:lnTo>
                        <a:pt x="111" y="590"/>
                      </a:lnTo>
                      <a:lnTo>
                        <a:pt x="110" y="590"/>
                      </a:lnTo>
                      <a:lnTo>
                        <a:pt x="110" y="588"/>
                      </a:lnTo>
                      <a:lnTo>
                        <a:pt x="111" y="588"/>
                      </a:lnTo>
                      <a:lnTo>
                        <a:pt x="113" y="586"/>
                      </a:lnTo>
                      <a:lnTo>
                        <a:pt x="115" y="586"/>
                      </a:lnTo>
                      <a:lnTo>
                        <a:pt x="116" y="586"/>
                      </a:lnTo>
                      <a:lnTo>
                        <a:pt x="118" y="585"/>
                      </a:lnTo>
                      <a:lnTo>
                        <a:pt x="120" y="583"/>
                      </a:lnTo>
                      <a:lnTo>
                        <a:pt x="120" y="581"/>
                      </a:lnTo>
                      <a:lnTo>
                        <a:pt x="120" y="580"/>
                      </a:lnTo>
                      <a:lnTo>
                        <a:pt x="120" y="578"/>
                      </a:lnTo>
                      <a:lnTo>
                        <a:pt x="118" y="576"/>
                      </a:lnTo>
                      <a:lnTo>
                        <a:pt x="116" y="575"/>
                      </a:lnTo>
                      <a:lnTo>
                        <a:pt x="115" y="575"/>
                      </a:lnTo>
                      <a:lnTo>
                        <a:pt x="115" y="573"/>
                      </a:lnTo>
                      <a:lnTo>
                        <a:pt x="113" y="573"/>
                      </a:lnTo>
                      <a:lnTo>
                        <a:pt x="111" y="573"/>
                      </a:lnTo>
                      <a:lnTo>
                        <a:pt x="110" y="573"/>
                      </a:lnTo>
                      <a:lnTo>
                        <a:pt x="110" y="575"/>
                      </a:lnTo>
                      <a:lnTo>
                        <a:pt x="108" y="575"/>
                      </a:lnTo>
                      <a:lnTo>
                        <a:pt x="108" y="576"/>
                      </a:lnTo>
                      <a:lnTo>
                        <a:pt x="106" y="576"/>
                      </a:lnTo>
                      <a:lnTo>
                        <a:pt x="106" y="578"/>
                      </a:lnTo>
                      <a:lnTo>
                        <a:pt x="104" y="578"/>
                      </a:lnTo>
                      <a:lnTo>
                        <a:pt x="104" y="576"/>
                      </a:lnTo>
                      <a:lnTo>
                        <a:pt x="103" y="576"/>
                      </a:lnTo>
                      <a:lnTo>
                        <a:pt x="103" y="575"/>
                      </a:lnTo>
                      <a:lnTo>
                        <a:pt x="101" y="573"/>
                      </a:lnTo>
                      <a:lnTo>
                        <a:pt x="99" y="572"/>
                      </a:lnTo>
                      <a:lnTo>
                        <a:pt x="98" y="570"/>
                      </a:lnTo>
                      <a:lnTo>
                        <a:pt x="96" y="570"/>
                      </a:lnTo>
                      <a:lnTo>
                        <a:pt x="94" y="568"/>
                      </a:lnTo>
                      <a:lnTo>
                        <a:pt x="94" y="567"/>
                      </a:lnTo>
                      <a:lnTo>
                        <a:pt x="94" y="565"/>
                      </a:lnTo>
                      <a:lnTo>
                        <a:pt x="96" y="563"/>
                      </a:lnTo>
                      <a:lnTo>
                        <a:pt x="98" y="562"/>
                      </a:lnTo>
                      <a:lnTo>
                        <a:pt x="99" y="562"/>
                      </a:lnTo>
                      <a:lnTo>
                        <a:pt x="101" y="563"/>
                      </a:lnTo>
                      <a:lnTo>
                        <a:pt x="103" y="563"/>
                      </a:lnTo>
                      <a:lnTo>
                        <a:pt x="104" y="563"/>
                      </a:lnTo>
                      <a:lnTo>
                        <a:pt x="104" y="562"/>
                      </a:lnTo>
                      <a:lnTo>
                        <a:pt x="106" y="562"/>
                      </a:lnTo>
                      <a:lnTo>
                        <a:pt x="106" y="560"/>
                      </a:lnTo>
                      <a:lnTo>
                        <a:pt x="108" y="558"/>
                      </a:lnTo>
                      <a:lnTo>
                        <a:pt x="108" y="557"/>
                      </a:lnTo>
                      <a:lnTo>
                        <a:pt x="110" y="555"/>
                      </a:lnTo>
                      <a:lnTo>
                        <a:pt x="110" y="553"/>
                      </a:lnTo>
                      <a:lnTo>
                        <a:pt x="110" y="552"/>
                      </a:lnTo>
                      <a:lnTo>
                        <a:pt x="111" y="552"/>
                      </a:lnTo>
                      <a:lnTo>
                        <a:pt x="111" y="550"/>
                      </a:lnTo>
                      <a:lnTo>
                        <a:pt x="113" y="550"/>
                      </a:lnTo>
                      <a:lnTo>
                        <a:pt x="115" y="549"/>
                      </a:lnTo>
                      <a:lnTo>
                        <a:pt x="115" y="547"/>
                      </a:lnTo>
                      <a:lnTo>
                        <a:pt x="116" y="547"/>
                      </a:lnTo>
                      <a:lnTo>
                        <a:pt x="115" y="545"/>
                      </a:lnTo>
                      <a:lnTo>
                        <a:pt x="116" y="545"/>
                      </a:lnTo>
                      <a:lnTo>
                        <a:pt x="116" y="544"/>
                      </a:lnTo>
                      <a:lnTo>
                        <a:pt x="116" y="542"/>
                      </a:lnTo>
                      <a:lnTo>
                        <a:pt x="118" y="540"/>
                      </a:lnTo>
                      <a:lnTo>
                        <a:pt x="118" y="539"/>
                      </a:lnTo>
                      <a:lnTo>
                        <a:pt x="118" y="537"/>
                      </a:lnTo>
                      <a:lnTo>
                        <a:pt x="116" y="535"/>
                      </a:lnTo>
                      <a:lnTo>
                        <a:pt x="116" y="534"/>
                      </a:lnTo>
                      <a:lnTo>
                        <a:pt x="116" y="532"/>
                      </a:lnTo>
                      <a:lnTo>
                        <a:pt x="116" y="530"/>
                      </a:lnTo>
                      <a:lnTo>
                        <a:pt x="118" y="527"/>
                      </a:lnTo>
                      <a:lnTo>
                        <a:pt x="120" y="527"/>
                      </a:lnTo>
                      <a:lnTo>
                        <a:pt x="120" y="526"/>
                      </a:lnTo>
                      <a:lnTo>
                        <a:pt x="118" y="526"/>
                      </a:lnTo>
                      <a:lnTo>
                        <a:pt x="118" y="524"/>
                      </a:lnTo>
                      <a:lnTo>
                        <a:pt x="118" y="522"/>
                      </a:lnTo>
                      <a:lnTo>
                        <a:pt x="120" y="521"/>
                      </a:lnTo>
                      <a:lnTo>
                        <a:pt x="118" y="519"/>
                      </a:lnTo>
                      <a:lnTo>
                        <a:pt x="120" y="517"/>
                      </a:lnTo>
                      <a:lnTo>
                        <a:pt x="121" y="516"/>
                      </a:lnTo>
                      <a:lnTo>
                        <a:pt x="121" y="514"/>
                      </a:lnTo>
                      <a:lnTo>
                        <a:pt x="121" y="512"/>
                      </a:lnTo>
                      <a:lnTo>
                        <a:pt x="121" y="511"/>
                      </a:lnTo>
                      <a:lnTo>
                        <a:pt x="121" y="509"/>
                      </a:lnTo>
                      <a:lnTo>
                        <a:pt x="123" y="509"/>
                      </a:lnTo>
                      <a:lnTo>
                        <a:pt x="123" y="507"/>
                      </a:lnTo>
                      <a:lnTo>
                        <a:pt x="123" y="504"/>
                      </a:lnTo>
                      <a:lnTo>
                        <a:pt x="125" y="504"/>
                      </a:lnTo>
                      <a:lnTo>
                        <a:pt x="125" y="503"/>
                      </a:lnTo>
                      <a:lnTo>
                        <a:pt x="126" y="503"/>
                      </a:lnTo>
                      <a:lnTo>
                        <a:pt x="126" y="501"/>
                      </a:lnTo>
                      <a:lnTo>
                        <a:pt x="125" y="498"/>
                      </a:lnTo>
                      <a:lnTo>
                        <a:pt x="126" y="494"/>
                      </a:lnTo>
                      <a:lnTo>
                        <a:pt x="126" y="493"/>
                      </a:lnTo>
                      <a:lnTo>
                        <a:pt x="126" y="491"/>
                      </a:lnTo>
                      <a:lnTo>
                        <a:pt x="126" y="489"/>
                      </a:lnTo>
                      <a:lnTo>
                        <a:pt x="126" y="488"/>
                      </a:lnTo>
                      <a:lnTo>
                        <a:pt x="128" y="486"/>
                      </a:lnTo>
                      <a:lnTo>
                        <a:pt x="130" y="483"/>
                      </a:lnTo>
                      <a:lnTo>
                        <a:pt x="130" y="481"/>
                      </a:lnTo>
                      <a:lnTo>
                        <a:pt x="130" y="480"/>
                      </a:lnTo>
                      <a:lnTo>
                        <a:pt x="130" y="478"/>
                      </a:lnTo>
                      <a:lnTo>
                        <a:pt x="128" y="478"/>
                      </a:lnTo>
                      <a:lnTo>
                        <a:pt x="128" y="476"/>
                      </a:lnTo>
                      <a:lnTo>
                        <a:pt x="126" y="473"/>
                      </a:lnTo>
                      <a:lnTo>
                        <a:pt x="125" y="471"/>
                      </a:lnTo>
                      <a:lnTo>
                        <a:pt x="125" y="470"/>
                      </a:lnTo>
                      <a:lnTo>
                        <a:pt x="125" y="466"/>
                      </a:lnTo>
                      <a:lnTo>
                        <a:pt x="125" y="465"/>
                      </a:lnTo>
                      <a:lnTo>
                        <a:pt x="125" y="463"/>
                      </a:lnTo>
                      <a:lnTo>
                        <a:pt x="125" y="461"/>
                      </a:lnTo>
                      <a:lnTo>
                        <a:pt x="125" y="460"/>
                      </a:lnTo>
                      <a:lnTo>
                        <a:pt x="125" y="458"/>
                      </a:lnTo>
                      <a:lnTo>
                        <a:pt x="123" y="457"/>
                      </a:lnTo>
                      <a:lnTo>
                        <a:pt x="123" y="455"/>
                      </a:lnTo>
                      <a:lnTo>
                        <a:pt x="125" y="455"/>
                      </a:lnTo>
                      <a:lnTo>
                        <a:pt x="125" y="453"/>
                      </a:lnTo>
                      <a:lnTo>
                        <a:pt x="125" y="452"/>
                      </a:lnTo>
                      <a:lnTo>
                        <a:pt x="125" y="450"/>
                      </a:lnTo>
                      <a:lnTo>
                        <a:pt x="125" y="447"/>
                      </a:lnTo>
                      <a:lnTo>
                        <a:pt x="125" y="445"/>
                      </a:lnTo>
                      <a:lnTo>
                        <a:pt x="125" y="443"/>
                      </a:lnTo>
                      <a:lnTo>
                        <a:pt x="123" y="442"/>
                      </a:lnTo>
                      <a:lnTo>
                        <a:pt x="123" y="440"/>
                      </a:lnTo>
                      <a:lnTo>
                        <a:pt x="123" y="439"/>
                      </a:lnTo>
                      <a:lnTo>
                        <a:pt x="121" y="437"/>
                      </a:lnTo>
                      <a:lnTo>
                        <a:pt x="121" y="435"/>
                      </a:lnTo>
                      <a:lnTo>
                        <a:pt x="120" y="435"/>
                      </a:lnTo>
                      <a:lnTo>
                        <a:pt x="120" y="434"/>
                      </a:lnTo>
                      <a:lnTo>
                        <a:pt x="118" y="434"/>
                      </a:lnTo>
                      <a:lnTo>
                        <a:pt x="118" y="432"/>
                      </a:lnTo>
                      <a:lnTo>
                        <a:pt x="120" y="430"/>
                      </a:lnTo>
                      <a:lnTo>
                        <a:pt x="120" y="429"/>
                      </a:lnTo>
                      <a:lnTo>
                        <a:pt x="121" y="425"/>
                      </a:lnTo>
                      <a:lnTo>
                        <a:pt x="120" y="424"/>
                      </a:lnTo>
                      <a:lnTo>
                        <a:pt x="120" y="422"/>
                      </a:lnTo>
                      <a:lnTo>
                        <a:pt x="120" y="420"/>
                      </a:lnTo>
                      <a:lnTo>
                        <a:pt x="120" y="419"/>
                      </a:lnTo>
                      <a:lnTo>
                        <a:pt x="120" y="417"/>
                      </a:lnTo>
                      <a:lnTo>
                        <a:pt x="120" y="416"/>
                      </a:lnTo>
                      <a:lnTo>
                        <a:pt x="118" y="414"/>
                      </a:lnTo>
                      <a:lnTo>
                        <a:pt x="116" y="412"/>
                      </a:lnTo>
                      <a:lnTo>
                        <a:pt x="116" y="411"/>
                      </a:lnTo>
                      <a:lnTo>
                        <a:pt x="115" y="409"/>
                      </a:lnTo>
                      <a:lnTo>
                        <a:pt x="113" y="409"/>
                      </a:lnTo>
                      <a:lnTo>
                        <a:pt x="113" y="407"/>
                      </a:lnTo>
                      <a:lnTo>
                        <a:pt x="111" y="407"/>
                      </a:lnTo>
                      <a:lnTo>
                        <a:pt x="111" y="409"/>
                      </a:lnTo>
                      <a:lnTo>
                        <a:pt x="110" y="407"/>
                      </a:lnTo>
                      <a:lnTo>
                        <a:pt x="108" y="407"/>
                      </a:lnTo>
                      <a:lnTo>
                        <a:pt x="106" y="407"/>
                      </a:lnTo>
                      <a:lnTo>
                        <a:pt x="104" y="406"/>
                      </a:lnTo>
                      <a:lnTo>
                        <a:pt x="103" y="404"/>
                      </a:lnTo>
                      <a:lnTo>
                        <a:pt x="101" y="404"/>
                      </a:lnTo>
                      <a:lnTo>
                        <a:pt x="101" y="402"/>
                      </a:lnTo>
                      <a:lnTo>
                        <a:pt x="98" y="401"/>
                      </a:lnTo>
                      <a:lnTo>
                        <a:pt x="96" y="401"/>
                      </a:lnTo>
                      <a:lnTo>
                        <a:pt x="94" y="401"/>
                      </a:lnTo>
                      <a:lnTo>
                        <a:pt x="94" y="399"/>
                      </a:lnTo>
                      <a:lnTo>
                        <a:pt x="93" y="399"/>
                      </a:lnTo>
                      <a:lnTo>
                        <a:pt x="93" y="401"/>
                      </a:lnTo>
                      <a:lnTo>
                        <a:pt x="91" y="401"/>
                      </a:lnTo>
                      <a:lnTo>
                        <a:pt x="89" y="401"/>
                      </a:lnTo>
                      <a:lnTo>
                        <a:pt x="88" y="401"/>
                      </a:lnTo>
                      <a:lnTo>
                        <a:pt x="86" y="401"/>
                      </a:lnTo>
                      <a:lnTo>
                        <a:pt x="86" y="399"/>
                      </a:lnTo>
                      <a:lnTo>
                        <a:pt x="84" y="397"/>
                      </a:lnTo>
                      <a:lnTo>
                        <a:pt x="84" y="396"/>
                      </a:lnTo>
                      <a:lnTo>
                        <a:pt x="83" y="396"/>
                      </a:lnTo>
                      <a:lnTo>
                        <a:pt x="84" y="394"/>
                      </a:lnTo>
                      <a:lnTo>
                        <a:pt x="84" y="393"/>
                      </a:lnTo>
                      <a:lnTo>
                        <a:pt x="83" y="391"/>
                      </a:lnTo>
                      <a:lnTo>
                        <a:pt x="83" y="389"/>
                      </a:lnTo>
                      <a:lnTo>
                        <a:pt x="79" y="388"/>
                      </a:lnTo>
                      <a:lnTo>
                        <a:pt x="77" y="388"/>
                      </a:lnTo>
                      <a:lnTo>
                        <a:pt x="76" y="388"/>
                      </a:lnTo>
                      <a:lnTo>
                        <a:pt x="74" y="388"/>
                      </a:lnTo>
                      <a:lnTo>
                        <a:pt x="72" y="386"/>
                      </a:lnTo>
                      <a:lnTo>
                        <a:pt x="71" y="386"/>
                      </a:lnTo>
                      <a:lnTo>
                        <a:pt x="69" y="388"/>
                      </a:lnTo>
                      <a:lnTo>
                        <a:pt x="67" y="388"/>
                      </a:lnTo>
                      <a:lnTo>
                        <a:pt x="67" y="389"/>
                      </a:lnTo>
                      <a:lnTo>
                        <a:pt x="66" y="389"/>
                      </a:lnTo>
                      <a:lnTo>
                        <a:pt x="64" y="391"/>
                      </a:lnTo>
                      <a:lnTo>
                        <a:pt x="62" y="391"/>
                      </a:lnTo>
                      <a:lnTo>
                        <a:pt x="61" y="389"/>
                      </a:lnTo>
                      <a:lnTo>
                        <a:pt x="57" y="389"/>
                      </a:lnTo>
                      <a:lnTo>
                        <a:pt x="54" y="389"/>
                      </a:lnTo>
                      <a:lnTo>
                        <a:pt x="52" y="388"/>
                      </a:lnTo>
                      <a:lnTo>
                        <a:pt x="50" y="388"/>
                      </a:lnTo>
                      <a:lnTo>
                        <a:pt x="49" y="386"/>
                      </a:lnTo>
                      <a:lnTo>
                        <a:pt x="47" y="386"/>
                      </a:lnTo>
                      <a:lnTo>
                        <a:pt x="45" y="384"/>
                      </a:lnTo>
                      <a:lnTo>
                        <a:pt x="44" y="384"/>
                      </a:lnTo>
                      <a:lnTo>
                        <a:pt x="42" y="384"/>
                      </a:lnTo>
                      <a:lnTo>
                        <a:pt x="40" y="384"/>
                      </a:lnTo>
                      <a:lnTo>
                        <a:pt x="40" y="383"/>
                      </a:lnTo>
                      <a:lnTo>
                        <a:pt x="39" y="383"/>
                      </a:lnTo>
                      <a:lnTo>
                        <a:pt x="37" y="381"/>
                      </a:lnTo>
                      <a:lnTo>
                        <a:pt x="35" y="381"/>
                      </a:lnTo>
                      <a:lnTo>
                        <a:pt x="34" y="381"/>
                      </a:lnTo>
                      <a:lnTo>
                        <a:pt x="32" y="381"/>
                      </a:lnTo>
                      <a:lnTo>
                        <a:pt x="28" y="383"/>
                      </a:lnTo>
                      <a:lnTo>
                        <a:pt x="27" y="383"/>
                      </a:lnTo>
                      <a:lnTo>
                        <a:pt x="25" y="383"/>
                      </a:lnTo>
                      <a:lnTo>
                        <a:pt x="23" y="383"/>
                      </a:lnTo>
                      <a:lnTo>
                        <a:pt x="22" y="383"/>
                      </a:lnTo>
                      <a:lnTo>
                        <a:pt x="20" y="383"/>
                      </a:lnTo>
                      <a:lnTo>
                        <a:pt x="20" y="384"/>
                      </a:lnTo>
                      <a:lnTo>
                        <a:pt x="18" y="384"/>
                      </a:lnTo>
                      <a:lnTo>
                        <a:pt x="18" y="386"/>
                      </a:lnTo>
                      <a:lnTo>
                        <a:pt x="18" y="388"/>
                      </a:lnTo>
                      <a:lnTo>
                        <a:pt x="17" y="389"/>
                      </a:lnTo>
                      <a:lnTo>
                        <a:pt x="17" y="391"/>
                      </a:lnTo>
                      <a:lnTo>
                        <a:pt x="15" y="394"/>
                      </a:lnTo>
                      <a:lnTo>
                        <a:pt x="13" y="396"/>
                      </a:lnTo>
                      <a:lnTo>
                        <a:pt x="12" y="396"/>
                      </a:lnTo>
                      <a:lnTo>
                        <a:pt x="10" y="394"/>
                      </a:lnTo>
                      <a:lnTo>
                        <a:pt x="8" y="393"/>
                      </a:lnTo>
                      <a:lnTo>
                        <a:pt x="7" y="393"/>
                      </a:lnTo>
                      <a:lnTo>
                        <a:pt x="5" y="394"/>
                      </a:lnTo>
                      <a:lnTo>
                        <a:pt x="5" y="396"/>
                      </a:lnTo>
                      <a:lnTo>
                        <a:pt x="5" y="397"/>
                      </a:lnTo>
                      <a:lnTo>
                        <a:pt x="3" y="397"/>
                      </a:lnTo>
                      <a:lnTo>
                        <a:pt x="1" y="397"/>
                      </a:lnTo>
                      <a:lnTo>
                        <a:pt x="0" y="397"/>
                      </a:lnTo>
                      <a:lnTo>
                        <a:pt x="23" y="378"/>
                      </a:lnTo>
                      <a:lnTo>
                        <a:pt x="27" y="376"/>
                      </a:lnTo>
                      <a:lnTo>
                        <a:pt x="28" y="376"/>
                      </a:lnTo>
                      <a:lnTo>
                        <a:pt x="28" y="374"/>
                      </a:lnTo>
                      <a:lnTo>
                        <a:pt x="30" y="374"/>
                      </a:lnTo>
                      <a:lnTo>
                        <a:pt x="30" y="373"/>
                      </a:lnTo>
                      <a:lnTo>
                        <a:pt x="30" y="371"/>
                      </a:lnTo>
                      <a:lnTo>
                        <a:pt x="32" y="373"/>
                      </a:lnTo>
                      <a:lnTo>
                        <a:pt x="34" y="371"/>
                      </a:lnTo>
                      <a:lnTo>
                        <a:pt x="35" y="370"/>
                      </a:lnTo>
                      <a:lnTo>
                        <a:pt x="40" y="366"/>
                      </a:lnTo>
                      <a:lnTo>
                        <a:pt x="52" y="356"/>
                      </a:lnTo>
                      <a:lnTo>
                        <a:pt x="69" y="345"/>
                      </a:lnTo>
                      <a:lnTo>
                        <a:pt x="71" y="343"/>
                      </a:lnTo>
                      <a:lnTo>
                        <a:pt x="88" y="330"/>
                      </a:lnTo>
                      <a:lnTo>
                        <a:pt x="89" y="328"/>
                      </a:lnTo>
                      <a:lnTo>
                        <a:pt x="91" y="327"/>
                      </a:lnTo>
                      <a:lnTo>
                        <a:pt x="93" y="327"/>
                      </a:lnTo>
                      <a:lnTo>
                        <a:pt x="94" y="327"/>
                      </a:lnTo>
                      <a:lnTo>
                        <a:pt x="94" y="328"/>
                      </a:lnTo>
                      <a:lnTo>
                        <a:pt x="96" y="328"/>
                      </a:lnTo>
                      <a:lnTo>
                        <a:pt x="98" y="328"/>
                      </a:lnTo>
                      <a:lnTo>
                        <a:pt x="99" y="328"/>
                      </a:lnTo>
                      <a:lnTo>
                        <a:pt x="101" y="328"/>
                      </a:lnTo>
                      <a:lnTo>
                        <a:pt x="103" y="328"/>
                      </a:lnTo>
                      <a:lnTo>
                        <a:pt x="103" y="327"/>
                      </a:lnTo>
                      <a:lnTo>
                        <a:pt x="104" y="327"/>
                      </a:lnTo>
                      <a:lnTo>
                        <a:pt x="106" y="325"/>
                      </a:lnTo>
                      <a:lnTo>
                        <a:pt x="108" y="325"/>
                      </a:lnTo>
                      <a:lnTo>
                        <a:pt x="108" y="324"/>
                      </a:lnTo>
                      <a:lnTo>
                        <a:pt x="110" y="322"/>
                      </a:lnTo>
                      <a:lnTo>
                        <a:pt x="111" y="320"/>
                      </a:lnTo>
                      <a:lnTo>
                        <a:pt x="111" y="319"/>
                      </a:lnTo>
                      <a:lnTo>
                        <a:pt x="111" y="317"/>
                      </a:lnTo>
                      <a:lnTo>
                        <a:pt x="113" y="317"/>
                      </a:lnTo>
                      <a:lnTo>
                        <a:pt x="113" y="315"/>
                      </a:lnTo>
                      <a:lnTo>
                        <a:pt x="115" y="314"/>
                      </a:lnTo>
                      <a:lnTo>
                        <a:pt x="116" y="312"/>
                      </a:lnTo>
                      <a:lnTo>
                        <a:pt x="118" y="310"/>
                      </a:lnTo>
                      <a:lnTo>
                        <a:pt x="118" y="309"/>
                      </a:lnTo>
                      <a:lnTo>
                        <a:pt x="120" y="307"/>
                      </a:lnTo>
                      <a:lnTo>
                        <a:pt x="120" y="305"/>
                      </a:lnTo>
                      <a:lnTo>
                        <a:pt x="121" y="305"/>
                      </a:lnTo>
                      <a:lnTo>
                        <a:pt x="120" y="305"/>
                      </a:lnTo>
                      <a:lnTo>
                        <a:pt x="121" y="304"/>
                      </a:lnTo>
                      <a:lnTo>
                        <a:pt x="120" y="304"/>
                      </a:lnTo>
                      <a:lnTo>
                        <a:pt x="120" y="302"/>
                      </a:lnTo>
                      <a:lnTo>
                        <a:pt x="121" y="302"/>
                      </a:lnTo>
                      <a:lnTo>
                        <a:pt x="121" y="301"/>
                      </a:lnTo>
                      <a:lnTo>
                        <a:pt x="123" y="301"/>
                      </a:lnTo>
                      <a:lnTo>
                        <a:pt x="123" y="299"/>
                      </a:lnTo>
                      <a:lnTo>
                        <a:pt x="125" y="299"/>
                      </a:lnTo>
                      <a:lnTo>
                        <a:pt x="126" y="299"/>
                      </a:lnTo>
                      <a:lnTo>
                        <a:pt x="126" y="297"/>
                      </a:lnTo>
                      <a:lnTo>
                        <a:pt x="128" y="297"/>
                      </a:lnTo>
                      <a:lnTo>
                        <a:pt x="128" y="296"/>
                      </a:lnTo>
                      <a:lnTo>
                        <a:pt x="130" y="296"/>
                      </a:lnTo>
                      <a:lnTo>
                        <a:pt x="130" y="294"/>
                      </a:lnTo>
                      <a:lnTo>
                        <a:pt x="130" y="292"/>
                      </a:lnTo>
                      <a:lnTo>
                        <a:pt x="131" y="292"/>
                      </a:lnTo>
                      <a:lnTo>
                        <a:pt x="131" y="291"/>
                      </a:lnTo>
                      <a:lnTo>
                        <a:pt x="131" y="289"/>
                      </a:lnTo>
                      <a:lnTo>
                        <a:pt x="133" y="289"/>
                      </a:lnTo>
                      <a:lnTo>
                        <a:pt x="133" y="287"/>
                      </a:lnTo>
                      <a:lnTo>
                        <a:pt x="133" y="286"/>
                      </a:lnTo>
                      <a:lnTo>
                        <a:pt x="133" y="284"/>
                      </a:lnTo>
                      <a:lnTo>
                        <a:pt x="133" y="282"/>
                      </a:lnTo>
                      <a:lnTo>
                        <a:pt x="135" y="281"/>
                      </a:lnTo>
                      <a:lnTo>
                        <a:pt x="133" y="281"/>
                      </a:lnTo>
                      <a:lnTo>
                        <a:pt x="135" y="279"/>
                      </a:lnTo>
                      <a:lnTo>
                        <a:pt x="135" y="278"/>
                      </a:lnTo>
                      <a:lnTo>
                        <a:pt x="137" y="278"/>
                      </a:lnTo>
                      <a:lnTo>
                        <a:pt x="138" y="278"/>
                      </a:lnTo>
                      <a:lnTo>
                        <a:pt x="138" y="276"/>
                      </a:lnTo>
                      <a:lnTo>
                        <a:pt x="138" y="278"/>
                      </a:lnTo>
                      <a:lnTo>
                        <a:pt x="138" y="276"/>
                      </a:lnTo>
                      <a:lnTo>
                        <a:pt x="140" y="276"/>
                      </a:lnTo>
                      <a:lnTo>
                        <a:pt x="142" y="274"/>
                      </a:lnTo>
                      <a:lnTo>
                        <a:pt x="143" y="274"/>
                      </a:lnTo>
                      <a:lnTo>
                        <a:pt x="143" y="273"/>
                      </a:lnTo>
                      <a:lnTo>
                        <a:pt x="145" y="273"/>
                      </a:lnTo>
                      <a:lnTo>
                        <a:pt x="145" y="271"/>
                      </a:lnTo>
                      <a:lnTo>
                        <a:pt x="147" y="271"/>
                      </a:lnTo>
                      <a:lnTo>
                        <a:pt x="147" y="269"/>
                      </a:lnTo>
                      <a:lnTo>
                        <a:pt x="147" y="271"/>
                      </a:lnTo>
                      <a:lnTo>
                        <a:pt x="148" y="269"/>
                      </a:lnTo>
                      <a:lnTo>
                        <a:pt x="148" y="268"/>
                      </a:lnTo>
                      <a:lnTo>
                        <a:pt x="150" y="268"/>
                      </a:lnTo>
                      <a:lnTo>
                        <a:pt x="150" y="266"/>
                      </a:lnTo>
                      <a:lnTo>
                        <a:pt x="150" y="264"/>
                      </a:lnTo>
                      <a:lnTo>
                        <a:pt x="152" y="263"/>
                      </a:lnTo>
                      <a:lnTo>
                        <a:pt x="152" y="264"/>
                      </a:lnTo>
                      <a:lnTo>
                        <a:pt x="153" y="263"/>
                      </a:lnTo>
                      <a:lnTo>
                        <a:pt x="153" y="261"/>
                      </a:lnTo>
                      <a:lnTo>
                        <a:pt x="155" y="261"/>
                      </a:lnTo>
                      <a:lnTo>
                        <a:pt x="157" y="259"/>
                      </a:lnTo>
                      <a:lnTo>
                        <a:pt x="159" y="258"/>
                      </a:lnTo>
                      <a:lnTo>
                        <a:pt x="157" y="256"/>
                      </a:lnTo>
                      <a:lnTo>
                        <a:pt x="159" y="256"/>
                      </a:lnTo>
                      <a:lnTo>
                        <a:pt x="159" y="255"/>
                      </a:lnTo>
                      <a:lnTo>
                        <a:pt x="160" y="255"/>
                      </a:lnTo>
                      <a:lnTo>
                        <a:pt x="160" y="253"/>
                      </a:lnTo>
                      <a:lnTo>
                        <a:pt x="160" y="251"/>
                      </a:lnTo>
                      <a:lnTo>
                        <a:pt x="160" y="250"/>
                      </a:lnTo>
                      <a:lnTo>
                        <a:pt x="160" y="248"/>
                      </a:lnTo>
                      <a:lnTo>
                        <a:pt x="160" y="246"/>
                      </a:lnTo>
                      <a:lnTo>
                        <a:pt x="162" y="246"/>
                      </a:lnTo>
                      <a:lnTo>
                        <a:pt x="162" y="245"/>
                      </a:lnTo>
                      <a:lnTo>
                        <a:pt x="160" y="245"/>
                      </a:lnTo>
                      <a:lnTo>
                        <a:pt x="160" y="243"/>
                      </a:lnTo>
                      <a:lnTo>
                        <a:pt x="162" y="243"/>
                      </a:lnTo>
                      <a:lnTo>
                        <a:pt x="162" y="241"/>
                      </a:lnTo>
                      <a:lnTo>
                        <a:pt x="162" y="243"/>
                      </a:lnTo>
                      <a:lnTo>
                        <a:pt x="160" y="241"/>
                      </a:lnTo>
                      <a:lnTo>
                        <a:pt x="162" y="241"/>
                      </a:lnTo>
                      <a:lnTo>
                        <a:pt x="160" y="241"/>
                      </a:lnTo>
                      <a:lnTo>
                        <a:pt x="160" y="240"/>
                      </a:lnTo>
                      <a:lnTo>
                        <a:pt x="162" y="240"/>
                      </a:lnTo>
                      <a:lnTo>
                        <a:pt x="162" y="238"/>
                      </a:lnTo>
                      <a:lnTo>
                        <a:pt x="162" y="240"/>
                      </a:lnTo>
                      <a:lnTo>
                        <a:pt x="160" y="238"/>
                      </a:lnTo>
                      <a:lnTo>
                        <a:pt x="162" y="238"/>
                      </a:lnTo>
                      <a:lnTo>
                        <a:pt x="162" y="237"/>
                      </a:lnTo>
                      <a:lnTo>
                        <a:pt x="164" y="237"/>
                      </a:lnTo>
                      <a:lnTo>
                        <a:pt x="164" y="235"/>
                      </a:lnTo>
                      <a:lnTo>
                        <a:pt x="162" y="235"/>
                      </a:lnTo>
                      <a:lnTo>
                        <a:pt x="164" y="235"/>
                      </a:lnTo>
                      <a:lnTo>
                        <a:pt x="164" y="233"/>
                      </a:lnTo>
                      <a:lnTo>
                        <a:pt x="162" y="233"/>
                      </a:lnTo>
                      <a:lnTo>
                        <a:pt x="164" y="232"/>
                      </a:lnTo>
                      <a:lnTo>
                        <a:pt x="164" y="233"/>
                      </a:lnTo>
                      <a:lnTo>
                        <a:pt x="164" y="232"/>
                      </a:lnTo>
                      <a:lnTo>
                        <a:pt x="165" y="232"/>
                      </a:lnTo>
                      <a:lnTo>
                        <a:pt x="165" y="230"/>
                      </a:lnTo>
                      <a:lnTo>
                        <a:pt x="167" y="230"/>
                      </a:lnTo>
                      <a:lnTo>
                        <a:pt x="169" y="228"/>
                      </a:lnTo>
                      <a:lnTo>
                        <a:pt x="167" y="228"/>
                      </a:lnTo>
                      <a:lnTo>
                        <a:pt x="169" y="228"/>
                      </a:lnTo>
                      <a:lnTo>
                        <a:pt x="169" y="227"/>
                      </a:lnTo>
                      <a:lnTo>
                        <a:pt x="167" y="227"/>
                      </a:lnTo>
                      <a:lnTo>
                        <a:pt x="169" y="227"/>
                      </a:lnTo>
                      <a:lnTo>
                        <a:pt x="169" y="225"/>
                      </a:lnTo>
                      <a:lnTo>
                        <a:pt x="170" y="225"/>
                      </a:lnTo>
                      <a:lnTo>
                        <a:pt x="170" y="223"/>
                      </a:lnTo>
                      <a:lnTo>
                        <a:pt x="170" y="222"/>
                      </a:lnTo>
                      <a:lnTo>
                        <a:pt x="172" y="222"/>
                      </a:lnTo>
                      <a:lnTo>
                        <a:pt x="170" y="222"/>
                      </a:lnTo>
                      <a:lnTo>
                        <a:pt x="170" y="220"/>
                      </a:lnTo>
                      <a:lnTo>
                        <a:pt x="170" y="218"/>
                      </a:lnTo>
                      <a:lnTo>
                        <a:pt x="170" y="220"/>
                      </a:lnTo>
                      <a:lnTo>
                        <a:pt x="172" y="218"/>
                      </a:lnTo>
                      <a:lnTo>
                        <a:pt x="170" y="218"/>
                      </a:lnTo>
                      <a:lnTo>
                        <a:pt x="170" y="217"/>
                      </a:lnTo>
                      <a:lnTo>
                        <a:pt x="172" y="217"/>
                      </a:lnTo>
                      <a:lnTo>
                        <a:pt x="172" y="215"/>
                      </a:lnTo>
                      <a:lnTo>
                        <a:pt x="170" y="215"/>
                      </a:lnTo>
                      <a:lnTo>
                        <a:pt x="172" y="215"/>
                      </a:lnTo>
                      <a:lnTo>
                        <a:pt x="174" y="215"/>
                      </a:lnTo>
                      <a:lnTo>
                        <a:pt x="174" y="214"/>
                      </a:lnTo>
                      <a:lnTo>
                        <a:pt x="174" y="215"/>
                      </a:lnTo>
                      <a:lnTo>
                        <a:pt x="175" y="214"/>
                      </a:lnTo>
                      <a:lnTo>
                        <a:pt x="175" y="212"/>
                      </a:lnTo>
                      <a:lnTo>
                        <a:pt x="177" y="212"/>
                      </a:lnTo>
                      <a:lnTo>
                        <a:pt x="179" y="212"/>
                      </a:lnTo>
                      <a:lnTo>
                        <a:pt x="177" y="212"/>
                      </a:lnTo>
                      <a:lnTo>
                        <a:pt x="177" y="210"/>
                      </a:lnTo>
                      <a:lnTo>
                        <a:pt x="179" y="210"/>
                      </a:lnTo>
                      <a:lnTo>
                        <a:pt x="179" y="212"/>
                      </a:lnTo>
                      <a:lnTo>
                        <a:pt x="180" y="212"/>
                      </a:lnTo>
                      <a:lnTo>
                        <a:pt x="179" y="212"/>
                      </a:lnTo>
                      <a:lnTo>
                        <a:pt x="179" y="210"/>
                      </a:lnTo>
                      <a:lnTo>
                        <a:pt x="180" y="210"/>
                      </a:lnTo>
                      <a:lnTo>
                        <a:pt x="180" y="209"/>
                      </a:lnTo>
                      <a:lnTo>
                        <a:pt x="182" y="209"/>
                      </a:lnTo>
                      <a:lnTo>
                        <a:pt x="184" y="209"/>
                      </a:lnTo>
                      <a:lnTo>
                        <a:pt x="182" y="209"/>
                      </a:lnTo>
                      <a:lnTo>
                        <a:pt x="182" y="207"/>
                      </a:lnTo>
                      <a:lnTo>
                        <a:pt x="184" y="207"/>
                      </a:lnTo>
                      <a:lnTo>
                        <a:pt x="184" y="205"/>
                      </a:lnTo>
                      <a:lnTo>
                        <a:pt x="182" y="205"/>
                      </a:lnTo>
                      <a:lnTo>
                        <a:pt x="184" y="205"/>
                      </a:lnTo>
                      <a:lnTo>
                        <a:pt x="184" y="204"/>
                      </a:lnTo>
                      <a:lnTo>
                        <a:pt x="184" y="202"/>
                      </a:lnTo>
                      <a:lnTo>
                        <a:pt x="186" y="202"/>
                      </a:lnTo>
                      <a:lnTo>
                        <a:pt x="186" y="204"/>
                      </a:lnTo>
                      <a:lnTo>
                        <a:pt x="186" y="202"/>
                      </a:lnTo>
                      <a:lnTo>
                        <a:pt x="187" y="202"/>
                      </a:lnTo>
                      <a:lnTo>
                        <a:pt x="187" y="200"/>
                      </a:lnTo>
                      <a:lnTo>
                        <a:pt x="189" y="200"/>
                      </a:lnTo>
                      <a:lnTo>
                        <a:pt x="187" y="199"/>
                      </a:lnTo>
                      <a:lnTo>
                        <a:pt x="189" y="199"/>
                      </a:lnTo>
                      <a:lnTo>
                        <a:pt x="189" y="197"/>
                      </a:lnTo>
                      <a:lnTo>
                        <a:pt x="187" y="197"/>
                      </a:lnTo>
                      <a:lnTo>
                        <a:pt x="189" y="197"/>
                      </a:lnTo>
                      <a:lnTo>
                        <a:pt x="189" y="195"/>
                      </a:lnTo>
                      <a:lnTo>
                        <a:pt x="191" y="195"/>
                      </a:lnTo>
                      <a:lnTo>
                        <a:pt x="192" y="195"/>
                      </a:lnTo>
                      <a:lnTo>
                        <a:pt x="192" y="194"/>
                      </a:lnTo>
                      <a:lnTo>
                        <a:pt x="191" y="194"/>
                      </a:lnTo>
                      <a:lnTo>
                        <a:pt x="191" y="192"/>
                      </a:lnTo>
                      <a:lnTo>
                        <a:pt x="189" y="192"/>
                      </a:lnTo>
                      <a:lnTo>
                        <a:pt x="191" y="192"/>
                      </a:lnTo>
                      <a:lnTo>
                        <a:pt x="192" y="191"/>
                      </a:lnTo>
                      <a:lnTo>
                        <a:pt x="192" y="192"/>
                      </a:lnTo>
                      <a:lnTo>
                        <a:pt x="194" y="192"/>
                      </a:lnTo>
                      <a:lnTo>
                        <a:pt x="194" y="191"/>
                      </a:lnTo>
                      <a:lnTo>
                        <a:pt x="194" y="189"/>
                      </a:lnTo>
                      <a:lnTo>
                        <a:pt x="196" y="189"/>
                      </a:lnTo>
                      <a:lnTo>
                        <a:pt x="196" y="187"/>
                      </a:lnTo>
                      <a:lnTo>
                        <a:pt x="196" y="186"/>
                      </a:lnTo>
                      <a:lnTo>
                        <a:pt x="196" y="184"/>
                      </a:lnTo>
                      <a:lnTo>
                        <a:pt x="197" y="184"/>
                      </a:lnTo>
                      <a:lnTo>
                        <a:pt x="197" y="182"/>
                      </a:lnTo>
                      <a:lnTo>
                        <a:pt x="197" y="181"/>
                      </a:lnTo>
                      <a:lnTo>
                        <a:pt x="199" y="181"/>
                      </a:lnTo>
                      <a:lnTo>
                        <a:pt x="199" y="179"/>
                      </a:lnTo>
                      <a:lnTo>
                        <a:pt x="197" y="179"/>
                      </a:lnTo>
                      <a:lnTo>
                        <a:pt x="197" y="177"/>
                      </a:lnTo>
                      <a:lnTo>
                        <a:pt x="199" y="177"/>
                      </a:lnTo>
                      <a:lnTo>
                        <a:pt x="199" y="176"/>
                      </a:lnTo>
                      <a:lnTo>
                        <a:pt x="197" y="176"/>
                      </a:lnTo>
                      <a:lnTo>
                        <a:pt x="197" y="174"/>
                      </a:lnTo>
                      <a:lnTo>
                        <a:pt x="199" y="174"/>
                      </a:lnTo>
                      <a:lnTo>
                        <a:pt x="197" y="172"/>
                      </a:lnTo>
                      <a:lnTo>
                        <a:pt x="197" y="171"/>
                      </a:lnTo>
                      <a:lnTo>
                        <a:pt x="196" y="171"/>
                      </a:lnTo>
                      <a:lnTo>
                        <a:pt x="196" y="169"/>
                      </a:lnTo>
                      <a:lnTo>
                        <a:pt x="197" y="169"/>
                      </a:lnTo>
                      <a:lnTo>
                        <a:pt x="199" y="169"/>
                      </a:lnTo>
                      <a:lnTo>
                        <a:pt x="201" y="169"/>
                      </a:lnTo>
                      <a:lnTo>
                        <a:pt x="201" y="168"/>
                      </a:lnTo>
                      <a:lnTo>
                        <a:pt x="199" y="169"/>
                      </a:lnTo>
                      <a:lnTo>
                        <a:pt x="199" y="168"/>
                      </a:lnTo>
                      <a:lnTo>
                        <a:pt x="201" y="168"/>
                      </a:lnTo>
                      <a:lnTo>
                        <a:pt x="199" y="168"/>
                      </a:lnTo>
                      <a:lnTo>
                        <a:pt x="201" y="168"/>
                      </a:lnTo>
                      <a:lnTo>
                        <a:pt x="202" y="168"/>
                      </a:lnTo>
                      <a:lnTo>
                        <a:pt x="202" y="166"/>
                      </a:lnTo>
                      <a:lnTo>
                        <a:pt x="202" y="164"/>
                      </a:lnTo>
                      <a:lnTo>
                        <a:pt x="202" y="166"/>
                      </a:lnTo>
                      <a:lnTo>
                        <a:pt x="204" y="166"/>
                      </a:lnTo>
                      <a:lnTo>
                        <a:pt x="206" y="166"/>
                      </a:lnTo>
                      <a:lnTo>
                        <a:pt x="206" y="164"/>
                      </a:lnTo>
                      <a:lnTo>
                        <a:pt x="204" y="164"/>
                      </a:lnTo>
                      <a:lnTo>
                        <a:pt x="204" y="166"/>
                      </a:lnTo>
                      <a:lnTo>
                        <a:pt x="204" y="164"/>
                      </a:lnTo>
                      <a:lnTo>
                        <a:pt x="204" y="163"/>
                      </a:lnTo>
                      <a:lnTo>
                        <a:pt x="204" y="161"/>
                      </a:lnTo>
                      <a:lnTo>
                        <a:pt x="202" y="161"/>
                      </a:lnTo>
                      <a:lnTo>
                        <a:pt x="202" y="163"/>
                      </a:lnTo>
                      <a:lnTo>
                        <a:pt x="201" y="163"/>
                      </a:lnTo>
                      <a:lnTo>
                        <a:pt x="201" y="161"/>
                      </a:lnTo>
                      <a:lnTo>
                        <a:pt x="201" y="159"/>
                      </a:lnTo>
                      <a:lnTo>
                        <a:pt x="201" y="158"/>
                      </a:lnTo>
                      <a:lnTo>
                        <a:pt x="199" y="158"/>
                      </a:lnTo>
                      <a:lnTo>
                        <a:pt x="197" y="156"/>
                      </a:lnTo>
                      <a:lnTo>
                        <a:pt x="199" y="156"/>
                      </a:lnTo>
                      <a:lnTo>
                        <a:pt x="197" y="156"/>
                      </a:lnTo>
                      <a:lnTo>
                        <a:pt x="197" y="154"/>
                      </a:lnTo>
                      <a:lnTo>
                        <a:pt x="197" y="153"/>
                      </a:lnTo>
                      <a:lnTo>
                        <a:pt x="199" y="153"/>
                      </a:lnTo>
                      <a:lnTo>
                        <a:pt x="199" y="151"/>
                      </a:lnTo>
                      <a:lnTo>
                        <a:pt x="201" y="151"/>
                      </a:lnTo>
                      <a:lnTo>
                        <a:pt x="201" y="149"/>
                      </a:lnTo>
                      <a:lnTo>
                        <a:pt x="202" y="149"/>
                      </a:lnTo>
                      <a:lnTo>
                        <a:pt x="202" y="148"/>
                      </a:lnTo>
                      <a:lnTo>
                        <a:pt x="201" y="148"/>
                      </a:lnTo>
                      <a:lnTo>
                        <a:pt x="202" y="148"/>
                      </a:lnTo>
                      <a:lnTo>
                        <a:pt x="204" y="148"/>
                      </a:lnTo>
                      <a:lnTo>
                        <a:pt x="204" y="149"/>
                      </a:lnTo>
                      <a:lnTo>
                        <a:pt x="204" y="148"/>
                      </a:lnTo>
                      <a:lnTo>
                        <a:pt x="206" y="148"/>
                      </a:lnTo>
                      <a:lnTo>
                        <a:pt x="206" y="146"/>
                      </a:lnTo>
                      <a:lnTo>
                        <a:pt x="207" y="146"/>
                      </a:lnTo>
                      <a:lnTo>
                        <a:pt x="209" y="146"/>
                      </a:lnTo>
                      <a:lnTo>
                        <a:pt x="211" y="146"/>
                      </a:lnTo>
                      <a:lnTo>
                        <a:pt x="213" y="145"/>
                      </a:lnTo>
                      <a:lnTo>
                        <a:pt x="213" y="143"/>
                      </a:lnTo>
                      <a:lnTo>
                        <a:pt x="213" y="141"/>
                      </a:lnTo>
                      <a:lnTo>
                        <a:pt x="214" y="141"/>
                      </a:lnTo>
                      <a:lnTo>
                        <a:pt x="214" y="140"/>
                      </a:lnTo>
                      <a:lnTo>
                        <a:pt x="213" y="140"/>
                      </a:lnTo>
                      <a:lnTo>
                        <a:pt x="213" y="138"/>
                      </a:lnTo>
                      <a:lnTo>
                        <a:pt x="214" y="138"/>
                      </a:lnTo>
                      <a:lnTo>
                        <a:pt x="216" y="138"/>
                      </a:lnTo>
                      <a:lnTo>
                        <a:pt x="218" y="138"/>
                      </a:lnTo>
                      <a:lnTo>
                        <a:pt x="219" y="138"/>
                      </a:lnTo>
                      <a:lnTo>
                        <a:pt x="221" y="138"/>
                      </a:lnTo>
                      <a:lnTo>
                        <a:pt x="221" y="136"/>
                      </a:lnTo>
                      <a:lnTo>
                        <a:pt x="219" y="136"/>
                      </a:lnTo>
                      <a:lnTo>
                        <a:pt x="219" y="135"/>
                      </a:lnTo>
                      <a:lnTo>
                        <a:pt x="219" y="133"/>
                      </a:lnTo>
                      <a:lnTo>
                        <a:pt x="219" y="131"/>
                      </a:lnTo>
                      <a:lnTo>
                        <a:pt x="219" y="130"/>
                      </a:lnTo>
                      <a:lnTo>
                        <a:pt x="219" y="128"/>
                      </a:lnTo>
                      <a:lnTo>
                        <a:pt x="219" y="126"/>
                      </a:lnTo>
                      <a:lnTo>
                        <a:pt x="219" y="125"/>
                      </a:lnTo>
                      <a:lnTo>
                        <a:pt x="221" y="123"/>
                      </a:lnTo>
                      <a:lnTo>
                        <a:pt x="221" y="122"/>
                      </a:lnTo>
                      <a:lnTo>
                        <a:pt x="219" y="122"/>
                      </a:lnTo>
                      <a:lnTo>
                        <a:pt x="219" y="123"/>
                      </a:lnTo>
                      <a:lnTo>
                        <a:pt x="218" y="123"/>
                      </a:lnTo>
                      <a:lnTo>
                        <a:pt x="216" y="123"/>
                      </a:lnTo>
                      <a:lnTo>
                        <a:pt x="216" y="122"/>
                      </a:lnTo>
                      <a:lnTo>
                        <a:pt x="218" y="120"/>
                      </a:lnTo>
                      <a:lnTo>
                        <a:pt x="219" y="120"/>
                      </a:lnTo>
                      <a:lnTo>
                        <a:pt x="219" y="118"/>
                      </a:lnTo>
                      <a:lnTo>
                        <a:pt x="219" y="117"/>
                      </a:lnTo>
                      <a:lnTo>
                        <a:pt x="219" y="115"/>
                      </a:lnTo>
                      <a:lnTo>
                        <a:pt x="221" y="115"/>
                      </a:lnTo>
                      <a:lnTo>
                        <a:pt x="221" y="113"/>
                      </a:lnTo>
                      <a:lnTo>
                        <a:pt x="221" y="112"/>
                      </a:lnTo>
                      <a:lnTo>
                        <a:pt x="219" y="112"/>
                      </a:lnTo>
                      <a:lnTo>
                        <a:pt x="219" y="110"/>
                      </a:lnTo>
                      <a:lnTo>
                        <a:pt x="221" y="110"/>
                      </a:lnTo>
                      <a:lnTo>
                        <a:pt x="223" y="110"/>
                      </a:lnTo>
                      <a:lnTo>
                        <a:pt x="223" y="112"/>
                      </a:lnTo>
                      <a:lnTo>
                        <a:pt x="224" y="112"/>
                      </a:lnTo>
                      <a:lnTo>
                        <a:pt x="226" y="110"/>
                      </a:lnTo>
                      <a:lnTo>
                        <a:pt x="228" y="110"/>
                      </a:lnTo>
                      <a:lnTo>
                        <a:pt x="228" y="108"/>
                      </a:lnTo>
                      <a:lnTo>
                        <a:pt x="229" y="105"/>
                      </a:lnTo>
                      <a:lnTo>
                        <a:pt x="231" y="105"/>
                      </a:lnTo>
                      <a:lnTo>
                        <a:pt x="231" y="103"/>
                      </a:lnTo>
                      <a:lnTo>
                        <a:pt x="233" y="103"/>
                      </a:lnTo>
                      <a:lnTo>
                        <a:pt x="235" y="102"/>
                      </a:lnTo>
                      <a:lnTo>
                        <a:pt x="233" y="102"/>
                      </a:lnTo>
                      <a:lnTo>
                        <a:pt x="233" y="100"/>
                      </a:lnTo>
                      <a:lnTo>
                        <a:pt x="235" y="100"/>
                      </a:lnTo>
                      <a:lnTo>
                        <a:pt x="235" y="99"/>
                      </a:lnTo>
                      <a:lnTo>
                        <a:pt x="235" y="97"/>
                      </a:lnTo>
                      <a:lnTo>
                        <a:pt x="235" y="95"/>
                      </a:lnTo>
                      <a:lnTo>
                        <a:pt x="235" y="94"/>
                      </a:lnTo>
                      <a:lnTo>
                        <a:pt x="236" y="94"/>
                      </a:lnTo>
                      <a:lnTo>
                        <a:pt x="236" y="92"/>
                      </a:lnTo>
                      <a:lnTo>
                        <a:pt x="236" y="90"/>
                      </a:lnTo>
                      <a:lnTo>
                        <a:pt x="236" y="89"/>
                      </a:lnTo>
                      <a:lnTo>
                        <a:pt x="238" y="85"/>
                      </a:lnTo>
                      <a:lnTo>
                        <a:pt x="238" y="84"/>
                      </a:lnTo>
                      <a:lnTo>
                        <a:pt x="240" y="84"/>
                      </a:lnTo>
                      <a:lnTo>
                        <a:pt x="240" y="80"/>
                      </a:lnTo>
                      <a:lnTo>
                        <a:pt x="240" y="79"/>
                      </a:lnTo>
                      <a:lnTo>
                        <a:pt x="240" y="77"/>
                      </a:lnTo>
                      <a:lnTo>
                        <a:pt x="238" y="77"/>
                      </a:lnTo>
                      <a:lnTo>
                        <a:pt x="240" y="74"/>
                      </a:lnTo>
                      <a:lnTo>
                        <a:pt x="241" y="74"/>
                      </a:lnTo>
                      <a:lnTo>
                        <a:pt x="241" y="72"/>
                      </a:lnTo>
                      <a:lnTo>
                        <a:pt x="240" y="71"/>
                      </a:lnTo>
                      <a:lnTo>
                        <a:pt x="238" y="69"/>
                      </a:lnTo>
                      <a:lnTo>
                        <a:pt x="236" y="69"/>
                      </a:lnTo>
                      <a:lnTo>
                        <a:pt x="235" y="69"/>
                      </a:lnTo>
                      <a:lnTo>
                        <a:pt x="233" y="69"/>
                      </a:lnTo>
                      <a:lnTo>
                        <a:pt x="231" y="71"/>
                      </a:lnTo>
                      <a:lnTo>
                        <a:pt x="231" y="69"/>
                      </a:lnTo>
                      <a:lnTo>
                        <a:pt x="229" y="67"/>
                      </a:lnTo>
                      <a:lnTo>
                        <a:pt x="229" y="66"/>
                      </a:lnTo>
                      <a:lnTo>
                        <a:pt x="231" y="64"/>
                      </a:lnTo>
                      <a:lnTo>
                        <a:pt x="231" y="62"/>
                      </a:lnTo>
                      <a:lnTo>
                        <a:pt x="233" y="62"/>
                      </a:lnTo>
                      <a:lnTo>
                        <a:pt x="236" y="62"/>
                      </a:lnTo>
                      <a:lnTo>
                        <a:pt x="238" y="62"/>
                      </a:lnTo>
                      <a:lnTo>
                        <a:pt x="240" y="62"/>
                      </a:lnTo>
                      <a:lnTo>
                        <a:pt x="241" y="62"/>
                      </a:lnTo>
                      <a:lnTo>
                        <a:pt x="241" y="61"/>
                      </a:lnTo>
                      <a:lnTo>
                        <a:pt x="243" y="61"/>
                      </a:lnTo>
                      <a:lnTo>
                        <a:pt x="245" y="61"/>
                      </a:lnTo>
                      <a:lnTo>
                        <a:pt x="245" y="59"/>
                      </a:lnTo>
                      <a:lnTo>
                        <a:pt x="246" y="57"/>
                      </a:lnTo>
                      <a:lnTo>
                        <a:pt x="246" y="56"/>
                      </a:lnTo>
                      <a:lnTo>
                        <a:pt x="245" y="54"/>
                      </a:lnTo>
                      <a:lnTo>
                        <a:pt x="245" y="53"/>
                      </a:lnTo>
                      <a:lnTo>
                        <a:pt x="246" y="53"/>
                      </a:lnTo>
                      <a:lnTo>
                        <a:pt x="246" y="51"/>
                      </a:lnTo>
                      <a:lnTo>
                        <a:pt x="246" y="49"/>
                      </a:lnTo>
                      <a:lnTo>
                        <a:pt x="248" y="49"/>
                      </a:lnTo>
                      <a:lnTo>
                        <a:pt x="248" y="48"/>
                      </a:lnTo>
                      <a:lnTo>
                        <a:pt x="248" y="46"/>
                      </a:lnTo>
                      <a:lnTo>
                        <a:pt x="248" y="44"/>
                      </a:lnTo>
                      <a:lnTo>
                        <a:pt x="246" y="43"/>
                      </a:lnTo>
                      <a:lnTo>
                        <a:pt x="246" y="41"/>
                      </a:lnTo>
                      <a:lnTo>
                        <a:pt x="245" y="41"/>
                      </a:lnTo>
                      <a:lnTo>
                        <a:pt x="245" y="39"/>
                      </a:lnTo>
                      <a:lnTo>
                        <a:pt x="246" y="38"/>
                      </a:lnTo>
                      <a:lnTo>
                        <a:pt x="246" y="36"/>
                      </a:lnTo>
                      <a:lnTo>
                        <a:pt x="248" y="36"/>
                      </a:lnTo>
                      <a:lnTo>
                        <a:pt x="246" y="35"/>
                      </a:lnTo>
                      <a:lnTo>
                        <a:pt x="248" y="33"/>
                      </a:lnTo>
                      <a:lnTo>
                        <a:pt x="248" y="31"/>
                      </a:lnTo>
                      <a:lnTo>
                        <a:pt x="248" y="30"/>
                      </a:lnTo>
                      <a:lnTo>
                        <a:pt x="250" y="30"/>
                      </a:lnTo>
                      <a:lnTo>
                        <a:pt x="250" y="28"/>
                      </a:lnTo>
                      <a:lnTo>
                        <a:pt x="251" y="26"/>
                      </a:lnTo>
                      <a:lnTo>
                        <a:pt x="250" y="26"/>
                      </a:lnTo>
                      <a:lnTo>
                        <a:pt x="248" y="26"/>
                      </a:lnTo>
                      <a:lnTo>
                        <a:pt x="248" y="25"/>
                      </a:lnTo>
                      <a:lnTo>
                        <a:pt x="248" y="23"/>
                      </a:lnTo>
                      <a:lnTo>
                        <a:pt x="246" y="23"/>
                      </a:lnTo>
                      <a:lnTo>
                        <a:pt x="246" y="21"/>
                      </a:lnTo>
                      <a:lnTo>
                        <a:pt x="246" y="20"/>
                      </a:lnTo>
                      <a:lnTo>
                        <a:pt x="248" y="18"/>
                      </a:lnTo>
                      <a:lnTo>
                        <a:pt x="246" y="18"/>
                      </a:lnTo>
                      <a:lnTo>
                        <a:pt x="246" y="16"/>
                      </a:lnTo>
                      <a:lnTo>
                        <a:pt x="248" y="15"/>
                      </a:lnTo>
                      <a:lnTo>
                        <a:pt x="250" y="15"/>
                      </a:lnTo>
                      <a:lnTo>
                        <a:pt x="251" y="15"/>
                      </a:lnTo>
                      <a:lnTo>
                        <a:pt x="253" y="13"/>
                      </a:lnTo>
                      <a:lnTo>
                        <a:pt x="253" y="12"/>
                      </a:lnTo>
                      <a:lnTo>
                        <a:pt x="253" y="10"/>
                      </a:lnTo>
                      <a:lnTo>
                        <a:pt x="253" y="12"/>
                      </a:lnTo>
                      <a:lnTo>
                        <a:pt x="253" y="10"/>
                      </a:lnTo>
                      <a:lnTo>
                        <a:pt x="255" y="8"/>
                      </a:lnTo>
                      <a:lnTo>
                        <a:pt x="255" y="10"/>
                      </a:lnTo>
                      <a:lnTo>
                        <a:pt x="256" y="12"/>
                      </a:lnTo>
                      <a:lnTo>
                        <a:pt x="256" y="10"/>
                      </a:lnTo>
                      <a:lnTo>
                        <a:pt x="256" y="8"/>
                      </a:lnTo>
                      <a:lnTo>
                        <a:pt x="255" y="8"/>
                      </a:lnTo>
                      <a:lnTo>
                        <a:pt x="256" y="7"/>
                      </a:lnTo>
                      <a:lnTo>
                        <a:pt x="256" y="5"/>
                      </a:lnTo>
                      <a:lnTo>
                        <a:pt x="258" y="3"/>
                      </a:lnTo>
                      <a:lnTo>
                        <a:pt x="258" y="2"/>
                      </a:lnTo>
                      <a:lnTo>
                        <a:pt x="258" y="3"/>
                      </a:lnTo>
                      <a:lnTo>
                        <a:pt x="260" y="3"/>
                      </a:lnTo>
                      <a:lnTo>
                        <a:pt x="260" y="5"/>
                      </a:lnTo>
                      <a:lnTo>
                        <a:pt x="260" y="3"/>
                      </a:lnTo>
                      <a:lnTo>
                        <a:pt x="260" y="2"/>
                      </a:lnTo>
                      <a:lnTo>
                        <a:pt x="262" y="2"/>
                      </a:lnTo>
                      <a:lnTo>
                        <a:pt x="262" y="0"/>
                      </a:lnTo>
                      <a:lnTo>
                        <a:pt x="263" y="0"/>
                      </a:lnTo>
                      <a:lnTo>
                        <a:pt x="263" y="2"/>
                      </a:lnTo>
                      <a:lnTo>
                        <a:pt x="262" y="2"/>
                      </a:lnTo>
                      <a:lnTo>
                        <a:pt x="263" y="2"/>
                      </a:lnTo>
                      <a:lnTo>
                        <a:pt x="263" y="3"/>
                      </a:lnTo>
                      <a:lnTo>
                        <a:pt x="265" y="3"/>
                      </a:lnTo>
                      <a:lnTo>
                        <a:pt x="263" y="5"/>
                      </a:lnTo>
                      <a:lnTo>
                        <a:pt x="263" y="3"/>
                      </a:lnTo>
                      <a:lnTo>
                        <a:pt x="262" y="3"/>
                      </a:lnTo>
                      <a:lnTo>
                        <a:pt x="262" y="5"/>
                      </a:lnTo>
                      <a:lnTo>
                        <a:pt x="263" y="3"/>
                      </a:lnTo>
                      <a:lnTo>
                        <a:pt x="263" y="5"/>
                      </a:lnTo>
                      <a:lnTo>
                        <a:pt x="263" y="7"/>
                      </a:lnTo>
                      <a:lnTo>
                        <a:pt x="262" y="7"/>
                      </a:lnTo>
                      <a:lnTo>
                        <a:pt x="263" y="7"/>
                      </a:lnTo>
                      <a:lnTo>
                        <a:pt x="265" y="7"/>
                      </a:lnTo>
                      <a:lnTo>
                        <a:pt x="265" y="8"/>
                      </a:lnTo>
                      <a:lnTo>
                        <a:pt x="263" y="8"/>
                      </a:lnTo>
                      <a:lnTo>
                        <a:pt x="262" y="8"/>
                      </a:lnTo>
                      <a:lnTo>
                        <a:pt x="262" y="10"/>
                      </a:lnTo>
                      <a:lnTo>
                        <a:pt x="260" y="12"/>
                      </a:lnTo>
                      <a:lnTo>
                        <a:pt x="262" y="12"/>
                      </a:lnTo>
                      <a:lnTo>
                        <a:pt x="262" y="10"/>
                      </a:lnTo>
                      <a:lnTo>
                        <a:pt x="262" y="12"/>
                      </a:lnTo>
                      <a:lnTo>
                        <a:pt x="262" y="10"/>
                      </a:lnTo>
                      <a:lnTo>
                        <a:pt x="263" y="10"/>
                      </a:lnTo>
                      <a:lnTo>
                        <a:pt x="263" y="8"/>
                      </a:lnTo>
                      <a:lnTo>
                        <a:pt x="263" y="10"/>
                      </a:lnTo>
                      <a:lnTo>
                        <a:pt x="265" y="8"/>
                      </a:lnTo>
                      <a:lnTo>
                        <a:pt x="265" y="10"/>
                      </a:lnTo>
                      <a:lnTo>
                        <a:pt x="265" y="12"/>
                      </a:lnTo>
                      <a:lnTo>
                        <a:pt x="265" y="13"/>
                      </a:lnTo>
                      <a:lnTo>
                        <a:pt x="265" y="15"/>
                      </a:lnTo>
                      <a:lnTo>
                        <a:pt x="265" y="16"/>
                      </a:lnTo>
                      <a:lnTo>
                        <a:pt x="265" y="18"/>
                      </a:lnTo>
                      <a:lnTo>
                        <a:pt x="265" y="16"/>
                      </a:lnTo>
                      <a:lnTo>
                        <a:pt x="267" y="15"/>
                      </a:lnTo>
                      <a:lnTo>
                        <a:pt x="267" y="13"/>
                      </a:lnTo>
                      <a:lnTo>
                        <a:pt x="267" y="12"/>
                      </a:lnTo>
                      <a:lnTo>
                        <a:pt x="268" y="10"/>
                      </a:lnTo>
                      <a:lnTo>
                        <a:pt x="268" y="8"/>
                      </a:lnTo>
                      <a:lnTo>
                        <a:pt x="270" y="8"/>
                      </a:lnTo>
                      <a:lnTo>
                        <a:pt x="270" y="7"/>
                      </a:lnTo>
                      <a:lnTo>
                        <a:pt x="272" y="7"/>
                      </a:lnTo>
                      <a:lnTo>
                        <a:pt x="270" y="7"/>
                      </a:lnTo>
                      <a:lnTo>
                        <a:pt x="270" y="5"/>
                      </a:lnTo>
                      <a:lnTo>
                        <a:pt x="272" y="5"/>
                      </a:lnTo>
                      <a:lnTo>
                        <a:pt x="272" y="3"/>
                      </a:lnTo>
                      <a:lnTo>
                        <a:pt x="273" y="3"/>
                      </a:lnTo>
                      <a:lnTo>
                        <a:pt x="273" y="2"/>
                      </a:lnTo>
                      <a:lnTo>
                        <a:pt x="272" y="2"/>
                      </a:lnTo>
                      <a:lnTo>
                        <a:pt x="273" y="2"/>
                      </a:lnTo>
                      <a:lnTo>
                        <a:pt x="275" y="0"/>
                      </a:lnTo>
                      <a:lnTo>
                        <a:pt x="275" y="2"/>
                      </a:lnTo>
                      <a:lnTo>
                        <a:pt x="275" y="3"/>
                      </a:lnTo>
                      <a:lnTo>
                        <a:pt x="277" y="3"/>
                      </a:lnTo>
                      <a:lnTo>
                        <a:pt x="275" y="5"/>
                      </a:lnTo>
                      <a:lnTo>
                        <a:pt x="275" y="7"/>
                      </a:lnTo>
                      <a:lnTo>
                        <a:pt x="273" y="7"/>
                      </a:lnTo>
                      <a:lnTo>
                        <a:pt x="275" y="7"/>
                      </a:lnTo>
                      <a:lnTo>
                        <a:pt x="273" y="8"/>
                      </a:lnTo>
                      <a:lnTo>
                        <a:pt x="272" y="8"/>
                      </a:lnTo>
                      <a:lnTo>
                        <a:pt x="272" y="10"/>
                      </a:lnTo>
                      <a:lnTo>
                        <a:pt x="270" y="10"/>
                      </a:lnTo>
                      <a:lnTo>
                        <a:pt x="270" y="12"/>
                      </a:lnTo>
                      <a:lnTo>
                        <a:pt x="268" y="12"/>
                      </a:lnTo>
                      <a:lnTo>
                        <a:pt x="268" y="13"/>
                      </a:lnTo>
                      <a:lnTo>
                        <a:pt x="270" y="13"/>
                      </a:lnTo>
                      <a:lnTo>
                        <a:pt x="268" y="13"/>
                      </a:lnTo>
                      <a:lnTo>
                        <a:pt x="268" y="15"/>
                      </a:lnTo>
                      <a:lnTo>
                        <a:pt x="270" y="15"/>
                      </a:lnTo>
                      <a:lnTo>
                        <a:pt x="270" y="13"/>
                      </a:lnTo>
                      <a:lnTo>
                        <a:pt x="270" y="12"/>
                      </a:lnTo>
                      <a:lnTo>
                        <a:pt x="272" y="10"/>
                      </a:lnTo>
                      <a:lnTo>
                        <a:pt x="273" y="10"/>
                      </a:lnTo>
                      <a:lnTo>
                        <a:pt x="273" y="12"/>
                      </a:lnTo>
                      <a:lnTo>
                        <a:pt x="272" y="12"/>
                      </a:lnTo>
                      <a:lnTo>
                        <a:pt x="272" y="13"/>
                      </a:lnTo>
                      <a:lnTo>
                        <a:pt x="270" y="13"/>
                      </a:lnTo>
                      <a:lnTo>
                        <a:pt x="272" y="13"/>
                      </a:lnTo>
                      <a:lnTo>
                        <a:pt x="272" y="12"/>
                      </a:lnTo>
                      <a:lnTo>
                        <a:pt x="273" y="12"/>
                      </a:lnTo>
                      <a:lnTo>
                        <a:pt x="273" y="13"/>
                      </a:lnTo>
                      <a:lnTo>
                        <a:pt x="272" y="13"/>
                      </a:lnTo>
                      <a:lnTo>
                        <a:pt x="273" y="13"/>
                      </a:lnTo>
                      <a:lnTo>
                        <a:pt x="273" y="15"/>
                      </a:lnTo>
                      <a:lnTo>
                        <a:pt x="272" y="15"/>
                      </a:lnTo>
                      <a:lnTo>
                        <a:pt x="272" y="16"/>
                      </a:lnTo>
                      <a:lnTo>
                        <a:pt x="270" y="16"/>
                      </a:lnTo>
                      <a:lnTo>
                        <a:pt x="270" y="18"/>
                      </a:lnTo>
                      <a:lnTo>
                        <a:pt x="268" y="18"/>
                      </a:lnTo>
                      <a:lnTo>
                        <a:pt x="270" y="18"/>
                      </a:lnTo>
                      <a:lnTo>
                        <a:pt x="268" y="20"/>
                      </a:lnTo>
                      <a:lnTo>
                        <a:pt x="270" y="20"/>
                      </a:lnTo>
                      <a:lnTo>
                        <a:pt x="268" y="20"/>
                      </a:lnTo>
                      <a:lnTo>
                        <a:pt x="270" y="20"/>
                      </a:lnTo>
                      <a:lnTo>
                        <a:pt x="270" y="18"/>
                      </a:lnTo>
                      <a:lnTo>
                        <a:pt x="270" y="16"/>
                      </a:lnTo>
                      <a:lnTo>
                        <a:pt x="272" y="16"/>
                      </a:lnTo>
                      <a:lnTo>
                        <a:pt x="273" y="16"/>
                      </a:lnTo>
                      <a:lnTo>
                        <a:pt x="273" y="15"/>
                      </a:lnTo>
                      <a:lnTo>
                        <a:pt x="275" y="15"/>
                      </a:lnTo>
                      <a:lnTo>
                        <a:pt x="275" y="16"/>
                      </a:lnTo>
                      <a:lnTo>
                        <a:pt x="273" y="18"/>
                      </a:lnTo>
                      <a:lnTo>
                        <a:pt x="272" y="20"/>
                      </a:lnTo>
                      <a:close/>
                      <a:moveTo>
                        <a:pt x="278" y="10"/>
                      </a:moveTo>
                      <a:lnTo>
                        <a:pt x="277" y="10"/>
                      </a:lnTo>
                      <a:lnTo>
                        <a:pt x="277" y="8"/>
                      </a:lnTo>
                      <a:lnTo>
                        <a:pt x="278" y="7"/>
                      </a:lnTo>
                      <a:lnTo>
                        <a:pt x="280" y="7"/>
                      </a:lnTo>
                      <a:lnTo>
                        <a:pt x="280" y="8"/>
                      </a:lnTo>
                      <a:lnTo>
                        <a:pt x="278" y="8"/>
                      </a:lnTo>
                      <a:lnTo>
                        <a:pt x="280" y="8"/>
                      </a:lnTo>
                      <a:lnTo>
                        <a:pt x="278" y="10"/>
                      </a:lnTo>
                      <a:close/>
                      <a:moveTo>
                        <a:pt x="280" y="16"/>
                      </a:moveTo>
                      <a:lnTo>
                        <a:pt x="280" y="15"/>
                      </a:lnTo>
                      <a:lnTo>
                        <a:pt x="280" y="13"/>
                      </a:lnTo>
                      <a:lnTo>
                        <a:pt x="282" y="13"/>
                      </a:lnTo>
                      <a:lnTo>
                        <a:pt x="280" y="15"/>
                      </a:lnTo>
                      <a:lnTo>
                        <a:pt x="282" y="15"/>
                      </a:lnTo>
                      <a:lnTo>
                        <a:pt x="280" y="16"/>
                      </a:lnTo>
                      <a:close/>
                      <a:moveTo>
                        <a:pt x="280" y="18"/>
                      </a:moveTo>
                      <a:lnTo>
                        <a:pt x="278" y="18"/>
                      </a:lnTo>
                      <a:lnTo>
                        <a:pt x="280" y="18"/>
                      </a:lnTo>
                      <a:lnTo>
                        <a:pt x="278" y="18"/>
                      </a:lnTo>
                      <a:lnTo>
                        <a:pt x="280" y="18"/>
                      </a:lnTo>
                      <a:close/>
                      <a:moveTo>
                        <a:pt x="316" y="35"/>
                      </a:moveTo>
                      <a:lnTo>
                        <a:pt x="316" y="33"/>
                      </a:lnTo>
                      <a:lnTo>
                        <a:pt x="317" y="33"/>
                      </a:lnTo>
                      <a:lnTo>
                        <a:pt x="317" y="35"/>
                      </a:lnTo>
                      <a:lnTo>
                        <a:pt x="316" y="35"/>
                      </a:lnTo>
                      <a:close/>
                      <a:moveTo>
                        <a:pt x="360" y="23"/>
                      </a:moveTo>
                      <a:lnTo>
                        <a:pt x="358" y="23"/>
                      </a:lnTo>
                      <a:lnTo>
                        <a:pt x="358" y="25"/>
                      </a:lnTo>
                      <a:lnTo>
                        <a:pt x="356" y="25"/>
                      </a:lnTo>
                      <a:lnTo>
                        <a:pt x="356" y="23"/>
                      </a:lnTo>
                      <a:lnTo>
                        <a:pt x="356" y="21"/>
                      </a:lnTo>
                      <a:lnTo>
                        <a:pt x="358" y="21"/>
                      </a:lnTo>
                      <a:lnTo>
                        <a:pt x="360" y="21"/>
                      </a:lnTo>
                      <a:lnTo>
                        <a:pt x="360" y="23"/>
                      </a:lnTo>
                      <a:close/>
                      <a:moveTo>
                        <a:pt x="366" y="25"/>
                      </a:moveTo>
                      <a:lnTo>
                        <a:pt x="365" y="25"/>
                      </a:lnTo>
                      <a:lnTo>
                        <a:pt x="366" y="25"/>
                      </a:lnTo>
                      <a:lnTo>
                        <a:pt x="365" y="26"/>
                      </a:lnTo>
                      <a:lnTo>
                        <a:pt x="366" y="26"/>
                      </a:lnTo>
                      <a:lnTo>
                        <a:pt x="366" y="25"/>
                      </a:lnTo>
                      <a:lnTo>
                        <a:pt x="366" y="26"/>
                      </a:lnTo>
                      <a:lnTo>
                        <a:pt x="365" y="26"/>
                      </a:lnTo>
                      <a:lnTo>
                        <a:pt x="363" y="26"/>
                      </a:lnTo>
                      <a:lnTo>
                        <a:pt x="363" y="25"/>
                      </a:lnTo>
                      <a:lnTo>
                        <a:pt x="365" y="25"/>
                      </a:lnTo>
                      <a:lnTo>
                        <a:pt x="363" y="25"/>
                      </a:lnTo>
                      <a:lnTo>
                        <a:pt x="363" y="23"/>
                      </a:lnTo>
                      <a:lnTo>
                        <a:pt x="363" y="25"/>
                      </a:lnTo>
                      <a:lnTo>
                        <a:pt x="361" y="23"/>
                      </a:lnTo>
                      <a:lnTo>
                        <a:pt x="361" y="21"/>
                      </a:lnTo>
                      <a:lnTo>
                        <a:pt x="363" y="21"/>
                      </a:lnTo>
                      <a:lnTo>
                        <a:pt x="365" y="21"/>
                      </a:lnTo>
                      <a:lnTo>
                        <a:pt x="366" y="21"/>
                      </a:lnTo>
                      <a:lnTo>
                        <a:pt x="365" y="23"/>
                      </a:lnTo>
                      <a:lnTo>
                        <a:pt x="366" y="23"/>
                      </a:lnTo>
                      <a:lnTo>
                        <a:pt x="366" y="25"/>
                      </a:lnTo>
                      <a:close/>
                      <a:moveTo>
                        <a:pt x="366" y="25"/>
                      </a:moveTo>
                      <a:lnTo>
                        <a:pt x="368" y="25"/>
                      </a:lnTo>
                      <a:lnTo>
                        <a:pt x="366" y="26"/>
                      </a:lnTo>
                      <a:lnTo>
                        <a:pt x="366" y="25"/>
                      </a:lnTo>
                      <a:close/>
                      <a:moveTo>
                        <a:pt x="360" y="21"/>
                      </a:moveTo>
                      <a:lnTo>
                        <a:pt x="361" y="21"/>
                      </a:lnTo>
                      <a:lnTo>
                        <a:pt x="361" y="23"/>
                      </a:lnTo>
                      <a:lnTo>
                        <a:pt x="361" y="25"/>
                      </a:lnTo>
                      <a:lnTo>
                        <a:pt x="360" y="25"/>
                      </a:lnTo>
                      <a:lnTo>
                        <a:pt x="360" y="23"/>
                      </a:lnTo>
                      <a:lnTo>
                        <a:pt x="360" y="25"/>
                      </a:lnTo>
                      <a:lnTo>
                        <a:pt x="358" y="25"/>
                      </a:lnTo>
                      <a:lnTo>
                        <a:pt x="358" y="23"/>
                      </a:lnTo>
                      <a:lnTo>
                        <a:pt x="360" y="23"/>
                      </a:lnTo>
                      <a:lnTo>
                        <a:pt x="360" y="21"/>
                      </a:lnTo>
                      <a:close/>
                      <a:moveTo>
                        <a:pt x="368" y="25"/>
                      </a:moveTo>
                      <a:lnTo>
                        <a:pt x="366" y="23"/>
                      </a:lnTo>
                      <a:lnTo>
                        <a:pt x="368" y="23"/>
                      </a:lnTo>
                      <a:lnTo>
                        <a:pt x="368" y="25"/>
                      </a:lnTo>
                      <a:close/>
                      <a:moveTo>
                        <a:pt x="361" y="25"/>
                      </a:moveTo>
                      <a:lnTo>
                        <a:pt x="363" y="25"/>
                      </a:lnTo>
                      <a:lnTo>
                        <a:pt x="365" y="25"/>
                      </a:lnTo>
                      <a:lnTo>
                        <a:pt x="363" y="25"/>
                      </a:lnTo>
                      <a:lnTo>
                        <a:pt x="363" y="26"/>
                      </a:lnTo>
                      <a:lnTo>
                        <a:pt x="365" y="26"/>
                      </a:lnTo>
                      <a:lnTo>
                        <a:pt x="365" y="28"/>
                      </a:lnTo>
                      <a:lnTo>
                        <a:pt x="363" y="26"/>
                      </a:lnTo>
                      <a:lnTo>
                        <a:pt x="363" y="28"/>
                      </a:lnTo>
                      <a:lnTo>
                        <a:pt x="361" y="28"/>
                      </a:lnTo>
                      <a:lnTo>
                        <a:pt x="363" y="28"/>
                      </a:lnTo>
                      <a:lnTo>
                        <a:pt x="365" y="28"/>
                      </a:lnTo>
                      <a:lnTo>
                        <a:pt x="363" y="30"/>
                      </a:lnTo>
                      <a:lnTo>
                        <a:pt x="361" y="30"/>
                      </a:lnTo>
                      <a:lnTo>
                        <a:pt x="363" y="30"/>
                      </a:lnTo>
                      <a:lnTo>
                        <a:pt x="361" y="30"/>
                      </a:lnTo>
                      <a:lnTo>
                        <a:pt x="361" y="31"/>
                      </a:lnTo>
                      <a:lnTo>
                        <a:pt x="361" y="30"/>
                      </a:lnTo>
                      <a:lnTo>
                        <a:pt x="361" y="31"/>
                      </a:lnTo>
                      <a:lnTo>
                        <a:pt x="360" y="31"/>
                      </a:lnTo>
                      <a:lnTo>
                        <a:pt x="360" y="30"/>
                      </a:lnTo>
                      <a:lnTo>
                        <a:pt x="360" y="28"/>
                      </a:lnTo>
                      <a:lnTo>
                        <a:pt x="360" y="26"/>
                      </a:lnTo>
                      <a:lnTo>
                        <a:pt x="358" y="26"/>
                      </a:lnTo>
                      <a:lnTo>
                        <a:pt x="360" y="25"/>
                      </a:lnTo>
                      <a:lnTo>
                        <a:pt x="358" y="25"/>
                      </a:lnTo>
                      <a:lnTo>
                        <a:pt x="360" y="25"/>
                      </a:lnTo>
                      <a:lnTo>
                        <a:pt x="361" y="25"/>
                      </a:lnTo>
                      <a:close/>
                      <a:moveTo>
                        <a:pt x="370" y="26"/>
                      </a:moveTo>
                      <a:lnTo>
                        <a:pt x="368" y="26"/>
                      </a:lnTo>
                      <a:lnTo>
                        <a:pt x="368" y="25"/>
                      </a:lnTo>
                      <a:lnTo>
                        <a:pt x="368" y="26"/>
                      </a:lnTo>
                      <a:lnTo>
                        <a:pt x="370" y="26"/>
                      </a:lnTo>
                      <a:close/>
                      <a:moveTo>
                        <a:pt x="356" y="26"/>
                      </a:moveTo>
                      <a:lnTo>
                        <a:pt x="356" y="28"/>
                      </a:lnTo>
                      <a:lnTo>
                        <a:pt x="356" y="26"/>
                      </a:lnTo>
                      <a:lnTo>
                        <a:pt x="358" y="26"/>
                      </a:lnTo>
                      <a:lnTo>
                        <a:pt x="358" y="28"/>
                      </a:lnTo>
                      <a:lnTo>
                        <a:pt x="356" y="28"/>
                      </a:lnTo>
                      <a:lnTo>
                        <a:pt x="354" y="28"/>
                      </a:lnTo>
                      <a:lnTo>
                        <a:pt x="353" y="28"/>
                      </a:lnTo>
                      <a:lnTo>
                        <a:pt x="353" y="26"/>
                      </a:lnTo>
                      <a:lnTo>
                        <a:pt x="354" y="26"/>
                      </a:lnTo>
                      <a:lnTo>
                        <a:pt x="356" y="26"/>
                      </a:lnTo>
                      <a:close/>
                      <a:moveTo>
                        <a:pt x="360" y="26"/>
                      </a:moveTo>
                      <a:lnTo>
                        <a:pt x="360" y="28"/>
                      </a:lnTo>
                      <a:lnTo>
                        <a:pt x="360" y="30"/>
                      </a:lnTo>
                      <a:lnTo>
                        <a:pt x="360" y="31"/>
                      </a:lnTo>
                      <a:lnTo>
                        <a:pt x="360" y="33"/>
                      </a:lnTo>
                      <a:lnTo>
                        <a:pt x="358" y="33"/>
                      </a:lnTo>
                      <a:lnTo>
                        <a:pt x="358" y="31"/>
                      </a:lnTo>
                      <a:lnTo>
                        <a:pt x="360" y="31"/>
                      </a:lnTo>
                      <a:lnTo>
                        <a:pt x="358" y="31"/>
                      </a:lnTo>
                      <a:lnTo>
                        <a:pt x="356" y="30"/>
                      </a:lnTo>
                      <a:lnTo>
                        <a:pt x="356" y="28"/>
                      </a:lnTo>
                      <a:lnTo>
                        <a:pt x="358" y="28"/>
                      </a:lnTo>
                      <a:lnTo>
                        <a:pt x="358" y="30"/>
                      </a:lnTo>
                      <a:lnTo>
                        <a:pt x="358" y="28"/>
                      </a:lnTo>
                      <a:lnTo>
                        <a:pt x="358" y="26"/>
                      </a:lnTo>
                      <a:lnTo>
                        <a:pt x="360" y="26"/>
                      </a:lnTo>
                      <a:close/>
                      <a:moveTo>
                        <a:pt x="351" y="33"/>
                      </a:moveTo>
                      <a:lnTo>
                        <a:pt x="351" y="31"/>
                      </a:lnTo>
                      <a:lnTo>
                        <a:pt x="351" y="30"/>
                      </a:lnTo>
                      <a:lnTo>
                        <a:pt x="351" y="28"/>
                      </a:lnTo>
                      <a:lnTo>
                        <a:pt x="349" y="28"/>
                      </a:lnTo>
                      <a:lnTo>
                        <a:pt x="351" y="28"/>
                      </a:lnTo>
                      <a:lnTo>
                        <a:pt x="349" y="26"/>
                      </a:lnTo>
                      <a:lnTo>
                        <a:pt x="351" y="26"/>
                      </a:lnTo>
                      <a:lnTo>
                        <a:pt x="351" y="28"/>
                      </a:lnTo>
                      <a:lnTo>
                        <a:pt x="351" y="30"/>
                      </a:lnTo>
                      <a:lnTo>
                        <a:pt x="351" y="31"/>
                      </a:lnTo>
                      <a:lnTo>
                        <a:pt x="353" y="31"/>
                      </a:lnTo>
                      <a:lnTo>
                        <a:pt x="351" y="33"/>
                      </a:lnTo>
                      <a:close/>
                      <a:moveTo>
                        <a:pt x="366" y="28"/>
                      </a:moveTo>
                      <a:lnTo>
                        <a:pt x="366" y="26"/>
                      </a:lnTo>
                      <a:lnTo>
                        <a:pt x="368" y="26"/>
                      </a:lnTo>
                      <a:lnTo>
                        <a:pt x="368" y="28"/>
                      </a:lnTo>
                      <a:lnTo>
                        <a:pt x="366" y="28"/>
                      </a:lnTo>
                      <a:close/>
                      <a:moveTo>
                        <a:pt x="356" y="33"/>
                      </a:moveTo>
                      <a:lnTo>
                        <a:pt x="354" y="33"/>
                      </a:lnTo>
                      <a:lnTo>
                        <a:pt x="354" y="31"/>
                      </a:lnTo>
                      <a:lnTo>
                        <a:pt x="353" y="30"/>
                      </a:lnTo>
                      <a:lnTo>
                        <a:pt x="354" y="30"/>
                      </a:lnTo>
                      <a:lnTo>
                        <a:pt x="353" y="30"/>
                      </a:lnTo>
                      <a:lnTo>
                        <a:pt x="354" y="30"/>
                      </a:lnTo>
                      <a:lnTo>
                        <a:pt x="354" y="28"/>
                      </a:lnTo>
                      <a:lnTo>
                        <a:pt x="356" y="28"/>
                      </a:lnTo>
                      <a:lnTo>
                        <a:pt x="356" y="30"/>
                      </a:lnTo>
                      <a:lnTo>
                        <a:pt x="356" y="31"/>
                      </a:lnTo>
                      <a:lnTo>
                        <a:pt x="358" y="31"/>
                      </a:lnTo>
                      <a:lnTo>
                        <a:pt x="358" y="33"/>
                      </a:lnTo>
                      <a:lnTo>
                        <a:pt x="356" y="33"/>
                      </a:lnTo>
                      <a:close/>
                      <a:moveTo>
                        <a:pt x="346" y="36"/>
                      </a:moveTo>
                      <a:lnTo>
                        <a:pt x="346" y="35"/>
                      </a:lnTo>
                      <a:lnTo>
                        <a:pt x="346" y="33"/>
                      </a:lnTo>
                      <a:lnTo>
                        <a:pt x="348" y="31"/>
                      </a:lnTo>
                      <a:lnTo>
                        <a:pt x="348" y="30"/>
                      </a:lnTo>
                      <a:lnTo>
                        <a:pt x="349" y="30"/>
                      </a:lnTo>
                      <a:lnTo>
                        <a:pt x="349" y="31"/>
                      </a:lnTo>
                      <a:lnTo>
                        <a:pt x="348" y="31"/>
                      </a:lnTo>
                      <a:lnTo>
                        <a:pt x="349" y="31"/>
                      </a:lnTo>
                      <a:lnTo>
                        <a:pt x="348" y="33"/>
                      </a:lnTo>
                      <a:lnTo>
                        <a:pt x="348" y="35"/>
                      </a:lnTo>
                      <a:lnTo>
                        <a:pt x="346" y="35"/>
                      </a:lnTo>
                      <a:lnTo>
                        <a:pt x="346" y="36"/>
                      </a:lnTo>
                      <a:close/>
                      <a:moveTo>
                        <a:pt x="354" y="35"/>
                      </a:moveTo>
                      <a:lnTo>
                        <a:pt x="354" y="33"/>
                      </a:lnTo>
                      <a:lnTo>
                        <a:pt x="353" y="33"/>
                      </a:lnTo>
                      <a:lnTo>
                        <a:pt x="354" y="33"/>
                      </a:lnTo>
                      <a:lnTo>
                        <a:pt x="354" y="35"/>
                      </a:lnTo>
                      <a:close/>
                      <a:moveTo>
                        <a:pt x="348" y="36"/>
                      </a:moveTo>
                      <a:lnTo>
                        <a:pt x="346" y="36"/>
                      </a:lnTo>
                      <a:lnTo>
                        <a:pt x="346" y="35"/>
                      </a:lnTo>
                      <a:lnTo>
                        <a:pt x="348" y="35"/>
                      </a:lnTo>
                      <a:lnTo>
                        <a:pt x="348" y="36"/>
                      </a:lnTo>
                      <a:close/>
                      <a:moveTo>
                        <a:pt x="324" y="64"/>
                      </a:moveTo>
                      <a:lnTo>
                        <a:pt x="322" y="64"/>
                      </a:lnTo>
                      <a:lnTo>
                        <a:pt x="322" y="62"/>
                      </a:lnTo>
                      <a:lnTo>
                        <a:pt x="322" y="61"/>
                      </a:lnTo>
                      <a:lnTo>
                        <a:pt x="324" y="59"/>
                      </a:lnTo>
                      <a:lnTo>
                        <a:pt x="324" y="57"/>
                      </a:lnTo>
                      <a:lnTo>
                        <a:pt x="324" y="56"/>
                      </a:lnTo>
                      <a:lnTo>
                        <a:pt x="324" y="54"/>
                      </a:lnTo>
                      <a:lnTo>
                        <a:pt x="326" y="53"/>
                      </a:lnTo>
                      <a:lnTo>
                        <a:pt x="326" y="51"/>
                      </a:lnTo>
                      <a:lnTo>
                        <a:pt x="327" y="51"/>
                      </a:lnTo>
                      <a:lnTo>
                        <a:pt x="329" y="51"/>
                      </a:lnTo>
                      <a:lnTo>
                        <a:pt x="329" y="53"/>
                      </a:lnTo>
                      <a:lnTo>
                        <a:pt x="331" y="53"/>
                      </a:lnTo>
                      <a:lnTo>
                        <a:pt x="331" y="54"/>
                      </a:lnTo>
                      <a:lnTo>
                        <a:pt x="329" y="54"/>
                      </a:lnTo>
                      <a:lnTo>
                        <a:pt x="329" y="56"/>
                      </a:lnTo>
                      <a:lnTo>
                        <a:pt x="327" y="54"/>
                      </a:lnTo>
                      <a:lnTo>
                        <a:pt x="327" y="56"/>
                      </a:lnTo>
                      <a:lnTo>
                        <a:pt x="326" y="56"/>
                      </a:lnTo>
                      <a:lnTo>
                        <a:pt x="326" y="57"/>
                      </a:lnTo>
                      <a:lnTo>
                        <a:pt x="327" y="59"/>
                      </a:lnTo>
                      <a:lnTo>
                        <a:pt x="327" y="61"/>
                      </a:lnTo>
                      <a:lnTo>
                        <a:pt x="326" y="61"/>
                      </a:lnTo>
                      <a:lnTo>
                        <a:pt x="327" y="62"/>
                      </a:lnTo>
                      <a:lnTo>
                        <a:pt x="326" y="64"/>
                      </a:lnTo>
                      <a:lnTo>
                        <a:pt x="324" y="64"/>
                      </a:lnTo>
                      <a:close/>
                      <a:moveTo>
                        <a:pt x="329" y="62"/>
                      </a:moveTo>
                      <a:lnTo>
                        <a:pt x="327" y="62"/>
                      </a:lnTo>
                      <a:lnTo>
                        <a:pt x="327" y="61"/>
                      </a:lnTo>
                      <a:lnTo>
                        <a:pt x="327" y="59"/>
                      </a:lnTo>
                      <a:lnTo>
                        <a:pt x="327" y="57"/>
                      </a:lnTo>
                      <a:lnTo>
                        <a:pt x="326" y="56"/>
                      </a:lnTo>
                      <a:lnTo>
                        <a:pt x="327" y="56"/>
                      </a:lnTo>
                      <a:lnTo>
                        <a:pt x="329" y="56"/>
                      </a:lnTo>
                      <a:lnTo>
                        <a:pt x="331" y="56"/>
                      </a:lnTo>
                      <a:lnTo>
                        <a:pt x="331" y="54"/>
                      </a:lnTo>
                      <a:lnTo>
                        <a:pt x="332" y="54"/>
                      </a:lnTo>
                      <a:lnTo>
                        <a:pt x="332" y="56"/>
                      </a:lnTo>
                      <a:lnTo>
                        <a:pt x="332" y="57"/>
                      </a:lnTo>
                      <a:lnTo>
                        <a:pt x="331" y="59"/>
                      </a:lnTo>
                      <a:lnTo>
                        <a:pt x="329" y="59"/>
                      </a:lnTo>
                      <a:lnTo>
                        <a:pt x="329" y="61"/>
                      </a:lnTo>
                      <a:lnTo>
                        <a:pt x="329" y="62"/>
                      </a:lnTo>
                      <a:close/>
                      <a:moveTo>
                        <a:pt x="370" y="35"/>
                      </a:moveTo>
                      <a:lnTo>
                        <a:pt x="371" y="35"/>
                      </a:lnTo>
                      <a:lnTo>
                        <a:pt x="370" y="35"/>
                      </a:lnTo>
                      <a:close/>
                      <a:moveTo>
                        <a:pt x="368" y="36"/>
                      </a:moveTo>
                      <a:lnTo>
                        <a:pt x="366" y="35"/>
                      </a:lnTo>
                      <a:lnTo>
                        <a:pt x="368" y="35"/>
                      </a:lnTo>
                      <a:lnTo>
                        <a:pt x="370" y="35"/>
                      </a:lnTo>
                      <a:lnTo>
                        <a:pt x="368" y="35"/>
                      </a:lnTo>
                      <a:lnTo>
                        <a:pt x="368" y="36"/>
                      </a:lnTo>
                      <a:close/>
                      <a:moveTo>
                        <a:pt x="376" y="44"/>
                      </a:moveTo>
                      <a:lnTo>
                        <a:pt x="375" y="44"/>
                      </a:lnTo>
                      <a:lnTo>
                        <a:pt x="376" y="43"/>
                      </a:lnTo>
                      <a:lnTo>
                        <a:pt x="376" y="41"/>
                      </a:lnTo>
                      <a:lnTo>
                        <a:pt x="378" y="41"/>
                      </a:lnTo>
                      <a:lnTo>
                        <a:pt x="376" y="41"/>
                      </a:lnTo>
                      <a:lnTo>
                        <a:pt x="376" y="39"/>
                      </a:lnTo>
                      <a:lnTo>
                        <a:pt x="376" y="38"/>
                      </a:lnTo>
                      <a:lnTo>
                        <a:pt x="378" y="38"/>
                      </a:lnTo>
                      <a:lnTo>
                        <a:pt x="378" y="39"/>
                      </a:lnTo>
                      <a:lnTo>
                        <a:pt x="380" y="41"/>
                      </a:lnTo>
                      <a:lnTo>
                        <a:pt x="378" y="41"/>
                      </a:lnTo>
                      <a:lnTo>
                        <a:pt x="380" y="41"/>
                      </a:lnTo>
                      <a:lnTo>
                        <a:pt x="380" y="43"/>
                      </a:lnTo>
                      <a:lnTo>
                        <a:pt x="380" y="44"/>
                      </a:lnTo>
                      <a:lnTo>
                        <a:pt x="380" y="43"/>
                      </a:lnTo>
                      <a:lnTo>
                        <a:pt x="378" y="44"/>
                      </a:lnTo>
                      <a:lnTo>
                        <a:pt x="376" y="44"/>
                      </a:lnTo>
                      <a:close/>
                      <a:moveTo>
                        <a:pt x="373" y="48"/>
                      </a:moveTo>
                      <a:lnTo>
                        <a:pt x="371" y="48"/>
                      </a:lnTo>
                      <a:lnTo>
                        <a:pt x="371" y="46"/>
                      </a:lnTo>
                      <a:lnTo>
                        <a:pt x="371" y="44"/>
                      </a:lnTo>
                      <a:lnTo>
                        <a:pt x="373" y="44"/>
                      </a:lnTo>
                      <a:lnTo>
                        <a:pt x="375" y="43"/>
                      </a:lnTo>
                      <a:lnTo>
                        <a:pt x="373" y="43"/>
                      </a:lnTo>
                      <a:lnTo>
                        <a:pt x="375" y="43"/>
                      </a:lnTo>
                      <a:lnTo>
                        <a:pt x="375" y="41"/>
                      </a:lnTo>
                      <a:lnTo>
                        <a:pt x="376" y="41"/>
                      </a:lnTo>
                      <a:lnTo>
                        <a:pt x="375" y="44"/>
                      </a:lnTo>
                      <a:lnTo>
                        <a:pt x="373" y="44"/>
                      </a:lnTo>
                      <a:lnTo>
                        <a:pt x="375" y="44"/>
                      </a:lnTo>
                      <a:lnTo>
                        <a:pt x="375" y="46"/>
                      </a:lnTo>
                      <a:lnTo>
                        <a:pt x="375" y="48"/>
                      </a:lnTo>
                      <a:lnTo>
                        <a:pt x="373" y="48"/>
                      </a:lnTo>
                      <a:close/>
                      <a:moveTo>
                        <a:pt x="378" y="49"/>
                      </a:moveTo>
                      <a:lnTo>
                        <a:pt x="378" y="48"/>
                      </a:lnTo>
                      <a:lnTo>
                        <a:pt x="378" y="46"/>
                      </a:lnTo>
                      <a:lnTo>
                        <a:pt x="380" y="46"/>
                      </a:lnTo>
                      <a:lnTo>
                        <a:pt x="381" y="46"/>
                      </a:lnTo>
                      <a:lnTo>
                        <a:pt x="381" y="48"/>
                      </a:lnTo>
                      <a:lnTo>
                        <a:pt x="380" y="48"/>
                      </a:lnTo>
                      <a:lnTo>
                        <a:pt x="380" y="49"/>
                      </a:lnTo>
                      <a:lnTo>
                        <a:pt x="378" y="49"/>
                      </a:lnTo>
                      <a:close/>
                      <a:moveTo>
                        <a:pt x="383" y="48"/>
                      </a:moveTo>
                      <a:lnTo>
                        <a:pt x="383" y="46"/>
                      </a:lnTo>
                      <a:lnTo>
                        <a:pt x="383" y="48"/>
                      </a:lnTo>
                      <a:close/>
                      <a:moveTo>
                        <a:pt x="381" y="49"/>
                      </a:moveTo>
                      <a:lnTo>
                        <a:pt x="381" y="48"/>
                      </a:lnTo>
                      <a:lnTo>
                        <a:pt x="383" y="48"/>
                      </a:lnTo>
                      <a:lnTo>
                        <a:pt x="383" y="49"/>
                      </a:lnTo>
                      <a:lnTo>
                        <a:pt x="381" y="48"/>
                      </a:lnTo>
                      <a:lnTo>
                        <a:pt x="381" y="49"/>
                      </a:lnTo>
                      <a:close/>
                      <a:moveTo>
                        <a:pt x="371" y="48"/>
                      </a:moveTo>
                      <a:lnTo>
                        <a:pt x="373" y="48"/>
                      </a:lnTo>
                      <a:lnTo>
                        <a:pt x="371" y="48"/>
                      </a:lnTo>
                      <a:close/>
                      <a:moveTo>
                        <a:pt x="376" y="49"/>
                      </a:moveTo>
                      <a:lnTo>
                        <a:pt x="378" y="48"/>
                      </a:lnTo>
                      <a:lnTo>
                        <a:pt x="376" y="49"/>
                      </a:lnTo>
                      <a:close/>
                      <a:moveTo>
                        <a:pt x="375" y="48"/>
                      </a:moveTo>
                      <a:lnTo>
                        <a:pt x="376" y="48"/>
                      </a:lnTo>
                      <a:lnTo>
                        <a:pt x="375" y="48"/>
                      </a:lnTo>
                      <a:close/>
                      <a:moveTo>
                        <a:pt x="387" y="54"/>
                      </a:moveTo>
                      <a:lnTo>
                        <a:pt x="385" y="54"/>
                      </a:lnTo>
                      <a:lnTo>
                        <a:pt x="385" y="56"/>
                      </a:lnTo>
                      <a:lnTo>
                        <a:pt x="387" y="56"/>
                      </a:lnTo>
                      <a:lnTo>
                        <a:pt x="385" y="56"/>
                      </a:lnTo>
                      <a:lnTo>
                        <a:pt x="383" y="56"/>
                      </a:lnTo>
                      <a:lnTo>
                        <a:pt x="383" y="54"/>
                      </a:lnTo>
                      <a:lnTo>
                        <a:pt x="383" y="56"/>
                      </a:lnTo>
                      <a:lnTo>
                        <a:pt x="381" y="56"/>
                      </a:lnTo>
                      <a:lnTo>
                        <a:pt x="380" y="56"/>
                      </a:lnTo>
                      <a:lnTo>
                        <a:pt x="378" y="56"/>
                      </a:lnTo>
                      <a:lnTo>
                        <a:pt x="378" y="54"/>
                      </a:lnTo>
                      <a:lnTo>
                        <a:pt x="380" y="53"/>
                      </a:lnTo>
                      <a:lnTo>
                        <a:pt x="380" y="54"/>
                      </a:lnTo>
                      <a:lnTo>
                        <a:pt x="381" y="53"/>
                      </a:lnTo>
                      <a:lnTo>
                        <a:pt x="381" y="51"/>
                      </a:lnTo>
                      <a:lnTo>
                        <a:pt x="383" y="51"/>
                      </a:lnTo>
                      <a:lnTo>
                        <a:pt x="383" y="53"/>
                      </a:lnTo>
                      <a:lnTo>
                        <a:pt x="383" y="54"/>
                      </a:lnTo>
                      <a:lnTo>
                        <a:pt x="383" y="53"/>
                      </a:lnTo>
                      <a:lnTo>
                        <a:pt x="385" y="51"/>
                      </a:lnTo>
                      <a:lnTo>
                        <a:pt x="385" y="49"/>
                      </a:lnTo>
                      <a:lnTo>
                        <a:pt x="385" y="51"/>
                      </a:lnTo>
                      <a:lnTo>
                        <a:pt x="385" y="49"/>
                      </a:lnTo>
                      <a:lnTo>
                        <a:pt x="385" y="48"/>
                      </a:lnTo>
                      <a:lnTo>
                        <a:pt x="387" y="48"/>
                      </a:lnTo>
                      <a:lnTo>
                        <a:pt x="387" y="49"/>
                      </a:lnTo>
                      <a:lnTo>
                        <a:pt x="388" y="51"/>
                      </a:lnTo>
                      <a:lnTo>
                        <a:pt x="387" y="51"/>
                      </a:lnTo>
                      <a:lnTo>
                        <a:pt x="388" y="51"/>
                      </a:lnTo>
                      <a:lnTo>
                        <a:pt x="388" y="53"/>
                      </a:lnTo>
                      <a:lnTo>
                        <a:pt x="388" y="54"/>
                      </a:lnTo>
                      <a:lnTo>
                        <a:pt x="388" y="56"/>
                      </a:lnTo>
                      <a:lnTo>
                        <a:pt x="388" y="57"/>
                      </a:lnTo>
                      <a:lnTo>
                        <a:pt x="387" y="57"/>
                      </a:lnTo>
                      <a:lnTo>
                        <a:pt x="387" y="56"/>
                      </a:lnTo>
                      <a:lnTo>
                        <a:pt x="387" y="54"/>
                      </a:lnTo>
                      <a:lnTo>
                        <a:pt x="385" y="54"/>
                      </a:lnTo>
                      <a:lnTo>
                        <a:pt x="387" y="54"/>
                      </a:lnTo>
                      <a:close/>
                      <a:moveTo>
                        <a:pt x="381" y="49"/>
                      </a:moveTo>
                      <a:lnTo>
                        <a:pt x="383" y="49"/>
                      </a:lnTo>
                      <a:lnTo>
                        <a:pt x="381" y="49"/>
                      </a:lnTo>
                      <a:lnTo>
                        <a:pt x="383" y="51"/>
                      </a:lnTo>
                      <a:lnTo>
                        <a:pt x="381" y="51"/>
                      </a:lnTo>
                      <a:lnTo>
                        <a:pt x="381" y="53"/>
                      </a:lnTo>
                      <a:lnTo>
                        <a:pt x="380" y="53"/>
                      </a:lnTo>
                      <a:lnTo>
                        <a:pt x="381" y="53"/>
                      </a:lnTo>
                      <a:lnTo>
                        <a:pt x="381" y="51"/>
                      </a:lnTo>
                      <a:lnTo>
                        <a:pt x="380" y="51"/>
                      </a:lnTo>
                      <a:lnTo>
                        <a:pt x="380" y="53"/>
                      </a:lnTo>
                      <a:lnTo>
                        <a:pt x="380" y="51"/>
                      </a:lnTo>
                      <a:lnTo>
                        <a:pt x="378" y="51"/>
                      </a:lnTo>
                      <a:lnTo>
                        <a:pt x="380" y="51"/>
                      </a:lnTo>
                      <a:lnTo>
                        <a:pt x="380" y="49"/>
                      </a:lnTo>
                      <a:lnTo>
                        <a:pt x="381" y="49"/>
                      </a:lnTo>
                      <a:close/>
                      <a:moveTo>
                        <a:pt x="376" y="53"/>
                      </a:moveTo>
                      <a:lnTo>
                        <a:pt x="375" y="51"/>
                      </a:lnTo>
                      <a:lnTo>
                        <a:pt x="375" y="49"/>
                      </a:lnTo>
                      <a:lnTo>
                        <a:pt x="376" y="49"/>
                      </a:lnTo>
                      <a:lnTo>
                        <a:pt x="378" y="49"/>
                      </a:lnTo>
                      <a:lnTo>
                        <a:pt x="378" y="51"/>
                      </a:lnTo>
                      <a:lnTo>
                        <a:pt x="376" y="51"/>
                      </a:lnTo>
                      <a:lnTo>
                        <a:pt x="376" y="53"/>
                      </a:lnTo>
                      <a:lnTo>
                        <a:pt x="378" y="53"/>
                      </a:lnTo>
                      <a:lnTo>
                        <a:pt x="378" y="54"/>
                      </a:lnTo>
                      <a:lnTo>
                        <a:pt x="378" y="56"/>
                      </a:lnTo>
                      <a:lnTo>
                        <a:pt x="380" y="56"/>
                      </a:lnTo>
                      <a:lnTo>
                        <a:pt x="380" y="57"/>
                      </a:lnTo>
                      <a:lnTo>
                        <a:pt x="378" y="57"/>
                      </a:lnTo>
                      <a:lnTo>
                        <a:pt x="376" y="57"/>
                      </a:lnTo>
                      <a:lnTo>
                        <a:pt x="376" y="56"/>
                      </a:lnTo>
                      <a:lnTo>
                        <a:pt x="376" y="54"/>
                      </a:lnTo>
                      <a:lnTo>
                        <a:pt x="376" y="53"/>
                      </a:lnTo>
                      <a:close/>
                      <a:moveTo>
                        <a:pt x="378" y="53"/>
                      </a:moveTo>
                      <a:lnTo>
                        <a:pt x="378" y="51"/>
                      </a:lnTo>
                      <a:lnTo>
                        <a:pt x="380" y="51"/>
                      </a:lnTo>
                      <a:lnTo>
                        <a:pt x="380" y="53"/>
                      </a:lnTo>
                      <a:lnTo>
                        <a:pt x="381" y="51"/>
                      </a:lnTo>
                      <a:lnTo>
                        <a:pt x="381" y="53"/>
                      </a:lnTo>
                      <a:lnTo>
                        <a:pt x="380" y="53"/>
                      </a:lnTo>
                      <a:lnTo>
                        <a:pt x="378" y="53"/>
                      </a:lnTo>
                      <a:close/>
                      <a:moveTo>
                        <a:pt x="375" y="53"/>
                      </a:moveTo>
                      <a:lnTo>
                        <a:pt x="375" y="51"/>
                      </a:lnTo>
                      <a:lnTo>
                        <a:pt x="375" y="53"/>
                      </a:lnTo>
                      <a:close/>
                      <a:moveTo>
                        <a:pt x="375" y="57"/>
                      </a:moveTo>
                      <a:lnTo>
                        <a:pt x="375" y="56"/>
                      </a:lnTo>
                      <a:lnTo>
                        <a:pt x="376" y="56"/>
                      </a:lnTo>
                      <a:lnTo>
                        <a:pt x="376" y="57"/>
                      </a:lnTo>
                      <a:lnTo>
                        <a:pt x="378" y="57"/>
                      </a:lnTo>
                      <a:lnTo>
                        <a:pt x="378" y="59"/>
                      </a:lnTo>
                      <a:lnTo>
                        <a:pt x="376" y="59"/>
                      </a:lnTo>
                      <a:lnTo>
                        <a:pt x="376" y="57"/>
                      </a:lnTo>
                      <a:lnTo>
                        <a:pt x="375" y="57"/>
                      </a:lnTo>
                      <a:close/>
                      <a:moveTo>
                        <a:pt x="381" y="57"/>
                      </a:moveTo>
                      <a:lnTo>
                        <a:pt x="380" y="57"/>
                      </a:lnTo>
                      <a:lnTo>
                        <a:pt x="381" y="57"/>
                      </a:lnTo>
                      <a:close/>
                      <a:moveTo>
                        <a:pt x="380" y="61"/>
                      </a:moveTo>
                      <a:lnTo>
                        <a:pt x="378" y="59"/>
                      </a:lnTo>
                      <a:lnTo>
                        <a:pt x="380" y="59"/>
                      </a:lnTo>
                      <a:lnTo>
                        <a:pt x="381" y="59"/>
                      </a:lnTo>
                      <a:lnTo>
                        <a:pt x="380" y="59"/>
                      </a:lnTo>
                      <a:lnTo>
                        <a:pt x="380" y="61"/>
                      </a:lnTo>
                      <a:close/>
                      <a:moveTo>
                        <a:pt x="385" y="71"/>
                      </a:moveTo>
                      <a:lnTo>
                        <a:pt x="383" y="69"/>
                      </a:lnTo>
                      <a:lnTo>
                        <a:pt x="383" y="67"/>
                      </a:lnTo>
                      <a:lnTo>
                        <a:pt x="385" y="67"/>
                      </a:lnTo>
                      <a:lnTo>
                        <a:pt x="387" y="67"/>
                      </a:lnTo>
                      <a:lnTo>
                        <a:pt x="387" y="66"/>
                      </a:lnTo>
                      <a:lnTo>
                        <a:pt x="388" y="67"/>
                      </a:lnTo>
                      <a:lnTo>
                        <a:pt x="387" y="69"/>
                      </a:lnTo>
                      <a:lnTo>
                        <a:pt x="385" y="69"/>
                      </a:lnTo>
                      <a:lnTo>
                        <a:pt x="385" y="71"/>
                      </a:lnTo>
                      <a:close/>
                      <a:moveTo>
                        <a:pt x="390" y="71"/>
                      </a:moveTo>
                      <a:lnTo>
                        <a:pt x="390" y="69"/>
                      </a:lnTo>
                      <a:lnTo>
                        <a:pt x="392" y="69"/>
                      </a:lnTo>
                      <a:lnTo>
                        <a:pt x="392" y="71"/>
                      </a:lnTo>
                      <a:lnTo>
                        <a:pt x="390" y="71"/>
                      </a:lnTo>
                      <a:close/>
                      <a:moveTo>
                        <a:pt x="290" y="23"/>
                      </a:moveTo>
                      <a:lnTo>
                        <a:pt x="290" y="21"/>
                      </a:lnTo>
                      <a:lnTo>
                        <a:pt x="290" y="20"/>
                      </a:lnTo>
                      <a:lnTo>
                        <a:pt x="292" y="20"/>
                      </a:lnTo>
                      <a:lnTo>
                        <a:pt x="294" y="20"/>
                      </a:lnTo>
                      <a:lnTo>
                        <a:pt x="294" y="21"/>
                      </a:lnTo>
                      <a:lnTo>
                        <a:pt x="294" y="23"/>
                      </a:lnTo>
                      <a:lnTo>
                        <a:pt x="292" y="23"/>
                      </a:lnTo>
                      <a:lnTo>
                        <a:pt x="292" y="25"/>
                      </a:lnTo>
                      <a:lnTo>
                        <a:pt x="294" y="25"/>
                      </a:lnTo>
                      <a:lnTo>
                        <a:pt x="294" y="23"/>
                      </a:lnTo>
                      <a:lnTo>
                        <a:pt x="294" y="21"/>
                      </a:lnTo>
                      <a:lnTo>
                        <a:pt x="295" y="21"/>
                      </a:lnTo>
                      <a:lnTo>
                        <a:pt x="294" y="21"/>
                      </a:lnTo>
                      <a:lnTo>
                        <a:pt x="294" y="20"/>
                      </a:lnTo>
                      <a:lnTo>
                        <a:pt x="295" y="20"/>
                      </a:lnTo>
                      <a:lnTo>
                        <a:pt x="295" y="18"/>
                      </a:lnTo>
                      <a:lnTo>
                        <a:pt x="295" y="16"/>
                      </a:lnTo>
                      <a:lnTo>
                        <a:pt x="295" y="15"/>
                      </a:lnTo>
                      <a:lnTo>
                        <a:pt x="295" y="13"/>
                      </a:lnTo>
                      <a:lnTo>
                        <a:pt x="295" y="12"/>
                      </a:lnTo>
                      <a:lnTo>
                        <a:pt x="295" y="10"/>
                      </a:lnTo>
                      <a:lnTo>
                        <a:pt x="295" y="8"/>
                      </a:lnTo>
                      <a:lnTo>
                        <a:pt x="297" y="8"/>
                      </a:lnTo>
                      <a:lnTo>
                        <a:pt x="295" y="8"/>
                      </a:lnTo>
                      <a:lnTo>
                        <a:pt x="295" y="7"/>
                      </a:lnTo>
                      <a:lnTo>
                        <a:pt x="297" y="7"/>
                      </a:lnTo>
                      <a:lnTo>
                        <a:pt x="297" y="8"/>
                      </a:lnTo>
                      <a:lnTo>
                        <a:pt x="297" y="10"/>
                      </a:lnTo>
                      <a:lnTo>
                        <a:pt x="299" y="12"/>
                      </a:lnTo>
                      <a:lnTo>
                        <a:pt x="297" y="12"/>
                      </a:lnTo>
                      <a:lnTo>
                        <a:pt x="297" y="13"/>
                      </a:lnTo>
                      <a:lnTo>
                        <a:pt x="297" y="12"/>
                      </a:lnTo>
                      <a:lnTo>
                        <a:pt x="297" y="13"/>
                      </a:lnTo>
                      <a:lnTo>
                        <a:pt x="295" y="15"/>
                      </a:lnTo>
                      <a:lnTo>
                        <a:pt x="295" y="16"/>
                      </a:lnTo>
                      <a:lnTo>
                        <a:pt x="295" y="18"/>
                      </a:lnTo>
                      <a:lnTo>
                        <a:pt x="297" y="18"/>
                      </a:lnTo>
                      <a:lnTo>
                        <a:pt x="295" y="18"/>
                      </a:lnTo>
                      <a:lnTo>
                        <a:pt x="295" y="20"/>
                      </a:lnTo>
                      <a:lnTo>
                        <a:pt x="295" y="21"/>
                      </a:lnTo>
                      <a:lnTo>
                        <a:pt x="295" y="23"/>
                      </a:lnTo>
                      <a:lnTo>
                        <a:pt x="295" y="25"/>
                      </a:lnTo>
                      <a:lnTo>
                        <a:pt x="295" y="26"/>
                      </a:lnTo>
                      <a:lnTo>
                        <a:pt x="295" y="28"/>
                      </a:lnTo>
                      <a:lnTo>
                        <a:pt x="294" y="30"/>
                      </a:lnTo>
                      <a:lnTo>
                        <a:pt x="292" y="30"/>
                      </a:lnTo>
                      <a:lnTo>
                        <a:pt x="290" y="30"/>
                      </a:lnTo>
                      <a:lnTo>
                        <a:pt x="289" y="30"/>
                      </a:lnTo>
                      <a:lnTo>
                        <a:pt x="289" y="28"/>
                      </a:lnTo>
                      <a:lnTo>
                        <a:pt x="290" y="28"/>
                      </a:lnTo>
                      <a:lnTo>
                        <a:pt x="292" y="28"/>
                      </a:lnTo>
                      <a:lnTo>
                        <a:pt x="290" y="28"/>
                      </a:lnTo>
                      <a:lnTo>
                        <a:pt x="290" y="26"/>
                      </a:lnTo>
                      <a:lnTo>
                        <a:pt x="290" y="25"/>
                      </a:lnTo>
                      <a:lnTo>
                        <a:pt x="292" y="26"/>
                      </a:lnTo>
                      <a:lnTo>
                        <a:pt x="292" y="25"/>
                      </a:lnTo>
                      <a:lnTo>
                        <a:pt x="290" y="23"/>
                      </a:lnTo>
                      <a:close/>
                      <a:moveTo>
                        <a:pt x="290" y="23"/>
                      </a:moveTo>
                      <a:lnTo>
                        <a:pt x="290" y="25"/>
                      </a:lnTo>
                      <a:lnTo>
                        <a:pt x="289" y="25"/>
                      </a:lnTo>
                      <a:lnTo>
                        <a:pt x="289" y="23"/>
                      </a:lnTo>
                      <a:lnTo>
                        <a:pt x="290" y="23"/>
                      </a:lnTo>
                      <a:close/>
                      <a:moveTo>
                        <a:pt x="290" y="20"/>
                      </a:moveTo>
                      <a:lnTo>
                        <a:pt x="289" y="18"/>
                      </a:lnTo>
                      <a:lnTo>
                        <a:pt x="289" y="16"/>
                      </a:lnTo>
                      <a:lnTo>
                        <a:pt x="289" y="15"/>
                      </a:lnTo>
                      <a:lnTo>
                        <a:pt x="290" y="15"/>
                      </a:lnTo>
                      <a:lnTo>
                        <a:pt x="290" y="13"/>
                      </a:lnTo>
                      <a:lnTo>
                        <a:pt x="292" y="15"/>
                      </a:lnTo>
                      <a:lnTo>
                        <a:pt x="292" y="16"/>
                      </a:lnTo>
                      <a:lnTo>
                        <a:pt x="292" y="18"/>
                      </a:lnTo>
                      <a:lnTo>
                        <a:pt x="292" y="20"/>
                      </a:lnTo>
                      <a:lnTo>
                        <a:pt x="290" y="20"/>
                      </a:lnTo>
                      <a:close/>
                      <a:moveTo>
                        <a:pt x="299" y="18"/>
                      </a:moveTo>
                      <a:lnTo>
                        <a:pt x="300" y="16"/>
                      </a:lnTo>
                      <a:lnTo>
                        <a:pt x="300" y="15"/>
                      </a:lnTo>
                      <a:lnTo>
                        <a:pt x="302" y="15"/>
                      </a:lnTo>
                      <a:lnTo>
                        <a:pt x="300" y="15"/>
                      </a:lnTo>
                      <a:lnTo>
                        <a:pt x="300" y="13"/>
                      </a:lnTo>
                      <a:lnTo>
                        <a:pt x="302" y="13"/>
                      </a:lnTo>
                      <a:lnTo>
                        <a:pt x="304" y="15"/>
                      </a:lnTo>
                      <a:lnTo>
                        <a:pt x="305" y="15"/>
                      </a:lnTo>
                      <a:lnTo>
                        <a:pt x="305" y="16"/>
                      </a:lnTo>
                      <a:lnTo>
                        <a:pt x="304" y="18"/>
                      </a:lnTo>
                      <a:lnTo>
                        <a:pt x="304" y="16"/>
                      </a:lnTo>
                      <a:lnTo>
                        <a:pt x="302" y="18"/>
                      </a:lnTo>
                      <a:lnTo>
                        <a:pt x="302" y="16"/>
                      </a:lnTo>
                      <a:lnTo>
                        <a:pt x="300" y="18"/>
                      </a:lnTo>
                      <a:lnTo>
                        <a:pt x="299" y="18"/>
                      </a:lnTo>
                      <a:close/>
                      <a:moveTo>
                        <a:pt x="294" y="20"/>
                      </a:moveTo>
                      <a:lnTo>
                        <a:pt x="294" y="18"/>
                      </a:lnTo>
                      <a:lnTo>
                        <a:pt x="294" y="20"/>
                      </a:lnTo>
                      <a:close/>
                      <a:moveTo>
                        <a:pt x="300" y="21"/>
                      </a:moveTo>
                      <a:lnTo>
                        <a:pt x="302" y="20"/>
                      </a:lnTo>
                      <a:lnTo>
                        <a:pt x="302" y="21"/>
                      </a:lnTo>
                      <a:lnTo>
                        <a:pt x="300" y="21"/>
                      </a:lnTo>
                      <a:close/>
                      <a:moveTo>
                        <a:pt x="302" y="23"/>
                      </a:moveTo>
                      <a:lnTo>
                        <a:pt x="304" y="21"/>
                      </a:lnTo>
                      <a:lnTo>
                        <a:pt x="304" y="20"/>
                      </a:lnTo>
                      <a:lnTo>
                        <a:pt x="304" y="21"/>
                      </a:lnTo>
                      <a:lnTo>
                        <a:pt x="305" y="21"/>
                      </a:lnTo>
                      <a:lnTo>
                        <a:pt x="304" y="21"/>
                      </a:lnTo>
                      <a:lnTo>
                        <a:pt x="304" y="23"/>
                      </a:lnTo>
                      <a:lnTo>
                        <a:pt x="302" y="23"/>
                      </a:lnTo>
                      <a:close/>
                      <a:moveTo>
                        <a:pt x="302" y="25"/>
                      </a:moveTo>
                      <a:lnTo>
                        <a:pt x="302" y="23"/>
                      </a:lnTo>
                      <a:lnTo>
                        <a:pt x="304" y="23"/>
                      </a:lnTo>
                      <a:lnTo>
                        <a:pt x="304" y="25"/>
                      </a:lnTo>
                      <a:lnTo>
                        <a:pt x="302" y="25"/>
                      </a:lnTo>
                      <a:close/>
                      <a:moveTo>
                        <a:pt x="405" y="100"/>
                      </a:moveTo>
                      <a:lnTo>
                        <a:pt x="405" y="99"/>
                      </a:lnTo>
                      <a:lnTo>
                        <a:pt x="403" y="99"/>
                      </a:lnTo>
                      <a:lnTo>
                        <a:pt x="405" y="99"/>
                      </a:lnTo>
                      <a:lnTo>
                        <a:pt x="405" y="97"/>
                      </a:lnTo>
                      <a:lnTo>
                        <a:pt x="407" y="97"/>
                      </a:lnTo>
                      <a:lnTo>
                        <a:pt x="407" y="99"/>
                      </a:lnTo>
                      <a:lnTo>
                        <a:pt x="405" y="99"/>
                      </a:lnTo>
                      <a:lnTo>
                        <a:pt x="405" y="100"/>
                      </a:lnTo>
                      <a:close/>
                      <a:moveTo>
                        <a:pt x="407" y="92"/>
                      </a:moveTo>
                      <a:lnTo>
                        <a:pt x="407" y="90"/>
                      </a:lnTo>
                      <a:lnTo>
                        <a:pt x="408" y="89"/>
                      </a:lnTo>
                      <a:lnTo>
                        <a:pt x="408" y="90"/>
                      </a:lnTo>
                      <a:lnTo>
                        <a:pt x="407" y="92"/>
                      </a:lnTo>
                      <a:close/>
                      <a:moveTo>
                        <a:pt x="405" y="95"/>
                      </a:moveTo>
                      <a:lnTo>
                        <a:pt x="407" y="94"/>
                      </a:lnTo>
                      <a:lnTo>
                        <a:pt x="408" y="94"/>
                      </a:lnTo>
                      <a:lnTo>
                        <a:pt x="407" y="95"/>
                      </a:lnTo>
                      <a:lnTo>
                        <a:pt x="405" y="95"/>
                      </a:lnTo>
                      <a:close/>
                      <a:moveTo>
                        <a:pt x="392" y="71"/>
                      </a:moveTo>
                      <a:lnTo>
                        <a:pt x="392" y="69"/>
                      </a:lnTo>
                      <a:lnTo>
                        <a:pt x="393" y="69"/>
                      </a:lnTo>
                      <a:lnTo>
                        <a:pt x="393" y="67"/>
                      </a:lnTo>
                      <a:lnTo>
                        <a:pt x="395" y="67"/>
                      </a:lnTo>
                      <a:lnTo>
                        <a:pt x="395" y="69"/>
                      </a:lnTo>
                      <a:lnTo>
                        <a:pt x="393" y="69"/>
                      </a:lnTo>
                      <a:lnTo>
                        <a:pt x="393" y="71"/>
                      </a:lnTo>
                      <a:lnTo>
                        <a:pt x="392" y="71"/>
                      </a:lnTo>
                      <a:close/>
                      <a:moveTo>
                        <a:pt x="397" y="76"/>
                      </a:moveTo>
                      <a:lnTo>
                        <a:pt x="395" y="76"/>
                      </a:lnTo>
                      <a:lnTo>
                        <a:pt x="395" y="74"/>
                      </a:lnTo>
                      <a:lnTo>
                        <a:pt x="393" y="72"/>
                      </a:lnTo>
                      <a:lnTo>
                        <a:pt x="395" y="71"/>
                      </a:lnTo>
                      <a:lnTo>
                        <a:pt x="397" y="71"/>
                      </a:lnTo>
                      <a:lnTo>
                        <a:pt x="397" y="69"/>
                      </a:lnTo>
                      <a:lnTo>
                        <a:pt x="397" y="71"/>
                      </a:lnTo>
                      <a:lnTo>
                        <a:pt x="397" y="72"/>
                      </a:lnTo>
                      <a:lnTo>
                        <a:pt x="397" y="74"/>
                      </a:lnTo>
                      <a:lnTo>
                        <a:pt x="397" y="76"/>
                      </a:lnTo>
                      <a:close/>
                      <a:moveTo>
                        <a:pt x="392" y="72"/>
                      </a:moveTo>
                      <a:lnTo>
                        <a:pt x="393" y="72"/>
                      </a:lnTo>
                      <a:lnTo>
                        <a:pt x="393" y="74"/>
                      </a:lnTo>
                      <a:lnTo>
                        <a:pt x="393" y="72"/>
                      </a:lnTo>
                      <a:lnTo>
                        <a:pt x="392" y="72"/>
                      </a:lnTo>
                      <a:close/>
                      <a:moveTo>
                        <a:pt x="397" y="76"/>
                      </a:moveTo>
                      <a:lnTo>
                        <a:pt x="397" y="74"/>
                      </a:lnTo>
                      <a:lnTo>
                        <a:pt x="397" y="76"/>
                      </a:lnTo>
                      <a:close/>
                      <a:moveTo>
                        <a:pt x="397" y="79"/>
                      </a:moveTo>
                      <a:lnTo>
                        <a:pt x="397" y="77"/>
                      </a:lnTo>
                      <a:lnTo>
                        <a:pt x="398" y="77"/>
                      </a:lnTo>
                      <a:lnTo>
                        <a:pt x="398" y="79"/>
                      </a:lnTo>
                      <a:lnTo>
                        <a:pt x="397" y="79"/>
                      </a:lnTo>
                      <a:close/>
                      <a:moveTo>
                        <a:pt x="451" y="125"/>
                      </a:moveTo>
                      <a:lnTo>
                        <a:pt x="449" y="125"/>
                      </a:lnTo>
                      <a:lnTo>
                        <a:pt x="449" y="126"/>
                      </a:lnTo>
                      <a:lnTo>
                        <a:pt x="449" y="125"/>
                      </a:lnTo>
                      <a:lnTo>
                        <a:pt x="451" y="125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1" name="Freeform 21"/>
                <p:cNvSpPr>
                  <a:spLocks noChangeAspect="1"/>
                </p:cNvSpPr>
                <p:nvPr/>
              </p:nvSpPr>
              <p:spPr bwMode="auto">
                <a:xfrm>
                  <a:off x="5416296" y="1696300"/>
                  <a:ext cx="833066" cy="1264484"/>
                </a:xfrm>
                <a:custGeom>
                  <a:avLst/>
                  <a:gdLst>
                    <a:gd name="T0" fmla="*/ 2147483647 w 532"/>
                    <a:gd name="T1" fmla="*/ 2147483647 h 755"/>
                    <a:gd name="T2" fmla="*/ 2147483647 w 532"/>
                    <a:gd name="T3" fmla="*/ 2147483647 h 755"/>
                    <a:gd name="T4" fmla="*/ 2147483647 w 532"/>
                    <a:gd name="T5" fmla="*/ 2147483647 h 755"/>
                    <a:gd name="T6" fmla="*/ 2147483647 w 532"/>
                    <a:gd name="T7" fmla="*/ 2147483647 h 755"/>
                    <a:gd name="T8" fmla="*/ 2147483647 w 532"/>
                    <a:gd name="T9" fmla="*/ 2147483647 h 755"/>
                    <a:gd name="T10" fmla="*/ 2147483647 w 532"/>
                    <a:gd name="T11" fmla="*/ 2147483647 h 755"/>
                    <a:gd name="T12" fmla="*/ 2147483647 w 532"/>
                    <a:gd name="T13" fmla="*/ 2147483647 h 755"/>
                    <a:gd name="T14" fmla="*/ 2147483647 w 532"/>
                    <a:gd name="T15" fmla="*/ 2147483647 h 755"/>
                    <a:gd name="T16" fmla="*/ 2147483647 w 532"/>
                    <a:gd name="T17" fmla="*/ 2147483647 h 755"/>
                    <a:gd name="T18" fmla="*/ 2147483647 w 532"/>
                    <a:gd name="T19" fmla="*/ 2147483647 h 755"/>
                    <a:gd name="T20" fmla="*/ 2147483647 w 532"/>
                    <a:gd name="T21" fmla="*/ 2147483647 h 755"/>
                    <a:gd name="T22" fmla="*/ 2147483647 w 532"/>
                    <a:gd name="T23" fmla="*/ 2147483647 h 755"/>
                    <a:gd name="T24" fmla="*/ 2147483647 w 532"/>
                    <a:gd name="T25" fmla="*/ 2147483647 h 755"/>
                    <a:gd name="T26" fmla="*/ 2147483647 w 532"/>
                    <a:gd name="T27" fmla="*/ 2147483647 h 755"/>
                    <a:gd name="T28" fmla="*/ 2147483647 w 532"/>
                    <a:gd name="T29" fmla="*/ 2147483647 h 755"/>
                    <a:gd name="T30" fmla="*/ 2147483647 w 532"/>
                    <a:gd name="T31" fmla="*/ 2147483647 h 755"/>
                    <a:gd name="T32" fmla="*/ 2147483647 w 532"/>
                    <a:gd name="T33" fmla="*/ 2147483647 h 755"/>
                    <a:gd name="T34" fmla="*/ 2147483647 w 532"/>
                    <a:gd name="T35" fmla="*/ 2147483647 h 755"/>
                    <a:gd name="T36" fmla="*/ 2147483647 w 532"/>
                    <a:gd name="T37" fmla="*/ 2147483647 h 755"/>
                    <a:gd name="T38" fmla="*/ 2147483647 w 532"/>
                    <a:gd name="T39" fmla="*/ 2147483647 h 755"/>
                    <a:gd name="T40" fmla="*/ 2147483647 w 532"/>
                    <a:gd name="T41" fmla="*/ 2147483647 h 755"/>
                    <a:gd name="T42" fmla="*/ 2147483647 w 532"/>
                    <a:gd name="T43" fmla="*/ 2147483647 h 755"/>
                    <a:gd name="T44" fmla="*/ 2147483647 w 532"/>
                    <a:gd name="T45" fmla="*/ 2147483647 h 755"/>
                    <a:gd name="T46" fmla="*/ 2147483647 w 532"/>
                    <a:gd name="T47" fmla="*/ 2147483647 h 755"/>
                    <a:gd name="T48" fmla="*/ 2147483647 w 532"/>
                    <a:gd name="T49" fmla="*/ 2147483647 h 755"/>
                    <a:gd name="T50" fmla="*/ 2147483647 w 532"/>
                    <a:gd name="T51" fmla="*/ 2147483647 h 755"/>
                    <a:gd name="T52" fmla="*/ 2147483647 w 532"/>
                    <a:gd name="T53" fmla="*/ 2147483647 h 755"/>
                    <a:gd name="T54" fmla="*/ 2147483647 w 532"/>
                    <a:gd name="T55" fmla="*/ 2147483647 h 755"/>
                    <a:gd name="T56" fmla="*/ 2147483647 w 532"/>
                    <a:gd name="T57" fmla="*/ 2147483647 h 755"/>
                    <a:gd name="T58" fmla="*/ 2147483647 w 532"/>
                    <a:gd name="T59" fmla="*/ 2147483647 h 755"/>
                    <a:gd name="T60" fmla="*/ 2147483647 w 532"/>
                    <a:gd name="T61" fmla="*/ 2147483647 h 755"/>
                    <a:gd name="T62" fmla="*/ 2147483647 w 532"/>
                    <a:gd name="T63" fmla="*/ 2147483647 h 755"/>
                    <a:gd name="T64" fmla="*/ 2147483647 w 532"/>
                    <a:gd name="T65" fmla="*/ 2147483647 h 755"/>
                    <a:gd name="T66" fmla="*/ 2147483647 w 532"/>
                    <a:gd name="T67" fmla="*/ 2147483647 h 755"/>
                    <a:gd name="T68" fmla="*/ 2147483647 w 532"/>
                    <a:gd name="T69" fmla="*/ 2147483647 h 755"/>
                    <a:gd name="T70" fmla="*/ 2147483647 w 532"/>
                    <a:gd name="T71" fmla="*/ 2147483647 h 755"/>
                    <a:gd name="T72" fmla="*/ 2147483647 w 532"/>
                    <a:gd name="T73" fmla="*/ 2147483647 h 755"/>
                    <a:gd name="T74" fmla="*/ 2147483647 w 532"/>
                    <a:gd name="T75" fmla="*/ 2147483647 h 755"/>
                    <a:gd name="T76" fmla="*/ 2147483647 w 532"/>
                    <a:gd name="T77" fmla="*/ 2147483647 h 755"/>
                    <a:gd name="T78" fmla="*/ 2147483647 w 532"/>
                    <a:gd name="T79" fmla="*/ 2147483647 h 755"/>
                    <a:gd name="T80" fmla="*/ 2147483647 w 532"/>
                    <a:gd name="T81" fmla="*/ 2147483647 h 755"/>
                    <a:gd name="T82" fmla="*/ 2147483647 w 532"/>
                    <a:gd name="T83" fmla="*/ 2147483647 h 755"/>
                    <a:gd name="T84" fmla="*/ 2147483647 w 532"/>
                    <a:gd name="T85" fmla="*/ 2147483647 h 755"/>
                    <a:gd name="T86" fmla="*/ 2147483647 w 532"/>
                    <a:gd name="T87" fmla="*/ 2147483647 h 755"/>
                    <a:gd name="T88" fmla="*/ 2147483647 w 532"/>
                    <a:gd name="T89" fmla="*/ 2147483647 h 755"/>
                    <a:gd name="T90" fmla="*/ 2147483647 w 532"/>
                    <a:gd name="T91" fmla="*/ 2147483647 h 755"/>
                    <a:gd name="T92" fmla="*/ 2147483647 w 532"/>
                    <a:gd name="T93" fmla="*/ 2147483647 h 755"/>
                    <a:gd name="T94" fmla="*/ 2147483647 w 532"/>
                    <a:gd name="T95" fmla="*/ 2147483647 h 755"/>
                    <a:gd name="T96" fmla="*/ 2147483647 w 532"/>
                    <a:gd name="T97" fmla="*/ 2147483647 h 755"/>
                    <a:gd name="T98" fmla="*/ 2147483647 w 532"/>
                    <a:gd name="T99" fmla="*/ 2147483647 h 755"/>
                    <a:gd name="T100" fmla="*/ 2147483647 w 532"/>
                    <a:gd name="T101" fmla="*/ 2147483647 h 755"/>
                    <a:gd name="T102" fmla="*/ 2147483647 w 532"/>
                    <a:gd name="T103" fmla="*/ 2147483647 h 755"/>
                    <a:gd name="T104" fmla="*/ 2147483647 w 532"/>
                    <a:gd name="T105" fmla="*/ 2147483647 h 755"/>
                    <a:gd name="T106" fmla="*/ 2147483647 w 532"/>
                    <a:gd name="T107" fmla="*/ 2147483647 h 755"/>
                    <a:gd name="T108" fmla="*/ 2147483647 w 532"/>
                    <a:gd name="T109" fmla="*/ 2147483647 h 755"/>
                    <a:gd name="T110" fmla="*/ 2147483647 w 532"/>
                    <a:gd name="T111" fmla="*/ 2147483647 h 755"/>
                    <a:gd name="T112" fmla="*/ 2147483647 w 532"/>
                    <a:gd name="T113" fmla="*/ 2147483647 h 755"/>
                    <a:gd name="T114" fmla="*/ 2147483647 w 532"/>
                    <a:gd name="T115" fmla="*/ 2147483647 h 755"/>
                    <a:gd name="T116" fmla="*/ 2147483647 w 532"/>
                    <a:gd name="T117" fmla="*/ 2147483647 h 755"/>
                    <a:gd name="T118" fmla="*/ 2147483647 w 532"/>
                    <a:gd name="T119" fmla="*/ 2147483647 h 755"/>
                    <a:gd name="T120" fmla="*/ 2147483647 w 532"/>
                    <a:gd name="T121" fmla="*/ 2147483647 h 755"/>
                    <a:gd name="T122" fmla="*/ 2147483647 w 532"/>
                    <a:gd name="T123" fmla="*/ 2147483647 h 755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532"/>
                    <a:gd name="T187" fmla="*/ 0 h 755"/>
                    <a:gd name="T188" fmla="*/ 532 w 532"/>
                    <a:gd name="T189" fmla="*/ 755 h 755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532" h="755">
                      <a:moveTo>
                        <a:pt x="47" y="698"/>
                      </a:moveTo>
                      <a:lnTo>
                        <a:pt x="45" y="696"/>
                      </a:lnTo>
                      <a:lnTo>
                        <a:pt x="43" y="696"/>
                      </a:lnTo>
                      <a:lnTo>
                        <a:pt x="43" y="693"/>
                      </a:lnTo>
                      <a:lnTo>
                        <a:pt x="43" y="691"/>
                      </a:lnTo>
                      <a:lnTo>
                        <a:pt x="42" y="690"/>
                      </a:lnTo>
                      <a:lnTo>
                        <a:pt x="40" y="690"/>
                      </a:lnTo>
                      <a:lnTo>
                        <a:pt x="40" y="688"/>
                      </a:lnTo>
                      <a:lnTo>
                        <a:pt x="38" y="687"/>
                      </a:lnTo>
                      <a:lnTo>
                        <a:pt x="40" y="687"/>
                      </a:lnTo>
                      <a:lnTo>
                        <a:pt x="40" y="685"/>
                      </a:lnTo>
                      <a:lnTo>
                        <a:pt x="40" y="683"/>
                      </a:lnTo>
                      <a:lnTo>
                        <a:pt x="40" y="682"/>
                      </a:lnTo>
                      <a:lnTo>
                        <a:pt x="38" y="682"/>
                      </a:lnTo>
                      <a:lnTo>
                        <a:pt x="38" y="680"/>
                      </a:lnTo>
                      <a:lnTo>
                        <a:pt x="37" y="680"/>
                      </a:lnTo>
                      <a:lnTo>
                        <a:pt x="35" y="680"/>
                      </a:lnTo>
                      <a:lnTo>
                        <a:pt x="33" y="682"/>
                      </a:lnTo>
                      <a:lnTo>
                        <a:pt x="32" y="682"/>
                      </a:lnTo>
                      <a:lnTo>
                        <a:pt x="30" y="683"/>
                      </a:lnTo>
                      <a:lnTo>
                        <a:pt x="28" y="683"/>
                      </a:lnTo>
                      <a:lnTo>
                        <a:pt x="28" y="685"/>
                      </a:lnTo>
                      <a:lnTo>
                        <a:pt x="27" y="685"/>
                      </a:lnTo>
                      <a:lnTo>
                        <a:pt x="25" y="685"/>
                      </a:lnTo>
                      <a:lnTo>
                        <a:pt x="23" y="687"/>
                      </a:lnTo>
                      <a:lnTo>
                        <a:pt x="23" y="688"/>
                      </a:lnTo>
                      <a:lnTo>
                        <a:pt x="25" y="688"/>
                      </a:lnTo>
                      <a:lnTo>
                        <a:pt x="25" y="690"/>
                      </a:lnTo>
                      <a:lnTo>
                        <a:pt x="23" y="691"/>
                      </a:lnTo>
                      <a:lnTo>
                        <a:pt x="23" y="693"/>
                      </a:lnTo>
                      <a:lnTo>
                        <a:pt x="22" y="693"/>
                      </a:lnTo>
                      <a:lnTo>
                        <a:pt x="18" y="695"/>
                      </a:lnTo>
                      <a:lnTo>
                        <a:pt x="13" y="695"/>
                      </a:lnTo>
                      <a:lnTo>
                        <a:pt x="13" y="693"/>
                      </a:lnTo>
                      <a:lnTo>
                        <a:pt x="11" y="693"/>
                      </a:lnTo>
                      <a:lnTo>
                        <a:pt x="10" y="691"/>
                      </a:lnTo>
                      <a:lnTo>
                        <a:pt x="8" y="693"/>
                      </a:lnTo>
                      <a:lnTo>
                        <a:pt x="6" y="693"/>
                      </a:lnTo>
                      <a:lnTo>
                        <a:pt x="5" y="693"/>
                      </a:lnTo>
                      <a:lnTo>
                        <a:pt x="3" y="693"/>
                      </a:lnTo>
                      <a:lnTo>
                        <a:pt x="3" y="691"/>
                      </a:lnTo>
                      <a:lnTo>
                        <a:pt x="3" y="690"/>
                      </a:lnTo>
                      <a:lnTo>
                        <a:pt x="3" y="688"/>
                      </a:lnTo>
                      <a:lnTo>
                        <a:pt x="5" y="688"/>
                      </a:lnTo>
                      <a:lnTo>
                        <a:pt x="3" y="688"/>
                      </a:lnTo>
                      <a:lnTo>
                        <a:pt x="5" y="688"/>
                      </a:lnTo>
                      <a:lnTo>
                        <a:pt x="5" y="687"/>
                      </a:lnTo>
                      <a:lnTo>
                        <a:pt x="6" y="687"/>
                      </a:lnTo>
                      <a:lnTo>
                        <a:pt x="5" y="687"/>
                      </a:lnTo>
                      <a:lnTo>
                        <a:pt x="6" y="687"/>
                      </a:lnTo>
                      <a:lnTo>
                        <a:pt x="6" y="685"/>
                      </a:lnTo>
                      <a:lnTo>
                        <a:pt x="8" y="685"/>
                      </a:lnTo>
                      <a:lnTo>
                        <a:pt x="8" y="683"/>
                      </a:lnTo>
                      <a:lnTo>
                        <a:pt x="8" y="682"/>
                      </a:lnTo>
                      <a:lnTo>
                        <a:pt x="10" y="682"/>
                      </a:lnTo>
                      <a:lnTo>
                        <a:pt x="10" y="680"/>
                      </a:lnTo>
                      <a:lnTo>
                        <a:pt x="10" y="682"/>
                      </a:lnTo>
                      <a:lnTo>
                        <a:pt x="10" y="680"/>
                      </a:lnTo>
                      <a:lnTo>
                        <a:pt x="10" y="678"/>
                      </a:lnTo>
                      <a:lnTo>
                        <a:pt x="11" y="678"/>
                      </a:lnTo>
                      <a:lnTo>
                        <a:pt x="10" y="678"/>
                      </a:lnTo>
                      <a:lnTo>
                        <a:pt x="11" y="678"/>
                      </a:lnTo>
                      <a:lnTo>
                        <a:pt x="11" y="677"/>
                      </a:lnTo>
                      <a:lnTo>
                        <a:pt x="10" y="677"/>
                      </a:lnTo>
                      <a:lnTo>
                        <a:pt x="10" y="675"/>
                      </a:lnTo>
                      <a:lnTo>
                        <a:pt x="10" y="673"/>
                      </a:lnTo>
                      <a:lnTo>
                        <a:pt x="11" y="673"/>
                      </a:lnTo>
                      <a:lnTo>
                        <a:pt x="11" y="672"/>
                      </a:lnTo>
                      <a:lnTo>
                        <a:pt x="11" y="670"/>
                      </a:lnTo>
                      <a:lnTo>
                        <a:pt x="13" y="670"/>
                      </a:lnTo>
                      <a:lnTo>
                        <a:pt x="11" y="670"/>
                      </a:lnTo>
                      <a:lnTo>
                        <a:pt x="13" y="668"/>
                      </a:lnTo>
                      <a:lnTo>
                        <a:pt x="11" y="668"/>
                      </a:lnTo>
                      <a:lnTo>
                        <a:pt x="13" y="668"/>
                      </a:lnTo>
                      <a:lnTo>
                        <a:pt x="13" y="667"/>
                      </a:lnTo>
                      <a:lnTo>
                        <a:pt x="13" y="665"/>
                      </a:lnTo>
                      <a:lnTo>
                        <a:pt x="13" y="664"/>
                      </a:lnTo>
                      <a:lnTo>
                        <a:pt x="13" y="662"/>
                      </a:lnTo>
                      <a:lnTo>
                        <a:pt x="11" y="662"/>
                      </a:lnTo>
                      <a:lnTo>
                        <a:pt x="11" y="659"/>
                      </a:lnTo>
                      <a:lnTo>
                        <a:pt x="11" y="657"/>
                      </a:lnTo>
                      <a:lnTo>
                        <a:pt x="11" y="655"/>
                      </a:lnTo>
                      <a:lnTo>
                        <a:pt x="13" y="655"/>
                      </a:lnTo>
                      <a:lnTo>
                        <a:pt x="13" y="654"/>
                      </a:lnTo>
                      <a:lnTo>
                        <a:pt x="13" y="652"/>
                      </a:lnTo>
                      <a:lnTo>
                        <a:pt x="15" y="650"/>
                      </a:lnTo>
                      <a:lnTo>
                        <a:pt x="15" y="649"/>
                      </a:lnTo>
                      <a:lnTo>
                        <a:pt x="15" y="647"/>
                      </a:lnTo>
                      <a:lnTo>
                        <a:pt x="15" y="645"/>
                      </a:lnTo>
                      <a:lnTo>
                        <a:pt x="15" y="644"/>
                      </a:lnTo>
                      <a:lnTo>
                        <a:pt x="15" y="642"/>
                      </a:lnTo>
                      <a:lnTo>
                        <a:pt x="13" y="642"/>
                      </a:lnTo>
                      <a:lnTo>
                        <a:pt x="15" y="642"/>
                      </a:lnTo>
                      <a:lnTo>
                        <a:pt x="15" y="641"/>
                      </a:lnTo>
                      <a:lnTo>
                        <a:pt x="15" y="639"/>
                      </a:lnTo>
                      <a:lnTo>
                        <a:pt x="15" y="637"/>
                      </a:lnTo>
                      <a:lnTo>
                        <a:pt x="15" y="636"/>
                      </a:lnTo>
                      <a:lnTo>
                        <a:pt x="15" y="634"/>
                      </a:lnTo>
                      <a:lnTo>
                        <a:pt x="13" y="632"/>
                      </a:lnTo>
                      <a:lnTo>
                        <a:pt x="15" y="632"/>
                      </a:lnTo>
                      <a:lnTo>
                        <a:pt x="13" y="632"/>
                      </a:lnTo>
                      <a:lnTo>
                        <a:pt x="13" y="631"/>
                      </a:lnTo>
                      <a:lnTo>
                        <a:pt x="13" y="629"/>
                      </a:lnTo>
                      <a:lnTo>
                        <a:pt x="15" y="629"/>
                      </a:lnTo>
                      <a:lnTo>
                        <a:pt x="15" y="627"/>
                      </a:lnTo>
                      <a:lnTo>
                        <a:pt x="15" y="626"/>
                      </a:lnTo>
                      <a:lnTo>
                        <a:pt x="16" y="626"/>
                      </a:lnTo>
                      <a:lnTo>
                        <a:pt x="16" y="624"/>
                      </a:lnTo>
                      <a:lnTo>
                        <a:pt x="18" y="624"/>
                      </a:lnTo>
                      <a:lnTo>
                        <a:pt x="18" y="622"/>
                      </a:lnTo>
                      <a:lnTo>
                        <a:pt x="20" y="622"/>
                      </a:lnTo>
                      <a:lnTo>
                        <a:pt x="18" y="621"/>
                      </a:lnTo>
                      <a:lnTo>
                        <a:pt x="18" y="619"/>
                      </a:lnTo>
                      <a:lnTo>
                        <a:pt x="18" y="618"/>
                      </a:lnTo>
                      <a:lnTo>
                        <a:pt x="16" y="618"/>
                      </a:lnTo>
                      <a:lnTo>
                        <a:pt x="18" y="616"/>
                      </a:lnTo>
                      <a:lnTo>
                        <a:pt x="16" y="616"/>
                      </a:lnTo>
                      <a:lnTo>
                        <a:pt x="16" y="614"/>
                      </a:lnTo>
                      <a:lnTo>
                        <a:pt x="15" y="613"/>
                      </a:lnTo>
                      <a:lnTo>
                        <a:pt x="15" y="611"/>
                      </a:lnTo>
                      <a:lnTo>
                        <a:pt x="13" y="611"/>
                      </a:lnTo>
                      <a:lnTo>
                        <a:pt x="11" y="611"/>
                      </a:lnTo>
                      <a:lnTo>
                        <a:pt x="10" y="609"/>
                      </a:lnTo>
                      <a:lnTo>
                        <a:pt x="8" y="609"/>
                      </a:lnTo>
                      <a:lnTo>
                        <a:pt x="8" y="608"/>
                      </a:lnTo>
                      <a:lnTo>
                        <a:pt x="8" y="606"/>
                      </a:lnTo>
                      <a:lnTo>
                        <a:pt x="8" y="604"/>
                      </a:lnTo>
                      <a:lnTo>
                        <a:pt x="8" y="603"/>
                      </a:lnTo>
                      <a:lnTo>
                        <a:pt x="8" y="601"/>
                      </a:lnTo>
                      <a:lnTo>
                        <a:pt x="8" y="599"/>
                      </a:lnTo>
                      <a:lnTo>
                        <a:pt x="8" y="598"/>
                      </a:lnTo>
                      <a:lnTo>
                        <a:pt x="8" y="596"/>
                      </a:lnTo>
                      <a:lnTo>
                        <a:pt x="8" y="595"/>
                      </a:lnTo>
                      <a:lnTo>
                        <a:pt x="6" y="593"/>
                      </a:lnTo>
                      <a:lnTo>
                        <a:pt x="6" y="591"/>
                      </a:lnTo>
                      <a:lnTo>
                        <a:pt x="5" y="591"/>
                      </a:lnTo>
                      <a:lnTo>
                        <a:pt x="5" y="590"/>
                      </a:lnTo>
                      <a:lnTo>
                        <a:pt x="6" y="588"/>
                      </a:lnTo>
                      <a:lnTo>
                        <a:pt x="5" y="588"/>
                      </a:lnTo>
                      <a:lnTo>
                        <a:pt x="6" y="588"/>
                      </a:lnTo>
                      <a:lnTo>
                        <a:pt x="6" y="586"/>
                      </a:lnTo>
                      <a:lnTo>
                        <a:pt x="5" y="586"/>
                      </a:lnTo>
                      <a:lnTo>
                        <a:pt x="5" y="585"/>
                      </a:lnTo>
                      <a:lnTo>
                        <a:pt x="5" y="583"/>
                      </a:lnTo>
                      <a:lnTo>
                        <a:pt x="5" y="581"/>
                      </a:lnTo>
                      <a:lnTo>
                        <a:pt x="3" y="580"/>
                      </a:lnTo>
                      <a:lnTo>
                        <a:pt x="5" y="580"/>
                      </a:lnTo>
                      <a:lnTo>
                        <a:pt x="3" y="578"/>
                      </a:lnTo>
                      <a:lnTo>
                        <a:pt x="1" y="576"/>
                      </a:lnTo>
                      <a:lnTo>
                        <a:pt x="0" y="575"/>
                      </a:lnTo>
                      <a:lnTo>
                        <a:pt x="0" y="573"/>
                      </a:lnTo>
                      <a:lnTo>
                        <a:pt x="0" y="572"/>
                      </a:lnTo>
                      <a:lnTo>
                        <a:pt x="0" y="570"/>
                      </a:lnTo>
                      <a:lnTo>
                        <a:pt x="0" y="568"/>
                      </a:lnTo>
                      <a:lnTo>
                        <a:pt x="0" y="567"/>
                      </a:lnTo>
                      <a:lnTo>
                        <a:pt x="1" y="567"/>
                      </a:lnTo>
                      <a:lnTo>
                        <a:pt x="1" y="565"/>
                      </a:lnTo>
                      <a:lnTo>
                        <a:pt x="3" y="563"/>
                      </a:lnTo>
                      <a:lnTo>
                        <a:pt x="3" y="562"/>
                      </a:lnTo>
                      <a:lnTo>
                        <a:pt x="3" y="560"/>
                      </a:lnTo>
                      <a:lnTo>
                        <a:pt x="5" y="558"/>
                      </a:lnTo>
                      <a:lnTo>
                        <a:pt x="5" y="557"/>
                      </a:lnTo>
                      <a:lnTo>
                        <a:pt x="6" y="557"/>
                      </a:lnTo>
                      <a:lnTo>
                        <a:pt x="8" y="555"/>
                      </a:lnTo>
                      <a:lnTo>
                        <a:pt x="8" y="557"/>
                      </a:lnTo>
                      <a:lnTo>
                        <a:pt x="10" y="555"/>
                      </a:lnTo>
                      <a:lnTo>
                        <a:pt x="8" y="555"/>
                      </a:lnTo>
                      <a:lnTo>
                        <a:pt x="10" y="555"/>
                      </a:lnTo>
                      <a:lnTo>
                        <a:pt x="10" y="553"/>
                      </a:lnTo>
                      <a:lnTo>
                        <a:pt x="11" y="553"/>
                      </a:lnTo>
                      <a:lnTo>
                        <a:pt x="11" y="552"/>
                      </a:lnTo>
                      <a:lnTo>
                        <a:pt x="13" y="552"/>
                      </a:lnTo>
                      <a:lnTo>
                        <a:pt x="15" y="550"/>
                      </a:lnTo>
                      <a:lnTo>
                        <a:pt x="15" y="549"/>
                      </a:lnTo>
                      <a:lnTo>
                        <a:pt x="15" y="547"/>
                      </a:lnTo>
                      <a:lnTo>
                        <a:pt x="16" y="547"/>
                      </a:lnTo>
                      <a:lnTo>
                        <a:pt x="16" y="545"/>
                      </a:lnTo>
                      <a:lnTo>
                        <a:pt x="15" y="545"/>
                      </a:lnTo>
                      <a:lnTo>
                        <a:pt x="16" y="545"/>
                      </a:lnTo>
                      <a:lnTo>
                        <a:pt x="15" y="545"/>
                      </a:lnTo>
                      <a:lnTo>
                        <a:pt x="16" y="544"/>
                      </a:lnTo>
                      <a:lnTo>
                        <a:pt x="18" y="544"/>
                      </a:lnTo>
                      <a:lnTo>
                        <a:pt x="18" y="542"/>
                      </a:lnTo>
                      <a:lnTo>
                        <a:pt x="20" y="542"/>
                      </a:lnTo>
                      <a:lnTo>
                        <a:pt x="22" y="542"/>
                      </a:lnTo>
                      <a:lnTo>
                        <a:pt x="20" y="542"/>
                      </a:lnTo>
                      <a:lnTo>
                        <a:pt x="20" y="540"/>
                      </a:lnTo>
                      <a:lnTo>
                        <a:pt x="18" y="540"/>
                      </a:lnTo>
                      <a:lnTo>
                        <a:pt x="18" y="539"/>
                      </a:lnTo>
                      <a:lnTo>
                        <a:pt x="20" y="539"/>
                      </a:lnTo>
                      <a:lnTo>
                        <a:pt x="22" y="537"/>
                      </a:lnTo>
                      <a:lnTo>
                        <a:pt x="22" y="535"/>
                      </a:lnTo>
                      <a:lnTo>
                        <a:pt x="22" y="534"/>
                      </a:lnTo>
                      <a:lnTo>
                        <a:pt x="23" y="532"/>
                      </a:lnTo>
                      <a:lnTo>
                        <a:pt x="23" y="530"/>
                      </a:lnTo>
                      <a:lnTo>
                        <a:pt x="23" y="529"/>
                      </a:lnTo>
                      <a:lnTo>
                        <a:pt x="23" y="527"/>
                      </a:lnTo>
                      <a:lnTo>
                        <a:pt x="23" y="526"/>
                      </a:lnTo>
                      <a:lnTo>
                        <a:pt x="25" y="526"/>
                      </a:lnTo>
                      <a:lnTo>
                        <a:pt x="23" y="524"/>
                      </a:lnTo>
                      <a:lnTo>
                        <a:pt x="25" y="524"/>
                      </a:lnTo>
                      <a:lnTo>
                        <a:pt x="25" y="522"/>
                      </a:lnTo>
                      <a:lnTo>
                        <a:pt x="25" y="521"/>
                      </a:lnTo>
                      <a:lnTo>
                        <a:pt x="27" y="521"/>
                      </a:lnTo>
                      <a:lnTo>
                        <a:pt x="27" y="519"/>
                      </a:lnTo>
                      <a:lnTo>
                        <a:pt x="28" y="519"/>
                      </a:lnTo>
                      <a:lnTo>
                        <a:pt x="28" y="517"/>
                      </a:lnTo>
                      <a:lnTo>
                        <a:pt x="28" y="516"/>
                      </a:lnTo>
                      <a:lnTo>
                        <a:pt x="28" y="514"/>
                      </a:lnTo>
                      <a:lnTo>
                        <a:pt x="30" y="514"/>
                      </a:lnTo>
                      <a:lnTo>
                        <a:pt x="30" y="512"/>
                      </a:lnTo>
                      <a:lnTo>
                        <a:pt x="30" y="511"/>
                      </a:lnTo>
                      <a:lnTo>
                        <a:pt x="30" y="509"/>
                      </a:lnTo>
                      <a:lnTo>
                        <a:pt x="32" y="509"/>
                      </a:lnTo>
                      <a:lnTo>
                        <a:pt x="32" y="507"/>
                      </a:lnTo>
                      <a:lnTo>
                        <a:pt x="33" y="506"/>
                      </a:lnTo>
                      <a:lnTo>
                        <a:pt x="35" y="506"/>
                      </a:lnTo>
                      <a:lnTo>
                        <a:pt x="35" y="504"/>
                      </a:lnTo>
                      <a:lnTo>
                        <a:pt x="35" y="503"/>
                      </a:lnTo>
                      <a:lnTo>
                        <a:pt x="37" y="503"/>
                      </a:lnTo>
                      <a:lnTo>
                        <a:pt x="37" y="501"/>
                      </a:lnTo>
                      <a:lnTo>
                        <a:pt x="38" y="501"/>
                      </a:lnTo>
                      <a:lnTo>
                        <a:pt x="38" y="499"/>
                      </a:lnTo>
                      <a:lnTo>
                        <a:pt x="38" y="498"/>
                      </a:lnTo>
                      <a:lnTo>
                        <a:pt x="38" y="496"/>
                      </a:lnTo>
                      <a:lnTo>
                        <a:pt x="38" y="494"/>
                      </a:lnTo>
                      <a:lnTo>
                        <a:pt x="38" y="493"/>
                      </a:lnTo>
                      <a:lnTo>
                        <a:pt x="40" y="493"/>
                      </a:lnTo>
                      <a:lnTo>
                        <a:pt x="40" y="491"/>
                      </a:lnTo>
                      <a:lnTo>
                        <a:pt x="40" y="489"/>
                      </a:lnTo>
                      <a:lnTo>
                        <a:pt x="38" y="488"/>
                      </a:lnTo>
                      <a:lnTo>
                        <a:pt x="40" y="488"/>
                      </a:lnTo>
                      <a:lnTo>
                        <a:pt x="40" y="486"/>
                      </a:lnTo>
                      <a:lnTo>
                        <a:pt x="40" y="488"/>
                      </a:lnTo>
                      <a:lnTo>
                        <a:pt x="42" y="488"/>
                      </a:lnTo>
                      <a:lnTo>
                        <a:pt x="42" y="486"/>
                      </a:lnTo>
                      <a:lnTo>
                        <a:pt x="40" y="486"/>
                      </a:lnTo>
                      <a:lnTo>
                        <a:pt x="40" y="485"/>
                      </a:lnTo>
                      <a:lnTo>
                        <a:pt x="40" y="483"/>
                      </a:lnTo>
                      <a:lnTo>
                        <a:pt x="42" y="483"/>
                      </a:lnTo>
                      <a:lnTo>
                        <a:pt x="42" y="481"/>
                      </a:lnTo>
                      <a:lnTo>
                        <a:pt x="40" y="481"/>
                      </a:lnTo>
                      <a:lnTo>
                        <a:pt x="42" y="481"/>
                      </a:lnTo>
                      <a:lnTo>
                        <a:pt x="42" y="480"/>
                      </a:lnTo>
                      <a:lnTo>
                        <a:pt x="42" y="478"/>
                      </a:lnTo>
                      <a:lnTo>
                        <a:pt x="43" y="478"/>
                      </a:lnTo>
                      <a:lnTo>
                        <a:pt x="43" y="476"/>
                      </a:lnTo>
                      <a:lnTo>
                        <a:pt x="42" y="476"/>
                      </a:lnTo>
                      <a:lnTo>
                        <a:pt x="43" y="475"/>
                      </a:lnTo>
                      <a:lnTo>
                        <a:pt x="42" y="473"/>
                      </a:lnTo>
                      <a:lnTo>
                        <a:pt x="43" y="473"/>
                      </a:lnTo>
                      <a:lnTo>
                        <a:pt x="43" y="471"/>
                      </a:lnTo>
                      <a:lnTo>
                        <a:pt x="45" y="470"/>
                      </a:lnTo>
                      <a:lnTo>
                        <a:pt x="45" y="468"/>
                      </a:lnTo>
                      <a:lnTo>
                        <a:pt x="45" y="466"/>
                      </a:lnTo>
                      <a:lnTo>
                        <a:pt x="47" y="466"/>
                      </a:lnTo>
                      <a:lnTo>
                        <a:pt x="45" y="466"/>
                      </a:lnTo>
                      <a:lnTo>
                        <a:pt x="47" y="466"/>
                      </a:lnTo>
                      <a:lnTo>
                        <a:pt x="47" y="465"/>
                      </a:lnTo>
                      <a:lnTo>
                        <a:pt x="47" y="463"/>
                      </a:lnTo>
                      <a:lnTo>
                        <a:pt x="47" y="462"/>
                      </a:lnTo>
                      <a:lnTo>
                        <a:pt x="47" y="463"/>
                      </a:lnTo>
                      <a:lnTo>
                        <a:pt x="49" y="462"/>
                      </a:lnTo>
                      <a:lnTo>
                        <a:pt x="47" y="462"/>
                      </a:lnTo>
                      <a:lnTo>
                        <a:pt x="47" y="460"/>
                      </a:lnTo>
                      <a:lnTo>
                        <a:pt x="49" y="460"/>
                      </a:lnTo>
                      <a:lnTo>
                        <a:pt x="49" y="458"/>
                      </a:lnTo>
                      <a:lnTo>
                        <a:pt x="49" y="457"/>
                      </a:lnTo>
                      <a:lnTo>
                        <a:pt x="50" y="457"/>
                      </a:lnTo>
                      <a:lnTo>
                        <a:pt x="50" y="455"/>
                      </a:lnTo>
                      <a:lnTo>
                        <a:pt x="52" y="455"/>
                      </a:lnTo>
                      <a:lnTo>
                        <a:pt x="52" y="457"/>
                      </a:lnTo>
                      <a:lnTo>
                        <a:pt x="52" y="455"/>
                      </a:lnTo>
                      <a:lnTo>
                        <a:pt x="54" y="455"/>
                      </a:lnTo>
                      <a:lnTo>
                        <a:pt x="54" y="453"/>
                      </a:lnTo>
                      <a:lnTo>
                        <a:pt x="55" y="453"/>
                      </a:lnTo>
                      <a:lnTo>
                        <a:pt x="55" y="452"/>
                      </a:lnTo>
                      <a:lnTo>
                        <a:pt x="55" y="450"/>
                      </a:lnTo>
                      <a:lnTo>
                        <a:pt x="57" y="450"/>
                      </a:lnTo>
                      <a:lnTo>
                        <a:pt x="59" y="450"/>
                      </a:lnTo>
                      <a:lnTo>
                        <a:pt x="60" y="448"/>
                      </a:lnTo>
                      <a:lnTo>
                        <a:pt x="60" y="447"/>
                      </a:lnTo>
                      <a:lnTo>
                        <a:pt x="62" y="447"/>
                      </a:lnTo>
                      <a:lnTo>
                        <a:pt x="64" y="447"/>
                      </a:lnTo>
                      <a:lnTo>
                        <a:pt x="65" y="447"/>
                      </a:lnTo>
                      <a:lnTo>
                        <a:pt x="65" y="445"/>
                      </a:lnTo>
                      <a:lnTo>
                        <a:pt x="67" y="445"/>
                      </a:lnTo>
                      <a:lnTo>
                        <a:pt x="69" y="447"/>
                      </a:lnTo>
                      <a:lnTo>
                        <a:pt x="69" y="445"/>
                      </a:lnTo>
                      <a:lnTo>
                        <a:pt x="70" y="445"/>
                      </a:lnTo>
                      <a:lnTo>
                        <a:pt x="72" y="443"/>
                      </a:lnTo>
                      <a:lnTo>
                        <a:pt x="72" y="445"/>
                      </a:lnTo>
                      <a:lnTo>
                        <a:pt x="74" y="445"/>
                      </a:lnTo>
                      <a:lnTo>
                        <a:pt x="74" y="443"/>
                      </a:lnTo>
                      <a:lnTo>
                        <a:pt x="76" y="443"/>
                      </a:lnTo>
                      <a:lnTo>
                        <a:pt x="77" y="442"/>
                      </a:lnTo>
                      <a:lnTo>
                        <a:pt x="79" y="442"/>
                      </a:lnTo>
                      <a:lnTo>
                        <a:pt x="79" y="440"/>
                      </a:lnTo>
                      <a:lnTo>
                        <a:pt x="79" y="442"/>
                      </a:lnTo>
                      <a:lnTo>
                        <a:pt x="81" y="442"/>
                      </a:lnTo>
                      <a:lnTo>
                        <a:pt x="81" y="440"/>
                      </a:lnTo>
                      <a:lnTo>
                        <a:pt x="82" y="440"/>
                      </a:lnTo>
                      <a:lnTo>
                        <a:pt x="84" y="440"/>
                      </a:lnTo>
                      <a:lnTo>
                        <a:pt x="86" y="440"/>
                      </a:lnTo>
                      <a:lnTo>
                        <a:pt x="87" y="440"/>
                      </a:lnTo>
                      <a:lnTo>
                        <a:pt x="89" y="440"/>
                      </a:lnTo>
                      <a:lnTo>
                        <a:pt x="91" y="440"/>
                      </a:lnTo>
                      <a:lnTo>
                        <a:pt x="92" y="439"/>
                      </a:lnTo>
                      <a:lnTo>
                        <a:pt x="94" y="439"/>
                      </a:lnTo>
                      <a:lnTo>
                        <a:pt x="96" y="439"/>
                      </a:lnTo>
                      <a:lnTo>
                        <a:pt x="98" y="437"/>
                      </a:lnTo>
                      <a:lnTo>
                        <a:pt x="99" y="437"/>
                      </a:lnTo>
                      <a:lnTo>
                        <a:pt x="101" y="437"/>
                      </a:lnTo>
                      <a:lnTo>
                        <a:pt x="101" y="435"/>
                      </a:lnTo>
                      <a:lnTo>
                        <a:pt x="103" y="434"/>
                      </a:lnTo>
                      <a:lnTo>
                        <a:pt x="103" y="432"/>
                      </a:lnTo>
                      <a:lnTo>
                        <a:pt x="104" y="432"/>
                      </a:lnTo>
                      <a:lnTo>
                        <a:pt x="104" y="434"/>
                      </a:lnTo>
                      <a:lnTo>
                        <a:pt x="106" y="432"/>
                      </a:lnTo>
                      <a:lnTo>
                        <a:pt x="108" y="432"/>
                      </a:lnTo>
                      <a:lnTo>
                        <a:pt x="108" y="430"/>
                      </a:lnTo>
                      <a:lnTo>
                        <a:pt x="108" y="429"/>
                      </a:lnTo>
                      <a:lnTo>
                        <a:pt x="109" y="429"/>
                      </a:lnTo>
                      <a:lnTo>
                        <a:pt x="111" y="427"/>
                      </a:lnTo>
                      <a:lnTo>
                        <a:pt x="113" y="427"/>
                      </a:lnTo>
                      <a:lnTo>
                        <a:pt x="114" y="427"/>
                      </a:lnTo>
                      <a:lnTo>
                        <a:pt x="114" y="429"/>
                      </a:lnTo>
                      <a:lnTo>
                        <a:pt x="116" y="427"/>
                      </a:lnTo>
                      <a:lnTo>
                        <a:pt x="118" y="427"/>
                      </a:lnTo>
                      <a:lnTo>
                        <a:pt x="118" y="429"/>
                      </a:lnTo>
                      <a:lnTo>
                        <a:pt x="119" y="430"/>
                      </a:lnTo>
                      <a:lnTo>
                        <a:pt x="121" y="430"/>
                      </a:lnTo>
                      <a:lnTo>
                        <a:pt x="123" y="430"/>
                      </a:lnTo>
                      <a:lnTo>
                        <a:pt x="123" y="429"/>
                      </a:lnTo>
                      <a:lnTo>
                        <a:pt x="123" y="427"/>
                      </a:lnTo>
                      <a:lnTo>
                        <a:pt x="125" y="427"/>
                      </a:lnTo>
                      <a:lnTo>
                        <a:pt x="125" y="425"/>
                      </a:lnTo>
                      <a:lnTo>
                        <a:pt x="126" y="424"/>
                      </a:lnTo>
                      <a:lnTo>
                        <a:pt x="128" y="424"/>
                      </a:lnTo>
                      <a:lnTo>
                        <a:pt x="128" y="422"/>
                      </a:lnTo>
                      <a:lnTo>
                        <a:pt x="130" y="422"/>
                      </a:lnTo>
                      <a:lnTo>
                        <a:pt x="130" y="420"/>
                      </a:lnTo>
                      <a:lnTo>
                        <a:pt x="131" y="420"/>
                      </a:lnTo>
                      <a:lnTo>
                        <a:pt x="131" y="419"/>
                      </a:lnTo>
                      <a:lnTo>
                        <a:pt x="131" y="417"/>
                      </a:lnTo>
                      <a:lnTo>
                        <a:pt x="133" y="417"/>
                      </a:lnTo>
                      <a:lnTo>
                        <a:pt x="135" y="416"/>
                      </a:lnTo>
                      <a:lnTo>
                        <a:pt x="135" y="414"/>
                      </a:lnTo>
                      <a:lnTo>
                        <a:pt x="138" y="414"/>
                      </a:lnTo>
                      <a:lnTo>
                        <a:pt x="140" y="412"/>
                      </a:lnTo>
                      <a:lnTo>
                        <a:pt x="140" y="411"/>
                      </a:lnTo>
                      <a:lnTo>
                        <a:pt x="141" y="411"/>
                      </a:lnTo>
                      <a:lnTo>
                        <a:pt x="143" y="409"/>
                      </a:lnTo>
                      <a:lnTo>
                        <a:pt x="145" y="409"/>
                      </a:lnTo>
                      <a:lnTo>
                        <a:pt x="146" y="407"/>
                      </a:lnTo>
                      <a:lnTo>
                        <a:pt x="148" y="407"/>
                      </a:lnTo>
                      <a:lnTo>
                        <a:pt x="148" y="406"/>
                      </a:lnTo>
                      <a:lnTo>
                        <a:pt x="150" y="406"/>
                      </a:lnTo>
                      <a:lnTo>
                        <a:pt x="152" y="404"/>
                      </a:lnTo>
                      <a:lnTo>
                        <a:pt x="153" y="404"/>
                      </a:lnTo>
                      <a:lnTo>
                        <a:pt x="155" y="404"/>
                      </a:lnTo>
                      <a:lnTo>
                        <a:pt x="157" y="404"/>
                      </a:lnTo>
                      <a:lnTo>
                        <a:pt x="158" y="404"/>
                      </a:lnTo>
                      <a:lnTo>
                        <a:pt x="160" y="404"/>
                      </a:lnTo>
                      <a:lnTo>
                        <a:pt x="160" y="402"/>
                      </a:lnTo>
                      <a:lnTo>
                        <a:pt x="162" y="401"/>
                      </a:lnTo>
                      <a:lnTo>
                        <a:pt x="162" y="399"/>
                      </a:lnTo>
                      <a:lnTo>
                        <a:pt x="162" y="397"/>
                      </a:lnTo>
                      <a:lnTo>
                        <a:pt x="162" y="396"/>
                      </a:lnTo>
                      <a:lnTo>
                        <a:pt x="163" y="396"/>
                      </a:lnTo>
                      <a:lnTo>
                        <a:pt x="163" y="394"/>
                      </a:lnTo>
                      <a:lnTo>
                        <a:pt x="163" y="393"/>
                      </a:lnTo>
                      <a:lnTo>
                        <a:pt x="165" y="393"/>
                      </a:lnTo>
                      <a:lnTo>
                        <a:pt x="165" y="394"/>
                      </a:lnTo>
                      <a:lnTo>
                        <a:pt x="165" y="393"/>
                      </a:lnTo>
                      <a:lnTo>
                        <a:pt x="167" y="393"/>
                      </a:lnTo>
                      <a:lnTo>
                        <a:pt x="168" y="391"/>
                      </a:lnTo>
                      <a:lnTo>
                        <a:pt x="168" y="389"/>
                      </a:lnTo>
                      <a:lnTo>
                        <a:pt x="168" y="388"/>
                      </a:lnTo>
                      <a:lnTo>
                        <a:pt x="170" y="386"/>
                      </a:lnTo>
                      <a:lnTo>
                        <a:pt x="172" y="386"/>
                      </a:lnTo>
                      <a:lnTo>
                        <a:pt x="172" y="384"/>
                      </a:lnTo>
                      <a:lnTo>
                        <a:pt x="172" y="383"/>
                      </a:lnTo>
                      <a:lnTo>
                        <a:pt x="172" y="381"/>
                      </a:lnTo>
                      <a:lnTo>
                        <a:pt x="174" y="381"/>
                      </a:lnTo>
                      <a:lnTo>
                        <a:pt x="175" y="381"/>
                      </a:lnTo>
                      <a:lnTo>
                        <a:pt x="175" y="379"/>
                      </a:lnTo>
                      <a:lnTo>
                        <a:pt x="177" y="378"/>
                      </a:lnTo>
                      <a:lnTo>
                        <a:pt x="177" y="379"/>
                      </a:lnTo>
                      <a:lnTo>
                        <a:pt x="179" y="381"/>
                      </a:lnTo>
                      <a:lnTo>
                        <a:pt x="179" y="379"/>
                      </a:lnTo>
                      <a:lnTo>
                        <a:pt x="179" y="378"/>
                      </a:lnTo>
                      <a:lnTo>
                        <a:pt x="177" y="378"/>
                      </a:lnTo>
                      <a:lnTo>
                        <a:pt x="177" y="376"/>
                      </a:lnTo>
                      <a:lnTo>
                        <a:pt x="177" y="374"/>
                      </a:lnTo>
                      <a:lnTo>
                        <a:pt x="179" y="374"/>
                      </a:lnTo>
                      <a:lnTo>
                        <a:pt x="180" y="374"/>
                      </a:lnTo>
                      <a:lnTo>
                        <a:pt x="180" y="376"/>
                      </a:lnTo>
                      <a:lnTo>
                        <a:pt x="182" y="378"/>
                      </a:lnTo>
                      <a:lnTo>
                        <a:pt x="182" y="376"/>
                      </a:lnTo>
                      <a:lnTo>
                        <a:pt x="182" y="374"/>
                      </a:lnTo>
                      <a:lnTo>
                        <a:pt x="182" y="373"/>
                      </a:lnTo>
                      <a:lnTo>
                        <a:pt x="184" y="373"/>
                      </a:lnTo>
                      <a:lnTo>
                        <a:pt x="184" y="371"/>
                      </a:lnTo>
                      <a:lnTo>
                        <a:pt x="185" y="371"/>
                      </a:lnTo>
                      <a:lnTo>
                        <a:pt x="187" y="371"/>
                      </a:lnTo>
                      <a:lnTo>
                        <a:pt x="189" y="371"/>
                      </a:lnTo>
                      <a:lnTo>
                        <a:pt x="190" y="371"/>
                      </a:lnTo>
                      <a:lnTo>
                        <a:pt x="190" y="370"/>
                      </a:lnTo>
                      <a:lnTo>
                        <a:pt x="192" y="370"/>
                      </a:lnTo>
                      <a:lnTo>
                        <a:pt x="194" y="371"/>
                      </a:lnTo>
                      <a:lnTo>
                        <a:pt x="194" y="373"/>
                      </a:lnTo>
                      <a:lnTo>
                        <a:pt x="195" y="373"/>
                      </a:lnTo>
                      <a:lnTo>
                        <a:pt x="195" y="371"/>
                      </a:lnTo>
                      <a:lnTo>
                        <a:pt x="197" y="371"/>
                      </a:lnTo>
                      <a:lnTo>
                        <a:pt x="199" y="371"/>
                      </a:lnTo>
                      <a:lnTo>
                        <a:pt x="201" y="371"/>
                      </a:lnTo>
                      <a:lnTo>
                        <a:pt x="202" y="370"/>
                      </a:lnTo>
                      <a:lnTo>
                        <a:pt x="204" y="368"/>
                      </a:lnTo>
                      <a:lnTo>
                        <a:pt x="206" y="368"/>
                      </a:lnTo>
                      <a:lnTo>
                        <a:pt x="207" y="368"/>
                      </a:lnTo>
                      <a:lnTo>
                        <a:pt x="207" y="366"/>
                      </a:lnTo>
                      <a:lnTo>
                        <a:pt x="209" y="366"/>
                      </a:lnTo>
                      <a:lnTo>
                        <a:pt x="209" y="368"/>
                      </a:lnTo>
                      <a:lnTo>
                        <a:pt x="209" y="366"/>
                      </a:lnTo>
                      <a:lnTo>
                        <a:pt x="211" y="366"/>
                      </a:lnTo>
                      <a:lnTo>
                        <a:pt x="212" y="366"/>
                      </a:lnTo>
                      <a:lnTo>
                        <a:pt x="216" y="366"/>
                      </a:lnTo>
                      <a:lnTo>
                        <a:pt x="217" y="366"/>
                      </a:lnTo>
                      <a:lnTo>
                        <a:pt x="219" y="366"/>
                      </a:lnTo>
                      <a:lnTo>
                        <a:pt x="222" y="368"/>
                      </a:lnTo>
                      <a:lnTo>
                        <a:pt x="224" y="370"/>
                      </a:lnTo>
                      <a:lnTo>
                        <a:pt x="228" y="370"/>
                      </a:lnTo>
                      <a:lnTo>
                        <a:pt x="228" y="371"/>
                      </a:lnTo>
                      <a:lnTo>
                        <a:pt x="229" y="370"/>
                      </a:lnTo>
                      <a:lnTo>
                        <a:pt x="231" y="371"/>
                      </a:lnTo>
                      <a:lnTo>
                        <a:pt x="231" y="373"/>
                      </a:lnTo>
                      <a:lnTo>
                        <a:pt x="231" y="374"/>
                      </a:lnTo>
                      <a:lnTo>
                        <a:pt x="233" y="374"/>
                      </a:lnTo>
                      <a:lnTo>
                        <a:pt x="234" y="374"/>
                      </a:lnTo>
                      <a:lnTo>
                        <a:pt x="236" y="374"/>
                      </a:lnTo>
                      <a:lnTo>
                        <a:pt x="236" y="376"/>
                      </a:lnTo>
                      <a:lnTo>
                        <a:pt x="238" y="378"/>
                      </a:lnTo>
                      <a:lnTo>
                        <a:pt x="238" y="379"/>
                      </a:lnTo>
                      <a:lnTo>
                        <a:pt x="239" y="379"/>
                      </a:lnTo>
                      <a:lnTo>
                        <a:pt x="241" y="379"/>
                      </a:lnTo>
                      <a:lnTo>
                        <a:pt x="241" y="378"/>
                      </a:lnTo>
                      <a:lnTo>
                        <a:pt x="241" y="379"/>
                      </a:lnTo>
                      <a:lnTo>
                        <a:pt x="243" y="379"/>
                      </a:lnTo>
                      <a:lnTo>
                        <a:pt x="244" y="379"/>
                      </a:lnTo>
                      <a:lnTo>
                        <a:pt x="244" y="378"/>
                      </a:lnTo>
                      <a:lnTo>
                        <a:pt x="246" y="378"/>
                      </a:lnTo>
                      <a:lnTo>
                        <a:pt x="246" y="376"/>
                      </a:lnTo>
                      <a:lnTo>
                        <a:pt x="248" y="376"/>
                      </a:lnTo>
                      <a:lnTo>
                        <a:pt x="250" y="376"/>
                      </a:lnTo>
                      <a:lnTo>
                        <a:pt x="250" y="374"/>
                      </a:lnTo>
                      <a:lnTo>
                        <a:pt x="251" y="374"/>
                      </a:lnTo>
                      <a:lnTo>
                        <a:pt x="253" y="374"/>
                      </a:lnTo>
                      <a:lnTo>
                        <a:pt x="255" y="374"/>
                      </a:lnTo>
                      <a:lnTo>
                        <a:pt x="256" y="374"/>
                      </a:lnTo>
                      <a:lnTo>
                        <a:pt x="258" y="374"/>
                      </a:lnTo>
                      <a:lnTo>
                        <a:pt x="258" y="373"/>
                      </a:lnTo>
                      <a:lnTo>
                        <a:pt x="260" y="373"/>
                      </a:lnTo>
                      <a:lnTo>
                        <a:pt x="260" y="371"/>
                      </a:lnTo>
                      <a:lnTo>
                        <a:pt x="263" y="371"/>
                      </a:lnTo>
                      <a:lnTo>
                        <a:pt x="266" y="371"/>
                      </a:lnTo>
                      <a:lnTo>
                        <a:pt x="266" y="373"/>
                      </a:lnTo>
                      <a:lnTo>
                        <a:pt x="268" y="373"/>
                      </a:lnTo>
                      <a:lnTo>
                        <a:pt x="270" y="373"/>
                      </a:lnTo>
                      <a:lnTo>
                        <a:pt x="271" y="373"/>
                      </a:lnTo>
                      <a:lnTo>
                        <a:pt x="273" y="373"/>
                      </a:lnTo>
                      <a:lnTo>
                        <a:pt x="273" y="371"/>
                      </a:lnTo>
                      <a:lnTo>
                        <a:pt x="275" y="371"/>
                      </a:lnTo>
                      <a:lnTo>
                        <a:pt x="275" y="370"/>
                      </a:lnTo>
                      <a:lnTo>
                        <a:pt x="277" y="370"/>
                      </a:lnTo>
                      <a:lnTo>
                        <a:pt x="278" y="371"/>
                      </a:lnTo>
                      <a:lnTo>
                        <a:pt x="280" y="371"/>
                      </a:lnTo>
                      <a:lnTo>
                        <a:pt x="282" y="371"/>
                      </a:lnTo>
                      <a:lnTo>
                        <a:pt x="283" y="371"/>
                      </a:lnTo>
                      <a:lnTo>
                        <a:pt x="283" y="370"/>
                      </a:lnTo>
                      <a:lnTo>
                        <a:pt x="285" y="370"/>
                      </a:lnTo>
                      <a:lnTo>
                        <a:pt x="285" y="368"/>
                      </a:lnTo>
                      <a:lnTo>
                        <a:pt x="287" y="366"/>
                      </a:lnTo>
                      <a:lnTo>
                        <a:pt x="288" y="366"/>
                      </a:lnTo>
                      <a:lnTo>
                        <a:pt x="288" y="365"/>
                      </a:lnTo>
                      <a:lnTo>
                        <a:pt x="290" y="365"/>
                      </a:lnTo>
                      <a:lnTo>
                        <a:pt x="290" y="363"/>
                      </a:lnTo>
                      <a:lnTo>
                        <a:pt x="292" y="361"/>
                      </a:lnTo>
                      <a:lnTo>
                        <a:pt x="290" y="360"/>
                      </a:lnTo>
                      <a:lnTo>
                        <a:pt x="292" y="360"/>
                      </a:lnTo>
                      <a:lnTo>
                        <a:pt x="292" y="358"/>
                      </a:lnTo>
                      <a:lnTo>
                        <a:pt x="292" y="356"/>
                      </a:lnTo>
                      <a:lnTo>
                        <a:pt x="293" y="355"/>
                      </a:lnTo>
                      <a:lnTo>
                        <a:pt x="293" y="353"/>
                      </a:lnTo>
                      <a:lnTo>
                        <a:pt x="293" y="351"/>
                      </a:lnTo>
                      <a:lnTo>
                        <a:pt x="293" y="350"/>
                      </a:lnTo>
                      <a:lnTo>
                        <a:pt x="295" y="350"/>
                      </a:lnTo>
                      <a:lnTo>
                        <a:pt x="295" y="348"/>
                      </a:lnTo>
                      <a:lnTo>
                        <a:pt x="293" y="348"/>
                      </a:lnTo>
                      <a:lnTo>
                        <a:pt x="293" y="347"/>
                      </a:lnTo>
                      <a:lnTo>
                        <a:pt x="295" y="347"/>
                      </a:lnTo>
                      <a:lnTo>
                        <a:pt x="295" y="345"/>
                      </a:lnTo>
                      <a:lnTo>
                        <a:pt x="295" y="343"/>
                      </a:lnTo>
                      <a:lnTo>
                        <a:pt x="295" y="340"/>
                      </a:lnTo>
                      <a:lnTo>
                        <a:pt x="295" y="338"/>
                      </a:lnTo>
                      <a:lnTo>
                        <a:pt x="297" y="337"/>
                      </a:lnTo>
                      <a:lnTo>
                        <a:pt x="297" y="335"/>
                      </a:lnTo>
                      <a:lnTo>
                        <a:pt x="297" y="333"/>
                      </a:lnTo>
                      <a:lnTo>
                        <a:pt x="298" y="333"/>
                      </a:lnTo>
                      <a:lnTo>
                        <a:pt x="298" y="332"/>
                      </a:lnTo>
                      <a:lnTo>
                        <a:pt x="297" y="332"/>
                      </a:lnTo>
                      <a:lnTo>
                        <a:pt x="297" y="330"/>
                      </a:lnTo>
                      <a:lnTo>
                        <a:pt x="297" y="328"/>
                      </a:lnTo>
                      <a:lnTo>
                        <a:pt x="297" y="327"/>
                      </a:lnTo>
                      <a:lnTo>
                        <a:pt x="297" y="325"/>
                      </a:lnTo>
                      <a:lnTo>
                        <a:pt x="297" y="324"/>
                      </a:lnTo>
                      <a:lnTo>
                        <a:pt x="295" y="324"/>
                      </a:lnTo>
                      <a:lnTo>
                        <a:pt x="295" y="322"/>
                      </a:lnTo>
                      <a:lnTo>
                        <a:pt x="293" y="322"/>
                      </a:lnTo>
                      <a:lnTo>
                        <a:pt x="290" y="320"/>
                      </a:lnTo>
                      <a:lnTo>
                        <a:pt x="290" y="319"/>
                      </a:lnTo>
                      <a:lnTo>
                        <a:pt x="288" y="319"/>
                      </a:lnTo>
                      <a:lnTo>
                        <a:pt x="287" y="317"/>
                      </a:lnTo>
                      <a:lnTo>
                        <a:pt x="285" y="317"/>
                      </a:lnTo>
                      <a:lnTo>
                        <a:pt x="285" y="315"/>
                      </a:lnTo>
                      <a:lnTo>
                        <a:pt x="285" y="314"/>
                      </a:lnTo>
                      <a:lnTo>
                        <a:pt x="285" y="312"/>
                      </a:lnTo>
                      <a:lnTo>
                        <a:pt x="283" y="312"/>
                      </a:lnTo>
                      <a:lnTo>
                        <a:pt x="282" y="312"/>
                      </a:lnTo>
                      <a:lnTo>
                        <a:pt x="280" y="312"/>
                      </a:lnTo>
                      <a:lnTo>
                        <a:pt x="278" y="310"/>
                      </a:lnTo>
                      <a:lnTo>
                        <a:pt x="277" y="307"/>
                      </a:lnTo>
                      <a:lnTo>
                        <a:pt x="277" y="305"/>
                      </a:lnTo>
                      <a:lnTo>
                        <a:pt x="277" y="304"/>
                      </a:lnTo>
                      <a:lnTo>
                        <a:pt x="278" y="304"/>
                      </a:lnTo>
                      <a:lnTo>
                        <a:pt x="278" y="302"/>
                      </a:lnTo>
                      <a:lnTo>
                        <a:pt x="278" y="301"/>
                      </a:lnTo>
                      <a:lnTo>
                        <a:pt x="277" y="299"/>
                      </a:lnTo>
                      <a:lnTo>
                        <a:pt x="275" y="299"/>
                      </a:lnTo>
                      <a:lnTo>
                        <a:pt x="275" y="297"/>
                      </a:lnTo>
                      <a:lnTo>
                        <a:pt x="275" y="296"/>
                      </a:lnTo>
                      <a:lnTo>
                        <a:pt x="275" y="294"/>
                      </a:lnTo>
                      <a:lnTo>
                        <a:pt x="273" y="292"/>
                      </a:lnTo>
                      <a:lnTo>
                        <a:pt x="275" y="291"/>
                      </a:lnTo>
                      <a:lnTo>
                        <a:pt x="275" y="289"/>
                      </a:lnTo>
                      <a:lnTo>
                        <a:pt x="277" y="289"/>
                      </a:lnTo>
                      <a:lnTo>
                        <a:pt x="275" y="289"/>
                      </a:lnTo>
                      <a:lnTo>
                        <a:pt x="275" y="287"/>
                      </a:lnTo>
                      <a:lnTo>
                        <a:pt x="275" y="286"/>
                      </a:lnTo>
                      <a:lnTo>
                        <a:pt x="273" y="286"/>
                      </a:lnTo>
                      <a:lnTo>
                        <a:pt x="275" y="284"/>
                      </a:lnTo>
                      <a:lnTo>
                        <a:pt x="275" y="283"/>
                      </a:lnTo>
                      <a:lnTo>
                        <a:pt x="273" y="283"/>
                      </a:lnTo>
                      <a:lnTo>
                        <a:pt x="273" y="281"/>
                      </a:lnTo>
                      <a:lnTo>
                        <a:pt x="273" y="279"/>
                      </a:lnTo>
                      <a:lnTo>
                        <a:pt x="273" y="278"/>
                      </a:lnTo>
                      <a:lnTo>
                        <a:pt x="275" y="278"/>
                      </a:lnTo>
                      <a:lnTo>
                        <a:pt x="277" y="276"/>
                      </a:lnTo>
                      <a:lnTo>
                        <a:pt x="275" y="276"/>
                      </a:lnTo>
                      <a:lnTo>
                        <a:pt x="275" y="274"/>
                      </a:lnTo>
                      <a:lnTo>
                        <a:pt x="275" y="273"/>
                      </a:lnTo>
                      <a:lnTo>
                        <a:pt x="275" y="271"/>
                      </a:lnTo>
                      <a:lnTo>
                        <a:pt x="275" y="269"/>
                      </a:lnTo>
                      <a:lnTo>
                        <a:pt x="275" y="268"/>
                      </a:lnTo>
                      <a:lnTo>
                        <a:pt x="273" y="268"/>
                      </a:lnTo>
                      <a:lnTo>
                        <a:pt x="275" y="264"/>
                      </a:lnTo>
                      <a:lnTo>
                        <a:pt x="277" y="264"/>
                      </a:lnTo>
                      <a:lnTo>
                        <a:pt x="278" y="264"/>
                      </a:lnTo>
                      <a:lnTo>
                        <a:pt x="278" y="263"/>
                      </a:lnTo>
                      <a:lnTo>
                        <a:pt x="280" y="264"/>
                      </a:lnTo>
                      <a:lnTo>
                        <a:pt x="280" y="263"/>
                      </a:lnTo>
                      <a:lnTo>
                        <a:pt x="280" y="261"/>
                      </a:lnTo>
                      <a:lnTo>
                        <a:pt x="282" y="261"/>
                      </a:lnTo>
                      <a:lnTo>
                        <a:pt x="282" y="260"/>
                      </a:lnTo>
                      <a:lnTo>
                        <a:pt x="283" y="260"/>
                      </a:lnTo>
                      <a:lnTo>
                        <a:pt x="283" y="258"/>
                      </a:lnTo>
                      <a:lnTo>
                        <a:pt x="283" y="256"/>
                      </a:lnTo>
                      <a:lnTo>
                        <a:pt x="283" y="255"/>
                      </a:lnTo>
                      <a:lnTo>
                        <a:pt x="285" y="255"/>
                      </a:lnTo>
                      <a:lnTo>
                        <a:pt x="287" y="251"/>
                      </a:lnTo>
                      <a:lnTo>
                        <a:pt x="287" y="250"/>
                      </a:lnTo>
                      <a:lnTo>
                        <a:pt x="288" y="250"/>
                      </a:lnTo>
                      <a:lnTo>
                        <a:pt x="290" y="250"/>
                      </a:lnTo>
                      <a:lnTo>
                        <a:pt x="290" y="248"/>
                      </a:lnTo>
                      <a:lnTo>
                        <a:pt x="290" y="246"/>
                      </a:lnTo>
                      <a:lnTo>
                        <a:pt x="292" y="246"/>
                      </a:lnTo>
                      <a:lnTo>
                        <a:pt x="292" y="245"/>
                      </a:lnTo>
                      <a:lnTo>
                        <a:pt x="293" y="245"/>
                      </a:lnTo>
                      <a:lnTo>
                        <a:pt x="295" y="245"/>
                      </a:lnTo>
                      <a:lnTo>
                        <a:pt x="295" y="243"/>
                      </a:lnTo>
                      <a:lnTo>
                        <a:pt x="297" y="243"/>
                      </a:lnTo>
                      <a:lnTo>
                        <a:pt x="298" y="241"/>
                      </a:lnTo>
                      <a:lnTo>
                        <a:pt x="300" y="241"/>
                      </a:lnTo>
                      <a:lnTo>
                        <a:pt x="300" y="240"/>
                      </a:lnTo>
                      <a:lnTo>
                        <a:pt x="300" y="238"/>
                      </a:lnTo>
                      <a:lnTo>
                        <a:pt x="300" y="235"/>
                      </a:lnTo>
                      <a:lnTo>
                        <a:pt x="300" y="233"/>
                      </a:lnTo>
                      <a:lnTo>
                        <a:pt x="298" y="232"/>
                      </a:lnTo>
                      <a:lnTo>
                        <a:pt x="300" y="230"/>
                      </a:lnTo>
                      <a:lnTo>
                        <a:pt x="302" y="228"/>
                      </a:lnTo>
                      <a:lnTo>
                        <a:pt x="302" y="227"/>
                      </a:lnTo>
                      <a:lnTo>
                        <a:pt x="302" y="225"/>
                      </a:lnTo>
                      <a:lnTo>
                        <a:pt x="302" y="223"/>
                      </a:lnTo>
                      <a:lnTo>
                        <a:pt x="300" y="222"/>
                      </a:lnTo>
                      <a:lnTo>
                        <a:pt x="300" y="220"/>
                      </a:lnTo>
                      <a:lnTo>
                        <a:pt x="300" y="218"/>
                      </a:lnTo>
                      <a:lnTo>
                        <a:pt x="300" y="217"/>
                      </a:lnTo>
                      <a:lnTo>
                        <a:pt x="298" y="215"/>
                      </a:lnTo>
                      <a:lnTo>
                        <a:pt x="298" y="214"/>
                      </a:lnTo>
                      <a:lnTo>
                        <a:pt x="298" y="212"/>
                      </a:lnTo>
                      <a:lnTo>
                        <a:pt x="298" y="210"/>
                      </a:lnTo>
                      <a:lnTo>
                        <a:pt x="297" y="210"/>
                      </a:lnTo>
                      <a:lnTo>
                        <a:pt x="297" y="207"/>
                      </a:lnTo>
                      <a:lnTo>
                        <a:pt x="297" y="205"/>
                      </a:lnTo>
                      <a:lnTo>
                        <a:pt x="297" y="204"/>
                      </a:lnTo>
                      <a:lnTo>
                        <a:pt x="295" y="202"/>
                      </a:lnTo>
                      <a:lnTo>
                        <a:pt x="293" y="200"/>
                      </a:lnTo>
                      <a:lnTo>
                        <a:pt x="293" y="199"/>
                      </a:lnTo>
                      <a:lnTo>
                        <a:pt x="293" y="195"/>
                      </a:lnTo>
                      <a:lnTo>
                        <a:pt x="293" y="194"/>
                      </a:lnTo>
                      <a:lnTo>
                        <a:pt x="292" y="194"/>
                      </a:lnTo>
                      <a:lnTo>
                        <a:pt x="290" y="192"/>
                      </a:lnTo>
                      <a:lnTo>
                        <a:pt x="288" y="192"/>
                      </a:lnTo>
                      <a:lnTo>
                        <a:pt x="288" y="191"/>
                      </a:lnTo>
                      <a:lnTo>
                        <a:pt x="288" y="189"/>
                      </a:lnTo>
                      <a:lnTo>
                        <a:pt x="288" y="187"/>
                      </a:lnTo>
                      <a:lnTo>
                        <a:pt x="290" y="186"/>
                      </a:lnTo>
                      <a:lnTo>
                        <a:pt x="290" y="184"/>
                      </a:lnTo>
                      <a:lnTo>
                        <a:pt x="290" y="182"/>
                      </a:lnTo>
                      <a:lnTo>
                        <a:pt x="288" y="182"/>
                      </a:lnTo>
                      <a:lnTo>
                        <a:pt x="287" y="181"/>
                      </a:lnTo>
                      <a:lnTo>
                        <a:pt x="288" y="179"/>
                      </a:lnTo>
                      <a:lnTo>
                        <a:pt x="290" y="177"/>
                      </a:lnTo>
                      <a:lnTo>
                        <a:pt x="292" y="176"/>
                      </a:lnTo>
                      <a:lnTo>
                        <a:pt x="293" y="172"/>
                      </a:lnTo>
                      <a:lnTo>
                        <a:pt x="295" y="171"/>
                      </a:lnTo>
                      <a:lnTo>
                        <a:pt x="295" y="169"/>
                      </a:lnTo>
                      <a:lnTo>
                        <a:pt x="295" y="166"/>
                      </a:lnTo>
                      <a:lnTo>
                        <a:pt x="297" y="164"/>
                      </a:lnTo>
                      <a:lnTo>
                        <a:pt x="297" y="163"/>
                      </a:lnTo>
                      <a:lnTo>
                        <a:pt x="297" y="161"/>
                      </a:lnTo>
                      <a:lnTo>
                        <a:pt x="295" y="159"/>
                      </a:lnTo>
                      <a:lnTo>
                        <a:pt x="295" y="158"/>
                      </a:lnTo>
                      <a:lnTo>
                        <a:pt x="295" y="156"/>
                      </a:lnTo>
                      <a:lnTo>
                        <a:pt x="292" y="153"/>
                      </a:lnTo>
                      <a:lnTo>
                        <a:pt x="290" y="153"/>
                      </a:lnTo>
                      <a:lnTo>
                        <a:pt x="288" y="153"/>
                      </a:lnTo>
                      <a:lnTo>
                        <a:pt x="287" y="153"/>
                      </a:lnTo>
                      <a:lnTo>
                        <a:pt x="287" y="151"/>
                      </a:lnTo>
                      <a:lnTo>
                        <a:pt x="287" y="149"/>
                      </a:lnTo>
                      <a:lnTo>
                        <a:pt x="287" y="148"/>
                      </a:lnTo>
                      <a:lnTo>
                        <a:pt x="285" y="145"/>
                      </a:lnTo>
                      <a:lnTo>
                        <a:pt x="285" y="143"/>
                      </a:lnTo>
                      <a:lnTo>
                        <a:pt x="283" y="138"/>
                      </a:lnTo>
                      <a:lnTo>
                        <a:pt x="285" y="138"/>
                      </a:lnTo>
                      <a:lnTo>
                        <a:pt x="285" y="136"/>
                      </a:lnTo>
                      <a:lnTo>
                        <a:pt x="288" y="133"/>
                      </a:lnTo>
                      <a:lnTo>
                        <a:pt x="290" y="131"/>
                      </a:lnTo>
                      <a:lnTo>
                        <a:pt x="293" y="131"/>
                      </a:lnTo>
                      <a:lnTo>
                        <a:pt x="293" y="130"/>
                      </a:lnTo>
                      <a:lnTo>
                        <a:pt x="292" y="130"/>
                      </a:lnTo>
                      <a:lnTo>
                        <a:pt x="292" y="128"/>
                      </a:lnTo>
                      <a:lnTo>
                        <a:pt x="293" y="128"/>
                      </a:lnTo>
                      <a:lnTo>
                        <a:pt x="293" y="126"/>
                      </a:lnTo>
                      <a:lnTo>
                        <a:pt x="295" y="126"/>
                      </a:lnTo>
                      <a:lnTo>
                        <a:pt x="297" y="125"/>
                      </a:lnTo>
                      <a:lnTo>
                        <a:pt x="297" y="123"/>
                      </a:lnTo>
                      <a:lnTo>
                        <a:pt x="297" y="122"/>
                      </a:lnTo>
                      <a:lnTo>
                        <a:pt x="298" y="120"/>
                      </a:lnTo>
                      <a:lnTo>
                        <a:pt x="298" y="118"/>
                      </a:lnTo>
                      <a:lnTo>
                        <a:pt x="298" y="117"/>
                      </a:lnTo>
                      <a:lnTo>
                        <a:pt x="300" y="117"/>
                      </a:lnTo>
                      <a:lnTo>
                        <a:pt x="300" y="115"/>
                      </a:lnTo>
                      <a:lnTo>
                        <a:pt x="300" y="117"/>
                      </a:lnTo>
                      <a:lnTo>
                        <a:pt x="302" y="117"/>
                      </a:lnTo>
                      <a:lnTo>
                        <a:pt x="302" y="115"/>
                      </a:lnTo>
                      <a:lnTo>
                        <a:pt x="304" y="115"/>
                      </a:lnTo>
                      <a:lnTo>
                        <a:pt x="304" y="113"/>
                      </a:lnTo>
                      <a:lnTo>
                        <a:pt x="304" y="112"/>
                      </a:lnTo>
                      <a:lnTo>
                        <a:pt x="305" y="112"/>
                      </a:lnTo>
                      <a:lnTo>
                        <a:pt x="307" y="112"/>
                      </a:lnTo>
                      <a:lnTo>
                        <a:pt x="307" y="110"/>
                      </a:lnTo>
                      <a:lnTo>
                        <a:pt x="309" y="110"/>
                      </a:lnTo>
                      <a:lnTo>
                        <a:pt x="309" y="108"/>
                      </a:lnTo>
                      <a:lnTo>
                        <a:pt x="309" y="107"/>
                      </a:lnTo>
                      <a:lnTo>
                        <a:pt x="309" y="105"/>
                      </a:lnTo>
                      <a:lnTo>
                        <a:pt x="310" y="105"/>
                      </a:lnTo>
                      <a:lnTo>
                        <a:pt x="310" y="103"/>
                      </a:lnTo>
                      <a:lnTo>
                        <a:pt x="312" y="102"/>
                      </a:lnTo>
                      <a:lnTo>
                        <a:pt x="312" y="99"/>
                      </a:lnTo>
                      <a:lnTo>
                        <a:pt x="314" y="99"/>
                      </a:lnTo>
                      <a:lnTo>
                        <a:pt x="314" y="97"/>
                      </a:lnTo>
                      <a:lnTo>
                        <a:pt x="314" y="95"/>
                      </a:lnTo>
                      <a:lnTo>
                        <a:pt x="314" y="94"/>
                      </a:lnTo>
                      <a:lnTo>
                        <a:pt x="314" y="92"/>
                      </a:lnTo>
                      <a:lnTo>
                        <a:pt x="314" y="89"/>
                      </a:lnTo>
                      <a:lnTo>
                        <a:pt x="314" y="87"/>
                      </a:lnTo>
                      <a:lnTo>
                        <a:pt x="314" y="85"/>
                      </a:lnTo>
                      <a:lnTo>
                        <a:pt x="315" y="85"/>
                      </a:lnTo>
                      <a:lnTo>
                        <a:pt x="315" y="84"/>
                      </a:lnTo>
                      <a:lnTo>
                        <a:pt x="317" y="84"/>
                      </a:lnTo>
                      <a:lnTo>
                        <a:pt x="317" y="82"/>
                      </a:lnTo>
                      <a:lnTo>
                        <a:pt x="319" y="82"/>
                      </a:lnTo>
                      <a:lnTo>
                        <a:pt x="319" y="81"/>
                      </a:lnTo>
                      <a:lnTo>
                        <a:pt x="320" y="79"/>
                      </a:lnTo>
                      <a:lnTo>
                        <a:pt x="322" y="77"/>
                      </a:lnTo>
                      <a:lnTo>
                        <a:pt x="324" y="77"/>
                      </a:lnTo>
                      <a:lnTo>
                        <a:pt x="324" y="76"/>
                      </a:lnTo>
                      <a:lnTo>
                        <a:pt x="326" y="76"/>
                      </a:lnTo>
                      <a:lnTo>
                        <a:pt x="326" y="74"/>
                      </a:lnTo>
                      <a:lnTo>
                        <a:pt x="327" y="72"/>
                      </a:lnTo>
                      <a:lnTo>
                        <a:pt x="327" y="71"/>
                      </a:lnTo>
                      <a:lnTo>
                        <a:pt x="329" y="69"/>
                      </a:lnTo>
                      <a:lnTo>
                        <a:pt x="331" y="69"/>
                      </a:lnTo>
                      <a:lnTo>
                        <a:pt x="331" y="67"/>
                      </a:lnTo>
                      <a:lnTo>
                        <a:pt x="331" y="66"/>
                      </a:lnTo>
                      <a:lnTo>
                        <a:pt x="332" y="66"/>
                      </a:lnTo>
                      <a:lnTo>
                        <a:pt x="332" y="67"/>
                      </a:lnTo>
                      <a:lnTo>
                        <a:pt x="332" y="69"/>
                      </a:lnTo>
                      <a:lnTo>
                        <a:pt x="334" y="69"/>
                      </a:lnTo>
                      <a:lnTo>
                        <a:pt x="336" y="69"/>
                      </a:lnTo>
                      <a:lnTo>
                        <a:pt x="336" y="67"/>
                      </a:lnTo>
                      <a:lnTo>
                        <a:pt x="337" y="66"/>
                      </a:lnTo>
                      <a:lnTo>
                        <a:pt x="337" y="67"/>
                      </a:lnTo>
                      <a:lnTo>
                        <a:pt x="339" y="67"/>
                      </a:lnTo>
                      <a:lnTo>
                        <a:pt x="339" y="69"/>
                      </a:lnTo>
                      <a:lnTo>
                        <a:pt x="341" y="67"/>
                      </a:lnTo>
                      <a:lnTo>
                        <a:pt x="341" y="66"/>
                      </a:lnTo>
                      <a:lnTo>
                        <a:pt x="342" y="66"/>
                      </a:lnTo>
                      <a:lnTo>
                        <a:pt x="344" y="66"/>
                      </a:lnTo>
                      <a:lnTo>
                        <a:pt x="346" y="64"/>
                      </a:lnTo>
                      <a:lnTo>
                        <a:pt x="347" y="64"/>
                      </a:lnTo>
                      <a:lnTo>
                        <a:pt x="349" y="66"/>
                      </a:lnTo>
                      <a:lnTo>
                        <a:pt x="351" y="66"/>
                      </a:lnTo>
                      <a:lnTo>
                        <a:pt x="353" y="66"/>
                      </a:lnTo>
                      <a:lnTo>
                        <a:pt x="354" y="64"/>
                      </a:lnTo>
                      <a:lnTo>
                        <a:pt x="356" y="64"/>
                      </a:lnTo>
                      <a:lnTo>
                        <a:pt x="356" y="66"/>
                      </a:lnTo>
                      <a:lnTo>
                        <a:pt x="358" y="66"/>
                      </a:lnTo>
                      <a:lnTo>
                        <a:pt x="359" y="64"/>
                      </a:lnTo>
                      <a:lnTo>
                        <a:pt x="359" y="62"/>
                      </a:lnTo>
                      <a:lnTo>
                        <a:pt x="359" y="61"/>
                      </a:lnTo>
                      <a:lnTo>
                        <a:pt x="361" y="61"/>
                      </a:lnTo>
                      <a:lnTo>
                        <a:pt x="363" y="61"/>
                      </a:lnTo>
                      <a:lnTo>
                        <a:pt x="364" y="59"/>
                      </a:lnTo>
                      <a:lnTo>
                        <a:pt x="364" y="58"/>
                      </a:lnTo>
                      <a:lnTo>
                        <a:pt x="366" y="58"/>
                      </a:lnTo>
                      <a:lnTo>
                        <a:pt x="366" y="56"/>
                      </a:lnTo>
                      <a:lnTo>
                        <a:pt x="366" y="54"/>
                      </a:lnTo>
                      <a:lnTo>
                        <a:pt x="368" y="54"/>
                      </a:lnTo>
                      <a:lnTo>
                        <a:pt x="368" y="53"/>
                      </a:lnTo>
                      <a:lnTo>
                        <a:pt x="369" y="53"/>
                      </a:lnTo>
                      <a:lnTo>
                        <a:pt x="369" y="51"/>
                      </a:lnTo>
                      <a:lnTo>
                        <a:pt x="368" y="51"/>
                      </a:lnTo>
                      <a:lnTo>
                        <a:pt x="366" y="51"/>
                      </a:lnTo>
                      <a:lnTo>
                        <a:pt x="366" y="49"/>
                      </a:lnTo>
                      <a:lnTo>
                        <a:pt x="368" y="49"/>
                      </a:lnTo>
                      <a:lnTo>
                        <a:pt x="369" y="49"/>
                      </a:lnTo>
                      <a:lnTo>
                        <a:pt x="371" y="48"/>
                      </a:lnTo>
                      <a:lnTo>
                        <a:pt x="373" y="48"/>
                      </a:lnTo>
                      <a:lnTo>
                        <a:pt x="374" y="48"/>
                      </a:lnTo>
                      <a:lnTo>
                        <a:pt x="376" y="48"/>
                      </a:lnTo>
                      <a:lnTo>
                        <a:pt x="378" y="48"/>
                      </a:lnTo>
                      <a:lnTo>
                        <a:pt x="378" y="46"/>
                      </a:lnTo>
                      <a:lnTo>
                        <a:pt x="380" y="46"/>
                      </a:lnTo>
                      <a:lnTo>
                        <a:pt x="380" y="44"/>
                      </a:lnTo>
                      <a:lnTo>
                        <a:pt x="381" y="43"/>
                      </a:lnTo>
                      <a:lnTo>
                        <a:pt x="381" y="41"/>
                      </a:lnTo>
                      <a:lnTo>
                        <a:pt x="383" y="41"/>
                      </a:lnTo>
                      <a:lnTo>
                        <a:pt x="383" y="43"/>
                      </a:lnTo>
                      <a:lnTo>
                        <a:pt x="383" y="41"/>
                      </a:lnTo>
                      <a:lnTo>
                        <a:pt x="383" y="39"/>
                      </a:lnTo>
                      <a:lnTo>
                        <a:pt x="385" y="38"/>
                      </a:lnTo>
                      <a:lnTo>
                        <a:pt x="385" y="36"/>
                      </a:lnTo>
                      <a:lnTo>
                        <a:pt x="385" y="35"/>
                      </a:lnTo>
                      <a:lnTo>
                        <a:pt x="386" y="35"/>
                      </a:lnTo>
                      <a:lnTo>
                        <a:pt x="388" y="33"/>
                      </a:lnTo>
                      <a:lnTo>
                        <a:pt x="390" y="31"/>
                      </a:lnTo>
                      <a:lnTo>
                        <a:pt x="390" y="30"/>
                      </a:lnTo>
                      <a:lnTo>
                        <a:pt x="391" y="30"/>
                      </a:lnTo>
                      <a:lnTo>
                        <a:pt x="391" y="28"/>
                      </a:lnTo>
                      <a:lnTo>
                        <a:pt x="393" y="28"/>
                      </a:lnTo>
                      <a:lnTo>
                        <a:pt x="395" y="26"/>
                      </a:lnTo>
                      <a:lnTo>
                        <a:pt x="395" y="25"/>
                      </a:lnTo>
                      <a:lnTo>
                        <a:pt x="395" y="23"/>
                      </a:lnTo>
                      <a:lnTo>
                        <a:pt x="396" y="23"/>
                      </a:lnTo>
                      <a:lnTo>
                        <a:pt x="396" y="21"/>
                      </a:lnTo>
                      <a:lnTo>
                        <a:pt x="396" y="20"/>
                      </a:lnTo>
                      <a:lnTo>
                        <a:pt x="395" y="18"/>
                      </a:lnTo>
                      <a:lnTo>
                        <a:pt x="393" y="16"/>
                      </a:lnTo>
                      <a:lnTo>
                        <a:pt x="391" y="15"/>
                      </a:lnTo>
                      <a:lnTo>
                        <a:pt x="391" y="13"/>
                      </a:lnTo>
                      <a:lnTo>
                        <a:pt x="391" y="12"/>
                      </a:lnTo>
                      <a:lnTo>
                        <a:pt x="391" y="10"/>
                      </a:lnTo>
                      <a:lnTo>
                        <a:pt x="391" y="8"/>
                      </a:lnTo>
                      <a:lnTo>
                        <a:pt x="393" y="8"/>
                      </a:lnTo>
                      <a:lnTo>
                        <a:pt x="393" y="7"/>
                      </a:lnTo>
                      <a:lnTo>
                        <a:pt x="393" y="5"/>
                      </a:lnTo>
                      <a:lnTo>
                        <a:pt x="391" y="5"/>
                      </a:lnTo>
                      <a:lnTo>
                        <a:pt x="391" y="3"/>
                      </a:lnTo>
                      <a:lnTo>
                        <a:pt x="395" y="2"/>
                      </a:lnTo>
                      <a:lnTo>
                        <a:pt x="395" y="0"/>
                      </a:lnTo>
                      <a:lnTo>
                        <a:pt x="396" y="2"/>
                      </a:lnTo>
                      <a:lnTo>
                        <a:pt x="398" y="3"/>
                      </a:lnTo>
                      <a:lnTo>
                        <a:pt x="400" y="5"/>
                      </a:lnTo>
                      <a:lnTo>
                        <a:pt x="402" y="7"/>
                      </a:lnTo>
                      <a:lnTo>
                        <a:pt x="403" y="7"/>
                      </a:lnTo>
                      <a:lnTo>
                        <a:pt x="405" y="7"/>
                      </a:lnTo>
                      <a:lnTo>
                        <a:pt x="405" y="8"/>
                      </a:lnTo>
                      <a:lnTo>
                        <a:pt x="407" y="8"/>
                      </a:lnTo>
                      <a:lnTo>
                        <a:pt x="408" y="10"/>
                      </a:lnTo>
                      <a:lnTo>
                        <a:pt x="410" y="12"/>
                      </a:lnTo>
                      <a:lnTo>
                        <a:pt x="410" y="13"/>
                      </a:lnTo>
                      <a:lnTo>
                        <a:pt x="410" y="12"/>
                      </a:lnTo>
                      <a:lnTo>
                        <a:pt x="410" y="13"/>
                      </a:lnTo>
                      <a:lnTo>
                        <a:pt x="408" y="12"/>
                      </a:lnTo>
                      <a:lnTo>
                        <a:pt x="407" y="13"/>
                      </a:lnTo>
                      <a:lnTo>
                        <a:pt x="408" y="13"/>
                      </a:lnTo>
                      <a:lnTo>
                        <a:pt x="410" y="13"/>
                      </a:lnTo>
                      <a:lnTo>
                        <a:pt x="412" y="13"/>
                      </a:lnTo>
                      <a:lnTo>
                        <a:pt x="413" y="15"/>
                      </a:lnTo>
                      <a:lnTo>
                        <a:pt x="415" y="15"/>
                      </a:lnTo>
                      <a:lnTo>
                        <a:pt x="417" y="16"/>
                      </a:lnTo>
                      <a:lnTo>
                        <a:pt x="418" y="16"/>
                      </a:lnTo>
                      <a:lnTo>
                        <a:pt x="418" y="15"/>
                      </a:lnTo>
                      <a:lnTo>
                        <a:pt x="418" y="16"/>
                      </a:lnTo>
                      <a:lnTo>
                        <a:pt x="420" y="15"/>
                      </a:lnTo>
                      <a:lnTo>
                        <a:pt x="422" y="16"/>
                      </a:lnTo>
                      <a:lnTo>
                        <a:pt x="423" y="16"/>
                      </a:lnTo>
                      <a:lnTo>
                        <a:pt x="425" y="16"/>
                      </a:lnTo>
                      <a:lnTo>
                        <a:pt x="425" y="15"/>
                      </a:lnTo>
                      <a:lnTo>
                        <a:pt x="427" y="15"/>
                      </a:lnTo>
                      <a:lnTo>
                        <a:pt x="429" y="16"/>
                      </a:lnTo>
                      <a:lnTo>
                        <a:pt x="429" y="15"/>
                      </a:lnTo>
                      <a:lnTo>
                        <a:pt x="430" y="16"/>
                      </a:lnTo>
                      <a:lnTo>
                        <a:pt x="432" y="16"/>
                      </a:lnTo>
                      <a:lnTo>
                        <a:pt x="434" y="16"/>
                      </a:lnTo>
                      <a:lnTo>
                        <a:pt x="435" y="16"/>
                      </a:lnTo>
                      <a:lnTo>
                        <a:pt x="437" y="16"/>
                      </a:lnTo>
                      <a:lnTo>
                        <a:pt x="439" y="16"/>
                      </a:lnTo>
                      <a:lnTo>
                        <a:pt x="439" y="18"/>
                      </a:lnTo>
                      <a:lnTo>
                        <a:pt x="440" y="18"/>
                      </a:lnTo>
                      <a:lnTo>
                        <a:pt x="442" y="18"/>
                      </a:lnTo>
                      <a:lnTo>
                        <a:pt x="442" y="20"/>
                      </a:lnTo>
                      <a:lnTo>
                        <a:pt x="442" y="21"/>
                      </a:lnTo>
                      <a:lnTo>
                        <a:pt x="444" y="21"/>
                      </a:lnTo>
                      <a:lnTo>
                        <a:pt x="445" y="21"/>
                      </a:lnTo>
                      <a:lnTo>
                        <a:pt x="447" y="21"/>
                      </a:lnTo>
                      <a:lnTo>
                        <a:pt x="447" y="23"/>
                      </a:lnTo>
                      <a:lnTo>
                        <a:pt x="449" y="25"/>
                      </a:lnTo>
                      <a:lnTo>
                        <a:pt x="449" y="26"/>
                      </a:lnTo>
                      <a:lnTo>
                        <a:pt x="449" y="28"/>
                      </a:lnTo>
                      <a:lnTo>
                        <a:pt x="447" y="30"/>
                      </a:lnTo>
                      <a:lnTo>
                        <a:pt x="449" y="30"/>
                      </a:lnTo>
                      <a:lnTo>
                        <a:pt x="447" y="31"/>
                      </a:lnTo>
                      <a:lnTo>
                        <a:pt x="449" y="31"/>
                      </a:lnTo>
                      <a:lnTo>
                        <a:pt x="449" y="33"/>
                      </a:lnTo>
                      <a:lnTo>
                        <a:pt x="447" y="33"/>
                      </a:lnTo>
                      <a:lnTo>
                        <a:pt x="447" y="35"/>
                      </a:lnTo>
                      <a:lnTo>
                        <a:pt x="445" y="35"/>
                      </a:lnTo>
                      <a:lnTo>
                        <a:pt x="445" y="36"/>
                      </a:lnTo>
                      <a:lnTo>
                        <a:pt x="444" y="36"/>
                      </a:lnTo>
                      <a:lnTo>
                        <a:pt x="444" y="38"/>
                      </a:lnTo>
                      <a:lnTo>
                        <a:pt x="442" y="38"/>
                      </a:lnTo>
                      <a:lnTo>
                        <a:pt x="442" y="39"/>
                      </a:lnTo>
                      <a:lnTo>
                        <a:pt x="442" y="41"/>
                      </a:lnTo>
                      <a:lnTo>
                        <a:pt x="435" y="53"/>
                      </a:lnTo>
                      <a:lnTo>
                        <a:pt x="432" y="58"/>
                      </a:lnTo>
                      <a:lnTo>
                        <a:pt x="432" y="59"/>
                      </a:lnTo>
                      <a:lnTo>
                        <a:pt x="432" y="61"/>
                      </a:lnTo>
                      <a:lnTo>
                        <a:pt x="434" y="72"/>
                      </a:lnTo>
                      <a:lnTo>
                        <a:pt x="434" y="74"/>
                      </a:lnTo>
                      <a:lnTo>
                        <a:pt x="435" y="76"/>
                      </a:lnTo>
                      <a:lnTo>
                        <a:pt x="437" y="79"/>
                      </a:lnTo>
                      <a:lnTo>
                        <a:pt x="440" y="89"/>
                      </a:lnTo>
                      <a:lnTo>
                        <a:pt x="442" y="94"/>
                      </a:lnTo>
                      <a:lnTo>
                        <a:pt x="444" y="94"/>
                      </a:lnTo>
                      <a:lnTo>
                        <a:pt x="445" y="95"/>
                      </a:lnTo>
                      <a:lnTo>
                        <a:pt x="447" y="97"/>
                      </a:lnTo>
                      <a:lnTo>
                        <a:pt x="447" y="99"/>
                      </a:lnTo>
                      <a:lnTo>
                        <a:pt x="449" y="100"/>
                      </a:lnTo>
                      <a:lnTo>
                        <a:pt x="449" y="102"/>
                      </a:lnTo>
                      <a:lnTo>
                        <a:pt x="449" y="103"/>
                      </a:lnTo>
                      <a:lnTo>
                        <a:pt x="450" y="105"/>
                      </a:lnTo>
                      <a:lnTo>
                        <a:pt x="450" y="107"/>
                      </a:lnTo>
                      <a:lnTo>
                        <a:pt x="450" y="108"/>
                      </a:lnTo>
                      <a:lnTo>
                        <a:pt x="452" y="112"/>
                      </a:lnTo>
                      <a:lnTo>
                        <a:pt x="452" y="113"/>
                      </a:lnTo>
                      <a:lnTo>
                        <a:pt x="452" y="117"/>
                      </a:lnTo>
                      <a:lnTo>
                        <a:pt x="452" y="118"/>
                      </a:lnTo>
                      <a:lnTo>
                        <a:pt x="454" y="120"/>
                      </a:lnTo>
                      <a:lnTo>
                        <a:pt x="454" y="122"/>
                      </a:lnTo>
                      <a:lnTo>
                        <a:pt x="457" y="123"/>
                      </a:lnTo>
                      <a:lnTo>
                        <a:pt x="459" y="125"/>
                      </a:lnTo>
                      <a:lnTo>
                        <a:pt x="459" y="128"/>
                      </a:lnTo>
                      <a:lnTo>
                        <a:pt x="461" y="130"/>
                      </a:lnTo>
                      <a:lnTo>
                        <a:pt x="461" y="131"/>
                      </a:lnTo>
                      <a:lnTo>
                        <a:pt x="462" y="133"/>
                      </a:lnTo>
                      <a:lnTo>
                        <a:pt x="464" y="133"/>
                      </a:lnTo>
                      <a:lnTo>
                        <a:pt x="466" y="133"/>
                      </a:lnTo>
                      <a:lnTo>
                        <a:pt x="467" y="135"/>
                      </a:lnTo>
                      <a:lnTo>
                        <a:pt x="469" y="135"/>
                      </a:lnTo>
                      <a:lnTo>
                        <a:pt x="469" y="136"/>
                      </a:lnTo>
                      <a:lnTo>
                        <a:pt x="469" y="138"/>
                      </a:lnTo>
                      <a:lnTo>
                        <a:pt x="467" y="138"/>
                      </a:lnTo>
                      <a:lnTo>
                        <a:pt x="467" y="140"/>
                      </a:lnTo>
                      <a:lnTo>
                        <a:pt x="467" y="141"/>
                      </a:lnTo>
                      <a:lnTo>
                        <a:pt x="466" y="146"/>
                      </a:lnTo>
                      <a:lnTo>
                        <a:pt x="466" y="148"/>
                      </a:lnTo>
                      <a:lnTo>
                        <a:pt x="466" y="149"/>
                      </a:lnTo>
                      <a:lnTo>
                        <a:pt x="464" y="151"/>
                      </a:lnTo>
                      <a:lnTo>
                        <a:pt x="462" y="153"/>
                      </a:lnTo>
                      <a:lnTo>
                        <a:pt x="461" y="154"/>
                      </a:lnTo>
                      <a:lnTo>
                        <a:pt x="459" y="156"/>
                      </a:lnTo>
                      <a:lnTo>
                        <a:pt x="459" y="158"/>
                      </a:lnTo>
                      <a:lnTo>
                        <a:pt x="457" y="158"/>
                      </a:lnTo>
                      <a:lnTo>
                        <a:pt x="456" y="159"/>
                      </a:lnTo>
                      <a:lnTo>
                        <a:pt x="456" y="161"/>
                      </a:lnTo>
                      <a:lnTo>
                        <a:pt x="456" y="163"/>
                      </a:lnTo>
                      <a:lnTo>
                        <a:pt x="456" y="164"/>
                      </a:lnTo>
                      <a:lnTo>
                        <a:pt x="454" y="168"/>
                      </a:lnTo>
                      <a:lnTo>
                        <a:pt x="452" y="169"/>
                      </a:lnTo>
                      <a:lnTo>
                        <a:pt x="450" y="171"/>
                      </a:lnTo>
                      <a:lnTo>
                        <a:pt x="450" y="174"/>
                      </a:lnTo>
                      <a:lnTo>
                        <a:pt x="452" y="174"/>
                      </a:lnTo>
                      <a:lnTo>
                        <a:pt x="454" y="176"/>
                      </a:lnTo>
                      <a:lnTo>
                        <a:pt x="456" y="177"/>
                      </a:lnTo>
                      <a:lnTo>
                        <a:pt x="456" y="179"/>
                      </a:lnTo>
                      <a:lnTo>
                        <a:pt x="454" y="181"/>
                      </a:lnTo>
                      <a:lnTo>
                        <a:pt x="452" y="182"/>
                      </a:lnTo>
                      <a:lnTo>
                        <a:pt x="452" y="184"/>
                      </a:lnTo>
                      <a:lnTo>
                        <a:pt x="454" y="184"/>
                      </a:lnTo>
                      <a:lnTo>
                        <a:pt x="454" y="186"/>
                      </a:lnTo>
                      <a:lnTo>
                        <a:pt x="456" y="187"/>
                      </a:lnTo>
                      <a:lnTo>
                        <a:pt x="457" y="189"/>
                      </a:lnTo>
                      <a:lnTo>
                        <a:pt x="457" y="191"/>
                      </a:lnTo>
                      <a:lnTo>
                        <a:pt x="457" y="192"/>
                      </a:lnTo>
                      <a:lnTo>
                        <a:pt x="457" y="195"/>
                      </a:lnTo>
                      <a:lnTo>
                        <a:pt x="457" y="197"/>
                      </a:lnTo>
                      <a:lnTo>
                        <a:pt x="457" y="199"/>
                      </a:lnTo>
                      <a:lnTo>
                        <a:pt x="457" y="200"/>
                      </a:lnTo>
                      <a:lnTo>
                        <a:pt x="457" y="202"/>
                      </a:lnTo>
                      <a:lnTo>
                        <a:pt x="459" y="204"/>
                      </a:lnTo>
                      <a:lnTo>
                        <a:pt x="461" y="207"/>
                      </a:lnTo>
                      <a:lnTo>
                        <a:pt x="462" y="209"/>
                      </a:lnTo>
                      <a:lnTo>
                        <a:pt x="464" y="210"/>
                      </a:lnTo>
                      <a:lnTo>
                        <a:pt x="462" y="212"/>
                      </a:lnTo>
                      <a:lnTo>
                        <a:pt x="464" y="212"/>
                      </a:lnTo>
                      <a:lnTo>
                        <a:pt x="464" y="214"/>
                      </a:lnTo>
                      <a:lnTo>
                        <a:pt x="464" y="215"/>
                      </a:lnTo>
                      <a:lnTo>
                        <a:pt x="466" y="217"/>
                      </a:lnTo>
                      <a:lnTo>
                        <a:pt x="466" y="218"/>
                      </a:lnTo>
                      <a:lnTo>
                        <a:pt x="467" y="220"/>
                      </a:lnTo>
                      <a:lnTo>
                        <a:pt x="467" y="222"/>
                      </a:lnTo>
                      <a:lnTo>
                        <a:pt x="469" y="222"/>
                      </a:lnTo>
                      <a:lnTo>
                        <a:pt x="471" y="223"/>
                      </a:lnTo>
                      <a:lnTo>
                        <a:pt x="471" y="225"/>
                      </a:lnTo>
                      <a:lnTo>
                        <a:pt x="469" y="227"/>
                      </a:lnTo>
                      <a:lnTo>
                        <a:pt x="469" y="228"/>
                      </a:lnTo>
                      <a:lnTo>
                        <a:pt x="469" y="230"/>
                      </a:lnTo>
                      <a:lnTo>
                        <a:pt x="467" y="235"/>
                      </a:lnTo>
                      <a:lnTo>
                        <a:pt x="467" y="237"/>
                      </a:lnTo>
                      <a:lnTo>
                        <a:pt x="469" y="238"/>
                      </a:lnTo>
                      <a:lnTo>
                        <a:pt x="471" y="240"/>
                      </a:lnTo>
                      <a:lnTo>
                        <a:pt x="472" y="241"/>
                      </a:lnTo>
                      <a:lnTo>
                        <a:pt x="472" y="243"/>
                      </a:lnTo>
                      <a:lnTo>
                        <a:pt x="474" y="243"/>
                      </a:lnTo>
                      <a:lnTo>
                        <a:pt x="474" y="245"/>
                      </a:lnTo>
                      <a:lnTo>
                        <a:pt x="476" y="245"/>
                      </a:lnTo>
                      <a:lnTo>
                        <a:pt x="476" y="246"/>
                      </a:lnTo>
                      <a:lnTo>
                        <a:pt x="474" y="246"/>
                      </a:lnTo>
                      <a:lnTo>
                        <a:pt x="476" y="248"/>
                      </a:lnTo>
                      <a:lnTo>
                        <a:pt x="476" y="246"/>
                      </a:lnTo>
                      <a:lnTo>
                        <a:pt x="478" y="246"/>
                      </a:lnTo>
                      <a:lnTo>
                        <a:pt x="478" y="248"/>
                      </a:lnTo>
                      <a:lnTo>
                        <a:pt x="478" y="250"/>
                      </a:lnTo>
                      <a:lnTo>
                        <a:pt x="479" y="250"/>
                      </a:lnTo>
                      <a:lnTo>
                        <a:pt x="479" y="251"/>
                      </a:lnTo>
                      <a:lnTo>
                        <a:pt x="481" y="251"/>
                      </a:lnTo>
                      <a:lnTo>
                        <a:pt x="481" y="253"/>
                      </a:lnTo>
                      <a:lnTo>
                        <a:pt x="479" y="253"/>
                      </a:lnTo>
                      <a:lnTo>
                        <a:pt x="479" y="255"/>
                      </a:lnTo>
                      <a:lnTo>
                        <a:pt x="479" y="256"/>
                      </a:lnTo>
                      <a:lnTo>
                        <a:pt x="479" y="258"/>
                      </a:lnTo>
                      <a:lnTo>
                        <a:pt x="479" y="260"/>
                      </a:lnTo>
                      <a:lnTo>
                        <a:pt x="481" y="261"/>
                      </a:lnTo>
                      <a:lnTo>
                        <a:pt x="481" y="263"/>
                      </a:lnTo>
                      <a:lnTo>
                        <a:pt x="481" y="264"/>
                      </a:lnTo>
                      <a:lnTo>
                        <a:pt x="483" y="266"/>
                      </a:lnTo>
                      <a:lnTo>
                        <a:pt x="483" y="268"/>
                      </a:lnTo>
                      <a:lnTo>
                        <a:pt x="481" y="269"/>
                      </a:lnTo>
                      <a:lnTo>
                        <a:pt x="479" y="269"/>
                      </a:lnTo>
                      <a:lnTo>
                        <a:pt x="479" y="271"/>
                      </a:lnTo>
                      <a:lnTo>
                        <a:pt x="479" y="273"/>
                      </a:lnTo>
                      <a:lnTo>
                        <a:pt x="481" y="276"/>
                      </a:lnTo>
                      <a:lnTo>
                        <a:pt x="481" y="278"/>
                      </a:lnTo>
                      <a:lnTo>
                        <a:pt x="481" y="279"/>
                      </a:lnTo>
                      <a:lnTo>
                        <a:pt x="481" y="281"/>
                      </a:lnTo>
                      <a:lnTo>
                        <a:pt x="481" y="283"/>
                      </a:lnTo>
                      <a:lnTo>
                        <a:pt x="481" y="284"/>
                      </a:lnTo>
                      <a:lnTo>
                        <a:pt x="481" y="286"/>
                      </a:lnTo>
                      <a:lnTo>
                        <a:pt x="481" y="287"/>
                      </a:lnTo>
                      <a:lnTo>
                        <a:pt x="483" y="289"/>
                      </a:lnTo>
                      <a:lnTo>
                        <a:pt x="483" y="291"/>
                      </a:lnTo>
                      <a:lnTo>
                        <a:pt x="483" y="292"/>
                      </a:lnTo>
                      <a:lnTo>
                        <a:pt x="484" y="294"/>
                      </a:lnTo>
                      <a:lnTo>
                        <a:pt x="484" y="296"/>
                      </a:lnTo>
                      <a:lnTo>
                        <a:pt x="484" y="297"/>
                      </a:lnTo>
                      <a:lnTo>
                        <a:pt x="484" y="299"/>
                      </a:lnTo>
                      <a:lnTo>
                        <a:pt x="484" y="301"/>
                      </a:lnTo>
                      <a:lnTo>
                        <a:pt x="483" y="301"/>
                      </a:lnTo>
                      <a:lnTo>
                        <a:pt x="481" y="304"/>
                      </a:lnTo>
                      <a:lnTo>
                        <a:pt x="481" y="305"/>
                      </a:lnTo>
                      <a:lnTo>
                        <a:pt x="483" y="305"/>
                      </a:lnTo>
                      <a:lnTo>
                        <a:pt x="484" y="305"/>
                      </a:lnTo>
                      <a:lnTo>
                        <a:pt x="484" y="307"/>
                      </a:lnTo>
                      <a:lnTo>
                        <a:pt x="486" y="309"/>
                      </a:lnTo>
                      <a:lnTo>
                        <a:pt x="486" y="310"/>
                      </a:lnTo>
                      <a:lnTo>
                        <a:pt x="486" y="312"/>
                      </a:lnTo>
                      <a:lnTo>
                        <a:pt x="488" y="314"/>
                      </a:lnTo>
                      <a:lnTo>
                        <a:pt x="488" y="315"/>
                      </a:lnTo>
                      <a:lnTo>
                        <a:pt x="486" y="315"/>
                      </a:lnTo>
                      <a:lnTo>
                        <a:pt x="488" y="317"/>
                      </a:lnTo>
                      <a:lnTo>
                        <a:pt x="486" y="319"/>
                      </a:lnTo>
                      <a:lnTo>
                        <a:pt x="488" y="319"/>
                      </a:lnTo>
                      <a:lnTo>
                        <a:pt x="488" y="320"/>
                      </a:lnTo>
                      <a:lnTo>
                        <a:pt x="486" y="322"/>
                      </a:lnTo>
                      <a:lnTo>
                        <a:pt x="488" y="324"/>
                      </a:lnTo>
                      <a:lnTo>
                        <a:pt x="489" y="324"/>
                      </a:lnTo>
                      <a:lnTo>
                        <a:pt x="489" y="325"/>
                      </a:lnTo>
                      <a:lnTo>
                        <a:pt x="489" y="327"/>
                      </a:lnTo>
                      <a:lnTo>
                        <a:pt x="491" y="328"/>
                      </a:lnTo>
                      <a:lnTo>
                        <a:pt x="493" y="328"/>
                      </a:lnTo>
                      <a:lnTo>
                        <a:pt x="493" y="330"/>
                      </a:lnTo>
                      <a:lnTo>
                        <a:pt x="494" y="332"/>
                      </a:lnTo>
                      <a:lnTo>
                        <a:pt x="494" y="333"/>
                      </a:lnTo>
                      <a:lnTo>
                        <a:pt x="493" y="333"/>
                      </a:lnTo>
                      <a:lnTo>
                        <a:pt x="493" y="335"/>
                      </a:lnTo>
                      <a:lnTo>
                        <a:pt x="491" y="337"/>
                      </a:lnTo>
                      <a:lnTo>
                        <a:pt x="491" y="338"/>
                      </a:lnTo>
                      <a:lnTo>
                        <a:pt x="493" y="340"/>
                      </a:lnTo>
                      <a:lnTo>
                        <a:pt x="493" y="342"/>
                      </a:lnTo>
                      <a:lnTo>
                        <a:pt x="493" y="343"/>
                      </a:lnTo>
                      <a:lnTo>
                        <a:pt x="493" y="345"/>
                      </a:lnTo>
                      <a:lnTo>
                        <a:pt x="493" y="347"/>
                      </a:lnTo>
                      <a:lnTo>
                        <a:pt x="493" y="348"/>
                      </a:lnTo>
                      <a:lnTo>
                        <a:pt x="493" y="350"/>
                      </a:lnTo>
                      <a:lnTo>
                        <a:pt x="494" y="350"/>
                      </a:lnTo>
                      <a:lnTo>
                        <a:pt x="496" y="351"/>
                      </a:lnTo>
                      <a:lnTo>
                        <a:pt x="496" y="353"/>
                      </a:lnTo>
                      <a:lnTo>
                        <a:pt x="496" y="355"/>
                      </a:lnTo>
                      <a:lnTo>
                        <a:pt x="498" y="356"/>
                      </a:lnTo>
                      <a:lnTo>
                        <a:pt x="498" y="358"/>
                      </a:lnTo>
                      <a:lnTo>
                        <a:pt x="496" y="360"/>
                      </a:lnTo>
                      <a:lnTo>
                        <a:pt x="496" y="361"/>
                      </a:lnTo>
                      <a:lnTo>
                        <a:pt x="498" y="361"/>
                      </a:lnTo>
                      <a:lnTo>
                        <a:pt x="498" y="363"/>
                      </a:lnTo>
                      <a:lnTo>
                        <a:pt x="499" y="363"/>
                      </a:lnTo>
                      <a:lnTo>
                        <a:pt x="501" y="363"/>
                      </a:lnTo>
                      <a:lnTo>
                        <a:pt x="503" y="365"/>
                      </a:lnTo>
                      <a:lnTo>
                        <a:pt x="505" y="365"/>
                      </a:lnTo>
                      <a:lnTo>
                        <a:pt x="506" y="363"/>
                      </a:lnTo>
                      <a:lnTo>
                        <a:pt x="506" y="365"/>
                      </a:lnTo>
                      <a:lnTo>
                        <a:pt x="508" y="366"/>
                      </a:lnTo>
                      <a:lnTo>
                        <a:pt x="510" y="366"/>
                      </a:lnTo>
                      <a:lnTo>
                        <a:pt x="511" y="366"/>
                      </a:lnTo>
                      <a:lnTo>
                        <a:pt x="515" y="368"/>
                      </a:lnTo>
                      <a:lnTo>
                        <a:pt x="518" y="370"/>
                      </a:lnTo>
                      <a:lnTo>
                        <a:pt x="520" y="370"/>
                      </a:lnTo>
                      <a:lnTo>
                        <a:pt x="521" y="368"/>
                      </a:lnTo>
                      <a:lnTo>
                        <a:pt x="523" y="370"/>
                      </a:lnTo>
                      <a:lnTo>
                        <a:pt x="523" y="371"/>
                      </a:lnTo>
                      <a:lnTo>
                        <a:pt x="525" y="371"/>
                      </a:lnTo>
                      <a:lnTo>
                        <a:pt x="525" y="373"/>
                      </a:lnTo>
                      <a:lnTo>
                        <a:pt x="525" y="374"/>
                      </a:lnTo>
                      <a:lnTo>
                        <a:pt x="526" y="376"/>
                      </a:lnTo>
                      <a:lnTo>
                        <a:pt x="528" y="376"/>
                      </a:lnTo>
                      <a:lnTo>
                        <a:pt x="528" y="374"/>
                      </a:lnTo>
                      <a:lnTo>
                        <a:pt x="530" y="374"/>
                      </a:lnTo>
                      <a:lnTo>
                        <a:pt x="532" y="374"/>
                      </a:lnTo>
                      <a:lnTo>
                        <a:pt x="532" y="376"/>
                      </a:lnTo>
                      <a:lnTo>
                        <a:pt x="532" y="378"/>
                      </a:lnTo>
                      <a:lnTo>
                        <a:pt x="530" y="378"/>
                      </a:lnTo>
                      <a:lnTo>
                        <a:pt x="530" y="379"/>
                      </a:lnTo>
                      <a:lnTo>
                        <a:pt x="528" y="379"/>
                      </a:lnTo>
                      <a:lnTo>
                        <a:pt x="528" y="381"/>
                      </a:lnTo>
                      <a:lnTo>
                        <a:pt x="526" y="381"/>
                      </a:lnTo>
                      <a:lnTo>
                        <a:pt x="526" y="383"/>
                      </a:lnTo>
                      <a:lnTo>
                        <a:pt x="526" y="384"/>
                      </a:lnTo>
                      <a:lnTo>
                        <a:pt x="526" y="386"/>
                      </a:lnTo>
                      <a:lnTo>
                        <a:pt x="528" y="388"/>
                      </a:lnTo>
                      <a:lnTo>
                        <a:pt x="526" y="389"/>
                      </a:lnTo>
                      <a:lnTo>
                        <a:pt x="526" y="391"/>
                      </a:lnTo>
                      <a:lnTo>
                        <a:pt x="526" y="393"/>
                      </a:lnTo>
                      <a:lnTo>
                        <a:pt x="528" y="393"/>
                      </a:lnTo>
                      <a:lnTo>
                        <a:pt x="528" y="394"/>
                      </a:lnTo>
                      <a:lnTo>
                        <a:pt x="526" y="394"/>
                      </a:lnTo>
                      <a:lnTo>
                        <a:pt x="526" y="396"/>
                      </a:lnTo>
                      <a:lnTo>
                        <a:pt x="526" y="397"/>
                      </a:lnTo>
                      <a:lnTo>
                        <a:pt x="525" y="399"/>
                      </a:lnTo>
                      <a:lnTo>
                        <a:pt x="523" y="401"/>
                      </a:lnTo>
                      <a:lnTo>
                        <a:pt x="523" y="402"/>
                      </a:lnTo>
                      <a:lnTo>
                        <a:pt x="521" y="404"/>
                      </a:lnTo>
                      <a:lnTo>
                        <a:pt x="521" y="406"/>
                      </a:lnTo>
                      <a:lnTo>
                        <a:pt x="521" y="409"/>
                      </a:lnTo>
                      <a:lnTo>
                        <a:pt x="520" y="409"/>
                      </a:lnTo>
                      <a:lnTo>
                        <a:pt x="520" y="411"/>
                      </a:lnTo>
                      <a:lnTo>
                        <a:pt x="520" y="412"/>
                      </a:lnTo>
                      <a:lnTo>
                        <a:pt x="520" y="414"/>
                      </a:lnTo>
                      <a:lnTo>
                        <a:pt x="518" y="417"/>
                      </a:lnTo>
                      <a:lnTo>
                        <a:pt x="518" y="419"/>
                      </a:lnTo>
                      <a:lnTo>
                        <a:pt x="518" y="420"/>
                      </a:lnTo>
                      <a:lnTo>
                        <a:pt x="518" y="422"/>
                      </a:lnTo>
                      <a:lnTo>
                        <a:pt x="518" y="424"/>
                      </a:lnTo>
                      <a:lnTo>
                        <a:pt x="516" y="424"/>
                      </a:lnTo>
                      <a:lnTo>
                        <a:pt x="516" y="425"/>
                      </a:lnTo>
                      <a:lnTo>
                        <a:pt x="515" y="429"/>
                      </a:lnTo>
                      <a:lnTo>
                        <a:pt x="513" y="430"/>
                      </a:lnTo>
                      <a:lnTo>
                        <a:pt x="511" y="430"/>
                      </a:lnTo>
                      <a:lnTo>
                        <a:pt x="510" y="432"/>
                      </a:lnTo>
                      <a:lnTo>
                        <a:pt x="508" y="432"/>
                      </a:lnTo>
                      <a:lnTo>
                        <a:pt x="506" y="432"/>
                      </a:lnTo>
                      <a:lnTo>
                        <a:pt x="506" y="434"/>
                      </a:lnTo>
                      <a:lnTo>
                        <a:pt x="505" y="435"/>
                      </a:lnTo>
                      <a:lnTo>
                        <a:pt x="501" y="435"/>
                      </a:lnTo>
                      <a:lnTo>
                        <a:pt x="499" y="437"/>
                      </a:lnTo>
                      <a:lnTo>
                        <a:pt x="499" y="439"/>
                      </a:lnTo>
                      <a:lnTo>
                        <a:pt x="499" y="440"/>
                      </a:lnTo>
                      <a:lnTo>
                        <a:pt x="501" y="442"/>
                      </a:lnTo>
                      <a:lnTo>
                        <a:pt x="501" y="443"/>
                      </a:lnTo>
                      <a:lnTo>
                        <a:pt x="503" y="445"/>
                      </a:lnTo>
                      <a:lnTo>
                        <a:pt x="506" y="448"/>
                      </a:lnTo>
                      <a:lnTo>
                        <a:pt x="506" y="450"/>
                      </a:lnTo>
                      <a:lnTo>
                        <a:pt x="506" y="452"/>
                      </a:lnTo>
                      <a:lnTo>
                        <a:pt x="506" y="453"/>
                      </a:lnTo>
                      <a:lnTo>
                        <a:pt x="506" y="455"/>
                      </a:lnTo>
                      <a:lnTo>
                        <a:pt x="505" y="458"/>
                      </a:lnTo>
                      <a:lnTo>
                        <a:pt x="503" y="460"/>
                      </a:lnTo>
                      <a:lnTo>
                        <a:pt x="503" y="462"/>
                      </a:lnTo>
                      <a:lnTo>
                        <a:pt x="503" y="463"/>
                      </a:lnTo>
                      <a:lnTo>
                        <a:pt x="505" y="463"/>
                      </a:lnTo>
                      <a:lnTo>
                        <a:pt x="505" y="465"/>
                      </a:lnTo>
                      <a:lnTo>
                        <a:pt x="506" y="465"/>
                      </a:lnTo>
                      <a:lnTo>
                        <a:pt x="508" y="465"/>
                      </a:lnTo>
                      <a:lnTo>
                        <a:pt x="510" y="465"/>
                      </a:lnTo>
                      <a:lnTo>
                        <a:pt x="511" y="465"/>
                      </a:lnTo>
                      <a:lnTo>
                        <a:pt x="513" y="465"/>
                      </a:lnTo>
                      <a:lnTo>
                        <a:pt x="515" y="465"/>
                      </a:lnTo>
                      <a:lnTo>
                        <a:pt x="516" y="466"/>
                      </a:lnTo>
                      <a:lnTo>
                        <a:pt x="518" y="466"/>
                      </a:lnTo>
                      <a:lnTo>
                        <a:pt x="518" y="470"/>
                      </a:lnTo>
                      <a:lnTo>
                        <a:pt x="518" y="471"/>
                      </a:lnTo>
                      <a:lnTo>
                        <a:pt x="516" y="471"/>
                      </a:lnTo>
                      <a:lnTo>
                        <a:pt x="516" y="473"/>
                      </a:lnTo>
                      <a:lnTo>
                        <a:pt x="515" y="473"/>
                      </a:lnTo>
                      <a:lnTo>
                        <a:pt x="515" y="475"/>
                      </a:lnTo>
                      <a:lnTo>
                        <a:pt x="513" y="475"/>
                      </a:lnTo>
                      <a:lnTo>
                        <a:pt x="515" y="475"/>
                      </a:lnTo>
                      <a:lnTo>
                        <a:pt x="515" y="476"/>
                      </a:lnTo>
                      <a:lnTo>
                        <a:pt x="516" y="476"/>
                      </a:lnTo>
                      <a:lnTo>
                        <a:pt x="516" y="478"/>
                      </a:lnTo>
                      <a:lnTo>
                        <a:pt x="516" y="480"/>
                      </a:lnTo>
                      <a:lnTo>
                        <a:pt x="516" y="481"/>
                      </a:lnTo>
                      <a:lnTo>
                        <a:pt x="516" y="483"/>
                      </a:lnTo>
                      <a:lnTo>
                        <a:pt x="515" y="486"/>
                      </a:lnTo>
                      <a:lnTo>
                        <a:pt x="513" y="489"/>
                      </a:lnTo>
                      <a:lnTo>
                        <a:pt x="511" y="493"/>
                      </a:lnTo>
                      <a:lnTo>
                        <a:pt x="511" y="494"/>
                      </a:lnTo>
                      <a:lnTo>
                        <a:pt x="510" y="494"/>
                      </a:lnTo>
                      <a:lnTo>
                        <a:pt x="510" y="496"/>
                      </a:lnTo>
                      <a:lnTo>
                        <a:pt x="511" y="496"/>
                      </a:lnTo>
                      <a:lnTo>
                        <a:pt x="511" y="498"/>
                      </a:lnTo>
                      <a:lnTo>
                        <a:pt x="511" y="499"/>
                      </a:lnTo>
                      <a:lnTo>
                        <a:pt x="510" y="499"/>
                      </a:lnTo>
                      <a:lnTo>
                        <a:pt x="508" y="499"/>
                      </a:lnTo>
                      <a:lnTo>
                        <a:pt x="506" y="499"/>
                      </a:lnTo>
                      <a:lnTo>
                        <a:pt x="506" y="501"/>
                      </a:lnTo>
                      <a:lnTo>
                        <a:pt x="506" y="499"/>
                      </a:lnTo>
                      <a:lnTo>
                        <a:pt x="506" y="501"/>
                      </a:lnTo>
                      <a:lnTo>
                        <a:pt x="505" y="499"/>
                      </a:lnTo>
                      <a:lnTo>
                        <a:pt x="505" y="501"/>
                      </a:lnTo>
                      <a:lnTo>
                        <a:pt x="505" y="503"/>
                      </a:lnTo>
                      <a:lnTo>
                        <a:pt x="503" y="503"/>
                      </a:lnTo>
                      <a:lnTo>
                        <a:pt x="501" y="504"/>
                      </a:lnTo>
                      <a:lnTo>
                        <a:pt x="501" y="506"/>
                      </a:lnTo>
                      <a:lnTo>
                        <a:pt x="499" y="506"/>
                      </a:lnTo>
                      <a:lnTo>
                        <a:pt x="498" y="506"/>
                      </a:lnTo>
                      <a:lnTo>
                        <a:pt x="498" y="507"/>
                      </a:lnTo>
                      <a:lnTo>
                        <a:pt x="496" y="507"/>
                      </a:lnTo>
                      <a:lnTo>
                        <a:pt x="494" y="507"/>
                      </a:lnTo>
                      <a:lnTo>
                        <a:pt x="494" y="509"/>
                      </a:lnTo>
                      <a:lnTo>
                        <a:pt x="493" y="509"/>
                      </a:lnTo>
                      <a:lnTo>
                        <a:pt x="493" y="511"/>
                      </a:lnTo>
                      <a:lnTo>
                        <a:pt x="494" y="512"/>
                      </a:lnTo>
                      <a:lnTo>
                        <a:pt x="493" y="512"/>
                      </a:lnTo>
                      <a:lnTo>
                        <a:pt x="493" y="514"/>
                      </a:lnTo>
                      <a:lnTo>
                        <a:pt x="493" y="516"/>
                      </a:lnTo>
                      <a:lnTo>
                        <a:pt x="491" y="516"/>
                      </a:lnTo>
                      <a:lnTo>
                        <a:pt x="489" y="516"/>
                      </a:lnTo>
                      <a:lnTo>
                        <a:pt x="489" y="517"/>
                      </a:lnTo>
                      <a:lnTo>
                        <a:pt x="489" y="519"/>
                      </a:lnTo>
                      <a:lnTo>
                        <a:pt x="489" y="521"/>
                      </a:lnTo>
                      <a:lnTo>
                        <a:pt x="488" y="521"/>
                      </a:lnTo>
                      <a:lnTo>
                        <a:pt x="486" y="521"/>
                      </a:lnTo>
                      <a:lnTo>
                        <a:pt x="486" y="519"/>
                      </a:lnTo>
                      <a:lnTo>
                        <a:pt x="484" y="519"/>
                      </a:lnTo>
                      <a:lnTo>
                        <a:pt x="483" y="519"/>
                      </a:lnTo>
                      <a:lnTo>
                        <a:pt x="483" y="521"/>
                      </a:lnTo>
                      <a:lnTo>
                        <a:pt x="483" y="522"/>
                      </a:lnTo>
                      <a:lnTo>
                        <a:pt x="481" y="522"/>
                      </a:lnTo>
                      <a:lnTo>
                        <a:pt x="483" y="524"/>
                      </a:lnTo>
                      <a:lnTo>
                        <a:pt x="481" y="526"/>
                      </a:lnTo>
                      <a:lnTo>
                        <a:pt x="479" y="527"/>
                      </a:lnTo>
                      <a:lnTo>
                        <a:pt x="479" y="526"/>
                      </a:lnTo>
                      <a:lnTo>
                        <a:pt x="478" y="526"/>
                      </a:lnTo>
                      <a:lnTo>
                        <a:pt x="476" y="524"/>
                      </a:lnTo>
                      <a:lnTo>
                        <a:pt x="474" y="522"/>
                      </a:lnTo>
                      <a:lnTo>
                        <a:pt x="472" y="522"/>
                      </a:lnTo>
                      <a:lnTo>
                        <a:pt x="472" y="524"/>
                      </a:lnTo>
                      <a:lnTo>
                        <a:pt x="471" y="524"/>
                      </a:lnTo>
                      <a:lnTo>
                        <a:pt x="471" y="526"/>
                      </a:lnTo>
                      <a:lnTo>
                        <a:pt x="469" y="526"/>
                      </a:lnTo>
                      <a:lnTo>
                        <a:pt x="469" y="527"/>
                      </a:lnTo>
                      <a:lnTo>
                        <a:pt x="467" y="527"/>
                      </a:lnTo>
                      <a:lnTo>
                        <a:pt x="467" y="529"/>
                      </a:lnTo>
                      <a:lnTo>
                        <a:pt x="467" y="530"/>
                      </a:lnTo>
                      <a:lnTo>
                        <a:pt x="467" y="529"/>
                      </a:lnTo>
                      <a:lnTo>
                        <a:pt x="466" y="529"/>
                      </a:lnTo>
                      <a:lnTo>
                        <a:pt x="466" y="530"/>
                      </a:lnTo>
                      <a:lnTo>
                        <a:pt x="464" y="532"/>
                      </a:lnTo>
                      <a:lnTo>
                        <a:pt x="464" y="534"/>
                      </a:lnTo>
                      <a:lnTo>
                        <a:pt x="462" y="534"/>
                      </a:lnTo>
                      <a:lnTo>
                        <a:pt x="462" y="535"/>
                      </a:lnTo>
                      <a:lnTo>
                        <a:pt x="461" y="535"/>
                      </a:lnTo>
                      <a:lnTo>
                        <a:pt x="459" y="535"/>
                      </a:lnTo>
                      <a:lnTo>
                        <a:pt x="459" y="537"/>
                      </a:lnTo>
                      <a:lnTo>
                        <a:pt x="457" y="537"/>
                      </a:lnTo>
                      <a:lnTo>
                        <a:pt x="457" y="539"/>
                      </a:lnTo>
                      <a:lnTo>
                        <a:pt x="457" y="540"/>
                      </a:lnTo>
                      <a:lnTo>
                        <a:pt x="456" y="540"/>
                      </a:lnTo>
                      <a:lnTo>
                        <a:pt x="454" y="540"/>
                      </a:lnTo>
                      <a:lnTo>
                        <a:pt x="452" y="540"/>
                      </a:lnTo>
                      <a:lnTo>
                        <a:pt x="452" y="542"/>
                      </a:lnTo>
                      <a:lnTo>
                        <a:pt x="454" y="544"/>
                      </a:lnTo>
                      <a:lnTo>
                        <a:pt x="452" y="544"/>
                      </a:lnTo>
                      <a:lnTo>
                        <a:pt x="452" y="545"/>
                      </a:lnTo>
                      <a:lnTo>
                        <a:pt x="450" y="545"/>
                      </a:lnTo>
                      <a:lnTo>
                        <a:pt x="450" y="547"/>
                      </a:lnTo>
                      <a:lnTo>
                        <a:pt x="449" y="547"/>
                      </a:lnTo>
                      <a:lnTo>
                        <a:pt x="447" y="547"/>
                      </a:lnTo>
                      <a:lnTo>
                        <a:pt x="445" y="547"/>
                      </a:lnTo>
                      <a:lnTo>
                        <a:pt x="444" y="549"/>
                      </a:lnTo>
                      <a:lnTo>
                        <a:pt x="442" y="550"/>
                      </a:lnTo>
                      <a:lnTo>
                        <a:pt x="440" y="550"/>
                      </a:lnTo>
                      <a:lnTo>
                        <a:pt x="439" y="550"/>
                      </a:lnTo>
                      <a:lnTo>
                        <a:pt x="437" y="550"/>
                      </a:lnTo>
                      <a:lnTo>
                        <a:pt x="435" y="552"/>
                      </a:lnTo>
                      <a:lnTo>
                        <a:pt x="435" y="553"/>
                      </a:lnTo>
                      <a:lnTo>
                        <a:pt x="435" y="555"/>
                      </a:lnTo>
                      <a:lnTo>
                        <a:pt x="434" y="557"/>
                      </a:lnTo>
                      <a:lnTo>
                        <a:pt x="432" y="560"/>
                      </a:lnTo>
                      <a:lnTo>
                        <a:pt x="432" y="558"/>
                      </a:lnTo>
                      <a:lnTo>
                        <a:pt x="432" y="560"/>
                      </a:lnTo>
                      <a:lnTo>
                        <a:pt x="430" y="560"/>
                      </a:lnTo>
                      <a:lnTo>
                        <a:pt x="429" y="562"/>
                      </a:lnTo>
                      <a:lnTo>
                        <a:pt x="429" y="563"/>
                      </a:lnTo>
                      <a:lnTo>
                        <a:pt x="427" y="563"/>
                      </a:lnTo>
                      <a:lnTo>
                        <a:pt x="425" y="565"/>
                      </a:lnTo>
                      <a:lnTo>
                        <a:pt x="423" y="567"/>
                      </a:lnTo>
                      <a:lnTo>
                        <a:pt x="425" y="567"/>
                      </a:lnTo>
                      <a:lnTo>
                        <a:pt x="425" y="568"/>
                      </a:lnTo>
                      <a:lnTo>
                        <a:pt x="423" y="568"/>
                      </a:lnTo>
                      <a:lnTo>
                        <a:pt x="423" y="570"/>
                      </a:lnTo>
                      <a:lnTo>
                        <a:pt x="422" y="572"/>
                      </a:lnTo>
                      <a:lnTo>
                        <a:pt x="420" y="573"/>
                      </a:lnTo>
                      <a:lnTo>
                        <a:pt x="422" y="573"/>
                      </a:lnTo>
                      <a:lnTo>
                        <a:pt x="420" y="573"/>
                      </a:lnTo>
                      <a:lnTo>
                        <a:pt x="422" y="575"/>
                      </a:lnTo>
                      <a:lnTo>
                        <a:pt x="420" y="575"/>
                      </a:lnTo>
                      <a:lnTo>
                        <a:pt x="418" y="575"/>
                      </a:lnTo>
                      <a:lnTo>
                        <a:pt x="418" y="573"/>
                      </a:lnTo>
                      <a:lnTo>
                        <a:pt x="417" y="573"/>
                      </a:lnTo>
                      <a:lnTo>
                        <a:pt x="417" y="575"/>
                      </a:lnTo>
                      <a:lnTo>
                        <a:pt x="415" y="573"/>
                      </a:lnTo>
                      <a:lnTo>
                        <a:pt x="415" y="575"/>
                      </a:lnTo>
                      <a:lnTo>
                        <a:pt x="413" y="575"/>
                      </a:lnTo>
                      <a:lnTo>
                        <a:pt x="413" y="576"/>
                      </a:lnTo>
                      <a:lnTo>
                        <a:pt x="412" y="576"/>
                      </a:lnTo>
                      <a:lnTo>
                        <a:pt x="410" y="576"/>
                      </a:lnTo>
                      <a:lnTo>
                        <a:pt x="408" y="578"/>
                      </a:lnTo>
                      <a:lnTo>
                        <a:pt x="410" y="578"/>
                      </a:lnTo>
                      <a:lnTo>
                        <a:pt x="408" y="578"/>
                      </a:lnTo>
                      <a:lnTo>
                        <a:pt x="408" y="580"/>
                      </a:lnTo>
                      <a:lnTo>
                        <a:pt x="407" y="580"/>
                      </a:lnTo>
                      <a:lnTo>
                        <a:pt x="405" y="578"/>
                      </a:lnTo>
                      <a:lnTo>
                        <a:pt x="403" y="580"/>
                      </a:lnTo>
                      <a:lnTo>
                        <a:pt x="403" y="581"/>
                      </a:lnTo>
                      <a:lnTo>
                        <a:pt x="403" y="583"/>
                      </a:lnTo>
                      <a:lnTo>
                        <a:pt x="403" y="585"/>
                      </a:lnTo>
                      <a:lnTo>
                        <a:pt x="403" y="586"/>
                      </a:lnTo>
                      <a:lnTo>
                        <a:pt x="402" y="588"/>
                      </a:lnTo>
                      <a:lnTo>
                        <a:pt x="400" y="588"/>
                      </a:lnTo>
                      <a:lnTo>
                        <a:pt x="398" y="590"/>
                      </a:lnTo>
                      <a:lnTo>
                        <a:pt x="398" y="591"/>
                      </a:lnTo>
                      <a:lnTo>
                        <a:pt x="396" y="591"/>
                      </a:lnTo>
                      <a:lnTo>
                        <a:pt x="396" y="593"/>
                      </a:lnTo>
                      <a:lnTo>
                        <a:pt x="395" y="595"/>
                      </a:lnTo>
                      <a:lnTo>
                        <a:pt x="395" y="598"/>
                      </a:lnTo>
                      <a:lnTo>
                        <a:pt x="393" y="599"/>
                      </a:lnTo>
                      <a:lnTo>
                        <a:pt x="393" y="601"/>
                      </a:lnTo>
                      <a:lnTo>
                        <a:pt x="391" y="599"/>
                      </a:lnTo>
                      <a:lnTo>
                        <a:pt x="390" y="599"/>
                      </a:lnTo>
                      <a:lnTo>
                        <a:pt x="390" y="601"/>
                      </a:lnTo>
                      <a:lnTo>
                        <a:pt x="388" y="601"/>
                      </a:lnTo>
                      <a:lnTo>
                        <a:pt x="386" y="601"/>
                      </a:lnTo>
                      <a:lnTo>
                        <a:pt x="386" y="603"/>
                      </a:lnTo>
                      <a:lnTo>
                        <a:pt x="385" y="603"/>
                      </a:lnTo>
                      <a:lnTo>
                        <a:pt x="383" y="603"/>
                      </a:lnTo>
                      <a:lnTo>
                        <a:pt x="381" y="603"/>
                      </a:lnTo>
                      <a:lnTo>
                        <a:pt x="381" y="601"/>
                      </a:lnTo>
                      <a:lnTo>
                        <a:pt x="380" y="601"/>
                      </a:lnTo>
                      <a:lnTo>
                        <a:pt x="378" y="603"/>
                      </a:lnTo>
                      <a:lnTo>
                        <a:pt x="376" y="601"/>
                      </a:lnTo>
                      <a:lnTo>
                        <a:pt x="374" y="601"/>
                      </a:lnTo>
                      <a:lnTo>
                        <a:pt x="373" y="601"/>
                      </a:lnTo>
                      <a:lnTo>
                        <a:pt x="371" y="601"/>
                      </a:lnTo>
                      <a:lnTo>
                        <a:pt x="369" y="603"/>
                      </a:lnTo>
                      <a:lnTo>
                        <a:pt x="368" y="604"/>
                      </a:lnTo>
                      <a:lnTo>
                        <a:pt x="366" y="604"/>
                      </a:lnTo>
                      <a:lnTo>
                        <a:pt x="364" y="604"/>
                      </a:lnTo>
                      <a:lnTo>
                        <a:pt x="363" y="604"/>
                      </a:lnTo>
                      <a:lnTo>
                        <a:pt x="361" y="604"/>
                      </a:lnTo>
                      <a:lnTo>
                        <a:pt x="359" y="604"/>
                      </a:lnTo>
                      <a:lnTo>
                        <a:pt x="358" y="604"/>
                      </a:lnTo>
                      <a:lnTo>
                        <a:pt x="356" y="604"/>
                      </a:lnTo>
                      <a:lnTo>
                        <a:pt x="354" y="604"/>
                      </a:lnTo>
                      <a:lnTo>
                        <a:pt x="353" y="606"/>
                      </a:lnTo>
                      <a:lnTo>
                        <a:pt x="351" y="606"/>
                      </a:lnTo>
                      <a:lnTo>
                        <a:pt x="349" y="606"/>
                      </a:lnTo>
                      <a:lnTo>
                        <a:pt x="349" y="608"/>
                      </a:lnTo>
                      <a:lnTo>
                        <a:pt x="347" y="608"/>
                      </a:lnTo>
                      <a:lnTo>
                        <a:pt x="347" y="609"/>
                      </a:lnTo>
                      <a:lnTo>
                        <a:pt x="344" y="609"/>
                      </a:lnTo>
                      <a:lnTo>
                        <a:pt x="344" y="611"/>
                      </a:lnTo>
                      <a:lnTo>
                        <a:pt x="344" y="613"/>
                      </a:lnTo>
                      <a:lnTo>
                        <a:pt x="342" y="614"/>
                      </a:lnTo>
                      <a:lnTo>
                        <a:pt x="341" y="614"/>
                      </a:lnTo>
                      <a:lnTo>
                        <a:pt x="337" y="616"/>
                      </a:lnTo>
                      <a:lnTo>
                        <a:pt x="337" y="619"/>
                      </a:lnTo>
                      <a:lnTo>
                        <a:pt x="336" y="619"/>
                      </a:lnTo>
                      <a:lnTo>
                        <a:pt x="336" y="621"/>
                      </a:lnTo>
                      <a:lnTo>
                        <a:pt x="334" y="621"/>
                      </a:lnTo>
                      <a:lnTo>
                        <a:pt x="332" y="621"/>
                      </a:lnTo>
                      <a:lnTo>
                        <a:pt x="331" y="621"/>
                      </a:lnTo>
                      <a:lnTo>
                        <a:pt x="332" y="622"/>
                      </a:lnTo>
                      <a:lnTo>
                        <a:pt x="331" y="622"/>
                      </a:lnTo>
                      <a:lnTo>
                        <a:pt x="331" y="624"/>
                      </a:lnTo>
                      <a:lnTo>
                        <a:pt x="329" y="624"/>
                      </a:lnTo>
                      <a:lnTo>
                        <a:pt x="327" y="624"/>
                      </a:lnTo>
                      <a:lnTo>
                        <a:pt x="326" y="624"/>
                      </a:lnTo>
                      <a:lnTo>
                        <a:pt x="324" y="624"/>
                      </a:lnTo>
                      <a:lnTo>
                        <a:pt x="322" y="624"/>
                      </a:lnTo>
                      <a:lnTo>
                        <a:pt x="320" y="624"/>
                      </a:lnTo>
                      <a:lnTo>
                        <a:pt x="320" y="626"/>
                      </a:lnTo>
                      <a:lnTo>
                        <a:pt x="319" y="627"/>
                      </a:lnTo>
                      <a:lnTo>
                        <a:pt x="317" y="627"/>
                      </a:lnTo>
                      <a:lnTo>
                        <a:pt x="315" y="627"/>
                      </a:lnTo>
                      <a:lnTo>
                        <a:pt x="315" y="629"/>
                      </a:lnTo>
                      <a:lnTo>
                        <a:pt x="314" y="629"/>
                      </a:lnTo>
                      <a:lnTo>
                        <a:pt x="312" y="627"/>
                      </a:lnTo>
                      <a:lnTo>
                        <a:pt x="310" y="627"/>
                      </a:lnTo>
                      <a:lnTo>
                        <a:pt x="309" y="627"/>
                      </a:lnTo>
                      <a:lnTo>
                        <a:pt x="310" y="629"/>
                      </a:lnTo>
                      <a:lnTo>
                        <a:pt x="309" y="631"/>
                      </a:lnTo>
                      <a:lnTo>
                        <a:pt x="307" y="632"/>
                      </a:lnTo>
                      <a:lnTo>
                        <a:pt x="305" y="632"/>
                      </a:lnTo>
                      <a:lnTo>
                        <a:pt x="305" y="634"/>
                      </a:lnTo>
                      <a:lnTo>
                        <a:pt x="305" y="636"/>
                      </a:lnTo>
                      <a:lnTo>
                        <a:pt x="302" y="636"/>
                      </a:lnTo>
                      <a:lnTo>
                        <a:pt x="300" y="636"/>
                      </a:lnTo>
                      <a:lnTo>
                        <a:pt x="300" y="634"/>
                      </a:lnTo>
                      <a:lnTo>
                        <a:pt x="300" y="632"/>
                      </a:lnTo>
                      <a:lnTo>
                        <a:pt x="298" y="631"/>
                      </a:lnTo>
                      <a:lnTo>
                        <a:pt x="298" y="629"/>
                      </a:lnTo>
                      <a:lnTo>
                        <a:pt x="297" y="629"/>
                      </a:lnTo>
                      <a:lnTo>
                        <a:pt x="295" y="629"/>
                      </a:lnTo>
                      <a:lnTo>
                        <a:pt x="293" y="629"/>
                      </a:lnTo>
                      <a:lnTo>
                        <a:pt x="293" y="627"/>
                      </a:lnTo>
                      <a:lnTo>
                        <a:pt x="292" y="627"/>
                      </a:lnTo>
                      <a:lnTo>
                        <a:pt x="292" y="626"/>
                      </a:lnTo>
                      <a:lnTo>
                        <a:pt x="290" y="626"/>
                      </a:lnTo>
                      <a:lnTo>
                        <a:pt x="288" y="626"/>
                      </a:lnTo>
                      <a:lnTo>
                        <a:pt x="288" y="624"/>
                      </a:lnTo>
                      <a:lnTo>
                        <a:pt x="287" y="622"/>
                      </a:lnTo>
                      <a:lnTo>
                        <a:pt x="287" y="621"/>
                      </a:lnTo>
                      <a:lnTo>
                        <a:pt x="287" y="619"/>
                      </a:lnTo>
                      <a:lnTo>
                        <a:pt x="287" y="618"/>
                      </a:lnTo>
                      <a:lnTo>
                        <a:pt x="287" y="616"/>
                      </a:lnTo>
                      <a:lnTo>
                        <a:pt x="285" y="616"/>
                      </a:lnTo>
                      <a:lnTo>
                        <a:pt x="285" y="614"/>
                      </a:lnTo>
                      <a:lnTo>
                        <a:pt x="283" y="614"/>
                      </a:lnTo>
                      <a:lnTo>
                        <a:pt x="283" y="616"/>
                      </a:lnTo>
                      <a:lnTo>
                        <a:pt x="282" y="616"/>
                      </a:lnTo>
                      <a:lnTo>
                        <a:pt x="280" y="616"/>
                      </a:lnTo>
                      <a:lnTo>
                        <a:pt x="278" y="616"/>
                      </a:lnTo>
                      <a:lnTo>
                        <a:pt x="278" y="614"/>
                      </a:lnTo>
                      <a:lnTo>
                        <a:pt x="277" y="614"/>
                      </a:lnTo>
                      <a:lnTo>
                        <a:pt x="275" y="614"/>
                      </a:lnTo>
                      <a:lnTo>
                        <a:pt x="273" y="613"/>
                      </a:lnTo>
                      <a:lnTo>
                        <a:pt x="273" y="614"/>
                      </a:lnTo>
                      <a:lnTo>
                        <a:pt x="273" y="613"/>
                      </a:lnTo>
                      <a:lnTo>
                        <a:pt x="271" y="613"/>
                      </a:lnTo>
                      <a:lnTo>
                        <a:pt x="270" y="613"/>
                      </a:lnTo>
                      <a:lnTo>
                        <a:pt x="270" y="614"/>
                      </a:lnTo>
                      <a:lnTo>
                        <a:pt x="270" y="613"/>
                      </a:lnTo>
                      <a:lnTo>
                        <a:pt x="268" y="613"/>
                      </a:lnTo>
                      <a:lnTo>
                        <a:pt x="268" y="614"/>
                      </a:lnTo>
                      <a:lnTo>
                        <a:pt x="266" y="616"/>
                      </a:lnTo>
                      <a:lnTo>
                        <a:pt x="265" y="616"/>
                      </a:lnTo>
                      <a:lnTo>
                        <a:pt x="263" y="616"/>
                      </a:lnTo>
                      <a:lnTo>
                        <a:pt x="263" y="614"/>
                      </a:lnTo>
                      <a:lnTo>
                        <a:pt x="261" y="614"/>
                      </a:lnTo>
                      <a:lnTo>
                        <a:pt x="261" y="616"/>
                      </a:lnTo>
                      <a:lnTo>
                        <a:pt x="260" y="616"/>
                      </a:lnTo>
                      <a:lnTo>
                        <a:pt x="258" y="616"/>
                      </a:lnTo>
                      <a:lnTo>
                        <a:pt x="256" y="618"/>
                      </a:lnTo>
                      <a:lnTo>
                        <a:pt x="256" y="616"/>
                      </a:lnTo>
                      <a:lnTo>
                        <a:pt x="255" y="616"/>
                      </a:lnTo>
                      <a:lnTo>
                        <a:pt x="255" y="614"/>
                      </a:lnTo>
                      <a:lnTo>
                        <a:pt x="253" y="614"/>
                      </a:lnTo>
                      <a:lnTo>
                        <a:pt x="253" y="613"/>
                      </a:lnTo>
                      <a:lnTo>
                        <a:pt x="251" y="613"/>
                      </a:lnTo>
                      <a:lnTo>
                        <a:pt x="251" y="611"/>
                      </a:lnTo>
                      <a:lnTo>
                        <a:pt x="250" y="613"/>
                      </a:lnTo>
                      <a:lnTo>
                        <a:pt x="250" y="611"/>
                      </a:lnTo>
                      <a:lnTo>
                        <a:pt x="248" y="611"/>
                      </a:lnTo>
                      <a:lnTo>
                        <a:pt x="248" y="609"/>
                      </a:lnTo>
                      <a:lnTo>
                        <a:pt x="246" y="609"/>
                      </a:lnTo>
                      <a:lnTo>
                        <a:pt x="246" y="608"/>
                      </a:lnTo>
                      <a:lnTo>
                        <a:pt x="246" y="606"/>
                      </a:lnTo>
                      <a:lnTo>
                        <a:pt x="243" y="603"/>
                      </a:lnTo>
                      <a:lnTo>
                        <a:pt x="241" y="603"/>
                      </a:lnTo>
                      <a:lnTo>
                        <a:pt x="239" y="603"/>
                      </a:lnTo>
                      <a:lnTo>
                        <a:pt x="239" y="601"/>
                      </a:lnTo>
                      <a:lnTo>
                        <a:pt x="238" y="603"/>
                      </a:lnTo>
                      <a:lnTo>
                        <a:pt x="236" y="603"/>
                      </a:lnTo>
                      <a:lnTo>
                        <a:pt x="234" y="604"/>
                      </a:lnTo>
                      <a:lnTo>
                        <a:pt x="233" y="604"/>
                      </a:lnTo>
                      <a:lnTo>
                        <a:pt x="231" y="606"/>
                      </a:lnTo>
                      <a:lnTo>
                        <a:pt x="229" y="606"/>
                      </a:lnTo>
                      <a:lnTo>
                        <a:pt x="228" y="606"/>
                      </a:lnTo>
                      <a:lnTo>
                        <a:pt x="226" y="606"/>
                      </a:lnTo>
                      <a:lnTo>
                        <a:pt x="226" y="608"/>
                      </a:lnTo>
                      <a:lnTo>
                        <a:pt x="226" y="609"/>
                      </a:lnTo>
                      <a:lnTo>
                        <a:pt x="224" y="611"/>
                      </a:lnTo>
                      <a:lnTo>
                        <a:pt x="224" y="613"/>
                      </a:lnTo>
                      <a:lnTo>
                        <a:pt x="222" y="613"/>
                      </a:lnTo>
                      <a:lnTo>
                        <a:pt x="222" y="614"/>
                      </a:lnTo>
                      <a:lnTo>
                        <a:pt x="221" y="614"/>
                      </a:lnTo>
                      <a:lnTo>
                        <a:pt x="219" y="616"/>
                      </a:lnTo>
                      <a:lnTo>
                        <a:pt x="217" y="616"/>
                      </a:lnTo>
                      <a:lnTo>
                        <a:pt x="216" y="616"/>
                      </a:lnTo>
                      <a:lnTo>
                        <a:pt x="214" y="618"/>
                      </a:lnTo>
                      <a:lnTo>
                        <a:pt x="212" y="618"/>
                      </a:lnTo>
                      <a:lnTo>
                        <a:pt x="211" y="619"/>
                      </a:lnTo>
                      <a:lnTo>
                        <a:pt x="209" y="619"/>
                      </a:lnTo>
                      <a:lnTo>
                        <a:pt x="207" y="621"/>
                      </a:lnTo>
                      <a:lnTo>
                        <a:pt x="207" y="622"/>
                      </a:lnTo>
                      <a:lnTo>
                        <a:pt x="206" y="622"/>
                      </a:lnTo>
                      <a:lnTo>
                        <a:pt x="206" y="624"/>
                      </a:lnTo>
                      <a:lnTo>
                        <a:pt x="204" y="626"/>
                      </a:lnTo>
                      <a:lnTo>
                        <a:pt x="204" y="627"/>
                      </a:lnTo>
                      <a:lnTo>
                        <a:pt x="202" y="629"/>
                      </a:lnTo>
                      <a:lnTo>
                        <a:pt x="202" y="631"/>
                      </a:lnTo>
                      <a:lnTo>
                        <a:pt x="204" y="632"/>
                      </a:lnTo>
                      <a:lnTo>
                        <a:pt x="204" y="634"/>
                      </a:lnTo>
                      <a:lnTo>
                        <a:pt x="204" y="636"/>
                      </a:lnTo>
                      <a:lnTo>
                        <a:pt x="204" y="637"/>
                      </a:lnTo>
                      <a:lnTo>
                        <a:pt x="206" y="641"/>
                      </a:lnTo>
                      <a:lnTo>
                        <a:pt x="207" y="642"/>
                      </a:lnTo>
                      <a:lnTo>
                        <a:pt x="207" y="644"/>
                      </a:lnTo>
                      <a:lnTo>
                        <a:pt x="207" y="645"/>
                      </a:lnTo>
                      <a:lnTo>
                        <a:pt x="207" y="647"/>
                      </a:lnTo>
                      <a:lnTo>
                        <a:pt x="209" y="649"/>
                      </a:lnTo>
                      <a:lnTo>
                        <a:pt x="211" y="649"/>
                      </a:lnTo>
                      <a:lnTo>
                        <a:pt x="212" y="650"/>
                      </a:lnTo>
                      <a:lnTo>
                        <a:pt x="214" y="650"/>
                      </a:lnTo>
                      <a:lnTo>
                        <a:pt x="214" y="652"/>
                      </a:lnTo>
                      <a:lnTo>
                        <a:pt x="216" y="652"/>
                      </a:lnTo>
                      <a:lnTo>
                        <a:pt x="217" y="652"/>
                      </a:lnTo>
                      <a:lnTo>
                        <a:pt x="217" y="654"/>
                      </a:lnTo>
                      <a:lnTo>
                        <a:pt x="219" y="654"/>
                      </a:lnTo>
                      <a:lnTo>
                        <a:pt x="221" y="655"/>
                      </a:lnTo>
                      <a:lnTo>
                        <a:pt x="219" y="657"/>
                      </a:lnTo>
                      <a:lnTo>
                        <a:pt x="219" y="659"/>
                      </a:lnTo>
                      <a:lnTo>
                        <a:pt x="219" y="660"/>
                      </a:lnTo>
                      <a:lnTo>
                        <a:pt x="217" y="660"/>
                      </a:lnTo>
                      <a:lnTo>
                        <a:pt x="217" y="662"/>
                      </a:lnTo>
                      <a:lnTo>
                        <a:pt x="216" y="662"/>
                      </a:lnTo>
                      <a:lnTo>
                        <a:pt x="216" y="664"/>
                      </a:lnTo>
                      <a:lnTo>
                        <a:pt x="217" y="664"/>
                      </a:lnTo>
                      <a:lnTo>
                        <a:pt x="217" y="665"/>
                      </a:lnTo>
                      <a:lnTo>
                        <a:pt x="216" y="667"/>
                      </a:lnTo>
                      <a:lnTo>
                        <a:pt x="217" y="668"/>
                      </a:lnTo>
                      <a:lnTo>
                        <a:pt x="219" y="668"/>
                      </a:lnTo>
                      <a:lnTo>
                        <a:pt x="221" y="670"/>
                      </a:lnTo>
                      <a:lnTo>
                        <a:pt x="221" y="672"/>
                      </a:lnTo>
                      <a:lnTo>
                        <a:pt x="219" y="672"/>
                      </a:lnTo>
                      <a:lnTo>
                        <a:pt x="219" y="673"/>
                      </a:lnTo>
                      <a:lnTo>
                        <a:pt x="217" y="673"/>
                      </a:lnTo>
                      <a:lnTo>
                        <a:pt x="217" y="675"/>
                      </a:lnTo>
                      <a:lnTo>
                        <a:pt x="217" y="677"/>
                      </a:lnTo>
                      <a:lnTo>
                        <a:pt x="214" y="677"/>
                      </a:lnTo>
                      <a:lnTo>
                        <a:pt x="212" y="677"/>
                      </a:lnTo>
                      <a:lnTo>
                        <a:pt x="211" y="677"/>
                      </a:lnTo>
                      <a:lnTo>
                        <a:pt x="211" y="678"/>
                      </a:lnTo>
                      <a:lnTo>
                        <a:pt x="209" y="680"/>
                      </a:lnTo>
                      <a:lnTo>
                        <a:pt x="211" y="680"/>
                      </a:lnTo>
                      <a:lnTo>
                        <a:pt x="211" y="682"/>
                      </a:lnTo>
                      <a:lnTo>
                        <a:pt x="211" y="683"/>
                      </a:lnTo>
                      <a:lnTo>
                        <a:pt x="209" y="687"/>
                      </a:lnTo>
                      <a:lnTo>
                        <a:pt x="209" y="688"/>
                      </a:lnTo>
                      <a:lnTo>
                        <a:pt x="207" y="690"/>
                      </a:lnTo>
                      <a:lnTo>
                        <a:pt x="206" y="690"/>
                      </a:lnTo>
                      <a:lnTo>
                        <a:pt x="204" y="691"/>
                      </a:lnTo>
                      <a:lnTo>
                        <a:pt x="204" y="693"/>
                      </a:lnTo>
                      <a:lnTo>
                        <a:pt x="204" y="695"/>
                      </a:lnTo>
                      <a:lnTo>
                        <a:pt x="204" y="696"/>
                      </a:lnTo>
                      <a:lnTo>
                        <a:pt x="204" y="698"/>
                      </a:lnTo>
                      <a:lnTo>
                        <a:pt x="202" y="700"/>
                      </a:lnTo>
                      <a:lnTo>
                        <a:pt x="201" y="700"/>
                      </a:lnTo>
                      <a:lnTo>
                        <a:pt x="201" y="701"/>
                      </a:lnTo>
                      <a:lnTo>
                        <a:pt x="199" y="701"/>
                      </a:lnTo>
                      <a:lnTo>
                        <a:pt x="199" y="703"/>
                      </a:lnTo>
                      <a:lnTo>
                        <a:pt x="197" y="703"/>
                      </a:lnTo>
                      <a:lnTo>
                        <a:pt x="197" y="705"/>
                      </a:lnTo>
                      <a:lnTo>
                        <a:pt x="195" y="706"/>
                      </a:lnTo>
                      <a:lnTo>
                        <a:pt x="195" y="708"/>
                      </a:lnTo>
                      <a:lnTo>
                        <a:pt x="195" y="710"/>
                      </a:lnTo>
                      <a:lnTo>
                        <a:pt x="194" y="710"/>
                      </a:lnTo>
                      <a:lnTo>
                        <a:pt x="192" y="710"/>
                      </a:lnTo>
                      <a:lnTo>
                        <a:pt x="190" y="710"/>
                      </a:lnTo>
                      <a:lnTo>
                        <a:pt x="189" y="708"/>
                      </a:lnTo>
                      <a:lnTo>
                        <a:pt x="187" y="708"/>
                      </a:lnTo>
                      <a:lnTo>
                        <a:pt x="185" y="708"/>
                      </a:lnTo>
                      <a:lnTo>
                        <a:pt x="185" y="710"/>
                      </a:lnTo>
                      <a:lnTo>
                        <a:pt x="185" y="711"/>
                      </a:lnTo>
                      <a:lnTo>
                        <a:pt x="185" y="714"/>
                      </a:lnTo>
                      <a:lnTo>
                        <a:pt x="184" y="716"/>
                      </a:lnTo>
                      <a:lnTo>
                        <a:pt x="182" y="719"/>
                      </a:lnTo>
                      <a:lnTo>
                        <a:pt x="182" y="721"/>
                      </a:lnTo>
                      <a:lnTo>
                        <a:pt x="182" y="723"/>
                      </a:lnTo>
                      <a:lnTo>
                        <a:pt x="182" y="724"/>
                      </a:lnTo>
                      <a:lnTo>
                        <a:pt x="180" y="724"/>
                      </a:lnTo>
                      <a:lnTo>
                        <a:pt x="179" y="724"/>
                      </a:lnTo>
                      <a:lnTo>
                        <a:pt x="177" y="724"/>
                      </a:lnTo>
                      <a:lnTo>
                        <a:pt x="177" y="726"/>
                      </a:lnTo>
                      <a:lnTo>
                        <a:pt x="177" y="728"/>
                      </a:lnTo>
                      <a:lnTo>
                        <a:pt x="175" y="728"/>
                      </a:lnTo>
                      <a:lnTo>
                        <a:pt x="175" y="729"/>
                      </a:lnTo>
                      <a:lnTo>
                        <a:pt x="174" y="729"/>
                      </a:lnTo>
                      <a:lnTo>
                        <a:pt x="172" y="729"/>
                      </a:lnTo>
                      <a:lnTo>
                        <a:pt x="172" y="728"/>
                      </a:lnTo>
                      <a:lnTo>
                        <a:pt x="170" y="728"/>
                      </a:lnTo>
                      <a:lnTo>
                        <a:pt x="168" y="728"/>
                      </a:lnTo>
                      <a:lnTo>
                        <a:pt x="168" y="726"/>
                      </a:lnTo>
                      <a:lnTo>
                        <a:pt x="167" y="728"/>
                      </a:lnTo>
                      <a:lnTo>
                        <a:pt x="165" y="728"/>
                      </a:lnTo>
                      <a:lnTo>
                        <a:pt x="163" y="728"/>
                      </a:lnTo>
                      <a:lnTo>
                        <a:pt x="162" y="728"/>
                      </a:lnTo>
                      <a:lnTo>
                        <a:pt x="162" y="726"/>
                      </a:lnTo>
                      <a:lnTo>
                        <a:pt x="160" y="724"/>
                      </a:lnTo>
                      <a:lnTo>
                        <a:pt x="160" y="723"/>
                      </a:lnTo>
                      <a:lnTo>
                        <a:pt x="158" y="723"/>
                      </a:lnTo>
                      <a:lnTo>
                        <a:pt x="158" y="721"/>
                      </a:lnTo>
                      <a:lnTo>
                        <a:pt x="157" y="721"/>
                      </a:lnTo>
                      <a:lnTo>
                        <a:pt x="155" y="721"/>
                      </a:lnTo>
                      <a:lnTo>
                        <a:pt x="153" y="723"/>
                      </a:lnTo>
                      <a:lnTo>
                        <a:pt x="152" y="724"/>
                      </a:lnTo>
                      <a:lnTo>
                        <a:pt x="152" y="726"/>
                      </a:lnTo>
                      <a:lnTo>
                        <a:pt x="150" y="726"/>
                      </a:lnTo>
                      <a:lnTo>
                        <a:pt x="148" y="726"/>
                      </a:lnTo>
                      <a:lnTo>
                        <a:pt x="146" y="726"/>
                      </a:lnTo>
                      <a:lnTo>
                        <a:pt x="145" y="726"/>
                      </a:lnTo>
                      <a:lnTo>
                        <a:pt x="145" y="728"/>
                      </a:lnTo>
                      <a:lnTo>
                        <a:pt x="143" y="729"/>
                      </a:lnTo>
                      <a:lnTo>
                        <a:pt x="141" y="729"/>
                      </a:lnTo>
                      <a:lnTo>
                        <a:pt x="140" y="731"/>
                      </a:lnTo>
                      <a:lnTo>
                        <a:pt x="138" y="729"/>
                      </a:lnTo>
                      <a:lnTo>
                        <a:pt x="136" y="728"/>
                      </a:lnTo>
                      <a:lnTo>
                        <a:pt x="135" y="728"/>
                      </a:lnTo>
                      <a:lnTo>
                        <a:pt x="133" y="728"/>
                      </a:lnTo>
                      <a:lnTo>
                        <a:pt x="133" y="729"/>
                      </a:lnTo>
                      <a:lnTo>
                        <a:pt x="131" y="729"/>
                      </a:lnTo>
                      <a:lnTo>
                        <a:pt x="131" y="731"/>
                      </a:lnTo>
                      <a:lnTo>
                        <a:pt x="130" y="731"/>
                      </a:lnTo>
                      <a:lnTo>
                        <a:pt x="130" y="732"/>
                      </a:lnTo>
                      <a:lnTo>
                        <a:pt x="128" y="732"/>
                      </a:lnTo>
                      <a:lnTo>
                        <a:pt x="126" y="732"/>
                      </a:lnTo>
                      <a:lnTo>
                        <a:pt x="125" y="732"/>
                      </a:lnTo>
                      <a:lnTo>
                        <a:pt x="125" y="734"/>
                      </a:lnTo>
                      <a:lnTo>
                        <a:pt x="125" y="736"/>
                      </a:lnTo>
                      <a:lnTo>
                        <a:pt x="126" y="737"/>
                      </a:lnTo>
                      <a:lnTo>
                        <a:pt x="125" y="739"/>
                      </a:lnTo>
                      <a:lnTo>
                        <a:pt x="125" y="741"/>
                      </a:lnTo>
                      <a:lnTo>
                        <a:pt x="123" y="741"/>
                      </a:lnTo>
                      <a:lnTo>
                        <a:pt x="121" y="741"/>
                      </a:lnTo>
                      <a:lnTo>
                        <a:pt x="119" y="741"/>
                      </a:lnTo>
                      <a:lnTo>
                        <a:pt x="118" y="741"/>
                      </a:lnTo>
                      <a:lnTo>
                        <a:pt x="118" y="742"/>
                      </a:lnTo>
                      <a:lnTo>
                        <a:pt x="116" y="742"/>
                      </a:lnTo>
                      <a:lnTo>
                        <a:pt x="116" y="744"/>
                      </a:lnTo>
                      <a:lnTo>
                        <a:pt x="114" y="744"/>
                      </a:lnTo>
                      <a:lnTo>
                        <a:pt x="113" y="744"/>
                      </a:lnTo>
                      <a:lnTo>
                        <a:pt x="113" y="746"/>
                      </a:lnTo>
                      <a:lnTo>
                        <a:pt x="111" y="747"/>
                      </a:lnTo>
                      <a:lnTo>
                        <a:pt x="111" y="749"/>
                      </a:lnTo>
                      <a:lnTo>
                        <a:pt x="111" y="751"/>
                      </a:lnTo>
                      <a:lnTo>
                        <a:pt x="109" y="751"/>
                      </a:lnTo>
                      <a:lnTo>
                        <a:pt x="109" y="752"/>
                      </a:lnTo>
                      <a:lnTo>
                        <a:pt x="108" y="752"/>
                      </a:lnTo>
                      <a:lnTo>
                        <a:pt x="108" y="754"/>
                      </a:lnTo>
                      <a:lnTo>
                        <a:pt x="108" y="752"/>
                      </a:lnTo>
                      <a:lnTo>
                        <a:pt x="106" y="752"/>
                      </a:lnTo>
                      <a:lnTo>
                        <a:pt x="104" y="752"/>
                      </a:lnTo>
                      <a:lnTo>
                        <a:pt x="104" y="754"/>
                      </a:lnTo>
                      <a:lnTo>
                        <a:pt x="103" y="754"/>
                      </a:lnTo>
                      <a:lnTo>
                        <a:pt x="101" y="755"/>
                      </a:lnTo>
                      <a:lnTo>
                        <a:pt x="99" y="755"/>
                      </a:lnTo>
                      <a:lnTo>
                        <a:pt x="98" y="754"/>
                      </a:lnTo>
                      <a:lnTo>
                        <a:pt x="96" y="752"/>
                      </a:lnTo>
                      <a:lnTo>
                        <a:pt x="94" y="752"/>
                      </a:lnTo>
                      <a:lnTo>
                        <a:pt x="92" y="752"/>
                      </a:lnTo>
                      <a:lnTo>
                        <a:pt x="91" y="751"/>
                      </a:lnTo>
                      <a:lnTo>
                        <a:pt x="89" y="749"/>
                      </a:lnTo>
                      <a:lnTo>
                        <a:pt x="87" y="749"/>
                      </a:lnTo>
                      <a:lnTo>
                        <a:pt x="87" y="747"/>
                      </a:lnTo>
                      <a:lnTo>
                        <a:pt x="86" y="747"/>
                      </a:lnTo>
                      <a:lnTo>
                        <a:pt x="84" y="749"/>
                      </a:lnTo>
                      <a:lnTo>
                        <a:pt x="82" y="747"/>
                      </a:lnTo>
                      <a:lnTo>
                        <a:pt x="81" y="747"/>
                      </a:lnTo>
                      <a:lnTo>
                        <a:pt x="77" y="747"/>
                      </a:lnTo>
                      <a:lnTo>
                        <a:pt x="76" y="747"/>
                      </a:lnTo>
                      <a:lnTo>
                        <a:pt x="74" y="747"/>
                      </a:lnTo>
                      <a:lnTo>
                        <a:pt x="72" y="747"/>
                      </a:lnTo>
                      <a:lnTo>
                        <a:pt x="72" y="746"/>
                      </a:lnTo>
                      <a:lnTo>
                        <a:pt x="70" y="746"/>
                      </a:lnTo>
                      <a:lnTo>
                        <a:pt x="69" y="746"/>
                      </a:lnTo>
                      <a:lnTo>
                        <a:pt x="69" y="744"/>
                      </a:lnTo>
                      <a:lnTo>
                        <a:pt x="69" y="742"/>
                      </a:lnTo>
                      <a:lnTo>
                        <a:pt x="67" y="742"/>
                      </a:lnTo>
                      <a:lnTo>
                        <a:pt x="65" y="741"/>
                      </a:lnTo>
                      <a:lnTo>
                        <a:pt x="64" y="741"/>
                      </a:lnTo>
                      <a:lnTo>
                        <a:pt x="62" y="741"/>
                      </a:lnTo>
                      <a:lnTo>
                        <a:pt x="62" y="739"/>
                      </a:lnTo>
                      <a:lnTo>
                        <a:pt x="60" y="739"/>
                      </a:lnTo>
                      <a:lnTo>
                        <a:pt x="59" y="737"/>
                      </a:lnTo>
                      <a:lnTo>
                        <a:pt x="59" y="736"/>
                      </a:lnTo>
                      <a:lnTo>
                        <a:pt x="59" y="734"/>
                      </a:lnTo>
                      <a:lnTo>
                        <a:pt x="59" y="732"/>
                      </a:lnTo>
                      <a:lnTo>
                        <a:pt x="57" y="731"/>
                      </a:lnTo>
                      <a:lnTo>
                        <a:pt x="57" y="729"/>
                      </a:lnTo>
                      <a:lnTo>
                        <a:pt x="55" y="729"/>
                      </a:lnTo>
                      <a:lnTo>
                        <a:pt x="54" y="729"/>
                      </a:lnTo>
                      <a:lnTo>
                        <a:pt x="52" y="729"/>
                      </a:lnTo>
                      <a:lnTo>
                        <a:pt x="52" y="728"/>
                      </a:lnTo>
                      <a:lnTo>
                        <a:pt x="52" y="726"/>
                      </a:lnTo>
                      <a:lnTo>
                        <a:pt x="52" y="723"/>
                      </a:lnTo>
                      <a:lnTo>
                        <a:pt x="50" y="723"/>
                      </a:lnTo>
                      <a:lnTo>
                        <a:pt x="50" y="721"/>
                      </a:lnTo>
                      <a:lnTo>
                        <a:pt x="52" y="719"/>
                      </a:lnTo>
                      <a:lnTo>
                        <a:pt x="52" y="718"/>
                      </a:lnTo>
                      <a:lnTo>
                        <a:pt x="50" y="718"/>
                      </a:lnTo>
                      <a:lnTo>
                        <a:pt x="50" y="716"/>
                      </a:lnTo>
                      <a:lnTo>
                        <a:pt x="52" y="714"/>
                      </a:lnTo>
                      <a:lnTo>
                        <a:pt x="54" y="714"/>
                      </a:lnTo>
                      <a:lnTo>
                        <a:pt x="55" y="714"/>
                      </a:lnTo>
                      <a:lnTo>
                        <a:pt x="55" y="713"/>
                      </a:lnTo>
                      <a:lnTo>
                        <a:pt x="55" y="711"/>
                      </a:lnTo>
                      <a:lnTo>
                        <a:pt x="54" y="710"/>
                      </a:lnTo>
                      <a:lnTo>
                        <a:pt x="54" y="708"/>
                      </a:lnTo>
                      <a:lnTo>
                        <a:pt x="52" y="708"/>
                      </a:lnTo>
                      <a:lnTo>
                        <a:pt x="52" y="706"/>
                      </a:lnTo>
                      <a:lnTo>
                        <a:pt x="54" y="705"/>
                      </a:lnTo>
                      <a:lnTo>
                        <a:pt x="52" y="703"/>
                      </a:lnTo>
                      <a:lnTo>
                        <a:pt x="50" y="701"/>
                      </a:lnTo>
                      <a:lnTo>
                        <a:pt x="49" y="700"/>
                      </a:lnTo>
                      <a:lnTo>
                        <a:pt x="47" y="698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2" name="Freeform 22"/>
                <p:cNvSpPr>
                  <a:spLocks noChangeAspect="1" noEditPoints="1"/>
                </p:cNvSpPr>
                <p:nvPr/>
              </p:nvSpPr>
              <p:spPr bwMode="auto">
                <a:xfrm>
                  <a:off x="5322618" y="2589468"/>
                  <a:ext cx="1375062" cy="1515372"/>
                </a:xfrm>
                <a:custGeom>
                  <a:avLst/>
                  <a:gdLst>
                    <a:gd name="T0" fmla="*/ 2147483647 w 881"/>
                    <a:gd name="T1" fmla="*/ 2147483647 h 905"/>
                    <a:gd name="T2" fmla="*/ 2147483647 w 881"/>
                    <a:gd name="T3" fmla="*/ 2147483647 h 905"/>
                    <a:gd name="T4" fmla="*/ 2147483647 w 881"/>
                    <a:gd name="T5" fmla="*/ 2147483647 h 905"/>
                    <a:gd name="T6" fmla="*/ 2147483647 w 881"/>
                    <a:gd name="T7" fmla="*/ 2147483647 h 905"/>
                    <a:gd name="T8" fmla="*/ 2147483647 w 881"/>
                    <a:gd name="T9" fmla="*/ 2147483647 h 905"/>
                    <a:gd name="T10" fmla="*/ 2147483647 w 881"/>
                    <a:gd name="T11" fmla="*/ 2147483647 h 905"/>
                    <a:gd name="T12" fmla="*/ 2147483647 w 881"/>
                    <a:gd name="T13" fmla="*/ 2147483647 h 905"/>
                    <a:gd name="T14" fmla="*/ 2147483647 w 881"/>
                    <a:gd name="T15" fmla="*/ 2147483647 h 905"/>
                    <a:gd name="T16" fmla="*/ 2147483647 w 881"/>
                    <a:gd name="T17" fmla="*/ 2147483647 h 905"/>
                    <a:gd name="T18" fmla="*/ 2147483647 w 881"/>
                    <a:gd name="T19" fmla="*/ 2147483647 h 905"/>
                    <a:gd name="T20" fmla="*/ 2147483647 w 881"/>
                    <a:gd name="T21" fmla="*/ 2147483647 h 905"/>
                    <a:gd name="T22" fmla="*/ 2147483647 w 881"/>
                    <a:gd name="T23" fmla="*/ 2147483647 h 905"/>
                    <a:gd name="T24" fmla="*/ 2147483647 w 881"/>
                    <a:gd name="T25" fmla="*/ 2147483647 h 905"/>
                    <a:gd name="T26" fmla="*/ 2147483647 w 881"/>
                    <a:gd name="T27" fmla="*/ 2147483647 h 905"/>
                    <a:gd name="T28" fmla="*/ 2147483647 w 881"/>
                    <a:gd name="T29" fmla="*/ 2147483647 h 905"/>
                    <a:gd name="T30" fmla="*/ 2147483647 w 881"/>
                    <a:gd name="T31" fmla="*/ 2147483647 h 905"/>
                    <a:gd name="T32" fmla="*/ 2147483647 w 881"/>
                    <a:gd name="T33" fmla="*/ 2147483647 h 905"/>
                    <a:gd name="T34" fmla="*/ 2147483647 w 881"/>
                    <a:gd name="T35" fmla="*/ 2147483647 h 905"/>
                    <a:gd name="T36" fmla="*/ 2147483647 w 881"/>
                    <a:gd name="T37" fmla="*/ 2147483647 h 905"/>
                    <a:gd name="T38" fmla="*/ 2147483647 w 881"/>
                    <a:gd name="T39" fmla="*/ 2147483647 h 905"/>
                    <a:gd name="T40" fmla="*/ 2147483647 w 881"/>
                    <a:gd name="T41" fmla="*/ 2147483647 h 905"/>
                    <a:gd name="T42" fmla="*/ 2147483647 w 881"/>
                    <a:gd name="T43" fmla="*/ 2147483647 h 905"/>
                    <a:gd name="T44" fmla="*/ 2147483647 w 881"/>
                    <a:gd name="T45" fmla="*/ 2147483647 h 905"/>
                    <a:gd name="T46" fmla="*/ 2147483647 w 881"/>
                    <a:gd name="T47" fmla="*/ 2147483647 h 905"/>
                    <a:gd name="T48" fmla="*/ 2147483647 w 881"/>
                    <a:gd name="T49" fmla="*/ 2147483647 h 905"/>
                    <a:gd name="T50" fmla="*/ 2147483647 w 881"/>
                    <a:gd name="T51" fmla="*/ 2147483647 h 905"/>
                    <a:gd name="T52" fmla="*/ 2147483647 w 881"/>
                    <a:gd name="T53" fmla="*/ 2147483647 h 905"/>
                    <a:gd name="T54" fmla="*/ 2147483647 w 881"/>
                    <a:gd name="T55" fmla="*/ 2147483647 h 905"/>
                    <a:gd name="T56" fmla="*/ 2147483647 w 881"/>
                    <a:gd name="T57" fmla="*/ 2147483647 h 905"/>
                    <a:gd name="T58" fmla="*/ 2147483647 w 881"/>
                    <a:gd name="T59" fmla="*/ 2147483647 h 905"/>
                    <a:gd name="T60" fmla="*/ 2147483647 w 881"/>
                    <a:gd name="T61" fmla="*/ 2147483647 h 905"/>
                    <a:gd name="T62" fmla="*/ 2147483647 w 881"/>
                    <a:gd name="T63" fmla="*/ 2147483647 h 905"/>
                    <a:gd name="T64" fmla="*/ 2147483647 w 881"/>
                    <a:gd name="T65" fmla="*/ 2147483647 h 905"/>
                    <a:gd name="T66" fmla="*/ 2147483647 w 881"/>
                    <a:gd name="T67" fmla="*/ 2147483647 h 905"/>
                    <a:gd name="T68" fmla="*/ 2147483647 w 881"/>
                    <a:gd name="T69" fmla="*/ 2147483647 h 905"/>
                    <a:gd name="T70" fmla="*/ 2147483647 w 881"/>
                    <a:gd name="T71" fmla="*/ 2147483647 h 905"/>
                    <a:gd name="T72" fmla="*/ 2147483647 w 881"/>
                    <a:gd name="T73" fmla="*/ 2147483647 h 905"/>
                    <a:gd name="T74" fmla="*/ 2147483647 w 881"/>
                    <a:gd name="T75" fmla="*/ 2147483647 h 905"/>
                    <a:gd name="T76" fmla="*/ 2147483647 w 881"/>
                    <a:gd name="T77" fmla="*/ 2147483647 h 905"/>
                    <a:gd name="T78" fmla="*/ 2147483647 w 881"/>
                    <a:gd name="T79" fmla="*/ 2147483647 h 905"/>
                    <a:gd name="T80" fmla="*/ 2147483647 w 881"/>
                    <a:gd name="T81" fmla="*/ 2147483647 h 905"/>
                    <a:gd name="T82" fmla="*/ 2147483647 w 881"/>
                    <a:gd name="T83" fmla="*/ 2147483647 h 905"/>
                    <a:gd name="T84" fmla="*/ 2147483647 w 881"/>
                    <a:gd name="T85" fmla="*/ 2147483647 h 905"/>
                    <a:gd name="T86" fmla="*/ 2147483647 w 881"/>
                    <a:gd name="T87" fmla="*/ 2147483647 h 905"/>
                    <a:gd name="T88" fmla="*/ 2147483647 w 881"/>
                    <a:gd name="T89" fmla="*/ 2147483647 h 905"/>
                    <a:gd name="T90" fmla="*/ 2147483647 w 881"/>
                    <a:gd name="T91" fmla="*/ 2147483647 h 905"/>
                    <a:gd name="T92" fmla="*/ 2147483647 w 881"/>
                    <a:gd name="T93" fmla="*/ 2147483647 h 905"/>
                    <a:gd name="T94" fmla="*/ 2147483647 w 881"/>
                    <a:gd name="T95" fmla="*/ 2147483647 h 905"/>
                    <a:gd name="T96" fmla="*/ 2147483647 w 881"/>
                    <a:gd name="T97" fmla="*/ 2147483647 h 905"/>
                    <a:gd name="T98" fmla="*/ 2147483647 w 881"/>
                    <a:gd name="T99" fmla="*/ 2147483647 h 905"/>
                    <a:gd name="T100" fmla="*/ 2147483647 w 881"/>
                    <a:gd name="T101" fmla="*/ 2147483647 h 905"/>
                    <a:gd name="T102" fmla="*/ 2147483647 w 881"/>
                    <a:gd name="T103" fmla="*/ 2147483647 h 905"/>
                    <a:gd name="T104" fmla="*/ 2147483647 w 881"/>
                    <a:gd name="T105" fmla="*/ 2147483647 h 905"/>
                    <a:gd name="T106" fmla="*/ 2147483647 w 881"/>
                    <a:gd name="T107" fmla="*/ 2147483647 h 905"/>
                    <a:gd name="T108" fmla="*/ 2147483647 w 881"/>
                    <a:gd name="T109" fmla="*/ 2147483647 h 905"/>
                    <a:gd name="T110" fmla="*/ 2147483647 w 881"/>
                    <a:gd name="T111" fmla="*/ 2147483647 h 905"/>
                    <a:gd name="T112" fmla="*/ 2147483647 w 881"/>
                    <a:gd name="T113" fmla="*/ 2147483647 h 905"/>
                    <a:gd name="T114" fmla="*/ 2147483647 w 881"/>
                    <a:gd name="T115" fmla="*/ 2147483647 h 905"/>
                    <a:gd name="T116" fmla="*/ 2147483647 w 881"/>
                    <a:gd name="T117" fmla="*/ 2147483647 h 905"/>
                    <a:gd name="T118" fmla="*/ 2147483647 w 881"/>
                    <a:gd name="T119" fmla="*/ 2147483647 h 905"/>
                    <a:gd name="T120" fmla="*/ 2147483647 w 881"/>
                    <a:gd name="T121" fmla="*/ 2147483647 h 905"/>
                    <a:gd name="T122" fmla="*/ 2147483647 w 881"/>
                    <a:gd name="T123" fmla="*/ 2147483647 h 905"/>
                    <a:gd name="T124" fmla="*/ 2147483647 w 881"/>
                    <a:gd name="T125" fmla="*/ 2147483647 h 90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81"/>
                    <a:gd name="T190" fmla="*/ 0 h 905"/>
                    <a:gd name="T191" fmla="*/ 881 w 881"/>
                    <a:gd name="T192" fmla="*/ 905 h 90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81" h="905">
                      <a:moveTo>
                        <a:pt x="706" y="822"/>
                      </a:moveTo>
                      <a:lnTo>
                        <a:pt x="706" y="823"/>
                      </a:lnTo>
                      <a:lnTo>
                        <a:pt x="706" y="826"/>
                      </a:lnTo>
                      <a:lnTo>
                        <a:pt x="706" y="828"/>
                      </a:lnTo>
                      <a:lnTo>
                        <a:pt x="706" y="830"/>
                      </a:lnTo>
                      <a:lnTo>
                        <a:pt x="706" y="831"/>
                      </a:lnTo>
                      <a:lnTo>
                        <a:pt x="706" y="833"/>
                      </a:lnTo>
                      <a:lnTo>
                        <a:pt x="704" y="835"/>
                      </a:lnTo>
                      <a:lnTo>
                        <a:pt x="706" y="836"/>
                      </a:lnTo>
                      <a:lnTo>
                        <a:pt x="706" y="838"/>
                      </a:lnTo>
                      <a:lnTo>
                        <a:pt x="707" y="840"/>
                      </a:lnTo>
                      <a:lnTo>
                        <a:pt x="707" y="841"/>
                      </a:lnTo>
                      <a:lnTo>
                        <a:pt x="709" y="843"/>
                      </a:lnTo>
                      <a:lnTo>
                        <a:pt x="711" y="843"/>
                      </a:lnTo>
                      <a:lnTo>
                        <a:pt x="711" y="845"/>
                      </a:lnTo>
                      <a:lnTo>
                        <a:pt x="709" y="845"/>
                      </a:lnTo>
                      <a:lnTo>
                        <a:pt x="709" y="846"/>
                      </a:lnTo>
                      <a:lnTo>
                        <a:pt x="707" y="846"/>
                      </a:lnTo>
                      <a:lnTo>
                        <a:pt x="707" y="848"/>
                      </a:lnTo>
                      <a:lnTo>
                        <a:pt x="706" y="848"/>
                      </a:lnTo>
                      <a:lnTo>
                        <a:pt x="706" y="849"/>
                      </a:lnTo>
                      <a:lnTo>
                        <a:pt x="704" y="851"/>
                      </a:lnTo>
                      <a:lnTo>
                        <a:pt x="704" y="853"/>
                      </a:lnTo>
                      <a:lnTo>
                        <a:pt x="701" y="854"/>
                      </a:lnTo>
                      <a:lnTo>
                        <a:pt x="699" y="858"/>
                      </a:lnTo>
                      <a:lnTo>
                        <a:pt x="697" y="858"/>
                      </a:lnTo>
                      <a:lnTo>
                        <a:pt x="697" y="859"/>
                      </a:lnTo>
                      <a:lnTo>
                        <a:pt x="699" y="859"/>
                      </a:lnTo>
                      <a:lnTo>
                        <a:pt x="697" y="861"/>
                      </a:lnTo>
                      <a:lnTo>
                        <a:pt x="696" y="861"/>
                      </a:lnTo>
                      <a:lnTo>
                        <a:pt x="694" y="863"/>
                      </a:lnTo>
                      <a:lnTo>
                        <a:pt x="692" y="863"/>
                      </a:lnTo>
                      <a:lnTo>
                        <a:pt x="691" y="863"/>
                      </a:lnTo>
                      <a:lnTo>
                        <a:pt x="689" y="863"/>
                      </a:lnTo>
                      <a:lnTo>
                        <a:pt x="689" y="864"/>
                      </a:lnTo>
                      <a:lnTo>
                        <a:pt x="687" y="864"/>
                      </a:lnTo>
                      <a:lnTo>
                        <a:pt x="685" y="864"/>
                      </a:lnTo>
                      <a:lnTo>
                        <a:pt x="684" y="866"/>
                      </a:lnTo>
                      <a:lnTo>
                        <a:pt x="682" y="868"/>
                      </a:lnTo>
                      <a:lnTo>
                        <a:pt x="680" y="869"/>
                      </a:lnTo>
                      <a:lnTo>
                        <a:pt x="679" y="871"/>
                      </a:lnTo>
                      <a:lnTo>
                        <a:pt x="677" y="872"/>
                      </a:lnTo>
                      <a:lnTo>
                        <a:pt x="675" y="874"/>
                      </a:lnTo>
                      <a:lnTo>
                        <a:pt x="674" y="876"/>
                      </a:lnTo>
                      <a:lnTo>
                        <a:pt x="672" y="879"/>
                      </a:lnTo>
                      <a:lnTo>
                        <a:pt x="672" y="881"/>
                      </a:lnTo>
                      <a:lnTo>
                        <a:pt x="670" y="881"/>
                      </a:lnTo>
                      <a:lnTo>
                        <a:pt x="669" y="881"/>
                      </a:lnTo>
                      <a:lnTo>
                        <a:pt x="670" y="881"/>
                      </a:lnTo>
                      <a:lnTo>
                        <a:pt x="670" y="882"/>
                      </a:lnTo>
                      <a:lnTo>
                        <a:pt x="670" y="884"/>
                      </a:lnTo>
                      <a:lnTo>
                        <a:pt x="669" y="886"/>
                      </a:lnTo>
                      <a:lnTo>
                        <a:pt x="665" y="891"/>
                      </a:lnTo>
                      <a:lnTo>
                        <a:pt x="663" y="892"/>
                      </a:lnTo>
                      <a:lnTo>
                        <a:pt x="663" y="894"/>
                      </a:lnTo>
                      <a:lnTo>
                        <a:pt x="663" y="895"/>
                      </a:lnTo>
                      <a:lnTo>
                        <a:pt x="662" y="895"/>
                      </a:lnTo>
                      <a:lnTo>
                        <a:pt x="662" y="897"/>
                      </a:lnTo>
                      <a:lnTo>
                        <a:pt x="662" y="899"/>
                      </a:lnTo>
                      <a:lnTo>
                        <a:pt x="662" y="900"/>
                      </a:lnTo>
                      <a:lnTo>
                        <a:pt x="662" y="902"/>
                      </a:lnTo>
                      <a:lnTo>
                        <a:pt x="660" y="902"/>
                      </a:lnTo>
                      <a:lnTo>
                        <a:pt x="660" y="904"/>
                      </a:lnTo>
                      <a:lnTo>
                        <a:pt x="660" y="905"/>
                      </a:lnTo>
                      <a:lnTo>
                        <a:pt x="660" y="904"/>
                      </a:lnTo>
                      <a:lnTo>
                        <a:pt x="660" y="902"/>
                      </a:lnTo>
                      <a:lnTo>
                        <a:pt x="658" y="902"/>
                      </a:lnTo>
                      <a:lnTo>
                        <a:pt x="645" y="894"/>
                      </a:lnTo>
                      <a:lnTo>
                        <a:pt x="608" y="871"/>
                      </a:lnTo>
                      <a:lnTo>
                        <a:pt x="608" y="869"/>
                      </a:lnTo>
                      <a:lnTo>
                        <a:pt x="606" y="869"/>
                      </a:lnTo>
                      <a:lnTo>
                        <a:pt x="604" y="868"/>
                      </a:lnTo>
                      <a:lnTo>
                        <a:pt x="603" y="866"/>
                      </a:lnTo>
                      <a:lnTo>
                        <a:pt x="608" y="863"/>
                      </a:lnTo>
                      <a:lnTo>
                        <a:pt x="611" y="859"/>
                      </a:lnTo>
                      <a:lnTo>
                        <a:pt x="611" y="858"/>
                      </a:lnTo>
                      <a:lnTo>
                        <a:pt x="609" y="858"/>
                      </a:lnTo>
                      <a:lnTo>
                        <a:pt x="609" y="856"/>
                      </a:lnTo>
                      <a:lnTo>
                        <a:pt x="609" y="858"/>
                      </a:lnTo>
                      <a:lnTo>
                        <a:pt x="609" y="856"/>
                      </a:lnTo>
                      <a:lnTo>
                        <a:pt x="609" y="854"/>
                      </a:lnTo>
                      <a:lnTo>
                        <a:pt x="608" y="854"/>
                      </a:lnTo>
                      <a:lnTo>
                        <a:pt x="608" y="853"/>
                      </a:lnTo>
                      <a:lnTo>
                        <a:pt x="608" y="851"/>
                      </a:lnTo>
                      <a:lnTo>
                        <a:pt x="608" y="849"/>
                      </a:lnTo>
                      <a:lnTo>
                        <a:pt x="608" y="848"/>
                      </a:lnTo>
                      <a:lnTo>
                        <a:pt x="606" y="848"/>
                      </a:lnTo>
                      <a:lnTo>
                        <a:pt x="604" y="848"/>
                      </a:lnTo>
                      <a:lnTo>
                        <a:pt x="604" y="846"/>
                      </a:lnTo>
                      <a:lnTo>
                        <a:pt x="603" y="848"/>
                      </a:lnTo>
                      <a:lnTo>
                        <a:pt x="601" y="846"/>
                      </a:lnTo>
                      <a:lnTo>
                        <a:pt x="601" y="845"/>
                      </a:lnTo>
                      <a:lnTo>
                        <a:pt x="599" y="845"/>
                      </a:lnTo>
                      <a:lnTo>
                        <a:pt x="599" y="843"/>
                      </a:lnTo>
                      <a:lnTo>
                        <a:pt x="599" y="841"/>
                      </a:lnTo>
                      <a:lnTo>
                        <a:pt x="598" y="841"/>
                      </a:lnTo>
                      <a:lnTo>
                        <a:pt x="598" y="840"/>
                      </a:lnTo>
                      <a:lnTo>
                        <a:pt x="596" y="838"/>
                      </a:lnTo>
                      <a:lnTo>
                        <a:pt x="596" y="836"/>
                      </a:lnTo>
                      <a:lnTo>
                        <a:pt x="596" y="838"/>
                      </a:lnTo>
                      <a:lnTo>
                        <a:pt x="594" y="840"/>
                      </a:lnTo>
                      <a:lnTo>
                        <a:pt x="594" y="838"/>
                      </a:lnTo>
                      <a:lnTo>
                        <a:pt x="593" y="836"/>
                      </a:lnTo>
                      <a:lnTo>
                        <a:pt x="591" y="838"/>
                      </a:lnTo>
                      <a:lnTo>
                        <a:pt x="591" y="836"/>
                      </a:lnTo>
                      <a:lnTo>
                        <a:pt x="589" y="836"/>
                      </a:lnTo>
                      <a:lnTo>
                        <a:pt x="589" y="835"/>
                      </a:lnTo>
                      <a:lnTo>
                        <a:pt x="589" y="833"/>
                      </a:lnTo>
                      <a:lnTo>
                        <a:pt x="587" y="833"/>
                      </a:lnTo>
                      <a:lnTo>
                        <a:pt x="586" y="833"/>
                      </a:lnTo>
                      <a:lnTo>
                        <a:pt x="584" y="833"/>
                      </a:lnTo>
                      <a:lnTo>
                        <a:pt x="584" y="831"/>
                      </a:lnTo>
                      <a:lnTo>
                        <a:pt x="584" y="830"/>
                      </a:lnTo>
                      <a:lnTo>
                        <a:pt x="582" y="830"/>
                      </a:lnTo>
                      <a:lnTo>
                        <a:pt x="582" y="828"/>
                      </a:lnTo>
                      <a:lnTo>
                        <a:pt x="582" y="826"/>
                      </a:lnTo>
                      <a:lnTo>
                        <a:pt x="582" y="825"/>
                      </a:lnTo>
                      <a:lnTo>
                        <a:pt x="581" y="825"/>
                      </a:lnTo>
                      <a:lnTo>
                        <a:pt x="581" y="823"/>
                      </a:lnTo>
                      <a:lnTo>
                        <a:pt x="579" y="823"/>
                      </a:lnTo>
                      <a:lnTo>
                        <a:pt x="579" y="822"/>
                      </a:lnTo>
                      <a:lnTo>
                        <a:pt x="577" y="822"/>
                      </a:lnTo>
                      <a:lnTo>
                        <a:pt x="576" y="822"/>
                      </a:lnTo>
                      <a:lnTo>
                        <a:pt x="576" y="820"/>
                      </a:lnTo>
                      <a:lnTo>
                        <a:pt x="574" y="818"/>
                      </a:lnTo>
                      <a:lnTo>
                        <a:pt x="572" y="818"/>
                      </a:lnTo>
                      <a:lnTo>
                        <a:pt x="572" y="820"/>
                      </a:lnTo>
                      <a:lnTo>
                        <a:pt x="571" y="818"/>
                      </a:lnTo>
                      <a:lnTo>
                        <a:pt x="569" y="818"/>
                      </a:lnTo>
                      <a:lnTo>
                        <a:pt x="571" y="817"/>
                      </a:lnTo>
                      <a:lnTo>
                        <a:pt x="572" y="817"/>
                      </a:lnTo>
                      <a:lnTo>
                        <a:pt x="571" y="815"/>
                      </a:lnTo>
                      <a:lnTo>
                        <a:pt x="572" y="815"/>
                      </a:lnTo>
                      <a:lnTo>
                        <a:pt x="572" y="813"/>
                      </a:lnTo>
                      <a:lnTo>
                        <a:pt x="571" y="813"/>
                      </a:lnTo>
                      <a:lnTo>
                        <a:pt x="572" y="812"/>
                      </a:lnTo>
                      <a:lnTo>
                        <a:pt x="571" y="812"/>
                      </a:lnTo>
                      <a:lnTo>
                        <a:pt x="571" y="810"/>
                      </a:lnTo>
                      <a:lnTo>
                        <a:pt x="572" y="810"/>
                      </a:lnTo>
                      <a:lnTo>
                        <a:pt x="574" y="808"/>
                      </a:lnTo>
                      <a:lnTo>
                        <a:pt x="576" y="807"/>
                      </a:lnTo>
                      <a:lnTo>
                        <a:pt x="576" y="805"/>
                      </a:lnTo>
                      <a:lnTo>
                        <a:pt x="576" y="803"/>
                      </a:lnTo>
                      <a:lnTo>
                        <a:pt x="574" y="803"/>
                      </a:lnTo>
                      <a:lnTo>
                        <a:pt x="576" y="802"/>
                      </a:lnTo>
                      <a:lnTo>
                        <a:pt x="576" y="800"/>
                      </a:lnTo>
                      <a:lnTo>
                        <a:pt x="576" y="799"/>
                      </a:lnTo>
                      <a:lnTo>
                        <a:pt x="576" y="797"/>
                      </a:lnTo>
                      <a:lnTo>
                        <a:pt x="574" y="797"/>
                      </a:lnTo>
                      <a:lnTo>
                        <a:pt x="574" y="795"/>
                      </a:lnTo>
                      <a:lnTo>
                        <a:pt x="574" y="794"/>
                      </a:lnTo>
                      <a:lnTo>
                        <a:pt x="574" y="792"/>
                      </a:lnTo>
                      <a:lnTo>
                        <a:pt x="576" y="792"/>
                      </a:lnTo>
                      <a:lnTo>
                        <a:pt x="576" y="790"/>
                      </a:lnTo>
                      <a:lnTo>
                        <a:pt x="576" y="789"/>
                      </a:lnTo>
                      <a:lnTo>
                        <a:pt x="574" y="789"/>
                      </a:lnTo>
                      <a:lnTo>
                        <a:pt x="574" y="787"/>
                      </a:lnTo>
                      <a:lnTo>
                        <a:pt x="574" y="785"/>
                      </a:lnTo>
                      <a:lnTo>
                        <a:pt x="576" y="785"/>
                      </a:lnTo>
                      <a:lnTo>
                        <a:pt x="576" y="784"/>
                      </a:lnTo>
                      <a:lnTo>
                        <a:pt x="576" y="782"/>
                      </a:lnTo>
                      <a:lnTo>
                        <a:pt x="576" y="781"/>
                      </a:lnTo>
                      <a:lnTo>
                        <a:pt x="576" y="779"/>
                      </a:lnTo>
                      <a:lnTo>
                        <a:pt x="577" y="779"/>
                      </a:lnTo>
                      <a:lnTo>
                        <a:pt x="579" y="779"/>
                      </a:lnTo>
                      <a:lnTo>
                        <a:pt x="579" y="777"/>
                      </a:lnTo>
                      <a:lnTo>
                        <a:pt x="579" y="776"/>
                      </a:lnTo>
                      <a:lnTo>
                        <a:pt x="581" y="776"/>
                      </a:lnTo>
                      <a:lnTo>
                        <a:pt x="581" y="774"/>
                      </a:lnTo>
                      <a:lnTo>
                        <a:pt x="581" y="772"/>
                      </a:lnTo>
                      <a:lnTo>
                        <a:pt x="582" y="772"/>
                      </a:lnTo>
                      <a:lnTo>
                        <a:pt x="582" y="771"/>
                      </a:lnTo>
                      <a:lnTo>
                        <a:pt x="582" y="769"/>
                      </a:lnTo>
                      <a:lnTo>
                        <a:pt x="584" y="769"/>
                      </a:lnTo>
                      <a:lnTo>
                        <a:pt x="586" y="769"/>
                      </a:lnTo>
                      <a:lnTo>
                        <a:pt x="586" y="771"/>
                      </a:lnTo>
                      <a:lnTo>
                        <a:pt x="587" y="771"/>
                      </a:lnTo>
                      <a:lnTo>
                        <a:pt x="589" y="771"/>
                      </a:lnTo>
                      <a:lnTo>
                        <a:pt x="591" y="771"/>
                      </a:lnTo>
                      <a:lnTo>
                        <a:pt x="593" y="771"/>
                      </a:lnTo>
                      <a:lnTo>
                        <a:pt x="593" y="769"/>
                      </a:lnTo>
                      <a:lnTo>
                        <a:pt x="594" y="769"/>
                      </a:lnTo>
                      <a:lnTo>
                        <a:pt x="594" y="771"/>
                      </a:lnTo>
                      <a:lnTo>
                        <a:pt x="596" y="771"/>
                      </a:lnTo>
                      <a:lnTo>
                        <a:pt x="598" y="772"/>
                      </a:lnTo>
                      <a:lnTo>
                        <a:pt x="599" y="772"/>
                      </a:lnTo>
                      <a:lnTo>
                        <a:pt x="599" y="771"/>
                      </a:lnTo>
                      <a:lnTo>
                        <a:pt x="601" y="772"/>
                      </a:lnTo>
                      <a:lnTo>
                        <a:pt x="601" y="771"/>
                      </a:lnTo>
                      <a:lnTo>
                        <a:pt x="603" y="771"/>
                      </a:lnTo>
                      <a:lnTo>
                        <a:pt x="603" y="769"/>
                      </a:lnTo>
                      <a:lnTo>
                        <a:pt x="603" y="767"/>
                      </a:lnTo>
                      <a:lnTo>
                        <a:pt x="604" y="767"/>
                      </a:lnTo>
                      <a:lnTo>
                        <a:pt x="604" y="766"/>
                      </a:lnTo>
                      <a:lnTo>
                        <a:pt x="604" y="764"/>
                      </a:lnTo>
                      <a:lnTo>
                        <a:pt x="604" y="762"/>
                      </a:lnTo>
                      <a:lnTo>
                        <a:pt x="603" y="762"/>
                      </a:lnTo>
                      <a:lnTo>
                        <a:pt x="603" y="761"/>
                      </a:lnTo>
                      <a:lnTo>
                        <a:pt x="603" y="762"/>
                      </a:lnTo>
                      <a:lnTo>
                        <a:pt x="601" y="762"/>
                      </a:lnTo>
                      <a:lnTo>
                        <a:pt x="598" y="762"/>
                      </a:lnTo>
                      <a:lnTo>
                        <a:pt x="598" y="761"/>
                      </a:lnTo>
                      <a:lnTo>
                        <a:pt x="596" y="761"/>
                      </a:lnTo>
                      <a:lnTo>
                        <a:pt x="596" y="759"/>
                      </a:lnTo>
                      <a:lnTo>
                        <a:pt x="598" y="759"/>
                      </a:lnTo>
                      <a:lnTo>
                        <a:pt x="598" y="758"/>
                      </a:lnTo>
                      <a:lnTo>
                        <a:pt x="599" y="756"/>
                      </a:lnTo>
                      <a:lnTo>
                        <a:pt x="599" y="754"/>
                      </a:lnTo>
                      <a:lnTo>
                        <a:pt x="599" y="753"/>
                      </a:lnTo>
                      <a:lnTo>
                        <a:pt x="599" y="751"/>
                      </a:lnTo>
                      <a:lnTo>
                        <a:pt x="599" y="749"/>
                      </a:lnTo>
                      <a:lnTo>
                        <a:pt x="601" y="748"/>
                      </a:lnTo>
                      <a:lnTo>
                        <a:pt x="601" y="746"/>
                      </a:lnTo>
                      <a:lnTo>
                        <a:pt x="601" y="744"/>
                      </a:lnTo>
                      <a:lnTo>
                        <a:pt x="601" y="743"/>
                      </a:lnTo>
                      <a:lnTo>
                        <a:pt x="603" y="741"/>
                      </a:lnTo>
                      <a:lnTo>
                        <a:pt x="604" y="741"/>
                      </a:lnTo>
                      <a:lnTo>
                        <a:pt x="606" y="741"/>
                      </a:lnTo>
                      <a:lnTo>
                        <a:pt x="606" y="739"/>
                      </a:lnTo>
                      <a:lnTo>
                        <a:pt x="608" y="741"/>
                      </a:lnTo>
                      <a:lnTo>
                        <a:pt x="609" y="741"/>
                      </a:lnTo>
                      <a:lnTo>
                        <a:pt x="611" y="741"/>
                      </a:lnTo>
                      <a:lnTo>
                        <a:pt x="611" y="743"/>
                      </a:lnTo>
                      <a:lnTo>
                        <a:pt x="613" y="743"/>
                      </a:lnTo>
                      <a:lnTo>
                        <a:pt x="613" y="741"/>
                      </a:lnTo>
                      <a:lnTo>
                        <a:pt x="615" y="741"/>
                      </a:lnTo>
                      <a:lnTo>
                        <a:pt x="615" y="739"/>
                      </a:lnTo>
                      <a:lnTo>
                        <a:pt x="613" y="739"/>
                      </a:lnTo>
                      <a:lnTo>
                        <a:pt x="613" y="738"/>
                      </a:lnTo>
                      <a:lnTo>
                        <a:pt x="611" y="738"/>
                      </a:lnTo>
                      <a:lnTo>
                        <a:pt x="613" y="738"/>
                      </a:lnTo>
                      <a:lnTo>
                        <a:pt x="613" y="736"/>
                      </a:lnTo>
                      <a:lnTo>
                        <a:pt x="615" y="735"/>
                      </a:lnTo>
                      <a:lnTo>
                        <a:pt x="616" y="733"/>
                      </a:lnTo>
                      <a:lnTo>
                        <a:pt x="616" y="731"/>
                      </a:lnTo>
                      <a:lnTo>
                        <a:pt x="618" y="731"/>
                      </a:lnTo>
                      <a:lnTo>
                        <a:pt x="618" y="730"/>
                      </a:lnTo>
                      <a:lnTo>
                        <a:pt x="618" y="728"/>
                      </a:lnTo>
                      <a:lnTo>
                        <a:pt x="620" y="728"/>
                      </a:lnTo>
                      <a:lnTo>
                        <a:pt x="620" y="726"/>
                      </a:lnTo>
                      <a:lnTo>
                        <a:pt x="620" y="728"/>
                      </a:lnTo>
                      <a:lnTo>
                        <a:pt x="620" y="730"/>
                      </a:lnTo>
                      <a:lnTo>
                        <a:pt x="621" y="731"/>
                      </a:lnTo>
                      <a:lnTo>
                        <a:pt x="623" y="731"/>
                      </a:lnTo>
                      <a:lnTo>
                        <a:pt x="623" y="730"/>
                      </a:lnTo>
                      <a:lnTo>
                        <a:pt x="623" y="728"/>
                      </a:lnTo>
                      <a:lnTo>
                        <a:pt x="625" y="726"/>
                      </a:lnTo>
                      <a:lnTo>
                        <a:pt x="625" y="725"/>
                      </a:lnTo>
                      <a:lnTo>
                        <a:pt x="626" y="721"/>
                      </a:lnTo>
                      <a:lnTo>
                        <a:pt x="626" y="720"/>
                      </a:lnTo>
                      <a:lnTo>
                        <a:pt x="628" y="720"/>
                      </a:lnTo>
                      <a:lnTo>
                        <a:pt x="630" y="718"/>
                      </a:lnTo>
                      <a:lnTo>
                        <a:pt x="628" y="718"/>
                      </a:lnTo>
                      <a:lnTo>
                        <a:pt x="630" y="718"/>
                      </a:lnTo>
                      <a:lnTo>
                        <a:pt x="630" y="716"/>
                      </a:lnTo>
                      <a:lnTo>
                        <a:pt x="630" y="718"/>
                      </a:lnTo>
                      <a:lnTo>
                        <a:pt x="631" y="718"/>
                      </a:lnTo>
                      <a:lnTo>
                        <a:pt x="633" y="718"/>
                      </a:lnTo>
                      <a:lnTo>
                        <a:pt x="633" y="716"/>
                      </a:lnTo>
                      <a:lnTo>
                        <a:pt x="633" y="715"/>
                      </a:lnTo>
                      <a:lnTo>
                        <a:pt x="635" y="715"/>
                      </a:lnTo>
                      <a:lnTo>
                        <a:pt x="636" y="715"/>
                      </a:lnTo>
                      <a:lnTo>
                        <a:pt x="636" y="713"/>
                      </a:lnTo>
                      <a:lnTo>
                        <a:pt x="635" y="712"/>
                      </a:lnTo>
                      <a:lnTo>
                        <a:pt x="635" y="710"/>
                      </a:lnTo>
                      <a:lnTo>
                        <a:pt x="636" y="708"/>
                      </a:lnTo>
                      <a:lnTo>
                        <a:pt x="638" y="708"/>
                      </a:lnTo>
                      <a:lnTo>
                        <a:pt x="638" y="707"/>
                      </a:lnTo>
                      <a:lnTo>
                        <a:pt x="640" y="707"/>
                      </a:lnTo>
                      <a:lnTo>
                        <a:pt x="640" y="705"/>
                      </a:lnTo>
                      <a:lnTo>
                        <a:pt x="640" y="703"/>
                      </a:lnTo>
                      <a:lnTo>
                        <a:pt x="640" y="702"/>
                      </a:lnTo>
                      <a:lnTo>
                        <a:pt x="638" y="702"/>
                      </a:lnTo>
                      <a:lnTo>
                        <a:pt x="640" y="702"/>
                      </a:lnTo>
                      <a:lnTo>
                        <a:pt x="642" y="700"/>
                      </a:lnTo>
                      <a:lnTo>
                        <a:pt x="642" y="698"/>
                      </a:lnTo>
                      <a:lnTo>
                        <a:pt x="642" y="697"/>
                      </a:lnTo>
                      <a:lnTo>
                        <a:pt x="640" y="697"/>
                      </a:lnTo>
                      <a:lnTo>
                        <a:pt x="640" y="695"/>
                      </a:lnTo>
                      <a:lnTo>
                        <a:pt x="638" y="693"/>
                      </a:lnTo>
                      <a:lnTo>
                        <a:pt x="636" y="692"/>
                      </a:lnTo>
                      <a:lnTo>
                        <a:pt x="636" y="690"/>
                      </a:lnTo>
                      <a:lnTo>
                        <a:pt x="635" y="690"/>
                      </a:lnTo>
                      <a:lnTo>
                        <a:pt x="636" y="689"/>
                      </a:lnTo>
                      <a:lnTo>
                        <a:pt x="635" y="689"/>
                      </a:lnTo>
                      <a:lnTo>
                        <a:pt x="633" y="687"/>
                      </a:lnTo>
                      <a:lnTo>
                        <a:pt x="631" y="689"/>
                      </a:lnTo>
                      <a:lnTo>
                        <a:pt x="630" y="689"/>
                      </a:lnTo>
                      <a:lnTo>
                        <a:pt x="628" y="689"/>
                      </a:lnTo>
                      <a:lnTo>
                        <a:pt x="628" y="687"/>
                      </a:lnTo>
                      <a:lnTo>
                        <a:pt x="626" y="687"/>
                      </a:lnTo>
                      <a:lnTo>
                        <a:pt x="625" y="687"/>
                      </a:lnTo>
                      <a:lnTo>
                        <a:pt x="626" y="685"/>
                      </a:lnTo>
                      <a:lnTo>
                        <a:pt x="625" y="685"/>
                      </a:lnTo>
                      <a:lnTo>
                        <a:pt x="623" y="685"/>
                      </a:lnTo>
                      <a:lnTo>
                        <a:pt x="623" y="684"/>
                      </a:lnTo>
                      <a:lnTo>
                        <a:pt x="621" y="684"/>
                      </a:lnTo>
                      <a:lnTo>
                        <a:pt x="623" y="682"/>
                      </a:lnTo>
                      <a:lnTo>
                        <a:pt x="621" y="682"/>
                      </a:lnTo>
                      <a:lnTo>
                        <a:pt x="621" y="684"/>
                      </a:lnTo>
                      <a:lnTo>
                        <a:pt x="621" y="682"/>
                      </a:lnTo>
                      <a:lnTo>
                        <a:pt x="623" y="682"/>
                      </a:lnTo>
                      <a:lnTo>
                        <a:pt x="621" y="682"/>
                      </a:lnTo>
                      <a:lnTo>
                        <a:pt x="621" y="680"/>
                      </a:lnTo>
                      <a:lnTo>
                        <a:pt x="623" y="680"/>
                      </a:lnTo>
                      <a:lnTo>
                        <a:pt x="621" y="680"/>
                      </a:lnTo>
                      <a:lnTo>
                        <a:pt x="621" y="682"/>
                      </a:lnTo>
                      <a:lnTo>
                        <a:pt x="621" y="680"/>
                      </a:lnTo>
                      <a:lnTo>
                        <a:pt x="620" y="680"/>
                      </a:lnTo>
                      <a:lnTo>
                        <a:pt x="621" y="680"/>
                      </a:lnTo>
                      <a:lnTo>
                        <a:pt x="621" y="679"/>
                      </a:lnTo>
                      <a:lnTo>
                        <a:pt x="620" y="679"/>
                      </a:lnTo>
                      <a:lnTo>
                        <a:pt x="620" y="680"/>
                      </a:lnTo>
                      <a:lnTo>
                        <a:pt x="618" y="680"/>
                      </a:lnTo>
                      <a:lnTo>
                        <a:pt x="618" y="679"/>
                      </a:lnTo>
                      <a:lnTo>
                        <a:pt x="616" y="679"/>
                      </a:lnTo>
                      <a:lnTo>
                        <a:pt x="616" y="680"/>
                      </a:lnTo>
                      <a:lnTo>
                        <a:pt x="615" y="679"/>
                      </a:lnTo>
                      <a:lnTo>
                        <a:pt x="615" y="680"/>
                      </a:lnTo>
                      <a:lnTo>
                        <a:pt x="615" y="679"/>
                      </a:lnTo>
                      <a:lnTo>
                        <a:pt x="613" y="679"/>
                      </a:lnTo>
                      <a:lnTo>
                        <a:pt x="613" y="680"/>
                      </a:lnTo>
                      <a:lnTo>
                        <a:pt x="613" y="679"/>
                      </a:lnTo>
                      <a:lnTo>
                        <a:pt x="613" y="680"/>
                      </a:lnTo>
                      <a:lnTo>
                        <a:pt x="611" y="679"/>
                      </a:lnTo>
                      <a:lnTo>
                        <a:pt x="613" y="679"/>
                      </a:lnTo>
                      <a:lnTo>
                        <a:pt x="613" y="677"/>
                      </a:lnTo>
                      <a:lnTo>
                        <a:pt x="613" y="675"/>
                      </a:lnTo>
                      <a:lnTo>
                        <a:pt x="613" y="677"/>
                      </a:lnTo>
                      <a:lnTo>
                        <a:pt x="611" y="677"/>
                      </a:lnTo>
                      <a:lnTo>
                        <a:pt x="611" y="675"/>
                      </a:lnTo>
                      <a:lnTo>
                        <a:pt x="609" y="675"/>
                      </a:lnTo>
                      <a:lnTo>
                        <a:pt x="609" y="674"/>
                      </a:lnTo>
                      <a:lnTo>
                        <a:pt x="608" y="674"/>
                      </a:lnTo>
                      <a:lnTo>
                        <a:pt x="608" y="672"/>
                      </a:lnTo>
                      <a:lnTo>
                        <a:pt x="606" y="672"/>
                      </a:lnTo>
                      <a:lnTo>
                        <a:pt x="606" y="670"/>
                      </a:lnTo>
                      <a:lnTo>
                        <a:pt x="604" y="670"/>
                      </a:lnTo>
                      <a:lnTo>
                        <a:pt x="603" y="670"/>
                      </a:lnTo>
                      <a:lnTo>
                        <a:pt x="603" y="672"/>
                      </a:lnTo>
                      <a:lnTo>
                        <a:pt x="603" y="670"/>
                      </a:lnTo>
                      <a:lnTo>
                        <a:pt x="601" y="670"/>
                      </a:lnTo>
                      <a:lnTo>
                        <a:pt x="601" y="672"/>
                      </a:lnTo>
                      <a:lnTo>
                        <a:pt x="599" y="672"/>
                      </a:lnTo>
                      <a:lnTo>
                        <a:pt x="599" y="670"/>
                      </a:lnTo>
                      <a:lnTo>
                        <a:pt x="599" y="672"/>
                      </a:lnTo>
                      <a:lnTo>
                        <a:pt x="598" y="672"/>
                      </a:lnTo>
                      <a:lnTo>
                        <a:pt x="596" y="672"/>
                      </a:lnTo>
                      <a:lnTo>
                        <a:pt x="594" y="672"/>
                      </a:lnTo>
                      <a:lnTo>
                        <a:pt x="594" y="670"/>
                      </a:lnTo>
                      <a:lnTo>
                        <a:pt x="594" y="672"/>
                      </a:lnTo>
                      <a:lnTo>
                        <a:pt x="594" y="670"/>
                      </a:lnTo>
                      <a:lnTo>
                        <a:pt x="593" y="670"/>
                      </a:lnTo>
                      <a:lnTo>
                        <a:pt x="593" y="672"/>
                      </a:lnTo>
                      <a:lnTo>
                        <a:pt x="593" y="670"/>
                      </a:lnTo>
                      <a:lnTo>
                        <a:pt x="593" y="672"/>
                      </a:lnTo>
                      <a:lnTo>
                        <a:pt x="591" y="672"/>
                      </a:lnTo>
                      <a:lnTo>
                        <a:pt x="591" y="670"/>
                      </a:lnTo>
                      <a:lnTo>
                        <a:pt x="591" y="672"/>
                      </a:lnTo>
                      <a:lnTo>
                        <a:pt x="589" y="670"/>
                      </a:lnTo>
                      <a:lnTo>
                        <a:pt x="587" y="670"/>
                      </a:lnTo>
                      <a:lnTo>
                        <a:pt x="587" y="669"/>
                      </a:lnTo>
                      <a:lnTo>
                        <a:pt x="587" y="667"/>
                      </a:lnTo>
                      <a:lnTo>
                        <a:pt x="586" y="667"/>
                      </a:lnTo>
                      <a:lnTo>
                        <a:pt x="586" y="666"/>
                      </a:lnTo>
                      <a:lnTo>
                        <a:pt x="584" y="666"/>
                      </a:lnTo>
                      <a:lnTo>
                        <a:pt x="584" y="667"/>
                      </a:lnTo>
                      <a:lnTo>
                        <a:pt x="582" y="667"/>
                      </a:lnTo>
                      <a:lnTo>
                        <a:pt x="581" y="667"/>
                      </a:lnTo>
                      <a:lnTo>
                        <a:pt x="579" y="667"/>
                      </a:lnTo>
                      <a:lnTo>
                        <a:pt x="579" y="669"/>
                      </a:lnTo>
                      <a:lnTo>
                        <a:pt x="577" y="669"/>
                      </a:lnTo>
                      <a:lnTo>
                        <a:pt x="576" y="670"/>
                      </a:lnTo>
                      <a:lnTo>
                        <a:pt x="574" y="669"/>
                      </a:lnTo>
                      <a:lnTo>
                        <a:pt x="574" y="667"/>
                      </a:lnTo>
                      <a:lnTo>
                        <a:pt x="572" y="667"/>
                      </a:lnTo>
                      <a:lnTo>
                        <a:pt x="572" y="666"/>
                      </a:lnTo>
                      <a:lnTo>
                        <a:pt x="571" y="666"/>
                      </a:lnTo>
                      <a:lnTo>
                        <a:pt x="572" y="666"/>
                      </a:lnTo>
                      <a:lnTo>
                        <a:pt x="572" y="664"/>
                      </a:lnTo>
                      <a:lnTo>
                        <a:pt x="571" y="664"/>
                      </a:lnTo>
                      <a:lnTo>
                        <a:pt x="569" y="662"/>
                      </a:lnTo>
                      <a:lnTo>
                        <a:pt x="567" y="664"/>
                      </a:lnTo>
                      <a:lnTo>
                        <a:pt x="567" y="662"/>
                      </a:lnTo>
                      <a:lnTo>
                        <a:pt x="566" y="662"/>
                      </a:lnTo>
                      <a:lnTo>
                        <a:pt x="566" y="661"/>
                      </a:lnTo>
                      <a:lnTo>
                        <a:pt x="564" y="661"/>
                      </a:lnTo>
                      <a:lnTo>
                        <a:pt x="564" y="659"/>
                      </a:lnTo>
                      <a:lnTo>
                        <a:pt x="562" y="659"/>
                      </a:lnTo>
                      <a:lnTo>
                        <a:pt x="562" y="657"/>
                      </a:lnTo>
                      <a:lnTo>
                        <a:pt x="560" y="657"/>
                      </a:lnTo>
                      <a:lnTo>
                        <a:pt x="560" y="659"/>
                      </a:lnTo>
                      <a:lnTo>
                        <a:pt x="559" y="659"/>
                      </a:lnTo>
                      <a:lnTo>
                        <a:pt x="557" y="659"/>
                      </a:lnTo>
                      <a:lnTo>
                        <a:pt x="559" y="659"/>
                      </a:lnTo>
                      <a:lnTo>
                        <a:pt x="559" y="661"/>
                      </a:lnTo>
                      <a:lnTo>
                        <a:pt x="557" y="661"/>
                      </a:lnTo>
                      <a:lnTo>
                        <a:pt x="557" y="662"/>
                      </a:lnTo>
                      <a:lnTo>
                        <a:pt x="555" y="662"/>
                      </a:lnTo>
                      <a:lnTo>
                        <a:pt x="555" y="661"/>
                      </a:lnTo>
                      <a:lnTo>
                        <a:pt x="554" y="661"/>
                      </a:lnTo>
                      <a:lnTo>
                        <a:pt x="554" y="659"/>
                      </a:lnTo>
                      <a:lnTo>
                        <a:pt x="554" y="657"/>
                      </a:lnTo>
                      <a:lnTo>
                        <a:pt x="552" y="657"/>
                      </a:lnTo>
                      <a:lnTo>
                        <a:pt x="552" y="656"/>
                      </a:lnTo>
                      <a:lnTo>
                        <a:pt x="550" y="656"/>
                      </a:lnTo>
                      <a:lnTo>
                        <a:pt x="550" y="657"/>
                      </a:lnTo>
                      <a:lnTo>
                        <a:pt x="549" y="657"/>
                      </a:lnTo>
                      <a:lnTo>
                        <a:pt x="549" y="659"/>
                      </a:lnTo>
                      <a:lnTo>
                        <a:pt x="547" y="659"/>
                      </a:lnTo>
                      <a:lnTo>
                        <a:pt x="545" y="661"/>
                      </a:lnTo>
                      <a:lnTo>
                        <a:pt x="544" y="659"/>
                      </a:lnTo>
                      <a:lnTo>
                        <a:pt x="544" y="661"/>
                      </a:lnTo>
                      <a:lnTo>
                        <a:pt x="544" y="659"/>
                      </a:lnTo>
                      <a:lnTo>
                        <a:pt x="542" y="659"/>
                      </a:lnTo>
                      <a:lnTo>
                        <a:pt x="542" y="657"/>
                      </a:lnTo>
                      <a:lnTo>
                        <a:pt x="540" y="657"/>
                      </a:lnTo>
                      <a:lnTo>
                        <a:pt x="539" y="657"/>
                      </a:lnTo>
                      <a:lnTo>
                        <a:pt x="537" y="656"/>
                      </a:lnTo>
                      <a:lnTo>
                        <a:pt x="537" y="657"/>
                      </a:lnTo>
                      <a:lnTo>
                        <a:pt x="535" y="657"/>
                      </a:lnTo>
                      <a:lnTo>
                        <a:pt x="535" y="659"/>
                      </a:lnTo>
                      <a:lnTo>
                        <a:pt x="535" y="661"/>
                      </a:lnTo>
                      <a:lnTo>
                        <a:pt x="533" y="661"/>
                      </a:lnTo>
                      <a:lnTo>
                        <a:pt x="533" y="662"/>
                      </a:lnTo>
                      <a:lnTo>
                        <a:pt x="532" y="662"/>
                      </a:lnTo>
                      <a:lnTo>
                        <a:pt x="530" y="662"/>
                      </a:lnTo>
                      <a:lnTo>
                        <a:pt x="528" y="662"/>
                      </a:lnTo>
                      <a:lnTo>
                        <a:pt x="527" y="662"/>
                      </a:lnTo>
                      <a:lnTo>
                        <a:pt x="525" y="664"/>
                      </a:lnTo>
                      <a:lnTo>
                        <a:pt x="523" y="664"/>
                      </a:lnTo>
                      <a:lnTo>
                        <a:pt x="522" y="664"/>
                      </a:lnTo>
                      <a:lnTo>
                        <a:pt x="522" y="666"/>
                      </a:lnTo>
                      <a:lnTo>
                        <a:pt x="520" y="667"/>
                      </a:lnTo>
                      <a:lnTo>
                        <a:pt x="518" y="666"/>
                      </a:lnTo>
                      <a:lnTo>
                        <a:pt x="515" y="666"/>
                      </a:lnTo>
                      <a:lnTo>
                        <a:pt x="513" y="664"/>
                      </a:lnTo>
                      <a:lnTo>
                        <a:pt x="511" y="664"/>
                      </a:lnTo>
                      <a:lnTo>
                        <a:pt x="510" y="664"/>
                      </a:lnTo>
                      <a:lnTo>
                        <a:pt x="510" y="666"/>
                      </a:lnTo>
                      <a:lnTo>
                        <a:pt x="508" y="666"/>
                      </a:lnTo>
                      <a:lnTo>
                        <a:pt x="508" y="664"/>
                      </a:lnTo>
                      <a:lnTo>
                        <a:pt x="506" y="664"/>
                      </a:lnTo>
                      <a:lnTo>
                        <a:pt x="505" y="664"/>
                      </a:lnTo>
                      <a:lnTo>
                        <a:pt x="503" y="664"/>
                      </a:lnTo>
                      <a:lnTo>
                        <a:pt x="500" y="643"/>
                      </a:lnTo>
                      <a:lnTo>
                        <a:pt x="500" y="641"/>
                      </a:lnTo>
                      <a:lnTo>
                        <a:pt x="498" y="641"/>
                      </a:lnTo>
                      <a:lnTo>
                        <a:pt x="491" y="636"/>
                      </a:lnTo>
                      <a:lnTo>
                        <a:pt x="490" y="633"/>
                      </a:lnTo>
                      <a:lnTo>
                        <a:pt x="486" y="631"/>
                      </a:lnTo>
                      <a:lnTo>
                        <a:pt x="457" y="605"/>
                      </a:lnTo>
                      <a:lnTo>
                        <a:pt x="456" y="606"/>
                      </a:lnTo>
                      <a:lnTo>
                        <a:pt x="454" y="606"/>
                      </a:lnTo>
                      <a:lnTo>
                        <a:pt x="452" y="606"/>
                      </a:lnTo>
                      <a:lnTo>
                        <a:pt x="451" y="606"/>
                      </a:lnTo>
                      <a:lnTo>
                        <a:pt x="451" y="608"/>
                      </a:lnTo>
                      <a:lnTo>
                        <a:pt x="451" y="610"/>
                      </a:lnTo>
                      <a:lnTo>
                        <a:pt x="449" y="610"/>
                      </a:lnTo>
                      <a:lnTo>
                        <a:pt x="447" y="610"/>
                      </a:lnTo>
                      <a:lnTo>
                        <a:pt x="447" y="611"/>
                      </a:lnTo>
                      <a:lnTo>
                        <a:pt x="446" y="611"/>
                      </a:lnTo>
                      <a:lnTo>
                        <a:pt x="444" y="611"/>
                      </a:lnTo>
                      <a:lnTo>
                        <a:pt x="444" y="613"/>
                      </a:lnTo>
                      <a:lnTo>
                        <a:pt x="442" y="611"/>
                      </a:lnTo>
                      <a:lnTo>
                        <a:pt x="441" y="611"/>
                      </a:lnTo>
                      <a:lnTo>
                        <a:pt x="439" y="611"/>
                      </a:lnTo>
                      <a:lnTo>
                        <a:pt x="437" y="611"/>
                      </a:lnTo>
                      <a:lnTo>
                        <a:pt x="435" y="611"/>
                      </a:lnTo>
                      <a:lnTo>
                        <a:pt x="432" y="611"/>
                      </a:lnTo>
                      <a:lnTo>
                        <a:pt x="432" y="613"/>
                      </a:lnTo>
                      <a:lnTo>
                        <a:pt x="430" y="613"/>
                      </a:lnTo>
                      <a:lnTo>
                        <a:pt x="429" y="611"/>
                      </a:lnTo>
                      <a:lnTo>
                        <a:pt x="429" y="610"/>
                      </a:lnTo>
                      <a:lnTo>
                        <a:pt x="427" y="610"/>
                      </a:lnTo>
                      <a:lnTo>
                        <a:pt x="427" y="608"/>
                      </a:lnTo>
                      <a:lnTo>
                        <a:pt x="425" y="608"/>
                      </a:lnTo>
                      <a:lnTo>
                        <a:pt x="425" y="606"/>
                      </a:lnTo>
                      <a:lnTo>
                        <a:pt x="424" y="606"/>
                      </a:lnTo>
                      <a:lnTo>
                        <a:pt x="424" y="605"/>
                      </a:lnTo>
                      <a:lnTo>
                        <a:pt x="422" y="605"/>
                      </a:lnTo>
                      <a:lnTo>
                        <a:pt x="420" y="605"/>
                      </a:lnTo>
                      <a:lnTo>
                        <a:pt x="419" y="606"/>
                      </a:lnTo>
                      <a:lnTo>
                        <a:pt x="417" y="605"/>
                      </a:lnTo>
                      <a:lnTo>
                        <a:pt x="417" y="606"/>
                      </a:lnTo>
                      <a:lnTo>
                        <a:pt x="415" y="606"/>
                      </a:lnTo>
                      <a:lnTo>
                        <a:pt x="414" y="608"/>
                      </a:lnTo>
                      <a:lnTo>
                        <a:pt x="414" y="606"/>
                      </a:lnTo>
                      <a:lnTo>
                        <a:pt x="412" y="606"/>
                      </a:lnTo>
                      <a:lnTo>
                        <a:pt x="410" y="605"/>
                      </a:lnTo>
                      <a:lnTo>
                        <a:pt x="408" y="605"/>
                      </a:lnTo>
                      <a:lnTo>
                        <a:pt x="407" y="603"/>
                      </a:lnTo>
                      <a:lnTo>
                        <a:pt x="405" y="605"/>
                      </a:lnTo>
                      <a:lnTo>
                        <a:pt x="403" y="603"/>
                      </a:lnTo>
                      <a:lnTo>
                        <a:pt x="402" y="603"/>
                      </a:lnTo>
                      <a:lnTo>
                        <a:pt x="400" y="603"/>
                      </a:lnTo>
                      <a:lnTo>
                        <a:pt x="398" y="601"/>
                      </a:lnTo>
                      <a:lnTo>
                        <a:pt x="397" y="601"/>
                      </a:lnTo>
                      <a:lnTo>
                        <a:pt x="397" y="600"/>
                      </a:lnTo>
                      <a:lnTo>
                        <a:pt x="397" y="598"/>
                      </a:lnTo>
                      <a:lnTo>
                        <a:pt x="395" y="598"/>
                      </a:lnTo>
                      <a:lnTo>
                        <a:pt x="393" y="598"/>
                      </a:lnTo>
                      <a:lnTo>
                        <a:pt x="393" y="597"/>
                      </a:lnTo>
                      <a:lnTo>
                        <a:pt x="392" y="597"/>
                      </a:lnTo>
                      <a:lnTo>
                        <a:pt x="392" y="595"/>
                      </a:lnTo>
                      <a:lnTo>
                        <a:pt x="390" y="595"/>
                      </a:lnTo>
                      <a:lnTo>
                        <a:pt x="388" y="593"/>
                      </a:lnTo>
                      <a:lnTo>
                        <a:pt x="387" y="593"/>
                      </a:lnTo>
                      <a:lnTo>
                        <a:pt x="387" y="592"/>
                      </a:lnTo>
                      <a:lnTo>
                        <a:pt x="385" y="593"/>
                      </a:lnTo>
                      <a:lnTo>
                        <a:pt x="385" y="592"/>
                      </a:lnTo>
                      <a:lnTo>
                        <a:pt x="385" y="590"/>
                      </a:lnTo>
                      <a:lnTo>
                        <a:pt x="383" y="590"/>
                      </a:lnTo>
                      <a:lnTo>
                        <a:pt x="381" y="588"/>
                      </a:lnTo>
                      <a:lnTo>
                        <a:pt x="381" y="590"/>
                      </a:lnTo>
                      <a:lnTo>
                        <a:pt x="380" y="590"/>
                      </a:lnTo>
                      <a:lnTo>
                        <a:pt x="380" y="592"/>
                      </a:lnTo>
                      <a:lnTo>
                        <a:pt x="380" y="590"/>
                      </a:lnTo>
                      <a:lnTo>
                        <a:pt x="378" y="590"/>
                      </a:lnTo>
                      <a:lnTo>
                        <a:pt x="376" y="588"/>
                      </a:lnTo>
                      <a:lnTo>
                        <a:pt x="375" y="588"/>
                      </a:lnTo>
                      <a:lnTo>
                        <a:pt x="375" y="587"/>
                      </a:lnTo>
                      <a:lnTo>
                        <a:pt x="373" y="587"/>
                      </a:lnTo>
                      <a:lnTo>
                        <a:pt x="373" y="585"/>
                      </a:lnTo>
                      <a:lnTo>
                        <a:pt x="371" y="585"/>
                      </a:lnTo>
                      <a:lnTo>
                        <a:pt x="370" y="585"/>
                      </a:lnTo>
                      <a:lnTo>
                        <a:pt x="368" y="583"/>
                      </a:lnTo>
                      <a:lnTo>
                        <a:pt x="368" y="582"/>
                      </a:lnTo>
                      <a:lnTo>
                        <a:pt x="366" y="582"/>
                      </a:lnTo>
                      <a:lnTo>
                        <a:pt x="365" y="582"/>
                      </a:lnTo>
                      <a:lnTo>
                        <a:pt x="363" y="580"/>
                      </a:lnTo>
                      <a:lnTo>
                        <a:pt x="361" y="580"/>
                      </a:lnTo>
                      <a:lnTo>
                        <a:pt x="361" y="579"/>
                      </a:lnTo>
                      <a:lnTo>
                        <a:pt x="359" y="579"/>
                      </a:lnTo>
                      <a:lnTo>
                        <a:pt x="359" y="577"/>
                      </a:lnTo>
                      <a:lnTo>
                        <a:pt x="358" y="577"/>
                      </a:lnTo>
                      <a:lnTo>
                        <a:pt x="358" y="575"/>
                      </a:lnTo>
                      <a:lnTo>
                        <a:pt x="356" y="575"/>
                      </a:lnTo>
                      <a:lnTo>
                        <a:pt x="356" y="574"/>
                      </a:lnTo>
                      <a:lnTo>
                        <a:pt x="356" y="575"/>
                      </a:lnTo>
                      <a:lnTo>
                        <a:pt x="354" y="575"/>
                      </a:lnTo>
                      <a:lnTo>
                        <a:pt x="354" y="574"/>
                      </a:lnTo>
                      <a:lnTo>
                        <a:pt x="353" y="574"/>
                      </a:lnTo>
                      <a:lnTo>
                        <a:pt x="353" y="572"/>
                      </a:lnTo>
                      <a:lnTo>
                        <a:pt x="353" y="574"/>
                      </a:lnTo>
                      <a:lnTo>
                        <a:pt x="351" y="574"/>
                      </a:lnTo>
                      <a:lnTo>
                        <a:pt x="351" y="572"/>
                      </a:lnTo>
                      <a:lnTo>
                        <a:pt x="351" y="570"/>
                      </a:lnTo>
                      <a:lnTo>
                        <a:pt x="349" y="570"/>
                      </a:lnTo>
                      <a:lnTo>
                        <a:pt x="349" y="569"/>
                      </a:lnTo>
                      <a:lnTo>
                        <a:pt x="348" y="569"/>
                      </a:lnTo>
                      <a:lnTo>
                        <a:pt x="346" y="569"/>
                      </a:lnTo>
                      <a:lnTo>
                        <a:pt x="344" y="569"/>
                      </a:lnTo>
                      <a:lnTo>
                        <a:pt x="343" y="569"/>
                      </a:lnTo>
                      <a:lnTo>
                        <a:pt x="341" y="569"/>
                      </a:lnTo>
                      <a:lnTo>
                        <a:pt x="341" y="567"/>
                      </a:lnTo>
                      <a:lnTo>
                        <a:pt x="339" y="567"/>
                      </a:lnTo>
                      <a:lnTo>
                        <a:pt x="338" y="567"/>
                      </a:lnTo>
                      <a:lnTo>
                        <a:pt x="336" y="567"/>
                      </a:lnTo>
                      <a:lnTo>
                        <a:pt x="336" y="569"/>
                      </a:lnTo>
                      <a:lnTo>
                        <a:pt x="336" y="567"/>
                      </a:lnTo>
                      <a:lnTo>
                        <a:pt x="334" y="567"/>
                      </a:lnTo>
                      <a:lnTo>
                        <a:pt x="334" y="565"/>
                      </a:lnTo>
                      <a:lnTo>
                        <a:pt x="334" y="567"/>
                      </a:lnTo>
                      <a:lnTo>
                        <a:pt x="332" y="567"/>
                      </a:lnTo>
                      <a:lnTo>
                        <a:pt x="332" y="565"/>
                      </a:lnTo>
                      <a:lnTo>
                        <a:pt x="331" y="565"/>
                      </a:lnTo>
                      <a:lnTo>
                        <a:pt x="329" y="565"/>
                      </a:lnTo>
                      <a:lnTo>
                        <a:pt x="329" y="564"/>
                      </a:lnTo>
                      <a:lnTo>
                        <a:pt x="327" y="564"/>
                      </a:lnTo>
                      <a:lnTo>
                        <a:pt x="327" y="565"/>
                      </a:lnTo>
                      <a:lnTo>
                        <a:pt x="326" y="565"/>
                      </a:lnTo>
                      <a:lnTo>
                        <a:pt x="326" y="564"/>
                      </a:lnTo>
                      <a:lnTo>
                        <a:pt x="324" y="564"/>
                      </a:lnTo>
                      <a:lnTo>
                        <a:pt x="324" y="565"/>
                      </a:lnTo>
                      <a:lnTo>
                        <a:pt x="324" y="564"/>
                      </a:lnTo>
                      <a:lnTo>
                        <a:pt x="322" y="565"/>
                      </a:lnTo>
                      <a:lnTo>
                        <a:pt x="322" y="564"/>
                      </a:lnTo>
                      <a:lnTo>
                        <a:pt x="321" y="564"/>
                      </a:lnTo>
                      <a:lnTo>
                        <a:pt x="321" y="565"/>
                      </a:lnTo>
                      <a:lnTo>
                        <a:pt x="321" y="564"/>
                      </a:lnTo>
                      <a:lnTo>
                        <a:pt x="321" y="565"/>
                      </a:lnTo>
                      <a:lnTo>
                        <a:pt x="319" y="565"/>
                      </a:lnTo>
                      <a:lnTo>
                        <a:pt x="317" y="565"/>
                      </a:lnTo>
                      <a:lnTo>
                        <a:pt x="317" y="567"/>
                      </a:lnTo>
                      <a:lnTo>
                        <a:pt x="316" y="567"/>
                      </a:lnTo>
                      <a:lnTo>
                        <a:pt x="316" y="565"/>
                      </a:lnTo>
                      <a:lnTo>
                        <a:pt x="314" y="565"/>
                      </a:lnTo>
                      <a:lnTo>
                        <a:pt x="314" y="567"/>
                      </a:lnTo>
                      <a:lnTo>
                        <a:pt x="312" y="567"/>
                      </a:lnTo>
                      <a:lnTo>
                        <a:pt x="311" y="567"/>
                      </a:lnTo>
                      <a:lnTo>
                        <a:pt x="311" y="569"/>
                      </a:lnTo>
                      <a:lnTo>
                        <a:pt x="309" y="569"/>
                      </a:lnTo>
                      <a:lnTo>
                        <a:pt x="307" y="569"/>
                      </a:lnTo>
                      <a:lnTo>
                        <a:pt x="305" y="569"/>
                      </a:lnTo>
                      <a:lnTo>
                        <a:pt x="305" y="570"/>
                      </a:lnTo>
                      <a:lnTo>
                        <a:pt x="304" y="570"/>
                      </a:lnTo>
                      <a:lnTo>
                        <a:pt x="302" y="570"/>
                      </a:lnTo>
                      <a:lnTo>
                        <a:pt x="302" y="572"/>
                      </a:lnTo>
                      <a:lnTo>
                        <a:pt x="300" y="572"/>
                      </a:lnTo>
                      <a:lnTo>
                        <a:pt x="300" y="574"/>
                      </a:lnTo>
                      <a:lnTo>
                        <a:pt x="300" y="575"/>
                      </a:lnTo>
                      <a:lnTo>
                        <a:pt x="299" y="574"/>
                      </a:lnTo>
                      <a:lnTo>
                        <a:pt x="299" y="575"/>
                      </a:lnTo>
                      <a:lnTo>
                        <a:pt x="300" y="575"/>
                      </a:lnTo>
                      <a:lnTo>
                        <a:pt x="300" y="577"/>
                      </a:lnTo>
                      <a:lnTo>
                        <a:pt x="299" y="577"/>
                      </a:lnTo>
                      <a:lnTo>
                        <a:pt x="297" y="577"/>
                      </a:lnTo>
                      <a:lnTo>
                        <a:pt x="295" y="577"/>
                      </a:lnTo>
                      <a:lnTo>
                        <a:pt x="295" y="579"/>
                      </a:lnTo>
                      <a:lnTo>
                        <a:pt x="294" y="579"/>
                      </a:lnTo>
                      <a:lnTo>
                        <a:pt x="294" y="577"/>
                      </a:lnTo>
                      <a:lnTo>
                        <a:pt x="292" y="575"/>
                      </a:lnTo>
                      <a:lnTo>
                        <a:pt x="290" y="575"/>
                      </a:lnTo>
                      <a:lnTo>
                        <a:pt x="289" y="574"/>
                      </a:lnTo>
                      <a:lnTo>
                        <a:pt x="287" y="574"/>
                      </a:lnTo>
                      <a:lnTo>
                        <a:pt x="285" y="574"/>
                      </a:lnTo>
                      <a:lnTo>
                        <a:pt x="283" y="574"/>
                      </a:lnTo>
                      <a:lnTo>
                        <a:pt x="283" y="572"/>
                      </a:lnTo>
                      <a:lnTo>
                        <a:pt x="282" y="572"/>
                      </a:lnTo>
                      <a:lnTo>
                        <a:pt x="280" y="572"/>
                      </a:lnTo>
                      <a:lnTo>
                        <a:pt x="280" y="570"/>
                      </a:lnTo>
                      <a:lnTo>
                        <a:pt x="280" y="572"/>
                      </a:lnTo>
                      <a:lnTo>
                        <a:pt x="278" y="572"/>
                      </a:lnTo>
                      <a:lnTo>
                        <a:pt x="278" y="570"/>
                      </a:lnTo>
                      <a:lnTo>
                        <a:pt x="277" y="570"/>
                      </a:lnTo>
                      <a:lnTo>
                        <a:pt x="277" y="572"/>
                      </a:lnTo>
                      <a:lnTo>
                        <a:pt x="275" y="572"/>
                      </a:lnTo>
                      <a:lnTo>
                        <a:pt x="275" y="570"/>
                      </a:lnTo>
                      <a:lnTo>
                        <a:pt x="277" y="570"/>
                      </a:lnTo>
                      <a:lnTo>
                        <a:pt x="275" y="569"/>
                      </a:lnTo>
                      <a:lnTo>
                        <a:pt x="273" y="569"/>
                      </a:lnTo>
                      <a:lnTo>
                        <a:pt x="272" y="569"/>
                      </a:lnTo>
                      <a:lnTo>
                        <a:pt x="272" y="567"/>
                      </a:lnTo>
                      <a:lnTo>
                        <a:pt x="270" y="567"/>
                      </a:lnTo>
                      <a:lnTo>
                        <a:pt x="268" y="567"/>
                      </a:lnTo>
                      <a:lnTo>
                        <a:pt x="267" y="567"/>
                      </a:lnTo>
                      <a:lnTo>
                        <a:pt x="265" y="567"/>
                      </a:lnTo>
                      <a:lnTo>
                        <a:pt x="265" y="565"/>
                      </a:lnTo>
                      <a:lnTo>
                        <a:pt x="263" y="565"/>
                      </a:lnTo>
                      <a:lnTo>
                        <a:pt x="262" y="565"/>
                      </a:lnTo>
                      <a:lnTo>
                        <a:pt x="262" y="564"/>
                      </a:lnTo>
                      <a:lnTo>
                        <a:pt x="260" y="564"/>
                      </a:lnTo>
                      <a:lnTo>
                        <a:pt x="262" y="564"/>
                      </a:lnTo>
                      <a:lnTo>
                        <a:pt x="262" y="562"/>
                      </a:lnTo>
                      <a:lnTo>
                        <a:pt x="260" y="562"/>
                      </a:lnTo>
                      <a:lnTo>
                        <a:pt x="262" y="562"/>
                      </a:lnTo>
                      <a:lnTo>
                        <a:pt x="260" y="562"/>
                      </a:lnTo>
                      <a:lnTo>
                        <a:pt x="262" y="560"/>
                      </a:lnTo>
                      <a:lnTo>
                        <a:pt x="262" y="562"/>
                      </a:lnTo>
                      <a:lnTo>
                        <a:pt x="262" y="560"/>
                      </a:lnTo>
                      <a:lnTo>
                        <a:pt x="262" y="559"/>
                      </a:lnTo>
                      <a:lnTo>
                        <a:pt x="260" y="559"/>
                      </a:lnTo>
                      <a:lnTo>
                        <a:pt x="260" y="557"/>
                      </a:lnTo>
                      <a:lnTo>
                        <a:pt x="262" y="556"/>
                      </a:lnTo>
                      <a:lnTo>
                        <a:pt x="260" y="556"/>
                      </a:lnTo>
                      <a:lnTo>
                        <a:pt x="262" y="554"/>
                      </a:lnTo>
                      <a:lnTo>
                        <a:pt x="262" y="552"/>
                      </a:lnTo>
                      <a:lnTo>
                        <a:pt x="262" y="551"/>
                      </a:lnTo>
                      <a:lnTo>
                        <a:pt x="263" y="549"/>
                      </a:lnTo>
                      <a:lnTo>
                        <a:pt x="265" y="544"/>
                      </a:lnTo>
                      <a:lnTo>
                        <a:pt x="267" y="539"/>
                      </a:lnTo>
                      <a:lnTo>
                        <a:pt x="268" y="537"/>
                      </a:lnTo>
                      <a:lnTo>
                        <a:pt x="268" y="536"/>
                      </a:lnTo>
                      <a:lnTo>
                        <a:pt x="270" y="536"/>
                      </a:lnTo>
                      <a:lnTo>
                        <a:pt x="270" y="534"/>
                      </a:lnTo>
                      <a:lnTo>
                        <a:pt x="268" y="534"/>
                      </a:lnTo>
                      <a:lnTo>
                        <a:pt x="268" y="536"/>
                      </a:lnTo>
                      <a:lnTo>
                        <a:pt x="268" y="534"/>
                      </a:lnTo>
                      <a:lnTo>
                        <a:pt x="267" y="534"/>
                      </a:lnTo>
                      <a:lnTo>
                        <a:pt x="267" y="533"/>
                      </a:lnTo>
                      <a:lnTo>
                        <a:pt x="265" y="533"/>
                      </a:lnTo>
                      <a:lnTo>
                        <a:pt x="263" y="533"/>
                      </a:lnTo>
                      <a:lnTo>
                        <a:pt x="263" y="534"/>
                      </a:lnTo>
                      <a:lnTo>
                        <a:pt x="263" y="533"/>
                      </a:lnTo>
                      <a:lnTo>
                        <a:pt x="262" y="533"/>
                      </a:lnTo>
                      <a:lnTo>
                        <a:pt x="260" y="533"/>
                      </a:lnTo>
                      <a:lnTo>
                        <a:pt x="260" y="531"/>
                      </a:lnTo>
                      <a:lnTo>
                        <a:pt x="258" y="531"/>
                      </a:lnTo>
                      <a:lnTo>
                        <a:pt x="258" y="533"/>
                      </a:lnTo>
                      <a:lnTo>
                        <a:pt x="256" y="533"/>
                      </a:lnTo>
                      <a:lnTo>
                        <a:pt x="256" y="531"/>
                      </a:lnTo>
                      <a:lnTo>
                        <a:pt x="256" y="533"/>
                      </a:lnTo>
                      <a:lnTo>
                        <a:pt x="255" y="531"/>
                      </a:lnTo>
                      <a:lnTo>
                        <a:pt x="255" y="533"/>
                      </a:lnTo>
                      <a:lnTo>
                        <a:pt x="255" y="531"/>
                      </a:lnTo>
                      <a:lnTo>
                        <a:pt x="253" y="531"/>
                      </a:lnTo>
                      <a:lnTo>
                        <a:pt x="253" y="529"/>
                      </a:lnTo>
                      <a:lnTo>
                        <a:pt x="251" y="529"/>
                      </a:lnTo>
                      <a:lnTo>
                        <a:pt x="250" y="529"/>
                      </a:lnTo>
                      <a:lnTo>
                        <a:pt x="250" y="528"/>
                      </a:lnTo>
                      <a:lnTo>
                        <a:pt x="248" y="529"/>
                      </a:lnTo>
                      <a:lnTo>
                        <a:pt x="246" y="529"/>
                      </a:lnTo>
                      <a:lnTo>
                        <a:pt x="246" y="531"/>
                      </a:lnTo>
                      <a:lnTo>
                        <a:pt x="246" y="529"/>
                      </a:lnTo>
                      <a:lnTo>
                        <a:pt x="245" y="529"/>
                      </a:lnTo>
                      <a:lnTo>
                        <a:pt x="245" y="531"/>
                      </a:lnTo>
                      <a:lnTo>
                        <a:pt x="245" y="529"/>
                      </a:lnTo>
                      <a:lnTo>
                        <a:pt x="245" y="531"/>
                      </a:lnTo>
                      <a:lnTo>
                        <a:pt x="243" y="531"/>
                      </a:lnTo>
                      <a:lnTo>
                        <a:pt x="243" y="529"/>
                      </a:lnTo>
                      <a:lnTo>
                        <a:pt x="245" y="529"/>
                      </a:lnTo>
                      <a:lnTo>
                        <a:pt x="243" y="529"/>
                      </a:lnTo>
                      <a:lnTo>
                        <a:pt x="243" y="531"/>
                      </a:lnTo>
                      <a:lnTo>
                        <a:pt x="241" y="529"/>
                      </a:lnTo>
                      <a:lnTo>
                        <a:pt x="243" y="529"/>
                      </a:lnTo>
                      <a:lnTo>
                        <a:pt x="241" y="529"/>
                      </a:lnTo>
                      <a:lnTo>
                        <a:pt x="243" y="529"/>
                      </a:lnTo>
                      <a:lnTo>
                        <a:pt x="241" y="529"/>
                      </a:lnTo>
                      <a:lnTo>
                        <a:pt x="240" y="529"/>
                      </a:lnTo>
                      <a:lnTo>
                        <a:pt x="240" y="528"/>
                      </a:lnTo>
                      <a:lnTo>
                        <a:pt x="238" y="528"/>
                      </a:lnTo>
                      <a:lnTo>
                        <a:pt x="238" y="529"/>
                      </a:lnTo>
                      <a:lnTo>
                        <a:pt x="236" y="529"/>
                      </a:lnTo>
                      <a:lnTo>
                        <a:pt x="236" y="528"/>
                      </a:lnTo>
                      <a:lnTo>
                        <a:pt x="235" y="528"/>
                      </a:lnTo>
                      <a:lnTo>
                        <a:pt x="235" y="529"/>
                      </a:lnTo>
                      <a:lnTo>
                        <a:pt x="233" y="529"/>
                      </a:lnTo>
                      <a:lnTo>
                        <a:pt x="233" y="528"/>
                      </a:lnTo>
                      <a:lnTo>
                        <a:pt x="231" y="528"/>
                      </a:lnTo>
                      <a:lnTo>
                        <a:pt x="229" y="528"/>
                      </a:lnTo>
                      <a:lnTo>
                        <a:pt x="229" y="526"/>
                      </a:lnTo>
                      <a:lnTo>
                        <a:pt x="228" y="526"/>
                      </a:lnTo>
                      <a:lnTo>
                        <a:pt x="229" y="526"/>
                      </a:lnTo>
                      <a:lnTo>
                        <a:pt x="228" y="526"/>
                      </a:lnTo>
                      <a:lnTo>
                        <a:pt x="226" y="526"/>
                      </a:lnTo>
                      <a:lnTo>
                        <a:pt x="226" y="528"/>
                      </a:lnTo>
                      <a:lnTo>
                        <a:pt x="224" y="528"/>
                      </a:lnTo>
                      <a:lnTo>
                        <a:pt x="224" y="526"/>
                      </a:lnTo>
                      <a:lnTo>
                        <a:pt x="223" y="526"/>
                      </a:lnTo>
                      <a:lnTo>
                        <a:pt x="223" y="528"/>
                      </a:lnTo>
                      <a:lnTo>
                        <a:pt x="223" y="526"/>
                      </a:lnTo>
                      <a:lnTo>
                        <a:pt x="223" y="528"/>
                      </a:lnTo>
                      <a:lnTo>
                        <a:pt x="221" y="528"/>
                      </a:lnTo>
                      <a:lnTo>
                        <a:pt x="219" y="526"/>
                      </a:lnTo>
                      <a:lnTo>
                        <a:pt x="218" y="528"/>
                      </a:lnTo>
                      <a:lnTo>
                        <a:pt x="216" y="528"/>
                      </a:lnTo>
                      <a:lnTo>
                        <a:pt x="216" y="529"/>
                      </a:lnTo>
                      <a:lnTo>
                        <a:pt x="214" y="529"/>
                      </a:lnTo>
                      <a:lnTo>
                        <a:pt x="213" y="529"/>
                      </a:lnTo>
                      <a:lnTo>
                        <a:pt x="214" y="529"/>
                      </a:lnTo>
                      <a:lnTo>
                        <a:pt x="213" y="529"/>
                      </a:lnTo>
                      <a:lnTo>
                        <a:pt x="211" y="529"/>
                      </a:lnTo>
                      <a:lnTo>
                        <a:pt x="209" y="531"/>
                      </a:lnTo>
                      <a:lnTo>
                        <a:pt x="207" y="533"/>
                      </a:lnTo>
                      <a:lnTo>
                        <a:pt x="206" y="533"/>
                      </a:lnTo>
                      <a:lnTo>
                        <a:pt x="204" y="533"/>
                      </a:lnTo>
                      <a:lnTo>
                        <a:pt x="204" y="534"/>
                      </a:lnTo>
                      <a:lnTo>
                        <a:pt x="202" y="534"/>
                      </a:lnTo>
                      <a:lnTo>
                        <a:pt x="201" y="534"/>
                      </a:lnTo>
                      <a:lnTo>
                        <a:pt x="199" y="534"/>
                      </a:lnTo>
                      <a:lnTo>
                        <a:pt x="197" y="534"/>
                      </a:lnTo>
                      <a:lnTo>
                        <a:pt x="197" y="536"/>
                      </a:lnTo>
                      <a:lnTo>
                        <a:pt x="196" y="534"/>
                      </a:lnTo>
                      <a:lnTo>
                        <a:pt x="196" y="536"/>
                      </a:lnTo>
                      <a:lnTo>
                        <a:pt x="194" y="536"/>
                      </a:lnTo>
                      <a:lnTo>
                        <a:pt x="194" y="537"/>
                      </a:lnTo>
                      <a:lnTo>
                        <a:pt x="192" y="537"/>
                      </a:lnTo>
                      <a:lnTo>
                        <a:pt x="191" y="537"/>
                      </a:lnTo>
                      <a:lnTo>
                        <a:pt x="191" y="539"/>
                      </a:lnTo>
                      <a:lnTo>
                        <a:pt x="189" y="539"/>
                      </a:lnTo>
                      <a:lnTo>
                        <a:pt x="191" y="539"/>
                      </a:lnTo>
                      <a:lnTo>
                        <a:pt x="189" y="539"/>
                      </a:lnTo>
                      <a:lnTo>
                        <a:pt x="189" y="541"/>
                      </a:lnTo>
                      <a:lnTo>
                        <a:pt x="189" y="539"/>
                      </a:lnTo>
                      <a:lnTo>
                        <a:pt x="189" y="541"/>
                      </a:lnTo>
                      <a:lnTo>
                        <a:pt x="187" y="541"/>
                      </a:lnTo>
                      <a:lnTo>
                        <a:pt x="186" y="541"/>
                      </a:lnTo>
                      <a:lnTo>
                        <a:pt x="187" y="542"/>
                      </a:lnTo>
                      <a:lnTo>
                        <a:pt x="186" y="542"/>
                      </a:lnTo>
                      <a:lnTo>
                        <a:pt x="184" y="542"/>
                      </a:lnTo>
                      <a:lnTo>
                        <a:pt x="184" y="544"/>
                      </a:lnTo>
                      <a:lnTo>
                        <a:pt x="182" y="544"/>
                      </a:lnTo>
                      <a:lnTo>
                        <a:pt x="182" y="546"/>
                      </a:lnTo>
                      <a:lnTo>
                        <a:pt x="182" y="544"/>
                      </a:lnTo>
                      <a:lnTo>
                        <a:pt x="180" y="546"/>
                      </a:lnTo>
                      <a:lnTo>
                        <a:pt x="179" y="546"/>
                      </a:lnTo>
                      <a:lnTo>
                        <a:pt x="179" y="547"/>
                      </a:lnTo>
                      <a:lnTo>
                        <a:pt x="177" y="547"/>
                      </a:lnTo>
                      <a:lnTo>
                        <a:pt x="175" y="547"/>
                      </a:lnTo>
                      <a:lnTo>
                        <a:pt x="175" y="549"/>
                      </a:lnTo>
                      <a:lnTo>
                        <a:pt x="174" y="549"/>
                      </a:lnTo>
                      <a:lnTo>
                        <a:pt x="172" y="549"/>
                      </a:lnTo>
                      <a:lnTo>
                        <a:pt x="172" y="551"/>
                      </a:lnTo>
                      <a:lnTo>
                        <a:pt x="170" y="551"/>
                      </a:lnTo>
                      <a:lnTo>
                        <a:pt x="170" y="552"/>
                      </a:lnTo>
                      <a:lnTo>
                        <a:pt x="170" y="554"/>
                      </a:lnTo>
                      <a:lnTo>
                        <a:pt x="170" y="552"/>
                      </a:lnTo>
                      <a:lnTo>
                        <a:pt x="170" y="554"/>
                      </a:lnTo>
                      <a:lnTo>
                        <a:pt x="169" y="554"/>
                      </a:lnTo>
                      <a:lnTo>
                        <a:pt x="169" y="556"/>
                      </a:lnTo>
                      <a:lnTo>
                        <a:pt x="167" y="557"/>
                      </a:lnTo>
                      <a:lnTo>
                        <a:pt x="169" y="557"/>
                      </a:lnTo>
                      <a:lnTo>
                        <a:pt x="169" y="556"/>
                      </a:lnTo>
                      <a:lnTo>
                        <a:pt x="169" y="557"/>
                      </a:lnTo>
                      <a:lnTo>
                        <a:pt x="167" y="557"/>
                      </a:lnTo>
                      <a:lnTo>
                        <a:pt x="167" y="559"/>
                      </a:lnTo>
                      <a:lnTo>
                        <a:pt x="165" y="559"/>
                      </a:lnTo>
                      <a:lnTo>
                        <a:pt x="167" y="559"/>
                      </a:lnTo>
                      <a:lnTo>
                        <a:pt x="165" y="559"/>
                      </a:lnTo>
                      <a:lnTo>
                        <a:pt x="164" y="560"/>
                      </a:lnTo>
                      <a:lnTo>
                        <a:pt x="164" y="559"/>
                      </a:lnTo>
                      <a:lnTo>
                        <a:pt x="164" y="560"/>
                      </a:lnTo>
                      <a:lnTo>
                        <a:pt x="162" y="560"/>
                      </a:lnTo>
                      <a:lnTo>
                        <a:pt x="160" y="562"/>
                      </a:lnTo>
                      <a:lnTo>
                        <a:pt x="159" y="562"/>
                      </a:lnTo>
                      <a:lnTo>
                        <a:pt x="157" y="562"/>
                      </a:lnTo>
                      <a:lnTo>
                        <a:pt x="157" y="564"/>
                      </a:lnTo>
                      <a:lnTo>
                        <a:pt x="155" y="564"/>
                      </a:lnTo>
                      <a:lnTo>
                        <a:pt x="157" y="564"/>
                      </a:lnTo>
                      <a:lnTo>
                        <a:pt x="155" y="565"/>
                      </a:lnTo>
                      <a:lnTo>
                        <a:pt x="153" y="565"/>
                      </a:lnTo>
                      <a:lnTo>
                        <a:pt x="152" y="567"/>
                      </a:lnTo>
                      <a:lnTo>
                        <a:pt x="150" y="567"/>
                      </a:lnTo>
                      <a:lnTo>
                        <a:pt x="150" y="569"/>
                      </a:lnTo>
                      <a:lnTo>
                        <a:pt x="150" y="567"/>
                      </a:lnTo>
                      <a:lnTo>
                        <a:pt x="150" y="569"/>
                      </a:lnTo>
                      <a:lnTo>
                        <a:pt x="148" y="569"/>
                      </a:lnTo>
                      <a:lnTo>
                        <a:pt x="148" y="570"/>
                      </a:lnTo>
                      <a:lnTo>
                        <a:pt x="148" y="572"/>
                      </a:lnTo>
                      <a:lnTo>
                        <a:pt x="147" y="572"/>
                      </a:lnTo>
                      <a:lnTo>
                        <a:pt x="147" y="574"/>
                      </a:lnTo>
                      <a:lnTo>
                        <a:pt x="145" y="574"/>
                      </a:lnTo>
                      <a:lnTo>
                        <a:pt x="143" y="574"/>
                      </a:lnTo>
                      <a:lnTo>
                        <a:pt x="142" y="574"/>
                      </a:lnTo>
                      <a:lnTo>
                        <a:pt x="142" y="572"/>
                      </a:lnTo>
                      <a:lnTo>
                        <a:pt x="142" y="574"/>
                      </a:lnTo>
                      <a:lnTo>
                        <a:pt x="142" y="572"/>
                      </a:lnTo>
                      <a:lnTo>
                        <a:pt x="140" y="572"/>
                      </a:lnTo>
                      <a:lnTo>
                        <a:pt x="138" y="572"/>
                      </a:lnTo>
                      <a:lnTo>
                        <a:pt x="137" y="572"/>
                      </a:lnTo>
                      <a:lnTo>
                        <a:pt x="137" y="574"/>
                      </a:lnTo>
                      <a:lnTo>
                        <a:pt x="135" y="572"/>
                      </a:lnTo>
                      <a:lnTo>
                        <a:pt x="135" y="574"/>
                      </a:lnTo>
                      <a:lnTo>
                        <a:pt x="135" y="572"/>
                      </a:lnTo>
                      <a:lnTo>
                        <a:pt x="135" y="574"/>
                      </a:lnTo>
                      <a:lnTo>
                        <a:pt x="133" y="574"/>
                      </a:lnTo>
                      <a:lnTo>
                        <a:pt x="133" y="575"/>
                      </a:lnTo>
                      <a:lnTo>
                        <a:pt x="131" y="575"/>
                      </a:lnTo>
                      <a:lnTo>
                        <a:pt x="131" y="577"/>
                      </a:lnTo>
                      <a:lnTo>
                        <a:pt x="130" y="577"/>
                      </a:lnTo>
                      <a:lnTo>
                        <a:pt x="130" y="579"/>
                      </a:lnTo>
                      <a:lnTo>
                        <a:pt x="128" y="577"/>
                      </a:lnTo>
                      <a:lnTo>
                        <a:pt x="128" y="579"/>
                      </a:lnTo>
                      <a:lnTo>
                        <a:pt x="126" y="579"/>
                      </a:lnTo>
                      <a:lnTo>
                        <a:pt x="126" y="580"/>
                      </a:lnTo>
                      <a:lnTo>
                        <a:pt x="128" y="580"/>
                      </a:lnTo>
                      <a:lnTo>
                        <a:pt x="126" y="580"/>
                      </a:lnTo>
                      <a:lnTo>
                        <a:pt x="125" y="580"/>
                      </a:lnTo>
                      <a:lnTo>
                        <a:pt x="125" y="582"/>
                      </a:lnTo>
                      <a:lnTo>
                        <a:pt x="125" y="580"/>
                      </a:lnTo>
                      <a:lnTo>
                        <a:pt x="125" y="582"/>
                      </a:lnTo>
                      <a:lnTo>
                        <a:pt x="123" y="582"/>
                      </a:lnTo>
                      <a:lnTo>
                        <a:pt x="123" y="583"/>
                      </a:lnTo>
                      <a:lnTo>
                        <a:pt x="121" y="583"/>
                      </a:lnTo>
                      <a:lnTo>
                        <a:pt x="121" y="585"/>
                      </a:lnTo>
                      <a:lnTo>
                        <a:pt x="120" y="585"/>
                      </a:lnTo>
                      <a:lnTo>
                        <a:pt x="120" y="583"/>
                      </a:lnTo>
                      <a:lnTo>
                        <a:pt x="120" y="585"/>
                      </a:lnTo>
                      <a:lnTo>
                        <a:pt x="120" y="587"/>
                      </a:lnTo>
                      <a:lnTo>
                        <a:pt x="118" y="587"/>
                      </a:lnTo>
                      <a:lnTo>
                        <a:pt x="116" y="588"/>
                      </a:lnTo>
                      <a:lnTo>
                        <a:pt x="115" y="588"/>
                      </a:lnTo>
                      <a:lnTo>
                        <a:pt x="115" y="590"/>
                      </a:lnTo>
                      <a:lnTo>
                        <a:pt x="115" y="588"/>
                      </a:lnTo>
                      <a:lnTo>
                        <a:pt x="113" y="588"/>
                      </a:lnTo>
                      <a:lnTo>
                        <a:pt x="113" y="590"/>
                      </a:lnTo>
                      <a:lnTo>
                        <a:pt x="111" y="590"/>
                      </a:lnTo>
                      <a:lnTo>
                        <a:pt x="111" y="592"/>
                      </a:lnTo>
                      <a:lnTo>
                        <a:pt x="110" y="592"/>
                      </a:lnTo>
                      <a:lnTo>
                        <a:pt x="108" y="592"/>
                      </a:lnTo>
                      <a:lnTo>
                        <a:pt x="106" y="592"/>
                      </a:lnTo>
                      <a:lnTo>
                        <a:pt x="104" y="592"/>
                      </a:lnTo>
                      <a:lnTo>
                        <a:pt x="104" y="590"/>
                      </a:lnTo>
                      <a:lnTo>
                        <a:pt x="103" y="590"/>
                      </a:lnTo>
                      <a:lnTo>
                        <a:pt x="103" y="592"/>
                      </a:lnTo>
                      <a:lnTo>
                        <a:pt x="101" y="590"/>
                      </a:lnTo>
                      <a:lnTo>
                        <a:pt x="101" y="592"/>
                      </a:lnTo>
                      <a:lnTo>
                        <a:pt x="99" y="593"/>
                      </a:lnTo>
                      <a:lnTo>
                        <a:pt x="98" y="593"/>
                      </a:lnTo>
                      <a:lnTo>
                        <a:pt x="98" y="595"/>
                      </a:lnTo>
                      <a:lnTo>
                        <a:pt x="98" y="597"/>
                      </a:lnTo>
                      <a:lnTo>
                        <a:pt x="98" y="595"/>
                      </a:lnTo>
                      <a:lnTo>
                        <a:pt x="96" y="595"/>
                      </a:lnTo>
                      <a:lnTo>
                        <a:pt x="96" y="597"/>
                      </a:lnTo>
                      <a:lnTo>
                        <a:pt x="96" y="595"/>
                      </a:lnTo>
                      <a:lnTo>
                        <a:pt x="96" y="597"/>
                      </a:lnTo>
                      <a:lnTo>
                        <a:pt x="96" y="598"/>
                      </a:lnTo>
                      <a:lnTo>
                        <a:pt x="94" y="598"/>
                      </a:lnTo>
                      <a:lnTo>
                        <a:pt x="93" y="598"/>
                      </a:lnTo>
                      <a:lnTo>
                        <a:pt x="93" y="600"/>
                      </a:lnTo>
                      <a:lnTo>
                        <a:pt x="93" y="598"/>
                      </a:lnTo>
                      <a:lnTo>
                        <a:pt x="93" y="600"/>
                      </a:lnTo>
                      <a:lnTo>
                        <a:pt x="91" y="600"/>
                      </a:lnTo>
                      <a:lnTo>
                        <a:pt x="93" y="600"/>
                      </a:lnTo>
                      <a:lnTo>
                        <a:pt x="93" y="601"/>
                      </a:lnTo>
                      <a:lnTo>
                        <a:pt x="91" y="601"/>
                      </a:lnTo>
                      <a:lnTo>
                        <a:pt x="91" y="603"/>
                      </a:lnTo>
                      <a:lnTo>
                        <a:pt x="89" y="603"/>
                      </a:lnTo>
                      <a:lnTo>
                        <a:pt x="89" y="605"/>
                      </a:lnTo>
                      <a:lnTo>
                        <a:pt x="89" y="603"/>
                      </a:lnTo>
                      <a:lnTo>
                        <a:pt x="88" y="605"/>
                      </a:lnTo>
                      <a:lnTo>
                        <a:pt x="89" y="605"/>
                      </a:lnTo>
                      <a:lnTo>
                        <a:pt x="88" y="605"/>
                      </a:lnTo>
                      <a:lnTo>
                        <a:pt x="86" y="605"/>
                      </a:lnTo>
                      <a:lnTo>
                        <a:pt x="86" y="606"/>
                      </a:lnTo>
                      <a:lnTo>
                        <a:pt x="84" y="606"/>
                      </a:lnTo>
                      <a:lnTo>
                        <a:pt x="83" y="606"/>
                      </a:lnTo>
                      <a:lnTo>
                        <a:pt x="83" y="608"/>
                      </a:lnTo>
                      <a:lnTo>
                        <a:pt x="83" y="606"/>
                      </a:lnTo>
                      <a:lnTo>
                        <a:pt x="81" y="606"/>
                      </a:lnTo>
                      <a:lnTo>
                        <a:pt x="79" y="606"/>
                      </a:lnTo>
                      <a:lnTo>
                        <a:pt x="77" y="606"/>
                      </a:lnTo>
                      <a:lnTo>
                        <a:pt x="76" y="606"/>
                      </a:lnTo>
                      <a:lnTo>
                        <a:pt x="76" y="608"/>
                      </a:lnTo>
                      <a:lnTo>
                        <a:pt x="74" y="608"/>
                      </a:lnTo>
                      <a:lnTo>
                        <a:pt x="74" y="610"/>
                      </a:lnTo>
                      <a:lnTo>
                        <a:pt x="72" y="610"/>
                      </a:lnTo>
                      <a:lnTo>
                        <a:pt x="72" y="611"/>
                      </a:lnTo>
                      <a:lnTo>
                        <a:pt x="71" y="610"/>
                      </a:lnTo>
                      <a:lnTo>
                        <a:pt x="69" y="610"/>
                      </a:lnTo>
                      <a:lnTo>
                        <a:pt x="67" y="608"/>
                      </a:lnTo>
                      <a:lnTo>
                        <a:pt x="66" y="608"/>
                      </a:lnTo>
                      <a:lnTo>
                        <a:pt x="64" y="608"/>
                      </a:lnTo>
                      <a:lnTo>
                        <a:pt x="64" y="610"/>
                      </a:lnTo>
                      <a:lnTo>
                        <a:pt x="62" y="610"/>
                      </a:lnTo>
                      <a:lnTo>
                        <a:pt x="62" y="611"/>
                      </a:lnTo>
                      <a:lnTo>
                        <a:pt x="62" y="613"/>
                      </a:lnTo>
                      <a:lnTo>
                        <a:pt x="61" y="613"/>
                      </a:lnTo>
                      <a:lnTo>
                        <a:pt x="61" y="615"/>
                      </a:lnTo>
                      <a:lnTo>
                        <a:pt x="59" y="615"/>
                      </a:lnTo>
                      <a:lnTo>
                        <a:pt x="57" y="615"/>
                      </a:lnTo>
                      <a:lnTo>
                        <a:pt x="57" y="616"/>
                      </a:lnTo>
                      <a:lnTo>
                        <a:pt x="55" y="616"/>
                      </a:lnTo>
                      <a:lnTo>
                        <a:pt x="55" y="618"/>
                      </a:lnTo>
                      <a:lnTo>
                        <a:pt x="54" y="618"/>
                      </a:lnTo>
                      <a:lnTo>
                        <a:pt x="55" y="620"/>
                      </a:lnTo>
                      <a:lnTo>
                        <a:pt x="54" y="620"/>
                      </a:lnTo>
                      <a:lnTo>
                        <a:pt x="52" y="621"/>
                      </a:lnTo>
                      <a:lnTo>
                        <a:pt x="52" y="620"/>
                      </a:lnTo>
                      <a:lnTo>
                        <a:pt x="52" y="618"/>
                      </a:lnTo>
                      <a:lnTo>
                        <a:pt x="50" y="620"/>
                      </a:lnTo>
                      <a:lnTo>
                        <a:pt x="50" y="618"/>
                      </a:lnTo>
                      <a:lnTo>
                        <a:pt x="50" y="616"/>
                      </a:lnTo>
                      <a:lnTo>
                        <a:pt x="49" y="615"/>
                      </a:lnTo>
                      <a:lnTo>
                        <a:pt x="49" y="613"/>
                      </a:lnTo>
                      <a:lnTo>
                        <a:pt x="50" y="615"/>
                      </a:lnTo>
                      <a:lnTo>
                        <a:pt x="50" y="613"/>
                      </a:lnTo>
                      <a:lnTo>
                        <a:pt x="52" y="613"/>
                      </a:lnTo>
                      <a:lnTo>
                        <a:pt x="54" y="613"/>
                      </a:lnTo>
                      <a:lnTo>
                        <a:pt x="54" y="611"/>
                      </a:lnTo>
                      <a:lnTo>
                        <a:pt x="55" y="611"/>
                      </a:lnTo>
                      <a:lnTo>
                        <a:pt x="55" y="610"/>
                      </a:lnTo>
                      <a:lnTo>
                        <a:pt x="55" y="608"/>
                      </a:lnTo>
                      <a:lnTo>
                        <a:pt x="55" y="606"/>
                      </a:lnTo>
                      <a:lnTo>
                        <a:pt x="57" y="606"/>
                      </a:lnTo>
                      <a:lnTo>
                        <a:pt x="57" y="605"/>
                      </a:lnTo>
                      <a:lnTo>
                        <a:pt x="57" y="603"/>
                      </a:lnTo>
                      <a:lnTo>
                        <a:pt x="59" y="603"/>
                      </a:lnTo>
                      <a:lnTo>
                        <a:pt x="61" y="601"/>
                      </a:lnTo>
                      <a:lnTo>
                        <a:pt x="61" y="600"/>
                      </a:lnTo>
                      <a:lnTo>
                        <a:pt x="62" y="600"/>
                      </a:lnTo>
                      <a:lnTo>
                        <a:pt x="62" y="598"/>
                      </a:lnTo>
                      <a:lnTo>
                        <a:pt x="62" y="597"/>
                      </a:lnTo>
                      <a:lnTo>
                        <a:pt x="62" y="595"/>
                      </a:lnTo>
                      <a:lnTo>
                        <a:pt x="62" y="593"/>
                      </a:lnTo>
                      <a:lnTo>
                        <a:pt x="62" y="592"/>
                      </a:lnTo>
                      <a:lnTo>
                        <a:pt x="61" y="590"/>
                      </a:lnTo>
                      <a:lnTo>
                        <a:pt x="59" y="590"/>
                      </a:lnTo>
                      <a:lnTo>
                        <a:pt x="59" y="588"/>
                      </a:lnTo>
                      <a:lnTo>
                        <a:pt x="59" y="587"/>
                      </a:lnTo>
                      <a:lnTo>
                        <a:pt x="57" y="585"/>
                      </a:lnTo>
                      <a:lnTo>
                        <a:pt x="55" y="585"/>
                      </a:lnTo>
                      <a:lnTo>
                        <a:pt x="55" y="583"/>
                      </a:lnTo>
                      <a:lnTo>
                        <a:pt x="57" y="583"/>
                      </a:lnTo>
                      <a:lnTo>
                        <a:pt x="55" y="582"/>
                      </a:lnTo>
                      <a:lnTo>
                        <a:pt x="55" y="580"/>
                      </a:lnTo>
                      <a:lnTo>
                        <a:pt x="54" y="580"/>
                      </a:lnTo>
                      <a:lnTo>
                        <a:pt x="55" y="580"/>
                      </a:lnTo>
                      <a:lnTo>
                        <a:pt x="57" y="580"/>
                      </a:lnTo>
                      <a:lnTo>
                        <a:pt x="57" y="579"/>
                      </a:lnTo>
                      <a:lnTo>
                        <a:pt x="59" y="577"/>
                      </a:lnTo>
                      <a:lnTo>
                        <a:pt x="59" y="575"/>
                      </a:lnTo>
                      <a:lnTo>
                        <a:pt x="59" y="574"/>
                      </a:lnTo>
                      <a:lnTo>
                        <a:pt x="59" y="572"/>
                      </a:lnTo>
                      <a:lnTo>
                        <a:pt x="59" y="570"/>
                      </a:lnTo>
                      <a:lnTo>
                        <a:pt x="59" y="569"/>
                      </a:lnTo>
                      <a:lnTo>
                        <a:pt x="57" y="567"/>
                      </a:lnTo>
                      <a:lnTo>
                        <a:pt x="57" y="565"/>
                      </a:lnTo>
                      <a:lnTo>
                        <a:pt x="59" y="565"/>
                      </a:lnTo>
                      <a:lnTo>
                        <a:pt x="59" y="564"/>
                      </a:lnTo>
                      <a:lnTo>
                        <a:pt x="59" y="565"/>
                      </a:lnTo>
                      <a:lnTo>
                        <a:pt x="61" y="565"/>
                      </a:lnTo>
                      <a:lnTo>
                        <a:pt x="61" y="564"/>
                      </a:lnTo>
                      <a:lnTo>
                        <a:pt x="61" y="562"/>
                      </a:lnTo>
                      <a:lnTo>
                        <a:pt x="61" y="560"/>
                      </a:lnTo>
                      <a:lnTo>
                        <a:pt x="59" y="560"/>
                      </a:lnTo>
                      <a:lnTo>
                        <a:pt x="59" y="559"/>
                      </a:lnTo>
                      <a:lnTo>
                        <a:pt x="61" y="559"/>
                      </a:lnTo>
                      <a:lnTo>
                        <a:pt x="61" y="557"/>
                      </a:lnTo>
                      <a:lnTo>
                        <a:pt x="61" y="556"/>
                      </a:lnTo>
                      <a:lnTo>
                        <a:pt x="61" y="554"/>
                      </a:lnTo>
                      <a:lnTo>
                        <a:pt x="62" y="554"/>
                      </a:lnTo>
                      <a:lnTo>
                        <a:pt x="61" y="552"/>
                      </a:lnTo>
                      <a:lnTo>
                        <a:pt x="59" y="552"/>
                      </a:lnTo>
                      <a:lnTo>
                        <a:pt x="59" y="551"/>
                      </a:lnTo>
                      <a:lnTo>
                        <a:pt x="61" y="551"/>
                      </a:lnTo>
                      <a:lnTo>
                        <a:pt x="61" y="549"/>
                      </a:lnTo>
                      <a:lnTo>
                        <a:pt x="59" y="549"/>
                      </a:lnTo>
                      <a:lnTo>
                        <a:pt x="59" y="547"/>
                      </a:lnTo>
                      <a:lnTo>
                        <a:pt x="57" y="547"/>
                      </a:lnTo>
                      <a:lnTo>
                        <a:pt x="59" y="546"/>
                      </a:lnTo>
                      <a:lnTo>
                        <a:pt x="59" y="544"/>
                      </a:lnTo>
                      <a:lnTo>
                        <a:pt x="59" y="542"/>
                      </a:lnTo>
                      <a:lnTo>
                        <a:pt x="57" y="542"/>
                      </a:lnTo>
                      <a:lnTo>
                        <a:pt x="59" y="542"/>
                      </a:lnTo>
                      <a:lnTo>
                        <a:pt x="59" y="541"/>
                      </a:lnTo>
                      <a:lnTo>
                        <a:pt x="59" y="542"/>
                      </a:lnTo>
                      <a:lnTo>
                        <a:pt x="59" y="544"/>
                      </a:lnTo>
                      <a:lnTo>
                        <a:pt x="61" y="544"/>
                      </a:lnTo>
                      <a:lnTo>
                        <a:pt x="62" y="544"/>
                      </a:lnTo>
                      <a:lnTo>
                        <a:pt x="64" y="544"/>
                      </a:lnTo>
                      <a:lnTo>
                        <a:pt x="64" y="542"/>
                      </a:lnTo>
                      <a:lnTo>
                        <a:pt x="66" y="542"/>
                      </a:lnTo>
                      <a:lnTo>
                        <a:pt x="67" y="541"/>
                      </a:lnTo>
                      <a:lnTo>
                        <a:pt x="67" y="539"/>
                      </a:lnTo>
                      <a:lnTo>
                        <a:pt x="67" y="537"/>
                      </a:lnTo>
                      <a:lnTo>
                        <a:pt x="69" y="537"/>
                      </a:lnTo>
                      <a:lnTo>
                        <a:pt x="69" y="536"/>
                      </a:lnTo>
                      <a:lnTo>
                        <a:pt x="67" y="536"/>
                      </a:lnTo>
                      <a:lnTo>
                        <a:pt x="66" y="536"/>
                      </a:lnTo>
                      <a:lnTo>
                        <a:pt x="64" y="536"/>
                      </a:lnTo>
                      <a:lnTo>
                        <a:pt x="64" y="534"/>
                      </a:lnTo>
                      <a:lnTo>
                        <a:pt x="64" y="533"/>
                      </a:lnTo>
                      <a:lnTo>
                        <a:pt x="64" y="531"/>
                      </a:lnTo>
                      <a:lnTo>
                        <a:pt x="62" y="531"/>
                      </a:lnTo>
                      <a:lnTo>
                        <a:pt x="62" y="529"/>
                      </a:lnTo>
                      <a:lnTo>
                        <a:pt x="61" y="529"/>
                      </a:lnTo>
                      <a:lnTo>
                        <a:pt x="61" y="528"/>
                      </a:lnTo>
                      <a:lnTo>
                        <a:pt x="59" y="528"/>
                      </a:lnTo>
                      <a:lnTo>
                        <a:pt x="57" y="528"/>
                      </a:lnTo>
                      <a:lnTo>
                        <a:pt x="57" y="526"/>
                      </a:lnTo>
                      <a:lnTo>
                        <a:pt x="55" y="526"/>
                      </a:lnTo>
                      <a:lnTo>
                        <a:pt x="54" y="526"/>
                      </a:lnTo>
                      <a:lnTo>
                        <a:pt x="54" y="524"/>
                      </a:lnTo>
                      <a:lnTo>
                        <a:pt x="54" y="523"/>
                      </a:lnTo>
                      <a:lnTo>
                        <a:pt x="54" y="521"/>
                      </a:lnTo>
                      <a:lnTo>
                        <a:pt x="52" y="523"/>
                      </a:lnTo>
                      <a:lnTo>
                        <a:pt x="50" y="523"/>
                      </a:lnTo>
                      <a:lnTo>
                        <a:pt x="50" y="521"/>
                      </a:lnTo>
                      <a:lnTo>
                        <a:pt x="49" y="521"/>
                      </a:lnTo>
                      <a:lnTo>
                        <a:pt x="49" y="519"/>
                      </a:lnTo>
                      <a:lnTo>
                        <a:pt x="47" y="518"/>
                      </a:lnTo>
                      <a:lnTo>
                        <a:pt x="45" y="518"/>
                      </a:lnTo>
                      <a:lnTo>
                        <a:pt x="45" y="519"/>
                      </a:lnTo>
                      <a:lnTo>
                        <a:pt x="42" y="518"/>
                      </a:lnTo>
                      <a:lnTo>
                        <a:pt x="40" y="518"/>
                      </a:lnTo>
                      <a:lnTo>
                        <a:pt x="40" y="516"/>
                      </a:lnTo>
                      <a:lnTo>
                        <a:pt x="40" y="514"/>
                      </a:lnTo>
                      <a:lnTo>
                        <a:pt x="39" y="514"/>
                      </a:lnTo>
                      <a:lnTo>
                        <a:pt x="37" y="514"/>
                      </a:lnTo>
                      <a:lnTo>
                        <a:pt x="35" y="513"/>
                      </a:lnTo>
                      <a:lnTo>
                        <a:pt x="34" y="513"/>
                      </a:lnTo>
                      <a:lnTo>
                        <a:pt x="35" y="513"/>
                      </a:lnTo>
                      <a:lnTo>
                        <a:pt x="35" y="511"/>
                      </a:lnTo>
                      <a:lnTo>
                        <a:pt x="35" y="513"/>
                      </a:lnTo>
                      <a:lnTo>
                        <a:pt x="37" y="513"/>
                      </a:lnTo>
                      <a:lnTo>
                        <a:pt x="37" y="511"/>
                      </a:lnTo>
                      <a:lnTo>
                        <a:pt x="39" y="511"/>
                      </a:lnTo>
                      <a:lnTo>
                        <a:pt x="39" y="510"/>
                      </a:lnTo>
                      <a:lnTo>
                        <a:pt x="37" y="510"/>
                      </a:lnTo>
                      <a:lnTo>
                        <a:pt x="35" y="510"/>
                      </a:lnTo>
                      <a:lnTo>
                        <a:pt x="37" y="508"/>
                      </a:lnTo>
                      <a:lnTo>
                        <a:pt x="39" y="508"/>
                      </a:lnTo>
                      <a:lnTo>
                        <a:pt x="39" y="506"/>
                      </a:lnTo>
                      <a:lnTo>
                        <a:pt x="40" y="506"/>
                      </a:lnTo>
                      <a:lnTo>
                        <a:pt x="40" y="505"/>
                      </a:lnTo>
                      <a:lnTo>
                        <a:pt x="39" y="505"/>
                      </a:lnTo>
                      <a:lnTo>
                        <a:pt x="39" y="503"/>
                      </a:lnTo>
                      <a:lnTo>
                        <a:pt x="39" y="501"/>
                      </a:lnTo>
                      <a:lnTo>
                        <a:pt x="37" y="501"/>
                      </a:lnTo>
                      <a:lnTo>
                        <a:pt x="35" y="500"/>
                      </a:lnTo>
                      <a:lnTo>
                        <a:pt x="34" y="500"/>
                      </a:lnTo>
                      <a:lnTo>
                        <a:pt x="34" y="498"/>
                      </a:lnTo>
                      <a:lnTo>
                        <a:pt x="35" y="498"/>
                      </a:lnTo>
                      <a:lnTo>
                        <a:pt x="35" y="495"/>
                      </a:lnTo>
                      <a:lnTo>
                        <a:pt x="35" y="493"/>
                      </a:lnTo>
                      <a:lnTo>
                        <a:pt x="37" y="491"/>
                      </a:lnTo>
                      <a:lnTo>
                        <a:pt x="37" y="490"/>
                      </a:lnTo>
                      <a:lnTo>
                        <a:pt x="37" y="488"/>
                      </a:lnTo>
                      <a:lnTo>
                        <a:pt x="35" y="488"/>
                      </a:lnTo>
                      <a:lnTo>
                        <a:pt x="34" y="488"/>
                      </a:lnTo>
                      <a:lnTo>
                        <a:pt x="34" y="487"/>
                      </a:lnTo>
                      <a:lnTo>
                        <a:pt x="35" y="487"/>
                      </a:lnTo>
                      <a:lnTo>
                        <a:pt x="34" y="485"/>
                      </a:lnTo>
                      <a:lnTo>
                        <a:pt x="35" y="483"/>
                      </a:lnTo>
                      <a:lnTo>
                        <a:pt x="37" y="483"/>
                      </a:lnTo>
                      <a:lnTo>
                        <a:pt x="39" y="483"/>
                      </a:lnTo>
                      <a:lnTo>
                        <a:pt x="39" y="482"/>
                      </a:lnTo>
                      <a:lnTo>
                        <a:pt x="37" y="482"/>
                      </a:lnTo>
                      <a:lnTo>
                        <a:pt x="37" y="480"/>
                      </a:lnTo>
                      <a:lnTo>
                        <a:pt x="35" y="480"/>
                      </a:lnTo>
                      <a:lnTo>
                        <a:pt x="34" y="480"/>
                      </a:lnTo>
                      <a:lnTo>
                        <a:pt x="35" y="480"/>
                      </a:lnTo>
                      <a:lnTo>
                        <a:pt x="35" y="478"/>
                      </a:lnTo>
                      <a:lnTo>
                        <a:pt x="37" y="478"/>
                      </a:lnTo>
                      <a:lnTo>
                        <a:pt x="37" y="477"/>
                      </a:lnTo>
                      <a:lnTo>
                        <a:pt x="35" y="475"/>
                      </a:lnTo>
                      <a:lnTo>
                        <a:pt x="35" y="473"/>
                      </a:lnTo>
                      <a:lnTo>
                        <a:pt x="37" y="473"/>
                      </a:lnTo>
                      <a:lnTo>
                        <a:pt x="37" y="472"/>
                      </a:lnTo>
                      <a:lnTo>
                        <a:pt x="39" y="472"/>
                      </a:lnTo>
                      <a:lnTo>
                        <a:pt x="39" y="470"/>
                      </a:lnTo>
                      <a:lnTo>
                        <a:pt x="40" y="468"/>
                      </a:lnTo>
                      <a:lnTo>
                        <a:pt x="42" y="468"/>
                      </a:lnTo>
                      <a:lnTo>
                        <a:pt x="44" y="467"/>
                      </a:lnTo>
                      <a:lnTo>
                        <a:pt x="44" y="465"/>
                      </a:lnTo>
                      <a:lnTo>
                        <a:pt x="42" y="464"/>
                      </a:lnTo>
                      <a:lnTo>
                        <a:pt x="40" y="464"/>
                      </a:lnTo>
                      <a:lnTo>
                        <a:pt x="39" y="465"/>
                      </a:lnTo>
                      <a:lnTo>
                        <a:pt x="39" y="464"/>
                      </a:lnTo>
                      <a:lnTo>
                        <a:pt x="37" y="464"/>
                      </a:lnTo>
                      <a:lnTo>
                        <a:pt x="37" y="462"/>
                      </a:lnTo>
                      <a:lnTo>
                        <a:pt x="37" y="460"/>
                      </a:lnTo>
                      <a:lnTo>
                        <a:pt x="39" y="459"/>
                      </a:lnTo>
                      <a:lnTo>
                        <a:pt x="39" y="457"/>
                      </a:lnTo>
                      <a:lnTo>
                        <a:pt x="37" y="455"/>
                      </a:lnTo>
                      <a:lnTo>
                        <a:pt x="39" y="455"/>
                      </a:lnTo>
                      <a:lnTo>
                        <a:pt x="40" y="455"/>
                      </a:lnTo>
                      <a:lnTo>
                        <a:pt x="40" y="454"/>
                      </a:lnTo>
                      <a:lnTo>
                        <a:pt x="39" y="454"/>
                      </a:lnTo>
                      <a:lnTo>
                        <a:pt x="39" y="452"/>
                      </a:lnTo>
                      <a:lnTo>
                        <a:pt x="37" y="452"/>
                      </a:lnTo>
                      <a:lnTo>
                        <a:pt x="37" y="450"/>
                      </a:lnTo>
                      <a:lnTo>
                        <a:pt x="39" y="450"/>
                      </a:lnTo>
                      <a:lnTo>
                        <a:pt x="39" y="449"/>
                      </a:lnTo>
                      <a:lnTo>
                        <a:pt x="40" y="449"/>
                      </a:lnTo>
                      <a:lnTo>
                        <a:pt x="42" y="447"/>
                      </a:lnTo>
                      <a:lnTo>
                        <a:pt x="44" y="447"/>
                      </a:lnTo>
                      <a:lnTo>
                        <a:pt x="45" y="447"/>
                      </a:lnTo>
                      <a:lnTo>
                        <a:pt x="47" y="447"/>
                      </a:lnTo>
                      <a:lnTo>
                        <a:pt x="47" y="445"/>
                      </a:lnTo>
                      <a:lnTo>
                        <a:pt x="49" y="445"/>
                      </a:lnTo>
                      <a:lnTo>
                        <a:pt x="50" y="444"/>
                      </a:lnTo>
                      <a:lnTo>
                        <a:pt x="50" y="442"/>
                      </a:lnTo>
                      <a:lnTo>
                        <a:pt x="52" y="442"/>
                      </a:lnTo>
                      <a:lnTo>
                        <a:pt x="54" y="441"/>
                      </a:lnTo>
                      <a:lnTo>
                        <a:pt x="55" y="441"/>
                      </a:lnTo>
                      <a:lnTo>
                        <a:pt x="55" y="439"/>
                      </a:lnTo>
                      <a:lnTo>
                        <a:pt x="55" y="437"/>
                      </a:lnTo>
                      <a:lnTo>
                        <a:pt x="54" y="436"/>
                      </a:lnTo>
                      <a:lnTo>
                        <a:pt x="52" y="436"/>
                      </a:lnTo>
                      <a:lnTo>
                        <a:pt x="52" y="437"/>
                      </a:lnTo>
                      <a:lnTo>
                        <a:pt x="50" y="437"/>
                      </a:lnTo>
                      <a:lnTo>
                        <a:pt x="49" y="437"/>
                      </a:lnTo>
                      <a:lnTo>
                        <a:pt x="47" y="437"/>
                      </a:lnTo>
                      <a:lnTo>
                        <a:pt x="47" y="439"/>
                      </a:lnTo>
                      <a:lnTo>
                        <a:pt x="45" y="439"/>
                      </a:lnTo>
                      <a:lnTo>
                        <a:pt x="44" y="441"/>
                      </a:lnTo>
                      <a:lnTo>
                        <a:pt x="42" y="441"/>
                      </a:lnTo>
                      <a:lnTo>
                        <a:pt x="40" y="441"/>
                      </a:lnTo>
                      <a:lnTo>
                        <a:pt x="39" y="441"/>
                      </a:lnTo>
                      <a:lnTo>
                        <a:pt x="37" y="442"/>
                      </a:lnTo>
                      <a:lnTo>
                        <a:pt x="35" y="444"/>
                      </a:lnTo>
                      <a:lnTo>
                        <a:pt x="34" y="444"/>
                      </a:lnTo>
                      <a:lnTo>
                        <a:pt x="34" y="442"/>
                      </a:lnTo>
                      <a:lnTo>
                        <a:pt x="32" y="442"/>
                      </a:lnTo>
                      <a:lnTo>
                        <a:pt x="32" y="441"/>
                      </a:lnTo>
                      <a:lnTo>
                        <a:pt x="30" y="441"/>
                      </a:lnTo>
                      <a:lnTo>
                        <a:pt x="30" y="439"/>
                      </a:lnTo>
                      <a:lnTo>
                        <a:pt x="32" y="437"/>
                      </a:lnTo>
                      <a:lnTo>
                        <a:pt x="30" y="436"/>
                      </a:lnTo>
                      <a:lnTo>
                        <a:pt x="32" y="436"/>
                      </a:lnTo>
                      <a:lnTo>
                        <a:pt x="30" y="436"/>
                      </a:lnTo>
                      <a:lnTo>
                        <a:pt x="28" y="436"/>
                      </a:lnTo>
                      <a:lnTo>
                        <a:pt x="28" y="434"/>
                      </a:lnTo>
                      <a:lnTo>
                        <a:pt x="28" y="432"/>
                      </a:lnTo>
                      <a:lnTo>
                        <a:pt x="30" y="432"/>
                      </a:lnTo>
                      <a:lnTo>
                        <a:pt x="30" y="431"/>
                      </a:lnTo>
                      <a:lnTo>
                        <a:pt x="30" y="429"/>
                      </a:lnTo>
                      <a:lnTo>
                        <a:pt x="30" y="427"/>
                      </a:lnTo>
                      <a:lnTo>
                        <a:pt x="30" y="426"/>
                      </a:lnTo>
                      <a:lnTo>
                        <a:pt x="32" y="426"/>
                      </a:lnTo>
                      <a:lnTo>
                        <a:pt x="32" y="424"/>
                      </a:lnTo>
                      <a:lnTo>
                        <a:pt x="32" y="422"/>
                      </a:lnTo>
                      <a:lnTo>
                        <a:pt x="30" y="422"/>
                      </a:lnTo>
                      <a:lnTo>
                        <a:pt x="30" y="421"/>
                      </a:lnTo>
                      <a:lnTo>
                        <a:pt x="28" y="421"/>
                      </a:lnTo>
                      <a:lnTo>
                        <a:pt x="30" y="421"/>
                      </a:lnTo>
                      <a:lnTo>
                        <a:pt x="30" y="419"/>
                      </a:lnTo>
                      <a:lnTo>
                        <a:pt x="32" y="418"/>
                      </a:lnTo>
                      <a:lnTo>
                        <a:pt x="32" y="416"/>
                      </a:lnTo>
                      <a:lnTo>
                        <a:pt x="34" y="416"/>
                      </a:lnTo>
                      <a:lnTo>
                        <a:pt x="34" y="414"/>
                      </a:lnTo>
                      <a:lnTo>
                        <a:pt x="34" y="413"/>
                      </a:lnTo>
                      <a:lnTo>
                        <a:pt x="35" y="413"/>
                      </a:lnTo>
                      <a:lnTo>
                        <a:pt x="35" y="411"/>
                      </a:lnTo>
                      <a:lnTo>
                        <a:pt x="37" y="411"/>
                      </a:lnTo>
                      <a:lnTo>
                        <a:pt x="39" y="411"/>
                      </a:lnTo>
                      <a:lnTo>
                        <a:pt x="39" y="413"/>
                      </a:lnTo>
                      <a:lnTo>
                        <a:pt x="40" y="411"/>
                      </a:lnTo>
                      <a:lnTo>
                        <a:pt x="42" y="411"/>
                      </a:lnTo>
                      <a:lnTo>
                        <a:pt x="44" y="409"/>
                      </a:lnTo>
                      <a:lnTo>
                        <a:pt x="45" y="409"/>
                      </a:lnTo>
                      <a:lnTo>
                        <a:pt x="47" y="408"/>
                      </a:lnTo>
                      <a:lnTo>
                        <a:pt x="49" y="408"/>
                      </a:lnTo>
                      <a:lnTo>
                        <a:pt x="47" y="408"/>
                      </a:lnTo>
                      <a:lnTo>
                        <a:pt x="49" y="406"/>
                      </a:lnTo>
                      <a:lnTo>
                        <a:pt x="49" y="404"/>
                      </a:lnTo>
                      <a:lnTo>
                        <a:pt x="47" y="403"/>
                      </a:lnTo>
                      <a:lnTo>
                        <a:pt x="45" y="404"/>
                      </a:lnTo>
                      <a:lnTo>
                        <a:pt x="44" y="404"/>
                      </a:lnTo>
                      <a:lnTo>
                        <a:pt x="42" y="404"/>
                      </a:lnTo>
                      <a:lnTo>
                        <a:pt x="40" y="404"/>
                      </a:lnTo>
                      <a:lnTo>
                        <a:pt x="39" y="406"/>
                      </a:lnTo>
                      <a:lnTo>
                        <a:pt x="37" y="406"/>
                      </a:lnTo>
                      <a:lnTo>
                        <a:pt x="35" y="406"/>
                      </a:lnTo>
                      <a:lnTo>
                        <a:pt x="34" y="406"/>
                      </a:lnTo>
                      <a:lnTo>
                        <a:pt x="32" y="406"/>
                      </a:lnTo>
                      <a:lnTo>
                        <a:pt x="30" y="408"/>
                      </a:lnTo>
                      <a:lnTo>
                        <a:pt x="30" y="406"/>
                      </a:lnTo>
                      <a:lnTo>
                        <a:pt x="32" y="406"/>
                      </a:lnTo>
                      <a:lnTo>
                        <a:pt x="32" y="404"/>
                      </a:lnTo>
                      <a:lnTo>
                        <a:pt x="32" y="403"/>
                      </a:lnTo>
                      <a:lnTo>
                        <a:pt x="32" y="401"/>
                      </a:lnTo>
                      <a:lnTo>
                        <a:pt x="32" y="399"/>
                      </a:lnTo>
                      <a:lnTo>
                        <a:pt x="32" y="398"/>
                      </a:lnTo>
                      <a:lnTo>
                        <a:pt x="34" y="398"/>
                      </a:lnTo>
                      <a:lnTo>
                        <a:pt x="35" y="396"/>
                      </a:lnTo>
                      <a:lnTo>
                        <a:pt x="34" y="395"/>
                      </a:lnTo>
                      <a:lnTo>
                        <a:pt x="34" y="393"/>
                      </a:lnTo>
                      <a:lnTo>
                        <a:pt x="32" y="391"/>
                      </a:lnTo>
                      <a:lnTo>
                        <a:pt x="34" y="391"/>
                      </a:lnTo>
                      <a:lnTo>
                        <a:pt x="34" y="390"/>
                      </a:lnTo>
                      <a:lnTo>
                        <a:pt x="34" y="388"/>
                      </a:lnTo>
                      <a:lnTo>
                        <a:pt x="35" y="386"/>
                      </a:lnTo>
                      <a:lnTo>
                        <a:pt x="34" y="385"/>
                      </a:lnTo>
                      <a:lnTo>
                        <a:pt x="32" y="385"/>
                      </a:lnTo>
                      <a:lnTo>
                        <a:pt x="32" y="383"/>
                      </a:lnTo>
                      <a:lnTo>
                        <a:pt x="32" y="381"/>
                      </a:lnTo>
                      <a:lnTo>
                        <a:pt x="34" y="381"/>
                      </a:lnTo>
                      <a:lnTo>
                        <a:pt x="35" y="380"/>
                      </a:lnTo>
                      <a:lnTo>
                        <a:pt x="34" y="378"/>
                      </a:lnTo>
                      <a:lnTo>
                        <a:pt x="32" y="378"/>
                      </a:lnTo>
                      <a:lnTo>
                        <a:pt x="32" y="377"/>
                      </a:lnTo>
                      <a:lnTo>
                        <a:pt x="34" y="377"/>
                      </a:lnTo>
                      <a:lnTo>
                        <a:pt x="34" y="375"/>
                      </a:lnTo>
                      <a:lnTo>
                        <a:pt x="34" y="373"/>
                      </a:lnTo>
                      <a:lnTo>
                        <a:pt x="34" y="372"/>
                      </a:lnTo>
                      <a:lnTo>
                        <a:pt x="35" y="372"/>
                      </a:lnTo>
                      <a:lnTo>
                        <a:pt x="35" y="370"/>
                      </a:lnTo>
                      <a:lnTo>
                        <a:pt x="37" y="370"/>
                      </a:lnTo>
                      <a:lnTo>
                        <a:pt x="39" y="368"/>
                      </a:lnTo>
                      <a:lnTo>
                        <a:pt x="40" y="368"/>
                      </a:lnTo>
                      <a:lnTo>
                        <a:pt x="42" y="368"/>
                      </a:lnTo>
                      <a:lnTo>
                        <a:pt x="44" y="368"/>
                      </a:lnTo>
                      <a:lnTo>
                        <a:pt x="45" y="368"/>
                      </a:lnTo>
                      <a:lnTo>
                        <a:pt x="45" y="367"/>
                      </a:lnTo>
                      <a:lnTo>
                        <a:pt x="45" y="365"/>
                      </a:lnTo>
                      <a:lnTo>
                        <a:pt x="44" y="365"/>
                      </a:lnTo>
                      <a:lnTo>
                        <a:pt x="45" y="365"/>
                      </a:lnTo>
                      <a:lnTo>
                        <a:pt x="45" y="363"/>
                      </a:lnTo>
                      <a:lnTo>
                        <a:pt x="44" y="363"/>
                      </a:lnTo>
                      <a:lnTo>
                        <a:pt x="42" y="363"/>
                      </a:lnTo>
                      <a:lnTo>
                        <a:pt x="40" y="363"/>
                      </a:lnTo>
                      <a:lnTo>
                        <a:pt x="40" y="365"/>
                      </a:lnTo>
                      <a:lnTo>
                        <a:pt x="39" y="365"/>
                      </a:lnTo>
                      <a:lnTo>
                        <a:pt x="37" y="365"/>
                      </a:lnTo>
                      <a:lnTo>
                        <a:pt x="35" y="365"/>
                      </a:lnTo>
                      <a:lnTo>
                        <a:pt x="35" y="363"/>
                      </a:lnTo>
                      <a:lnTo>
                        <a:pt x="35" y="362"/>
                      </a:lnTo>
                      <a:lnTo>
                        <a:pt x="35" y="360"/>
                      </a:lnTo>
                      <a:lnTo>
                        <a:pt x="35" y="358"/>
                      </a:lnTo>
                      <a:lnTo>
                        <a:pt x="35" y="357"/>
                      </a:lnTo>
                      <a:lnTo>
                        <a:pt x="34" y="358"/>
                      </a:lnTo>
                      <a:lnTo>
                        <a:pt x="32" y="357"/>
                      </a:lnTo>
                      <a:lnTo>
                        <a:pt x="32" y="358"/>
                      </a:lnTo>
                      <a:lnTo>
                        <a:pt x="30" y="358"/>
                      </a:lnTo>
                      <a:lnTo>
                        <a:pt x="30" y="357"/>
                      </a:lnTo>
                      <a:lnTo>
                        <a:pt x="32" y="357"/>
                      </a:lnTo>
                      <a:lnTo>
                        <a:pt x="32" y="355"/>
                      </a:lnTo>
                      <a:lnTo>
                        <a:pt x="32" y="354"/>
                      </a:lnTo>
                      <a:lnTo>
                        <a:pt x="30" y="352"/>
                      </a:lnTo>
                      <a:lnTo>
                        <a:pt x="28" y="352"/>
                      </a:lnTo>
                      <a:lnTo>
                        <a:pt x="28" y="350"/>
                      </a:lnTo>
                      <a:lnTo>
                        <a:pt x="27" y="350"/>
                      </a:lnTo>
                      <a:lnTo>
                        <a:pt x="27" y="349"/>
                      </a:lnTo>
                      <a:lnTo>
                        <a:pt x="28" y="349"/>
                      </a:lnTo>
                      <a:lnTo>
                        <a:pt x="28" y="347"/>
                      </a:lnTo>
                      <a:lnTo>
                        <a:pt x="27" y="347"/>
                      </a:lnTo>
                      <a:lnTo>
                        <a:pt x="25" y="347"/>
                      </a:lnTo>
                      <a:lnTo>
                        <a:pt x="23" y="347"/>
                      </a:lnTo>
                      <a:lnTo>
                        <a:pt x="23" y="345"/>
                      </a:lnTo>
                      <a:lnTo>
                        <a:pt x="25" y="345"/>
                      </a:lnTo>
                      <a:lnTo>
                        <a:pt x="25" y="344"/>
                      </a:lnTo>
                      <a:lnTo>
                        <a:pt x="23" y="344"/>
                      </a:lnTo>
                      <a:lnTo>
                        <a:pt x="23" y="342"/>
                      </a:lnTo>
                      <a:lnTo>
                        <a:pt x="25" y="342"/>
                      </a:lnTo>
                      <a:lnTo>
                        <a:pt x="25" y="340"/>
                      </a:lnTo>
                      <a:lnTo>
                        <a:pt x="25" y="339"/>
                      </a:lnTo>
                      <a:lnTo>
                        <a:pt x="25" y="337"/>
                      </a:lnTo>
                      <a:lnTo>
                        <a:pt x="23" y="337"/>
                      </a:lnTo>
                      <a:lnTo>
                        <a:pt x="22" y="337"/>
                      </a:lnTo>
                      <a:lnTo>
                        <a:pt x="23" y="337"/>
                      </a:lnTo>
                      <a:lnTo>
                        <a:pt x="23" y="335"/>
                      </a:lnTo>
                      <a:lnTo>
                        <a:pt x="22" y="335"/>
                      </a:lnTo>
                      <a:lnTo>
                        <a:pt x="23" y="335"/>
                      </a:lnTo>
                      <a:lnTo>
                        <a:pt x="23" y="334"/>
                      </a:lnTo>
                      <a:lnTo>
                        <a:pt x="23" y="332"/>
                      </a:lnTo>
                      <a:lnTo>
                        <a:pt x="25" y="332"/>
                      </a:lnTo>
                      <a:lnTo>
                        <a:pt x="25" y="331"/>
                      </a:lnTo>
                      <a:lnTo>
                        <a:pt x="25" y="329"/>
                      </a:lnTo>
                      <a:lnTo>
                        <a:pt x="23" y="329"/>
                      </a:lnTo>
                      <a:lnTo>
                        <a:pt x="23" y="327"/>
                      </a:lnTo>
                      <a:lnTo>
                        <a:pt x="23" y="326"/>
                      </a:lnTo>
                      <a:lnTo>
                        <a:pt x="23" y="324"/>
                      </a:lnTo>
                      <a:lnTo>
                        <a:pt x="22" y="324"/>
                      </a:lnTo>
                      <a:lnTo>
                        <a:pt x="22" y="322"/>
                      </a:lnTo>
                      <a:lnTo>
                        <a:pt x="23" y="321"/>
                      </a:lnTo>
                      <a:lnTo>
                        <a:pt x="25" y="319"/>
                      </a:lnTo>
                      <a:lnTo>
                        <a:pt x="25" y="317"/>
                      </a:lnTo>
                      <a:lnTo>
                        <a:pt x="27" y="317"/>
                      </a:lnTo>
                      <a:lnTo>
                        <a:pt x="28" y="316"/>
                      </a:lnTo>
                      <a:lnTo>
                        <a:pt x="30" y="316"/>
                      </a:lnTo>
                      <a:lnTo>
                        <a:pt x="32" y="314"/>
                      </a:lnTo>
                      <a:lnTo>
                        <a:pt x="34" y="314"/>
                      </a:lnTo>
                      <a:lnTo>
                        <a:pt x="35" y="314"/>
                      </a:lnTo>
                      <a:lnTo>
                        <a:pt x="37" y="314"/>
                      </a:lnTo>
                      <a:lnTo>
                        <a:pt x="39" y="314"/>
                      </a:lnTo>
                      <a:lnTo>
                        <a:pt x="40" y="312"/>
                      </a:lnTo>
                      <a:lnTo>
                        <a:pt x="42" y="312"/>
                      </a:lnTo>
                      <a:lnTo>
                        <a:pt x="42" y="311"/>
                      </a:lnTo>
                      <a:lnTo>
                        <a:pt x="44" y="311"/>
                      </a:lnTo>
                      <a:lnTo>
                        <a:pt x="44" y="309"/>
                      </a:lnTo>
                      <a:lnTo>
                        <a:pt x="42" y="309"/>
                      </a:lnTo>
                      <a:lnTo>
                        <a:pt x="40" y="309"/>
                      </a:lnTo>
                      <a:lnTo>
                        <a:pt x="39" y="311"/>
                      </a:lnTo>
                      <a:lnTo>
                        <a:pt x="37" y="311"/>
                      </a:lnTo>
                      <a:lnTo>
                        <a:pt x="35" y="311"/>
                      </a:lnTo>
                      <a:lnTo>
                        <a:pt x="34" y="309"/>
                      </a:lnTo>
                      <a:lnTo>
                        <a:pt x="32" y="309"/>
                      </a:lnTo>
                      <a:lnTo>
                        <a:pt x="30" y="309"/>
                      </a:lnTo>
                      <a:lnTo>
                        <a:pt x="30" y="311"/>
                      </a:lnTo>
                      <a:lnTo>
                        <a:pt x="28" y="311"/>
                      </a:lnTo>
                      <a:lnTo>
                        <a:pt x="28" y="309"/>
                      </a:lnTo>
                      <a:lnTo>
                        <a:pt x="27" y="309"/>
                      </a:lnTo>
                      <a:lnTo>
                        <a:pt x="25" y="309"/>
                      </a:lnTo>
                      <a:lnTo>
                        <a:pt x="23" y="308"/>
                      </a:lnTo>
                      <a:lnTo>
                        <a:pt x="25" y="306"/>
                      </a:lnTo>
                      <a:lnTo>
                        <a:pt x="23" y="304"/>
                      </a:lnTo>
                      <a:lnTo>
                        <a:pt x="25" y="304"/>
                      </a:lnTo>
                      <a:lnTo>
                        <a:pt x="27" y="304"/>
                      </a:lnTo>
                      <a:lnTo>
                        <a:pt x="27" y="303"/>
                      </a:lnTo>
                      <a:lnTo>
                        <a:pt x="28" y="303"/>
                      </a:lnTo>
                      <a:lnTo>
                        <a:pt x="28" y="301"/>
                      </a:lnTo>
                      <a:lnTo>
                        <a:pt x="28" y="299"/>
                      </a:lnTo>
                      <a:lnTo>
                        <a:pt x="28" y="298"/>
                      </a:lnTo>
                      <a:lnTo>
                        <a:pt x="27" y="298"/>
                      </a:lnTo>
                      <a:lnTo>
                        <a:pt x="27" y="296"/>
                      </a:lnTo>
                      <a:lnTo>
                        <a:pt x="25" y="298"/>
                      </a:lnTo>
                      <a:lnTo>
                        <a:pt x="23" y="296"/>
                      </a:lnTo>
                      <a:lnTo>
                        <a:pt x="25" y="296"/>
                      </a:lnTo>
                      <a:lnTo>
                        <a:pt x="28" y="296"/>
                      </a:lnTo>
                      <a:lnTo>
                        <a:pt x="28" y="294"/>
                      </a:lnTo>
                      <a:lnTo>
                        <a:pt x="30" y="293"/>
                      </a:lnTo>
                      <a:lnTo>
                        <a:pt x="32" y="291"/>
                      </a:lnTo>
                      <a:lnTo>
                        <a:pt x="32" y="289"/>
                      </a:lnTo>
                      <a:lnTo>
                        <a:pt x="30" y="288"/>
                      </a:lnTo>
                      <a:lnTo>
                        <a:pt x="30" y="286"/>
                      </a:lnTo>
                      <a:lnTo>
                        <a:pt x="30" y="285"/>
                      </a:lnTo>
                      <a:lnTo>
                        <a:pt x="32" y="285"/>
                      </a:lnTo>
                      <a:lnTo>
                        <a:pt x="34" y="285"/>
                      </a:lnTo>
                      <a:lnTo>
                        <a:pt x="35" y="285"/>
                      </a:lnTo>
                      <a:lnTo>
                        <a:pt x="39" y="286"/>
                      </a:lnTo>
                      <a:lnTo>
                        <a:pt x="40" y="288"/>
                      </a:lnTo>
                      <a:lnTo>
                        <a:pt x="42" y="288"/>
                      </a:lnTo>
                      <a:lnTo>
                        <a:pt x="44" y="288"/>
                      </a:lnTo>
                      <a:lnTo>
                        <a:pt x="45" y="288"/>
                      </a:lnTo>
                      <a:lnTo>
                        <a:pt x="47" y="286"/>
                      </a:lnTo>
                      <a:lnTo>
                        <a:pt x="49" y="286"/>
                      </a:lnTo>
                      <a:lnTo>
                        <a:pt x="50" y="286"/>
                      </a:lnTo>
                      <a:lnTo>
                        <a:pt x="52" y="286"/>
                      </a:lnTo>
                      <a:lnTo>
                        <a:pt x="50" y="285"/>
                      </a:lnTo>
                      <a:lnTo>
                        <a:pt x="52" y="285"/>
                      </a:lnTo>
                      <a:lnTo>
                        <a:pt x="50" y="285"/>
                      </a:lnTo>
                      <a:lnTo>
                        <a:pt x="50" y="283"/>
                      </a:lnTo>
                      <a:lnTo>
                        <a:pt x="49" y="283"/>
                      </a:lnTo>
                      <a:lnTo>
                        <a:pt x="47" y="283"/>
                      </a:lnTo>
                      <a:lnTo>
                        <a:pt x="45" y="283"/>
                      </a:lnTo>
                      <a:lnTo>
                        <a:pt x="44" y="283"/>
                      </a:lnTo>
                      <a:lnTo>
                        <a:pt x="42" y="283"/>
                      </a:lnTo>
                      <a:lnTo>
                        <a:pt x="40" y="283"/>
                      </a:lnTo>
                      <a:lnTo>
                        <a:pt x="39" y="283"/>
                      </a:lnTo>
                      <a:lnTo>
                        <a:pt x="39" y="281"/>
                      </a:lnTo>
                      <a:lnTo>
                        <a:pt x="39" y="280"/>
                      </a:lnTo>
                      <a:lnTo>
                        <a:pt x="37" y="280"/>
                      </a:lnTo>
                      <a:lnTo>
                        <a:pt x="35" y="278"/>
                      </a:lnTo>
                      <a:lnTo>
                        <a:pt x="34" y="278"/>
                      </a:lnTo>
                      <a:lnTo>
                        <a:pt x="32" y="278"/>
                      </a:lnTo>
                      <a:lnTo>
                        <a:pt x="30" y="278"/>
                      </a:lnTo>
                      <a:lnTo>
                        <a:pt x="30" y="276"/>
                      </a:lnTo>
                      <a:lnTo>
                        <a:pt x="28" y="276"/>
                      </a:lnTo>
                      <a:lnTo>
                        <a:pt x="27" y="278"/>
                      </a:lnTo>
                      <a:lnTo>
                        <a:pt x="25" y="276"/>
                      </a:lnTo>
                      <a:lnTo>
                        <a:pt x="23" y="276"/>
                      </a:lnTo>
                      <a:lnTo>
                        <a:pt x="22" y="276"/>
                      </a:lnTo>
                      <a:lnTo>
                        <a:pt x="22" y="278"/>
                      </a:lnTo>
                      <a:lnTo>
                        <a:pt x="20" y="278"/>
                      </a:lnTo>
                      <a:lnTo>
                        <a:pt x="20" y="276"/>
                      </a:lnTo>
                      <a:lnTo>
                        <a:pt x="18" y="276"/>
                      </a:lnTo>
                      <a:lnTo>
                        <a:pt x="18" y="275"/>
                      </a:lnTo>
                      <a:lnTo>
                        <a:pt x="17" y="275"/>
                      </a:lnTo>
                      <a:lnTo>
                        <a:pt x="15" y="275"/>
                      </a:lnTo>
                      <a:lnTo>
                        <a:pt x="13" y="275"/>
                      </a:lnTo>
                      <a:lnTo>
                        <a:pt x="13" y="273"/>
                      </a:lnTo>
                      <a:lnTo>
                        <a:pt x="12" y="273"/>
                      </a:lnTo>
                      <a:lnTo>
                        <a:pt x="10" y="271"/>
                      </a:lnTo>
                      <a:lnTo>
                        <a:pt x="10" y="270"/>
                      </a:lnTo>
                      <a:lnTo>
                        <a:pt x="10" y="268"/>
                      </a:lnTo>
                      <a:lnTo>
                        <a:pt x="10" y="266"/>
                      </a:lnTo>
                      <a:lnTo>
                        <a:pt x="8" y="266"/>
                      </a:lnTo>
                      <a:lnTo>
                        <a:pt x="8" y="265"/>
                      </a:lnTo>
                      <a:lnTo>
                        <a:pt x="8" y="263"/>
                      </a:lnTo>
                      <a:lnTo>
                        <a:pt x="8" y="262"/>
                      </a:lnTo>
                      <a:lnTo>
                        <a:pt x="6" y="262"/>
                      </a:lnTo>
                      <a:lnTo>
                        <a:pt x="5" y="262"/>
                      </a:lnTo>
                      <a:lnTo>
                        <a:pt x="3" y="260"/>
                      </a:lnTo>
                      <a:lnTo>
                        <a:pt x="1" y="258"/>
                      </a:lnTo>
                      <a:lnTo>
                        <a:pt x="1" y="257"/>
                      </a:lnTo>
                      <a:lnTo>
                        <a:pt x="0" y="255"/>
                      </a:lnTo>
                      <a:lnTo>
                        <a:pt x="0" y="253"/>
                      </a:lnTo>
                      <a:lnTo>
                        <a:pt x="1" y="253"/>
                      </a:lnTo>
                      <a:lnTo>
                        <a:pt x="1" y="252"/>
                      </a:lnTo>
                      <a:lnTo>
                        <a:pt x="1" y="250"/>
                      </a:lnTo>
                      <a:lnTo>
                        <a:pt x="3" y="250"/>
                      </a:lnTo>
                      <a:lnTo>
                        <a:pt x="3" y="248"/>
                      </a:lnTo>
                      <a:lnTo>
                        <a:pt x="5" y="248"/>
                      </a:lnTo>
                      <a:lnTo>
                        <a:pt x="6" y="247"/>
                      </a:lnTo>
                      <a:lnTo>
                        <a:pt x="6" y="245"/>
                      </a:lnTo>
                      <a:lnTo>
                        <a:pt x="8" y="245"/>
                      </a:lnTo>
                      <a:lnTo>
                        <a:pt x="8" y="243"/>
                      </a:lnTo>
                      <a:lnTo>
                        <a:pt x="10" y="243"/>
                      </a:lnTo>
                      <a:lnTo>
                        <a:pt x="12" y="242"/>
                      </a:lnTo>
                      <a:lnTo>
                        <a:pt x="13" y="240"/>
                      </a:lnTo>
                      <a:lnTo>
                        <a:pt x="13" y="239"/>
                      </a:lnTo>
                      <a:lnTo>
                        <a:pt x="13" y="237"/>
                      </a:lnTo>
                      <a:lnTo>
                        <a:pt x="13" y="235"/>
                      </a:lnTo>
                      <a:lnTo>
                        <a:pt x="12" y="235"/>
                      </a:lnTo>
                      <a:lnTo>
                        <a:pt x="12" y="234"/>
                      </a:lnTo>
                      <a:lnTo>
                        <a:pt x="12" y="232"/>
                      </a:lnTo>
                      <a:lnTo>
                        <a:pt x="12" y="230"/>
                      </a:lnTo>
                      <a:lnTo>
                        <a:pt x="13" y="230"/>
                      </a:lnTo>
                      <a:lnTo>
                        <a:pt x="13" y="229"/>
                      </a:lnTo>
                      <a:lnTo>
                        <a:pt x="15" y="229"/>
                      </a:lnTo>
                      <a:lnTo>
                        <a:pt x="15" y="227"/>
                      </a:lnTo>
                      <a:lnTo>
                        <a:pt x="17" y="227"/>
                      </a:lnTo>
                      <a:lnTo>
                        <a:pt x="17" y="225"/>
                      </a:lnTo>
                      <a:lnTo>
                        <a:pt x="17" y="227"/>
                      </a:lnTo>
                      <a:lnTo>
                        <a:pt x="17" y="225"/>
                      </a:lnTo>
                      <a:lnTo>
                        <a:pt x="18" y="225"/>
                      </a:lnTo>
                      <a:lnTo>
                        <a:pt x="20" y="225"/>
                      </a:lnTo>
                      <a:lnTo>
                        <a:pt x="20" y="224"/>
                      </a:lnTo>
                      <a:lnTo>
                        <a:pt x="22" y="224"/>
                      </a:lnTo>
                      <a:lnTo>
                        <a:pt x="22" y="222"/>
                      </a:lnTo>
                      <a:lnTo>
                        <a:pt x="23" y="222"/>
                      </a:lnTo>
                      <a:lnTo>
                        <a:pt x="25" y="220"/>
                      </a:lnTo>
                      <a:lnTo>
                        <a:pt x="27" y="220"/>
                      </a:lnTo>
                      <a:lnTo>
                        <a:pt x="28" y="220"/>
                      </a:lnTo>
                      <a:lnTo>
                        <a:pt x="30" y="220"/>
                      </a:lnTo>
                      <a:lnTo>
                        <a:pt x="30" y="219"/>
                      </a:lnTo>
                      <a:lnTo>
                        <a:pt x="32" y="219"/>
                      </a:lnTo>
                      <a:lnTo>
                        <a:pt x="32" y="217"/>
                      </a:lnTo>
                      <a:lnTo>
                        <a:pt x="30" y="217"/>
                      </a:lnTo>
                      <a:lnTo>
                        <a:pt x="30" y="216"/>
                      </a:lnTo>
                      <a:lnTo>
                        <a:pt x="30" y="214"/>
                      </a:lnTo>
                      <a:lnTo>
                        <a:pt x="32" y="212"/>
                      </a:lnTo>
                      <a:lnTo>
                        <a:pt x="32" y="211"/>
                      </a:lnTo>
                      <a:lnTo>
                        <a:pt x="34" y="211"/>
                      </a:lnTo>
                      <a:lnTo>
                        <a:pt x="35" y="211"/>
                      </a:lnTo>
                      <a:lnTo>
                        <a:pt x="37" y="209"/>
                      </a:lnTo>
                      <a:lnTo>
                        <a:pt x="39" y="207"/>
                      </a:lnTo>
                      <a:lnTo>
                        <a:pt x="37" y="207"/>
                      </a:lnTo>
                      <a:lnTo>
                        <a:pt x="35" y="207"/>
                      </a:lnTo>
                      <a:lnTo>
                        <a:pt x="35" y="206"/>
                      </a:lnTo>
                      <a:lnTo>
                        <a:pt x="34" y="206"/>
                      </a:lnTo>
                      <a:lnTo>
                        <a:pt x="34" y="204"/>
                      </a:lnTo>
                      <a:lnTo>
                        <a:pt x="35" y="204"/>
                      </a:lnTo>
                      <a:lnTo>
                        <a:pt x="37" y="202"/>
                      </a:lnTo>
                      <a:lnTo>
                        <a:pt x="39" y="202"/>
                      </a:lnTo>
                      <a:lnTo>
                        <a:pt x="40" y="201"/>
                      </a:lnTo>
                      <a:lnTo>
                        <a:pt x="42" y="199"/>
                      </a:lnTo>
                      <a:lnTo>
                        <a:pt x="42" y="197"/>
                      </a:lnTo>
                      <a:lnTo>
                        <a:pt x="40" y="197"/>
                      </a:lnTo>
                      <a:lnTo>
                        <a:pt x="40" y="196"/>
                      </a:lnTo>
                      <a:lnTo>
                        <a:pt x="39" y="196"/>
                      </a:lnTo>
                      <a:lnTo>
                        <a:pt x="40" y="194"/>
                      </a:lnTo>
                      <a:lnTo>
                        <a:pt x="42" y="193"/>
                      </a:lnTo>
                      <a:lnTo>
                        <a:pt x="44" y="193"/>
                      </a:lnTo>
                      <a:lnTo>
                        <a:pt x="45" y="193"/>
                      </a:lnTo>
                      <a:lnTo>
                        <a:pt x="47" y="193"/>
                      </a:lnTo>
                      <a:lnTo>
                        <a:pt x="49" y="193"/>
                      </a:lnTo>
                      <a:lnTo>
                        <a:pt x="49" y="191"/>
                      </a:lnTo>
                      <a:lnTo>
                        <a:pt x="50" y="191"/>
                      </a:lnTo>
                      <a:lnTo>
                        <a:pt x="52" y="191"/>
                      </a:lnTo>
                      <a:lnTo>
                        <a:pt x="54" y="191"/>
                      </a:lnTo>
                      <a:lnTo>
                        <a:pt x="54" y="189"/>
                      </a:lnTo>
                      <a:lnTo>
                        <a:pt x="54" y="188"/>
                      </a:lnTo>
                      <a:lnTo>
                        <a:pt x="55" y="188"/>
                      </a:lnTo>
                      <a:lnTo>
                        <a:pt x="57" y="188"/>
                      </a:lnTo>
                      <a:lnTo>
                        <a:pt x="57" y="186"/>
                      </a:lnTo>
                      <a:lnTo>
                        <a:pt x="57" y="184"/>
                      </a:lnTo>
                      <a:lnTo>
                        <a:pt x="59" y="184"/>
                      </a:lnTo>
                      <a:lnTo>
                        <a:pt x="61" y="184"/>
                      </a:lnTo>
                      <a:lnTo>
                        <a:pt x="62" y="184"/>
                      </a:lnTo>
                      <a:lnTo>
                        <a:pt x="62" y="183"/>
                      </a:lnTo>
                      <a:lnTo>
                        <a:pt x="64" y="183"/>
                      </a:lnTo>
                      <a:lnTo>
                        <a:pt x="64" y="181"/>
                      </a:lnTo>
                      <a:lnTo>
                        <a:pt x="66" y="181"/>
                      </a:lnTo>
                      <a:lnTo>
                        <a:pt x="69" y="179"/>
                      </a:lnTo>
                      <a:lnTo>
                        <a:pt x="69" y="178"/>
                      </a:lnTo>
                      <a:lnTo>
                        <a:pt x="71" y="176"/>
                      </a:lnTo>
                      <a:lnTo>
                        <a:pt x="72" y="176"/>
                      </a:lnTo>
                      <a:lnTo>
                        <a:pt x="74" y="176"/>
                      </a:lnTo>
                      <a:lnTo>
                        <a:pt x="76" y="176"/>
                      </a:lnTo>
                      <a:lnTo>
                        <a:pt x="76" y="175"/>
                      </a:lnTo>
                      <a:lnTo>
                        <a:pt x="76" y="173"/>
                      </a:lnTo>
                      <a:lnTo>
                        <a:pt x="77" y="173"/>
                      </a:lnTo>
                      <a:lnTo>
                        <a:pt x="76" y="173"/>
                      </a:lnTo>
                      <a:lnTo>
                        <a:pt x="76" y="171"/>
                      </a:lnTo>
                      <a:lnTo>
                        <a:pt x="76" y="170"/>
                      </a:lnTo>
                      <a:lnTo>
                        <a:pt x="76" y="168"/>
                      </a:lnTo>
                      <a:lnTo>
                        <a:pt x="77" y="168"/>
                      </a:lnTo>
                      <a:lnTo>
                        <a:pt x="79" y="168"/>
                      </a:lnTo>
                      <a:lnTo>
                        <a:pt x="81" y="168"/>
                      </a:lnTo>
                      <a:lnTo>
                        <a:pt x="83" y="168"/>
                      </a:lnTo>
                      <a:lnTo>
                        <a:pt x="84" y="166"/>
                      </a:lnTo>
                      <a:lnTo>
                        <a:pt x="86" y="165"/>
                      </a:lnTo>
                      <a:lnTo>
                        <a:pt x="86" y="163"/>
                      </a:lnTo>
                      <a:lnTo>
                        <a:pt x="86" y="161"/>
                      </a:lnTo>
                      <a:lnTo>
                        <a:pt x="88" y="160"/>
                      </a:lnTo>
                      <a:lnTo>
                        <a:pt x="88" y="158"/>
                      </a:lnTo>
                      <a:lnTo>
                        <a:pt x="88" y="156"/>
                      </a:lnTo>
                      <a:lnTo>
                        <a:pt x="88" y="155"/>
                      </a:lnTo>
                      <a:lnTo>
                        <a:pt x="88" y="153"/>
                      </a:lnTo>
                      <a:lnTo>
                        <a:pt x="88" y="152"/>
                      </a:lnTo>
                      <a:lnTo>
                        <a:pt x="88" y="150"/>
                      </a:lnTo>
                      <a:lnTo>
                        <a:pt x="86" y="150"/>
                      </a:lnTo>
                      <a:lnTo>
                        <a:pt x="88" y="150"/>
                      </a:lnTo>
                      <a:lnTo>
                        <a:pt x="89" y="150"/>
                      </a:lnTo>
                      <a:lnTo>
                        <a:pt x="89" y="148"/>
                      </a:lnTo>
                      <a:lnTo>
                        <a:pt x="91" y="148"/>
                      </a:lnTo>
                      <a:lnTo>
                        <a:pt x="93" y="147"/>
                      </a:lnTo>
                      <a:lnTo>
                        <a:pt x="94" y="147"/>
                      </a:lnTo>
                      <a:lnTo>
                        <a:pt x="96" y="145"/>
                      </a:lnTo>
                      <a:lnTo>
                        <a:pt x="98" y="145"/>
                      </a:lnTo>
                      <a:lnTo>
                        <a:pt x="99" y="145"/>
                      </a:lnTo>
                      <a:lnTo>
                        <a:pt x="99" y="147"/>
                      </a:lnTo>
                      <a:lnTo>
                        <a:pt x="101" y="147"/>
                      </a:lnTo>
                      <a:lnTo>
                        <a:pt x="101" y="148"/>
                      </a:lnTo>
                      <a:lnTo>
                        <a:pt x="101" y="150"/>
                      </a:lnTo>
                      <a:lnTo>
                        <a:pt x="101" y="152"/>
                      </a:lnTo>
                      <a:lnTo>
                        <a:pt x="99" y="152"/>
                      </a:lnTo>
                      <a:lnTo>
                        <a:pt x="101" y="153"/>
                      </a:lnTo>
                      <a:lnTo>
                        <a:pt x="101" y="155"/>
                      </a:lnTo>
                      <a:lnTo>
                        <a:pt x="103" y="155"/>
                      </a:lnTo>
                      <a:lnTo>
                        <a:pt x="104" y="156"/>
                      </a:lnTo>
                      <a:lnTo>
                        <a:pt x="104" y="158"/>
                      </a:lnTo>
                      <a:lnTo>
                        <a:pt x="104" y="161"/>
                      </a:lnTo>
                      <a:lnTo>
                        <a:pt x="106" y="161"/>
                      </a:lnTo>
                      <a:lnTo>
                        <a:pt x="108" y="163"/>
                      </a:lnTo>
                      <a:lnTo>
                        <a:pt x="110" y="165"/>
                      </a:lnTo>
                      <a:lnTo>
                        <a:pt x="111" y="166"/>
                      </a:lnTo>
                      <a:lnTo>
                        <a:pt x="113" y="168"/>
                      </a:lnTo>
                      <a:lnTo>
                        <a:pt x="115" y="170"/>
                      </a:lnTo>
                      <a:lnTo>
                        <a:pt x="113" y="171"/>
                      </a:lnTo>
                      <a:lnTo>
                        <a:pt x="113" y="173"/>
                      </a:lnTo>
                      <a:lnTo>
                        <a:pt x="115" y="173"/>
                      </a:lnTo>
                      <a:lnTo>
                        <a:pt x="115" y="175"/>
                      </a:lnTo>
                      <a:lnTo>
                        <a:pt x="116" y="176"/>
                      </a:lnTo>
                      <a:lnTo>
                        <a:pt x="116" y="178"/>
                      </a:lnTo>
                      <a:lnTo>
                        <a:pt x="116" y="179"/>
                      </a:lnTo>
                      <a:lnTo>
                        <a:pt x="115" y="179"/>
                      </a:lnTo>
                      <a:lnTo>
                        <a:pt x="113" y="179"/>
                      </a:lnTo>
                      <a:lnTo>
                        <a:pt x="111" y="181"/>
                      </a:lnTo>
                      <a:lnTo>
                        <a:pt x="111" y="183"/>
                      </a:lnTo>
                      <a:lnTo>
                        <a:pt x="113" y="183"/>
                      </a:lnTo>
                      <a:lnTo>
                        <a:pt x="113" y="184"/>
                      </a:lnTo>
                      <a:lnTo>
                        <a:pt x="111" y="186"/>
                      </a:lnTo>
                      <a:lnTo>
                        <a:pt x="111" y="188"/>
                      </a:lnTo>
                      <a:lnTo>
                        <a:pt x="113" y="188"/>
                      </a:lnTo>
                      <a:lnTo>
                        <a:pt x="113" y="191"/>
                      </a:lnTo>
                      <a:lnTo>
                        <a:pt x="113" y="193"/>
                      </a:lnTo>
                      <a:lnTo>
                        <a:pt x="113" y="194"/>
                      </a:lnTo>
                      <a:lnTo>
                        <a:pt x="115" y="194"/>
                      </a:lnTo>
                      <a:lnTo>
                        <a:pt x="116" y="194"/>
                      </a:lnTo>
                      <a:lnTo>
                        <a:pt x="118" y="194"/>
                      </a:lnTo>
                      <a:lnTo>
                        <a:pt x="118" y="196"/>
                      </a:lnTo>
                      <a:lnTo>
                        <a:pt x="120" y="197"/>
                      </a:lnTo>
                      <a:lnTo>
                        <a:pt x="120" y="199"/>
                      </a:lnTo>
                      <a:lnTo>
                        <a:pt x="120" y="201"/>
                      </a:lnTo>
                      <a:lnTo>
                        <a:pt x="120" y="202"/>
                      </a:lnTo>
                      <a:lnTo>
                        <a:pt x="121" y="204"/>
                      </a:lnTo>
                      <a:lnTo>
                        <a:pt x="123" y="204"/>
                      </a:lnTo>
                      <a:lnTo>
                        <a:pt x="123" y="206"/>
                      </a:lnTo>
                      <a:lnTo>
                        <a:pt x="125" y="206"/>
                      </a:lnTo>
                      <a:lnTo>
                        <a:pt x="126" y="206"/>
                      </a:lnTo>
                      <a:lnTo>
                        <a:pt x="128" y="207"/>
                      </a:lnTo>
                      <a:lnTo>
                        <a:pt x="130" y="207"/>
                      </a:lnTo>
                      <a:lnTo>
                        <a:pt x="130" y="209"/>
                      </a:lnTo>
                      <a:lnTo>
                        <a:pt x="130" y="211"/>
                      </a:lnTo>
                      <a:lnTo>
                        <a:pt x="131" y="211"/>
                      </a:lnTo>
                      <a:lnTo>
                        <a:pt x="133" y="211"/>
                      </a:lnTo>
                      <a:lnTo>
                        <a:pt x="133" y="212"/>
                      </a:lnTo>
                      <a:lnTo>
                        <a:pt x="135" y="212"/>
                      </a:lnTo>
                      <a:lnTo>
                        <a:pt x="137" y="212"/>
                      </a:lnTo>
                      <a:lnTo>
                        <a:pt x="138" y="212"/>
                      </a:lnTo>
                      <a:lnTo>
                        <a:pt x="142" y="212"/>
                      </a:lnTo>
                      <a:lnTo>
                        <a:pt x="143" y="212"/>
                      </a:lnTo>
                      <a:lnTo>
                        <a:pt x="145" y="214"/>
                      </a:lnTo>
                      <a:lnTo>
                        <a:pt x="147" y="212"/>
                      </a:lnTo>
                      <a:lnTo>
                        <a:pt x="148" y="212"/>
                      </a:lnTo>
                      <a:lnTo>
                        <a:pt x="148" y="214"/>
                      </a:lnTo>
                      <a:lnTo>
                        <a:pt x="150" y="214"/>
                      </a:lnTo>
                      <a:lnTo>
                        <a:pt x="152" y="216"/>
                      </a:lnTo>
                      <a:lnTo>
                        <a:pt x="153" y="217"/>
                      </a:lnTo>
                      <a:lnTo>
                        <a:pt x="155" y="217"/>
                      </a:lnTo>
                      <a:lnTo>
                        <a:pt x="157" y="217"/>
                      </a:lnTo>
                      <a:lnTo>
                        <a:pt x="159" y="219"/>
                      </a:lnTo>
                      <a:lnTo>
                        <a:pt x="160" y="220"/>
                      </a:lnTo>
                      <a:lnTo>
                        <a:pt x="162" y="220"/>
                      </a:lnTo>
                      <a:lnTo>
                        <a:pt x="164" y="219"/>
                      </a:lnTo>
                      <a:lnTo>
                        <a:pt x="165" y="219"/>
                      </a:lnTo>
                      <a:lnTo>
                        <a:pt x="165" y="217"/>
                      </a:lnTo>
                      <a:lnTo>
                        <a:pt x="167" y="217"/>
                      </a:lnTo>
                      <a:lnTo>
                        <a:pt x="169" y="217"/>
                      </a:lnTo>
                      <a:lnTo>
                        <a:pt x="169" y="219"/>
                      </a:lnTo>
                      <a:lnTo>
                        <a:pt x="169" y="217"/>
                      </a:lnTo>
                      <a:lnTo>
                        <a:pt x="170" y="217"/>
                      </a:lnTo>
                      <a:lnTo>
                        <a:pt x="170" y="216"/>
                      </a:lnTo>
                      <a:lnTo>
                        <a:pt x="172" y="216"/>
                      </a:lnTo>
                      <a:lnTo>
                        <a:pt x="172" y="214"/>
                      </a:lnTo>
                      <a:lnTo>
                        <a:pt x="172" y="212"/>
                      </a:lnTo>
                      <a:lnTo>
                        <a:pt x="174" y="211"/>
                      </a:lnTo>
                      <a:lnTo>
                        <a:pt x="174" y="209"/>
                      </a:lnTo>
                      <a:lnTo>
                        <a:pt x="175" y="209"/>
                      </a:lnTo>
                      <a:lnTo>
                        <a:pt x="177" y="209"/>
                      </a:lnTo>
                      <a:lnTo>
                        <a:pt x="177" y="207"/>
                      </a:lnTo>
                      <a:lnTo>
                        <a:pt x="179" y="207"/>
                      </a:lnTo>
                      <a:lnTo>
                        <a:pt x="179" y="206"/>
                      </a:lnTo>
                      <a:lnTo>
                        <a:pt x="180" y="206"/>
                      </a:lnTo>
                      <a:lnTo>
                        <a:pt x="182" y="206"/>
                      </a:lnTo>
                      <a:lnTo>
                        <a:pt x="184" y="206"/>
                      </a:lnTo>
                      <a:lnTo>
                        <a:pt x="186" y="206"/>
                      </a:lnTo>
                      <a:lnTo>
                        <a:pt x="186" y="204"/>
                      </a:lnTo>
                      <a:lnTo>
                        <a:pt x="187" y="202"/>
                      </a:lnTo>
                      <a:lnTo>
                        <a:pt x="186" y="201"/>
                      </a:lnTo>
                      <a:lnTo>
                        <a:pt x="186" y="199"/>
                      </a:lnTo>
                      <a:lnTo>
                        <a:pt x="186" y="197"/>
                      </a:lnTo>
                      <a:lnTo>
                        <a:pt x="187" y="197"/>
                      </a:lnTo>
                      <a:lnTo>
                        <a:pt x="189" y="197"/>
                      </a:lnTo>
                      <a:lnTo>
                        <a:pt x="191" y="197"/>
                      </a:lnTo>
                      <a:lnTo>
                        <a:pt x="191" y="196"/>
                      </a:lnTo>
                      <a:lnTo>
                        <a:pt x="192" y="196"/>
                      </a:lnTo>
                      <a:lnTo>
                        <a:pt x="192" y="194"/>
                      </a:lnTo>
                      <a:lnTo>
                        <a:pt x="194" y="194"/>
                      </a:lnTo>
                      <a:lnTo>
                        <a:pt x="194" y="193"/>
                      </a:lnTo>
                      <a:lnTo>
                        <a:pt x="196" y="193"/>
                      </a:lnTo>
                      <a:lnTo>
                        <a:pt x="197" y="193"/>
                      </a:lnTo>
                      <a:lnTo>
                        <a:pt x="199" y="194"/>
                      </a:lnTo>
                      <a:lnTo>
                        <a:pt x="201" y="196"/>
                      </a:lnTo>
                      <a:lnTo>
                        <a:pt x="202" y="194"/>
                      </a:lnTo>
                      <a:lnTo>
                        <a:pt x="204" y="194"/>
                      </a:lnTo>
                      <a:lnTo>
                        <a:pt x="206" y="193"/>
                      </a:lnTo>
                      <a:lnTo>
                        <a:pt x="206" y="191"/>
                      </a:lnTo>
                      <a:lnTo>
                        <a:pt x="207" y="191"/>
                      </a:lnTo>
                      <a:lnTo>
                        <a:pt x="209" y="191"/>
                      </a:lnTo>
                      <a:lnTo>
                        <a:pt x="211" y="191"/>
                      </a:lnTo>
                      <a:lnTo>
                        <a:pt x="213" y="191"/>
                      </a:lnTo>
                      <a:lnTo>
                        <a:pt x="213" y="189"/>
                      </a:lnTo>
                      <a:lnTo>
                        <a:pt x="214" y="188"/>
                      </a:lnTo>
                      <a:lnTo>
                        <a:pt x="216" y="186"/>
                      </a:lnTo>
                      <a:lnTo>
                        <a:pt x="218" y="186"/>
                      </a:lnTo>
                      <a:lnTo>
                        <a:pt x="219" y="186"/>
                      </a:lnTo>
                      <a:lnTo>
                        <a:pt x="219" y="188"/>
                      </a:lnTo>
                      <a:lnTo>
                        <a:pt x="221" y="188"/>
                      </a:lnTo>
                      <a:lnTo>
                        <a:pt x="221" y="189"/>
                      </a:lnTo>
                      <a:lnTo>
                        <a:pt x="223" y="191"/>
                      </a:lnTo>
                      <a:lnTo>
                        <a:pt x="223" y="193"/>
                      </a:lnTo>
                      <a:lnTo>
                        <a:pt x="224" y="193"/>
                      </a:lnTo>
                      <a:lnTo>
                        <a:pt x="226" y="193"/>
                      </a:lnTo>
                      <a:lnTo>
                        <a:pt x="228" y="193"/>
                      </a:lnTo>
                      <a:lnTo>
                        <a:pt x="229" y="191"/>
                      </a:lnTo>
                      <a:lnTo>
                        <a:pt x="229" y="193"/>
                      </a:lnTo>
                      <a:lnTo>
                        <a:pt x="231" y="193"/>
                      </a:lnTo>
                      <a:lnTo>
                        <a:pt x="233" y="193"/>
                      </a:lnTo>
                      <a:lnTo>
                        <a:pt x="233" y="194"/>
                      </a:lnTo>
                      <a:lnTo>
                        <a:pt x="235" y="194"/>
                      </a:lnTo>
                      <a:lnTo>
                        <a:pt x="236" y="194"/>
                      </a:lnTo>
                      <a:lnTo>
                        <a:pt x="236" y="193"/>
                      </a:lnTo>
                      <a:lnTo>
                        <a:pt x="238" y="193"/>
                      </a:lnTo>
                      <a:lnTo>
                        <a:pt x="238" y="191"/>
                      </a:lnTo>
                      <a:lnTo>
                        <a:pt x="238" y="189"/>
                      </a:lnTo>
                      <a:lnTo>
                        <a:pt x="240" y="189"/>
                      </a:lnTo>
                      <a:lnTo>
                        <a:pt x="241" y="189"/>
                      </a:lnTo>
                      <a:lnTo>
                        <a:pt x="243" y="189"/>
                      </a:lnTo>
                      <a:lnTo>
                        <a:pt x="243" y="188"/>
                      </a:lnTo>
                      <a:lnTo>
                        <a:pt x="243" y="186"/>
                      </a:lnTo>
                      <a:lnTo>
                        <a:pt x="243" y="184"/>
                      </a:lnTo>
                      <a:lnTo>
                        <a:pt x="245" y="181"/>
                      </a:lnTo>
                      <a:lnTo>
                        <a:pt x="246" y="179"/>
                      </a:lnTo>
                      <a:lnTo>
                        <a:pt x="246" y="176"/>
                      </a:lnTo>
                      <a:lnTo>
                        <a:pt x="246" y="175"/>
                      </a:lnTo>
                      <a:lnTo>
                        <a:pt x="246" y="173"/>
                      </a:lnTo>
                      <a:lnTo>
                        <a:pt x="248" y="173"/>
                      </a:lnTo>
                      <a:lnTo>
                        <a:pt x="250" y="173"/>
                      </a:lnTo>
                      <a:lnTo>
                        <a:pt x="251" y="175"/>
                      </a:lnTo>
                      <a:lnTo>
                        <a:pt x="253" y="175"/>
                      </a:lnTo>
                      <a:lnTo>
                        <a:pt x="255" y="175"/>
                      </a:lnTo>
                      <a:lnTo>
                        <a:pt x="256" y="175"/>
                      </a:lnTo>
                      <a:lnTo>
                        <a:pt x="256" y="173"/>
                      </a:lnTo>
                      <a:lnTo>
                        <a:pt x="256" y="171"/>
                      </a:lnTo>
                      <a:lnTo>
                        <a:pt x="258" y="170"/>
                      </a:lnTo>
                      <a:lnTo>
                        <a:pt x="258" y="168"/>
                      </a:lnTo>
                      <a:lnTo>
                        <a:pt x="260" y="168"/>
                      </a:lnTo>
                      <a:lnTo>
                        <a:pt x="260" y="166"/>
                      </a:lnTo>
                      <a:lnTo>
                        <a:pt x="262" y="166"/>
                      </a:lnTo>
                      <a:lnTo>
                        <a:pt x="262" y="165"/>
                      </a:lnTo>
                      <a:lnTo>
                        <a:pt x="263" y="165"/>
                      </a:lnTo>
                      <a:lnTo>
                        <a:pt x="265" y="163"/>
                      </a:lnTo>
                      <a:lnTo>
                        <a:pt x="265" y="161"/>
                      </a:lnTo>
                      <a:lnTo>
                        <a:pt x="265" y="160"/>
                      </a:lnTo>
                      <a:lnTo>
                        <a:pt x="265" y="158"/>
                      </a:lnTo>
                      <a:lnTo>
                        <a:pt x="265" y="156"/>
                      </a:lnTo>
                      <a:lnTo>
                        <a:pt x="267" y="155"/>
                      </a:lnTo>
                      <a:lnTo>
                        <a:pt x="268" y="155"/>
                      </a:lnTo>
                      <a:lnTo>
                        <a:pt x="270" y="153"/>
                      </a:lnTo>
                      <a:lnTo>
                        <a:pt x="270" y="152"/>
                      </a:lnTo>
                      <a:lnTo>
                        <a:pt x="272" y="148"/>
                      </a:lnTo>
                      <a:lnTo>
                        <a:pt x="272" y="147"/>
                      </a:lnTo>
                      <a:lnTo>
                        <a:pt x="272" y="145"/>
                      </a:lnTo>
                      <a:lnTo>
                        <a:pt x="270" y="145"/>
                      </a:lnTo>
                      <a:lnTo>
                        <a:pt x="272" y="143"/>
                      </a:lnTo>
                      <a:lnTo>
                        <a:pt x="272" y="142"/>
                      </a:lnTo>
                      <a:lnTo>
                        <a:pt x="273" y="142"/>
                      </a:lnTo>
                      <a:lnTo>
                        <a:pt x="275" y="142"/>
                      </a:lnTo>
                      <a:lnTo>
                        <a:pt x="278" y="142"/>
                      </a:lnTo>
                      <a:lnTo>
                        <a:pt x="278" y="140"/>
                      </a:lnTo>
                      <a:lnTo>
                        <a:pt x="278" y="138"/>
                      </a:lnTo>
                      <a:lnTo>
                        <a:pt x="280" y="138"/>
                      </a:lnTo>
                      <a:lnTo>
                        <a:pt x="280" y="137"/>
                      </a:lnTo>
                      <a:lnTo>
                        <a:pt x="282" y="137"/>
                      </a:lnTo>
                      <a:lnTo>
                        <a:pt x="282" y="135"/>
                      </a:lnTo>
                      <a:lnTo>
                        <a:pt x="280" y="133"/>
                      </a:lnTo>
                      <a:lnTo>
                        <a:pt x="278" y="133"/>
                      </a:lnTo>
                      <a:lnTo>
                        <a:pt x="277" y="132"/>
                      </a:lnTo>
                      <a:lnTo>
                        <a:pt x="278" y="130"/>
                      </a:lnTo>
                      <a:lnTo>
                        <a:pt x="278" y="129"/>
                      </a:lnTo>
                      <a:lnTo>
                        <a:pt x="277" y="129"/>
                      </a:lnTo>
                      <a:lnTo>
                        <a:pt x="277" y="127"/>
                      </a:lnTo>
                      <a:lnTo>
                        <a:pt x="278" y="127"/>
                      </a:lnTo>
                      <a:lnTo>
                        <a:pt x="278" y="125"/>
                      </a:lnTo>
                      <a:lnTo>
                        <a:pt x="280" y="125"/>
                      </a:lnTo>
                      <a:lnTo>
                        <a:pt x="280" y="124"/>
                      </a:lnTo>
                      <a:lnTo>
                        <a:pt x="280" y="122"/>
                      </a:lnTo>
                      <a:lnTo>
                        <a:pt x="282" y="120"/>
                      </a:lnTo>
                      <a:lnTo>
                        <a:pt x="280" y="119"/>
                      </a:lnTo>
                      <a:lnTo>
                        <a:pt x="278" y="119"/>
                      </a:lnTo>
                      <a:lnTo>
                        <a:pt x="278" y="117"/>
                      </a:lnTo>
                      <a:lnTo>
                        <a:pt x="277" y="117"/>
                      </a:lnTo>
                      <a:lnTo>
                        <a:pt x="275" y="117"/>
                      </a:lnTo>
                      <a:lnTo>
                        <a:pt x="275" y="115"/>
                      </a:lnTo>
                      <a:lnTo>
                        <a:pt x="273" y="115"/>
                      </a:lnTo>
                      <a:lnTo>
                        <a:pt x="272" y="114"/>
                      </a:lnTo>
                      <a:lnTo>
                        <a:pt x="270" y="114"/>
                      </a:lnTo>
                      <a:lnTo>
                        <a:pt x="268" y="112"/>
                      </a:lnTo>
                      <a:lnTo>
                        <a:pt x="268" y="110"/>
                      </a:lnTo>
                      <a:lnTo>
                        <a:pt x="268" y="109"/>
                      </a:lnTo>
                      <a:lnTo>
                        <a:pt x="268" y="107"/>
                      </a:lnTo>
                      <a:lnTo>
                        <a:pt x="267" y="106"/>
                      </a:lnTo>
                      <a:lnTo>
                        <a:pt x="265" y="102"/>
                      </a:lnTo>
                      <a:lnTo>
                        <a:pt x="265" y="101"/>
                      </a:lnTo>
                      <a:lnTo>
                        <a:pt x="265" y="99"/>
                      </a:lnTo>
                      <a:lnTo>
                        <a:pt x="265" y="97"/>
                      </a:lnTo>
                      <a:lnTo>
                        <a:pt x="263" y="96"/>
                      </a:lnTo>
                      <a:lnTo>
                        <a:pt x="263" y="94"/>
                      </a:lnTo>
                      <a:lnTo>
                        <a:pt x="265" y="92"/>
                      </a:lnTo>
                      <a:lnTo>
                        <a:pt x="265" y="91"/>
                      </a:lnTo>
                      <a:lnTo>
                        <a:pt x="267" y="89"/>
                      </a:lnTo>
                      <a:lnTo>
                        <a:pt x="267" y="87"/>
                      </a:lnTo>
                      <a:lnTo>
                        <a:pt x="268" y="87"/>
                      </a:lnTo>
                      <a:lnTo>
                        <a:pt x="268" y="86"/>
                      </a:lnTo>
                      <a:lnTo>
                        <a:pt x="270" y="84"/>
                      </a:lnTo>
                      <a:lnTo>
                        <a:pt x="272" y="84"/>
                      </a:lnTo>
                      <a:lnTo>
                        <a:pt x="273" y="83"/>
                      </a:lnTo>
                      <a:lnTo>
                        <a:pt x="275" y="83"/>
                      </a:lnTo>
                      <a:lnTo>
                        <a:pt x="277" y="81"/>
                      </a:lnTo>
                      <a:lnTo>
                        <a:pt x="278" y="81"/>
                      </a:lnTo>
                      <a:lnTo>
                        <a:pt x="280" y="81"/>
                      </a:lnTo>
                      <a:lnTo>
                        <a:pt x="282" y="79"/>
                      </a:lnTo>
                      <a:lnTo>
                        <a:pt x="283" y="79"/>
                      </a:lnTo>
                      <a:lnTo>
                        <a:pt x="283" y="78"/>
                      </a:lnTo>
                      <a:lnTo>
                        <a:pt x="285" y="78"/>
                      </a:lnTo>
                      <a:lnTo>
                        <a:pt x="285" y="76"/>
                      </a:lnTo>
                      <a:lnTo>
                        <a:pt x="287" y="74"/>
                      </a:lnTo>
                      <a:lnTo>
                        <a:pt x="287" y="73"/>
                      </a:lnTo>
                      <a:lnTo>
                        <a:pt x="287" y="71"/>
                      </a:lnTo>
                      <a:lnTo>
                        <a:pt x="289" y="71"/>
                      </a:lnTo>
                      <a:lnTo>
                        <a:pt x="290" y="71"/>
                      </a:lnTo>
                      <a:lnTo>
                        <a:pt x="292" y="71"/>
                      </a:lnTo>
                      <a:lnTo>
                        <a:pt x="294" y="69"/>
                      </a:lnTo>
                      <a:lnTo>
                        <a:pt x="295" y="69"/>
                      </a:lnTo>
                      <a:lnTo>
                        <a:pt x="297" y="68"/>
                      </a:lnTo>
                      <a:lnTo>
                        <a:pt x="299" y="68"/>
                      </a:lnTo>
                      <a:lnTo>
                        <a:pt x="300" y="66"/>
                      </a:lnTo>
                      <a:lnTo>
                        <a:pt x="300" y="68"/>
                      </a:lnTo>
                      <a:lnTo>
                        <a:pt x="302" y="68"/>
                      </a:lnTo>
                      <a:lnTo>
                        <a:pt x="304" y="68"/>
                      </a:lnTo>
                      <a:lnTo>
                        <a:pt x="307" y="71"/>
                      </a:lnTo>
                      <a:lnTo>
                        <a:pt x="307" y="73"/>
                      </a:lnTo>
                      <a:lnTo>
                        <a:pt x="307" y="74"/>
                      </a:lnTo>
                      <a:lnTo>
                        <a:pt x="309" y="74"/>
                      </a:lnTo>
                      <a:lnTo>
                        <a:pt x="309" y="76"/>
                      </a:lnTo>
                      <a:lnTo>
                        <a:pt x="311" y="76"/>
                      </a:lnTo>
                      <a:lnTo>
                        <a:pt x="311" y="78"/>
                      </a:lnTo>
                      <a:lnTo>
                        <a:pt x="312" y="76"/>
                      </a:lnTo>
                      <a:lnTo>
                        <a:pt x="312" y="78"/>
                      </a:lnTo>
                      <a:lnTo>
                        <a:pt x="314" y="78"/>
                      </a:lnTo>
                      <a:lnTo>
                        <a:pt x="314" y="79"/>
                      </a:lnTo>
                      <a:lnTo>
                        <a:pt x="316" y="79"/>
                      </a:lnTo>
                      <a:lnTo>
                        <a:pt x="316" y="81"/>
                      </a:lnTo>
                      <a:lnTo>
                        <a:pt x="317" y="81"/>
                      </a:lnTo>
                      <a:lnTo>
                        <a:pt x="317" y="83"/>
                      </a:lnTo>
                      <a:lnTo>
                        <a:pt x="319" y="81"/>
                      </a:lnTo>
                      <a:lnTo>
                        <a:pt x="321" y="81"/>
                      </a:lnTo>
                      <a:lnTo>
                        <a:pt x="322" y="81"/>
                      </a:lnTo>
                      <a:lnTo>
                        <a:pt x="322" y="79"/>
                      </a:lnTo>
                      <a:lnTo>
                        <a:pt x="324" y="79"/>
                      </a:lnTo>
                      <a:lnTo>
                        <a:pt x="324" y="81"/>
                      </a:lnTo>
                      <a:lnTo>
                        <a:pt x="326" y="81"/>
                      </a:lnTo>
                      <a:lnTo>
                        <a:pt x="327" y="81"/>
                      </a:lnTo>
                      <a:lnTo>
                        <a:pt x="329" y="79"/>
                      </a:lnTo>
                      <a:lnTo>
                        <a:pt x="329" y="78"/>
                      </a:lnTo>
                      <a:lnTo>
                        <a:pt x="331" y="78"/>
                      </a:lnTo>
                      <a:lnTo>
                        <a:pt x="331" y="79"/>
                      </a:lnTo>
                      <a:lnTo>
                        <a:pt x="331" y="78"/>
                      </a:lnTo>
                      <a:lnTo>
                        <a:pt x="332" y="78"/>
                      </a:lnTo>
                      <a:lnTo>
                        <a:pt x="334" y="78"/>
                      </a:lnTo>
                      <a:lnTo>
                        <a:pt x="334" y="79"/>
                      </a:lnTo>
                      <a:lnTo>
                        <a:pt x="334" y="78"/>
                      </a:lnTo>
                      <a:lnTo>
                        <a:pt x="336" y="79"/>
                      </a:lnTo>
                      <a:lnTo>
                        <a:pt x="338" y="79"/>
                      </a:lnTo>
                      <a:lnTo>
                        <a:pt x="339" y="79"/>
                      </a:lnTo>
                      <a:lnTo>
                        <a:pt x="339" y="81"/>
                      </a:lnTo>
                      <a:lnTo>
                        <a:pt x="341" y="81"/>
                      </a:lnTo>
                      <a:lnTo>
                        <a:pt x="343" y="81"/>
                      </a:lnTo>
                      <a:lnTo>
                        <a:pt x="344" y="81"/>
                      </a:lnTo>
                      <a:lnTo>
                        <a:pt x="344" y="79"/>
                      </a:lnTo>
                      <a:lnTo>
                        <a:pt x="346" y="79"/>
                      </a:lnTo>
                      <a:lnTo>
                        <a:pt x="346" y="81"/>
                      </a:lnTo>
                      <a:lnTo>
                        <a:pt x="348" y="81"/>
                      </a:lnTo>
                      <a:lnTo>
                        <a:pt x="348" y="83"/>
                      </a:lnTo>
                      <a:lnTo>
                        <a:pt x="348" y="84"/>
                      </a:lnTo>
                      <a:lnTo>
                        <a:pt x="348" y="86"/>
                      </a:lnTo>
                      <a:lnTo>
                        <a:pt x="348" y="87"/>
                      </a:lnTo>
                      <a:lnTo>
                        <a:pt x="349" y="89"/>
                      </a:lnTo>
                      <a:lnTo>
                        <a:pt x="349" y="91"/>
                      </a:lnTo>
                      <a:lnTo>
                        <a:pt x="351" y="91"/>
                      </a:lnTo>
                      <a:lnTo>
                        <a:pt x="353" y="91"/>
                      </a:lnTo>
                      <a:lnTo>
                        <a:pt x="353" y="92"/>
                      </a:lnTo>
                      <a:lnTo>
                        <a:pt x="354" y="92"/>
                      </a:lnTo>
                      <a:lnTo>
                        <a:pt x="354" y="94"/>
                      </a:lnTo>
                      <a:lnTo>
                        <a:pt x="356" y="94"/>
                      </a:lnTo>
                      <a:lnTo>
                        <a:pt x="358" y="94"/>
                      </a:lnTo>
                      <a:lnTo>
                        <a:pt x="359" y="94"/>
                      </a:lnTo>
                      <a:lnTo>
                        <a:pt x="359" y="96"/>
                      </a:lnTo>
                      <a:lnTo>
                        <a:pt x="361" y="97"/>
                      </a:lnTo>
                      <a:lnTo>
                        <a:pt x="361" y="99"/>
                      </a:lnTo>
                      <a:lnTo>
                        <a:pt x="361" y="101"/>
                      </a:lnTo>
                      <a:lnTo>
                        <a:pt x="363" y="101"/>
                      </a:lnTo>
                      <a:lnTo>
                        <a:pt x="366" y="101"/>
                      </a:lnTo>
                      <a:lnTo>
                        <a:pt x="366" y="99"/>
                      </a:lnTo>
                      <a:lnTo>
                        <a:pt x="366" y="97"/>
                      </a:lnTo>
                      <a:lnTo>
                        <a:pt x="368" y="97"/>
                      </a:lnTo>
                      <a:lnTo>
                        <a:pt x="370" y="96"/>
                      </a:lnTo>
                      <a:lnTo>
                        <a:pt x="371" y="94"/>
                      </a:lnTo>
                      <a:lnTo>
                        <a:pt x="370" y="92"/>
                      </a:lnTo>
                      <a:lnTo>
                        <a:pt x="371" y="92"/>
                      </a:lnTo>
                      <a:lnTo>
                        <a:pt x="373" y="92"/>
                      </a:lnTo>
                      <a:lnTo>
                        <a:pt x="375" y="94"/>
                      </a:lnTo>
                      <a:lnTo>
                        <a:pt x="376" y="94"/>
                      </a:lnTo>
                      <a:lnTo>
                        <a:pt x="376" y="92"/>
                      </a:lnTo>
                      <a:lnTo>
                        <a:pt x="378" y="92"/>
                      </a:lnTo>
                      <a:lnTo>
                        <a:pt x="380" y="92"/>
                      </a:lnTo>
                      <a:lnTo>
                        <a:pt x="381" y="91"/>
                      </a:lnTo>
                      <a:lnTo>
                        <a:pt x="381" y="89"/>
                      </a:lnTo>
                      <a:lnTo>
                        <a:pt x="383" y="89"/>
                      </a:lnTo>
                      <a:lnTo>
                        <a:pt x="385" y="89"/>
                      </a:lnTo>
                      <a:lnTo>
                        <a:pt x="387" y="89"/>
                      </a:lnTo>
                      <a:lnTo>
                        <a:pt x="388" y="89"/>
                      </a:lnTo>
                      <a:lnTo>
                        <a:pt x="390" y="89"/>
                      </a:lnTo>
                      <a:lnTo>
                        <a:pt x="392" y="89"/>
                      </a:lnTo>
                      <a:lnTo>
                        <a:pt x="392" y="87"/>
                      </a:lnTo>
                      <a:lnTo>
                        <a:pt x="393" y="87"/>
                      </a:lnTo>
                      <a:lnTo>
                        <a:pt x="392" y="86"/>
                      </a:lnTo>
                      <a:lnTo>
                        <a:pt x="393" y="86"/>
                      </a:lnTo>
                      <a:lnTo>
                        <a:pt x="395" y="86"/>
                      </a:lnTo>
                      <a:lnTo>
                        <a:pt x="397" y="86"/>
                      </a:lnTo>
                      <a:lnTo>
                        <a:pt x="397" y="84"/>
                      </a:lnTo>
                      <a:lnTo>
                        <a:pt x="398" y="84"/>
                      </a:lnTo>
                      <a:lnTo>
                        <a:pt x="398" y="81"/>
                      </a:lnTo>
                      <a:lnTo>
                        <a:pt x="402" y="79"/>
                      </a:lnTo>
                      <a:lnTo>
                        <a:pt x="403" y="79"/>
                      </a:lnTo>
                      <a:lnTo>
                        <a:pt x="405" y="78"/>
                      </a:lnTo>
                      <a:lnTo>
                        <a:pt x="405" y="76"/>
                      </a:lnTo>
                      <a:lnTo>
                        <a:pt x="405" y="74"/>
                      </a:lnTo>
                      <a:lnTo>
                        <a:pt x="408" y="74"/>
                      </a:lnTo>
                      <a:lnTo>
                        <a:pt x="408" y="73"/>
                      </a:lnTo>
                      <a:lnTo>
                        <a:pt x="410" y="73"/>
                      </a:lnTo>
                      <a:lnTo>
                        <a:pt x="410" y="71"/>
                      </a:lnTo>
                      <a:lnTo>
                        <a:pt x="412" y="71"/>
                      </a:lnTo>
                      <a:lnTo>
                        <a:pt x="414" y="71"/>
                      </a:lnTo>
                      <a:lnTo>
                        <a:pt x="415" y="69"/>
                      </a:lnTo>
                      <a:lnTo>
                        <a:pt x="417" y="69"/>
                      </a:lnTo>
                      <a:lnTo>
                        <a:pt x="419" y="69"/>
                      </a:lnTo>
                      <a:lnTo>
                        <a:pt x="420" y="69"/>
                      </a:lnTo>
                      <a:lnTo>
                        <a:pt x="422" y="69"/>
                      </a:lnTo>
                      <a:lnTo>
                        <a:pt x="424" y="69"/>
                      </a:lnTo>
                      <a:lnTo>
                        <a:pt x="425" y="69"/>
                      </a:lnTo>
                      <a:lnTo>
                        <a:pt x="427" y="69"/>
                      </a:lnTo>
                      <a:lnTo>
                        <a:pt x="429" y="69"/>
                      </a:lnTo>
                      <a:lnTo>
                        <a:pt x="430" y="68"/>
                      </a:lnTo>
                      <a:lnTo>
                        <a:pt x="432" y="66"/>
                      </a:lnTo>
                      <a:lnTo>
                        <a:pt x="434" y="66"/>
                      </a:lnTo>
                      <a:lnTo>
                        <a:pt x="435" y="66"/>
                      </a:lnTo>
                      <a:lnTo>
                        <a:pt x="437" y="66"/>
                      </a:lnTo>
                      <a:lnTo>
                        <a:pt x="439" y="68"/>
                      </a:lnTo>
                      <a:lnTo>
                        <a:pt x="441" y="66"/>
                      </a:lnTo>
                      <a:lnTo>
                        <a:pt x="442" y="66"/>
                      </a:lnTo>
                      <a:lnTo>
                        <a:pt x="442" y="68"/>
                      </a:lnTo>
                      <a:lnTo>
                        <a:pt x="444" y="68"/>
                      </a:lnTo>
                      <a:lnTo>
                        <a:pt x="446" y="68"/>
                      </a:lnTo>
                      <a:lnTo>
                        <a:pt x="447" y="68"/>
                      </a:lnTo>
                      <a:lnTo>
                        <a:pt x="447" y="66"/>
                      </a:lnTo>
                      <a:lnTo>
                        <a:pt x="449" y="66"/>
                      </a:lnTo>
                      <a:lnTo>
                        <a:pt x="451" y="66"/>
                      </a:lnTo>
                      <a:lnTo>
                        <a:pt x="451" y="64"/>
                      </a:lnTo>
                      <a:lnTo>
                        <a:pt x="452" y="64"/>
                      </a:lnTo>
                      <a:lnTo>
                        <a:pt x="454" y="66"/>
                      </a:lnTo>
                      <a:lnTo>
                        <a:pt x="454" y="64"/>
                      </a:lnTo>
                      <a:lnTo>
                        <a:pt x="456" y="63"/>
                      </a:lnTo>
                      <a:lnTo>
                        <a:pt x="456" y="60"/>
                      </a:lnTo>
                      <a:lnTo>
                        <a:pt x="457" y="58"/>
                      </a:lnTo>
                      <a:lnTo>
                        <a:pt x="457" y="56"/>
                      </a:lnTo>
                      <a:lnTo>
                        <a:pt x="459" y="56"/>
                      </a:lnTo>
                      <a:lnTo>
                        <a:pt x="459" y="55"/>
                      </a:lnTo>
                      <a:lnTo>
                        <a:pt x="461" y="53"/>
                      </a:lnTo>
                      <a:lnTo>
                        <a:pt x="463" y="53"/>
                      </a:lnTo>
                      <a:lnTo>
                        <a:pt x="464" y="51"/>
                      </a:lnTo>
                      <a:lnTo>
                        <a:pt x="464" y="50"/>
                      </a:lnTo>
                      <a:lnTo>
                        <a:pt x="464" y="48"/>
                      </a:lnTo>
                      <a:lnTo>
                        <a:pt x="464" y="46"/>
                      </a:lnTo>
                      <a:lnTo>
                        <a:pt x="464" y="45"/>
                      </a:lnTo>
                      <a:lnTo>
                        <a:pt x="466" y="43"/>
                      </a:lnTo>
                      <a:lnTo>
                        <a:pt x="468" y="45"/>
                      </a:lnTo>
                      <a:lnTo>
                        <a:pt x="469" y="45"/>
                      </a:lnTo>
                      <a:lnTo>
                        <a:pt x="469" y="43"/>
                      </a:lnTo>
                      <a:lnTo>
                        <a:pt x="471" y="43"/>
                      </a:lnTo>
                      <a:lnTo>
                        <a:pt x="469" y="43"/>
                      </a:lnTo>
                      <a:lnTo>
                        <a:pt x="471" y="41"/>
                      </a:lnTo>
                      <a:lnTo>
                        <a:pt x="473" y="41"/>
                      </a:lnTo>
                      <a:lnTo>
                        <a:pt x="474" y="41"/>
                      </a:lnTo>
                      <a:lnTo>
                        <a:pt x="474" y="40"/>
                      </a:lnTo>
                      <a:lnTo>
                        <a:pt x="476" y="40"/>
                      </a:lnTo>
                      <a:lnTo>
                        <a:pt x="476" y="38"/>
                      </a:lnTo>
                      <a:lnTo>
                        <a:pt x="478" y="40"/>
                      </a:lnTo>
                      <a:lnTo>
                        <a:pt x="478" y="38"/>
                      </a:lnTo>
                      <a:lnTo>
                        <a:pt x="479" y="38"/>
                      </a:lnTo>
                      <a:lnTo>
                        <a:pt x="479" y="40"/>
                      </a:lnTo>
                      <a:lnTo>
                        <a:pt x="481" y="40"/>
                      </a:lnTo>
                      <a:lnTo>
                        <a:pt x="483" y="40"/>
                      </a:lnTo>
                      <a:lnTo>
                        <a:pt x="481" y="38"/>
                      </a:lnTo>
                      <a:lnTo>
                        <a:pt x="483" y="38"/>
                      </a:lnTo>
                      <a:lnTo>
                        <a:pt x="481" y="38"/>
                      </a:lnTo>
                      <a:lnTo>
                        <a:pt x="483" y="37"/>
                      </a:lnTo>
                      <a:lnTo>
                        <a:pt x="484" y="35"/>
                      </a:lnTo>
                      <a:lnTo>
                        <a:pt x="484" y="33"/>
                      </a:lnTo>
                      <a:lnTo>
                        <a:pt x="486" y="33"/>
                      </a:lnTo>
                      <a:lnTo>
                        <a:pt x="486" y="32"/>
                      </a:lnTo>
                      <a:lnTo>
                        <a:pt x="484" y="32"/>
                      </a:lnTo>
                      <a:lnTo>
                        <a:pt x="486" y="30"/>
                      </a:lnTo>
                      <a:lnTo>
                        <a:pt x="488" y="28"/>
                      </a:lnTo>
                      <a:lnTo>
                        <a:pt x="490" y="28"/>
                      </a:lnTo>
                      <a:lnTo>
                        <a:pt x="490" y="27"/>
                      </a:lnTo>
                      <a:lnTo>
                        <a:pt x="491" y="25"/>
                      </a:lnTo>
                      <a:lnTo>
                        <a:pt x="493" y="25"/>
                      </a:lnTo>
                      <a:lnTo>
                        <a:pt x="493" y="23"/>
                      </a:lnTo>
                      <a:lnTo>
                        <a:pt x="493" y="25"/>
                      </a:lnTo>
                      <a:lnTo>
                        <a:pt x="495" y="22"/>
                      </a:lnTo>
                      <a:lnTo>
                        <a:pt x="496" y="20"/>
                      </a:lnTo>
                      <a:lnTo>
                        <a:pt x="496" y="18"/>
                      </a:lnTo>
                      <a:lnTo>
                        <a:pt x="496" y="17"/>
                      </a:lnTo>
                      <a:lnTo>
                        <a:pt x="498" y="15"/>
                      </a:lnTo>
                      <a:lnTo>
                        <a:pt x="500" y="15"/>
                      </a:lnTo>
                      <a:lnTo>
                        <a:pt x="500" y="17"/>
                      </a:lnTo>
                      <a:lnTo>
                        <a:pt x="501" y="17"/>
                      </a:lnTo>
                      <a:lnTo>
                        <a:pt x="501" y="18"/>
                      </a:lnTo>
                      <a:lnTo>
                        <a:pt x="503" y="18"/>
                      </a:lnTo>
                      <a:lnTo>
                        <a:pt x="503" y="17"/>
                      </a:lnTo>
                      <a:lnTo>
                        <a:pt x="505" y="17"/>
                      </a:lnTo>
                      <a:lnTo>
                        <a:pt x="505" y="18"/>
                      </a:lnTo>
                      <a:lnTo>
                        <a:pt x="506" y="18"/>
                      </a:lnTo>
                      <a:lnTo>
                        <a:pt x="508" y="18"/>
                      </a:lnTo>
                      <a:lnTo>
                        <a:pt x="508" y="17"/>
                      </a:lnTo>
                      <a:lnTo>
                        <a:pt x="510" y="17"/>
                      </a:lnTo>
                      <a:lnTo>
                        <a:pt x="511" y="17"/>
                      </a:lnTo>
                      <a:lnTo>
                        <a:pt x="511" y="15"/>
                      </a:lnTo>
                      <a:lnTo>
                        <a:pt x="513" y="15"/>
                      </a:lnTo>
                      <a:lnTo>
                        <a:pt x="515" y="17"/>
                      </a:lnTo>
                      <a:lnTo>
                        <a:pt x="515" y="15"/>
                      </a:lnTo>
                      <a:lnTo>
                        <a:pt x="517" y="17"/>
                      </a:lnTo>
                      <a:lnTo>
                        <a:pt x="517" y="15"/>
                      </a:lnTo>
                      <a:lnTo>
                        <a:pt x="517" y="17"/>
                      </a:lnTo>
                      <a:lnTo>
                        <a:pt x="517" y="15"/>
                      </a:lnTo>
                      <a:lnTo>
                        <a:pt x="518" y="17"/>
                      </a:lnTo>
                      <a:lnTo>
                        <a:pt x="520" y="15"/>
                      </a:lnTo>
                      <a:lnTo>
                        <a:pt x="522" y="15"/>
                      </a:lnTo>
                      <a:lnTo>
                        <a:pt x="523" y="15"/>
                      </a:lnTo>
                      <a:lnTo>
                        <a:pt x="523" y="17"/>
                      </a:lnTo>
                      <a:lnTo>
                        <a:pt x="522" y="17"/>
                      </a:lnTo>
                      <a:lnTo>
                        <a:pt x="522" y="18"/>
                      </a:lnTo>
                      <a:lnTo>
                        <a:pt x="522" y="20"/>
                      </a:lnTo>
                      <a:lnTo>
                        <a:pt x="523" y="20"/>
                      </a:lnTo>
                      <a:lnTo>
                        <a:pt x="523" y="22"/>
                      </a:lnTo>
                      <a:lnTo>
                        <a:pt x="523" y="23"/>
                      </a:lnTo>
                      <a:lnTo>
                        <a:pt x="525" y="23"/>
                      </a:lnTo>
                      <a:lnTo>
                        <a:pt x="527" y="23"/>
                      </a:lnTo>
                      <a:lnTo>
                        <a:pt x="528" y="23"/>
                      </a:lnTo>
                      <a:lnTo>
                        <a:pt x="530" y="23"/>
                      </a:lnTo>
                      <a:lnTo>
                        <a:pt x="530" y="25"/>
                      </a:lnTo>
                      <a:lnTo>
                        <a:pt x="532" y="25"/>
                      </a:lnTo>
                      <a:lnTo>
                        <a:pt x="532" y="27"/>
                      </a:lnTo>
                      <a:lnTo>
                        <a:pt x="530" y="27"/>
                      </a:lnTo>
                      <a:lnTo>
                        <a:pt x="530" y="28"/>
                      </a:lnTo>
                      <a:lnTo>
                        <a:pt x="532" y="28"/>
                      </a:lnTo>
                      <a:lnTo>
                        <a:pt x="533" y="27"/>
                      </a:lnTo>
                      <a:lnTo>
                        <a:pt x="535" y="27"/>
                      </a:lnTo>
                      <a:lnTo>
                        <a:pt x="537" y="27"/>
                      </a:lnTo>
                      <a:lnTo>
                        <a:pt x="537" y="28"/>
                      </a:lnTo>
                      <a:lnTo>
                        <a:pt x="539" y="28"/>
                      </a:lnTo>
                      <a:lnTo>
                        <a:pt x="540" y="28"/>
                      </a:lnTo>
                      <a:lnTo>
                        <a:pt x="542" y="28"/>
                      </a:lnTo>
                      <a:lnTo>
                        <a:pt x="542" y="30"/>
                      </a:lnTo>
                      <a:lnTo>
                        <a:pt x="544" y="30"/>
                      </a:lnTo>
                      <a:lnTo>
                        <a:pt x="544" y="32"/>
                      </a:lnTo>
                      <a:lnTo>
                        <a:pt x="544" y="33"/>
                      </a:lnTo>
                      <a:lnTo>
                        <a:pt x="545" y="33"/>
                      </a:lnTo>
                      <a:lnTo>
                        <a:pt x="545" y="35"/>
                      </a:lnTo>
                      <a:lnTo>
                        <a:pt x="547" y="37"/>
                      </a:lnTo>
                      <a:lnTo>
                        <a:pt x="547" y="38"/>
                      </a:lnTo>
                      <a:lnTo>
                        <a:pt x="547" y="41"/>
                      </a:lnTo>
                      <a:lnTo>
                        <a:pt x="549" y="41"/>
                      </a:lnTo>
                      <a:lnTo>
                        <a:pt x="549" y="43"/>
                      </a:lnTo>
                      <a:lnTo>
                        <a:pt x="549" y="45"/>
                      </a:lnTo>
                      <a:lnTo>
                        <a:pt x="550" y="45"/>
                      </a:lnTo>
                      <a:lnTo>
                        <a:pt x="550" y="46"/>
                      </a:lnTo>
                      <a:lnTo>
                        <a:pt x="550" y="48"/>
                      </a:lnTo>
                      <a:lnTo>
                        <a:pt x="550" y="50"/>
                      </a:lnTo>
                      <a:lnTo>
                        <a:pt x="552" y="50"/>
                      </a:lnTo>
                      <a:lnTo>
                        <a:pt x="552" y="51"/>
                      </a:lnTo>
                      <a:lnTo>
                        <a:pt x="554" y="51"/>
                      </a:lnTo>
                      <a:lnTo>
                        <a:pt x="554" y="53"/>
                      </a:lnTo>
                      <a:lnTo>
                        <a:pt x="555" y="51"/>
                      </a:lnTo>
                      <a:lnTo>
                        <a:pt x="555" y="53"/>
                      </a:lnTo>
                      <a:lnTo>
                        <a:pt x="557" y="53"/>
                      </a:lnTo>
                      <a:lnTo>
                        <a:pt x="557" y="55"/>
                      </a:lnTo>
                      <a:lnTo>
                        <a:pt x="557" y="53"/>
                      </a:lnTo>
                      <a:lnTo>
                        <a:pt x="559" y="55"/>
                      </a:lnTo>
                      <a:lnTo>
                        <a:pt x="560" y="55"/>
                      </a:lnTo>
                      <a:lnTo>
                        <a:pt x="560" y="56"/>
                      </a:lnTo>
                      <a:lnTo>
                        <a:pt x="562" y="56"/>
                      </a:lnTo>
                      <a:lnTo>
                        <a:pt x="564" y="56"/>
                      </a:lnTo>
                      <a:lnTo>
                        <a:pt x="564" y="58"/>
                      </a:lnTo>
                      <a:lnTo>
                        <a:pt x="566" y="58"/>
                      </a:lnTo>
                      <a:lnTo>
                        <a:pt x="566" y="60"/>
                      </a:lnTo>
                      <a:lnTo>
                        <a:pt x="564" y="61"/>
                      </a:lnTo>
                      <a:lnTo>
                        <a:pt x="564" y="63"/>
                      </a:lnTo>
                      <a:lnTo>
                        <a:pt x="562" y="64"/>
                      </a:lnTo>
                      <a:lnTo>
                        <a:pt x="564" y="64"/>
                      </a:lnTo>
                      <a:lnTo>
                        <a:pt x="564" y="66"/>
                      </a:lnTo>
                      <a:lnTo>
                        <a:pt x="564" y="68"/>
                      </a:lnTo>
                      <a:lnTo>
                        <a:pt x="562" y="69"/>
                      </a:lnTo>
                      <a:lnTo>
                        <a:pt x="560" y="69"/>
                      </a:lnTo>
                      <a:lnTo>
                        <a:pt x="562" y="69"/>
                      </a:lnTo>
                      <a:lnTo>
                        <a:pt x="560" y="71"/>
                      </a:lnTo>
                      <a:lnTo>
                        <a:pt x="559" y="71"/>
                      </a:lnTo>
                      <a:lnTo>
                        <a:pt x="559" y="69"/>
                      </a:lnTo>
                      <a:lnTo>
                        <a:pt x="559" y="71"/>
                      </a:lnTo>
                      <a:lnTo>
                        <a:pt x="557" y="71"/>
                      </a:lnTo>
                      <a:lnTo>
                        <a:pt x="557" y="73"/>
                      </a:lnTo>
                      <a:lnTo>
                        <a:pt x="559" y="73"/>
                      </a:lnTo>
                      <a:lnTo>
                        <a:pt x="559" y="74"/>
                      </a:lnTo>
                      <a:lnTo>
                        <a:pt x="559" y="76"/>
                      </a:lnTo>
                      <a:lnTo>
                        <a:pt x="557" y="76"/>
                      </a:lnTo>
                      <a:lnTo>
                        <a:pt x="557" y="78"/>
                      </a:lnTo>
                      <a:lnTo>
                        <a:pt x="559" y="78"/>
                      </a:lnTo>
                      <a:lnTo>
                        <a:pt x="557" y="79"/>
                      </a:lnTo>
                      <a:lnTo>
                        <a:pt x="559" y="79"/>
                      </a:lnTo>
                      <a:lnTo>
                        <a:pt x="557" y="81"/>
                      </a:lnTo>
                      <a:lnTo>
                        <a:pt x="555" y="81"/>
                      </a:lnTo>
                      <a:lnTo>
                        <a:pt x="557" y="83"/>
                      </a:lnTo>
                      <a:lnTo>
                        <a:pt x="555" y="84"/>
                      </a:lnTo>
                      <a:lnTo>
                        <a:pt x="557" y="84"/>
                      </a:lnTo>
                      <a:lnTo>
                        <a:pt x="560" y="84"/>
                      </a:lnTo>
                      <a:lnTo>
                        <a:pt x="562" y="86"/>
                      </a:lnTo>
                      <a:lnTo>
                        <a:pt x="564" y="86"/>
                      </a:lnTo>
                      <a:lnTo>
                        <a:pt x="567" y="86"/>
                      </a:lnTo>
                      <a:lnTo>
                        <a:pt x="567" y="87"/>
                      </a:lnTo>
                      <a:lnTo>
                        <a:pt x="569" y="87"/>
                      </a:lnTo>
                      <a:lnTo>
                        <a:pt x="571" y="87"/>
                      </a:lnTo>
                      <a:lnTo>
                        <a:pt x="572" y="86"/>
                      </a:lnTo>
                      <a:lnTo>
                        <a:pt x="574" y="86"/>
                      </a:lnTo>
                      <a:lnTo>
                        <a:pt x="576" y="86"/>
                      </a:lnTo>
                      <a:lnTo>
                        <a:pt x="576" y="84"/>
                      </a:lnTo>
                      <a:lnTo>
                        <a:pt x="577" y="84"/>
                      </a:lnTo>
                      <a:lnTo>
                        <a:pt x="577" y="83"/>
                      </a:lnTo>
                      <a:lnTo>
                        <a:pt x="577" y="81"/>
                      </a:lnTo>
                      <a:lnTo>
                        <a:pt x="579" y="81"/>
                      </a:lnTo>
                      <a:lnTo>
                        <a:pt x="581" y="81"/>
                      </a:lnTo>
                      <a:lnTo>
                        <a:pt x="582" y="81"/>
                      </a:lnTo>
                      <a:lnTo>
                        <a:pt x="584" y="81"/>
                      </a:lnTo>
                      <a:lnTo>
                        <a:pt x="586" y="81"/>
                      </a:lnTo>
                      <a:lnTo>
                        <a:pt x="586" y="79"/>
                      </a:lnTo>
                      <a:lnTo>
                        <a:pt x="587" y="76"/>
                      </a:lnTo>
                      <a:lnTo>
                        <a:pt x="589" y="76"/>
                      </a:lnTo>
                      <a:lnTo>
                        <a:pt x="591" y="76"/>
                      </a:lnTo>
                      <a:lnTo>
                        <a:pt x="591" y="78"/>
                      </a:lnTo>
                      <a:lnTo>
                        <a:pt x="593" y="78"/>
                      </a:lnTo>
                      <a:lnTo>
                        <a:pt x="594" y="78"/>
                      </a:lnTo>
                      <a:lnTo>
                        <a:pt x="596" y="78"/>
                      </a:lnTo>
                      <a:lnTo>
                        <a:pt x="596" y="76"/>
                      </a:lnTo>
                      <a:lnTo>
                        <a:pt x="598" y="76"/>
                      </a:lnTo>
                      <a:lnTo>
                        <a:pt x="596" y="74"/>
                      </a:lnTo>
                      <a:lnTo>
                        <a:pt x="596" y="73"/>
                      </a:lnTo>
                      <a:lnTo>
                        <a:pt x="598" y="73"/>
                      </a:lnTo>
                      <a:lnTo>
                        <a:pt x="598" y="71"/>
                      </a:lnTo>
                      <a:lnTo>
                        <a:pt x="598" y="69"/>
                      </a:lnTo>
                      <a:lnTo>
                        <a:pt x="599" y="69"/>
                      </a:lnTo>
                      <a:lnTo>
                        <a:pt x="599" y="68"/>
                      </a:lnTo>
                      <a:lnTo>
                        <a:pt x="599" y="66"/>
                      </a:lnTo>
                      <a:lnTo>
                        <a:pt x="599" y="64"/>
                      </a:lnTo>
                      <a:lnTo>
                        <a:pt x="601" y="63"/>
                      </a:lnTo>
                      <a:lnTo>
                        <a:pt x="601" y="61"/>
                      </a:lnTo>
                      <a:lnTo>
                        <a:pt x="601" y="60"/>
                      </a:lnTo>
                      <a:lnTo>
                        <a:pt x="601" y="58"/>
                      </a:lnTo>
                      <a:lnTo>
                        <a:pt x="601" y="56"/>
                      </a:lnTo>
                      <a:lnTo>
                        <a:pt x="601" y="53"/>
                      </a:lnTo>
                      <a:lnTo>
                        <a:pt x="603" y="51"/>
                      </a:lnTo>
                      <a:lnTo>
                        <a:pt x="603" y="50"/>
                      </a:lnTo>
                      <a:lnTo>
                        <a:pt x="604" y="50"/>
                      </a:lnTo>
                      <a:lnTo>
                        <a:pt x="604" y="48"/>
                      </a:lnTo>
                      <a:lnTo>
                        <a:pt x="606" y="48"/>
                      </a:lnTo>
                      <a:lnTo>
                        <a:pt x="608" y="48"/>
                      </a:lnTo>
                      <a:lnTo>
                        <a:pt x="609" y="48"/>
                      </a:lnTo>
                      <a:lnTo>
                        <a:pt x="609" y="50"/>
                      </a:lnTo>
                      <a:lnTo>
                        <a:pt x="611" y="51"/>
                      </a:lnTo>
                      <a:lnTo>
                        <a:pt x="613" y="51"/>
                      </a:lnTo>
                      <a:lnTo>
                        <a:pt x="613" y="53"/>
                      </a:lnTo>
                      <a:lnTo>
                        <a:pt x="615" y="53"/>
                      </a:lnTo>
                      <a:lnTo>
                        <a:pt x="616" y="53"/>
                      </a:lnTo>
                      <a:lnTo>
                        <a:pt x="618" y="53"/>
                      </a:lnTo>
                      <a:lnTo>
                        <a:pt x="618" y="51"/>
                      </a:lnTo>
                      <a:lnTo>
                        <a:pt x="620" y="51"/>
                      </a:lnTo>
                      <a:lnTo>
                        <a:pt x="621" y="50"/>
                      </a:lnTo>
                      <a:lnTo>
                        <a:pt x="621" y="48"/>
                      </a:lnTo>
                      <a:lnTo>
                        <a:pt x="623" y="48"/>
                      </a:lnTo>
                      <a:lnTo>
                        <a:pt x="625" y="48"/>
                      </a:lnTo>
                      <a:lnTo>
                        <a:pt x="626" y="48"/>
                      </a:lnTo>
                      <a:lnTo>
                        <a:pt x="628" y="48"/>
                      </a:lnTo>
                      <a:lnTo>
                        <a:pt x="630" y="48"/>
                      </a:lnTo>
                      <a:lnTo>
                        <a:pt x="631" y="48"/>
                      </a:lnTo>
                      <a:lnTo>
                        <a:pt x="633" y="46"/>
                      </a:lnTo>
                      <a:lnTo>
                        <a:pt x="635" y="45"/>
                      </a:lnTo>
                      <a:lnTo>
                        <a:pt x="635" y="43"/>
                      </a:lnTo>
                      <a:lnTo>
                        <a:pt x="636" y="43"/>
                      </a:lnTo>
                      <a:lnTo>
                        <a:pt x="636" y="41"/>
                      </a:lnTo>
                      <a:lnTo>
                        <a:pt x="638" y="40"/>
                      </a:lnTo>
                      <a:lnTo>
                        <a:pt x="640" y="38"/>
                      </a:lnTo>
                      <a:lnTo>
                        <a:pt x="640" y="37"/>
                      </a:lnTo>
                      <a:lnTo>
                        <a:pt x="640" y="35"/>
                      </a:lnTo>
                      <a:lnTo>
                        <a:pt x="640" y="33"/>
                      </a:lnTo>
                      <a:lnTo>
                        <a:pt x="638" y="32"/>
                      </a:lnTo>
                      <a:lnTo>
                        <a:pt x="638" y="30"/>
                      </a:lnTo>
                      <a:lnTo>
                        <a:pt x="638" y="28"/>
                      </a:lnTo>
                      <a:lnTo>
                        <a:pt x="638" y="27"/>
                      </a:lnTo>
                      <a:lnTo>
                        <a:pt x="640" y="27"/>
                      </a:lnTo>
                      <a:lnTo>
                        <a:pt x="642" y="27"/>
                      </a:lnTo>
                      <a:lnTo>
                        <a:pt x="643" y="27"/>
                      </a:lnTo>
                      <a:lnTo>
                        <a:pt x="645" y="25"/>
                      </a:lnTo>
                      <a:lnTo>
                        <a:pt x="647" y="25"/>
                      </a:lnTo>
                      <a:lnTo>
                        <a:pt x="647" y="27"/>
                      </a:lnTo>
                      <a:lnTo>
                        <a:pt x="648" y="27"/>
                      </a:lnTo>
                      <a:lnTo>
                        <a:pt x="650" y="25"/>
                      </a:lnTo>
                      <a:lnTo>
                        <a:pt x="652" y="25"/>
                      </a:lnTo>
                      <a:lnTo>
                        <a:pt x="652" y="23"/>
                      </a:lnTo>
                      <a:lnTo>
                        <a:pt x="653" y="23"/>
                      </a:lnTo>
                      <a:lnTo>
                        <a:pt x="655" y="23"/>
                      </a:lnTo>
                      <a:lnTo>
                        <a:pt x="657" y="25"/>
                      </a:lnTo>
                      <a:lnTo>
                        <a:pt x="658" y="23"/>
                      </a:lnTo>
                      <a:lnTo>
                        <a:pt x="660" y="23"/>
                      </a:lnTo>
                      <a:lnTo>
                        <a:pt x="660" y="22"/>
                      </a:lnTo>
                      <a:lnTo>
                        <a:pt x="658" y="22"/>
                      </a:lnTo>
                      <a:lnTo>
                        <a:pt x="658" y="20"/>
                      </a:lnTo>
                      <a:lnTo>
                        <a:pt x="660" y="18"/>
                      </a:lnTo>
                      <a:lnTo>
                        <a:pt x="658" y="18"/>
                      </a:lnTo>
                      <a:lnTo>
                        <a:pt x="658" y="17"/>
                      </a:lnTo>
                      <a:lnTo>
                        <a:pt x="657" y="14"/>
                      </a:lnTo>
                      <a:lnTo>
                        <a:pt x="657" y="12"/>
                      </a:lnTo>
                      <a:lnTo>
                        <a:pt x="658" y="12"/>
                      </a:lnTo>
                      <a:lnTo>
                        <a:pt x="660" y="12"/>
                      </a:lnTo>
                      <a:lnTo>
                        <a:pt x="662" y="12"/>
                      </a:lnTo>
                      <a:lnTo>
                        <a:pt x="663" y="12"/>
                      </a:lnTo>
                      <a:lnTo>
                        <a:pt x="663" y="10"/>
                      </a:lnTo>
                      <a:lnTo>
                        <a:pt x="665" y="12"/>
                      </a:lnTo>
                      <a:lnTo>
                        <a:pt x="667" y="10"/>
                      </a:lnTo>
                      <a:lnTo>
                        <a:pt x="669" y="10"/>
                      </a:lnTo>
                      <a:lnTo>
                        <a:pt x="669" y="9"/>
                      </a:lnTo>
                      <a:lnTo>
                        <a:pt x="670" y="9"/>
                      </a:lnTo>
                      <a:lnTo>
                        <a:pt x="672" y="7"/>
                      </a:lnTo>
                      <a:lnTo>
                        <a:pt x="674" y="7"/>
                      </a:lnTo>
                      <a:lnTo>
                        <a:pt x="674" y="5"/>
                      </a:lnTo>
                      <a:lnTo>
                        <a:pt x="675" y="5"/>
                      </a:lnTo>
                      <a:lnTo>
                        <a:pt x="677" y="5"/>
                      </a:lnTo>
                      <a:lnTo>
                        <a:pt x="679" y="5"/>
                      </a:lnTo>
                      <a:lnTo>
                        <a:pt x="679" y="4"/>
                      </a:lnTo>
                      <a:lnTo>
                        <a:pt x="680" y="4"/>
                      </a:lnTo>
                      <a:lnTo>
                        <a:pt x="680" y="2"/>
                      </a:lnTo>
                      <a:lnTo>
                        <a:pt x="682" y="2"/>
                      </a:lnTo>
                      <a:lnTo>
                        <a:pt x="684" y="2"/>
                      </a:lnTo>
                      <a:lnTo>
                        <a:pt x="684" y="0"/>
                      </a:lnTo>
                      <a:lnTo>
                        <a:pt x="685" y="0"/>
                      </a:lnTo>
                      <a:lnTo>
                        <a:pt x="687" y="0"/>
                      </a:lnTo>
                      <a:lnTo>
                        <a:pt x="689" y="0"/>
                      </a:lnTo>
                      <a:lnTo>
                        <a:pt x="691" y="2"/>
                      </a:lnTo>
                      <a:lnTo>
                        <a:pt x="692" y="2"/>
                      </a:lnTo>
                      <a:lnTo>
                        <a:pt x="694" y="2"/>
                      </a:lnTo>
                      <a:lnTo>
                        <a:pt x="696" y="2"/>
                      </a:lnTo>
                      <a:lnTo>
                        <a:pt x="697" y="4"/>
                      </a:lnTo>
                      <a:lnTo>
                        <a:pt x="697" y="5"/>
                      </a:lnTo>
                      <a:lnTo>
                        <a:pt x="697" y="7"/>
                      </a:lnTo>
                      <a:lnTo>
                        <a:pt x="699" y="7"/>
                      </a:lnTo>
                      <a:lnTo>
                        <a:pt x="699" y="9"/>
                      </a:lnTo>
                      <a:lnTo>
                        <a:pt x="701" y="9"/>
                      </a:lnTo>
                      <a:lnTo>
                        <a:pt x="701" y="10"/>
                      </a:lnTo>
                      <a:lnTo>
                        <a:pt x="701" y="12"/>
                      </a:lnTo>
                      <a:lnTo>
                        <a:pt x="699" y="12"/>
                      </a:lnTo>
                      <a:lnTo>
                        <a:pt x="701" y="14"/>
                      </a:lnTo>
                      <a:lnTo>
                        <a:pt x="701" y="15"/>
                      </a:lnTo>
                      <a:lnTo>
                        <a:pt x="701" y="17"/>
                      </a:lnTo>
                      <a:lnTo>
                        <a:pt x="702" y="17"/>
                      </a:lnTo>
                      <a:lnTo>
                        <a:pt x="702" y="15"/>
                      </a:lnTo>
                      <a:lnTo>
                        <a:pt x="704" y="17"/>
                      </a:lnTo>
                      <a:lnTo>
                        <a:pt x="706" y="15"/>
                      </a:lnTo>
                      <a:lnTo>
                        <a:pt x="707" y="15"/>
                      </a:lnTo>
                      <a:lnTo>
                        <a:pt x="709" y="15"/>
                      </a:lnTo>
                      <a:lnTo>
                        <a:pt x="709" y="17"/>
                      </a:lnTo>
                      <a:lnTo>
                        <a:pt x="711" y="17"/>
                      </a:lnTo>
                      <a:lnTo>
                        <a:pt x="712" y="17"/>
                      </a:lnTo>
                      <a:lnTo>
                        <a:pt x="714" y="17"/>
                      </a:lnTo>
                      <a:lnTo>
                        <a:pt x="718" y="18"/>
                      </a:lnTo>
                      <a:lnTo>
                        <a:pt x="719" y="18"/>
                      </a:lnTo>
                      <a:lnTo>
                        <a:pt x="721" y="18"/>
                      </a:lnTo>
                      <a:lnTo>
                        <a:pt x="721" y="20"/>
                      </a:lnTo>
                      <a:lnTo>
                        <a:pt x="723" y="20"/>
                      </a:lnTo>
                      <a:lnTo>
                        <a:pt x="724" y="22"/>
                      </a:lnTo>
                      <a:lnTo>
                        <a:pt x="726" y="23"/>
                      </a:lnTo>
                      <a:lnTo>
                        <a:pt x="728" y="25"/>
                      </a:lnTo>
                      <a:lnTo>
                        <a:pt x="729" y="25"/>
                      </a:lnTo>
                      <a:lnTo>
                        <a:pt x="729" y="23"/>
                      </a:lnTo>
                      <a:lnTo>
                        <a:pt x="731" y="23"/>
                      </a:lnTo>
                      <a:lnTo>
                        <a:pt x="733" y="23"/>
                      </a:lnTo>
                      <a:lnTo>
                        <a:pt x="734" y="23"/>
                      </a:lnTo>
                      <a:lnTo>
                        <a:pt x="736" y="23"/>
                      </a:lnTo>
                      <a:lnTo>
                        <a:pt x="738" y="23"/>
                      </a:lnTo>
                      <a:lnTo>
                        <a:pt x="739" y="23"/>
                      </a:lnTo>
                      <a:lnTo>
                        <a:pt x="741" y="23"/>
                      </a:lnTo>
                      <a:lnTo>
                        <a:pt x="743" y="25"/>
                      </a:lnTo>
                      <a:lnTo>
                        <a:pt x="745" y="25"/>
                      </a:lnTo>
                      <a:lnTo>
                        <a:pt x="745" y="27"/>
                      </a:lnTo>
                      <a:lnTo>
                        <a:pt x="746" y="27"/>
                      </a:lnTo>
                      <a:lnTo>
                        <a:pt x="746" y="28"/>
                      </a:lnTo>
                      <a:lnTo>
                        <a:pt x="748" y="28"/>
                      </a:lnTo>
                      <a:lnTo>
                        <a:pt x="750" y="28"/>
                      </a:lnTo>
                      <a:lnTo>
                        <a:pt x="750" y="30"/>
                      </a:lnTo>
                      <a:lnTo>
                        <a:pt x="751" y="30"/>
                      </a:lnTo>
                      <a:lnTo>
                        <a:pt x="751" y="32"/>
                      </a:lnTo>
                      <a:lnTo>
                        <a:pt x="751" y="33"/>
                      </a:lnTo>
                      <a:lnTo>
                        <a:pt x="753" y="35"/>
                      </a:lnTo>
                      <a:lnTo>
                        <a:pt x="753" y="37"/>
                      </a:lnTo>
                      <a:lnTo>
                        <a:pt x="753" y="38"/>
                      </a:lnTo>
                      <a:lnTo>
                        <a:pt x="753" y="40"/>
                      </a:lnTo>
                      <a:lnTo>
                        <a:pt x="755" y="40"/>
                      </a:lnTo>
                      <a:lnTo>
                        <a:pt x="755" y="41"/>
                      </a:lnTo>
                      <a:lnTo>
                        <a:pt x="756" y="41"/>
                      </a:lnTo>
                      <a:lnTo>
                        <a:pt x="758" y="41"/>
                      </a:lnTo>
                      <a:lnTo>
                        <a:pt x="760" y="40"/>
                      </a:lnTo>
                      <a:lnTo>
                        <a:pt x="760" y="38"/>
                      </a:lnTo>
                      <a:lnTo>
                        <a:pt x="760" y="37"/>
                      </a:lnTo>
                      <a:lnTo>
                        <a:pt x="760" y="35"/>
                      </a:lnTo>
                      <a:lnTo>
                        <a:pt x="760" y="33"/>
                      </a:lnTo>
                      <a:lnTo>
                        <a:pt x="761" y="32"/>
                      </a:lnTo>
                      <a:lnTo>
                        <a:pt x="761" y="30"/>
                      </a:lnTo>
                      <a:lnTo>
                        <a:pt x="763" y="30"/>
                      </a:lnTo>
                      <a:lnTo>
                        <a:pt x="763" y="28"/>
                      </a:lnTo>
                      <a:lnTo>
                        <a:pt x="765" y="27"/>
                      </a:lnTo>
                      <a:lnTo>
                        <a:pt x="767" y="27"/>
                      </a:lnTo>
                      <a:lnTo>
                        <a:pt x="770" y="27"/>
                      </a:lnTo>
                      <a:lnTo>
                        <a:pt x="770" y="28"/>
                      </a:lnTo>
                      <a:lnTo>
                        <a:pt x="773" y="28"/>
                      </a:lnTo>
                      <a:lnTo>
                        <a:pt x="773" y="30"/>
                      </a:lnTo>
                      <a:lnTo>
                        <a:pt x="773" y="32"/>
                      </a:lnTo>
                      <a:lnTo>
                        <a:pt x="773" y="33"/>
                      </a:lnTo>
                      <a:lnTo>
                        <a:pt x="772" y="35"/>
                      </a:lnTo>
                      <a:lnTo>
                        <a:pt x="770" y="35"/>
                      </a:lnTo>
                      <a:lnTo>
                        <a:pt x="770" y="37"/>
                      </a:lnTo>
                      <a:lnTo>
                        <a:pt x="768" y="37"/>
                      </a:lnTo>
                      <a:lnTo>
                        <a:pt x="768" y="38"/>
                      </a:lnTo>
                      <a:lnTo>
                        <a:pt x="770" y="38"/>
                      </a:lnTo>
                      <a:lnTo>
                        <a:pt x="770" y="40"/>
                      </a:lnTo>
                      <a:lnTo>
                        <a:pt x="770" y="41"/>
                      </a:lnTo>
                      <a:lnTo>
                        <a:pt x="772" y="43"/>
                      </a:lnTo>
                      <a:lnTo>
                        <a:pt x="773" y="45"/>
                      </a:lnTo>
                      <a:lnTo>
                        <a:pt x="775" y="45"/>
                      </a:lnTo>
                      <a:lnTo>
                        <a:pt x="777" y="46"/>
                      </a:lnTo>
                      <a:lnTo>
                        <a:pt x="778" y="46"/>
                      </a:lnTo>
                      <a:lnTo>
                        <a:pt x="780" y="46"/>
                      </a:lnTo>
                      <a:lnTo>
                        <a:pt x="782" y="45"/>
                      </a:lnTo>
                      <a:lnTo>
                        <a:pt x="783" y="43"/>
                      </a:lnTo>
                      <a:lnTo>
                        <a:pt x="785" y="41"/>
                      </a:lnTo>
                      <a:lnTo>
                        <a:pt x="787" y="41"/>
                      </a:lnTo>
                      <a:lnTo>
                        <a:pt x="788" y="41"/>
                      </a:lnTo>
                      <a:lnTo>
                        <a:pt x="788" y="43"/>
                      </a:lnTo>
                      <a:lnTo>
                        <a:pt x="790" y="45"/>
                      </a:lnTo>
                      <a:lnTo>
                        <a:pt x="790" y="46"/>
                      </a:lnTo>
                      <a:lnTo>
                        <a:pt x="790" y="48"/>
                      </a:lnTo>
                      <a:lnTo>
                        <a:pt x="788" y="48"/>
                      </a:lnTo>
                      <a:lnTo>
                        <a:pt x="788" y="50"/>
                      </a:lnTo>
                      <a:lnTo>
                        <a:pt x="787" y="50"/>
                      </a:lnTo>
                      <a:lnTo>
                        <a:pt x="788" y="51"/>
                      </a:lnTo>
                      <a:lnTo>
                        <a:pt x="788" y="53"/>
                      </a:lnTo>
                      <a:lnTo>
                        <a:pt x="787" y="53"/>
                      </a:lnTo>
                      <a:lnTo>
                        <a:pt x="787" y="55"/>
                      </a:lnTo>
                      <a:lnTo>
                        <a:pt x="788" y="56"/>
                      </a:lnTo>
                      <a:lnTo>
                        <a:pt x="790" y="58"/>
                      </a:lnTo>
                      <a:lnTo>
                        <a:pt x="790" y="60"/>
                      </a:lnTo>
                      <a:lnTo>
                        <a:pt x="792" y="60"/>
                      </a:lnTo>
                      <a:lnTo>
                        <a:pt x="790" y="61"/>
                      </a:lnTo>
                      <a:lnTo>
                        <a:pt x="790" y="63"/>
                      </a:lnTo>
                      <a:lnTo>
                        <a:pt x="792" y="63"/>
                      </a:lnTo>
                      <a:lnTo>
                        <a:pt x="794" y="69"/>
                      </a:lnTo>
                      <a:lnTo>
                        <a:pt x="795" y="73"/>
                      </a:lnTo>
                      <a:lnTo>
                        <a:pt x="797" y="74"/>
                      </a:lnTo>
                      <a:lnTo>
                        <a:pt x="797" y="76"/>
                      </a:lnTo>
                      <a:lnTo>
                        <a:pt x="799" y="76"/>
                      </a:lnTo>
                      <a:lnTo>
                        <a:pt x="799" y="78"/>
                      </a:lnTo>
                      <a:lnTo>
                        <a:pt x="800" y="78"/>
                      </a:lnTo>
                      <a:lnTo>
                        <a:pt x="800" y="79"/>
                      </a:lnTo>
                      <a:lnTo>
                        <a:pt x="799" y="79"/>
                      </a:lnTo>
                      <a:lnTo>
                        <a:pt x="799" y="81"/>
                      </a:lnTo>
                      <a:lnTo>
                        <a:pt x="800" y="83"/>
                      </a:lnTo>
                      <a:lnTo>
                        <a:pt x="802" y="83"/>
                      </a:lnTo>
                      <a:lnTo>
                        <a:pt x="804" y="83"/>
                      </a:lnTo>
                      <a:lnTo>
                        <a:pt x="804" y="84"/>
                      </a:lnTo>
                      <a:lnTo>
                        <a:pt x="805" y="83"/>
                      </a:lnTo>
                      <a:lnTo>
                        <a:pt x="807" y="84"/>
                      </a:lnTo>
                      <a:lnTo>
                        <a:pt x="807" y="83"/>
                      </a:lnTo>
                      <a:lnTo>
                        <a:pt x="809" y="83"/>
                      </a:lnTo>
                      <a:lnTo>
                        <a:pt x="810" y="84"/>
                      </a:lnTo>
                      <a:lnTo>
                        <a:pt x="812" y="84"/>
                      </a:lnTo>
                      <a:lnTo>
                        <a:pt x="812" y="86"/>
                      </a:lnTo>
                      <a:lnTo>
                        <a:pt x="814" y="86"/>
                      </a:lnTo>
                      <a:lnTo>
                        <a:pt x="816" y="86"/>
                      </a:lnTo>
                      <a:lnTo>
                        <a:pt x="816" y="87"/>
                      </a:lnTo>
                      <a:lnTo>
                        <a:pt x="817" y="87"/>
                      </a:lnTo>
                      <a:lnTo>
                        <a:pt x="819" y="89"/>
                      </a:lnTo>
                      <a:lnTo>
                        <a:pt x="817" y="89"/>
                      </a:lnTo>
                      <a:lnTo>
                        <a:pt x="817" y="91"/>
                      </a:lnTo>
                      <a:lnTo>
                        <a:pt x="817" y="92"/>
                      </a:lnTo>
                      <a:lnTo>
                        <a:pt x="816" y="92"/>
                      </a:lnTo>
                      <a:lnTo>
                        <a:pt x="816" y="94"/>
                      </a:lnTo>
                      <a:lnTo>
                        <a:pt x="817" y="94"/>
                      </a:lnTo>
                      <a:lnTo>
                        <a:pt x="816" y="94"/>
                      </a:lnTo>
                      <a:lnTo>
                        <a:pt x="816" y="96"/>
                      </a:lnTo>
                      <a:lnTo>
                        <a:pt x="814" y="96"/>
                      </a:lnTo>
                      <a:lnTo>
                        <a:pt x="814" y="97"/>
                      </a:lnTo>
                      <a:lnTo>
                        <a:pt x="814" y="99"/>
                      </a:lnTo>
                      <a:lnTo>
                        <a:pt x="816" y="99"/>
                      </a:lnTo>
                      <a:lnTo>
                        <a:pt x="816" y="101"/>
                      </a:lnTo>
                      <a:lnTo>
                        <a:pt x="817" y="101"/>
                      </a:lnTo>
                      <a:lnTo>
                        <a:pt x="817" y="102"/>
                      </a:lnTo>
                      <a:lnTo>
                        <a:pt x="819" y="102"/>
                      </a:lnTo>
                      <a:lnTo>
                        <a:pt x="819" y="104"/>
                      </a:lnTo>
                      <a:lnTo>
                        <a:pt x="819" y="102"/>
                      </a:lnTo>
                      <a:lnTo>
                        <a:pt x="817" y="102"/>
                      </a:lnTo>
                      <a:lnTo>
                        <a:pt x="817" y="104"/>
                      </a:lnTo>
                      <a:lnTo>
                        <a:pt x="816" y="104"/>
                      </a:lnTo>
                      <a:lnTo>
                        <a:pt x="816" y="106"/>
                      </a:lnTo>
                      <a:lnTo>
                        <a:pt x="814" y="106"/>
                      </a:lnTo>
                      <a:lnTo>
                        <a:pt x="814" y="107"/>
                      </a:lnTo>
                      <a:lnTo>
                        <a:pt x="814" y="109"/>
                      </a:lnTo>
                      <a:lnTo>
                        <a:pt x="814" y="110"/>
                      </a:lnTo>
                      <a:lnTo>
                        <a:pt x="814" y="112"/>
                      </a:lnTo>
                      <a:lnTo>
                        <a:pt x="816" y="112"/>
                      </a:lnTo>
                      <a:lnTo>
                        <a:pt x="816" y="114"/>
                      </a:lnTo>
                      <a:lnTo>
                        <a:pt x="816" y="115"/>
                      </a:lnTo>
                      <a:lnTo>
                        <a:pt x="816" y="114"/>
                      </a:lnTo>
                      <a:lnTo>
                        <a:pt x="817" y="115"/>
                      </a:lnTo>
                      <a:lnTo>
                        <a:pt x="819" y="117"/>
                      </a:lnTo>
                      <a:lnTo>
                        <a:pt x="821" y="119"/>
                      </a:lnTo>
                      <a:lnTo>
                        <a:pt x="821" y="120"/>
                      </a:lnTo>
                      <a:lnTo>
                        <a:pt x="821" y="122"/>
                      </a:lnTo>
                      <a:lnTo>
                        <a:pt x="821" y="124"/>
                      </a:lnTo>
                      <a:lnTo>
                        <a:pt x="819" y="124"/>
                      </a:lnTo>
                      <a:lnTo>
                        <a:pt x="819" y="125"/>
                      </a:lnTo>
                      <a:lnTo>
                        <a:pt x="819" y="127"/>
                      </a:lnTo>
                      <a:lnTo>
                        <a:pt x="819" y="129"/>
                      </a:lnTo>
                      <a:lnTo>
                        <a:pt x="821" y="130"/>
                      </a:lnTo>
                      <a:lnTo>
                        <a:pt x="821" y="132"/>
                      </a:lnTo>
                      <a:lnTo>
                        <a:pt x="822" y="132"/>
                      </a:lnTo>
                      <a:lnTo>
                        <a:pt x="824" y="132"/>
                      </a:lnTo>
                      <a:lnTo>
                        <a:pt x="826" y="132"/>
                      </a:lnTo>
                      <a:lnTo>
                        <a:pt x="826" y="133"/>
                      </a:lnTo>
                      <a:lnTo>
                        <a:pt x="827" y="133"/>
                      </a:lnTo>
                      <a:lnTo>
                        <a:pt x="829" y="133"/>
                      </a:lnTo>
                      <a:lnTo>
                        <a:pt x="831" y="133"/>
                      </a:lnTo>
                      <a:lnTo>
                        <a:pt x="832" y="133"/>
                      </a:lnTo>
                      <a:lnTo>
                        <a:pt x="832" y="135"/>
                      </a:lnTo>
                      <a:lnTo>
                        <a:pt x="834" y="135"/>
                      </a:lnTo>
                      <a:lnTo>
                        <a:pt x="834" y="137"/>
                      </a:lnTo>
                      <a:lnTo>
                        <a:pt x="836" y="137"/>
                      </a:lnTo>
                      <a:lnTo>
                        <a:pt x="836" y="138"/>
                      </a:lnTo>
                      <a:lnTo>
                        <a:pt x="834" y="138"/>
                      </a:lnTo>
                      <a:lnTo>
                        <a:pt x="834" y="140"/>
                      </a:lnTo>
                      <a:lnTo>
                        <a:pt x="836" y="140"/>
                      </a:lnTo>
                      <a:lnTo>
                        <a:pt x="836" y="142"/>
                      </a:lnTo>
                      <a:lnTo>
                        <a:pt x="837" y="145"/>
                      </a:lnTo>
                      <a:lnTo>
                        <a:pt x="839" y="147"/>
                      </a:lnTo>
                      <a:lnTo>
                        <a:pt x="839" y="148"/>
                      </a:lnTo>
                      <a:lnTo>
                        <a:pt x="841" y="153"/>
                      </a:lnTo>
                      <a:lnTo>
                        <a:pt x="843" y="166"/>
                      </a:lnTo>
                      <a:lnTo>
                        <a:pt x="841" y="166"/>
                      </a:lnTo>
                      <a:lnTo>
                        <a:pt x="839" y="166"/>
                      </a:lnTo>
                      <a:lnTo>
                        <a:pt x="837" y="168"/>
                      </a:lnTo>
                      <a:lnTo>
                        <a:pt x="836" y="170"/>
                      </a:lnTo>
                      <a:lnTo>
                        <a:pt x="834" y="170"/>
                      </a:lnTo>
                      <a:lnTo>
                        <a:pt x="834" y="171"/>
                      </a:lnTo>
                      <a:lnTo>
                        <a:pt x="832" y="171"/>
                      </a:lnTo>
                      <a:lnTo>
                        <a:pt x="834" y="171"/>
                      </a:lnTo>
                      <a:lnTo>
                        <a:pt x="834" y="173"/>
                      </a:lnTo>
                      <a:lnTo>
                        <a:pt x="832" y="173"/>
                      </a:lnTo>
                      <a:lnTo>
                        <a:pt x="832" y="175"/>
                      </a:lnTo>
                      <a:lnTo>
                        <a:pt x="831" y="175"/>
                      </a:lnTo>
                      <a:lnTo>
                        <a:pt x="832" y="175"/>
                      </a:lnTo>
                      <a:lnTo>
                        <a:pt x="832" y="176"/>
                      </a:lnTo>
                      <a:lnTo>
                        <a:pt x="834" y="178"/>
                      </a:lnTo>
                      <a:lnTo>
                        <a:pt x="834" y="179"/>
                      </a:lnTo>
                      <a:lnTo>
                        <a:pt x="836" y="179"/>
                      </a:lnTo>
                      <a:lnTo>
                        <a:pt x="836" y="181"/>
                      </a:lnTo>
                      <a:lnTo>
                        <a:pt x="836" y="183"/>
                      </a:lnTo>
                      <a:lnTo>
                        <a:pt x="836" y="184"/>
                      </a:lnTo>
                      <a:lnTo>
                        <a:pt x="834" y="184"/>
                      </a:lnTo>
                      <a:lnTo>
                        <a:pt x="834" y="186"/>
                      </a:lnTo>
                      <a:lnTo>
                        <a:pt x="832" y="186"/>
                      </a:lnTo>
                      <a:lnTo>
                        <a:pt x="834" y="186"/>
                      </a:lnTo>
                      <a:lnTo>
                        <a:pt x="834" y="188"/>
                      </a:lnTo>
                      <a:lnTo>
                        <a:pt x="834" y="189"/>
                      </a:lnTo>
                      <a:lnTo>
                        <a:pt x="834" y="188"/>
                      </a:lnTo>
                      <a:lnTo>
                        <a:pt x="834" y="189"/>
                      </a:lnTo>
                      <a:lnTo>
                        <a:pt x="836" y="189"/>
                      </a:lnTo>
                      <a:lnTo>
                        <a:pt x="836" y="199"/>
                      </a:lnTo>
                      <a:lnTo>
                        <a:pt x="821" y="204"/>
                      </a:lnTo>
                      <a:lnTo>
                        <a:pt x="819" y="206"/>
                      </a:lnTo>
                      <a:lnTo>
                        <a:pt x="817" y="206"/>
                      </a:lnTo>
                      <a:lnTo>
                        <a:pt x="816" y="204"/>
                      </a:lnTo>
                      <a:lnTo>
                        <a:pt x="812" y="202"/>
                      </a:lnTo>
                      <a:lnTo>
                        <a:pt x="810" y="201"/>
                      </a:lnTo>
                      <a:lnTo>
                        <a:pt x="809" y="201"/>
                      </a:lnTo>
                      <a:lnTo>
                        <a:pt x="805" y="201"/>
                      </a:lnTo>
                      <a:lnTo>
                        <a:pt x="805" y="199"/>
                      </a:lnTo>
                      <a:lnTo>
                        <a:pt x="804" y="199"/>
                      </a:lnTo>
                      <a:lnTo>
                        <a:pt x="804" y="201"/>
                      </a:lnTo>
                      <a:lnTo>
                        <a:pt x="802" y="199"/>
                      </a:lnTo>
                      <a:lnTo>
                        <a:pt x="800" y="199"/>
                      </a:lnTo>
                      <a:lnTo>
                        <a:pt x="799" y="199"/>
                      </a:lnTo>
                      <a:lnTo>
                        <a:pt x="799" y="201"/>
                      </a:lnTo>
                      <a:lnTo>
                        <a:pt x="797" y="201"/>
                      </a:lnTo>
                      <a:lnTo>
                        <a:pt x="797" y="202"/>
                      </a:lnTo>
                      <a:lnTo>
                        <a:pt x="797" y="204"/>
                      </a:lnTo>
                      <a:lnTo>
                        <a:pt x="795" y="206"/>
                      </a:lnTo>
                      <a:lnTo>
                        <a:pt x="795" y="207"/>
                      </a:lnTo>
                      <a:lnTo>
                        <a:pt x="795" y="209"/>
                      </a:lnTo>
                      <a:lnTo>
                        <a:pt x="795" y="211"/>
                      </a:lnTo>
                      <a:lnTo>
                        <a:pt x="795" y="212"/>
                      </a:lnTo>
                      <a:lnTo>
                        <a:pt x="795" y="214"/>
                      </a:lnTo>
                      <a:lnTo>
                        <a:pt x="795" y="216"/>
                      </a:lnTo>
                      <a:lnTo>
                        <a:pt x="797" y="217"/>
                      </a:lnTo>
                      <a:lnTo>
                        <a:pt x="797" y="219"/>
                      </a:lnTo>
                      <a:lnTo>
                        <a:pt x="799" y="219"/>
                      </a:lnTo>
                      <a:lnTo>
                        <a:pt x="799" y="220"/>
                      </a:lnTo>
                      <a:lnTo>
                        <a:pt x="800" y="220"/>
                      </a:lnTo>
                      <a:lnTo>
                        <a:pt x="800" y="222"/>
                      </a:lnTo>
                      <a:lnTo>
                        <a:pt x="800" y="224"/>
                      </a:lnTo>
                      <a:lnTo>
                        <a:pt x="802" y="224"/>
                      </a:lnTo>
                      <a:lnTo>
                        <a:pt x="802" y="225"/>
                      </a:lnTo>
                      <a:lnTo>
                        <a:pt x="804" y="225"/>
                      </a:lnTo>
                      <a:lnTo>
                        <a:pt x="804" y="227"/>
                      </a:lnTo>
                      <a:lnTo>
                        <a:pt x="804" y="229"/>
                      </a:lnTo>
                      <a:lnTo>
                        <a:pt x="805" y="229"/>
                      </a:lnTo>
                      <a:lnTo>
                        <a:pt x="807" y="229"/>
                      </a:lnTo>
                      <a:lnTo>
                        <a:pt x="809" y="229"/>
                      </a:lnTo>
                      <a:lnTo>
                        <a:pt x="807" y="230"/>
                      </a:lnTo>
                      <a:lnTo>
                        <a:pt x="809" y="232"/>
                      </a:lnTo>
                      <a:lnTo>
                        <a:pt x="809" y="234"/>
                      </a:lnTo>
                      <a:lnTo>
                        <a:pt x="809" y="235"/>
                      </a:lnTo>
                      <a:lnTo>
                        <a:pt x="810" y="235"/>
                      </a:lnTo>
                      <a:lnTo>
                        <a:pt x="810" y="239"/>
                      </a:lnTo>
                      <a:lnTo>
                        <a:pt x="810" y="240"/>
                      </a:lnTo>
                      <a:lnTo>
                        <a:pt x="810" y="242"/>
                      </a:lnTo>
                      <a:lnTo>
                        <a:pt x="812" y="243"/>
                      </a:lnTo>
                      <a:lnTo>
                        <a:pt x="814" y="243"/>
                      </a:lnTo>
                      <a:lnTo>
                        <a:pt x="816" y="243"/>
                      </a:lnTo>
                      <a:lnTo>
                        <a:pt x="816" y="245"/>
                      </a:lnTo>
                      <a:lnTo>
                        <a:pt x="817" y="245"/>
                      </a:lnTo>
                      <a:lnTo>
                        <a:pt x="819" y="245"/>
                      </a:lnTo>
                      <a:lnTo>
                        <a:pt x="821" y="245"/>
                      </a:lnTo>
                      <a:lnTo>
                        <a:pt x="821" y="247"/>
                      </a:lnTo>
                      <a:lnTo>
                        <a:pt x="821" y="248"/>
                      </a:lnTo>
                      <a:lnTo>
                        <a:pt x="819" y="248"/>
                      </a:lnTo>
                      <a:lnTo>
                        <a:pt x="819" y="250"/>
                      </a:lnTo>
                      <a:lnTo>
                        <a:pt x="819" y="252"/>
                      </a:lnTo>
                      <a:lnTo>
                        <a:pt x="819" y="253"/>
                      </a:lnTo>
                      <a:lnTo>
                        <a:pt x="817" y="252"/>
                      </a:lnTo>
                      <a:lnTo>
                        <a:pt x="817" y="253"/>
                      </a:lnTo>
                      <a:lnTo>
                        <a:pt x="816" y="253"/>
                      </a:lnTo>
                      <a:lnTo>
                        <a:pt x="816" y="255"/>
                      </a:lnTo>
                      <a:lnTo>
                        <a:pt x="814" y="255"/>
                      </a:lnTo>
                      <a:lnTo>
                        <a:pt x="814" y="257"/>
                      </a:lnTo>
                      <a:lnTo>
                        <a:pt x="814" y="258"/>
                      </a:lnTo>
                      <a:lnTo>
                        <a:pt x="814" y="260"/>
                      </a:lnTo>
                      <a:lnTo>
                        <a:pt x="816" y="260"/>
                      </a:lnTo>
                      <a:lnTo>
                        <a:pt x="816" y="262"/>
                      </a:lnTo>
                      <a:lnTo>
                        <a:pt x="817" y="262"/>
                      </a:lnTo>
                      <a:lnTo>
                        <a:pt x="817" y="263"/>
                      </a:lnTo>
                      <a:lnTo>
                        <a:pt x="817" y="265"/>
                      </a:lnTo>
                      <a:lnTo>
                        <a:pt x="819" y="263"/>
                      </a:lnTo>
                      <a:lnTo>
                        <a:pt x="821" y="263"/>
                      </a:lnTo>
                      <a:lnTo>
                        <a:pt x="822" y="263"/>
                      </a:lnTo>
                      <a:lnTo>
                        <a:pt x="821" y="263"/>
                      </a:lnTo>
                      <a:lnTo>
                        <a:pt x="821" y="265"/>
                      </a:lnTo>
                      <a:lnTo>
                        <a:pt x="822" y="265"/>
                      </a:lnTo>
                      <a:lnTo>
                        <a:pt x="822" y="263"/>
                      </a:lnTo>
                      <a:lnTo>
                        <a:pt x="822" y="265"/>
                      </a:lnTo>
                      <a:lnTo>
                        <a:pt x="824" y="265"/>
                      </a:lnTo>
                      <a:lnTo>
                        <a:pt x="824" y="266"/>
                      </a:lnTo>
                      <a:lnTo>
                        <a:pt x="824" y="265"/>
                      </a:lnTo>
                      <a:lnTo>
                        <a:pt x="826" y="265"/>
                      </a:lnTo>
                      <a:lnTo>
                        <a:pt x="827" y="265"/>
                      </a:lnTo>
                      <a:lnTo>
                        <a:pt x="827" y="266"/>
                      </a:lnTo>
                      <a:lnTo>
                        <a:pt x="827" y="268"/>
                      </a:lnTo>
                      <a:lnTo>
                        <a:pt x="829" y="268"/>
                      </a:lnTo>
                      <a:lnTo>
                        <a:pt x="829" y="266"/>
                      </a:lnTo>
                      <a:lnTo>
                        <a:pt x="831" y="266"/>
                      </a:lnTo>
                      <a:lnTo>
                        <a:pt x="829" y="266"/>
                      </a:lnTo>
                      <a:lnTo>
                        <a:pt x="831" y="268"/>
                      </a:lnTo>
                      <a:lnTo>
                        <a:pt x="832" y="268"/>
                      </a:lnTo>
                      <a:lnTo>
                        <a:pt x="832" y="270"/>
                      </a:lnTo>
                      <a:lnTo>
                        <a:pt x="831" y="270"/>
                      </a:lnTo>
                      <a:lnTo>
                        <a:pt x="832" y="271"/>
                      </a:lnTo>
                      <a:lnTo>
                        <a:pt x="832" y="270"/>
                      </a:lnTo>
                      <a:lnTo>
                        <a:pt x="832" y="271"/>
                      </a:lnTo>
                      <a:lnTo>
                        <a:pt x="832" y="270"/>
                      </a:lnTo>
                      <a:lnTo>
                        <a:pt x="832" y="271"/>
                      </a:lnTo>
                      <a:lnTo>
                        <a:pt x="834" y="271"/>
                      </a:lnTo>
                      <a:lnTo>
                        <a:pt x="834" y="273"/>
                      </a:lnTo>
                      <a:lnTo>
                        <a:pt x="836" y="273"/>
                      </a:lnTo>
                      <a:lnTo>
                        <a:pt x="836" y="275"/>
                      </a:lnTo>
                      <a:lnTo>
                        <a:pt x="837" y="275"/>
                      </a:lnTo>
                      <a:lnTo>
                        <a:pt x="837" y="276"/>
                      </a:lnTo>
                      <a:lnTo>
                        <a:pt x="839" y="276"/>
                      </a:lnTo>
                      <a:lnTo>
                        <a:pt x="841" y="276"/>
                      </a:lnTo>
                      <a:lnTo>
                        <a:pt x="843" y="276"/>
                      </a:lnTo>
                      <a:lnTo>
                        <a:pt x="844" y="276"/>
                      </a:lnTo>
                      <a:lnTo>
                        <a:pt x="844" y="278"/>
                      </a:lnTo>
                      <a:lnTo>
                        <a:pt x="846" y="278"/>
                      </a:lnTo>
                      <a:lnTo>
                        <a:pt x="846" y="276"/>
                      </a:lnTo>
                      <a:lnTo>
                        <a:pt x="848" y="278"/>
                      </a:lnTo>
                      <a:lnTo>
                        <a:pt x="846" y="278"/>
                      </a:lnTo>
                      <a:lnTo>
                        <a:pt x="846" y="280"/>
                      </a:lnTo>
                      <a:lnTo>
                        <a:pt x="848" y="280"/>
                      </a:lnTo>
                      <a:lnTo>
                        <a:pt x="849" y="280"/>
                      </a:lnTo>
                      <a:lnTo>
                        <a:pt x="849" y="278"/>
                      </a:lnTo>
                      <a:lnTo>
                        <a:pt x="851" y="278"/>
                      </a:lnTo>
                      <a:lnTo>
                        <a:pt x="851" y="276"/>
                      </a:lnTo>
                      <a:lnTo>
                        <a:pt x="849" y="276"/>
                      </a:lnTo>
                      <a:lnTo>
                        <a:pt x="851" y="276"/>
                      </a:lnTo>
                      <a:lnTo>
                        <a:pt x="851" y="275"/>
                      </a:lnTo>
                      <a:lnTo>
                        <a:pt x="853" y="276"/>
                      </a:lnTo>
                      <a:lnTo>
                        <a:pt x="853" y="275"/>
                      </a:lnTo>
                      <a:lnTo>
                        <a:pt x="853" y="276"/>
                      </a:lnTo>
                      <a:lnTo>
                        <a:pt x="854" y="276"/>
                      </a:lnTo>
                      <a:lnTo>
                        <a:pt x="856" y="276"/>
                      </a:lnTo>
                      <a:lnTo>
                        <a:pt x="858" y="276"/>
                      </a:lnTo>
                      <a:lnTo>
                        <a:pt x="858" y="278"/>
                      </a:lnTo>
                      <a:lnTo>
                        <a:pt x="859" y="278"/>
                      </a:lnTo>
                      <a:lnTo>
                        <a:pt x="858" y="278"/>
                      </a:lnTo>
                      <a:lnTo>
                        <a:pt x="859" y="276"/>
                      </a:lnTo>
                      <a:lnTo>
                        <a:pt x="859" y="278"/>
                      </a:lnTo>
                      <a:lnTo>
                        <a:pt x="861" y="278"/>
                      </a:lnTo>
                      <a:lnTo>
                        <a:pt x="863" y="278"/>
                      </a:lnTo>
                      <a:lnTo>
                        <a:pt x="864" y="278"/>
                      </a:lnTo>
                      <a:lnTo>
                        <a:pt x="864" y="276"/>
                      </a:lnTo>
                      <a:lnTo>
                        <a:pt x="866" y="276"/>
                      </a:lnTo>
                      <a:lnTo>
                        <a:pt x="868" y="275"/>
                      </a:lnTo>
                      <a:lnTo>
                        <a:pt x="868" y="276"/>
                      </a:lnTo>
                      <a:lnTo>
                        <a:pt x="870" y="275"/>
                      </a:lnTo>
                      <a:lnTo>
                        <a:pt x="871" y="275"/>
                      </a:lnTo>
                      <a:lnTo>
                        <a:pt x="875" y="271"/>
                      </a:lnTo>
                      <a:lnTo>
                        <a:pt x="876" y="271"/>
                      </a:lnTo>
                      <a:lnTo>
                        <a:pt x="878" y="270"/>
                      </a:lnTo>
                      <a:lnTo>
                        <a:pt x="878" y="268"/>
                      </a:lnTo>
                      <a:lnTo>
                        <a:pt x="880" y="268"/>
                      </a:lnTo>
                      <a:lnTo>
                        <a:pt x="881" y="268"/>
                      </a:lnTo>
                      <a:lnTo>
                        <a:pt x="880" y="268"/>
                      </a:lnTo>
                      <a:lnTo>
                        <a:pt x="880" y="270"/>
                      </a:lnTo>
                      <a:lnTo>
                        <a:pt x="876" y="273"/>
                      </a:lnTo>
                      <a:lnTo>
                        <a:pt x="875" y="275"/>
                      </a:lnTo>
                      <a:lnTo>
                        <a:pt x="875" y="278"/>
                      </a:lnTo>
                      <a:lnTo>
                        <a:pt x="873" y="280"/>
                      </a:lnTo>
                      <a:lnTo>
                        <a:pt x="871" y="281"/>
                      </a:lnTo>
                      <a:lnTo>
                        <a:pt x="871" y="283"/>
                      </a:lnTo>
                      <a:lnTo>
                        <a:pt x="870" y="286"/>
                      </a:lnTo>
                      <a:lnTo>
                        <a:pt x="868" y="289"/>
                      </a:lnTo>
                      <a:lnTo>
                        <a:pt x="866" y="291"/>
                      </a:lnTo>
                      <a:lnTo>
                        <a:pt x="866" y="293"/>
                      </a:lnTo>
                      <a:lnTo>
                        <a:pt x="864" y="294"/>
                      </a:lnTo>
                      <a:lnTo>
                        <a:pt x="864" y="296"/>
                      </a:lnTo>
                      <a:lnTo>
                        <a:pt x="863" y="299"/>
                      </a:lnTo>
                      <a:lnTo>
                        <a:pt x="863" y="301"/>
                      </a:lnTo>
                      <a:lnTo>
                        <a:pt x="861" y="304"/>
                      </a:lnTo>
                      <a:lnTo>
                        <a:pt x="859" y="304"/>
                      </a:lnTo>
                      <a:lnTo>
                        <a:pt x="859" y="306"/>
                      </a:lnTo>
                      <a:lnTo>
                        <a:pt x="859" y="308"/>
                      </a:lnTo>
                      <a:lnTo>
                        <a:pt x="858" y="308"/>
                      </a:lnTo>
                      <a:lnTo>
                        <a:pt x="856" y="312"/>
                      </a:lnTo>
                      <a:lnTo>
                        <a:pt x="856" y="314"/>
                      </a:lnTo>
                      <a:lnTo>
                        <a:pt x="854" y="316"/>
                      </a:lnTo>
                      <a:lnTo>
                        <a:pt x="854" y="317"/>
                      </a:lnTo>
                      <a:lnTo>
                        <a:pt x="854" y="319"/>
                      </a:lnTo>
                      <a:lnTo>
                        <a:pt x="851" y="322"/>
                      </a:lnTo>
                      <a:lnTo>
                        <a:pt x="849" y="326"/>
                      </a:lnTo>
                      <a:lnTo>
                        <a:pt x="849" y="327"/>
                      </a:lnTo>
                      <a:lnTo>
                        <a:pt x="848" y="327"/>
                      </a:lnTo>
                      <a:lnTo>
                        <a:pt x="848" y="329"/>
                      </a:lnTo>
                      <a:lnTo>
                        <a:pt x="846" y="331"/>
                      </a:lnTo>
                      <a:lnTo>
                        <a:pt x="846" y="332"/>
                      </a:lnTo>
                      <a:lnTo>
                        <a:pt x="843" y="337"/>
                      </a:lnTo>
                      <a:lnTo>
                        <a:pt x="841" y="340"/>
                      </a:lnTo>
                      <a:lnTo>
                        <a:pt x="839" y="342"/>
                      </a:lnTo>
                      <a:lnTo>
                        <a:pt x="837" y="342"/>
                      </a:lnTo>
                      <a:lnTo>
                        <a:pt x="837" y="344"/>
                      </a:lnTo>
                      <a:lnTo>
                        <a:pt x="836" y="347"/>
                      </a:lnTo>
                      <a:lnTo>
                        <a:pt x="834" y="349"/>
                      </a:lnTo>
                      <a:lnTo>
                        <a:pt x="832" y="349"/>
                      </a:lnTo>
                      <a:lnTo>
                        <a:pt x="832" y="350"/>
                      </a:lnTo>
                      <a:lnTo>
                        <a:pt x="831" y="352"/>
                      </a:lnTo>
                      <a:lnTo>
                        <a:pt x="831" y="354"/>
                      </a:lnTo>
                      <a:lnTo>
                        <a:pt x="829" y="354"/>
                      </a:lnTo>
                      <a:lnTo>
                        <a:pt x="829" y="355"/>
                      </a:lnTo>
                      <a:lnTo>
                        <a:pt x="827" y="357"/>
                      </a:lnTo>
                      <a:lnTo>
                        <a:pt x="827" y="358"/>
                      </a:lnTo>
                      <a:lnTo>
                        <a:pt x="826" y="358"/>
                      </a:lnTo>
                      <a:lnTo>
                        <a:pt x="824" y="362"/>
                      </a:lnTo>
                      <a:lnTo>
                        <a:pt x="822" y="363"/>
                      </a:lnTo>
                      <a:lnTo>
                        <a:pt x="822" y="367"/>
                      </a:lnTo>
                      <a:lnTo>
                        <a:pt x="821" y="367"/>
                      </a:lnTo>
                      <a:lnTo>
                        <a:pt x="821" y="368"/>
                      </a:lnTo>
                      <a:lnTo>
                        <a:pt x="819" y="370"/>
                      </a:lnTo>
                      <a:lnTo>
                        <a:pt x="819" y="372"/>
                      </a:lnTo>
                      <a:lnTo>
                        <a:pt x="817" y="373"/>
                      </a:lnTo>
                      <a:lnTo>
                        <a:pt x="816" y="373"/>
                      </a:lnTo>
                      <a:lnTo>
                        <a:pt x="816" y="375"/>
                      </a:lnTo>
                      <a:lnTo>
                        <a:pt x="814" y="375"/>
                      </a:lnTo>
                      <a:lnTo>
                        <a:pt x="814" y="377"/>
                      </a:lnTo>
                      <a:lnTo>
                        <a:pt x="814" y="378"/>
                      </a:lnTo>
                      <a:lnTo>
                        <a:pt x="812" y="378"/>
                      </a:lnTo>
                      <a:lnTo>
                        <a:pt x="812" y="380"/>
                      </a:lnTo>
                      <a:lnTo>
                        <a:pt x="810" y="380"/>
                      </a:lnTo>
                      <a:lnTo>
                        <a:pt x="810" y="381"/>
                      </a:lnTo>
                      <a:lnTo>
                        <a:pt x="809" y="381"/>
                      </a:lnTo>
                      <a:lnTo>
                        <a:pt x="809" y="383"/>
                      </a:lnTo>
                      <a:lnTo>
                        <a:pt x="807" y="385"/>
                      </a:lnTo>
                      <a:lnTo>
                        <a:pt x="805" y="385"/>
                      </a:lnTo>
                      <a:lnTo>
                        <a:pt x="805" y="386"/>
                      </a:lnTo>
                      <a:lnTo>
                        <a:pt x="802" y="390"/>
                      </a:lnTo>
                      <a:lnTo>
                        <a:pt x="802" y="391"/>
                      </a:lnTo>
                      <a:lnTo>
                        <a:pt x="800" y="391"/>
                      </a:lnTo>
                      <a:lnTo>
                        <a:pt x="799" y="393"/>
                      </a:lnTo>
                      <a:lnTo>
                        <a:pt x="797" y="395"/>
                      </a:lnTo>
                      <a:lnTo>
                        <a:pt x="797" y="396"/>
                      </a:lnTo>
                      <a:lnTo>
                        <a:pt x="795" y="396"/>
                      </a:lnTo>
                      <a:lnTo>
                        <a:pt x="795" y="398"/>
                      </a:lnTo>
                      <a:lnTo>
                        <a:pt x="794" y="399"/>
                      </a:lnTo>
                      <a:lnTo>
                        <a:pt x="792" y="399"/>
                      </a:lnTo>
                      <a:lnTo>
                        <a:pt x="792" y="401"/>
                      </a:lnTo>
                      <a:lnTo>
                        <a:pt x="790" y="401"/>
                      </a:lnTo>
                      <a:lnTo>
                        <a:pt x="790" y="403"/>
                      </a:lnTo>
                      <a:lnTo>
                        <a:pt x="788" y="404"/>
                      </a:lnTo>
                      <a:lnTo>
                        <a:pt x="787" y="406"/>
                      </a:lnTo>
                      <a:lnTo>
                        <a:pt x="785" y="406"/>
                      </a:lnTo>
                      <a:lnTo>
                        <a:pt x="785" y="408"/>
                      </a:lnTo>
                      <a:lnTo>
                        <a:pt x="783" y="408"/>
                      </a:lnTo>
                      <a:lnTo>
                        <a:pt x="782" y="408"/>
                      </a:lnTo>
                      <a:lnTo>
                        <a:pt x="780" y="408"/>
                      </a:lnTo>
                      <a:lnTo>
                        <a:pt x="778" y="409"/>
                      </a:lnTo>
                      <a:lnTo>
                        <a:pt x="777" y="409"/>
                      </a:lnTo>
                      <a:lnTo>
                        <a:pt x="777" y="411"/>
                      </a:lnTo>
                      <a:lnTo>
                        <a:pt x="775" y="411"/>
                      </a:lnTo>
                      <a:lnTo>
                        <a:pt x="775" y="413"/>
                      </a:lnTo>
                      <a:lnTo>
                        <a:pt x="773" y="413"/>
                      </a:lnTo>
                      <a:lnTo>
                        <a:pt x="772" y="413"/>
                      </a:lnTo>
                      <a:lnTo>
                        <a:pt x="770" y="413"/>
                      </a:lnTo>
                      <a:lnTo>
                        <a:pt x="768" y="413"/>
                      </a:lnTo>
                      <a:lnTo>
                        <a:pt x="763" y="411"/>
                      </a:lnTo>
                      <a:lnTo>
                        <a:pt x="763" y="413"/>
                      </a:lnTo>
                      <a:lnTo>
                        <a:pt x="761" y="414"/>
                      </a:lnTo>
                      <a:lnTo>
                        <a:pt x="760" y="419"/>
                      </a:lnTo>
                      <a:lnTo>
                        <a:pt x="758" y="421"/>
                      </a:lnTo>
                      <a:lnTo>
                        <a:pt x="756" y="422"/>
                      </a:lnTo>
                      <a:lnTo>
                        <a:pt x="753" y="424"/>
                      </a:lnTo>
                      <a:lnTo>
                        <a:pt x="751" y="424"/>
                      </a:lnTo>
                      <a:lnTo>
                        <a:pt x="750" y="426"/>
                      </a:lnTo>
                      <a:lnTo>
                        <a:pt x="746" y="427"/>
                      </a:lnTo>
                      <a:lnTo>
                        <a:pt x="743" y="424"/>
                      </a:lnTo>
                      <a:lnTo>
                        <a:pt x="741" y="424"/>
                      </a:lnTo>
                      <a:lnTo>
                        <a:pt x="741" y="426"/>
                      </a:lnTo>
                      <a:lnTo>
                        <a:pt x="739" y="426"/>
                      </a:lnTo>
                      <a:lnTo>
                        <a:pt x="738" y="427"/>
                      </a:lnTo>
                      <a:lnTo>
                        <a:pt x="736" y="427"/>
                      </a:lnTo>
                      <a:lnTo>
                        <a:pt x="736" y="429"/>
                      </a:lnTo>
                      <a:lnTo>
                        <a:pt x="734" y="429"/>
                      </a:lnTo>
                      <a:lnTo>
                        <a:pt x="734" y="431"/>
                      </a:lnTo>
                      <a:lnTo>
                        <a:pt x="733" y="431"/>
                      </a:lnTo>
                      <a:lnTo>
                        <a:pt x="731" y="431"/>
                      </a:lnTo>
                      <a:lnTo>
                        <a:pt x="729" y="432"/>
                      </a:lnTo>
                      <a:lnTo>
                        <a:pt x="728" y="434"/>
                      </a:lnTo>
                      <a:lnTo>
                        <a:pt x="728" y="437"/>
                      </a:lnTo>
                      <a:lnTo>
                        <a:pt x="726" y="439"/>
                      </a:lnTo>
                      <a:lnTo>
                        <a:pt x="726" y="442"/>
                      </a:lnTo>
                      <a:lnTo>
                        <a:pt x="726" y="444"/>
                      </a:lnTo>
                      <a:lnTo>
                        <a:pt x="728" y="445"/>
                      </a:lnTo>
                      <a:lnTo>
                        <a:pt x="728" y="447"/>
                      </a:lnTo>
                      <a:lnTo>
                        <a:pt x="729" y="449"/>
                      </a:lnTo>
                      <a:lnTo>
                        <a:pt x="729" y="447"/>
                      </a:lnTo>
                      <a:lnTo>
                        <a:pt x="731" y="447"/>
                      </a:lnTo>
                      <a:lnTo>
                        <a:pt x="731" y="445"/>
                      </a:lnTo>
                      <a:lnTo>
                        <a:pt x="731" y="447"/>
                      </a:lnTo>
                      <a:lnTo>
                        <a:pt x="733" y="447"/>
                      </a:lnTo>
                      <a:lnTo>
                        <a:pt x="733" y="449"/>
                      </a:lnTo>
                      <a:lnTo>
                        <a:pt x="733" y="450"/>
                      </a:lnTo>
                      <a:lnTo>
                        <a:pt x="733" y="452"/>
                      </a:lnTo>
                      <a:lnTo>
                        <a:pt x="734" y="452"/>
                      </a:lnTo>
                      <a:lnTo>
                        <a:pt x="734" y="454"/>
                      </a:lnTo>
                      <a:lnTo>
                        <a:pt x="733" y="454"/>
                      </a:lnTo>
                      <a:lnTo>
                        <a:pt x="734" y="454"/>
                      </a:lnTo>
                      <a:lnTo>
                        <a:pt x="733" y="454"/>
                      </a:lnTo>
                      <a:lnTo>
                        <a:pt x="733" y="455"/>
                      </a:lnTo>
                      <a:lnTo>
                        <a:pt x="731" y="455"/>
                      </a:lnTo>
                      <a:lnTo>
                        <a:pt x="731" y="457"/>
                      </a:lnTo>
                      <a:lnTo>
                        <a:pt x="733" y="457"/>
                      </a:lnTo>
                      <a:lnTo>
                        <a:pt x="731" y="457"/>
                      </a:lnTo>
                      <a:lnTo>
                        <a:pt x="733" y="457"/>
                      </a:lnTo>
                      <a:lnTo>
                        <a:pt x="731" y="457"/>
                      </a:lnTo>
                      <a:lnTo>
                        <a:pt x="731" y="459"/>
                      </a:lnTo>
                      <a:lnTo>
                        <a:pt x="729" y="459"/>
                      </a:lnTo>
                      <a:lnTo>
                        <a:pt x="729" y="460"/>
                      </a:lnTo>
                      <a:lnTo>
                        <a:pt x="729" y="462"/>
                      </a:lnTo>
                      <a:lnTo>
                        <a:pt x="729" y="464"/>
                      </a:lnTo>
                      <a:lnTo>
                        <a:pt x="729" y="465"/>
                      </a:lnTo>
                      <a:lnTo>
                        <a:pt x="731" y="465"/>
                      </a:lnTo>
                      <a:lnTo>
                        <a:pt x="731" y="467"/>
                      </a:lnTo>
                      <a:lnTo>
                        <a:pt x="733" y="467"/>
                      </a:lnTo>
                      <a:lnTo>
                        <a:pt x="733" y="468"/>
                      </a:lnTo>
                      <a:lnTo>
                        <a:pt x="733" y="470"/>
                      </a:lnTo>
                      <a:lnTo>
                        <a:pt x="733" y="468"/>
                      </a:lnTo>
                      <a:lnTo>
                        <a:pt x="734" y="468"/>
                      </a:lnTo>
                      <a:lnTo>
                        <a:pt x="733" y="468"/>
                      </a:lnTo>
                      <a:lnTo>
                        <a:pt x="734" y="470"/>
                      </a:lnTo>
                      <a:lnTo>
                        <a:pt x="734" y="468"/>
                      </a:lnTo>
                      <a:lnTo>
                        <a:pt x="734" y="470"/>
                      </a:lnTo>
                      <a:lnTo>
                        <a:pt x="734" y="472"/>
                      </a:lnTo>
                      <a:lnTo>
                        <a:pt x="733" y="472"/>
                      </a:lnTo>
                      <a:lnTo>
                        <a:pt x="733" y="473"/>
                      </a:lnTo>
                      <a:lnTo>
                        <a:pt x="731" y="473"/>
                      </a:lnTo>
                      <a:lnTo>
                        <a:pt x="731" y="472"/>
                      </a:lnTo>
                      <a:lnTo>
                        <a:pt x="729" y="472"/>
                      </a:lnTo>
                      <a:lnTo>
                        <a:pt x="728" y="473"/>
                      </a:lnTo>
                      <a:lnTo>
                        <a:pt x="726" y="473"/>
                      </a:lnTo>
                      <a:lnTo>
                        <a:pt x="726" y="475"/>
                      </a:lnTo>
                      <a:lnTo>
                        <a:pt x="726" y="477"/>
                      </a:lnTo>
                      <a:lnTo>
                        <a:pt x="724" y="477"/>
                      </a:lnTo>
                      <a:lnTo>
                        <a:pt x="724" y="478"/>
                      </a:lnTo>
                      <a:lnTo>
                        <a:pt x="724" y="480"/>
                      </a:lnTo>
                      <a:lnTo>
                        <a:pt x="723" y="482"/>
                      </a:lnTo>
                      <a:lnTo>
                        <a:pt x="723" y="483"/>
                      </a:lnTo>
                      <a:lnTo>
                        <a:pt x="724" y="485"/>
                      </a:lnTo>
                      <a:lnTo>
                        <a:pt x="724" y="488"/>
                      </a:lnTo>
                      <a:lnTo>
                        <a:pt x="726" y="488"/>
                      </a:lnTo>
                      <a:lnTo>
                        <a:pt x="726" y="490"/>
                      </a:lnTo>
                      <a:lnTo>
                        <a:pt x="728" y="491"/>
                      </a:lnTo>
                      <a:lnTo>
                        <a:pt x="728" y="493"/>
                      </a:lnTo>
                      <a:lnTo>
                        <a:pt x="729" y="493"/>
                      </a:lnTo>
                      <a:lnTo>
                        <a:pt x="729" y="495"/>
                      </a:lnTo>
                      <a:lnTo>
                        <a:pt x="729" y="496"/>
                      </a:lnTo>
                      <a:lnTo>
                        <a:pt x="729" y="498"/>
                      </a:lnTo>
                      <a:lnTo>
                        <a:pt x="729" y="500"/>
                      </a:lnTo>
                      <a:lnTo>
                        <a:pt x="729" y="501"/>
                      </a:lnTo>
                      <a:lnTo>
                        <a:pt x="729" y="505"/>
                      </a:lnTo>
                      <a:lnTo>
                        <a:pt x="728" y="505"/>
                      </a:lnTo>
                      <a:lnTo>
                        <a:pt x="729" y="505"/>
                      </a:lnTo>
                      <a:lnTo>
                        <a:pt x="728" y="506"/>
                      </a:lnTo>
                      <a:lnTo>
                        <a:pt x="728" y="508"/>
                      </a:lnTo>
                      <a:lnTo>
                        <a:pt x="728" y="510"/>
                      </a:lnTo>
                      <a:lnTo>
                        <a:pt x="728" y="511"/>
                      </a:lnTo>
                      <a:lnTo>
                        <a:pt x="726" y="513"/>
                      </a:lnTo>
                      <a:lnTo>
                        <a:pt x="726" y="514"/>
                      </a:lnTo>
                      <a:lnTo>
                        <a:pt x="726" y="516"/>
                      </a:lnTo>
                      <a:lnTo>
                        <a:pt x="726" y="518"/>
                      </a:lnTo>
                      <a:lnTo>
                        <a:pt x="724" y="518"/>
                      </a:lnTo>
                      <a:lnTo>
                        <a:pt x="726" y="519"/>
                      </a:lnTo>
                      <a:lnTo>
                        <a:pt x="724" y="519"/>
                      </a:lnTo>
                      <a:lnTo>
                        <a:pt x="724" y="521"/>
                      </a:lnTo>
                      <a:lnTo>
                        <a:pt x="724" y="523"/>
                      </a:lnTo>
                      <a:lnTo>
                        <a:pt x="724" y="524"/>
                      </a:lnTo>
                      <a:lnTo>
                        <a:pt x="724" y="526"/>
                      </a:lnTo>
                      <a:lnTo>
                        <a:pt x="724" y="528"/>
                      </a:lnTo>
                      <a:lnTo>
                        <a:pt x="724" y="529"/>
                      </a:lnTo>
                      <a:lnTo>
                        <a:pt x="724" y="531"/>
                      </a:lnTo>
                      <a:lnTo>
                        <a:pt x="724" y="533"/>
                      </a:lnTo>
                      <a:lnTo>
                        <a:pt x="724" y="534"/>
                      </a:lnTo>
                      <a:lnTo>
                        <a:pt x="723" y="534"/>
                      </a:lnTo>
                      <a:lnTo>
                        <a:pt x="723" y="536"/>
                      </a:lnTo>
                      <a:lnTo>
                        <a:pt x="723" y="537"/>
                      </a:lnTo>
                      <a:lnTo>
                        <a:pt x="723" y="541"/>
                      </a:lnTo>
                      <a:lnTo>
                        <a:pt x="721" y="542"/>
                      </a:lnTo>
                      <a:lnTo>
                        <a:pt x="721" y="546"/>
                      </a:lnTo>
                      <a:lnTo>
                        <a:pt x="721" y="547"/>
                      </a:lnTo>
                      <a:lnTo>
                        <a:pt x="721" y="549"/>
                      </a:lnTo>
                      <a:lnTo>
                        <a:pt x="719" y="551"/>
                      </a:lnTo>
                      <a:lnTo>
                        <a:pt x="719" y="552"/>
                      </a:lnTo>
                      <a:lnTo>
                        <a:pt x="719" y="554"/>
                      </a:lnTo>
                      <a:lnTo>
                        <a:pt x="719" y="556"/>
                      </a:lnTo>
                      <a:lnTo>
                        <a:pt x="719" y="557"/>
                      </a:lnTo>
                      <a:lnTo>
                        <a:pt x="718" y="557"/>
                      </a:lnTo>
                      <a:lnTo>
                        <a:pt x="718" y="559"/>
                      </a:lnTo>
                      <a:lnTo>
                        <a:pt x="718" y="562"/>
                      </a:lnTo>
                      <a:lnTo>
                        <a:pt x="718" y="564"/>
                      </a:lnTo>
                      <a:lnTo>
                        <a:pt x="718" y="569"/>
                      </a:lnTo>
                      <a:lnTo>
                        <a:pt x="718" y="570"/>
                      </a:lnTo>
                      <a:lnTo>
                        <a:pt x="718" y="574"/>
                      </a:lnTo>
                      <a:lnTo>
                        <a:pt x="718" y="575"/>
                      </a:lnTo>
                      <a:lnTo>
                        <a:pt x="719" y="575"/>
                      </a:lnTo>
                      <a:lnTo>
                        <a:pt x="719" y="577"/>
                      </a:lnTo>
                      <a:lnTo>
                        <a:pt x="721" y="577"/>
                      </a:lnTo>
                      <a:lnTo>
                        <a:pt x="721" y="575"/>
                      </a:lnTo>
                      <a:lnTo>
                        <a:pt x="721" y="577"/>
                      </a:lnTo>
                      <a:lnTo>
                        <a:pt x="721" y="579"/>
                      </a:lnTo>
                      <a:lnTo>
                        <a:pt x="719" y="579"/>
                      </a:lnTo>
                      <a:lnTo>
                        <a:pt x="721" y="579"/>
                      </a:lnTo>
                      <a:lnTo>
                        <a:pt x="721" y="580"/>
                      </a:lnTo>
                      <a:lnTo>
                        <a:pt x="721" y="582"/>
                      </a:lnTo>
                      <a:lnTo>
                        <a:pt x="721" y="583"/>
                      </a:lnTo>
                      <a:lnTo>
                        <a:pt x="721" y="585"/>
                      </a:lnTo>
                      <a:lnTo>
                        <a:pt x="721" y="587"/>
                      </a:lnTo>
                      <a:lnTo>
                        <a:pt x="721" y="588"/>
                      </a:lnTo>
                      <a:lnTo>
                        <a:pt x="723" y="590"/>
                      </a:lnTo>
                      <a:lnTo>
                        <a:pt x="723" y="592"/>
                      </a:lnTo>
                      <a:lnTo>
                        <a:pt x="723" y="593"/>
                      </a:lnTo>
                      <a:lnTo>
                        <a:pt x="723" y="595"/>
                      </a:lnTo>
                      <a:lnTo>
                        <a:pt x="724" y="597"/>
                      </a:lnTo>
                      <a:lnTo>
                        <a:pt x="724" y="601"/>
                      </a:lnTo>
                      <a:lnTo>
                        <a:pt x="724" y="603"/>
                      </a:lnTo>
                      <a:lnTo>
                        <a:pt x="724" y="605"/>
                      </a:lnTo>
                      <a:lnTo>
                        <a:pt x="724" y="608"/>
                      </a:lnTo>
                      <a:lnTo>
                        <a:pt x="724" y="611"/>
                      </a:lnTo>
                      <a:lnTo>
                        <a:pt x="724" y="615"/>
                      </a:lnTo>
                      <a:lnTo>
                        <a:pt x="724" y="616"/>
                      </a:lnTo>
                      <a:lnTo>
                        <a:pt x="723" y="618"/>
                      </a:lnTo>
                      <a:lnTo>
                        <a:pt x="724" y="618"/>
                      </a:lnTo>
                      <a:lnTo>
                        <a:pt x="724" y="621"/>
                      </a:lnTo>
                      <a:lnTo>
                        <a:pt x="724" y="623"/>
                      </a:lnTo>
                      <a:lnTo>
                        <a:pt x="724" y="624"/>
                      </a:lnTo>
                      <a:lnTo>
                        <a:pt x="724" y="626"/>
                      </a:lnTo>
                      <a:lnTo>
                        <a:pt x="726" y="629"/>
                      </a:lnTo>
                      <a:lnTo>
                        <a:pt x="726" y="631"/>
                      </a:lnTo>
                      <a:lnTo>
                        <a:pt x="726" y="633"/>
                      </a:lnTo>
                      <a:lnTo>
                        <a:pt x="728" y="638"/>
                      </a:lnTo>
                      <a:lnTo>
                        <a:pt x="728" y="639"/>
                      </a:lnTo>
                      <a:lnTo>
                        <a:pt x="728" y="641"/>
                      </a:lnTo>
                      <a:lnTo>
                        <a:pt x="728" y="643"/>
                      </a:lnTo>
                      <a:lnTo>
                        <a:pt x="729" y="643"/>
                      </a:lnTo>
                      <a:lnTo>
                        <a:pt x="729" y="646"/>
                      </a:lnTo>
                      <a:lnTo>
                        <a:pt x="729" y="647"/>
                      </a:lnTo>
                      <a:lnTo>
                        <a:pt x="728" y="647"/>
                      </a:lnTo>
                      <a:lnTo>
                        <a:pt x="729" y="647"/>
                      </a:lnTo>
                      <a:lnTo>
                        <a:pt x="729" y="649"/>
                      </a:lnTo>
                      <a:lnTo>
                        <a:pt x="729" y="651"/>
                      </a:lnTo>
                      <a:lnTo>
                        <a:pt x="729" y="652"/>
                      </a:lnTo>
                      <a:lnTo>
                        <a:pt x="729" y="654"/>
                      </a:lnTo>
                      <a:lnTo>
                        <a:pt x="729" y="657"/>
                      </a:lnTo>
                      <a:lnTo>
                        <a:pt x="729" y="659"/>
                      </a:lnTo>
                      <a:lnTo>
                        <a:pt x="731" y="661"/>
                      </a:lnTo>
                      <a:lnTo>
                        <a:pt x="731" y="662"/>
                      </a:lnTo>
                      <a:lnTo>
                        <a:pt x="733" y="664"/>
                      </a:lnTo>
                      <a:lnTo>
                        <a:pt x="733" y="666"/>
                      </a:lnTo>
                      <a:lnTo>
                        <a:pt x="733" y="667"/>
                      </a:lnTo>
                      <a:lnTo>
                        <a:pt x="734" y="669"/>
                      </a:lnTo>
                      <a:lnTo>
                        <a:pt x="736" y="672"/>
                      </a:lnTo>
                      <a:lnTo>
                        <a:pt x="736" y="674"/>
                      </a:lnTo>
                      <a:lnTo>
                        <a:pt x="736" y="675"/>
                      </a:lnTo>
                      <a:lnTo>
                        <a:pt x="736" y="677"/>
                      </a:lnTo>
                      <a:lnTo>
                        <a:pt x="734" y="680"/>
                      </a:lnTo>
                      <a:lnTo>
                        <a:pt x="731" y="687"/>
                      </a:lnTo>
                      <a:lnTo>
                        <a:pt x="731" y="689"/>
                      </a:lnTo>
                      <a:lnTo>
                        <a:pt x="731" y="690"/>
                      </a:lnTo>
                      <a:lnTo>
                        <a:pt x="729" y="692"/>
                      </a:lnTo>
                      <a:lnTo>
                        <a:pt x="729" y="695"/>
                      </a:lnTo>
                      <a:lnTo>
                        <a:pt x="728" y="695"/>
                      </a:lnTo>
                      <a:lnTo>
                        <a:pt x="728" y="697"/>
                      </a:lnTo>
                      <a:lnTo>
                        <a:pt x="728" y="700"/>
                      </a:lnTo>
                      <a:lnTo>
                        <a:pt x="728" y="702"/>
                      </a:lnTo>
                      <a:lnTo>
                        <a:pt x="728" y="703"/>
                      </a:lnTo>
                      <a:lnTo>
                        <a:pt x="728" y="705"/>
                      </a:lnTo>
                      <a:lnTo>
                        <a:pt x="726" y="705"/>
                      </a:lnTo>
                      <a:lnTo>
                        <a:pt x="726" y="707"/>
                      </a:lnTo>
                      <a:lnTo>
                        <a:pt x="726" y="708"/>
                      </a:lnTo>
                      <a:lnTo>
                        <a:pt x="724" y="708"/>
                      </a:lnTo>
                      <a:lnTo>
                        <a:pt x="723" y="710"/>
                      </a:lnTo>
                      <a:lnTo>
                        <a:pt x="723" y="712"/>
                      </a:lnTo>
                      <a:lnTo>
                        <a:pt x="721" y="712"/>
                      </a:lnTo>
                      <a:lnTo>
                        <a:pt x="721" y="713"/>
                      </a:lnTo>
                      <a:lnTo>
                        <a:pt x="721" y="715"/>
                      </a:lnTo>
                      <a:lnTo>
                        <a:pt x="723" y="713"/>
                      </a:lnTo>
                      <a:lnTo>
                        <a:pt x="721" y="715"/>
                      </a:lnTo>
                      <a:lnTo>
                        <a:pt x="721" y="716"/>
                      </a:lnTo>
                      <a:lnTo>
                        <a:pt x="721" y="718"/>
                      </a:lnTo>
                      <a:lnTo>
                        <a:pt x="723" y="718"/>
                      </a:lnTo>
                      <a:lnTo>
                        <a:pt x="723" y="720"/>
                      </a:lnTo>
                      <a:lnTo>
                        <a:pt x="723" y="721"/>
                      </a:lnTo>
                      <a:lnTo>
                        <a:pt x="723" y="723"/>
                      </a:lnTo>
                      <a:lnTo>
                        <a:pt x="721" y="723"/>
                      </a:lnTo>
                      <a:lnTo>
                        <a:pt x="719" y="725"/>
                      </a:lnTo>
                      <a:lnTo>
                        <a:pt x="719" y="726"/>
                      </a:lnTo>
                      <a:lnTo>
                        <a:pt x="718" y="728"/>
                      </a:lnTo>
                      <a:lnTo>
                        <a:pt x="718" y="730"/>
                      </a:lnTo>
                      <a:lnTo>
                        <a:pt x="718" y="731"/>
                      </a:lnTo>
                      <a:lnTo>
                        <a:pt x="718" y="733"/>
                      </a:lnTo>
                      <a:lnTo>
                        <a:pt x="716" y="735"/>
                      </a:lnTo>
                      <a:lnTo>
                        <a:pt x="716" y="736"/>
                      </a:lnTo>
                      <a:lnTo>
                        <a:pt x="716" y="738"/>
                      </a:lnTo>
                      <a:lnTo>
                        <a:pt x="716" y="739"/>
                      </a:lnTo>
                      <a:lnTo>
                        <a:pt x="716" y="741"/>
                      </a:lnTo>
                      <a:lnTo>
                        <a:pt x="714" y="743"/>
                      </a:lnTo>
                      <a:lnTo>
                        <a:pt x="714" y="744"/>
                      </a:lnTo>
                      <a:lnTo>
                        <a:pt x="714" y="746"/>
                      </a:lnTo>
                      <a:lnTo>
                        <a:pt x="714" y="748"/>
                      </a:lnTo>
                      <a:lnTo>
                        <a:pt x="714" y="749"/>
                      </a:lnTo>
                      <a:lnTo>
                        <a:pt x="714" y="751"/>
                      </a:lnTo>
                      <a:lnTo>
                        <a:pt x="714" y="753"/>
                      </a:lnTo>
                      <a:lnTo>
                        <a:pt x="712" y="753"/>
                      </a:lnTo>
                      <a:lnTo>
                        <a:pt x="712" y="754"/>
                      </a:lnTo>
                      <a:lnTo>
                        <a:pt x="711" y="756"/>
                      </a:lnTo>
                      <a:lnTo>
                        <a:pt x="711" y="758"/>
                      </a:lnTo>
                      <a:lnTo>
                        <a:pt x="709" y="759"/>
                      </a:lnTo>
                      <a:lnTo>
                        <a:pt x="709" y="761"/>
                      </a:lnTo>
                      <a:lnTo>
                        <a:pt x="709" y="762"/>
                      </a:lnTo>
                      <a:lnTo>
                        <a:pt x="709" y="766"/>
                      </a:lnTo>
                      <a:lnTo>
                        <a:pt x="709" y="767"/>
                      </a:lnTo>
                      <a:lnTo>
                        <a:pt x="709" y="769"/>
                      </a:lnTo>
                      <a:lnTo>
                        <a:pt x="711" y="771"/>
                      </a:lnTo>
                      <a:lnTo>
                        <a:pt x="712" y="771"/>
                      </a:lnTo>
                      <a:lnTo>
                        <a:pt x="711" y="772"/>
                      </a:lnTo>
                      <a:lnTo>
                        <a:pt x="709" y="774"/>
                      </a:lnTo>
                      <a:lnTo>
                        <a:pt x="709" y="776"/>
                      </a:lnTo>
                      <a:lnTo>
                        <a:pt x="709" y="777"/>
                      </a:lnTo>
                      <a:lnTo>
                        <a:pt x="709" y="779"/>
                      </a:lnTo>
                      <a:lnTo>
                        <a:pt x="707" y="779"/>
                      </a:lnTo>
                      <a:lnTo>
                        <a:pt x="707" y="781"/>
                      </a:lnTo>
                      <a:lnTo>
                        <a:pt x="707" y="782"/>
                      </a:lnTo>
                      <a:lnTo>
                        <a:pt x="707" y="784"/>
                      </a:lnTo>
                      <a:lnTo>
                        <a:pt x="707" y="785"/>
                      </a:lnTo>
                      <a:lnTo>
                        <a:pt x="707" y="787"/>
                      </a:lnTo>
                      <a:lnTo>
                        <a:pt x="706" y="787"/>
                      </a:lnTo>
                      <a:lnTo>
                        <a:pt x="706" y="789"/>
                      </a:lnTo>
                      <a:lnTo>
                        <a:pt x="706" y="790"/>
                      </a:lnTo>
                      <a:lnTo>
                        <a:pt x="706" y="792"/>
                      </a:lnTo>
                      <a:lnTo>
                        <a:pt x="704" y="792"/>
                      </a:lnTo>
                      <a:lnTo>
                        <a:pt x="704" y="794"/>
                      </a:lnTo>
                      <a:lnTo>
                        <a:pt x="702" y="795"/>
                      </a:lnTo>
                      <a:lnTo>
                        <a:pt x="702" y="797"/>
                      </a:lnTo>
                      <a:lnTo>
                        <a:pt x="702" y="799"/>
                      </a:lnTo>
                      <a:lnTo>
                        <a:pt x="702" y="800"/>
                      </a:lnTo>
                      <a:lnTo>
                        <a:pt x="702" y="802"/>
                      </a:lnTo>
                      <a:lnTo>
                        <a:pt x="702" y="803"/>
                      </a:lnTo>
                      <a:lnTo>
                        <a:pt x="702" y="805"/>
                      </a:lnTo>
                      <a:lnTo>
                        <a:pt x="702" y="807"/>
                      </a:lnTo>
                      <a:lnTo>
                        <a:pt x="702" y="810"/>
                      </a:lnTo>
                      <a:lnTo>
                        <a:pt x="702" y="812"/>
                      </a:lnTo>
                      <a:lnTo>
                        <a:pt x="704" y="813"/>
                      </a:lnTo>
                      <a:lnTo>
                        <a:pt x="704" y="815"/>
                      </a:lnTo>
                      <a:lnTo>
                        <a:pt x="704" y="817"/>
                      </a:lnTo>
                      <a:lnTo>
                        <a:pt x="704" y="818"/>
                      </a:lnTo>
                      <a:lnTo>
                        <a:pt x="704" y="820"/>
                      </a:lnTo>
                      <a:lnTo>
                        <a:pt x="706" y="822"/>
                      </a:lnTo>
                      <a:close/>
                      <a:moveTo>
                        <a:pt x="721" y="712"/>
                      </a:moveTo>
                      <a:lnTo>
                        <a:pt x="723" y="712"/>
                      </a:lnTo>
                      <a:lnTo>
                        <a:pt x="721" y="712"/>
                      </a:lnTo>
                      <a:close/>
                      <a:moveTo>
                        <a:pt x="670" y="882"/>
                      </a:moveTo>
                      <a:lnTo>
                        <a:pt x="670" y="881"/>
                      </a:lnTo>
                      <a:lnTo>
                        <a:pt x="670" y="882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3" name="Freeform 23"/>
                <p:cNvSpPr>
                  <a:spLocks noChangeAspect="1"/>
                </p:cNvSpPr>
                <p:nvPr/>
              </p:nvSpPr>
              <p:spPr bwMode="auto">
                <a:xfrm>
                  <a:off x="6092118" y="1702990"/>
                  <a:ext cx="615600" cy="782776"/>
                </a:xfrm>
                <a:custGeom>
                  <a:avLst/>
                  <a:gdLst>
                    <a:gd name="T0" fmla="*/ 2147483647 w 395"/>
                    <a:gd name="T1" fmla="*/ 2147483647 h 468"/>
                    <a:gd name="T2" fmla="*/ 2147483647 w 395"/>
                    <a:gd name="T3" fmla="*/ 2147483647 h 468"/>
                    <a:gd name="T4" fmla="*/ 2147483647 w 395"/>
                    <a:gd name="T5" fmla="*/ 2147483647 h 468"/>
                    <a:gd name="T6" fmla="*/ 2147483647 w 395"/>
                    <a:gd name="T7" fmla="*/ 2147483647 h 468"/>
                    <a:gd name="T8" fmla="*/ 2147483647 w 395"/>
                    <a:gd name="T9" fmla="*/ 2147483647 h 468"/>
                    <a:gd name="T10" fmla="*/ 2147483647 w 395"/>
                    <a:gd name="T11" fmla="*/ 2147483647 h 468"/>
                    <a:gd name="T12" fmla="*/ 2147483647 w 395"/>
                    <a:gd name="T13" fmla="*/ 2147483647 h 468"/>
                    <a:gd name="T14" fmla="*/ 2147483647 w 395"/>
                    <a:gd name="T15" fmla="*/ 2147483647 h 468"/>
                    <a:gd name="T16" fmla="*/ 0 w 395"/>
                    <a:gd name="T17" fmla="*/ 2147483647 h 468"/>
                    <a:gd name="T18" fmla="*/ 2147483647 w 395"/>
                    <a:gd name="T19" fmla="*/ 2147483647 h 468"/>
                    <a:gd name="T20" fmla="*/ 2147483647 w 395"/>
                    <a:gd name="T21" fmla="*/ 2147483647 h 468"/>
                    <a:gd name="T22" fmla="*/ 2147483647 w 395"/>
                    <a:gd name="T23" fmla="*/ 2147483647 h 468"/>
                    <a:gd name="T24" fmla="*/ 2147483647 w 395"/>
                    <a:gd name="T25" fmla="*/ 2147483647 h 468"/>
                    <a:gd name="T26" fmla="*/ 2147483647 w 395"/>
                    <a:gd name="T27" fmla="*/ 2147483647 h 468"/>
                    <a:gd name="T28" fmla="*/ 2147483647 w 395"/>
                    <a:gd name="T29" fmla="*/ 2147483647 h 468"/>
                    <a:gd name="T30" fmla="*/ 2147483647 w 395"/>
                    <a:gd name="T31" fmla="*/ 2147483647 h 468"/>
                    <a:gd name="T32" fmla="*/ 2147483647 w 395"/>
                    <a:gd name="T33" fmla="*/ 2147483647 h 468"/>
                    <a:gd name="T34" fmla="*/ 2147483647 w 395"/>
                    <a:gd name="T35" fmla="*/ 2147483647 h 468"/>
                    <a:gd name="T36" fmla="*/ 2147483647 w 395"/>
                    <a:gd name="T37" fmla="*/ 2147483647 h 468"/>
                    <a:gd name="T38" fmla="*/ 2147483647 w 395"/>
                    <a:gd name="T39" fmla="*/ 2147483647 h 468"/>
                    <a:gd name="T40" fmla="*/ 2147483647 w 395"/>
                    <a:gd name="T41" fmla="*/ 2147483647 h 468"/>
                    <a:gd name="T42" fmla="*/ 2147483647 w 395"/>
                    <a:gd name="T43" fmla="*/ 2147483647 h 468"/>
                    <a:gd name="T44" fmla="*/ 2147483647 w 395"/>
                    <a:gd name="T45" fmla="*/ 2147483647 h 468"/>
                    <a:gd name="T46" fmla="*/ 2147483647 w 395"/>
                    <a:gd name="T47" fmla="*/ 2147483647 h 468"/>
                    <a:gd name="T48" fmla="*/ 2147483647 w 395"/>
                    <a:gd name="T49" fmla="*/ 2147483647 h 468"/>
                    <a:gd name="T50" fmla="*/ 2147483647 w 395"/>
                    <a:gd name="T51" fmla="*/ 2147483647 h 468"/>
                    <a:gd name="T52" fmla="*/ 2147483647 w 395"/>
                    <a:gd name="T53" fmla="*/ 2147483647 h 468"/>
                    <a:gd name="T54" fmla="*/ 2147483647 w 395"/>
                    <a:gd name="T55" fmla="*/ 2147483647 h 468"/>
                    <a:gd name="T56" fmla="*/ 2147483647 w 395"/>
                    <a:gd name="T57" fmla="*/ 2147483647 h 468"/>
                    <a:gd name="T58" fmla="*/ 2147483647 w 395"/>
                    <a:gd name="T59" fmla="*/ 2147483647 h 468"/>
                    <a:gd name="T60" fmla="*/ 2147483647 w 395"/>
                    <a:gd name="T61" fmla="*/ 2147483647 h 468"/>
                    <a:gd name="T62" fmla="*/ 2147483647 w 395"/>
                    <a:gd name="T63" fmla="*/ 2147483647 h 468"/>
                    <a:gd name="T64" fmla="*/ 2147483647 w 395"/>
                    <a:gd name="T65" fmla="*/ 2147483647 h 468"/>
                    <a:gd name="T66" fmla="*/ 2147483647 w 395"/>
                    <a:gd name="T67" fmla="*/ 2147483647 h 468"/>
                    <a:gd name="T68" fmla="*/ 2147483647 w 395"/>
                    <a:gd name="T69" fmla="*/ 2147483647 h 468"/>
                    <a:gd name="T70" fmla="*/ 2147483647 w 395"/>
                    <a:gd name="T71" fmla="*/ 2147483647 h 468"/>
                    <a:gd name="T72" fmla="*/ 2147483647 w 395"/>
                    <a:gd name="T73" fmla="*/ 2147483647 h 468"/>
                    <a:gd name="T74" fmla="*/ 2147483647 w 395"/>
                    <a:gd name="T75" fmla="*/ 2147483647 h 468"/>
                    <a:gd name="T76" fmla="*/ 2147483647 w 395"/>
                    <a:gd name="T77" fmla="*/ 2147483647 h 468"/>
                    <a:gd name="T78" fmla="*/ 2147483647 w 395"/>
                    <a:gd name="T79" fmla="*/ 2147483647 h 468"/>
                    <a:gd name="T80" fmla="*/ 2147483647 w 395"/>
                    <a:gd name="T81" fmla="*/ 2147483647 h 468"/>
                    <a:gd name="T82" fmla="*/ 2147483647 w 395"/>
                    <a:gd name="T83" fmla="*/ 2147483647 h 468"/>
                    <a:gd name="T84" fmla="*/ 2147483647 w 395"/>
                    <a:gd name="T85" fmla="*/ 2147483647 h 468"/>
                    <a:gd name="T86" fmla="*/ 2147483647 w 395"/>
                    <a:gd name="T87" fmla="*/ 2147483647 h 468"/>
                    <a:gd name="T88" fmla="*/ 2147483647 w 395"/>
                    <a:gd name="T89" fmla="*/ 2147483647 h 468"/>
                    <a:gd name="T90" fmla="*/ 2147483647 w 395"/>
                    <a:gd name="T91" fmla="*/ 2147483647 h 468"/>
                    <a:gd name="T92" fmla="*/ 2147483647 w 395"/>
                    <a:gd name="T93" fmla="*/ 2147483647 h 468"/>
                    <a:gd name="T94" fmla="*/ 2147483647 w 395"/>
                    <a:gd name="T95" fmla="*/ 2147483647 h 468"/>
                    <a:gd name="T96" fmla="*/ 2147483647 w 395"/>
                    <a:gd name="T97" fmla="*/ 2147483647 h 468"/>
                    <a:gd name="T98" fmla="*/ 2147483647 w 395"/>
                    <a:gd name="T99" fmla="*/ 2147483647 h 468"/>
                    <a:gd name="T100" fmla="*/ 2147483647 w 395"/>
                    <a:gd name="T101" fmla="*/ 2147483647 h 468"/>
                    <a:gd name="T102" fmla="*/ 2147483647 w 395"/>
                    <a:gd name="T103" fmla="*/ 2147483647 h 468"/>
                    <a:gd name="T104" fmla="*/ 2147483647 w 395"/>
                    <a:gd name="T105" fmla="*/ 2147483647 h 468"/>
                    <a:gd name="T106" fmla="*/ 2147483647 w 395"/>
                    <a:gd name="T107" fmla="*/ 2147483647 h 468"/>
                    <a:gd name="T108" fmla="*/ 2147483647 w 395"/>
                    <a:gd name="T109" fmla="*/ 2147483647 h 468"/>
                    <a:gd name="T110" fmla="*/ 2147483647 w 395"/>
                    <a:gd name="T111" fmla="*/ 2147483647 h 468"/>
                    <a:gd name="T112" fmla="*/ 2147483647 w 395"/>
                    <a:gd name="T113" fmla="*/ 2147483647 h 468"/>
                    <a:gd name="T114" fmla="*/ 2147483647 w 395"/>
                    <a:gd name="T115" fmla="*/ 2147483647 h 468"/>
                    <a:gd name="T116" fmla="*/ 2147483647 w 395"/>
                    <a:gd name="T117" fmla="*/ 2147483647 h 468"/>
                    <a:gd name="T118" fmla="*/ 2147483647 w 395"/>
                    <a:gd name="T119" fmla="*/ 2147483647 h 46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95"/>
                    <a:gd name="T181" fmla="*/ 0 h 468"/>
                    <a:gd name="T182" fmla="*/ 395 w 395"/>
                    <a:gd name="T183" fmla="*/ 468 h 46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95" h="468">
                      <a:moveTo>
                        <a:pt x="49" y="300"/>
                      </a:moveTo>
                      <a:lnTo>
                        <a:pt x="49" y="299"/>
                      </a:lnTo>
                      <a:lnTo>
                        <a:pt x="51" y="296"/>
                      </a:lnTo>
                      <a:lnTo>
                        <a:pt x="52" y="296"/>
                      </a:lnTo>
                      <a:lnTo>
                        <a:pt x="52" y="294"/>
                      </a:lnTo>
                      <a:lnTo>
                        <a:pt x="52" y="292"/>
                      </a:lnTo>
                      <a:lnTo>
                        <a:pt x="52" y="291"/>
                      </a:lnTo>
                      <a:lnTo>
                        <a:pt x="52" y="289"/>
                      </a:lnTo>
                      <a:lnTo>
                        <a:pt x="51" y="287"/>
                      </a:lnTo>
                      <a:lnTo>
                        <a:pt x="51" y="286"/>
                      </a:lnTo>
                      <a:lnTo>
                        <a:pt x="51" y="284"/>
                      </a:lnTo>
                      <a:lnTo>
                        <a:pt x="49" y="282"/>
                      </a:lnTo>
                      <a:lnTo>
                        <a:pt x="49" y="281"/>
                      </a:lnTo>
                      <a:lnTo>
                        <a:pt x="49" y="279"/>
                      </a:lnTo>
                      <a:lnTo>
                        <a:pt x="49" y="278"/>
                      </a:lnTo>
                      <a:lnTo>
                        <a:pt x="49" y="276"/>
                      </a:lnTo>
                      <a:lnTo>
                        <a:pt x="49" y="274"/>
                      </a:lnTo>
                      <a:lnTo>
                        <a:pt x="49" y="273"/>
                      </a:lnTo>
                      <a:lnTo>
                        <a:pt x="49" y="271"/>
                      </a:lnTo>
                      <a:lnTo>
                        <a:pt x="47" y="268"/>
                      </a:lnTo>
                      <a:lnTo>
                        <a:pt x="47" y="266"/>
                      </a:lnTo>
                      <a:lnTo>
                        <a:pt x="47" y="264"/>
                      </a:lnTo>
                      <a:lnTo>
                        <a:pt x="49" y="264"/>
                      </a:lnTo>
                      <a:lnTo>
                        <a:pt x="51" y="263"/>
                      </a:lnTo>
                      <a:lnTo>
                        <a:pt x="51" y="261"/>
                      </a:lnTo>
                      <a:lnTo>
                        <a:pt x="49" y="259"/>
                      </a:lnTo>
                      <a:lnTo>
                        <a:pt x="49" y="258"/>
                      </a:lnTo>
                      <a:lnTo>
                        <a:pt x="49" y="256"/>
                      </a:lnTo>
                      <a:lnTo>
                        <a:pt x="47" y="255"/>
                      </a:lnTo>
                      <a:lnTo>
                        <a:pt x="47" y="253"/>
                      </a:lnTo>
                      <a:lnTo>
                        <a:pt x="47" y="251"/>
                      </a:lnTo>
                      <a:lnTo>
                        <a:pt x="47" y="250"/>
                      </a:lnTo>
                      <a:lnTo>
                        <a:pt x="47" y="248"/>
                      </a:lnTo>
                      <a:lnTo>
                        <a:pt x="49" y="248"/>
                      </a:lnTo>
                      <a:lnTo>
                        <a:pt x="49" y="246"/>
                      </a:lnTo>
                      <a:lnTo>
                        <a:pt x="47" y="246"/>
                      </a:lnTo>
                      <a:lnTo>
                        <a:pt x="47" y="245"/>
                      </a:lnTo>
                      <a:lnTo>
                        <a:pt x="46" y="245"/>
                      </a:lnTo>
                      <a:lnTo>
                        <a:pt x="46" y="243"/>
                      </a:lnTo>
                      <a:lnTo>
                        <a:pt x="46" y="241"/>
                      </a:lnTo>
                      <a:lnTo>
                        <a:pt x="44" y="241"/>
                      </a:lnTo>
                      <a:lnTo>
                        <a:pt x="44" y="243"/>
                      </a:lnTo>
                      <a:lnTo>
                        <a:pt x="42" y="241"/>
                      </a:lnTo>
                      <a:lnTo>
                        <a:pt x="44" y="241"/>
                      </a:lnTo>
                      <a:lnTo>
                        <a:pt x="44" y="240"/>
                      </a:lnTo>
                      <a:lnTo>
                        <a:pt x="42" y="240"/>
                      </a:lnTo>
                      <a:lnTo>
                        <a:pt x="42" y="238"/>
                      </a:lnTo>
                      <a:lnTo>
                        <a:pt x="40" y="238"/>
                      </a:lnTo>
                      <a:lnTo>
                        <a:pt x="40" y="236"/>
                      </a:lnTo>
                      <a:lnTo>
                        <a:pt x="39" y="235"/>
                      </a:lnTo>
                      <a:lnTo>
                        <a:pt x="37" y="233"/>
                      </a:lnTo>
                      <a:lnTo>
                        <a:pt x="35" y="232"/>
                      </a:lnTo>
                      <a:lnTo>
                        <a:pt x="35" y="230"/>
                      </a:lnTo>
                      <a:lnTo>
                        <a:pt x="37" y="225"/>
                      </a:lnTo>
                      <a:lnTo>
                        <a:pt x="37" y="223"/>
                      </a:lnTo>
                      <a:lnTo>
                        <a:pt x="37" y="222"/>
                      </a:lnTo>
                      <a:lnTo>
                        <a:pt x="39" y="220"/>
                      </a:lnTo>
                      <a:lnTo>
                        <a:pt x="39" y="218"/>
                      </a:lnTo>
                      <a:lnTo>
                        <a:pt x="37" y="217"/>
                      </a:lnTo>
                      <a:lnTo>
                        <a:pt x="35" y="217"/>
                      </a:lnTo>
                      <a:lnTo>
                        <a:pt x="35" y="215"/>
                      </a:lnTo>
                      <a:lnTo>
                        <a:pt x="34" y="213"/>
                      </a:lnTo>
                      <a:lnTo>
                        <a:pt x="34" y="212"/>
                      </a:lnTo>
                      <a:lnTo>
                        <a:pt x="32" y="210"/>
                      </a:lnTo>
                      <a:lnTo>
                        <a:pt x="32" y="209"/>
                      </a:lnTo>
                      <a:lnTo>
                        <a:pt x="32" y="207"/>
                      </a:lnTo>
                      <a:lnTo>
                        <a:pt x="30" y="207"/>
                      </a:lnTo>
                      <a:lnTo>
                        <a:pt x="32" y="205"/>
                      </a:lnTo>
                      <a:lnTo>
                        <a:pt x="30" y="204"/>
                      </a:lnTo>
                      <a:lnTo>
                        <a:pt x="29" y="202"/>
                      </a:lnTo>
                      <a:lnTo>
                        <a:pt x="27" y="199"/>
                      </a:lnTo>
                      <a:lnTo>
                        <a:pt x="25" y="197"/>
                      </a:lnTo>
                      <a:lnTo>
                        <a:pt x="25" y="195"/>
                      </a:lnTo>
                      <a:lnTo>
                        <a:pt x="25" y="194"/>
                      </a:lnTo>
                      <a:lnTo>
                        <a:pt x="25" y="192"/>
                      </a:lnTo>
                      <a:lnTo>
                        <a:pt x="25" y="190"/>
                      </a:lnTo>
                      <a:lnTo>
                        <a:pt x="25" y="187"/>
                      </a:lnTo>
                      <a:lnTo>
                        <a:pt x="25" y="186"/>
                      </a:lnTo>
                      <a:lnTo>
                        <a:pt x="25" y="184"/>
                      </a:lnTo>
                      <a:lnTo>
                        <a:pt x="24" y="182"/>
                      </a:lnTo>
                      <a:lnTo>
                        <a:pt x="22" y="181"/>
                      </a:lnTo>
                      <a:lnTo>
                        <a:pt x="22" y="179"/>
                      </a:lnTo>
                      <a:lnTo>
                        <a:pt x="20" y="179"/>
                      </a:lnTo>
                      <a:lnTo>
                        <a:pt x="20" y="177"/>
                      </a:lnTo>
                      <a:lnTo>
                        <a:pt x="22" y="176"/>
                      </a:lnTo>
                      <a:lnTo>
                        <a:pt x="24" y="174"/>
                      </a:lnTo>
                      <a:lnTo>
                        <a:pt x="24" y="172"/>
                      </a:lnTo>
                      <a:lnTo>
                        <a:pt x="22" y="171"/>
                      </a:lnTo>
                      <a:lnTo>
                        <a:pt x="20" y="169"/>
                      </a:lnTo>
                      <a:lnTo>
                        <a:pt x="18" y="169"/>
                      </a:lnTo>
                      <a:lnTo>
                        <a:pt x="18" y="166"/>
                      </a:lnTo>
                      <a:lnTo>
                        <a:pt x="20" y="164"/>
                      </a:lnTo>
                      <a:lnTo>
                        <a:pt x="22" y="163"/>
                      </a:lnTo>
                      <a:lnTo>
                        <a:pt x="24" y="159"/>
                      </a:lnTo>
                      <a:lnTo>
                        <a:pt x="24" y="158"/>
                      </a:lnTo>
                      <a:lnTo>
                        <a:pt x="24" y="156"/>
                      </a:lnTo>
                      <a:lnTo>
                        <a:pt x="24" y="154"/>
                      </a:lnTo>
                      <a:lnTo>
                        <a:pt x="25" y="153"/>
                      </a:lnTo>
                      <a:lnTo>
                        <a:pt x="27" y="153"/>
                      </a:lnTo>
                      <a:lnTo>
                        <a:pt x="27" y="151"/>
                      </a:lnTo>
                      <a:lnTo>
                        <a:pt x="29" y="149"/>
                      </a:lnTo>
                      <a:lnTo>
                        <a:pt x="30" y="148"/>
                      </a:lnTo>
                      <a:lnTo>
                        <a:pt x="32" y="146"/>
                      </a:lnTo>
                      <a:lnTo>
                        <a:pt x="34" y="144"/>
                      </a:lnTo>
                      <a:lnTo>
                        <a:pt x="34" y="143"/>
                      </a:lnTo>
                      <a:lnTo>
                        <a:pt x="34" y="141"/>
                      </a:lnTo>
                      <a:lnTo>
                        <a:pt x="35" y="136"/>
                      </a:lnTo>
                      <a:lnTo>
                        <a:pt x="35" y="135"/>
                      </a:lnTo>
                      <a:lnTo>
                        <a:pt x="35" y="133"/>
                      </a:lnTo>
                      <a:lnTo>
                        <a:pt x="37" y="133"/>
                      </a:lnTo>
                      <a:lnTo>
                        <a:pt x="37" y="131"/>
                      </a:lnTo>
                      <a:lnTo>
                        <a:pt x="37" y="130"/>
                      </a:lnTo>
                      <a:lnTo>
                        <a:pt x="35" y="130"/>
                      </a:lnTo>
                      <a:lnTo>
                        <a:pt x="34" y="128"/>
                      </a:lnTo>
                      <a:lnTo>
                        <a:pt x="32" y="128"/>
                      </a:lnTo>
                      <a:lnTo>
                        <a:pt x="30" y="128"/>
                      </a:lnTo>
                      <a:lnTo>
                        <a:pt x="29" y="126"/>
                      </a:lnTo>
                      <a:lnTo>
                        <a:pt x="29" y="125"/>
                      </a:lnTo>
                      <a:lnTo>
                        <a:pt x="27" y="123"/>
                      </a:lnTo>
                      <a:lnTo>
                        <a:pt x="27" y="120"/>
                      </a:lnTo>
                      <a:lnTo>
                        <a:pt x="25" y="118"/>
                      </a:lnTo>
                      <a:lnTo>
                        <a:pt x="22" y="117"/>
                      </a:lnTo>
                      <a:lnTo>
                        <a:pt x="22" y="115"/>
                      </a:lnTo>
                      <a:lnTo>
                        <a:pt x="20" y="113"/>
                      </a:lnTo>
                      <a:lnTo>
                        <a:pt x="20" y="112"/>
                      </a:lnTo>
                      <a:lnTo>
                        <a:pt x="20" y="108"/>
                      </a:lnTo>
                      <a:lnTo>
                        <a:pt x="20" y="107"/>
                      </a:lnTo>
                      <a:lnTo>
                        <a:pt x="18" y="103"/>
                      </a:lnTo>
                      <a:lnTo>
                        <a:pt x="18" y="102"/>
                      </a:lnTo>
                      <a:lnTo>
                        <a:pt x="18" y="100"/>
                      </a:lnTo>
                      <a:lnTo>
                        <a:pt x="17" y="98"/>
                      </a:lnTo>
                      <a:lnTo>
                        <a:pt x="17" y="97"/>
                      </a:lnTo>
                      <a:lnTo>
                        <a:pt x="17" y="95"/>
                      </a:lnTo>
                      <a:lnTo>
                        <a:pt x="15" y="94"/>
                      </a:lnTo>
                      <a:lnTo>
                        <a:pt x="15" y="92"/>
                      </a:lnTo>
                      <a:lnTo>
                        <a:pt x="13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8" y="84"/>
                      </a:lnTo>
                      <a:lnTo>
                        <a:pt x="5" y="74"/>
                      </a:lnTo>
                      <a:lnTo>
                        <a:pt x="3" y="71"/>
                      </a:lnTo>
                      <a:lnTo>
                        <a:pt x="2" y="69"/>
                      </a:lnTo>
                      <a:lnTo>
                        <a:pt x="2" y="67"/>
                      </a:lnTo>
                      <a:lnTo>
                        <a:pt x="0" y="56"/>
                      </a:lnTo>
                      <a:lnTo>
                        <a:pt x="0" y="54"/>
                      </a:lnTo>
                      <a:lnTo>
                        <a:pt x="0" y="53"/>
                      </a:lnTo>
                      <a:lnTo>
                        <a:pt x="3" y="48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0" y="33"/>
                      </a:lnTo>
                      <a:lnTo>
                        <a:pt x="12" y="33"/>
                      </a:lnTo>
                      <a:lnTo>
                        <a:pt x="12" y="31"/>
                      </a:lnTo>
                      <a:lnTo>
                        <a:pt x="13" y="31"/>
                      </a:lnTo>
                      <a:lnTo>
                        <a:pt x="13" y="30"/>
                      </a:lnTo>
                      <a:lnTo>
                        <a:pt x="15" y="30"/>
                      </a:lnTo>
                      <a:lnTo>
                        <a:pt x="15" y="28"/>
                      </a:lnTo>
                      <a:lnTo>
                        <a:pt x="17" y="28"/>
                      </a:lnTo>
                      <a:lnTo>
                        <a:pt x="17" y="26"/>
                      </a:lnTo>
                      <a:lnTo>
                        <a:pt x="15" y="26"/>
                      </a:lnTo>
                      <a:lnTo>
                        <a:pt x="17" y="25"/>
                      </a:lnTo>
                      <a:lnTo>
                        <a:pt x="15" y="25"/>
                      </a:lnTo>
                      <a:lnTo>
                        <a:pt x="17" y="23"/>
                      </a:lnTo>
                      <a:lnTo>
                        <a:pt x="17" y="21"/>
                      </a:lnTo>
                      <a:lnTo>
                        <a:pt x="17" y="20"/>
                      </a:lnTo>
                      <a:lnTo>
                        <a:pt x="15" y="18"/>
                      </a:lnTo>
                      <a:lnTo>
                        <a:pt x="15" y="16"/>
                      </a:lnTo>
                      <a:lnTo>
                        <a:pt x="13" y="16"/>
                      </a:lnTo>
                      <a:lnTo>
                        <a:pt x="12" y="16"/>
                      </a:lnTo>
                      <a:lnTo>
                        <a:pt x="10" y="16"/>
                      </a:lnTo>
                      <a:lnTo>
                        <a:pt x="10" y="15"/>
                      </a:lnTo>
                      <a:lnTo>
                        <a:pt x="10" y="13"/>
                      </a:lnTo>
                      <a:lnTo>
                        <a:pt x="13" y="10"/>
                      </a:lnTo>
                      <a:lnTo>
                        <a:pt x="15" y="10"/>
                      </a:lnTo>
                      <a:lnTo>
                        <a:pt x="15" y="8"/>
                      </a:lnTo>
                      <a:lnTo>
                        <a:pt x="17" y="8"/>
                      </a:lnTo>
                      <a:lnTo>
                        <a:pt x="17" y="10"/>
                      </a:lnTo>
                      <a:lnTo>
                        <a:pt x="18" y="10"/>
                      </a:lnTo>
                      <a:lnTo>
                        <a:pt x="20" y="10"/>
                      </a:lnTo>
                      <a:lnTo>
                        <a:pt x="22" y="10"/>
                      </a:lnTo>
                      <a:lnTo>
                        <a:pt x="24" y="10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0" y="10"/>
                      </a:lnTo>
                      <a:lnTo>
                        <a:pt x="32" y="10"/>
                      </a:lnTo>
                      <a:lnTo>
                        <a:pt x="34" y="10"/>
                      </a:lnTo>
                      <a:lnTo>
                        <a:pt x="37" y="10"/>
                      </a:lnTo>
                      <a:lnTo>
                        <a:pt x="40" y="10"/>
                      </a:lnTo>
                      <a:lnTo>
                        <a:pt x="42" y="10"/>
                      </a:lnTo>
                      <a:lnTo>
                        <a:pt x="42" y="8"/>
                      </a:lnTo>
                      <a:lnTo>
                        <a:pt x="44" y="8"/>
                      </a:lnTo>
                      <a:lnTo>
                        <a:pt x="46" y="8"/>
                      </a:lnTo>
                      <a:lnTo>
                        <a:pt x="47" y="8"/>
                      </a:lnTo>
                      <a:lnTo>
                        <a:pt x="49" y="8"/>
                      </a:lnTo>
                      <a:lnTo>
                        <a:pt x="49" y="7"/>
                      </a:lnTo>
                      <a:lnTo>
                        <a:pt x="52" y="7"/>
                      </a:lnTo>
                      <a:lnTo>
                        <a:pt x="54" y="7"/>
                      </a:lnTo>
                      <a:lnTo>
                        <a:pt x="54" y="8"/>
                      </a:lnTo>
                      <a:lnTo>
                        <a:pt x="56" y="8"/>
                      </a:lnTo>
                      <a:lnTo>
                        <a:pt x="57" y="8"/>
                      </a:lnTo>
                      <a:lnTo>
                        <a:pt x="59" y="8"/>
                      </a:lnTo>
                      <a:lnTo>
                        <a:pt x="61" y="8"/>
                      </a:lnTo>
                      <a:lnTo>
                        <a:pt x="61" y="7"/>
                      </a:lnTo>
                      <a:lnTo>
                        <a:pt x="62" y="7"/>
                      </a:lnTo>
                      <a:lnTo>
                        <a:pt x="64" y="7"/>
                      </a:lnTo>
                      <a:lnTo>
                        <a:pt x="66" y="7"/>
                      </a:lnTo>
                      <a:lnTo>
                        <a:pt x="67" y="7"/>
                      </a:lnTo>
                      <a:lnTo>
                        <a:pt x="69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73" y="5"/>
                      </a:lnTo>
                      <a:lnTo>
                        <a:pt x="73" y="7"/>
                      </a:lnTo>
                      <a:lnTo>
                        <a:pt x="74" y="7"/>
                      </a:lnTo>
                      <a:lnTo>
                        <a:pt x="78" y="5"/>
                      </a:lnTo>
                      <a:lnTo>
                        <a:pt x="79" y="5"/>
                      </a:lnTo>
                      <a:lnTo>
                        <a:pt x="81" y="5"/>
                      </a:lnTo>
                      <a:lnTo>
                        <a:pt x="83" y="3"/>
                      </a:lnTo>
                      <a:lnTo>
                        <a:pt x="84" y="3"/>
                      </a:lnTo>
                      <a:lnTo>
                        <a:pt x="86" y="2"/>
                      </a:lnTo>
                      <a:lnTo>
                        <a:pt x="86" y="0"/>
                      </a:lnTo>
                      <a:lnTo>
                        <a:pt x="88" y="0"/>
                      </a:lnTo>
                      <a:lnTo>
                        <a:pt x="89" y="0"/>
                      </a:lnTo>
                      <a:lnTo>
                        <a:pt x="93" y="2"/>
                      </a:lnTo>
                      <a:lnTo>
                        <a:pt x="94" y="2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5" y="2"/>
                      </a:lnTo>
                      <a:lnTo>
                        <a:pt x="108" y="2"/>
                      </a:lnTo>
                      <a:lnTo>
                        <a:pt x="110" y="2"/>
                      </a:lnTo>
                      <a:lnTo>
                        <a:pt x="111" y="2"/>
                      </a:lnTo>
                      <a:lnTo>
                        <a:pt x="113" y="2"/>
                      </a:lnTo>
                      <a:lnTo>
                        <a:pt x="115" y="2"/>
                      </a:lnTo>
                      <a:lnTo>
                        <a:pt x="115" y="3"/>
                      </a:lnTo>
                      <a:lnTo>
                        <a:pt x="116" y="3"/>
                      </a:lnTo>
                      <a:lnTo>
                        <a:pt x="118" y="3"/>
                      </a:lnTo>
                      <a:lnTo>
                        <a:pt x="118" y="2"/>
                      </a:lnTo>
                      <a:lnTo>
                        <a:pt x="118" y="3"/>
                      </a:lnTo>
                      <a:lnTo>
                        <a:pt x="120" y="3"/>
                      </a:lnTo>
                      <a:lnTo>
                        <a:pt x="120" y="5"/>
                      </a:lnTo>
                      <a:lnTo>
                        <a:pt x="122" y="5"/>
                      </a:lnTo>
                      <a:lnTo>
                        <a:pt x="123" y="5"/>
                      </a:lnTo>
                      <a:lnTo>
                        <a:pt x="123" y="3"/>
                      </a:lnTo>
                      <a:lnTo>
                        <a:pt x="125" y="3"/>
                      </a:lnTo>
                      <a:lnTo>
                        <a:pt x="127" y="3"/>
                      </a:lnTo>
                      <a:lnTo>
                        <a:pt x="128" y="5"/>
                      </a:lnTo>
                      <a:lnTo>
                        <a:pt x="130" y="5"/>
                      </a:lnTo>
                      <a:lnTo>
                        <a:pt x="132" y="5"/>
                      </a:lnTo>
                      <a:lnTo>
                        <a:pt x="133" y="5"/>
                      </a:lnTo>
                      <a:lnTo>
                        <a:pt x="135" y="5"/>
                      </a:lnTo>
                      <a:lnTo>
                        <a:pt x="137" y="5"/>
                      </a:lnTo>
                      <a:lnTo>
                        <a:pt x="138" y="7"/>
                      </a:lnTo>
                      <a:lnTo>
                        <a:pt x="137" y="7"/>
                      </a:lnTo>
                      <a:lnTo>
                        <a:pt x="137" y="5"/>
                      </a:lnTo>
                      <a:lnTo>
                        <a:pt x="135" y="5"/>
                      </a:lnTo>
                      <a:lnTo>
                        <a:pt x="137" y="5"/>
                      </a:lnTo>
                      <a:lnTo>
                        <a:pt x="140" y="7"/>
                      </a:lnTo>
                      <a:lnTo>
                        <a:pt x="138" y="7"/>
                      </a:lnTo>
                      <a:lnTo>
                        <a:pt x="138" y="5"/>
                      </a:lnTo>
                      <a:lnTo>
                        <a:pt x="138" y="7"/>
                      </a:lnTo>
                      <a:lnTo>
                        <a:pt x="140" y="7"/>
                      </a:lnTo>
                      <a:lnTo>
                        <a:pt x="142" y="7"/>
                      </a:lnTo>
                      <a:lnTo>
                        <a:pt x="143" y="8"/>
                      </a:lnTo>
                      <a:lnTo>
                        <a:pt x="145" y="8"/>
                      </a:lnTo>
                      <a:lnTo>
                        <a:pt x="147" y="10"/>
                      </a:lnTo>
                      <a:lnTo>
                        <a:pt x="149" y="10"/>
                      </a:lnTo>
                      <a:lnTo>
                        <a:pt x="149" y="11"/>
                      </a:lnTo>
                      <a:lnTo>
                        <a:pt x="150" y="11"/>
                      </a:lnTo>
                      <a:lnTo>
                        <a:pt x="152" y="13"/>
                      </a:lnTo>
                      <a:lnTo>
                        <a:pt x="154" y="13"/>
                      </a:lnTo>
                      <a:lnTo>
                        <a:pt x="154" y="15"/>
                      </a:lnTo>
                      <a:lnTo>
                        <a:pt x="155" y="15"/>
                      </a:lnTo>
                      <a:lnTo>
                        <a:pt x="157" y="15"/>
                      </a:lnTo>
                      <a:lnTo>
                        <a:pt x="157" y="16"/>
                      </a:lnTo>
                      <a:lnTo>
                        <a:pt x="159" y="16"/>
                      </a:lnTo>
                      <a:lnTo>
                        <a:pt x="159" y="18"/>
                      </a:lnTo>
                      <a:lnTo>
                        <a:pt x="160" y="18"/>
                      </a:lnTo>
                      <a:lnTo>
                        <a:pt x="162" y="20"/>
                      </a:lnTo>
                      <a:lnTo>
                        <a:pt x="164" y="20"/>
                      </a:lnTo>
                      <a:lnTo>
                        <a:pt x="165" y="20"/>
                      </a:lnTo>
                      <a:lnTo>
                        <a:pt x="167" y="21"/>
                      </a:lnTo>
                      <a:lnTo>
                        <a:pt x="169" y="21"/>
                      </a:lnTo>
                      <a:lnTo>
                        <a:pt x="170" y="21"/>
                      </a:lnTo>
                      <a:lnTo>
                        <a:pt x="170" y="23"/>
                      </a:lnTo>
                      <a:lnTo>
                        <a:pt x="172" y="23"/>
                      </a:lnTo>
                      <a:lnTo>
                        <a:pt x="172" y="25"/>
                      </a:lnTo>
                      <a:lnTo>
                        <a:pt x="174" y="25"/>
                      </a:lnTo>
                      <a:lnTo>
                        <a:pt x="174" y="26"/>
                      </a:lnTo>
                      <a:lnTo>
                        <a:pt x="176" y="26"/>
                      </a:lnTo>
                      <a:lnTo>
                        <a:pt x="177" y="26"/>
                      </a:lnTo>
                      <a:lnTo>
                        <a:pt x="177" y="28"/>
                      </a:lnTo>
                      <a:lnTo>
                        <a:pt x="179" y="28"/>
                      </a:lnTo>
                      <a:lnTo>
                        <a:pt x="181" y="30"/>
                      </a:lnTo>
                      <a:lnTo>
                        <a:pt x="182" y="30"/>
                      </a:lnTo>
                      <a:lnTo>
                        <a:pt x="184" y="31"/>
                      </a:lnTo>
                      <a:lnTo>
                        <a:pt x="186" y="33"/>
                      </a:lnTo>
                      <a:lnTo>
                        <a:pt x="187" y="33"/>
                      </a:lnTo>
                      <a:lnTo>
                        <a:pt x="189" y="33"/>
                      </a:lnTo>
                      <a:lnTo>
                        <a:pt x="189" y="34"/>
                      </a:lnTo>
                      <a:lnTo>
                        <a:pt x="191" y="34"/>
                      </a:lnTo>
                      <a:lnTo>
                        <a:pt x="192" y="34"/>
                      </a:lnTo>
                      <a:lnTo>
                        <a:pt x="192" y="36"/>
                      </a:lnTo>
                      <a:lnTo>
                        <a:pt x="194" y="36"/>
                      </a:lnTo>
                      <a:lnTo>
                        <a:pt x="196" y="36"/>
                      </a:lnTo>
                      <a:lnTo>
                        <a:pt x="198" y="36"/>
                      </a:lnTo>
                      <a:lnTo>
                        <a:pt x="199" y="38"/>
                      </a:lnTo>
                      <a:lnTo>
                        <a:pt x="201" y="39"/>
                      </a:lnTo>
                      <a:lnTo>
                        <a:pt x="203" y="39"/>
                      </a:lnTo>
                      <a:lnTo>
                        <a:pt x="204" y="39"/>
                      </a:lnTo>
                      <a:lnTo>
                        <a:pt x="206" y="39"/>
                      </a:lnTo>
                      <a:lnTo>
                        <a:pt x="208" y="41"/>
                      </a:lnTo>
                      <a:lnTo>
                        <a:pt x="209" y="41"/>
                      </a:lnTo>
                      <a:lnTo>
                        <a:pt x="211" y="44"/>
                      </a:lnTo>
                      <a:lnTo>
                        <a:pt x="213" y="46"/>
                      </a:lnTo>
                      <a:lnTo>
                        <a:pt x="214" y="49"/>
                      </a:lnTo>
                      <a:lnTo>
                        <a:pt x="214" y="51"/>
                      </a:lnTo>
                      <a:lnTo>
                        <a:pt x="216" y="51"/>
                      </a:lnTo>
                      <a:lnTo>
                        <a:pt x="218" y="51"/>
                      </a:lnTo>
                      <a:lnTo>
                        <a:pt x="219" y="51"/>
                      </a:lnTo>
                      <a:lnTo>
                        <a:pt x="219" y="53"/>
                      </a:lnTo>
                      <a:lnTo>
                        <a:pt x="221" y="56"/>
                      </a:lnTo>
                      <a:lnTo>
                        <a:pt x="223" y="56"/>
                      </a:lnTo>
                      <a:lnTo>
                        <a:pt x="223" y="57"/>
                      </a:lnTo>
                      <a:lnTo>
                        <a:pt x="225" y="57"/>
                      </a:lnTo>
                      <a:lnTo>
                        <a:pt x="226" y="57"/>
                      </a:lnTo>
                      <a:lnTo>
                        <a:pt x="228" y="57"/>
                      </a:lnTo>
                      <a:lnTo>
                        <a:pt x="230" y="56"/>
                      </a:lnTo>
                      <a:lnTo>
                        <a:pt x="231" y="56"/>
                      </a:lnTo>
                      <a:lnTo>
                        <a:pt x="233" y="57"/>
                      </a:lnTo>
                      <a:lnTo>
                        <a:pt x="233" y="59"/>
                      </a:lnTo>
                      <a:lnTo>
                        <a:pt x="235" y="59"/>
                      </a:lnTo>
                      <a:lnTo>
                        <a:pt x="235" y="61"/>
                      </a:lnTo>
                      <a:lnTo>
                        <a:pt x="236" y="61"/>
                      </a:lnTo>
                      <a:lnTo>
                        <a:pt x="236" y="62"/>
                      </a:lnTo>
                      <a:lnTo>
                        <a:pt x="238" y="64"/>
                      </a:lnTo>
                      <a:lnTo>
                        <a:pt x="238" y="66"/>
                      </a:lnTo>
                      <a:lnTo>
                        <a:pt x="240" y="66"/>
                      </a:lnTo>
                      <a:lnTo>
                        <a:pt x="241" y="67"/>
                      </a:lnTo>
                      <a:lnTo>
                        <a:pt x="243" y="67"/>
                      </a:lnTo>
                      <a:lnTo>
                        <a:pt x="243" y="69"/>
                      </a:lnTo>
                      <a:lnTo>
                        <a:pt x="245" y="69"/>
                      </a:lnTo>
                      <a:lnTo>
                        <a:pt x="246" y="71"/>
                      </a:lnTo>
                      <a:lnTo>
                        <a:pt x="248" y="71"/>
                      </a:lnTo>
                      <a:lnTo>
                        <a:pt x="248" y="69"/>
                      </a:lnTo>
                      <a:lnTo>
                        <a:pt x="248" y="71"/>
                      </a:lnTo>
                      <a:lnTo>
                        <a:pt x="250" y="72"/>
                      </a:lnTo>
                      <a:lnTo>
                        <a:pt x="252" y="74"/>
                      </a:lnTo>
                      <a:lnTo>
                        <a:pt x="253" y="76"/>
                      </a:lnTo>
                      <a:lnTo>
                        <a:pt x="253" y="77"/>
                      </a:lnTo>
                      <a:lnTo>
                        <a:pt x="255" y="77"/>
                      </a:lnTo>
                      <a:lnTo>
                        <a:pt x="257" y="77"/>
                      </a:lnTo>
                      <a:lnTo>
                        <a:pt x="258" y="79"/>
                      </a:lnTo>
                      <a:lnTo>
                        <a:pt x="260" y="80"/>
                      </a:lnTo>
                      <a:lnTo>
                        <a:pt x="262" y="80"/>
                      </a:lnTo>
                      <a:lnTo>
                        <a:pt x="262" y="82"/>
                      </a:lnTo>
                      <a:lnTo>
                        <a:pt x="263" y="84"/>
                      </a:lnTo>
                      <a:lnTo>
                        <a:pt x="265" y="84"/>
                      </a:lnTo>
                      <a:lnTo>
                        <a:pt x="265" y="82"/>
                      </a:lnTo>
                      <a:lnTo>
                        <a:pt x="265" y="84"/>
                      </a:lnTo>
                      <a:lnTo>
                        <a:pt x="267" y="84"/>
                      </a:lnTo>
                      <a:lnTo>
                        <a:pt x="268" y="84"/>
                      </a:lnTo>
                      <a:lnTo>
                        <a:pt x="270" y="84"/>
                      </a:lnTo>
                      <a:lnTo>
                        <a:pt x="272" y="84"/>
                      </a:lnTo>
                      <a:lnTo>
                        <a:pt x="272" y="85"/>
                      </a:lnTo>
                      <a:lnTo>
                        <a:pt x="274" y="85"/>
                      </a:lnTo>
                      <a:lnTo>
                        <a:pt x="275" y="85"/>
                      </a:lnTo>
                      <a:lnTo>
                        <a:pt x="277" y="85"/>
                      </a:lnTo>
                      <a:lnTo>
                        <a:pt x="279" y="87"/>
                      </a:lnTo>
                      <a:lnTo>
                        <a:pt x="279" y="85"/>
                      </a:lnTo>
                      <a:lnTo>
                        <a:pt x="280" y="85"/>
                      </a:lnTo>
                      <a:lnTo>
                        <a:pt x="280" y="84"/>
                      </a:lnTo>
                      <a:lnTo>
                        <a:pt x="280" y="85"/>
                      </a:lnTo>
                      <a:lnTo>
                        <a:pt x="282" y="87"/>
                      </a:lnTo>
                      <a:lnTo>
                        <a:pt x="284" y="90"/>
                      </a:lnTo>
                      <a:lnTo>
                        <a:pt x="284" y="92"/>
                      </a:lnTo>
                      <a:lnTo>
                        <a:pt x="285" y="92"/>
                      </a:lnTo>
                      <a:lnTo>
                        <a:pt x="285" y="94"/>
                      </a:lnTo>
                      <a:lnTo>
                        <a:pt x="287" y="95"/>
                      </a:lnTo>
                      <a:lnTo>
                        <a:pt x="287" y="97"/>
                      </a:lnTo>
                      <a:lnTo>
                        <a:pt x="290" y="100"/>
                      </a:lnTo>
                      <a:lnTo>
                        <a:pt x="292" y="102"/>
                      </a:lnTo>
                      <a:lnTo>
                        <a:pt x="294" y="103"/>
                      </a:lnTo>
                      <a:lnTo>
                        <a:pt x="294" y="105"/>
                      </a:lnTo>
                      <a:lnTo>
                        <a:pt x="295" y="105"/>
                      </a:lnTo>
                      <a:lnTo>
                        <a:pt x="295" y="107"/>
                      </a:lnTo>
                      <a:lnTo>
                        <a:pt x="297" y="107"/>
                      </a:lnTo>
                      <a:lnTo>
                        <a:pt x="295" y="107"/>
                      </a:lnTo>
                      <a:lnTo>
                        <a:pt x="297" y="107"/>
                      </a:lnTo>
                      <a:lnTo>
                        <a:pt x="299" y="107"/>
                      </a:lnTo>
                      <a:lnTo>
                        <a:pt x="301" y="108"/>
                      </a:lnTo>
                      <a:lnTo>
                        <a:pt x="302" y="110"/>
                      </a:lnTo>
                      <a:lnTo>
                        <a:pt x="302" y="112"/>
                      </a:lnTo>
                      <a:lnTo>
                        <a:pt x="304" y="112"/>
                      </a:lnTo>
                      <a:lnTo>
                        <a:pt x="304" y="113"/>
                      </a:lnTo>
                      <a:lnTo>
                        <a:pt x="306" y="115"/>
                      </a:lnTo>
                      <a:lnTo>
                        <a:pt x="307" y="115"/>
                      </a:lnTo>
                      <a:lnTo>
                        <a:pt x="307" y="117"/>
                      </a:lnTo>
                      <a:lnTo>
                        <a:pt x="311" y="120"/>
                      </a:lnTo>
                      <a:lnTo>
                        <a:pt x="311" y="121"/>
                      </a:lnTo>
                      <a:lnTo>
                        <a:pt x="312" y="123"/>
                      </a:lnTo>
                      <a:lnTo>
                        <a:pt x="314" y="126"/>
                      </a:lnTo>
                      <a:lnTo>
                        <a:pt x="316" y="126"/>
                      </a:lnTo>
                      <a:lnTo>
                        <a:pt x="319" y="130"/>
                      </a:lnTo>
                      <a:lnTo>
                        <a:pt x="321" y="131"/>
                      </a:lnTo>
                      <a:lnTo>
                        <a:pt x="321" y="133"/>
                      </a:lnTo>
                      <a:lnTo>
                        <a:pt x="323" y="133"/>
                      </a:lnTo>
                      <a:lnTo>
                        <a:pt x="324" y="135"/>
                      </a:lnTo>
                      <a:lnTo>
                        <a:pt x="326" y="135"/>
                      </a:lnTo>
                      <a:lnTo>
                        <a:pt x="326" y="136"/>
                      </a:lnTo>
                      <a:lnTo>
                        <a:pt x="328" y="136"/>
                      </a:lnTo>
                      <a:lnTo>
                        <a:pt x="329" y="140"/>
                      </a:lnTo>
                      <a:lnTo>
                        <a:pt x="331" y="141"/>
                      </a:lnTo>
                      <a:lnTo>
                        <a:pt x="333" y="143"/>
                      </a:lnTo>
                      <a:lnTo>
                        <a:pt x="336" y="144"/>
                      </a:lnTo>
                      <a:lnTo>
                        <a:pt x="338" y="146"/>
                      </a:lnTo>
                      <a:lnTo>
                        <a:pt x="339" y="146"/>
                      </a:lnTo>
                      <a:lnTo>
                        <a:pt x="341" y="146"/>
                      </a:lnTo>
                      <a:lnTo>
                        <a:pt x="341" y="148"/>
                      </a:lnTo>
                      <a:lnTo>
                        <a:pt x="343" y="148"/>
                      </a:lnTo>
                      <a:lnTo>
                        <a:pt x="344" y="149"/>
                      </a:lnTo>
                      <a:lnTo>
                        <a:pt x="344" y="148"/>
                      </a:lnTo>
                      <a:lnTo>
                        <a:pt x="346" y="149"/>
                      </a:lnTo>
                      <a:lnTo>
                        <a:pt x="348" y="151"/>
                      </a:lnTo>
                      <a:lnTo>
                        <a:pt x="346" y="151"/>
                      </a:lnTo>
                      <a:lnTo>
                        <a:pt x="348" y="151"/>
                      </a:lnTo>
                      <a:lnTo>
                        <a:pt x="348" y="153"/>
                      </a:lnTo>
                      <a:lnTo>
                        <a:pt x="350" y="154"/>
                      </a:lnTo>
                      <a:lnTo>
                        <a:pt x="350" y="156"/>
                      </a:lnTo>
                      <a:lnTo>
                        <a:pt x="351" y="158"/>
                      </a:lnTo>
                      <a:lnTo>
                        <a:pt x="351" y="159"/>
                      </a:lnTo>
                      <a:lnTo>
                        <a:pt x="353" y="161"/>
                      </a:lnTo>
                      <a:lnTo>
                        <a:pt x="355" y="161"/>
                      </a:lnTo>
                      <a:lnTo>
                        <a:pt x="358" y="164"/>
                      </a:lnTo>
                      <a:lnTo>
                        <a:pt x="363" y="169"/>
                      </a:lnTo>
                      <a:lnTo>
                        <a:pt x="365" y="169"/>
                      </a:lnTo>
                      <a:lnTo>
                        <a:pt x="366" y="171"/>
                      </a:lnTo>
                      <a:lnTo>
                        <a:pt x="368" y="171"/>
                      </a:lnTo>
                      <a:lnTo>
                        <a:pt x="370" y="171"/>
                      </a:lnTo>
                      <a:lnTo>
                        <a:pt x="371" y="171"/>
                      </a:lnTo>
                      <a:lnTo>
                        <a:pt x="371" y="169"/>
                      </a:lnTo>
                      <a:lnTo>
                        <a:pt x="373" y="169"/>
                      </a:lnTo>
                      <a:lnTo>
                        <a:pt x="375" y="171"/>
                      </a:lnTo>
                      <a:lnTo>
                        <a:pt x="375" y="172"/>
                      </a:lnTo>
                      <a:lnTo>
                        <a:pt x="377" y="172"/>
                      </a:lnTo>
                      <a:lnTo>
                        <a:pt x="378" y="172"/>
                      </a:lnTo>
                      <a:lnTo>
                        <a:pt x="380" y="172"/>
                      </a:lnTo>
                      <a:lnTo>
                        <a:pt x="382" y="174"/>
                      </a:lnTo>
                      <a:lnTo>
                        <a:pt x="385" y="174"/>
                      </a:lnTo>
                      <a:lnTo>
                        <a:pt x="385" y="176"/>
                      </a:lnTo>
                      <a:lnTo>
                        <a:pt x="387" y="176"/>
                      </a:lnTo>
                      <a:lnTo>
                        <a:pt x="388" y="176"/>
                      </a:lnTo>
                      <a:lnTo>
                        <a:pt x="388" y="177"/>
                      </a:lnTo>
                      <a:lnTo>
                        <a:pt x="390" y="177"/>
                      </a:lnTo>
                      <a:lnTo>
                        <a:pt x="392" y="179"/>
                      </a:lnTo>
                      <a:lnTo>
                        <a:pt x="393" y="181"/>
                      </a:lnTo>
                      <a:lnTo>
                        <a:pt x="393" y="184"/>
                      </a:lnTo>
                      <a:lnTo>
                        <a:pt x="395" y="186"/>
                      </a:lnTo>
                      <a:lnTo>
                        <a:pt x="395" y="187"/>
                      </a:lnTo>
                      <a:lnTo>
                        <a:pt x="395" y="189"/>
                      </a:lnTo>
                      <a:lnTo>
                        <a:pt x="387" y="190"/>
                      </a:lnTo>
                      <a:lnTo>
                        <a:pt x="378" y="194"/>
                      </a:lnTo>
                      <a:lnTo>
                        <a:pt x="375" y="194"/>
                      </a:lnTo>
                      <a:lnTo>
                        <a:pt x="360" y="197"/>
                      </a:lnTo>
                      <a:lnTo>
                        <a:pt x="355" y="204"/>
                      </a:lnTo>
                      <a:lnTo>
                        <a:pt x="353" y="209"/>
                      </a:lnTo>
                      <a:lnTo>
                        <a:pt x="344" y="225"/>
                      </a:lnTo>
                      <a:lnTo>
                        <a:pt x="343" y="230"/>
                      </a:lnTo>
                      <a:lnTo>
                        <a:pt x="343" y="232"/>
                      </a:lnTo>
                      <a:lnTo>
                        <a:pt x="341" y="232"/>
                      </a:lnTo>
                      <a:lnTo>
                        <a:pt x="341" y="233"/>
                      </a:lnTo>
                      <a:lnTo>
                        <a:pt x="339" y="233"/>
                      </a:lnTo>
                      <a:lnTo>
                        <a:pt x="339" y="235"/>
                      </a:lnTo>
                      <a:lnTo>
                        <a:pt x="339" y="236"/>
                      </a:lnTo>
                      <a:lnTo>
                        <a:pt x="338" y="238"/>
                      </a:lnTo>
                      <a:lnTo>
                        <a:pt x="338" y="240"/>
                      </a:lnTo>
                      <a:lnTo>
                        <a:pt x="336" y="240"/>
                      </a:lnTo>
                      <a:lnTo>
                        <a:pt x="336" y="241"/>
                      </a:lnTo>
                      <a:lnTo>
                        <a:pt x="334" y="241"/>
                      </a:lnTo>
                      <a:lnTo>
                        <a:pt x="334" y="243"/>
                      </a:lnTo>
                      <a:lnTo>
                        <a:pt x="334" y="245"/>
                      </a:lnTo>
                      <a:lnTo>
                        <a:pt x="333" y="246"/>
                      </a:lnTo>
                      <a:lnTo>
                        <a:pt x="331" y="246"/>
                      </a:lnTo>
                      <a:lnTo>
                        <a:pt x="331" y="248"/>
                      </a:lnTo>
                      <a:lnTo>
                        <a:pt x="329" y="248"/>
                      </a:lnTo>
                      <a:lnTo>
                        <a:pt x="328" y="246"/>
                      </a:lnTo>
                      <a:lnTo>
                        <a:pt x="328" y="248"/>
                      </a:lnTo>
                      <a:lnTo>
                        <a:pt x="328" y="250"/>
                      </a:lnTo>
                      <a:lnTo>
                        <a:pt x="328" y="251"/>
                      </a:lnTo>
                      <a:lnTo>
                        <a:pt x="326" y="251"/>
                      </a:lnTo>
                      <a:lnTo>
                        <a:pt x="326" y="253"/>
                      </a:lnTo>
                      <a:lnTo>
                        <a:pt x="328" y="253"/>
                      </a:lnTo>
                      <a:lnTo>
                        <a:pt x="328" y="255"/>
                      </a:lnTo>
                      <a:lnTo>
                        <a:pt x="326" y="256"/>
                      </a:lnTo>
                      <a:lnTo>
                        <a:pt x="326" y="258"/>
                      </a:lnTo>
                      <a:lnTo>
                        <a:pt x="324" y="258"/>
                      </a:lnTo>
                      <a:lnTo>
                        <a:pt x="323" y="258"/>
                      </a:lnTo>
                      <a:lnTo>
                        <a:pt x="323" y="259"/>
                      </a:lnTo>
                      <a:lnTo>
                        <a:pt x="323" y="261"/>
                      </a:lnTo>
                      <a:lnTo>
                        <a:pt x="323" y="263"/>
                      </a:lnTo>
                      <a:lnTo>
                        <a:pt x="321" y="263"/>
                      </a:lnTo>
                      <a:lnTo>
                        <a:pt x="321" y="264"/>
                      </a:lnTo>
                      <a:lnTo>
                        <a:pt x="319" y="264"/>
                      </a:lnTo>
                      <a:lnTo>
                        <a:pt x="317" y="266"/>
                      </a:lnTo>
                      <a:lnTo>
                        <a:pt x="317" y="268"/>
                      </a:lnTo>
                      <a:lnTo>
                        <a:pt x="317" y="269"/>
                      </a:lnTo>
                      <a:lnTo>
                        <a:pt x="316" y="271"/>
                      </a:lnTo>
                      <a:lnTo>
                        <a:pt x="317" y="271"/>
                      </a:lnTo>
                      <a:lnTo>
                        <a:pt x="319" y="271"/>
                      </a:lnTo>
                      <a:lnTo>
                        <a:pt x="321" y="271"/>
                      </a:lnTo>
                      <a:lnTo>
                        <a:pt x="321" y="273"/>
                      </a:lnTo>
                      <a:lnTo>
                        <a:pt x="319" y="273"/>
                      </a:lnTo>
                      <a:lnTo>
                        <a:pt x="319" y="274"/>
                      </a:lnTo>
                      <a:lnTo>
                        <a:pt x="317" y="276"/>
                      </a:lnTo>
                      <a:lnTo>
                        <a:pt x="317" y="278"/>
                      </a:lnTo>
                      <a:lnTo>
                        <a:pt x="316" y="278"/>
                      </a:lnTo>
                      <a:lnTo>
                        <a:pt x="316" y="279"/>
                      </a:lnTo>
                      <a:lnTo>
                        <a:pt x="314" y="279"/>
                      </a:lnTo>
                      <a:lnTo>
                        <a:pt x="314" y="281"/>
                      </a:lnTo>
                      <a:lnTo>
                        <a:pt x="314" y="282"/>
                      </a:lnTo>
                      <a:lnTo>
                        <a:pt x="312" y="284"/>
                      </a:lnTo>
                      <a:lnTo>
                        <a:pt x="314" y="284"/>
                      </a:lnTo>
                      <a:lnTo>
                        <a:pt x="314" y="286"/>
                      </a:lnTo>
                      <a:lnTo>
                        <a:pt x="312" y="286"/>
                      </a:lnTo>
                      <a:lnTo>
                        <a:pt x="312" y="287"/>
                      </a:lnTo>
                      <a:lnTo>
                        <a:pt x="311" y="287"/>
                      </a:lnTo>
                      <a:lnTo>
                        <a:pt x="311" y="289"/>
                      </a:lnTo>
                      <a:lnTo>
                        <a:pt x="309" y="289"/>
                      </a:lnTo>
                      <a:lnTo>
                        <a:pt x="309" y="291"/>
                      </a:lnTo>
                      <a:lnTo>
                        <a:pt x="309" y="292"/>
                      </a:lnTo>
                      <a:lnTo>
                        <a:pt x="307" y="292"/>
                      </a:lnTo>
                      <a:lnTo>
                        <a:pt x="306" y="292"/>
                      </a:lnTo>
                      <a:lnTo>
                        <a:pt x="306" y="294"/>
                      </a:lnTo>
                      <a:lnTo>
                        <a:pt x="304" y="294"/>
                      </a:lnTo>
                      <a:lnTo>
                        <a:pt x="302" y="296"/>
                      </a:lnTo>
                      <a:lnTo>
                        <a:pt x="301" y="297"/>
                      </a:lnTo>
                      <a:lnTo>
                        <a:pt x="301" y="300"/>
                      </a:lnTo>
                      <a:lnTo>
                        <a:pt x="301" y="302"/>
                      </a:lnTo>
                      <a:lnTo>
                        <a:pt x="299" y="302"/>
                      </a:lnTo>
                      <a:lnTo>
                        <a:pt x="297" y="302"/>
                      </a:lnTo>
                      <a:lnTo>
                        <a:pt x="297" y="304"/>
                      </a:lnTo>
                      <a:lnTo>
                        <a:pt x="295" y="304"/>
                      </a:lnTo>
                      <a:lnTo>
                        <a:pt x="294" y="304"/>
                      </a:lnTo>
                      <a:lnTo>
                        <a:pt x="292" y="304"/>
                      </a:lnTo>
                      <a:lnTo>
                        <a:pt x="292" y="302"/>
                      </a:lnTo>
                      <a:lnTo>
                        <a:pt x="292" y="304"/>
                      </a:lnTo>
                      <a:lnTo>
                        <a:pt x="290" y="304"/>
                      </a:lnTo>
                      <a:lnTo>
                        <a:pt x="289" y="304"/>
                      </a:lnTo>
                      <a:lnTo>
                        <a:pt x="289" y="302"/>
                      </a:lnTo>
                      <a:lnTo>
                        <a:pt x="289" y="300"/>
                      </a:lnTo>
                      <a:lnTo>
                        <a:pt x="287" y="300"/>
                      </a:lnTo>
                      <a:lnTo>
                        <a:pt x="287" y="302"/>
                      </a:lnTo>
                      <a:lnTo>
                        <a:pt x="287" y="300"/>
                      </a:lnTo>
                      <a:lnTo>
                        <a:pt x="287" y="302"/>
                      </a:lnTo>
                      <a:lnTo>
                        <a:pt x="285" y="302"/>
                      </a:lnTo>
                      <a:lnTo>
                        <a:pt x="284" y="304"/>
                      </a:lnTo>
                      <a:lnTo>
                        <a:pt x="282" y="304"/>
                      </a:lnTo>
                      <a:lnTo>
                        <a:pt x="284" y="304"/>
                      </a:lnTo>
                      <a:lnTo>
                        <a:pt x="284" y="305"/>
                      </a:lnTo>
                      <a:lnTo>
                        <a:pt x="282" y="305"/>
                      </a:lnTo>
                      <a:lnTo>
                        <a:pt x="282" y="307"/>
                      </a:lnTo>
                      <a:lnTo>
                        <a:pt x="280" y="307"/>
                      </a:lnTo>
                      <a:lnTo>
                        <a:pt x="280" y="309"/>
                      </a:lnTo>
                      <a:lnTo>
                        <a:pt x="280" y="310"/>
                      </a:lnTo>
                      <a:lnTo>
                        <a:pt x="279" y="310"/>
                      </a:lnTo>
                      <a:lnTo>
                        <a:pt x="279" y="312"/>
                      </a:lnTo>
                      <a:lnTo>
                        <a:pt x="277" y="312"/>
                      </a:lnTo>
                      <a:lnTo>
                        <a:pt x="277" y="314"/>
                      </a:lnTo>
                      <a:lnTo>
                        <a:pt x="275" y="314"/>
                      </a:lnTo>
                      <a:lnTo>
                        <a:pt x="275" y="315"/>
                      </a:lnTo>
                      <a:lnTo>
                        <a:pt x="275" y="317"/>
                      </a:lnTo>
                      <a:lnTo>
                        <a:pt x="275" y="319"/>
                      </a:lnTo>
                      <a:lnTo>
                        <a:pt x="274" y="319"/>
                      </a:lnTo>
                      <a:lnTo>
                        <a:pt x="274" y="320"/>
                      </a:lnTo>
                      <a:lnTo>
                        <a:pt x="272" y="320"/>
                      </a:lnTo>
                      <a:lnTo>
                        <a:pt x="272" y="322"/>
                      </a:lnTo>
                      <a:lnTo>
                        <a:pt x="270" y="322"/>
                      </a:lnTo>
                      <a:lnTo>
                        <a:pt x="270" y="323"/>
                      </a:lnTo>
                      <a:lnTo>
                        <a:pt x="272" y="323"/>
                      </a:lnTo>
                      <a:lnTo>
                        <a:pt x="270" y="325"/>
                      </a:lnTo>
                      <a:lnTo>
                        <a:pt x="270" y="327"/>
                      </a:lnTo>
                      <a:lnTo>
                        <a:pt x="270" y="328"/>
                      </a:lnTo>
                      <a:lnTo>
                        <a:pt x="272" y="328"/>
                      </a:lnTo>
                      <a:lnTo>
                        <a:pt x="272" y="330"/>
                      </a:lnTo>
                      <a:lnTo>
                        <a:pt x="270" y="330"/>
                      </a:lnTo>
                      <a:lnTo>
                        <a:pt x="270" y="332"/>
                      </a:lnTo>
                      <a:lnTo>
                        <a:pt x="268" y="332"/>
                      </a:lnTo>
                      <a:lnTo>
                        <a:pt x="268" y="333"/>
                      </a:lnTo>
                      <a:lnTo>
                        <a:pt x="270" y="333"/>
                      </a:lnTo>
                      <a:lnTo>
                        <a:pt x="272" y="333"/>
                      </a:lnTo>
                      <a:lnTo>
                        <a:pt x="274" y="333"/>
                      </a:lnTo>
                      <a:lnTo>
                        <a:pt x="275" y="333"/>
                      </a:lnTo>
                      <a:lnTo>
                        <a:pt x="275" y="332"/>
                      </a:lnTo>
                      <a:lnTo>
                        <a:pt x="275" y="333"/>
                      </a:lnTo>
                      <a:lnTo>
                        <a:pt x="275" y="335"/>
                      </a:lnTo>
                      <a:lnTo>
                        <a:pt x="274" y="335"/>
                      </a:lnTo>
                      <a:lnTo>
                        <a:pt x="272" y="337"/>
                      </a:lnTo>
                      <a:lnTo>
                        <a:pt x="272" y="338"/>
                      </a:lnTo>
                      <a:lnTo>
                        <a:pt x="272" y="340"/>
                      </a:lnTo>
                      <a:lnTo>
                        <a:pt x="270" y="340"/>
                      </a:lnTo>
                      <a:lnTo>
                        <a:pt x="270" y="342"/>
                      </a:lnTo>
                      <a:lnTo>
                        <a:pt x="268" y="342"/>
                      </a:lnTo>
                      <a:lnTo>
                        <a:pt x="268" y="343"/>
                      </a:lnTo>
                      <a:lnTo>
                        <a:pt x="267" y="343"/>
                      </a:lnTo>
                      <a:lnTo>
                        <a:pt x="267" y="345"/>
                      </a:lnTo>
                      <a:lnTo>
                        <a:pt x="267" y="346"/>
                      </a:lnTo>
                      <a:lnTo>
                        <a:pt x="265" y="346"/>
                      </a:lnTo>
                      <a:lnTo>
                        <a:pt x="265" y="348"/>
                      </a:lnTo>
                      <a:lnTo>
                        <a:pt x="263" y="350"/>
                      </a:lnTo>
                      <a:lnTo>
                        <a:pt x="265" y="351"/>
                      </a:lnTo>
                      <a:lnTo>
                        <a:pt x="265" y="353"/>
                      </a:lnTo>
                      <a:lnTo>
                        <a:pt x="263" y="353"/>
                      </a:lnTo>
                      <a:lnTo>
                        <a:pt x="263" y="355"/>
                      </a:lnTo>
                      <a:lnTo>
                        <a:pt x="263" y="356"/>
                      </a:lnTo>
                      <a:lnTo>
                        <a:pt x="263" y="358"/>
                      </a:lnTo>
                      <a:lnTo>
                        <a:pt x="262" y="358"/>
                      </a:lnTo>
                      <a:lnTo>
                        <a:pt x="262" y="360"/>
                      </a:lnTo>
                      <a:lnTo>
                        <a:pt x="262" y="361"/>
                      </a:lnTo>
                      <a:lnTo>
                        <a:pt x="260" y="363"/>
                      </a:lnTo>
                      <a:lnTo>
                        <a:pt x="262" y="363"/>
                      </a:lnTo>
                      <a:lnTo>
                        <a:pt x="263" y="363"/>
                      </a:lnTo>
                      <a:lnTo>
                        <a:pt x="263" y="365"/>
                      </a:lnTo>
                      <a:lnTo>
                        <a:pt x="263" y="366"/>
                      </a:lnTo>
                      <a:lnTo>
                        <a:pt x="265" y="366"/>
                      </a:lnTo>
                      <a:lnTo>
                        <a:pt x="265" y="368"/>
                      </a:lnTo>
                      <a:lnTo>
                        <a:pt x="267" y="368"/>
                      </a:lnTo>
                      <a:lnTo>
                        <a:pt x="267" y="369"/>
                      </a:lnTo>
                      <a:lnTo>
                        <a:pt x="265" y="369"/>
                      </a:lnTo>
                      <a:lnTo>
                        <a:pt x="263" y="369"/>
                      </a:lnTo>
                      <a:lnTo>
                        <a:pt x="265" y="369"/>
                      </a:lnTo>
                      <a:lnTo>
                        <a:pt x="265" y="371"/>
                      </a:lnTo>
                      <a:lnTo>
                        <a:pt x="263" y="371"/>
                      </a:lnTo>
                      <a:lnTo>
                        <a:pt x="263" y="373"/>
                      </a:lnTo>
                      <a:lnTo>
                        <a:pt x="262" y="373"/>
                      </a:lnTo>
                      <a:lnTo>
                        <a:pt x="260" y="373"/>
                      </a:lnTo>
                      <a:lnTo>
                        <a:pt x="262" y="374"/>
                      </a:lnTo>
                      <a:lnTo>
                        <a:pt x="260" y="376"/>
                      </a:lnTo>
                      <a:lnTo>
                        <a:pt x="258" y="376"/>
                      </a:lnTo>
                      <a:lnTo>
                        <a:pt x="258" y="378"/>
                      </a:lnTo>
                      <a:lnTo>
                        <a:pt x="258" y="376"/>
                      </a:lnTo>
                      <a:lnTo>
                        <a:pt x="257" y="378"/>
                      </a:lnTo>
                      <a:lnTo>
                        <a:pt x="255" y="379"/>
                      </a:lnTo>
                      <a:lnTo>
                        <a:pt x="253" y="379"/>
                      </a:lnTo>
                      <a:lnTo>
                        <a:pt x="253" y="381"/>
                      </a:lnTo>
                      <a:lnTo>
                        <a:pt x="253" y="383"/>
                      </a:lnTo>
                      <a:lnTo>
                        <a:pt x="253" y="384"/>
                      </a:lnTo>
                      <a:lnTo>
                        <a:pt x="255" y="384"/>
                      </a:lnTo>
                      <a:lnTo>
                        <a:pt x="255" y="386"/>
                      </a:lnTo>
                      <a:lnTo>
                        <a:pt x="253" y="386"/>
                      </a:lnTo>
                      <a:lnTo>
                        <a:pt x="253" y="388"/>
                      </a:lnTo>
                      <a:lnTo>
                        <a:pt x="255" y="389"/>
                      </a:lnTo>
                      <a:lnTo>
                        <a:pt x="257" y="389"/>
                      </a:lnTo>
                      <a:lnTo>
                        <a:pt x="258" y="391"/>
                      </a:lnTo>
                      <a:lnTo>
                        <a:pt x="260" y="391"/>
                      </a:lnTo>
                      <a:lnTo>
                        <a:pt x="260" y="392"/>
                      </a:lnTo>
                      <a:lnTo>
                        <a:pt x="262" y="394"/>
                      </a:lnTo>
                      <a:lnTo>
                        <a:pt x="262" y="396"/>
                      </a:lnTo>
                      <a:lnTo>
                        <a:pt x="263" y="397"/>
                      </a:lnTo>
                      <a:lnTo>
                        <a:pt x="262" y="399"/>
                      </a:lnTo>
                      <a:lnTo>
                        <a:pt x="262" y="401"/>
                      </a:lnTo>
                      <a:lnTo>
                        <a:pt x="260" y="401"/>
                      </a:lnTo>
                      <a:lnTo>
                        <a:pt x="262" y="402"/>
                      </a:lnTo>
                      <a:lnTo>
                        <a:pt x="260" y="402"/>
                      </a:lnTo>
                      <a:lnTo>
                        <a:pt x="260" y="404"/>
                      </a:lnTo>
                      <a:lnTo>
                        <a:pt x="262" y="404"/>
                      </a:lnTo>
                      <a:lnTo>
                        <a:pt x="260" y="404"/>
                      </a:lnTo>
                      <a:lnTo>
                        <a:pt x="260" y="406"/>
                      </a:lnTo>
                      <a:lnTo>
                        <a:pt x="262" y="406"/>
                      </a:lnTo>
                      <a:lnTo>
                        <a:pt x="263" y="406"/>
                      </a:lnTo>
                      <a:lnTo>
                        <a:pt x="265" y="406"/>
                      </a:lnTo>
                      <a:lnTo>
                        <a:pt x="267" y="407"/>
                      </a:lnTo>
                      <a:lnTo>
                        <a:pt x="267" y="409"/>
                      </a:lnTo>
                      <a:lnTo>
                        <a:pt x="267" y="411"/>
                      </a:lnTo>
                      <a:lnTo>
                        <a:pt x="268" y="411"/>
                      </a:lnTo>
                      <a:lnTo>
                        <a:pt x="270" y="412"/>
                      </a:lnTo>
                      <a:lnTo>
                        <a:pt x="270" y="411"/>
                      </a:lnTo>
                      <a:lnTo>
                        <a:pt x="272" y="411"/>
                      </a:lnTo>
                      <a:lnTo>
                        <a:pt x="274" y="411"/>
                      </a:lnTo>
                      <a:lnTo>
                        <a:pt x="272" y="412"/>
                      </a:lnTo>
                      <a:lnTo>
                        <a:pt x="274" y="412"/>
                      </a:lnTo>
                      <a:lnTo>
                        <a:pt x="274" y="414"/>
                      </a:lnTo>
                      <a:lnTo>
                        <a:pt x="274" y="415"/>
                      </a:lnTo>
                      <a:lnTo>
                        <a:pt x="274" y="417"/>
                      </a:lnTo>
                      <a:lnTo>
                        <a:pt x="274" y="419"/>
                      </a:lnTo>
                      <a:lnTo>
                        <a:pt x="274" y="420"/>
                      </a:lnTo>
                      <a:lnTo>
                        <a:pt x="272" y="420"/>
                      </a:lnTo>
                      <a:lnTo>
                        <a:pt x="272" y="422"/>
                      </a:lnTo>
                      <a:lnTo>
                        <a:pt x="270" y="422"/>
                      </a:lnTo>
                      <a:lnTo>
                        <a:pt x="270" y="424"/>
                      </a:lnTo>
                      <a:lnTo>
                        <a:pt x="270" y="425"/>
                      </a:lnTo>
                      <a:lnTo>
                        <a:pt x="268" y="425"/>
                      </a:lnTo>
                      <a:lnTo>
                        <a:pt x="268" y="427"/>
                      </a:lnTo>
                      <a:lnTo>
                        <a:pt x="270" y="427"/>
                      </a:lnTo>
                      <a:lnTo>
                        <a:pt x="270" y="429"/>
                      </a:lnTo>
                      <a:lnTo>
                        <a:pt x="268" y="429"/>
                      </a:lnTo>
                      <a:lnTo>
                        <a:pt x="268" y="430"/>
                      </a:lnTo>
                      <a:lnTo>
                        <a:pt x="267" y="430"/>
                      </a:lnTo>
                      <a:lnTo>
                        <a:pt x="265" y="430"/>
                      </a:lnTo>
                      <a:lnTo>
                        <a:pt x="263" y="430"/>
                      </a:lnTo>
                      <a:lnTo>
                        <a:pt x="263" y="432"/>
                      </a:lnTo>
                      <a:lnTo>
                        <a:pt x="265" y="432"/>
                      </a:lnTo>
                      <a:lnTo>
                        <a:pt x="265" y="434"/>
                      </a:lnTo>
                      <a:lnTo>
                        <a:pt x="263" y="435"/>
                      </a:lnTo>
                      <a:lnTo>
                        <a:pt x="263" y="437"/>
                      </a:lnTo>
                      <a:lnTo>
                        <a:pt x="263" y="438"/>
                      </a:lnTo>
                      <a:lnTo>
                        <a:pt x="263" y="440"/>
                      </a:lnTo>
                      <a:lnTo>
                        <a:pt x="262" y="440"/>
                      </a:lnTo>
                      <a:lnTo>
                        <a:pt x="262" y="442"/>
                      </a:lnTo>
                      <a:lnTo>
                        <a:pt x="260" y="442"/>
                      </a:lnTo>
                      <a:lnTo>
                        <a:pt x="258" y="442"/>
                      </a:lnTo>
                      <a:lnTo>
                        <a:pt x="258" y="443"/>
                      </a:lnTo>
                      <a:lnTo>
                        <a:pt x="257" y="443"/>
                      </a:lnTo>
                      <a:lnTo>
                        <a:pt x="258" y="443"/>
                      </a:lnTo>
                      <a:lnTo>
                        <a:pt x="258" y="445"/>
                      </a:lnTo>
                      <a:lnTo>
                        <a:pt x="257" y="445"/>
                      </a:lnTo>
                      <a:lnTo>
                        <a:pt x="257" y="447"/>
                      </a:lnTo>
                      <a:lnTo>
                        <a:pt x="255" y="447"/>
                      </a:lnTo>
                      <a:lnTo>
                        <a:pt x="255" y="448"/>
                      </a:lnTo>
                      <a:lnTo>
                        <a:pt x="255" y="450"/>
                      </a:lnTo>
                      <a:lnTo>
                        <a:pt x="253" y="450"/>
                      </a:lnTo>
                      <a:lnTo>
                        <a:pt x="253" y="448"/>
                      </a:lnTo>
                      <a:lnTo>
                        <a:pt x="252" y="450"/>
                      </a:lnTo>
                      <a:lnTo>
                        <a:pt x="250" y="450"/>
                      </a:lnTo>
                      <a:lnTo>
                        <a:pt x="248" y="450"/>
                      </a:lnTo>
                      <a:lnTo>
                        <a:pt x="246" y="450"/>
                      </a:lnTo>
                      <a:lnTo>
                        <a:pt x="246" y="452"/>
                      </a:lnTo>
                      <a:lnTo>
                        <a:pt x="248" y="452"/>
                      </a:lnTo>
                      <a:lnTo>
                        <a:pt x="248" y="453"/>
                      </a:lnTo>
                      <a:lnTo>
                        <a:pt x="246" y="455"/>
                      </a:lnTo>
                      <a:lnTo>
                        <a:pt x="245" y="455"/>
                      </a:lnTo>
                      <a:lnTo>
                        <a:pt x="243" y="455"/>
                      </a:lnTo>
                      <a:lnTo>
                        <a:pt x="243" y="453"/>
                      </a:lnTo>
                      <a:lnTo>
                        <a:pt x="243" y="455"/>
                      </a:lnTo>
                      <a:lnTo>
                        <a:pt x="241" y="455"/>
                      </a:lnTo>
                      <a:lnTo>
                        <a:pt x="241" y="457"/>
                      </a:lnTo>
                      <a:lnTo>
                        <a:pt x="241" y="458"/>
                      </a:lnTo>
                      <a:lnTo>
                        <a:pt x="240" y="458"/>
                      </a:lnTo>
                      <a:lnTo>
                        <a:pt x="240" y="457"/>
                      </a:lnTo>
                      <a:lnTo>
                        <a:pt x="238" y="457"/>
                      </a:lnTo>
                      <a:lnTo>
                        <a:pt x="238" y="458"/>
                      </a:lnTo>
                      <a:lnTo>
                        <a:pt x="236" y="458"/>
                      </a:lnTo>
                      <a:lnTo>
                        <a:pt x="236" y="460"/>
                      </a:lnTo>
                      <a:lnTo>
                        <a:pt x="235" y="460"/>
                      </a:lnTo>
                      <a:lnTo>
                        <a:pt x="235" y="461"/>
                      </a:lnTo>
                      <a:lnTo>
                        <a:pt x="236" y="461"/>
                      </a:lnTo>
                      <a:lnTo>
                        <a:pt x="235" y="463"/>
                      </a:lnTo>
                      <a:lnTo>
                        <a:pt x="235" y="465"/>
                      </a:lnTo>
                      <a:lnTo>
                        <a:pt x="233" y="465"/>
                      </a:lnTo>
                      <a:lnTo>
                        <a:pt x="235" y="466"/>
                      </a:lnTo>
                      <a:lnTo>
                        <a:pt x="233" y="466"/>
                      </a:lnTo>
                      <a:lnTo>
                        <a:pt x="231" y="466"/>
                      </a:lnTo>
                      <a:lnTo>
                        <a:pt x="230" y="466"/>
                      </a:lnTo>
                      <a:lnTo>
                        <a:pt x="230" y="465"/>
                      </a:lnTo>
                      <a:lnTo>
                        <a:pt x="230" y="463"/>
                      </a:lnTo>
                      <a:lnTo>
                        <a:pt x="228" y="463"/>
                      </a:lnTo>
                      <a:lnTo>
                        <a:pt x="228" y="465"/>
                      </a:lnTo>
                      <a:lnTo>
                        <a:pt x="226" y="465"/>
                      </a:lnTo>
                      <a:lnTo>
                        <a:pt x="225" y="465"/>
                      </a:lnTo>
                      <a:lnTo>
                        <a:pt x="225" y="466"/>
                      </a:lnTo>
                      <a:lnTo>
                        <a:pt x="223" y="466"/>
                      </a:lnTo>
                      <a:lnTo>
                        <a:pt x="221" y="468"/>
                      </a:lnTo>
                      <a:lnTo>
                        <a:pt x="221" y="466"/>
                      </a:lnTo>
                      <a:lnTo>
                        <a:pt x="221" y="465"/>
                      </a:lnTo>
                      <a:lnTo>
                        <a:pt x="221" y="463"/>
                      </a:lnTo>
                      <a:lnTo>
                        <a:pt x="221" y="461"/>
                      </a:lnTo>
                      <a:lnTo>
                        <a:pt x="221" y="460"/>
                      </a:lnTo>
                      <a:lnTo>
                        <a:pt x="219" y="458"/>
                      </a:lnTo>
                      <a:lnTo>
                        <a:pt x="218" y="457"/>
                      </a:lnTo>
                      <a:lnTo>
                        <a:pt x="218" y="455"/>
                      </a:lnTo>
                      <a:lnTo>
                        <a:pt x="216" y="455"/>
                      </a:lnTo>
                      <a:lnTo>
                        <a:pt x="214" y="455"/>
                      </a:lnTo>
                      <a:lnTo>
                        <a:pt x="213" y="453"/>
                      </a:lnTo>
                      <a:lnTo>
                        <a:pt x="211" y="453"/>
                      </a:lnTo>
                      <a:lnTo>
                        <a:pt x="211" y="452"/>
                      </a:lnTo>
                      <a:lnTo>
                        <a:pt x="209" y="452"/>
                      </a:lnTo>
                      <a:lnTo>
                        <a:pt x="209" y="453"/>
                      </a:lnTo>
                      <a:lnTo>
                        <a:pt x="208" y="453"/>
                      </a:lnTo>
                      <a:lnTo>
                        <a:pt x="208" y="452"/>
                      </a:lnTo>
                      <a:lnTo>
                        <a:pt x="206" y="452"/>
                      </a:lnTo>
                      <a:lnTo>
                        <a:pt x="204" y="450"/>
                      </a:lnTo>
                      <a:lnTo>
                        <a:pt x="203" y="450"/>
                      </a:lnTo>
                      <a:lnTo>
                        <a:pt x="201" y="450"/>
                      </a:lnTo>
                      <a:lnTo>
                        <a:pt x="201" y="448"/>
                      </a:lnTo>
                      <a:lnTo>
                        <a:pt x="201" y="447"/>
                      </a:lnTo>
                      <a:lnTo>
                        <a:pt x="203" y="445"/>
                      </a:lnTo>
                      <a:lnTo>
                        <a:pt x="203" y="443"/>
                      </a:lnTo>
                      <a:lnTo>
                        <a:pt x="204" y="445"/>
                      </a:lnTo>
                      <a:lnTo>
                        <a:pt x="203" y="443"/>
                      </a:lnTo>
                      <a:lnTo>
                        <a:pt x="201" y="442"/>
                      </a:lnTo>
                      <a:lnTo>
                        <a:pt x="201" y="440"/>
                      </a:lnTo>
                      <a:lnTo>
                        <a:pt x="201" y="438"/>
                      </a:lnTo>
                      <a:lnTo>
                        <a:pt x="199" y="438"/>
                      </a:lnTo>
                      <a:lnTo>
                        <a:pt x="199" y="437"/>
                      </a:lnTo>
                      <a:lnTo>
                        <a:pt x="198" y="437"/>
                      </a:lnTo>
                      <a:lnTo>
                        <a:pt x="198" y="435"/>
                      </a:lnTo>
                      <a:lnTo>
                        <a:pt x="196" y="435"/>
                      </a:lnTo>
                      <a:lnTo>
                        <a:pt x="196" y="434"/>
                      </a:lnTo>
                      <a:lnTo>
                        <a:pt x="194" y="434"/>
                      </a:lnTo>
                      <a:lnTo>
                        <a:pt x="192" y="432"/>
                      </a:lnTo>
                      <a:lnTo>
                        <a:pt x="191" y="432"/>
                      </a:lnTo>
                      <a:lnTo>
                        <a:pt x="189" y="432"/>
                      </a:lnTo>
                      <a:lnTo>
                        <a:pt x="189" y="430"/>
                      </a:lnTo>
                      <a:lnTo>
                        <a:pt x="187" y="430"/>
                      </a:lnTo>
                      <a:lnTo>
                        <a:pt x="184" y="430"/>
                      </a:lnTo>
                      <a:lnTo>
                        <a:pt x="184" y="429"/>
                      </a:lnTo>
                      <a:lnTo>
                        <a:pt x="182" y="427"/>
                      </a:lnTo>
                      <a:lnTo>
                        <a:pt x="181" y="427"/>
                      </a:lnTo>
                      <a:lnTo>
                        <a:pt x="181" y="425"/>
                      </a:lnTo>
                      <a:lnTo>
                        <a:pt x="179" y="425"/>
                      </a:lnTo>
                      <a:lnTo>
                        <a:pt x="179" y="424"/>
                      </a:lnTo>
                      <a:lnTo>
                        <a:pt x="177" y="424"/>
                      </a:lnTo>
                      <a:lnTo>
                        <a:pt x="176" y="424"/>
                      </a:lnTo>
                      <a:lnTo>
                        <a:pt x="174" y="422"/>
                      </a:lnTo>
                      <a:lnTo>
                        <a:pt x="174" y="420"/>
                      </a:lnTo>
                      <a:lnTo>
                        <a:pt x="172" y="420"/>
                      </a:lnTo>
                      <a:lnTo>
                        <a:pt x="172" y="419"/>
                      </a:lnTo>
                      <a:lnTo>
                        <a:pt x="170" y="419"/>
                      </a:lnTo>
                      <a:lnTo>
                        <a:pt x="169" y="419"/>
                      </a:lnTo>
                      <a:lnTo>
                        <a:pt x="169" y="417"/>
                      </a:lnTo>
                      <a:lnTo>
                        <a:pt x="167" y="417"/>
                      </a:lnTo>
                      <a:lnTo>
                        <a:pt x="165" y="417"/>
                      </a:lnTo>
                      <a:lnTo>
                        <a:pt x="164" y="417"/>
                      </a:lnTo>
                      <a:lnTo>
                        <a:pt x="162" y="417"/>
                      </a:lnTo>
                      <a:lnTo>
                        <a:pt x="160" y="417"/>
                      </a:lnTo>
                      <a:lnTo>
                        <a:pt x="159" y="417"/>
                      </a:lnTo>
                      <a:lnTo>
                        <a:pt x="159" y="419"/>
                      </a:lnTo>
                      <a:lnTo>
                        <a:pt x="157" y="419"/>
                      </a:lnTo>
                      <a:lnTo>
                        <a:pt x="155" y="419"/>
                      </a:lnTo>
                      <a:lnTo>
                        <a:pt x="154" y="419"/>
                      </a:lnTo>
                      <a:lnTo>
                        <a:pt x="152" y="419"/>
                      </a:lnTo>
                      <a:lnTo>
                        <a:pt x="150" y="419"/>
                      </a:lnTo>
                      <a:lnTo>
                        <a:pt x="149" y="419"/>
                      </a:lnTo>
                      <a:lnTo>
                        <a:pt x="147" y="419"/>
                      </a:lnTo>
                      <a:lnTo>
                        <a:pt x="147" y="420"/>
                      </a:lnTo>
                      <a:lnTo>
                        <a:pt x="145" y="420"/>
                      </a:lnTo>
                      <a:lnTo>
                        <a:pt x="143" y="419"/>
                      </a:lnTo>
                      <a:lnTo>
                        <a:pt x="143" y="420"/>
                      </a:lnTo>
                      <a:lnTo>
                        <a:pt x="142" y="420"/>
                      </a:lnTo>
                      <a:lnTo>
                        <a:pt x="140" y="420"/>
                      </a:lnTo>
                      <a:lnTo>
                        <a:pt x="138" y="420"/>
                      </a:lnTo>
                      <a:lnTo>
                        <a:pt x="137" y="420"/>
                      </a:lnTo>
                      <a:lnTo>
                        <a:pt x="135" y="422"/>
                      </a:lnTo>
                      <a:lnTo>
                        <a:pt x="135" y="424"/>
                      </a:lnTo>
                      <a:lnTo>
                        <a:pt x="135" y="422"/>
                      </a:lnTo>
                      <a:lnTo>
                        <a:pt x="133" y="422"/>
                      </a:lnTo>
                      <a:lnTo>
                        <a:pt x="132" y="422"/>
                      </a:lnTo>
                      <a:lnTo>
                        <a:pt x="130" y="420"/>
                      </a:lnTo>
                      <a:lnTo>
                        <a:pt x="128" y="420"/>
                      </a:lnTo>
                      <a:lnTo>
                        <a:pt x="127" y="422"/>
                      </a:lnTo>
                      <a:lnTo>
                        <a:pt x="125" y="422"/>
                      </a:lnTo>
                      <a:lnTo>
                        <a:pt x="123" y="422"/>
                      </a:lnTo>
                      <a:lnTo>
                        <a:pt x="122" y="422"/>
                      </a:lnTo>
                      <a:lnTo>
                        <a:pt x="120" y="424"/>
                      </a:lnTo>
                      <a:lnTo>
                        <a:pt x="118" y="424"/>
                      </a:lnTo>
                      <a:lnTo>
                        <a:pt x="116" y="422"/>
                      </a:lnTo>
                      <a:lnTo>
                        <a:pt x="116" y="420"/>
                      </a:lnTo>
                      <a:lnTo>
                        <a:pt x="115" y="420"/>
                      </a:lnTo>
                      <a:lnTo>
                        <a:pt x="115" y="419"/>
                      </a:lnTo>
                      <a:lnTo>
                        <a:pt x="113" y="419"/>
                      </a:lnTo>
                      <a:lnTo>
                        <a:pt x="113" y="417"/>
                      </a:lnTo>
                      <a:lnTo>
                        <a:pt x="111" y="417"/>
                      </a:lnTo>
                      <a:lnTo>
                        <a:pt x="108" y="415"/>
                      </a:lnTo>
                      <a:lnTo>
                        <a:pt x="106" y="415"/>
                      </a:lnTo>
                      <a:lnTo>
                        <a:pt x="106" y="417"/>
                      </a:lnTo>
                      <a:lnTo>
                        <a:pt x="105" y="417"/>
                      </a:lnTo>
                      <a:lnTo>
                        <a:pt x="103" y="419"/>
                      </a:lnTo>
                      <a:lnTo>
                        <a:pt x="101" y="420"/>
                      </a:lnTo>
                      <a:lnTo>
                        <a:pt x="101" y="422"/>
                      </a:lnTo>
                      <a:lnTo>
                        <a:pt x="100" y="422"/>
                      </a:lnTo>
                      <a:lnTo>
                        <a:pt x="98" y="422"/>
                      </a:lnTo>
                      <a:lnTo>
                        <a:pt x="96" y="422"/>
                      </a:lnTo>
                      <a:lnTo>
                        <a:pt x="96" y="420"/>
                      </a:lnTo>
                      <a:lnTo>
                        <a:pt x="94" y="420"/>
                      </a:lnTo>
                      <a:lnTo>
                        <a:pt x="93" y="420"/>
                      </a:lnTo>
                      <a:lnTo>
                        <a:pt x="91" y="419"/>
                      </a:lnTo>
                      <a:lnTo>
                        <a:pt x="89" y="419"/>
                      </a:lnTo>
                      <a:lnTo>
                        <a:pt x="88" y="419"/>
                      </a:lnTo>
                      <a:lnTo>
                        <a:pt x="86" y="417"/>
                      </a:lnTo>
                      <a:lnTo>
                        <a:pt x="86" y="415"/>
                      </a:lnTo>
                      <a:lnTo>
                        <a:pt x="86" y="414"/>
                      </a:lnTo>
                      <a:lnTo>
                        <a:pt x="86" y="412"/>
                      </a:lnTo>
                      <a:lnTo>
                        <a:pt x="88" y="409"/>
                      </a:lnTo>
                      <a:lnTo>
                        <a:pt x="88" y="407"/>
                      </a:lnTo>
                      <a:lnTo>
                        <a:pt x="88" y="406"/>
                      </a:lnTo>
                      <a:lnTo>
                        <a:pt x="88" y="404"/>
                      </a:lnTo>
                      <a:lnTo>
                        <a:pt x="89" y="404"/>
                      </a:lnTo>
                      <a:lnTo>
                        <a:pt x="89" y="401"/>
                      </a:lnTo>
                      <a:lnTo>
                        <a:pt x="89" y="399"/>
                      </a:lnTo>
                      <a:lnTo>
                        <a:pt x="91" y="397"/>
                      </a:lnTo>
                      <a:lnTo>
                        <a:pt x="91" y="396"/>
                      </a:lnTo>
                      <a:lnTo>
                        <a:pt x="93" y="394"/>
                      </a:lnTo>
                      <a:lnTo>
                        <a:pt x="94" y="392"/>
                      </a:lnTo>
                      <a:lnTo>
                        <a:pt x="94" y="391"/>
                      </a:lnTo>
                      <a:lnTo>
                        <a:pt x="94" y="389"/>
                      </a:lnTo>
                      <a:lnTo>
                        <a:pt x="96" y="389"/>
                      </a:lnTo>
                      <a:lnTo>
                        <a:pt x="96" y="388"/>
                      </a:lnTo>
                      <a:lnTo>
                        <a:pt x="94" y="388"/>
                      </a:lnTo>
                      <a:lnTo>
                        <a:pt x="94" y="386"/>
                      </a:lnTo>
                      <a:lnTo>
                        <a:pt x="94" y="384"/>
                      </a:lnTo>
                      <a:lnTo>
                        <a:pt x="96" y="383"/>
                      </a:lnTo>
                      <a:lnTo>
                        <a:pt x="94" y="381"/>
                      </a:lnTo>
                      <a:lnTo>
                        <a:pt x="94" y="379"/>
                      </a:lnTo>
                      <a:lnTo>
                        <a:pt x="94" y="378"/>
                      </a:lnTo>
                      <a:lnTo>
                        <a:pt x="94" y="376"/>
                      </a:lnTo>
                      <a:lnTo>
                        <a:pt x="96" y="376"/>
                      </a:lnTo>
                      <a:lnTo>
                        <a:pt x="96" y="374"/>
                      </a:lnTo>
                      <a:lnTo>
                        <a:pt x="98" y="374"/>
                      </a:lnTo>
                      <a:lnTo>
                        <a:pt x="98" y="373"/>
                      </a:lnTo>
                      <a:lnTo>
                        <a:pt x="100" y="373"/>
                      </a:lnTo>
                      <a:lnTo>
                        <a:pt x="100" y="371"/>
                      </a:lnTo>
                      <a:lnTo>
                        <a:pt x="100" y="369"/>
                      </a:lnTo>
                      <a:lnTo>
                        <a:pt x="98" y="369"/>
                      </a:lnTo>
                      <a:lnTo>
                        <a:pt x="96" y="369"/>
                      </a:lnTo>
                      <a:lnTo>
                        <a:pt x="96" y="371"/>
                      </a:lnTo>
                      <a:lnTo>
                        <a:pt x="94" y="371"/>
                      </a:lnTo>
                      <a:lnTo>
                        <a:pt x="93" y="369"/>
                      </a:lnTo>
                      <a:lnTo>
                        <a:pt x="93" y="368"/>
                      </a:lnTo>
                      <a:lnTo>
                        <a:pt x="93" y="366"/>
                      </a:lnTo>
                      <a:lnTo>
                        <a:pt x="91" y="366"/>
                      </a:lnTo>
                      <a:lnTo>
                        <a:pt x="91" y="365"/>
                      </a:lnTo>
                      <a:lnTo>
                        <a:pt x="89" y="363"/>
                      </a:lnTo>
                      <a:lnTo>
                        <a:pt x="88" y="365"/>
                      </a:lnTo>
                      <a:lnTo>
                        <a:pt x="86" y="365"/>
                      </a:lnTo>
                      <a:lnTo>
                        <a:pt x="83" y="363"/>
                      </a:lnTo>
                      <a:lnTo>
                        <a:pt x="79" y="361"/>
                      </a:lnTo>
                      <a:lnTo>
                        <a:pt x="78" y="361"/>
                      </a:lnTo>
                      <a:lnTo>
                        <a:pt x="76" y="361"/>
                      </a:lnTo>
                      <a:lnTo>
                        <a:pt x="74" y="360"/>
                      </a:lnTo>
                      <a:lnTo>
                        <a:pt x="74" y="358"/>
                      </a:lnTo>
                      <a:lnTo>
                        <a:pt x="73" y="360"/>
                      </a:lnTo>
                      <a:lnTo>
                        <a:pt x="71" y="360"/>
                      </a:lnTo>
                      <a:lnTo>
                        <a:pt x="69" y="358"/>
                      </a:lnTo>
                      <a:lnTo>
                        <a:pt x="67" y="358"/>
                      </a:lnTo>
                      <a:lnTo>
                        <a:pt x="66" y="358"/>
                      </a:lnTo>
                      <a:lnTo>
                        <a:pt x="66" y="356"/>
                      </a:lnTo>
                      <a:lnTo>
                        <a:pt x="64" y="356"/>
                      </a:lnTo>
                      <a:lnTo>
                        <a:pt x="64" y="355"/>
                      </a:lnTo>
                      <a:lnTo>
                        <a:pt x="66" y="353"/>
                      </a:lnTo>
                      <a:lnTo>
                        <a:pt x="66" y="351"/>
                      </a:lnTo>
                      <a:lnTo>
                        <a:pt x="64" y="350"/>
                      </a:lnTo>
                      <a:lnTo>
                        <a:pt x="64" y="348"/>
                      </a:lnTo>
                      <a:lnTo>
                        <a:pt x="64" y="346"/>
                      </a:lnTo>
                      <a:lnTo>
                        <a:pt x="62" y="345"/>
                      </a:lnTo>
                      <a:lnTo>
                        <a:pt x="61" y="345"/>
                      </a:lnTo>
                      <a:lnTo>
                        <a:pt x="61" y="343"/>
                      </a:lnTo>
                      <a:lnTo>
                        <a:pt x="61" y="342"/>
                      </a:lnTo>
                      <a:lnTo>
                        <a:pt x="61" y="340"/>
                      </a:lnTo>
                      <a:lnTo>
                        <a:pt x="61" y="338"/>
                      </a:lnTo>
                      <a:lnTo>
                        <a:pt x="61" y="337"/>
                      </a:lnTo>
                      <a:lnTo>
                        <a:pt x="61" y="335"/>
                      </a:lnTo>
                      <a:lnTo>
                        <a:pt x="59" y="333"/>
                      </a:lnTo>
                      <a:lnTo>
                        <a:pt x="59" y="332"/>
                      </a:lnTo>
                      <a:lnTo>
                        <a:pt x="61" y="330"/>
                      </a:lnTo>
                      <a:lnTo>
                        <a:pt x="61" y="328"/>
                      </a:lnTo>
                      <a:lnTo>
                        <a:pt x="62" y="328"/>
                      </a:lnTo>
                      <a:lnTo>
                        <a:pt x="62" y="327"/>
                      </a:lnTo>
                      <a:lnTo>
                        <a:pt x="61" y="325"/>
                      </a:lnTo>
                      <a:lnTo>
                        <a:pt x="61" y="323"/>
                      </a:lnTo>
                      <a:lnTo>
                        <a:pt x="59" y="323"/>
                      </a:lnTo>
                      <a:lnTo>
                        <a:pt x="57" y="322"/>
                      </a:lnTo>
                      <a:lnTo>
                        <a:pt x="57" y="320"/>
                      </a:lnTo>
                      <a:lnTo>
                        <a:pt x="57" y="319"/>
                      </a:lnTo>
                      <a:lnTo>
                        <a:pt x="56" y="319"/>
                      </a:lnTo>
                      <a:lnTo>
                        <a:pt x="54" y="317"/>
                      </a:lnTo>
                      <a:lnTo>
                        <a:pt x="56" y="315"/>
                      </a:lnTo>
                      <a:lnTo>
                        <a:pt x="56" y="314"/>
                      </a:lnTo>
                      <a:lnTo>
                        <a:pt x="54" y="314"/>
                      </a:lnTo>
                      <a:lnTo>
                        <a:pt x="56" y="312"/>
                      </a:lnTo>
                      <a:lnTo>
                        <a:pt x="54" y="310"/>
                      </a:lnTo>
                      <a:lnTo>
                        <a:pt x="56" y="310"/>
                      </a:lnTo>
                      <a:lnTo>
                        <a:pt x="56" y="309"/>
                      </a:lnTo>
                      <a:lnTo>
                        <a:pt x="54" y="307"/>
                      </a:lnTo>
                      <a:lnTo>
                        <a:pt x="54" y="305"/>
                      </a:lnTo>
                      <a:lnTo>
                        <a:pt x="54" y="304"/>
                      </a:lnTo>
                      <a:lnTo>
                        <a:pt x="52" y="302"/>
                      </a:lnTo>
                      <a:lnTo>
                        <a:pt x="52" y="300"/>
                      </a:lnTo>
                      <a:lnTo>
                        <a:pt x="51" y="300"/>
                      </a:lnTo>
                      <a:lnTo>
                        <a:pt x="49" y="300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4" name="Freeform 24"/>
                <p:cNvSpPr>
                  <a:spLocks noChangeAspect="1"/>
                </p:cNvSpPr>
                <p:nvPr/>
              </p:nvSpPr>
              <p:spPr bwMode="auto">
                <a:xfrm>
                  <a:off x="6513670" y="2020785"/>
                  <a:ext cx="531958" cy="331173"/>
                </a:xfrm>
                <a:custGeom>
                  <a:avLst/>
                  <a:gdLst>
                    <a:gd name="T0" fmla="*/ 2147483647 w 343"/>
                    <a:gd name="T1" fmla="*/ 2147483647 h 199"/>
                    <a:gd name="T2" fmla="*/ 2147483647 w 343"/>
                    <a:gd name="T3" fmla="*/ 2147483647 h 199"/>
                    <a:gd name="T4" fmla="*/ 2147483647 w 343"/>
                    <a:gd name="T5" fmla="*/ 2147483647 h 199"/>
                    <a:gd name="T6" fmla="*/ 2147483647 w 343"/>
                    <a:gd name="T7" fmla="*/ 2147483647 h 199"/>
                    <a:gd name="T8" fmla="*/ 2147483647 w 343"/>
                    <a:gd name="T9" fmla="*/ 2147483647 h 199"/>
                    <a:gd name="T10" fmla="*/ 2147483647 w 343"/>
                    <a:gd name="T11" fmla="*/ 2147483647 h 199"/>
                    <a:gd name="T12" fmla="*/ 2147483647 w 343"/>
                    <a:gd name="T13" fmla="*/ 2147483647 h 199"/>
                    <a:gd name="T14" fmla="*/ 2147483647 w 343"/>
                    <a:gd name="T15" fmla="*/ 2147483647 h 199"/>
                    <a:gd name="T16" fmla="*/ 2147483647 w 343"/>
                    <a:gd name="T17" fmla="*/ 2147483647 h 199"/>
                    <a:gd name="T18" fmla="*/ 2147483647 w 343"/>
                    <a:gd name="T19" fmla="*/ 2147483647 h 199"/>
                    <a:gd name="T20" fmla="*/ 2147483647 w 343"/>
                    <a:gd name="T21" fmla="*/ 2147483647 h 199"/>
                    <a:gd name="T22" fmla="*/ 2147483647 w 343"/>
                    <a:gd name="T23" fmla="*/ 2147483647 h 199"/>
                    <a:gd name="T24" fmla="*/ 2147483647 w 343"/>
                    <a:gd name="T25" fmla="*/ 2147483647 h 199"/>
                    <a:gd name="T26" fmla="*/ 2147483647 w 343"/>
                    <a:gd name="T27" fmla="*/ 2147483647 h 199"/>
                    <a:gd name="T28" fmla="*/ 2147483647 w 343"/>
                    <a:gd name="T29" fmla="*/ 2147483647 h 199"/>
                    <a:gd name="T30" fmla="*/ 2147483647 w 343"/>
                    <a:gd name="T31" fmla="*/ 2147483647 h 199"/>
                    <a:gd name="T32" fmla="*/ 2147483647 w 343"/>
                    <a:gd name="T33" fmla="*/ 2147483647 h 199"/>
                    <a:gd name="T34" fmla="*/ 2147483647 w 343"/>
                    <a:gd name="T35" fmla="*/ 2147483647 h 199"/>
                    <a:gd name="T36" fmla="*/ 2147483647 w 343"/>
                    <a:gd name="T37" fmla="*/ 2147483647 h 199"/>
                    <a:gd name="T38" fmla="*/ 2147483647 w 343"/>
                    <a:gd name="T39" fmla="*/ 2147483647 h 199"/>
                    <a:gd name="T40" fmla="*/ 2147483647 w 343"/>
                    <a:gd name="T41" fmla="*/ 2147483647 h 199"/>
                    <a:gd name="T42" fmla="*/ 2147483647 w 343"/>
                    <a:gd name="T43" fmla="*/ 2147483647 h 199"/>
                    <a:gd name="T44" fmla="*/ 2147483647 w 343"/>
                    <a:gd name="T45" fmla="*/ 2147483647 h 199"/>
                    <a:gd name="T46" fmla="*/ 2147483647 w 343"/>
                    <a:gd name="T47" fmla="*/ 2147483647 h 199"/>
                    <a:gd name="T48" fmla="*/ 2147483647 w 343"/>
                    <a:gd name="T49" fmla="*/ 2147483647 h 199"/>
                    <a:gd name="T50" fmla="*/ 2147483647 w 343"/>
                    <a:gd name="T51" fmla="*/ 2147483647 h 199"/>
                    <a:gd name="T52" fmla="*/ 2147483647 w 343"/>
                    <a:gd name="T53" fmla="*/ 2147483647 h 199"/>
                    <a:gd name="T54" fmla="*/ 2147483647 w 343"/>
                    <a:gd name="T55" fmla="*/ 2147483647 h 199"/>
                    <a:gd name="T56" fmla="*/ 2147483647 w 343"/>
                    <a:gd name="T57" fmla="*/ 2147483647 h 199"/>
                    <a:gd name="T58" fmla="*/ 2147483647 w 343"/>
                    <a:gd name="T59" fmla="*/ 2147483647 h 199"/>
                    <a:gd name="T60" fmla="*/ 2147483647 w 343"/>
                    <a:gd name="T61" fmla="*/ 2147483647 h 199"/>
                    <a:gd name="T62" fmla="*/ 2147483647 w 343"/>
                    <a:gd name="T63" fmla="*/ 2147483647 h 199"/>
                    <a:gd name="T64" fmla="*/ 2147483647 w 343"/>
                    <a:gd name="T65" fmla="*/ 2147483647 h 199"/>
                    <a:gd name="T66" fmla="*/ 2147483647 w 343"/>
                    <a:gd name="T67" fmla="*/ 2147483647 h 199"/>
                    <a:gd name="T68" fmla="*/ 2147483647 w 343"/>
                    <a:gd name="T69" fmla="*/ 2147483647 h 199"/>
                    <a:gd name="T70" fmla="*/ 2147483647 w 343"/>
                    <a:gd name="T71" fmla="*/ 2147483647 h 199"/>
                    <a:gd name="T72" fmla="*/ 2147483647 w 343"/>
                    <a:gd name="T73" fmla="*/ 2147483647 h 199"/>
                    <a:gd name="T74" fmla="*/ 2147483647 w 343"/>
                    <a:gd name="T75" fmla="*/ 2147483647 h 199"/>
                    <a:gd name="T76" fmla="*/ 2147483647 w 343"/>
                    <a:gd name="T77" fmla="*/ 2147483647 h 199"/>
                    <a:gd name="T78" fmla="*/ 2147483647 w 343"/>
                    <a:gd name="T79" fmla="*/ 2147483647 h 199"/>
                    <a:gd name="T80" fmla="*/ 2147483647 w 343"/>
                    <a:gd name="T81" fmla="*/ 2147483647 h 199"/>
                    <a:gd name="T82" fmla="*/ 2147483647 w 343"/>
                    <a:gd name="T83" fmla="*/ 2147483647 h 199"/>
                    <a:gd name="T84" fmla="*/ 2147483647 w 343"/>
                    <a:gd name="T85" fmla="*/ 2147483647 h 199"/>
                    <a:gd name="T86" fmla="*/ 2147483647 w 343"/>
                    <a:gd name="T87" fmla="*/ 2147483647 h 199"/>
                    <a:gd name="T88" fmla="*/ 2147483647 w 343"/>
                    <a:gd name="T89" fmla="*/ 2147483647 h 199"/>
                    <a:gd name="T90" fmla="*/ 2147483647 w 343"/>
                    <a:gd name="T91" fmla="*/ 2147483647 h 199"/>
                    <a:gd name="T92" fmla="*/ 2147483647 w 343"/>
                    <a:gd name="T93" fmla="*/ 2147483647 h 199"/>
                    <a:gd name="T94" fmla="*/ 2147483647 w 343"/>
                    <a:gd name="T95" fmla="*/ 2147483647 h 199"/>
                    <a:gd name="T96" fmla="*/ 2147483647 w 343"/>
                    <a:gd name="T97" fmla="*/ 2147483647 h 199"/>
                    <a:gd name="T98" fmla="*/ 2147483647 w 343"/>
                    <a:gd name="T99" fmla="*/ 2147483647 h 199"/>
                    <a:gd name="T100" fmla="*/ 0 w 343"/>
                    <a:gd name="T101" fmla="*/ 2147483647 h 199"/>
                    <a:gd name="T102" fmla="*/ 2147483647 w 343"/>
                    <a:gd name="T103" fmla="*/ 2147483647 h 199"/>
                    <a:gd name="T104" fmla="*/ 2147483647 w 343"/>
                    <a:gd name="T105" fmla="*/ 2147483647 h 199"/>
                    <a:gd name="T106" fmla="*/ 2147483647 w 343"/>
                    <a:gd name="T107" fmla="*/ 2147483647 h 199"/>
                    <a:gd name="T108" fmla="*/ 2147483647 w 343"/>
                    <a:gd name="T109" fmla="*/ 2147483647 h 199"/>
                    <a:gd name="T110" fmla="*/ 2147483647 w 343"/>
                    <a:gd name="T111" fmla="*/ 2147483647 h 199"/>
                    <a:gd name="T112" fmla="*/ 2147483647 w 343"/>
                    <a:gd name="T113" fmla="*/ 2147483647 h 199"/>
                    <a:gd name="T114" fmla="*/ 2147483647 w 343"/>
                    <a:gd name="T115" fmla="*/ 2147483647 h 199"/>
                    <a:gd name="T116" fmla="*/ 2147483647 w 343"/>
                    <a:gd name="T117" fmla="*/ 2147483647 h 199"/>
                    <a:gd name="T118" fmla="*/ 2147483647 w 343"/>
                    <a:gd name="T119" fmla="*/ 2147483647 h 19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43"/>
                    <a:gd name="T181" fmla="*/ 0 h 199"/>
                    <a:gd name="T182" fmla="*/ 343 w 343"/>
                    <a:gd name="T183" fmla="*/ 199 h 19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43" h="199">
                      <a:moveTo>
                        <a:pt x="117" y="1"/>
                      </a:moveTo>
                      <a:lnTo>
                        <a:pt x="125" y="0"/>
                      </a:lnTo>
                      <a:lnTo>
                        <a:pt x="127" y="0"/>
                      </a:lnTo>
                      <a:lnTo>
                        <a:pt x="127" y="1"/>
                      </a:lnTo>
                      <a:lnTo>
                        <a:pt x="129" y="3"/>
                      </a:lnTo>
                      <a:lnTo>
                        <a:pt x="130" y="5"/>
                      </a:lnTo>
                      <a:lnTo>
                        <a:pt x="132" y="6"/>
                      </a:lnTo>
                      <a:lnTo>
                        <a:pt x="134" y="8"/>
                      </a:lnTo>
                      <a:lnTo>
                        <a:pt x="134" y="10"/>
                      </a:lnTo>
                      <a:lnTo>
                        <a:pt x="135" y="10"/>
                      </a:lnTo>
                      <a:lnTo>
                        <a:pt x="137" y="10"/>
                      </a:lnTo>
                      <a:lnTo>
                        <a:pt x="139" y="10"/>
                      </a:lnTo>
                      <a:lnTo>
                        <a:pt x="139" y="8"/>
                      </a:lnTo>
                      <a:lnTo>
                        <a:pt x="140" y="8"/>
                      </a:lnTo>
                      <a:lnTo>
                        <a:pt x="142" y="8"/>
                      </a:lnTo>
                      <a:lnTo>
                        <a:pt x="142" y="10"/>
                      </a:lnTo>
                      <a:lnTo>
                        <a:pt x="142" y="8"/>
                      </a:lnTo>
                      <a:lnTo>
                        <a:pt x="144" y="10"/>
                      </a:lnTo>
                      <a:lnTo>
                        <a:pt x="145" y="10"/>
                      </a:lnTo>
                      <a:lnTo>
                        <a:pt x="147" y="10"/>
                      </a:lnTo>
                      <a:lnTo>
                        <a:pt x="149" y="10"/>
                      </a:lnTo>
                      <a:lnTo>
                        <a:pt x="150" y="10"/>
                      </a:lnTo>
                      <a:lnTo>
                        <a:pt x="150" y="8"/>
                      </a:lnTo>
                      <a:lnTo>
                        <a:pt x="152" y="10"/>
                      </a:lnTo>
                      <a:lnTo>
                        <a:pt x="152" y="8"/>
                      </a:lnTo>
                      <a:lnTo>
                        <a:pt x="154" y="8"/>
                      </a:lnTo>
                      <a:lnTo>
                        <a:pt x="156" y="10"/>
                      </a:lnTo>
                      <a:lnTo>
                        <a:pt x="157" y="10"/>
                      </a:lnTo>
                      <a:lnTo>
                        <a:pt x="159" y="11"/>
                      </a:lnTo>
                      <a:lnTo>
                        <a:pt x="161" y="11"/>
                      </a:lnTo>
                      <a:lnTo>
                        <a:pt x="161" y="10"/>
                      </a:lnTo>
                      <a:lnTo>
                        <a:pt x="161" y="11"/>
                      </a:lnTo>
                      <a:lnTo>
                        <a:pt x="162" y="11"/>
                      </a:lnTo>
                      <a:lnTo>
                        <a:pt x="164" y="11"/>
                      </a:lnTo>
                      <a:lnTo>
                        <a:pt x="164" y="13"/>
                      </a:lnTo>
                      <a:lnTo>
                        <a:pt x="166" y="16"/>
                      </a:lnTo>
                      <a:lnTo>
                        <a:pt x="167" y="16"/>
                      </a:lnTo>
                      <a:lnTo>
                        <a:pt x="169" y="18"/>
                      </a:lnTo>
                      <a:lnTo>
                        <a:pt x="169" y="20"/>
                      </a:lnTo>
                      <a:lnTo>
                        <a:pt x="171" y="20"/>
                      </a:lnTo>
                      <a:lnTo>
                        <a:pt x="171" y="21"/>
                      </a:lnTo>
                      <a:lnTo>
                        <a:pt x="172" y="21"/>
                      </a:lnTo>
                      <a:lnTo>
                        <a:pt x="172" y="20"/>
                      </a:lnTo>
                      <a:lnTo>
                        <a:pt x="174" y="21"/>
                      </a:lnTo>
                      <a:lnTo>
                        <a:pt x="176" y="21"/>
                      </a:lnTo>
                      <a:lnTo>
                        <a:pt x="174" y="21"/>
                      </a:lnTo>
                      <a:lnTo>
                        <a:pt x="176" y="21"/>
                      </a:lnTo>
                      <a:lnTo>
                        <a:pt x="176" y="23"/>
                      </a:lnTo>
                      <a:lnTo>
                        <a:pt x="177" y="23"/>
                      </a:lnTo>
                      <a:lnTo>
                        <a:pt x="177" y="21"/>
                      </a:lnTo>
                      <a:lnTo>
                        <a:pt x="177" y="23"/>
                      </a:lnTo>
                      <a:lnTo>
                        <a:pt x="179" y="23"/>
                      </a:lnTo>
                      <a:lnTo>
                        <a:pt x="179" y="24"/>
                      </a:lnTo>
                      <a:lnTo>
                        <a:pt x="181" y="24"/>
                      </a:lnTo>
                      <a:lnTo>
                        <a:pt x="179" y="24"/>
                      </a:lnTo>
                      <a:lnTo>
                        <a:pt x="179" y="23"/>
                      </a:lnTo>
                      <a:lnTo>
                        <a:pt x="181" y="23"/>
                      </a:lnTo>
                      <a:lnTo>
                        <a:pt x="183" y="23"/>
                      </a:lnTo>
                      <a:lnTo>
                        <a:pt x="184" y="23"/>
                      </a:lnTo>
                      <a:lnTo>
                        <a:pt x="186" y="23"/>
                      </a:lnTo>
                      <a:lnTo>
                        <a:pt x="186" y="24"/>
                      </a:lnTo>
                      <a:lnTo>
                        <a:pt x="188" y="24"/>
                      </a:lnTo>
                      <a:lnTo>
                        <a:pt x="186" y="24"/>
                      </a:lnTo>
                      <a:lnTo>
                        <a:pt x="188" y="24"/>
                      </a:lnTo>
                      <a:lnTo>
                        <a:pt x="186" y="23"/>
                      </a:lnTo>
                      <a:lnTo>
                        <a:pt x="188" y="23"/>
                      </a:lnTo>
                      <a:lnTo>
                        <a:pt x="189" y="23"/>
                      </a:lnTo>
                      <a:lnTo>
                        <a:pt x="188" y="23"/>
                      </a:lnTo>
                      <a:lnTo>
                        <a:pt x="189" y="23"/>
                      </a:lnTo>
                      <a:lnTo>
                        <a:pt x="191" y="23"/>
                      </a:lnTo>
                      <a:lnTo>
                        <a:pt x="193" y="23"/>
                      </a:lnTo>
                      <a:lnTo>
                        <a:pt x="194" y="23"/>
                      </a:lnTo>
                      <a:lnTo>
                        <a:pt x="196" y="23"/>
                      </a:lnTo>
                      <a:lnTo>
                        <a:pt x="196" y="21"/>
                      </a:lnTo>
                      <a:lnTo>
                        <a:pt x="198" y="21"/>
                      </a:lnTo>
                      <a:lnTo>
                        <a:pt x="199" y="21"/>
                      </a:lnTo>
                      <a:lnTo>
                        <a:pt x="198" y="21"/>
                      </a:lnTo>
                      <a:lnTo>
                        <a:pt x="196" y="21"/>
                      </a:lnTo>
                      <a:lnTo>
                        <a:pt x="198" y="21"/>
                      </a:lnTo>
                      <a:lnTo>
                        <a:pt x="199" y="21"/>
                      </a:lnTo>
                      <a:lnTo>
                        <a:pt x="201" y="21"/>
                      </a:lnTo>
                      <a:lnTo>
                        <a:pt x="203" y="21"/>
                      </a:lnTo>
                      <a:lnTo>
                        <a:pt x="205" y="21"/>
                      </a:lnTo>
                      <a:lnTo>
                        <a:pt x="208" y="23"/>
                      </a:lnTo>
                      <a:lnTo>
                        <a:pt x="210" y="23"/>
                      </a:lnTo>
                      <a:lnTo>
                        <a:pt x="211" y="23"/>
                      </a:lnTo>
                      <a:lnTo>
                        <a:pt x="213" y="23"/>
                      </a:lnTo>
                      <a:lnTo>
                        <a:pt x="215" y="23"/>
                      </a:lnTo>
                      <a:lnTo>
                        <a:pt x="215" y="24"/>
                      </a:lnTo>
                      <a:lnTo>
                        <a:pt x="216" y="24"/>
                      </a:lnTo>
                      <a:lnTo>
                        <a:pt x="215" y="24"/>
                      </a:lnTo>
                      <a:lnTo>
                        <a:pt x="216" y="24"/>
                      </a:lnTo>
                      <a:lnTo>
                        <a:pt x="218" y="24"/>
                      </a:lnTo>
                      <a:lnTo>
                        <a:pt x="220" y="24"/>
                      </a:lnTo>
                      <a:lnTo>
                        <a:pt x="216" y="23"/>
                      </a:lnTo>
                      <a:lnTo>
                        <a:pt x="218" y="23"/>
                      </a:lnTo>
                      <a:lnTo>
                        <a:pt x="220" y="24"/>
                      </a:lnTo>
                      <a:lnTo>
                        <a:pt x="221" y="24"/>
                      </a:lnTo>
                      <a:lnTo>
                        <a:pt x="223" y="24"/>
                      </a:lnTo>
                      <a:lnTo>
                        <a:pt x="226" y="24"/>
                      </a:lnTo>
                      <a:lnTo>
                        <a:pt x="228" y="24"/>
                      </a:lnTo>
                      <a:lnTo>
                        <a:pt x="230" y="24"/>
                      </a:lnTo>
                      <a:lnTo>
                        <a:pt x="232" y="23"/>
                      </a:lnTo>
                      <a:lnTo>
                        <a:pt x="233" y="23"/>
                      </a:lnTo>
                      <a:lnTo>
                        <a:pt x="235" y="23"/>
                      </a:lnTo>
                      <a:lnTo>
                        <a:pt x="237" y="21"/>
                      </a:lnTo>
                      <a:lnTo>
                        <a:pt x="238" y="21"/>
                      </a:lnTo>
                      <a:lnTo>
                        <a:pt x="240" y="21"/>
                      </a:lnTo>
                      <a:lnTo>
                        <a:pt x="242" y="20"/>
                      </a:lnTo>
                      <a:lnTo>
                        <a:pt x="245" y="20"/>
                      </a:lnTo>
                      <a:lnTo>
                        <a:pt x="247" y="20"/>
                      </a:lnTo>
                      <a:lnTo>
                        <a:pt x="248" y="20"/>
                      </a:lnTo>
                      <a:lnTo>
                        <a:pt x="250" y="20"/>
                      </a:lnTo>
                      <a:lnTo>
                        <a:pt x="252" y="20"/>
                      </a:lnTo>
                      <a:lnTo>
                        <a:pt x="253" y="21"/>
                      </a:lnTo>
                      <a:lnTo>
                        <a:pt x="255" y="21"/>
                      </a:lnTo>
                      <a:lnTo>
                        <a:pt x="257" y="21"/>
                      </a:lnTo>
                      <a:lnTo>
                        <a:pt x="259" y="21"/>
                      </a:lnTo>
                      <a:lnTo>
                        <a:pt x="260" y="21"/>
                      </a:lnTo>
                      <a:lnTo>
                        <a:pt x="264" y="21"/>
                      </a:lnTo>
                      <a:lnTo>
                        <a:pt x="264" y="23"/>
                      </a:lnTo>
                      <a:lnTo>
                        <a:pt x="265" y="23"/>
                      </a:lnTo>
                      <a:lnTo>
                        <a:pt x="265" y="21"/>
                      </a:lnTo>
                      <a:lnTo>
                        <a:pt x="265" y="23"/>
                      </a:lnTo>
                      <a:lnTo>
                        <a:pt x="267" y="23"/>
                      </a:lnTo>
                      <a:lnTo>
                        <a:pt x="269" y="23"/>
                      </a:lnTo>
                      <a:lnTo>
                        <a:pt x="270" y="24"/>
                      </a:lnTo>
                      <a:lnTo>
                        <a:pt x="272" y="24"/>
                      </a:lnTo>
                      <a:lnTo>
                        <a:pt x="274" y="24"/>
                      </a:lnTo>
                      <a:lnTo>
                        <a:pt x="275" y="24"/>
                      </a:lnTo>
                      <a:lnTo>
                        <a:pt x="277" y="26"/>
                      </a:lnTo>
                      <a:lnTo>
                        <a:pt x="279" y="26"/>
                      </a:lnTo>
                      <a:lnTo>
                        <a:pt x="281" y="26"/>
                      </a:lnTo>
                      <a:lnTo>
                        <a:pt x="282" y="26"/>
                      </a:lnTo>
                      <a:lnTo>
                        <a:pt x="284" y="26"/>
                      </a:lnTo>
                      <a:lnTo>
                        <a:pt x="286" y="28"/>
                      </a:lnTo>
                      <a:lnTo>
                        <a:pt x="287" y="28"/>
                      </a:lnTo>
                      <a:lnTo>
                        <a:pt x="289" y="28"/>
                      </a:lnTo>
                      <a:lnTo>
                        <a:pt x="291" y="29"/>
                      </a:lnTo>
                      <a:lnTo>
                        <a:pt x="292" y="29"/>
                      </a:lnTo>
                      <a:lnTo>
                        <a:pt x="294" y="29"/>
                      </a:lnTo>
                      <a:lnTo>
                        <a:pt x="294" y="31"/>
                      </a:lnTo>
                      <a:lnTo>
                        <a:pt x="296" y="31"/>
                      </a:lnTo>
                      <a:lnTo>
                        <a:pt x="296" y="33"/>
                      </a:lnTo>
                      <a:lnTo>
                        <a:pt x="297" y="34"/>
                      </a:lnTo>
                      <a:lnTo>
                        <a:pt x="299" y="34"/>
                      </a:lnTo>
                      <a:lnTo>
                        <a:pt x="301" y="36"/>
                      </a:lnTo>
                      <a:lnTo>
                        <a:pt x="301" y="38"/>
                      </a:lnTo>
                      <a:lnTo>
                        <a:pt x="302" y="38"/>
                      </a:lnTo>
                      <a:lnTo>
                        <a:pt x="302" y="39"/>
                      </a:lnTo>
                      <a:lnTo>
                        <a:pt x="304" y="41"/>
                      </a:lnTo>
                      <a:lnTo>
                        <a:pt x="304" y="43"/>
                      </a:lnTo>
                      <a:lnTo>
                        <a:pt x="306" y="44"/>
                      </a:lnTo>
                      <a:lnTo>
                        <a:pt x="306" y="47"/>
                      </a:lnTo>
                      <a:lnTo>
                        <a:pt x="308" y="49"/>
                      </a:lnTo>
                      <a:lnTo>
                        <a:pt x="308" y="51"/>
                      </a:lnTo>
                      <a:lnTo>
                        <a:pt x="309" y="51"/>
                      </a:lnTo>
                      <a:lnTo>
                        <a:pt x="309" y="49"/>
                      </a:lnTo>
                      <a:lnTo>
                        <a:pt x="309" y="51"/>
                      </a:lnTo>
                      <a:lnTo>
                        <a:pt x="311" y="51"/>
                      </a:lnTo>
                      <a:lnTo>
                        <a:pt x="311" y="52"/>
                      </a:lnTo>
                      <a:lnTo>
                        <a:pt x="311" y="54"/>
                      </a:lnTo>
                      <a:lnTo>
                        <a:pt x="313" y="54"/>
                      </a:lnTo>
                      <a:lnTo>
                        <a:pt x="313" y="56"/>
                      </a:lnTo>
                      <a:lnTo>
                        <a:pt x="313" y="57"/>
                      </a:lnTo>
                      <a:lnTo>
                        <a:pt x="313" y="59"/>
                      </a:lnTo>
                      <a:lnTo>
                        <a:pt x="314" y="59"/>
                      </a:lnTo>
                      <a:lnTo>
                        <a:pt x="314" y="61"/>
                      </a:lnTo>
                      <a:lnTo>
                        <a:pt x="314" y="62"/>
                      </a:lnTo>
                      <a:lnTo>
                        <a:pt x="316" y="62"/>
                      </a:lnTo>
                      <a:lnTo>
                        <a:pt x="316" y="64"/>
                      </a:lnTo>
                      <a:lnTo>
                        <a:pt x="316" y="66"/>
                      </a:lnTo>
                      <a:lnTo>
                        <a:pt x="316" y="67"/>
                      </a:lnTo>
                      <a:lnTo>
                        <a:pt x="318" y="67"/>
                      </a:lnTo>
                      <a:lnTo>
                        <a:pt x="318" y="69"/>
                      </a:lnTo>
                      <a:lnTo>
                        <a:pt x="318" y="70"/>
                      </a:lnTo>
                      <a:lnTo>
                        <a:pt x="318" y="72"/>
                      </a:lnTo>
                      <a:lnTo>
                        <a:pt x="319" y="74"/>
                      </a:lnTo>
                      <a:lnTo>
                        <a:pt x="319" y="75"/>
                      </a:lnTo>
                      <a:lnTo>
                        <a:pt x="319" y="77"/>
                      </a:lnTo>
                      <a:lnTo>
                        <a:pt x="319" y="79"/>
                      </a:lnTo>
                      <a:lnTo>
                        <a:pt x="321" y="79"/>
                      </a:lnTo>
                      <a:lnTo>
                        <a:pt x="321" y="80"/>
                      </a:lnTo>
                      <a:lnTo>
                        <a:pt x="321" y="82"/>
                      </a:lnTo>
                      <a:lnTo>
                        <a:pt x="319" y="84"/>
                      </a:lnTo>
                      <a:lnTo>
                        <a:pt x="321" y="84"/>
                      </a:lnTo>
                      <a:lnTo>
                        <a:pt x="321" y="85"/>
                      </a:lnTo>
                      <a:lnTo>
                        <a:pt x="321" y="87"/>
                      </a:lnTo>
                      <a:lnTo>
                        <a:pt x="321" y="89"/>
                      </a:lnTo>
                      <a:lnTo>
                        <a:pt x="323" y="89"/>
                      </a:lnTo>
                      <a:lnTo>
                        <a:pt x="323" y="90"/>
                      </a:lnTo>
                      <a:lnTo>
                        <a:pt x="323" y="92"/>
                      </a:lnTo>
                      <a:lnTo>
                        <a:pt x="323" y="93"/>
                      </a:lnTo>
                      <a:lnTo>
                        <a:pt x="323" y="95"/>
                      </a:lnTo>
                      <a:lnTo>
                        <a:pt x="323" y="97"/>
                      </a:lnTo>
                      <a:lnTo>
                        <a:pt x="324" y="97"/>
                      </a:lnTo>
                      <a:lnTo>
                        <a:pt x="324" y="98"/>
                      </a:lnTo>
                      <a:lnTo>
                        <a:pt x="324" y="100"/>
                      </a:lnTo>
                      <a:lnTo>
                        <a:pt x="324" y="102"/>
                      </a:lnTo>
                      <a:lnTo>
                        <a:pt x="324" y="103"/>
                      </a:lnTo>
                      <a:lnTo>
                        <a:pt x="326" y="103"/>
                      </a:lnTo>
                      <a:lnTo>
                        <a:pt x="326" y="105"/>
                      </a:lnTo>
                      <a:lnTo>
                        <a:pt x="326" y="103"/>
                      </a:lnTo>
                      <a:lnTo>
                        <a:pt x="328" y="105"/>
                      </a:lnTo>
                      <a:lnTo>
                        <a:pt x="328" y="107"/>
                      </a:lnTo>
                      <a:lnTo>
                        <a:pt x="329" y="107"/>
                      </a:lnTo>
                      <a:lnTo>
                        <a:pt x="329" y="108"/>
                      </a:lnTo>
                      <a:lnTo>
                        <a:pt x="329" y="110"/>
                      </a:lnTo>
                      <a:lnTo>
                        <a:pt x="329" y="111"/>
                      </a:lnTo>
                      <a:lnTo>
                        <a:pt x="329" y="113"/>
                      </a:lnTo>
                      <a:lnTo>
                        <a:pt x="329" y="115"/>
                      </a:lnTo>
                      <a:lnTo>
                        <a:pt x="329" y="118"/>
                      </a:lnTo>
                      <a:lnTo>
                        <a:pt x="329" y="120"/>
                      </a:lnTo>
                      <a:lnTo>
                        <a:pt x="329" y="121"/>
                      </a:lnTo>
                      <a:lnTo>
                        <a:pt x="329" y="123"/>
                      </a:lnTo>
                      <a:lnTo>
                        <a:pt x="331" y="125"/>
                      </a:lnTo>
                      <a:lnTo>
                        <a:pt x="331" y="126"/>
                      </a:lnTo>
                      <a:lnTo>
                        <a:pt x="333" y="126"/>
                      </a:lnTo>
                      <a:lnTo>
                        <a:pt x="333" y="128"/>
                      </a:lnTo>
                      <a:lnTo>
                        <a:pt x="335" y="128"/>
                      </a:lnTo>
                      <a:lnTo>
                        <a:pt x="336" y="128"/>
                      </a:lnTo>
                      <a:lnTo>
                        <a:pt x="336" y="130"/>
                      </a:lnTo>
                      <a:lnTo>
                        <a:pt x="336" y="131"/>
                      </a:lnTo>
                      <a:lnTo>
                        <a:pt x="336" y="133"/>
                      </a:lnTo>
                      <a:lnTo>
                        <a:pt x="336" y="134"/>
                      </a:lnTo>
                      <a:lnTo>
                        <a:pt x="336" y="136"/>
                      </a:lnTo>
                      <a:lnTo>
                        <a:pt x="336" y="138"/>
                      </a:lnTo>
                      <a:lnTo>
                        <a:pt x="336" y="139"/>
                      </a:lnTo>
                      <a:lnTo>
                        <a:pt x="338" y="141"/>
                      </a:lnTo>
                      <a:lnTo>
                        <a:pt x="340" y="141"/>
                      </a:lnTo>
                      <a:lnTo>
                        <a:pt x="341" y="143"/>
                      </a:lnTo>
                      <a:lnTo>
                        <a:pt x="341" y="144"/>
                      </a:lnTo>
                      <a:lnTo>
                        <a:pt x="341" y="146"/>
                      </a:lnTo>
                      <a:lnTo>
                        <a:pt x="343" y="148"/>
                      </a:lnTo>
                      <a:lnTo>
                        <a:pt x="341" y="148"/>
                      </a:lnTo>
                      <a:lnTo>
                        <a:pt x="341" y="149"/>
                      </a:lnTo>
                      <a:lnTo>
                        <a:pt x="343" y="151"/>
                      </a:lnTo>
                      <a:lnTo>
                        <a:pt x="343" y="153"/>
                      </a:lnTo>
                      <a:lnTo>
                        <a:pt x="341" y="153"/>
                      </a:lnTo>
                      <a:lnTo>
                        <a:pt x="340" y="154"/>
                      </a:lnTo>
                      <a:lnTo>
                        <a:pt x="340" y="153"/>
                      </a:lnTo>
                      <a:lnTo>
                        <a:pt x="340" y="154"/>
                      </a:lnTo>
                      <a:lnTo>
                        <a:pt x="338" y="154"/>
                      </a:lnTo>
                      <a:lnTo>
                        <a:pt x="336" y="154"/>
                      </a:lnTo>
                      <a:lnTo>
                        <a:pt x="335" y="156"/>
                      </a:lnTo>
                      <a:lnTo>
                        <a:pt x="333" y="156"/>
                      </a:lnTo>
                      <a:lnTo>
                        <a:pt x="333" y="154"/>
                      </a:lnTo>
                      <a:lnTo>
                        <a:pt x="331" y="154"/>
                      </a:lnTo>
                      <a:lnTo>
                        <a:pt x="331" y="153"/>
                      </a:lnTo>
                      <a:lnTo>
                        <a:pt x="329" y="153"/>
                      </a:lnTo>
                      <a:lnTo>
                        <a:pt x="329" y="154"/>
                      </a:lnTo>
                      <a:lnTo>
                        <a:pt x="328" y="154"/>
                      </a:lnTo>
                      <a:lnTo>
                        <a:pt x="328" y="156"/>
                      </a:lnTo>
                      <a:lnTo>
                        <a:pt x="326" y="157"/>
                      </a:lnTo>
                      <a:lnTo>
                        <a:pt x="324" y="157"/>
                      </a:lnTo>
                      <a:lnTo>
                        <a:pt x="324" y="159"/>
                      </a:lnTo>
                      <a:lnTo>
                        <a:pt x="323" y="159"/>
                      </a:lnTo>
                      <a:lnTo>
                        <a:pt x="323" y="157"/>
                      </a:lnTo>
                      <a:lnTo>
                        <a:pt x="321" y="157"/>
                      </a:lnTo>
                      <a:lnTo>
                        <a:pt x="319" y="157"/>
                      </a:lnTo>
                      <a:lnTo>
                        <a:pt x="319" y="156"/>
                      </a:lnTo>
                      <a:lnTo>
                        <a:pt x="319" y="154"/>
                      </a:lnTo>
                      <a:lnTo>
                        <a:pt x="318" y="154"/>
                      </a:lnTo>
                      <a:lnTo>
                        <a:pt x="318" y="156"/>
                      </a:lnTo>
                      <a:lnTo>
                        <a:pt x="316" y="156"/>
                      </a:lnTo>
                      <a:lnTo>
                        <a:pt x="314" y="157"/>
                      </a:lnTo>
                      <a:lnTo>
                        <a:pt x="308" y="157"/>
                      </a:lnTo>
                      <a:lnTo>
                        <a:pt x="306" y="156"/>
                      </a:lnTo>
                      <a:lnTo>
                        <a:pt x="304" y="156"/>
                      </a:lnTo>
                      <a:lnTo>
                        <a:pt x="302" y="154"/>
                      </a:lnTo>
                      <a:lnTo>
                        <a:pt x="302" y="153"/>
                      </a:lnTo>
                      <a:lnTo>
                        <a:pt x="301" y="153"/>
                      </a:lnTo>
                      <a:lnTo>
                        <a:pt x="299" y="153"/>
                      </a:lnTo>
                      <a:lnTo>
                        <a:pt x="297" y="153"/>
                      </a:lnTo>
                      <a:lnTo>
                        <a:pt x="297" y="151"/>
                      </a:lnTo>
                      <a:lnTo>
                        <a:pt x="297" y="153"/>
                      </a:lnTo>
                      <a:lnTo>
                        <a:pt x="296" y="151"/>
                      </a:lnTo>
                      <a:lnTo>
                        <a:pt x="294" y="151"/>
                      </a:lnTo>
                      <a:lnTo>
                        <a:pt x="294" y="153"/>
                      </a:lnTo>
                      <a:lnTo>
                        <a:pt x="294" y="151"/>
                      </a:lnTo>
                      <a:lnTo>
                        <a:pt x="292" y="151"/>
                      </a:lnTo>
                      <a:lnTo>
                        <a:pt x="291" y="151"/>
                      </a:lnTo>
                      <a:lnTo>
                        <a:pt x="289" y="151"/>
                      </a:lnTo>
                      <a:lnTo>
                        <a:pt x="289" y="153"/>
                      </a:lnTo>
                      <a:lnTo>
                        <a:pt x="289" y="151"/>
                      </a:lnTo>
                      <a:lnTo>
                        <a:pt x="289" y="153"/>
                      </a:lnTo>
                      <a:lnTo>
                        <a:pt x="287" y="151"/>
                      </a:lnTo>
                      <a:lnTo>
                        <a:pt x="287" y="153"/>
                      </a:lnTo>
                      <a:lnTo>
                        <a:pt x="286" y="153"/>
                      </a:lnTo>
                      <a:lnTo>
                        <a:pt x="284" y="153"/>
                      </a:lnTo>
                      <a:lnTo>
                        <a:pt x="284" y="151"/>
                      </a:lnTo>
                      <a:lnTo>
                        <a:pt x="282" y="149"/>
                      </a:lnTo>
                      <a:lnTo>
                        <a:pt x="281" y="149"/>
                      </a:lnTo>
                      <a:lnTo>
                        <a:pt x="279" y="149"/>
                      </a:lnTo>
                      <a:lnTo>
                        <a:pt x="277" y="149"/>
                      </a:lnTo>
                      <a:lnTo>
                        <a:pt x="277" y="148"/>
                      </a:lnTo>
                      <a:lnTo>
                        <a:pt x="277" y="149"/>
                      </a:lnTo>
                      <a:lnTo>
                        <a:pt x="277" y="148"/>
                      </a:lnTo>
                      <a:lnTo>
                        <a:pt x="277" y="149"/>
                      </a:lnTo>
                      <a:lnTo>
                        <a:pt x="275" y="149"/>
                      </a:lnTo>
                      <a:lnTo>
                        <a:pt x="274" y="149"/>
                      </a:lnTo>
                      <a:lnTo>
                        <a:pt x="272" y="151"/>
                      </a:lnTo>
                      <a:lnTo>
                        <a:pt x="270" y="151"/>
                      </a:lnTo>
                      <a:lnTo>
                        <a:pt x="269" y="151"/>
                      </a:lnTo>
                      <a:lnTo>
                        <a:pt x="267" y="151"/>
                      </a:lnTo>
                      <a:lnTo>
                        <a:pt x="262" y="153"/>
                      </a:lnTo>
                      <a:lnTo>
                        <a:pt x="260" y="151"/>
                      </a:lnTo>
                      <a:lnTo>
                        <a:pt x="250" y="153"/>
                      </a:lnTo>
                      <a:lnTo>
                        <a:pt x="248" y="153"/>
                      </a:lnTo>
                      <a:lnTo>
                        <a:pt x="247" y="153"/>
                      </a:lnTo>
                      <a:lnTo>
                        <a:pt x="245" y="153"/>
                      </a:lnTo>
                      <a:lnTo>
                        <a:pt x="245" y="151"/>
                      </a:lnTo>
                      <a:lnTo>
                        <a:pt x="243" y="151"/>
                      </a:lnTo>
                      <a:lnTo>
                        <a:pt x="243" y="149"/>
                      </a:lnTo>
                      <a:lnTo>
                        <a:pt x="243" y="151"/>
                      </a:lnTo>
                      <a:lnTo>
                        <a:pt x="243" y="149"/>
                      </a:lnTo>
                      <a:lnTo>
                        <a:pt x="242" y="149"/>
                      </a:lnTo>
                      <a:lnTo>
                        <a:pt x="242" y="148"/>
                      </a:lnTo>
                      <a:lnTo>
                        <a:pt x="240" y="148"/>
                      </a:lnTo>
                      <a:lnTo>
                        <a:pt x="240" y="149"/>
                      </a:lnTo>
                      <a:lnTo>
                        <a:pt x="238" y="149"/>
                      </a:lnTo>
                      <a:lnTo>
                        <a:pt x="240" y="149"/>
                      </a:lnTo>
                      <a:lnTo>
                        <a:pt x="238" y="149"/>
                      </a:lnTo>
                      <a:lnTo>
                        <a:pt x="238" y="148"/>
                      </a:lnTo>
                      <a:lnTo>
                        <a:pt x="238" y="146"/>
                      </a:lnTo>
                      <a:lnTo>
                        <a:pt x="237" y="146"/>
                      </a:lnTo>
                      <a:lnTo>
                        <a:pt x="235" y="146"/>
                      </a:lnTo>
                      <a:lnTo>
                        <a:pt x="235" y="148"/>
                      </a:lnTo>
                      <a:lnTo>
                        <a:pt x="232" y="148"/>
                      </a:lnTo>
                      <a:lnTo>
                        <a:pt x="230" y="148"/>
                      </a:lnTo>
                      <a:lnTo>
                        <a:pt x="228" y="146"/>
                      </a:lnTo>
                      <a:lnTo>
                        <a:pt x="223" y="148"/>
                      </a:lnTo>
                      <a:lnTo>
                        <a:pt x="221" y="148"/>
                      </a:lnTo>
                      <a:lnTo>
                        <a:pt x="221" y="146"/>
                      </a:lnTo>
                      <a:lnTo>
                        <a:pt x="220" y="146"/>
                      </a:lnTo>
                      <a:lnTo>
                        <a:pt x="220" y="144"/>
                      </a:lnTo>
                      <a:lnTo>
                        <a:pt x="218" y="144"/>
                      </a:lnTo>
                      <a:lnTo>
                        <a:pt x="216" y="144"/>
                      </a:lnTo>
                      <a:lnTo>
                        <a:pt x="216" y="143"/>
                      </a:lnTo>
                      <a:lnTo>
                        <a:pt x="216" y="141"/>
                      </a:lnTo>
                      <a:lnTo>
                        <a:pt x="218" y="139"/>
                      </a:lnTo>
                      <a:lnTo>
                        <a:pt x="218" y="138"/>
                      </a:lnTo>
                      <a:lnTo>
                        <a:pt x="218" y="136"/>
                      </a:lnTo>
                      <a:lnTo>
                        <a:pt x="218" y="134"/>
                      </a:lnTo>
                      <a:lnTo>
                        <a:pt x="216" y="134"/>
                      </a:lnTo>
                      <a:lnTo>
                        <a:pt x="216" y="133"/>
                      </a:lnTo>
                      <a:lnTo>
                        <a:pt x="215" y="133"/>
                      </a:lnTo>
                      <a:lnTo>
                        <a:pt x="215" y="134"/>
                      </a:lnTo>
                      <a:lnTo>
                        <a:pt x="213" y="134"/>
                      </a:lnTo>
                      <a:lnTo>
                        <a:pt x="211" y="134"/>
                      </a:lnTo>
                      <a:lnTo>
                        <a:pt x="211" y="136"/>
                      </a:lnTo>
                      <a:lnTo>
                        <a:pt x="208" y="134"/>
                      </a:lnTo>
                      <a:lnTo>
                        <a:pt x="205" y="141"/>
                      </a:lnTo>
                      <a:lnTo>
                        <a:pt x="198" y="141"/>
                      </a:lnTo>
                      <a:lnTo>
                        <a:pt x="198" y="143"/>
                      </a:lnTo>
                      <a:lnTo>
                        <a:pt x="196" y="143"/>
                      </a:lnTo>
                      <a:lnTo>
                        <a:pt x="196" y="144"/>
                      </a:lnTo>
                      <a:lnTo>
                        <a:pt x="196" y="146"/>
                      </a:lnTo>
                      <a:lnTo>
                        <a:pt x="194" y="148"/>
                      </a:lnTo>
                      <a:lnTo>
                        <a:pt x="194" y="149"/>
                      </a:lnTo>
                      <a:lnTo>
                        <a:pt x="194" y="151"/>
                      </a:lnTo>
                      <a:lnTo>
                        <a:pt x="194" y="153"/>
                      </a:lnTo>
                      <a:lnTo>
                        <a:pt x="194" y="154"/>
                      </a:lnTo>
                      <a:lnTo>
                        <a:pt x="196" y="154"/>
                      </a:lnTo>
                      <a:lnTo>
                        <a:pt x="198" y="154"/>
                      </a:lnTo>
                      <a:lnTo>
                        <a:pt x="199" y="154"/>
                      </a:lnTo>
                      <a:lnTo>
                        <a:pt x="199" y="156"/>
                      </a:lnTo>
                      <a:lnTo>
                        <a:pt x="199" y="157"/>
                      </a:lnTo>
                      <a:lnTo>
                        <a:pt x="201" y="157"/>
                      </a:lnTo>
                      <a:lnTo>
                        <a:pt x="203" y="157"/>
                      </a:lnTo>
                      <a:lnTo>
                        <a:pt x="203" y="159"/>
                      </a:lnTo>
                      <a:lnTo>
                        <a:pt x="205" y="161"/>
                      </a:lnTo>
                      <a:lnTo>
                        <a:pt x="203" y="161"/>
                      </a:lnTo>
                      <a:lnTo>
                        <a:pt x="203" y="162"/>
                      </a:lnTo>
                      <a:lnTo>
                        <a:pt x="203" y="164"/>
                      </a:lnTo>
                      <a:lnTo>
                        <a:pt x="203" y="166"/>
                      </a:lnTo>
                      <a:lnTo>
                        <a:pt x="203" y="164"/>
                      </a:lnTo>
                      <a:lnTo>
                        <a:pt x="201" y="164"/>
                      </a:lnTo>
                      <a:lnTo>
                        <a:pt x="201" y="166"/>
                      </a:lnTo>
                      <a:lnTo>
                        <a:pt x="199" y="166"/>
                      </a:lnTo>
                      <a:lnTo>
                        <a:pt x="199" y="164"/>
                      </a:lnTo>
                      <a:lnTo>
                        <a:pt x="198" y="164"/>
                      </a:lnTo>
                      <a:lnTo>
                        <a:pt x="198" y="162"/>
                      </a:lnTo>
                      <a:lnTo>
                        <a:pt x="196" y="162"/>
                      </a:lnTo>
                      <a:lnTo>
                        <a:pt x="194" y="162"/>
                      </a:lnTo>
                      <a:lnTo>
                        <a:pt x="196" y="162"/>
                      </a:lnTo>
                      <a:lnTo>
                        <a:pt x="194" y="164"/>
                      </a:lnTo>
                      <a:lnTo>
                        <a:pt x="194" y="166"/>
                      </a:lnTo>
                      <a:lnTo>
                        <a:pt x="194" y="167"/>
                      </a:lnTo>
                      <a:lnTo>
                        <a:pt x="193" y="167"/>
                      </a:lnTo>
                      <a:lnTo>
                        <a:pt x="193" y="169"/>
                      </a:lnTo>
                      <a:lnTo>
                        <a:pt x="193" y="171"/>
                      </a:lnTo>
                      <a:lnTo>
                        <a:pt x="193" y="172"/>
                      </a:lnTo>
                      <a:lnTo>
                        <a:pt x="191" y="172"/>
                      </a:lnTo>
                      <a:lnTo>
                        <a:pt x="193" y="172"/>
                      </a:lnTo>
                      <a:lnTo>
                        <a:pt x="193" y="174"/>
                      </a:lnTo>
                      <a:lnTo>
                        <a:pt x="193" y="176"/>
                      </a:lnTo>
                      <a:lnTo>
                        <a:pt x="194" y="174"/>
                      </a:lnTo>
                      <a:lnTo>
                        <a:pt x="194" y="176"/>
                      </a:lnTo>
                      <a:lnTo>
                        <a:pt x="196" y="176"/>
                      </a:lnTo>
                      <a:lnTo>
                        <a:pt x="198" y="177"/>
                      </a:lnTo>
                      <a:lnTo>
                        <a:pt x="196" y="177"/>
                      </a:lnTo>
                      <a:lnTo>
                        <a:pt x="198" y="179"/>
                      </a:lnTo>
                      <a:lnTo>
                        <a:pt x="198" y="180"/>
                      </a:lnTo>
                      <a:lnTo>
                        <a:pt x="196" y="182"/>
                      </a:lnTo>
                      <a:lnTo>
                        <a:pt x="196" y="184"/>
                      </a:lnTo>
                      <a:lnTo>
                        <a:pt x="194" y="184"/>
                      </a:lnTo>
                      <a:lnTo>
                        <a:pt x="193" y="185"/>
                      </a:lnTo>
                      <a:lnTo>
                        <a:pt x="194" y="185"/>
                      </a:lnTo>
                      <a:lnTo>
                        <a:pt x="194" y="187"/>
                      </a:lnTo>
                      <a:lnTo>
                        <a:pt x="193" y="189"/>
                      </a:lnTo>
                      <a:lnTo>
                        <a:pt x="193" y="190"/>
                      </a:lnTo>
                      <a:lnTo>
                        <a:pt x="193" y="192"/>
                      </a:lnTo>
                      <a:lnTo>
                        <a:pt x="191" y="192"/>
                      </a:lnTo>
                      <a:lnTo>
                        <a:pt x="188" y="194"/>
                      </a:lnTo>
                      <a:lnTo>
                        <a:pt x="186" y="194"/>
                      </a:lnTo>
                      <a:lnTo>
                        <a:pt x="184" y="194"/>
                      </a:lnTo>
                      <a:lnTo>
                        <a:pt x="183" y="194"/>
                      </a:lnTo>
                      <a:lnTo>
                        <a:pt x="181" y="194"/>
                      </a:lnTo>
                      <a:lnTo>
                        <a:pt x="181" y="192"/>
                      </a:lnTo>
                      <a:lnTo>
                        <a:pt x="179" y="192"/>
                      </a:lnTo>
                      <a:lnTo>
                        <a:pt x="179" y="194"/>
                      </a:lnTo>
                      <a:lnTo>
                        <a:pt x="179" y="195"/>
                      </a:lnTo>
                      <a:lnTo>
                        <a:pt x="179" y="197"/>
                      </a:lnTo>
                      <a:lnTo>
                        <a:pt x="177" y="197"/>
                      </a:lnTo>
                      <a:lnTo>
                        <a:pt x="177" y="199"/>
                      </a:lnTo>
                      <a:lnTo>
                        <a:pt x="176" y="197"/>
                      </a:lnTo>
                      <a:lnTo>
                        <a:pt x="174" y="197"/>
                      </a:lnTo>
                      <a:lnTo>
                        <a:pt x="172" y="195"/>
                      </a:lnTo>
                      <a:lnTo>
                        <a:pt x="172" y="194"/>
                      </a:lnTo>
                      <a:lnTo>
                        <a:pt x="172" y="192"/>
                      </a:lnTo>
                      <a:lnTo>
                        <a:pt x="172" y="190"/>
                      </a:lnTo>
                      <a:lnTo>
                        <a:pt x="172" y="189"/>
                      </a:lnTo>
                      <a:lnTo>
                        <a:pt x="174" y="187"/>
                      </a:lnTo>
                      <a:lnTo>
                        <a:pt x="174" y="185"/>
                      </a:lnTo>
                      <a:lnTo>
                        <a:pt x="176" y="185"/>
                      </a:lnTo>
                      <a:lnTo>
                        <a:pt x="176" y="184"/>
                      </a:lnTo>
                      <a:lnTo>
                        <a:pt x="176" y="182"/>
                      </a:lnTo>
                      <a:lnTo>
                        <a:pt x="174" y="182"/>
                      </a:lnTo>
                      <a:lnTo>
                        <a:pt x="172" y="182"/>
                      </a:lnTo>
                      <a:lnTo>
                        <a:pt x="171" y="182"/>
                      </a:lnTo>
                      <a:lnTo>
                        <a:pt x="171" y="180"/>
                      </a:lnTo>
                      <a:lnTo>
                        <a:pt x="172" y="179"/>
                      </a:lnTo>
                      <a:lnTo>
                        <a:pt x="171" y="179"/>
                      </a:lnTo>
                      <a:lnTo>
                        <a:pt x="171" y="177"/>
                      </a:lnTo>
                      <a:lnTo>
                        <a:pt x="169" y="177"/>
                      </a:lnTo>
                      <a:lnTo>
                        <a:pt x="167" y="177"/>
                      </a:lnTo>
                      <a:lnTo>
                        <a:pt x="167" y="176"/>
                      </a:lnTo>
                      <a:lnTo>
                        <a:pt x="167" y="174"/>
                      </a:lnTo>
                      <a:lnTo>
                        <a:pt x="166" y="174"/>
                      </a:lnTo>
                      <a:lnTo>
                        <a:pt x="162" y="176"/>
                      </a:lnTo>
                      <a:lnTo>
                        <a:pt x="159" y="177"/>
                      </a:lnTo>
                      <a:lnTo>
                        <a:pt x="154" y="180"/>
                      </a:lnTo>
                      <a:lnTo>
                        <a:pt x="152" y="172"/>
                      </a:lnTo>
                      <a:lnTo>
                        <a:pt x="150" y="172"/>
                      </a:lnTo>
                      <a:lnTo>
                        <a:pt x="149" y="172"/>
                      </a:lnTo>
                      <a:lnTo>
                        <a:pt x="147" y="176"/>
                      </a:lnTo>
                      <a:lnTo>
                        <a:pt x="144" y="177"/>
                      </a:lnTo>
                      <a:lnTo>
                        <a:pt x="145" y="177"/>
                      </a:lnTo>
                      <a:lnTo>
                        <a:pt x="145" y="179"/>
                      </a:lnTo>
                      <a:lnTo>
                        <a:pt x="144" y="180"/>
                      </a:lnTo>
                      <a:lnTo>
                        <a:pt x="142" y="180"/>
                      </a:lnTo>
                      <a:lnTo>
                        <a:pt x="142" y="182"/>
                      </a:lnTo>
                      <a:lnTo>
                        <a:pt x="140" y="182"/>
                      </a:lnTo>
                      <a:lnTo>
                        <a:pt x="139" y="180"/>
                      </a:lnTo>
                      <a:lnTo>
                        <a:pt x="137" y="180"/>
                      </a:lnTo>
                      <a:lnTo>
                        <a:pt x="137" y="179"/>
                      </a:lnTo>
                      <a:lnTo>
                        <a:pt x="135" y="179"/>
                      </a:lnTo>
                      <a:lnTo>
                        <a:pt x="135" y="180"/>
                      </a:lnTo>
                      <a:lnTo>
                        <a:pt x="134" y="180"/>
                      </a:lnTo>
                      <a:lnTo>
                        <a:pt x="132" y="182"/>
                      </a:lnTo>
                      <a:lnTo>
                        <a:pt x="132" y="184"/>
                      </a:lnTo>
                      <a:lnTo>
                        <a:pt x="130" y="184"/>
                      </a:lnTo>
                      <a:lnTo>
                        <a:pt x="129" y="184"/>
                      </a:lnTo>
                      <a:lnTo>
                        <a:pt x="127" y="184"/>
                      </a:lnTo>
                      <a:lnTo>
                        <a:pt x="127" y="182"/>
                      </a:lnTo>
                      <a:lnTo>
                        <a:pt x="125" y="182"/>
                      </a:lnTo>
                      <a:lnTo>
                        <a:pt x="125" y="180"/>
                      </a:lnTo>
                      <a:lnTo>
                        <a:pt x="125" y="179"/>
                      </a:lnTo>
                      <a:lnTo>
                        <a:pt x="123" y="179"/>
                      </a:lnTo>
                      <a:lnTo>
                        <a:pt x="125" y="177"/>
                      </a:lnTo>
                      <a:lnTo>
                        <a:pt x="125" y="176"/>
                      </a:lnTo>
                      <a:lnTo>
                        <a:pt x="125" y="174"/>
                      </a:lnTo>
                      <a:lnTo>
                        <a:pt x="123" y="174"/>
                      </a:lnTo>
                      <a:lnTo>
                        <a:pt x="122" y="172"/>
                      </a:lnTo>
                      <a:lnTo>
                        <a:pt x="120" y="172"/>
                      </a:lnTo>
                      <a:lnTo>
                        <a:pt x="120" y="171"/>
                      </a:lnTo>
                      <a:lnTo>
                        <a:pt x="117" y="172"/>
                      </a:lnTo>
                      <a:lnTo>
                        <a:pt x="115" y="172"/>
                      </a:lnTo>
                      <a:lnTo>
                        <a:pt x="115" y="171"/>
                      </a:lnTo>
                      <a:lnTo>
                        <a:pt x="113" y="171"/>
                      </a:lnTo>
                      <a:lnTo>
                        <a:pt x="112" y="171"/>
                      </a:lnTo>
                      <a:lnTo>
                        <a:pt x="110" y="171"/>
                      </a:lnTo>
                      <a:lnTo>
                        <a:pt x="108" y="171"/>
                      </a:lnTo>
                      <a:lnTo>
                        <a:pt x="105" y="172"/>
                      </a:lnTo>
                      <a:lnTo>
                        <a:pt x="105" y="171"/>
                      </a:lnTo>
                      <a:lnTo>
                        <a:pt x="105" y="169"/>
                      </a:lnTo>
                      <a:lnTo>
                        <a:pt x="105" y="167"/>
                      </a:lnTo>
                      <a:lnTo>
                        <a:pt x="105" y="166"/>
                      </a:lnTo>
                      <a:lnTo>
                        <a:pt x="105" y="164"/>
                      </a:lnTo>
                      <a:lnTo>
                        <a:pt x="105" y="162"/>
                      </a:lnTo>
                      <a:lnTo>
                        <a:pt x="105" y="161"/>
                      </a:lnTo>
                      <a:lnTo>
                        <a:pt x="105" y="159"/>
                      </a:lnTo>
                      <a:lnTo>
                        <a:pt x="105" y="157"/>
                      </a:lnTo>
                      <a:lnTo>
                        <a:pt x="107" y="157"/>
                      </a:lnTo>
                      <a:lnTo>
                        <a:pt x="108" y="157"/>
                      </a:lnTo>
                      <a:lnTo>
                        <a:pt x="110" y="157"/>
                      </a:lnTo>
                      <a:lnTo>
                        <a:pt x="112" y="157"/>
                      </a:lnTo>
                      <a:lnTo>
                        <a:pt x="112" y="156"/>
                      </a:lnTo>
                      <a:lnTo>
                        <a:pt x="113" y="156"/>
                      </a:lnTo>
                      <a:lnTo>
                        <a:pt x="113" y="154"/>
                      </a:lnTo>
                      <a:lnTo>
                        <a:pt x="113" y="153"/>
                      </a:lnTo>
                      <a:lnTo>
                        <a:pt x="112" y="153"/>
                      </a:lnTo>
                      <a:lnTo>
                        <a:pt x="113" y="151"/>
                      </a:lnTo>
                      <a:lnTo>
                        <a:pt x="112" y="149"/>
                      </a:lnTo>
                      <a:lnTo>
                        <a:pt x="112" y="148"/>
                      </a:lnTo>
                      <a:lnTo>
                        <a:pt x="112" y="146"/>
                      </a:lnTo>
                      <a:lnTo>
                        <a:pt x="112" y="144"/>
                      </a:lnTo>
                      <a:lnTo>
                        <a:pt x="115" y="138"/>
                      </a:lnTo>
                      <a:lnTo>
                        <a:pt x="120" y="134"/>
                      </a:lnTo>
                      <a:lnTo>
                        <a:pt x="123" y="131"/>
                      </a:lnTo>
                      <a:lnTo>
                        <a:pt x="123" y="128"/>
                      </a:lnTo>
                      <a:lnTo>
                        <a:pt x="127" y="126"/>
                      </a:lnTo>
                      <a:lnTo>
                        <a:pt x="132" y="121"/>
                      </a:lnTo>
                      <a:lnTo>
                        <a:pt x="134" y="121"/>
                      </a:lnTo>
                      <a:lnTo>
                        <a:pt x="135" y="121"/>
                      </a:lnTo>
                      <a:lnTo>
                        <a:pt x="132" y="116"/>
                      </a:lnTo>
                      <a:lnTo>
                        <a:pt x="134" y="111"/>
                      </a:lnTo>
                      <a:lnTo>
                        <a:pt x="132" y="111"/>
                      </a:lnTo>
                      <a:lnTo>
                        <a:pt x="130" y="111"/>
                      </a:lnTo>
                      <a:lnTo>
                        <a:pt x="129" y="111"/>
                      </a:lnTo>
                      <a:lnTo>
                        <a:pt x="129" y="110"/>
                      </a:lnTo>
                      <a:lnTo>
                        <a:pt x="127" y="110"/>
                      </a:lnTo>
                      <a:lnTo>
                        <a:pt x="125" y="110"/>
                      </a:lnTo>
                      <a:lnTo>
                        <a:pt x="125" y="111"/>
                      </a:lnTo>
                      <a:lnTo>
                        <a:pt x="123" y="113"/>
                      </a:lnTo>
                      <a:lnTo>
                        <a:pt x="122" y="113"/>
                      </a:lnTo>
                      <a:lnTo>
                        <a:pt x="120" y="113"/>
                      </a:lnTo>
                      <a:lnTo>
                        <a:pt x="118" y="113"/>
                      </a:lnTo>
                      <a:lnTo>
                        <a:pt x="117" y="115"/>
                      </a:lnTo>
                      <a:lnTo>
                        <a:pt x="115" y="115"/>
                      </a:lnTo>
                      <a:lnTo>
                        <a:pt x="113" y="115"/>
                      </a:lnTo>
                      <a:lnTo>
                        <a:pt x="112" y="118"/>
                      </a:lnTo>
                      <a:lnTo>
                        <a:pt x="108" y="118"/>
                      </a:lnTo>
                      <a:lnTo>
                        <a:pt x="105" y="120"/>
                      </a:lnTo>
                      <a:lnTo>
                        <a:pt x="103" y="120"/>
                      </a:lnTo>
                      <a:lnTo>
                        <a:pt x="98" y="121"/>
                      </a:lnTo>
                      <a:lnTo>
                        <a:pt x="96" y="123"/>
                      </a:lnTo>
                      <a:lnTo>
                        <a:pt x="96" y="121"/>
                      </a:lnTo>
                      <a:lnTo>
                        <a:pt x="95" y="121"/>
                      </a:lnTo>
                      <a:lnTo>
                        <a:pt x="93" y="121"/>
                      </a:lnTo>
                      <a:lnTo>
                        <a:pt x="93" y="123"/>
                      </a:lnTo>
                      <a:lnTo>
                        <a:pt x="91" y="125"/>
                      </a:lnTo>
                      <a:lnTo>
                        <a:pt x="90" y="125"/>
                      </a:lnTo>
                      <a:lnTo>
                        <a:pt x="88" y="126"/>
                      </a:lnTo>
                      <a:lnTo>
                        <a:pt x="86" y="126"/>
                      </a:lnTo>
                      <a:lnTo>
                        <a:pt x="85" y="126"/>
                      </a:lnTo>
                      <a:lnTo>
                        <a:pt x="85" y="125"/>
                      </a:lnTo>
                      <a:lnTo>
                        <a:pt x="83" y="125"/>
                      </a:lnTo>
                      <a:lnTo>
                        <a:pt x="81" y="125"/>
                      </a:lnTo>
                      <a:lnTo>
                        <a:pt x="80" y="125"/>
                      </a:lnTo>
                      <a:lnTo>
                        <a:pt x="78" y="126"/>
                      </a:lnTo>
                      <a:lnTo>
                        <a:pt x="78" y="128"/>
                      </a:lnTo>
                      <a:lnTo>
                        <a:pt x="76" y="128"/>
                      </a:lnTo>
                      <a:lnTo>
                        <a:pt x="78" y="130"/>
                      </a:lnTo>
                      <a:lnTo>
                        <a:pt x="76" y="130"/>
                      </a:lnTo>
                      <a:lnTo>
                        <a:pt x="78" y="131"/>
                      </a:lnTo>
                      <a:lnTo>
                        <a:pt x="78" y="133"/>
                      </a:lnTo>
                      <a:lnTo>
                        <a:pt x="80" y="131"/>
                      </a:lnTo>
                      <a:lnTo>
                        <a:pt x="80" y="133"/>
                      </a:lnTo>
                      <a:lnTo>
                        <a:pt x="78" y="133"/>
                      </a:lnTo>
                      <a:lnTo>
                        <a:pt x="78" y="134"/>
                      </a:lnTo>
                      <a:lnTo>
                        <a:pt x="76" y="134"/>
                      </a:lnTo>
                      <a:lnTo>
                        <a:pt x="74" y="134"/>
                      </a:lnTo>
                      <a:lnTo>
                        <a:pt x="73" y="134"/>
                      </a:lnTo>
                      <a:lnTo>
                        <a:pt x="71" y="136"/>
                      </a:lnTo>
                      <a:lnTo>
                        <a:pt x="73" y="136"/>
                      </a:lnTo>
                      <a:lnTo>
                        <a:pt x="71" y="136"/>
                      </a:lnTo>
                      <a:lnTo>
                        <a:pt x="71" y="138"/>
                      </a:lnTo>
                      <a:lnTo>
                        <a:pt x="69" y="138"/>
                      </a:lnTo>
                      <a:lnTo>
                        <a:pt x="71" y="138"/>
                      </a:lnTo>
                      <a:lnTo>
                        <a:pt x="71" y="139"/>
                      </a:lnTo>
                      <a:lnTo>
                        <a:pt x="69" y="139"/>
                      </a:lnTo>
                      <a:lnTo>
                        <a:pt x="69" y="141"/>
                      </a:lnTo>
                      <a:lnTo>
                        <a:pt x="68" y="141"/>
                      </a:lnTo>
                      <a:lnTo>
                        <a:pt x="68" y="143"/>
                      </a:lnTo>
                      <a:lnTo>
                        <a:pt x="66" y="143"/>
                      </a:lnTo>
                      <a:lnTo>
                        <a:pt x="66" y="144"/>
                      </a:lnTo>
                      <a:lnTo>
                        <a:pt x="64" y="144"/>
                      </a:lnTo>
                      <a:lnTo>
                        <a:pt x="63" y="143"/>
                      </a:lnTo>
                      <a:lnTo>
                        <a:pt x="63" y="144"/>
                      </a:lnTo>
                      <a:lnTo>
                        <a:pt x="61" y="144"/>
                      </a:lnTo>
                      <a:lnTo>
                        <a:pt x="59" y="144"/>
                      </a:lnTo>
                      <a:lnTo>
                        <a:pt x="58" y="144"/>
                      </a:lnTo>
                      <a:lnTo>
                        <a:pt x="58" y="146"/>
                      </a:lnTo>
                      <a:lnTo>
                        <a:pt x="56" y="146"/>
                      </a:lnTo>
                      <a:lnTo>
                        <a:pt x="54" y="146"/>
                      </a:lnTo>
                      <a:lnTo>
                        <a:pt x="54" y="148"/>
                      </a:lnTo>
                      <a:lnTo>
                        <a:pt x="53" y="148"/>
                      </a:lnTo>
                      <a:lnTo>
                        <a:pt x="53" y="149"/>
                      </a:lnTo>
                      <a:lnTo>
                        <a:pt x="54" y="149"/>
                      </a:lnTo>
                      <a:lnTo>
                        <a:pt x="54" y="151"/>
                      </a:lnTo>
                      <a:lnTo>
                        <a:pt x="53" y="151"/>
                      </a:lnTo>
                      <a:lnTo>
                        <a:pt x="51" y="151"/>
                      </a:lnTo>
                      <a:lnTo>
                        <a:pt x="51" y="149"/>
                      </a:lnTo>
                      <a:lnTo>
                        <a:pt x="51" y="148"/>
                      </a:lnTo>
                      <a:lnTo>
                        <a:pt x="51" y="149"/>
                      </a:lnTo>
                      <a:lnTo>
                        <a:pt x="49" y="149"/>
                      </a:lnTo>
                      <a:lnTo>
                        <a:pt x="47" y="151"/>
                      </a:lnTo>
                      <a:lnTo>
                        <a:pt x="47" y="153"/>
                      </a:lnTo>
                      <a:lnTo>
                        <a:pt x="46" y="153"/>
                      </a:lnTo>
                      <a:lnTo>
                        <a:pt x="46" y="154"/>
                      </a:lnTo>
                      <a:lnTo>
                        <a:pt x="44" y="154"/>
                      </a:lnTo>
                      <a:lnTo>
                        <a:pt x="44" y="156"/>
                      </a:lnTo>
                      <a:lnTo>
                        <a:pt x="42" y="156"/>
                      </a:lnTo>
                      <a:lnTo>
                        <a:pt x="41" y="154"/>
                      </a:lnTo>
                      <a:lnTo>
                        <a:pt x="41" y="153"/>
                      </a:lnTo>
                      <a:lnTo>
                        <a:pt x="39" y="153"/>
                      </a:lnTo>
                      <a:lnTo>
                        <a:pt x="37" y="153"/>
                      </a:lnTo>
                      <a:lnTo>
                        <a:pt x="36" y="153"/>
                      </a:lnTo>
                      <a:lnTo>
                        <a:pt x="34" y="153"/>
                      </a:lnTo>
                      <a:lnTo>
                        <a:pt x="32" y="153"/>
                      </a:lnTo>
                      <a:lnTo>
                        <a:pt x="31" y="153"/>
                      </a:lnTo>
                      <a:lnTo>
                        <a:pt x="29" y="153"/>
                      </a:lnTo>
                      <a:lnTo>
                        <a:pt x="27" y="153"/>
                      </a:lnTo>
                      <a:lnTo>
                        <a:pt x="25" y="153"/>
                      </a:lnTo>
                      <a:lnTo>
                        <a:pt x="25" y="151"/>
                      </a:lnTo>
                      <a:lnTo>
                        <a:pt x="24" y="151"/>
                      </a:lnTo>
                      <a:lnTo>
                        <a:pt x="24" y="149"/>
                      </a:lnTo>
                      <a:lnTo>
                        <a:pt x="22" y="149"/>
                      </a:lnTo>
                      <a:lnTo>
                        <a:pt x="22" y="148"/>
                      </a:lnTo>
                      <a:lnTo>
                        <a:pt x="20" y="149"/>
                      </a:lnTo>
                      <a:lnTo>
                        <a:pt x="19" y="149"/>
                      </a:lnTo>
                      <a:lnTo>
                        <a:pt x="20" y="149"/>
                      </a:lnTo>
                      <a:lnTo>
                        <a:pt x="19" y="148"/>
                      </a:lnTo>
                      <a:lnTo>
                        <a:pt x="19" y="146"/>
                      </a:lnTo>
                      <a:lnTo>
                        <a:pt x="17" y="144"/>
                      </a:lnTo>
                      <a:lnTo>
                        <a:pt x="15" y="144"/>
                      </a:lnTo>
                      <a:lnTo>
                        <a:pt x="15" y="146"/>
                      </a:lnTo>
                      <a:lnTo>
                        <a:pt x="14" y="146"/>
                      </a:lnTo>
                      <a:lnTo>
                        <a:pt x="12" y="148"/>
                      </a:lnTo>
                      <a:lnTo>
                        <a:pt x="10" y="148"/>
                      </a:lnTo>
                      <a:lnTo>
                        <a:pt x="9" y="146"/>
                      </a:lnTo>
                      <a:lnTo>
                        <a:pt x="9" y="144"/>
                      </a:lnTo>
                      <a:lnTo>
                        <a:pt x="9" y="143"/>
                      </a:lnTo>
                      <a:lnTo>
                        <a:pt x="9" y="141"/>
                      </a:lnTo>
                      <a:lnTo>
                        <a:pt x="9" y="139"/>
                      </a:lnTo>
                      <a:lnTo>
                        <a:pt x="10" y="139"/>
                      </a:lnTo>
                      <a:lnTo>
                        <a:pt x="9" y="139"/>
                      </a:lnTo>
                      <a:lnTo>
                        <a:pt x="7" y="139"/>
                      </a:lnTo>
                      <a:lnTo>
                        <a:pt x="5" y="139"/>
                      </a:lnTo>
                      <a:lnTo>
                        <a:pt x="5" y="141"/>
                      </a:lnTo>
                      <a:lnTo>
                        <a:pt x="5" y="143"/>
                      </a:lnTo>
                      <a:lnTo>
                        <a:pt x="4" y="143"/>
                      </a:lnTo>
                      <a:lnTo>
                        <a:pt x="2" y="141"/>
                      </a:lnTo>
                      <a:lnTo>
                        <a:pt x="0" y="141"/>
                      </a:lnTo>
                      <a:lnTo>
                        <a:pt x="2" y="141"/>
                      </a:lnTo>
                      <a:lnTo>
                        <a:pt x="2" y="139"/>
                      </a:lnTo>
                      <a:lnTo>
                        <a:pt x="0" y="139"/>
                      </a:lnTo>
                      <a:lnTo>
                        <a:pt x="0" y="138"/>
                      </a:lnTo>
                      <a:lnTo>
                        <a:pt x="0" y="136"/>
                      </a:lnTo>
                      <a:lnTo>
                        <a:pt x="2" y="134"/>
                      </a:lnTo>
                      <a:lnTo>
                        <a:pt x="0" y="134"/>
                      </a:lnTo>
                      <a:lnTo>
                        <a:pt x="0" y="133"/>
                      </a:lnTo>
                      <a:lnTo>
                        <a:pt x="2" y="133"/>
                      </a:lnTo>
                      <a:lnTo>
                        <a:pt x="2" y="131"/>
                      </a:lnTo>
                      <a:lnTo>
                        <a:pt x="4" y="131"/>
                      </a:lnTo>
                      <a:lnTo>
                        <a:pt x="4" y="130"/>
                      </a:lnTo>
                      <a:lnTo>
                        <a:pt x="5" y="130"/>
                      </a:lnTo>
                      <a:lnTo>
                        <a:pt x="5" y="128"/>
                      </a:lnTo>
                      <a:lnTo>
                        <a:pt x="5" y="126"/>
                      </a:lnTo>
                      <a:lnTo>
                        <a:pt x="5" y="125"/>
                      </a:lnTo>
                      <a:lnTo>
                        <a:pt x="7" y="125"/>
                      </a:lnTo>
                      <a:lnTo>
                        <a:pt x="7" y="123"/>
                      </a:lnTo>
                      <a:lnTo>
                        <a:pt x="9" y="123"/>
                      </a:lnTo>
                      <a:lnTo>
                        <a:pt x="9" y="121"/>
                      </a:lnTo>
                      <a:lnTo>
                        <a:pt x="10" y="121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2" y="118"/>
                      </a:lnTo>
                      <a:lnTo>
                        <a:pt x="12" y="116"/>
                      </a:lnTo>
                      <a:lnTo>
                        <a:pt x="14" y="116"/>
                      </a:lnTo>
                      <a:lnTo>
                        <a:pt x="14" y="115"/>
                      </a:lnTo>
                      <a:lnTo>
                        <a:pt x="12" y="115"/>
                      </a:lnTo>
                      <a:lnTo>
                        <a:pt x="14" y="115"/>
                      </a:lnTo>
                      <a:lnTo>
                        <a:pt x="15" y="113"/>
                      </a:lnTo>
                      <a:lnTo>
                        <a:pt x="17" y="113"/>
                      </a:lnTo>
                      <a:lnTo>
                        <a:pt x="17" y="111"/>
                      </a:lnTo>
                      <a:lnTo>
                        <a:pt x="17" y="113"/>
                      </a:lnTo>
                      <a:lnTo>
                        <a:pt x="17" y="111"/>
                      </a:lnTo>
                      <a:lnTo>
                        <a:pt x="19" y="111"/>
                      </a:lnTo>
                      <a:lnTo>
                        <a:pt x="19" y="113"/>
                      </a:lnTo>
                      <a:lnTo>
                        <a:pt x="19" y="115"/>
                      </a:lnTo>
                      <a:lnTo>
                        <a:pt x="20" y="115"/>
                      </a:lnTo>
                      <a:lnTo>
                        <a:pt x="22" y="115"/>
                      </a:lnTo>
                      <a:lnTo>
                        <a:pt x="22" y="113"/>
                      </a:lnTo>
                      <a:lnTo>
                        <a:pt x="22" y="115"/>
                      </a:lnTo>
                      <a:lnTo>
                        <a:pt x="24" y="115"/>
                      </a:lnTo>
                      <a:lnTo>
                        <a:pt x="25" y="115"/>
                      </a:lnTo>
                      <a:lnTo>
                        <a:pt x="27" y="115"/>
                      </a:lnTo>
                      <a:lnTo>
                        <a:pt x="27" y="113"/>
                      </a:lnTo>
                      <a:lnTo>
                        <a:pt x="29" y="113"/>
                      </a:lnTo>
                      <a:lnTo>
                        <a:pt x="31" y="113"/>
                      </a:lnTo>
                      <a:lnTo>
                        <a:pt x="31" y="111"/>
                      </a:lnTo>
                      <a:lnTo>
                        <a:pt x="31" y="108"/>
                      </a:lnTo>
                      <a:lnTo>
                        <a:pt x="32" y="107"/>
                      </a:lnTo>
                      <a:lnTo>
                        <a:pt x="34" y="105"/>
                      </a:lnTo>
                      <a:lnTo>
                        <a:pt x="36" y="105"/>
                      </a:lnTo>
                      <a:lnTo>
                        <a:pt x="36" y="103"/>
                      </a:lnTo>
                      <a:lnTo>
                        <a:pt x="37" y="103"/>
                      </a:lnTo>
                      <a:lnTo>
                        <a:pt x="39" y="103"/>
                      </a:lnTo>
                      <a:lnTo>
                        <a:pt x="39" y="102"/>
                      </a:lnTo>
                      <a:lnTo>
                        <a:pt x="39" y="100"/>
                      </a:lnTo>
                      <a:lnTo>
                        <a:pt x="41" y="100"/>
                      </a:lnTo>
                      <a:lnTo>
                        <a:pt x="41" y="98"/>
                      </a:lnTo>
                      <a:lnTo>
                        <a:pt x="42" y="98"/>
                      </a:lnTo>
                      <a:lnTo>
                        <a:pt x="42" y="97"/>
                      </a:lnTo>
                      <a:lnTo>
                        <a:pt x="44" y="97"/>
                      </a:lnTo>
                      <a:lnTo>
                        <a:pt x="44" y="95"/>
                      </a:lnTo>
                      <a:lnTo>
                        <a:pt x="42" y="95"/>
                      </a:lnTo>
                      <a:lnTo>
                        <a:pt x="44" y="93"/>
                      </a:lnTo>
                      <a:lnTo>
                        <a:pt x="44" y="92"/>
                      </a:lnTo>
                      <a:lnTo>
                        <a:pt x="44" y="90"/>
                      </a:lnTo>
                      <a:lnTo>
                        <a:pt x="46" y="90"/>
                      </a:lnTo>
                      <a:lnTo>
                        <a:pt x="46" y="89"/>
                      </a:lnTo>
                      <a:lnTo>
                        <a:pt x="47" y="89"/>
                      </a:lnTo>
                      <a:lnTo>
                        <a:pt x="47" y="87"/>
                      </a:lnTo>
                      <a:lnTo>
                        <a:pt x="49" y="85"/>
                      </a:lnTo>
                      <a:lnTo>
                        <a:pt x="49" y="84"/>
                      </a:lnTo>
                      <a:lnTo>
                        <a:pt x="51" y="84"/>
                      </a:lnTo>
                      <a:lnTo>
                        <a:pt x="51" y="82"/>
                      </a:lnTo>
                      <a:lnTo>
                        <a:pt x="49" y="82"/>
                      </a:lnTo>
                      <a:lnTo>
                        <a:pt x="47" y="82"/>
                      </a:lnTo>
                      <a:lnTo>
                        <a:pt x="46" y="82"/>
                      </a:lnTo>
                      <a:lnTo>
                        <a:pt x="47" y="80"/>
                      </a:lnTo>
                      <a:lnTo>
                        <a:pt x="47" y="79"/>
                      </a:lnTo>
                      <a:lnTo>
                        <a:pt x="47" y="77"/>
                      </a:lnTo>
                      <a:lnTo>
                        <a:pt x="49" y="75"/>
                      </a:lnTo>
                      <a:lnTo>
                        <a:pt x="51" y="75"/>
                      </a:lnTo>
                      <a:lnTo>
                        <a:pt x="51" y="74"/>
                      </a:lnTo>
                      <a:lnTo>
                        <a:pt x="53" y="74"/>
                      </a:lnTo>
                      <a:lnTo>
                        <a:pt x="53" y="72"/>
                      </a:lnTo>
                      <a:lnTo>
                        <a:pt x="53" y="70"/>
                      </a:lnTo>
                      <a:lnTo>
                        <a:pt x="53" y="69"/>
                      </a:lnTo>
                      <a:lnTo>
                        <a:pt x="54" y="69"/>
                      </a:lnTo>
                      <a:lnTo>
                        <a:pt x="56" y="69"/>
                      </a:lnTo>
                      <a:lnTo>
                        <a:pt x="56" y="67"/>
                      </a:lnTo>
                      <a:lnTo>
                        <a:pt x="58" y="66"/>
                      </a:lnTo>
                      <a:lnTo>
                        <a:pt x="58" y="64"/>
                      </a:lnTo>
                      <a:lnTo>
                        <a:pt x="56" y="64"/>
                      </a:lnTo>
                      <a:lnTo>
                        <a:pt x="56" y="62"/>
                      </a:lnTo>
                      <a:lnTo>
                        <a:pt x="58" y="62"/>
                      </a:lnTo>
                      <a:lnTo>
                        <a:pt x="58" y="61"/>
                      </a:lnTo>
                      <a:lnTo>
                        <a:pt x="58" y="59"/>
                      </a:lnTo>
                      <a:lnTo>
                        <a:pt x="58" y="57"/>
                      </a:lnTo>
                      <a:lnTo>
                        <a:pt x="59" y="59"/>
                      </a:lnTo>
                      <a:lnTo>
                        <a:pt x="61" y="59"/>
                      </a:lnTo>
                      <a:lnTo>
                        <a:pt x="61" y="57"/>
                      </a:lnTo>
                      <a:lnTo>
                        <a:pt x="63" y="57"/>
                      </a:lnTo>
                      <a:lnTo>
                        <a:pt x="64" y="56"/>
                      </a:lnTo>
                      <a:lnTo>
                        <a:pt x="64" y="54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6" y="51"/>
                      </a:lnTo>
                      <a:lnTo>
                        <a:pt x="68" y="51"/>
                      </a:lnTo>
                      <a:lnTo>
                        <a:pt x="68" y="49"/>
                      </a:lnTo>
                      <a:lnTo>
                        <a:pt x="69" y="47"/>
                      </a:lnTo>
                      <a:lnTo>
                        <a:pt x="69" y="46"/>
                      </a:lnTo>
                      <a:lnTo>
                        <a:pt x="69" y="44"/>
                      </a:lnTo>
                      <a:lnTo>
                        <a:pt x="71" y="44"/>
                      </a:lnTo>
                      <a:lnTo>
                        <a:pt x="71" y="43"/>
                      </a:lnTo>
                      <a:lnTo>
                        <a:pt x="73" y="43"/>
                      </a:lnTo>
                      <a:lnTo>
                        <a:pt x="73" y="41"/>
                      </a:lnTo>
                      <a:lnTo>
                        <a:pt x="74" y="36"/>
                      </a:lnTo>
                      <a:lnTo>
                        <a:pt x="83" y="20"/>
                      </a:lnTo>
                      <a:lnTo>
                        <a:pt x="85" y="15"/>
                      </a:lnTo>
                      <a:lnTo>
                        <a:pt x="90" y="8"/>
                      </a:lnTo>
                      <a:lnTo>
                        <a:pt x="105" y="5"/>
                      </a:lnTo>
                      <a:lnTo>
                        <a:pt x="108" y="5"/>
                      </a:lnTo>
                      <a:lnTo>
                        <a:pt x="117" y="1"/>
                      </a:lnTo>
                      <a:close/>
                    </a:path>
                  </a:pathLst>
                </a:custGeom>
                <a:solidFill>
                  <a:srgbClr val="C0504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5" name="Freeform 25"/>
                <p:cNvSpPr>
                  <a:spLocks noChangeAspect="1"/>
                </p:cNvSpPr>
                <p:nvPr/>
              </p:nvSpPr>
              <p:spPr bwMode="auto">
                <a:xfrm>
                  <a:off x="3104450" y="2405481"/>
                  <a:ext cx="1686209" cy="1652526"/>
                </a:xfrm>
                <a:custGeom>
                  <a:avLst/>
                  <a:gdLst>
                    <a:gd name="T0" fmla="*/ 2147483647 w 1081"/>
                    <a:gd name="T1" fmla="*/ 2147483647 h 986"/>
                    <a:gd name="T2" fmla="*/ 2147483647 w 1081"/>
                    <a:gd name="T3" fmla="*/ 2147483647 h 986"/>
                    <a:gd name="T4" fmla="*/ 2147483647 w 1081"/>
                    <a:gd name="T5" fmla="*/ 2147483647 h 986"/>
                    <a:gd name="T6" fmla="*/ 2147483647 w 1081"/>
                    <a:gd name="T7" fmla="*/ 2147483647 h 986"/>
                    <a:gd name="T8" fmla="*/ 2147483647 w 1081"/>
                    <a:gd name="T9" fmla="*/ 2147483647 h 986"/>
                    <a:gd name="T10" fmla="*/ 2147483647 w 1081"/>
                    <a:gd name="T11" fmla="*/ 2147483647 h 986"/>
                    <a:gd name="T12" fmla="*/ 2147483647 w 1081"/>
                    <a:gd name="T13" fmla="*/ 2147483647 h 986"/>
                    <a:gd name="T14" fmla="*/ 2147483647 w 1081"/>
                    <a:gd name="T15" fmla="*/ 2147483647 h 986"/>
                    <a:gd name="T16" fmla="*/ 2147483647 w 1081"/>
                    <a:gd name="T17" fmla="*/ 2147483647 h 986"/>
                    <a:gd name="T18" fmla="*/ 2147483647 w 1081"/>
                    <a:gd name="T19" fmla="*/ 2147483647 h 986"/>
                    <a:gd name="T20" fmla="*/ 2147483647 w 1081"/>
                    <a:gd name="T21" fmla="*/ 2147483647 h 986"/>
                    <a:gd name="T22" fmla="*/ 2147483647 w 1081"/>
                    <a:gd name="T23" fmla="*/ 2147483647 h 986"/>
                    <a:gd name="T24" fmla="*/ 2147483647 w 1081"/>
                    <a:gd name="T25" fmla="*/ 2147483647 h 986"/>
                    <a:gd name="T26" fmla="*/ 2147483647 w 1081"/>
                    <a:gd name="T27" fmla="*/ 2147483647 h 986"/>
                    <a:gd name="T28" fmla="*/ 2147483647 w 1081"/>
                    <a:gd name="T29" fmla="*/ 2147483647 h 986"/>
                    <a:gd name="T30" fmla="*/ 2147483647 w 1081"/>
                    <a:gd name="T31" fmla="*/ 2147483647 h 986"/>
                    <a:gd name="T32" fmla="*/ 2147483647 w 1081"/>
                    <a:gd name="T33" fmla="*/ 2147483647 h 986"/>
                    <a:gd name="T34" fmla="*/ 2147483647 w 1081"/>
                    <a:gd name="T35" fmla="*/ 2147483647 h 986"/>
                    <a:gd name="T36" fmla="*/ 2147483647 w 1081"/>
                    <a:gd name="T37" fmla="*/ 2147483647 h 986"/>
                    <a:gd name="T38" fmla="*/ 2147483647 w 1081"/>
                    <a:gd name="T39" fmla="*/ 2147483647 h 986"/>
                    <a:gd name="T40" fmla="*/ 2147483647 w 1081"/>
                    <a:gd name="T41" fmla="*/ 2147483647 h 986"/>
                    <a:gd name="T42" fmla="*/ 2147483647 w 1081"/>
                    <a:gd name="T43" fmla="*/ 2147483647 h 986"/>
                    <a:gd name="T44" fmla="*/ 2147483647 w 1081"/>
                    <a:gd name="T45" fmla="*/ 2147483647 h 986"/>
                    <a:gd name="T46" fmla="*/ 2147483647 w 1081"/>
                    <a:gd name="T47" fmla="*/ 2147483647 h 986"/>
                    <a:gd name="T48" fmla="*/ 2147483647 w 1081"/>
                    <a:gd name="T49" fmla="*/ 2147483647 h 986"/>
                    <a:gd name="T50" fmla="*/ 2147483647 w 1081"/>
                    <a:gd name="T51" fmla="*/ 2147483647 h 986"/>
                    <a:gd name="T52" fmla="*/ 2147483647 w 1081"/>
                    <a:gd name="T53" fmla="*/ 2147483647 h 986"/>
                    <a:gd name="T54" fmla="*/ 2147483647 w 1081"/>
                    <a:gd name="T55" fmla="*/ 2147483647 h 986"/>
                    <a:gd name="T56" fmla="*/ 2147483647 w 1081"/>
                    <a:gd name="T57" fmla="*/ 2147483647 h 986"/>
                    <a:gd name="T58" fmla="*/ 2147483647 w 1081"/>
                    <a:gd name="T59" fmla="*/ 2147483647 h 986"/>
                    <a:gd name="T60" fmla="*/ 2147483647 w 1081"/>
                    <a:gd name="T61" fmla="*/ 2147483647 h 986"/>
                    <a:gd name="T62" fmla="*/ 2147483647 w 1081"/>
                    <a:gd name="T63" fmla="*/ 2147483647 h 986"/>
                    <a:gd name="T64" fmla="*/ 2147483647 w 1081"/>
                    <a:gd name="T65" fmla="*/ 2147483647 h 986"/>
                    <a:gd name="T66" fmla="*/ 2147483647 w 1081"/>
                    <a:gd name="T67" fmla="*/ 2147483647 h 986"/>
                    <a:gd name="T68" fmla="*/ 2147483647 w 1081"/>
                    <a:gd name="T69" fmla="*/ 2147483647 h 986"/>
                    <a:gd name="T70" fmla="*/ 2147483647 w 1081"/>
                    <a:gd name="T71" fmla="*/ 2147483647 h 986"/>
                    <a:gd name="T72" fmla="*/ 2147483647 w 1081"/>
                    <a:gd name="T73" fmla="*/ 2147483647 h 986"/>
                    <a:gd name="T74" fmla="*/ 2147483647 w 1081"/>
                    <a:gd name="T75" fmla="*/ 2147483647 h 986"/>
                    <a:gd name="T76" fmla="*/ 2147483647 w 1081"/>
                    <a:gd name="T77" fmla="*/ 2147483647 h 986"/>
                    <a:gd name="T78" fmla="*/ 2147483647 w 1081"/>
                    <a:gd name="T79" fmla="*/ 2147483647 h 986"/>
                    <a:gd name="T80" fmla="*/ 2147483647 w 1081"/>
                    <a:gd name="T81" fmla="*/ 2147483647 h 986"/>
                    <a:gd name="T82" fmla="*/ 2147483647 w 1081"/>
                    <a:gd name="T83" fmla="*/ 2147483647 h 986"/>
                    <a:gd name="T84" fmla="*/ 2147483647 w 1081"/>
                    <a:gd name="T85" fmla="*/ 2147483647 h 986"/>
                    <a:gd name="T86" fmla="*/ 2147483647 w 1081"/>
                    <a:gd name="T87" fmla="*/ 2147483647 h 986"/>
                    <a:gd name="T88" fmla="*/ 2147483647 w 1081"/>
                    <a:gd name="T89" fmla="*/ 2147483647 h 986"/>
                    <a:gd name="T90" fmla="*/ 2147483647 w 1081"/>
                    <a:gd name="T91" fmla="*/ 2147483647 h 986"/>
                    <a:gd name="T92" fmla="*/ 2147483647 w 1081"/>
                    <a:gd name="T93" fmla="*/ 2147483647 h 986"/>
                    <a:gd name="T94" fmla="*/ 2147483647 w 1081"/>
                    <a:gd name="T95" fmla="*/ 2147483647 h 986"/>
                    <a:gd name="T96" fmla="*/ 2147483647 w 1081"/>
                    <a:gd name="T97" fmla="*/ 2147483647 h 986"/>
                    <a:gd name="T98" fmla="*/ 2147483647 w 1081"/>
                    <a:gd name="T99" fmla="*/ 2147483647 h 986"/>
                    <a:gd name="T100" fmla="*/ 2147483647 w 1081"/>
                    <a:gd name="T101" fmla="*/ 2147483647 h 986"/>
                    <a:gd name="T102" fmla="*/ 2147483647 w 1081"/>
                    <a:gd name="T103" fmla="*/ 2147483647 h 986"/>
                    <a:gd name="T104" fmla="*/ 2147483647 w 1081"/>
                    <a:gd name="T105" fmla="*/ 2147483647 h 986"/>
                    <a:gd name="T106" fmla="*/ 2147483647 w 1081"/>
                    <a:gd name="T107" fmla="*/ 2147483647 h 986"/>
                    <a:gd name="T108" fmla="*/ 2147483647 w 1081"/>
                    <a:gd name="T109" fmla="*/ 2147483647 h 986"/>
                    <a:gd name="T110" fmla="*/ 2147483647 w 1081"/>
                    <a:gd name="T111" fmla="*/ 2147483647 h 986"/>
                    <a:gd name="T112" fmla="*/ 2147483647 w 1081"/>
                    <a:gd name="T113" fmla="*/ 2147483647 h 986"/>
                    <a:gd name="T114" fmla="*/ 2147483647 w 1081"/>
                    <a:gd name="T115" fmla="*/ 2147483647 h 986"/>
                    <a:gd name="T116" fmla="*/ 2147483647 w 1081"/>
                    <a:gd name="T117" fmla="*/ 2147483647 h 986"/>
                    <a:gd name="T118" fmla="*/ 2147483647 w 1081"/>
                    <a:gd name="T119" fmla="*/ 2147483647 h 986"/>
                    <a:gd name="T120" fmla="*/ 2147483647 w 1081"/>
                    <a:gd name="T121" fmla="*/ 2147483647 h 986"/>
                    <a:gd name="T122" fmla="*/ 2147483647 w 1081"/>
                    <a:gd name="T123" fmla="*/ 2147483647 h 986"/>
                    <a:gd name="T124" fmla="*/ 2147483647 w 1081"/>
                    <a:gd name="T125" fmla="*/ 2147483647 h 98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081"/>
                    <a:gd name="T190" fmla="*/ 0 h 986"/>
                    <a:gd name="T191" fmla="*/ 1081 w 1081"/>
                    <a:gd name="T192" fmla="*/ 986 h 98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081" h="986">
                      <a:moveTo>
                        <a:pt x="302" y="135"/>
                      </a:moveTo>
                      <a:lnTo>
                        <a:pt x="304" y="133"/>
                      </a:lnTo>
                      <a:lnTo>
                        <a:pt x="305" y="132"/>
                      </a:lnTo>
                      <a:lnTo>
                        <a:pt x="307" y="132"/>
                      </a:lnTo>
                      <a:lnTo>
                        <a:pt x="309" y="130"/>
                      </a:lnTo>
                      <a:lnTo>
                        <a:pt x="309" y="128"/>
                      </a:lnTo>
                      <a:lnTo>
                        <a:pt x="310" y="128"/>
                      </a:lnTo>
                      <a:lnTo>
                        <a:pt x="312" y="127"/>
                      </a:lnTo>
                      <a:lnTo>
                        <a:pt x="312" y="125"/>
                      </a:lnTo>
                      <a:lnTo>
                        <a:pt x="310" y="125"/>
                      </a:lnTo>
                      <a:lnTo>
                        <a:pt x="309" y="125"/>
                      </a:lnTo>
                      <a:lnTo>
                        <a:pt x="307" y="125"/>
                      </a:lnTo>
                      <a:lnTo>
                        <a:pt x="305" y="127"/>
                      </a:lnTo>
                      <a:lnTo>
                        <a:pt x="304" y="127"/>
                      </a:lnTo>
                      <a:lnTo>
                        <a:pt x="302" y="127"/>
                      </a:lnTo>
                      <a:lnTo>
                        <a:pt x="302" y="125"/>
                      </a:lnTo>
                      <a:lnTo>
                        <a:pt x="302" y="124"/>
                      </a:lnTo>
                      <a:lnTo>
                        <a:pt x="304" y="124"/>
                      </a:lnTo>
                      <a:lnTo>
                        <a:pt x="304" y="120"/>
                      </a:lnTo>
                      <a:lnTo>
                        <a:pt x="305" y="119"/>
                      </a:lnTo>
                      <a:lnTo>
                        <a:pt x="305" y="117"/>
                      </a:lnTo>
                      <a:lnTo>
                        <a:pt x="307" y="117"/>
                      </a:lnTo>
                      <a:lnTo>
                        <a:pt x="307" y="115"/>
                      </a:lnTo>
                      <a:lnTo>
                        <a:pt x="305" y="114"/>
                      </a:lnTo>
                      <a:lnTo>
                        <a:pt x="305" y="112"/>
                      </a:lnTo>
                      <a:lnTo>
                        <a:pt x="305" y="110"/>
                      </a:lnTo>
                      <a:lnTo>
                        <a:pt x="305" y="109"/>
                      </a:lnTo>
                      <a:lnTo>
                        <a:pt x="304" y="109"/>
                      </a:lnTo>
                      <a:lnTo>
                        <a:pt x="304" y="107"/>
                      </a:lnTo>
                      <a:lnTo>
                        <a:pt x="304" y="105"/>
                      </a:lnTo>
                      <a:lnTo>
                        <a:pt x="305" y="104"/>
                      </a:lnTo>
                      <a:lnTo>
                        <a:pt x="305" y="102"/>
                      </a:lnTo>
                      <a:lnTo>
                        <a:pt x="307" y="101"/>
                      </a:lnTo>
                      <a:lnTo>
                        <a:pt x="309" y="101"/>
                      </a:lnTo>
                      <a:lnTo>
                        <a:pt x="309" y="99"/>
                      </a:lnTo>
                      <a:lnTo>
                        <a:pt x="310" y="97"/>
                      </a:lnTo>
                      <a:lnTo>
                        <a:pt x="310" y="96"/>
                      </a:lnTo>
                      <a:lnTo>
                        <a:pt x="310" y="94"/>
                      </a:lnTo>
                      <a:lnTo>
                        <a:pt x="310" y="92"/>
                      </a:lnTo>
                      <a:lnTo>
                        <a:pt x="312" y="92"/>
                      </a:lnTo>
                      <a:lnTo>
                        <a:pt x="312" y="91"/>
                      </a:lnTo>
                      <a:lnTo>
                        <a:pt x="314" y="91"/>
                      </a:lnTo>
                      <a:lnTo>
                        <a:pt x="314" y="89"/>
                      </a:lnTo>
                      <a:lnTo>
                        <a:pt x="312" y="87"/>
                      </a:lnTo>
                      <a:lnTo>
                        <a:pt x="312" y="86"/>
                      </a:lnTo>
                      <a:lnTo>
                        <a:pt x="314" y="86"/>
                      </a:lnTo>
                      <a:lnTo>
                        <a:pt x="314" y="84"/>
                      </a:lnTo>
                      <a:lnTo>
                        <a:pt x="314" y="82"/>
                      </a:lnTo>
                      <a:lnTo>
                        <a:pt x="314" y="81"/>
                      </a:lnTo>
                      <a:lnTo>
                        <a:pt x="314" y="79"/>
                      </a:lnTo>
                      <a:lnTo>
                        <a:pt x="314" y="78"/>
                      </a:lnTo>
                      <a:lnTo>
                        <a:pt x="314" y="76"/>
                      </a:lnTo>
                      <a:lnTo>
                        <a:pt x="314" y="74"/>
                      </a:lnTo>
                      <a:lnTo>
                        <a:pt x="315" y="74"/>
                      </a:lnTo>
                      <a:lnTo>
                        <a:pt x="315" y="73"/>
                      </a:lnTo>
                      <a:lnTo>
                        <a:pt x="317" y="73"/>
                      </a:lnTo>
                      <a:lnTo>
                        <a:pt x="315" y="71"/>
                      </a:lnTo>
                      <a:lnTo>
                        <a:pt x="317" y="69"/>
                      </a:lnTo>
                      <a:lnTo>
                        <a:pt x="315" y="68"/>
                      </a:lnTo>
                      <a:lnTo>
                        <a:pt x="314" y="63"/>
                      </a:lnTo>
                      <a:lnTo>
                        <a:pt x="312" y="61"/>
                      </a:lnTo>
                      <a:lnTo>
                        <a:pt x="312" y="60"/>
                      </a:lnTo>
                      <a:lnTo>
                        <a:pt x="312" y="58"/>
                      </a:lnTo>
                      <a:lnTo>
                        <a:pt x="310" y="56"/>
                      </a:lnTo>
                      <a:lnTo>
                        <a:pt x="309" y="53"/>
                      </a:lnTo>
                      <a:lnTo>
                        <a:pt x="309" y="51"/>
                      </a:lnTo>
                      <a:lnTo>
                        <a:pt x="309" y="50"/>
                      </a:lnTo>
                      <a:lnTo>
                        <a:pt x="309" y="48"/>
                      </a:lnTo>
                      <a:lnTo>
                        <a:pt x="307" y="46"/>
                      </a:lnTo>
                      <a:lnTo>
                        <a:pt x="307" y="45"/>
                      </a:lnTo>
                      <a:lnTo>
                        <a:pt x="309" y="45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14" y="41"/>
                      </a:lnTo>
                      <a:lnTo>
                        <a:pt x="315" y="40"/>
                      </a:lnTo>
                      <a:lnTo>
                        <a:pt x="315" y="38"/>
                      </a:lnTo>
                      <a:lnTo>
                        <a:pt x="317" y="38"/>
                      </a:lnTo>
                      <a:lnTo>
                        <a:pt x="317" y="37"/>
                      </a:lnTo>
                      <a:lnTo>
                        <a:pt x="317" y="35"/>
                      </a:lnTo>
                      <a:lnTo>
                        <a:pt x="317" y="33"/>
                      </a:lnTo>
                      <a:lnTo>
                        <a:pt x="321" y="32"/>
                      </a:lnTo>
                      <a:lnTo>
                        <a:pt x="321" y="28"/>
                      </a:lnTo>
                      <a:lnTo>
                        <a:pt x="324" y="27"/>
                      </a:lnTo>
                      <a:lnTo>
                        <a:pt x="324" y="25"/>
                      </a:lnTo>
                      <a:lnTo>
                        <a:pt x="324" y="23"/>
                      </a:lnTo>
                      <a:lnTo>
                        <a:pt x="322" y="20"/>
                      </a:lnTo>
                      <a:lnTo>
                        <a:pt x="322" y="18"/>
                      </a:lnTo>
                      <a:lnTo>
                        <a:pt x="322" y="17"/>
                      </a:lnTo>
                      <a:lnTo>
                        <a:pt x="324" y="14"/>
                      </a:lnTo>
                      <a:lnTo>
                        <a:pt x="324" y="12"/>
                      </a:lnTo>
                      <a:lnTo>
                        <a:pt x="324" y="10"/>
                      </a:lnTo>
                      <a:lnTo>
                        <a:pt x="324" y="9"/>
                      </a:lnTo>
                      <a:lnTo>
                        <a:pt x="327" y="5"/>
                      </a:lnTo>
                      <a:lnTo>
                        <a:pt x="329" y="4"/>
                      </a:lnTo>
                      <a:lnTo>
                        <a:pt x="329" y="2"/>
                      </a:lnTo>
                      <a:lnTo>
                        <a:pt x="331" y="2"/>
                      </a:lnTo>
                      <a:lnTo>
                        <a:pt x="331" y="0"/>
                      </a:lnTo>
                      <a:lnTo>
                        <a:pt x="332" y="0"/>
                      </a:lnTo>
                      <a:lnTo>
                        <a:pt x="336" y="4"/>
                      </a:lnTo>
                      <a:lnTo>
                        <a:pt x="337" y="4"/>
                      </a:lnTo>
                      <a:lnTo>
                        <a:pt x="337" y="5"/>
                      </a:lnTo>
                      <a:lnTo>
                        <a:pt x="339" y="7"/>
                      </a:lnTo>
                      <a:lnTo>
                        <a:pt x="339" y="10"/>
                      </a:lnTo>
                      <a:lnTo>
                        <a:pt x="341" y="10"/>
                      </a:lnTo>
                      <a:lnTo>
                        <a:pt x="343" y="12"/>
                      </a:lnTo>
                      <a:lnTo>
                        <a:pt x="344" y="14"/>
                      </a:lnTo>
                      <a:lnTo>
                        <a:pt x="344" y="15"/>
                      </a:lnTo>
                      <a:lnTo>
                        <a:pt x="346" y="17"/>
                      </a:lnTo>
                      <a:lnTo>
                        <a:pt x="346" y="18"/>
                      </a:lnTo>
                      <a:lnTo>
                        <a:pt x="348" y="20"/>
                      </a:lnTo>
                      <a:lnTo>
                        <a:pt x="348" y="22"/>
                      </a:lnTo>
                      <a:lnTo>
                        <a:pt x="349" y="23"/>
                      </a:lnTo>
                      <a:lnTo>
                        <a:pt x="349" y="25"/>
                      </a:lnTo>
                      <a:lnTo>
                        <a:pt x="349" y="28"/>
                      </a:lnTo>
                      <a:lnTo>
                        <a:pt x="351" y="28"/>
                      </a:lnTo>
                      <a:lnTo>
                        <a:pt x="353" y="30"/>
                      </a:lnTo>
                      <a:lnTo>
                        <a:pt x="354" y="33"/>
                      </a:lnTo>
                      <a:lnTo>
                        <a:pt x="354" y="35"/>
                      </a:lnTo>
                      <a:lnTo>
                        <a:pt x="354" y="37"/>
                      </a:lnTo>
                      <a:lnTo>
                        <a:pt x="354" y="40"/>
                      </a:lnTo>
                      <a:lnTo>
                        <a:pt x="356" y="41"/>
                      </a:lnTo>
                      <a:lnTo>
                        <a:pt x="356" y="43"/>
                      </a:lnTo>
                      <a:lnTo>
                        <a:pt x="358" y="45"/>
                      </a:lnTo>
                      <a:lnTo>
                        <a:pt x="359" y="48"/>
                      </a:lnTo>
                      <a:lnTo>
                        <a:pt x="359" y="50"/>
                      </a:lnTo>
                      <a:lnTo>
                        <a:pt x="359" y="51"/>
                      </a:lnTo>
                      <a:lnTo>
                        <a:pt x="359" y="53"/>
                      </a:lnTo>
                      <a:lnTo>
                        <a:pt x="359" y="55"/>
                      </a:lnTo>
                      <a:lnTo>
                        <a:pt x="359" y="56"/>
                      </a:lnTo>
                      <a:lnTo>
                        <a:pt x="359" y="58"/>
                      </a:lnTo>
                      <a:lnTo>
                        <a:pt x="361" y="60"/>
                      </a:lnTo>
                      <a:lnTo>
                        <a:pt x="363" y="61"/>
                      </a:lnTo>
                      <a:lnTo>
                        <a:pt x="363" y="63"/>
                      </a:lnTo>
                      <a:lnTo>
                        <a:pt x="364" y="66"/>
                      </a:lnTo>
                      <a:lnTo>
                        <a:pt x="368" y="68"/>
                      </a:lnTo>
                      <a:lnTo>
                        <a:pt x="370" y="69"/>
                      </a:lnTo>
                      <a:lnTo>
                        <a:pt x="370" y="71"/>
                      </a:lnTo>
                      <a:lnTo>
                        <a:pt x="370" y="73"/>
                      </a:lnTo>
                      <a:lnTo>
                        <a:pt x="370" y="74"/>
                      </a:lnTo>
                      <a:lnTo>
                        <a:pt x="371" y="76"/>
                      </a:lnTo>
                      <a:lnTo>
                        <a:pt x="373" y="76"/>
                      </a:lnTo>
                      <a:lnTo>
                        <a:pt x="375" y="76"/>
                      </a:lnTo>
                      <a:lnTo>
                        <a:pt x="375" y="78"/>
                      </a:lnTo>
                      <a:lnTo>
                        <a:pt x="376" y="78"/>
                      </a:lnTo>
                      <a:lnTo>
                        <a:pt x="376" y="79"/>
                      </a:lnTo>
                      <a:lnTo>
                        <a:pt x="378" y="79"/>
                      </a:lnTo>
                      <a:lnTo>
                        <a:pt x="378" y="81"/>
                      </a:lnTo>
                      <a:lnTo>
                        <a:pt x="378" y="82"/>
                      </a:lnTo>
                      <a:lnTo>
                        <a:pt x="376" y="86"/>
                      </a:lnTo>
                      <a:lnTo>
                        <a:pt x="376" y="87"/>
                      </a:lnTo>
                      <a:lnTo>
                        <a:pt x="375" y="87"/>
                      </a:lnTo>
                      <a:lnTo>
                        <a:pt x="375" y="89"/>
                      </a:lnTo>
                      <a:lnTo>
                        <a:pt x="375" y="91"/>
                      </a:lnTo>
                      <a:lnTo>
                        <a:pt x="375" y="92"/>
                      </a:lnTo>
                      <a:lnTo>
                        <a:pt x="375" y="94"/>
                      </a:lnTo>
                      <a:lnTo>
                        <a:pt x="375" y="96"/>
                      </a:lnTo>
                      <a:lnTo>
                        <a:pt x="375" y="97"/>
                      </a:lnTo>
                      <a:lnTo>
                        <a:pt x="373" y="99"/>
                      </a:lnTo>
                      <a:lnTo>
                        <a:pt x="373" y="101"/>
                      </a:lnTo>
                      <a:lnTo>
                        <a:pt x="375" y="101"/>
                      </a:lnTo>
                      <a:lnTo>
                        <a:pt x="375" y="102"/>
                      </a:lnTo>
                      <a:lnTo>
                        <a:pt x="376" y="102"/>
                      </a:lnTo>
                      <a:lnTo>
                        <a:pt x="376" y="104"/>
                      </a:lnTo>
                      <a:lnTo>
                        <a:pt x="376" y="105"/>
                      </a:lnTo>
                      <a:lnTo>
                        <a:pt x="376" y="107"/>
                      </a:lnTo>
                      <a:lnTo>
                        <a:pt x="378" y="109"/>
                      </a:lnTo>
                      <a:lnTo>
                        <a:pt x="378" y="110"/>
                      </a:lnTo>
                      <a:lnTo>
                        <a:pt x="376" y="112"/>
                      </a:lnTo>
                      <a:lnTo>
                        <a:pt x="376" y="114"/>
                      </a:lnTo>
                      <a:lnTo>
                        <a:pt x="378" y="114"/>
                      </a:lnTo>
                      <a:lnTo>
                        <a:pt x="378" y="115"/>
                      </a:lnTo>
                      <a:lnTo>
                        <a:pt x="380" y="115"/>
                      </a:lnTo>
                      <a:lnTo>
                        <a:pt x="380" y="117"/>
                      </a:lnTo>
                      <a:lnTo>
                        <a:pt x="380" y="119"/>
                      </a:lnTo>
                      <a:lnTo>
                        <a:pt x="380" y="120"/>
                      </a:lnTo>
                      <a:lnTo>
                        <a:pt x="381" y="122"/>
                      </a:lnTo>
                      <a:lnTo>
                        <a:pt x="381" y="124"/>
                      </a:lnTo>
                      <a:lnTo>
                        <a:pt x="381" y="125"/>
                      </a:lnTo>
                      <a:lnTo>
                        <a:pt x="381" y="127"/>
                      </a:lnTo>
                      <a:lnTo>
                        <a:pt x="381" y="128"/>
                      </a:lnTo>
                      <a:lnTo>
                        <a:pt x="381" y="130"/>
                      </a:lnTo>
                      <a:lnTo>
                        <a:pt x="383" y="130"/>
                      </a:lnTo>
                      <a:lnTo>
                        <a:pt x="385" y="130"/>
                      </a:lnTo>
                      <a:lnTo>
                        <a:pt x="386" y="130"/>
                      </a:lnTo>
                      <a:lnTo>
                        <a:pt x="388" y="130"/>
                      </a:lnTo>
                      <a:lnTo>
                        <a:pt x="390" y="130"/>
                      </a:lnTo>
                      <a:lnTo>
                        <a:pt x="393" y="132"/>
                      </a:lnTo>
                      <a:lnTo>
                        <a:pt x="393" y="133"/>
                      </a:lnTo>
                      <a:lnTo>
                        <a:pt x="395" y="133"/>
                      </a:lnTo>
                      <a:lnTo>
                        <a:pt x="397" y="133"/>
                      </a:lnTo>
                      <a:lnTo>
                        <a:pt x="398" y="133"/>
                      </a:lnTo>
                      <a:lnTo>
                        <a:pt x="400" y="135"/>
                      </a:lnTo>
                      <a:lnTo>
                        <a:pt x="400" y="137"/>
                      </a:lnTo>
                      <a:lnTo>
                        <a:pt x="398" y="138"/>
                      </a:lnTo>
                      <a:lnTo>
                        <a:pt x="398" y="140"/>
                      </a:lnTo>
                      <a:lnTo>
                        <a:pt x="400" y="140"/>
                      </a:lnTo>
                      <a:lnTo>
                        <a:pt x="402" y="142"/>
                      </a:lnTo>
                      <a:lnTo>
                        <a:pt x="403" y="142"/>
                      </a:lnTo>
                      <a:lnTo>
                        <a:pt x="405" y="142"/>
                      </a:lnTo>
                      <a:lnTo>
                        <a:pt x="408" y="142"/>
                      </a:lnTo>
                      <a:lnTo>
                        <a:pt x="408" y="143"/>
                      </a:lnTo>
                      <a:lnTo>
                        <a:pt x="410" y="145"/>
                      </a:lnTo>
                      <a:lnTo>
                        <a:pt x="412" y="145"/>
                      </a:lnTo>
                      <a:lnTo>
                        <a:pt x="413" y="145"/>
                      </a:lnTo>
                      <a:lnTo>
                        <a:pt x="415" y="145"/>
                      </a:lnTo>
                      <a:lnTo>
                        <a:pt x="417" y="145"/>
                      </a:lnTo>
                      <a:lnTo>
                        <a:pt x="419" y="145"/>
                      </a:lnTo>
                      <a:lnTo>
                        <a:pt x="420" y="147"/>
                      </a:lnTo>
                      <a:lnTo>
                        <a:pt x="422" y="147"/>
                      </a:lnTo>
                      <a:lnTo>
                        <a:pt x="424" y="150"/>
                      </a:lnTo>
                      <a:lnTo>
                        <a:pt x="425" y="151"/>
                      </a:lnTo>
                      <a:lnTo>
                        <a:pt x="425" y="153"/>
                      </a:lnTo>
                      <a:lnTo>
                        <a:pt x="429" y="153"/>
                      </a:lnTo>
                      <a:lnTo>
                        <a:pt x="429" y="155"/>
                      </a:lnTo>
                      <a:lnTo>
                        <a:pt x="430" y="155"/>
                      </a:lnTo>
                      <a:lnTo>
                        <a:pt x="430" y="156"/>
                      </a:lnTo>
                      <a:lnTo>
                        <a:pt x="432" y="158"/>
                      </a:lnTo>
                      <a:lnTo>
                        <a:pt x="432" y="160"/>
                      </a:lnTo>
                      <a:lnTo>
                        <a:pt x="434" y="161"/>
                      </a:lnTo>
                      <a:lnTo>
                        <a:pt x="435" y="161"/>
                      </a:lnTo>
                      <a:lnTo>
                        <a:pt x="435" y="163"/>
                      </a:lnTo>
                      <a:lnTo>
                        <a:pt x="434" y="163"/>
                      </a:lnTo>
                      <a:lnTo>
                        <a:pt x="434" y="165"/>
                      </a:lnTo>
                      <a:lnTo>
                        <a:pt x="432" y="166"/>
                      </a:lnTo>
                      <a:lnTo>
                        <a:pt x="434" y="166"/>
                      </a:lnTo>
                      <a:lnTo>
                        <a:pt x="434" y="168"/>
                      </a:lnTo>
                      <a:lnTo>
                        <a:pt x="432" y="170"/>
                      </a:lnTo>
                      <a:lnTo>
                        <a:pt x="434" y="170"/>
                      </a:lnTo>
                      <a:lnTo>
                        <a:pt x="434" y="171"/>
                      </a:lnTo>
                      <a:lnTo>
                        <a:pt x="435" y="171"/>
                      </a:lnTo>
                      <a:lnTo>
                        <a:pt x="435" y="173"/>
                      </a:lnTo>
                      <a:lnTo>
                        <a:pt x="437" y="173"/>
                      </a:lnTo>
                      <a:lnTo>
                        <a:pt x="439" y="174"/>
                      </a:lnTo>
                      <a:lnTo>
                        <a:pt x="440" y="174"/>
                      </a:lnTo>
                      <a:lnTo>
                        <a:pt x="442" y="173"/>
                      </a:lnTo>
                      <a:lnTo>
                        <a:pt x="444" y="173"/>
                      </a:lnTo>
                      <a:lnTo>
                        <a:pt x="444" y="174"/>
                      </a:lnTo>
                      <a:lnTo>
                        <a:pt x="446" y="174"/>
                      </a:lnTo>
                      <a:lnTo>
                        <a:pt x="447" y="174"/>
                      </a:lnTo>
                      <a:lnTo>
                        <a:pt x="449" y="174"/>
                      </a:lnTo>
                      <a:lnTo>
                        <a:pt x="451" y="174"/>
                      </a:lnTo>
                      <a:lnTo>
                        <a:pt x="452" y="174"/>
                      </a:lnTo>
                      <a:lnTo>
                        <a:pt x="454" y="174"/>
                      </a:lnTo>
                      <a:lnTo>
                        <a:pt x="456" y="176"/>
                      </a:lnTo>
                      <a:lnTo>
                        <a:pt x="457" y="178"/>
                      </a:lnTo>
                      <a:lnTo>
                        <a:pt x="457" y="179"/>
                      </a:lnTo>
                      <a:lnTo>
                        <a:pt x="459" y="179"/>
                      </a:lnTo>
                      <a:lnTo>
                        <a:pt x="459" y="183"/>
                      </a:lnTo>
                      <a:lnTo>
                        <a:pt x="459" y="184"/>
                      </a:lnTo>
                      <a:lnTo>
                        <a:pt x="459" y="186"/>
                      </a:lnTo>
                      <a:lnTo>
                        <a:pt x="459" y="188"/>
                      </a:lnTo>
                      <a:lnTo>
                        <a:pt x="461" y="188"/>
                      </a:lnTo>
                      <a:lnTo>
                        <a:pt x="461" y="189"/>
                      </a:lnTo>
                      <a:lnTo>
                        <a:pt x="461" y="191"/>
                      </a:lnTo>
                      <a:lnTo>
                        <a:pt x="462" y="191"/>
                      </a:lnTo>
                      <a:lnTo>
                        <a:pt x="462" y="189"/>
                      </a:lnTo>
                      <a:lnTo>
                        <a:pt x="464" y="189"/>
                      </a:lnTo>
                      <a:lnTo>
                        <a:pt x="466" y="188"/>
                      </a:lnTo>
                      <a:lnTo>
                        <a:pt x="467" y="188"/>
                      </a:lnTo>
                      <a:lnTo>
                        <a:pt x="469" y="188"/>
                      </a:lnTo>
                      <a:lnTo>
                        <a:pt x="469" y="186"/>
                      </a:lnTo>
                      <a:lnTo>
                        <a:pt x="518" y="191"/>
                      </a:lnTo>
                      <a:lnTo>
                        <a:pt x="626" y="199"/>
                      </a:lnTo>
                      <a:lnTo>
                        <a:pt x="665" y="202"/>
                      </a:lnTo>
                      <a:lnTo>
                        <a:pt x="712" y="206"/>
                      </a:lnTo>
                      <a:lnTo>
                        <a:pt x="761" y="209"/>
                      </a:lnTo>
                      <a:lnTo>
                        <a:pt x="805" y="212"/>
                      </a:lnTo>
                      <a:lnTo>
                        <a:pt x="854" y="216"/>
                      </a:lnTo>
                      <a:lnTo>
                        <a:pt x="888" y="219"/>
                      </a:lnTo>
                      <a:lnTo>
                        <a:pt x="913" y="220"/>
                      </a:lnTo>
                      <a:lnTo>
                        <a:pt x="979" y="224"/>
                      </a:lnTo>
                      <a:lnTo>
                        <a:pt x="1021" y="227"/>
                      </a:lnTo>
                      <a:lnTo>
                        <a:pt x="1055" y="229"/>
                      </a:lnTo>
                      <a:lnTo>
                        <a:pt x="1081" y="230"/>
                      </a:lnTo>
                      <a:lnTo>
                        <a:pt x="1081" y="232"/>
                      </a:lnTo>
                      <a:lnTo>
                        <a:pt x="1079" y="232"/>
                      </a:lnTo>
                      <a:lnTo>
                        <a:pt x="1079" y="234"/>
                      </a:lnTo>
                      <a:lnTo>
                        <a:pt x="1077" y="235"/>
                      </a:lnTo>
                      <a:lnTo>
                        <a:pt x="1077" y="237"/>
                      </a:lnTo>
                      <a:lnTo>
                        <a:pt x="1077" y="239"/>
                      </a:lnTo>
                      <a:lnTo>
                        <a:pt x="1077" y="240"/>
                      </a:lnTo>
                      <a:lnTo>
                        <a:pt x="1076" y="240"/>
                      </a:lnTo>
                      <a:lnTo>
                        <a:pt x="1076" y="242"/>
                      </a:lnTo>
                      <a:lnTo>
                        <a:pt x="1076" y="243"/>
                      </a:lnTo>
                      <a:lnTo>
                        <a:pt x="1074" y="243"/>
                      </a:lnTo>
                      <a:lnTo>
                        <a:pt x="1074" y="245"/>
                      </a:lnTo>
                      <a:lnTo>
                        <a:pt x="1074" y="247"/>
                      </a:lnTo>
                      <a:lnTo>
                        <a:pt x="1074" y="248"/>
                      </a:lnTo>
                      <a:lnTo>
                        <a:pt x="1072" y="250"/>
                      </a:lnTo>
                      <a:lnTo>
                        <a:pt x="1070" y="250"/>
                      </a:lnTo>
                      <a:lnTo>
                        <a:pt x="1069" y="252"/>
                      </a:lnTo>
                      <a:lnTo>
                        <a:pt x="1069" y="253"/>
                      </a:lnTo>
                      <a:lnTo>
                        <a:pt x="1067" y="255"/>
                      </a:lnTo>
                      <a:lnTo>
                        <a:pt x="1065" y="257"/>
                      </a:lnTo>
                      <a:lnTo>
                        <a:pt x="1064" y="260"/>
                      </a:lnTo>
                      <a:lnTo>
                        <a:pt x="1065" y="262"/>
                      </a:lnTo>
                      <a:lnTo>
                        <a:pt x="1065" y="265"/>
                      </a:lnTo>
                      <a:lnTo>
                        <a:pt x="1065" y="266"/>
                      </a:lnTo>
                      <a:lnTo>
                        <a:pt x="1065" y="268"/>
                      </a:lnTo>
                      <a:lnTo>
                        <a:pt x="1064" y="268"/>
                      </a:lnTo>
                      <a:lnTo>
                        <a:pt x="1064" y="270"/>
                      </a:lnTo>
                      <a:lnTo>
                        <a:pt x="1064" y="271"/>
                      </a:lnTo>
                      <a:lnTo>
                        <a:pt x="1064" y="273"/>
                      </a:lnTo>
                      <a:lnTo>
                        <a:pt x="1062" y="276"/>
                      </a:lnTo>
                      <a:lnTo>
                        <a:pt x="1062" y="278"/>
                      </a:lnTo>
                      <a:lnTo>
                        <a:pt x="1060" y="280"/>
                      </a:lnTo>
                      <a:lnTo>
                        <a:pt x="1060" y="281"/>
                      </a:lnTo>
                      <a:lnTo>
                        <a:pt x="1059" y="281"/>
                      </a:lnTo>
                      <a:lnTo>
                        <a:pt x="1057" y="283"/>
                      </a:lnTo>
                      <a:lnTo>
                        <a:pt x="1057" y="285"/>
                      </a:lnTo>
                      <a:lnTo>
                        <a:pt x="1055" y="288"/>
                      </a:lnTo>
                      <a:lnTo>
                        <a:pt x="1055" y="289"/>
                      </a:lnTo>
                      <a:lnTo>
                        <a:pt x="1057" y="289"/>
                      </a:lnTo>
                      <a:lnTo>
                        <a:pt x="1055" y="291"/>
                      </a:lnTo>
                      <a:lnTo>
                        <a:pt x="1054" y="291"/>
                      </a:lnTo>
                      <a:lnTo>
                        <a:pt x="1054" y="293"/>
                      </a:lnTo>
                      <a:lnTo>
                        <a:pt x="1052" y="294"/>
                      </a:lnTo>
                      <a:lnTo>
                        <a:pt x="1054" y="296"/>
                      </a:lnTo>
                      <a:lnTo>
                        <a:pt x="1054" y="298"/>
                      </a:lnTo>
                      <a:lnTo>
                        <a:pt x="1052" y="298"/>
                      </a:lnTo>
                      <a:lnTo>
                        <a:pt x="1052" y="299"/>
                      </a:lnTo>
                      <a:lnTo>
                        <a:pt x="1052" y="301"/>
                      </a:lnTo>
                      <a:lnTo>
                        <a:pt x="1050" y="301"/>
                      </a:lnTo>
                      <a:lnTo>
                        <a:pt x="1048" y="301"/>
                      </a:lnTo>
                      <a:lnTo>
                        <a:pt x="1048" y="303"/>
                      </a:lnTo>
                      <a:lnTo>
                        <a:pt x="1047" y="303"/>
                      </a:lnTo>
                      <a:lnTo>
                        <a:pt x="1047" y="304"/>
                      </a:lnTo>
                      <a:lnTo>
                        <a:pt x="1045" y="306"/>
                      </a:lnTo>
                      <a:lnTo>
                        <a:pt x="1045" y="307"/>
                      </a:lnTo>
                      <a:lnTo>
                        <a:pt x="1047" y="307"/>
                      </a:lnTo>
                      <a:lnTo>
                        <a:pt x="1047" y="309"/>
                      </a:lnTo>
                      <a:lnTo>
                        <a:pt x="1047" y="311"/>
                      </a:lnTo>
                      <a:lnTo>
                        <a:pt x="1047" y="312"/>
                      </a:lnTo>
                      <a:lnTo>
                        <a:pt x="1048" y="314"/>
                      </a:lnTo>
                      <a:lnTo>
                        <a:pt x="1048" y="316"/>
                      </a:lnTo>
                      <a:lnTo>
                        <a:pt x="1047" y="316"/>
                      </a:lnTo>
                      <a:lnTo>
                        <a:pt x="1047" y="317"/>
                      </a:lnTo>
                      <a:lnTo>
                        <a:pt x="1047" y="319"/>
                      </a:lnTo>
                      <a:lnTo>
                        <a:pt x="1045" y="319"/>
                      </a:lnTo>
                      <a:lnTo>
                        <a:pt x="1043" y="319"/>
                      </a:lnTo>
                      <a:lnTo>
                        <a:pt x="1043" y="321"/>
                      </a:lnTo>
                      <a:lnTo>
                        <a:pt x="1043" y="322"/>
                      </a:lnTo>
                      <a:lnTo>
                        <a:pt x="1043" y="324"/>
                      </a:lnTo>
                      <a:lnTo>
                        <a:pt x="1043" y="326"/>
                      </a:lnTo>
                      <a:lnTo>
                        <a:pt x="1045" y="326"/>
                      </a:lnTo>
                      <a:lnTo>
                        <a:pt x="1045" y="327"/>
                      </a:lnTo>
                      <a:lnTo>
                        <a:pt x="1045" y="329"/>
                      </a:lnTo>
                      <a:lnTo>
                        <a:pt x="1043" y="329"/>
                      </a:lnTo>
                      <a:lnTo>
                        <a:pt x="1042" y="330"/>
                      </a:lnTo>
                      <a:lnTo>
                        <a:pt x="1042" y="332"/>
                      </a:lnTo>
                      <a:lnTo>
                        <a:pt x="1043" y="332"/>
                      </a:lnTo>
                      <a:lnTo>
                        <a:pt x="1043" y="334"/>
                      </a:lnTo>
                      <a:lnTo>
                        <a:pt x="1043" y="335"/>
                      </a:lnTo>
                      <a:lnTo>
                        <a:pt x="1043" y="337"/>
                      </a:lnTo>
                      <a:lnTo>
                        <a:pt x="1043" y="339"/>
                      </a:lnTo>
                      <a:lnTo>
                        <a:pt x="1043" y="340"/>
                      </a:lnTo>
                      <a:lnTo>
                        <a:pt x="1043" y="342"/>
                      </a:lnTo>
                      <a:lnTo>
                        <a:pt x="1045" y="344"/>
                      </a:lnTo>
                      <a:lnTo>
                        <a:pt x="1043" y="344"/>
                      </a:lnTo>
                      <a:lnTo>
                        <a:pt x="1043" y="345"/>
                      </a:lnTo>
                      <a:lnTo>
                        <a:pt x="1042" y="345"/>
                      </a:lnTo>
                      <a:lnTo>
                        <a:pt x="1042" y="347"/>
                      </a:lnTo>
                      <a:lnTo>
                        <a:pt x="1042" y="349"/>
                      </a:lnTo>
                      <a:lnTo>
                        <a:pt x="1040" y="349"/>
                      </a:lnTo>
                      <a:lnTo>
                        <a:pt x="1040" y="350"/>
                      </a:lnTo>
                      <a:lnTo>
                        <a:pt x="1040" y="352"/>
                      </a:lnTo>
                      <a:lnTo>
                        <a:pt x="1038" y="352"/>
                      </a:lnTo>
                      <a:lnTo>
                        <a:pt x="1040" y="355"/>
                      </a:lnTo>
                      <a:lnTo>
                        <a:pt x="1040" y="357"/>
                      </a:lnTo>
                      <a:lnTo>
                        <a:pt x="1040" y="360"/>
                      </a:lnTo>
                      <a:lnTo>
                        <a:pt x="1038" y="362"/>
                      </a:lnTo>
                      <a:lnTo>
                        <a:pt x="1038" y="363"/>
                      </a:lnTo>
                      <a:lnTo>
                        <a:pt x="1038" y="365"/>
                      </a:lnTo>
                      <a:lnTo>
                        <a:pt x="1037" y="365"/>
                      </a:lnTo>
                      <a:lnTo>
                        <a:pt x="1037" y="367"/>
                      </a:lnTo>
                      <a:lnTo>
                        <a:pt x="1035" y="368"/>
                      </a:lnTo>
                      <a:lnTo>
                        <a:pt x="1035" y="370"/>
                      </a:lnTo>
                      <a:lnTo>
                        <a:pt x="1035" y="372"/>
                      </a:lnTo>
                      <a:lnTo>
                        <a:pt x="1033" y="373"/>
                      </a:lnTo>
                      <a:lnTo>
                        <a:pt x="1033" y="375"/>
                      </a:lnTo>
                      <a:lnTo>
                        <a:pt x="1033" y="376"/>
                      </a:lnTo>
                      <a:lnTo>
                        <a:pt x="1032" y="378"/>
                      </a:lnTo>
                      <a:lnTo>
                        <a:pt x="1032" y="380"/>
                      </a:lnTo>
                      <a:lnTo>
                        <a:pt x="1032" y="381"/>
                      </a:lnTo>
                      <a:lnTo>
                        <a:pt x="1032" y="383"/>
                      </a:lnTo>
                      <a:lnTo>
                        <a:pt x="1033" y="385"/>
                      </a:lnTo>
                      <a:lnTo>
                        <a:pt x="1032" y="386"/>
                      </a:lnTo>
                      <a:lnTo>
                        <a:pt x="1032" y="388"/>
                      </a:lnTo>
                      <a:lnTo>
                        <a:pt x="1033" y="388"/>
                      </a:lnTo>
                      <a:lnTo>
                        <a:pt x="1033" y="390"/>
                      </a:lnTo>
                      <a:lnTo>
                        <a:pt x="1035" y="391"/>
                      </a:lnTo>
                      <a:lnTo>
                        <a:pt x="1037" y="391"/>
                      </a:lnTo>
                      <a:lnTo>
                        <a:pt x="1038" y="391"/>
                      </a:lnTo>
                      <a:lnTo>
                        <a:pt x="1040" y="391"/>
                      </a:lnTo>
                      <a:lnTo>
                        <a:pt x="1040" y="393"/>
                      </a:lnTo>
                      <a:lnTo>
                        <a:pt x="1040" y="395"/>
                      </a:lnTo>
                      <a:lnTo>
                        <a:pt x="1038" y="395"/>
                      </a:lnTo>
                      <a:lnTo>
                        <a:pt x="1040" y="395"/>
                      </a:lnTo>
                      <a:lnTo>
                        <a:pt x="1040" y="396"/>
                      </a:lnTo>
                      <a:lnTo>
                        <a:pt x="1040" y="398"/>
                      </a:lnTo>
                      <a:lnTo>
                        <a:pt x="1040" y="399"/>
                      </a:lnTo>
                      <a:lnTo>
                        <a:pt x="1038" y="401"/>
                      </a:lnTo>
                      <a:lnTo>
                        <a:pt x="1037" y="401"/>
                      </a:lnTo>
                      <a:lnTo>
                        <a:pt x="1037" y="403"/>
                      </a:lnTo>
                      <a:lnTo>
                        <a:pt x="1035" y="403"/>
                      </a:lnTo>
                      <a:lnTo>
                        <a:pt x="1035" y="404"/>
                      </a:lnTo>
                      <a:lnTo>
                        <a:pt x="1033" y="404"/>
                      </a:lnTo>
                      <a:lnTo>
                        <a:pt x="1033" y="406"/>
                      </a:lnTo>
                      <a:lnTo>
                        <a:pt x="1035" y="406"/>
                      </a:lnTo>
                      <a:lnTo>
                        <a:pt x="1035" y="408"/>
                      </a:lnTo>
                      <a:lnTo>
                        <a:pt x="1035" y="411"/>
                      </a:lnTo>
                      <a:lnTo>
                        <a:pt x="1037" y="413"/>
                      </a:lnTo>
                      <a:lnTo>
                        <a:pt x="1037" y="414"/>
                      </a:lnTo>
                      <a:lnTo>
                        <a:pt x="1037" y="416"/>
                      </a:lnTo>
                      <a:lnTo>
                        <a:pt x="1037" y="418"/>
                      </a:lnTo>
                      <a:lnTo>
                        <a:pt x="1038" y="418"/>
                      </a:lnTo>
                      <a:lnTo>
                        <a:pt x="1040" y="418"/>
                      </a:lnTo>
                      <a:lnTo>
                        <a:pt x="1042" y="418"/>
                      </a:lnTo>
                      <a:lnTo>
                        <a:pt x="1042" y="419"/>
                      </a:lnTo>
                      <a:lnTo>
                        <a:pt x="1042" y="421"/>
                      </a:lnTo>
                      <a:lnTo>
                        <a:pt x="1040" y="421"/>
                      </a:lnTo>
                      <a:lnTo>
                        <a:pt x="1038" y="422"/>
                      </a:lnTo>
                      <a:lnTo>
                        <a:pt x="1040" y="424"/>
                      </a:lnTo>
                      <a:lnTo>
                        <a:pt x="1040" y="426"/>
                      </a:lnTo>
                      <a:lnTo>
                        <a:pt x="1040" y="427"/>
                      </a:lnTo>
                      <a:lnTo>
                        <a:pt x="1038" y="427"/>
                      </a:lnTo>
                      <a:lnTo>
                        <a:pt x="1038" y="429"/>
                      </a:lnTo>
                      <a:lnTo>
                        <a:pt x="1037" y="429"/>
                      </a:lnTo>
                      <a:lnTo>
                        <a:pt x="1037" y="431"/>
                      </a:lnTo>
                      <a:lnTo>
                        <a:pt x="1038" y="431"/>
                      </a:lnTo>
                      <a:lnTo>
                        <a:pt x="1038" y="432"/>
                      </a:lnTo>
                      <a:lnTo>
                        <a:pt x="1037" y="432"/>
                      </a:lnTo>
                      <a:lnTo>
                        <a:pt x="1037" y="434"/>
                      </a:lnTo>
                      <a:lnTo>
                        <a:pt x="1038" y="434"/>
                      </a:lnTo>
                      <a:lnTo>
                        <a:pt x="1038" y="436"/>
                      </a:lnTo>
                      <a:lnTo>
                        <a:pt x="1038" y="437"/>
                      </a:lnTo>
                      <a:lnTo>
                        <a:pt x="1038" y="439"/>
                      </a:lnTo>
                      <a:lnTo>
                        <a:pt x="1038" y="441"/>
                      </a:lnTo>
                      <a:lnTo>
                        <a:pt x="1038" y="442"/>
                      </a:lnTo>
                      <a:lnTo>
                        <a:pt x="1038" y="444"/>
                      </a:lnTo>
                      <a:lnTo>
                        <a:pt x="1038" y="445"/>
                      </a:lnTo>
                      <a:lnTo>
                        <a:pt x="1038" y="447"/>
                      </a:lnTo>
                      <a:lnTo>
                        <a:pt x="1037" y="449"/>
                      </a:lnTo>
                      <a:lnTo>
                        <a:pt x="1038" y="449"/>
                      </a:lnTo>
                      <a:lnTo>
                        <a:pt x="1038" y="450"/>
                      </a:lnTo>
                      <a:lnTo>
                        <a:pt x="1040" y="450"/>
                      </a:lnTo>
                      <a:lnTo>
                        <a:pt x="1042" y="450"/>
                      </a:lnTo>
                      <a:lnTo>
                        <a:pt x="1040" y="450"/>
                      </a:lnTo>
                      <a:lnTo>
                        <a:pt x="1040" y="452"/>
                      </a:lnTo>
                      <a:lnTo>
                        <a:pt x="1042" y="454"/>
                      </a:lnTo>
                      <a:lnTo>
                        <a:pt x="1042" y="455"/>
                      </a:lnTo>
                      <a:lnTo>
                        <a:pt x="1042" y="457"/>
                      </a:lnTo>
                      <a:lnTo>
                        <a:pt x="1040" y="457"/>
                      </a:lnTo>
                      <a:lnTo>
                        <a:pt x="1042" y="457"/>
                      </a:lnTo>
                      <a:lnTo>
                        <a:pt x="1042" y="459"/>
                      </a:lnTo>
                      <a:lnTo>
                        <a:pt x="1042" y="460"/>
                      </a:lnTo>
                      <a:lnTo>
                        <a:pt x="1042" y="462"/>
                      </a:lnTo>
                      <a:lnTo>
                        <a:pt x="1042" y="464"/>
                      </a:lnTo>
                      <a:lnTo>
                        <a:pt x="1043" y="465"/>
                      </a:lnTo>
                      <a:lnTo>
                        <a:pt x="1043" y="467"/>
                      </a:lnTo>
                      <a:lnTo>
                        <a:pt x="1042" y="467"/>
                      </a:lnTo>
                      <a:lnTo>
                        <a:pt x="1042" y="468"/>
                      </a:lnTo>
                      <a:lnTo>
                        <a:pt x="1043" y="468"/>
                      </a:lnTo>
                      <a:lnTo>
                        <a:pt x="1043" y="470"/>
                      </a:lnTo>
                      <a:lnTo>
                        <a:pt x="1043" y="472"/>
                      </a:lnTo>
                      <a:lnTo>
                        <a:pt x="1042" y="472"/>
                      </a:lnTo>
                      <a:lnTo>
                        <a:pt x="1040" y="472"/>
                      </a:lnTo>
                      <a:lnTo>
                        <a:pt x="1042" y="473"/>
                      </a:lnTo>
                      <a:lnTo>
                        <a:pt x="1040" y="475"/>
                      </a:lnTo>
                      <a:lnTo>
                        <a:pt x="1040" y="477"/>
                      </a:lnTo>
                      <a:lnTo>
                        <a:pt x="1040" y="478"/>
                      </a:lnTo>
                      <a:lnTo>
                        <a:pt x="1038" y="480"/>
                      </a:lnTo>
                      <a:lnTo>
                        <a:pt x="1037" y="482"/>
                      </a:lnTo>
                      <a:lnTo>
                        <a:pt x="1038" y="483"/>
                      </a:lnTo>
                      <a:lnTo>
                        <a:pt x="1038" y="485"/>
                      </a:lnTo>
                      <a:lnTo>
                        <a:pt x="1037" y="485"/>
                      </a:lnTo>
                      <a:lnTo>
                        <a:pt x="1035" y="485"/>
                      </a:lnTo>
                      <a:lnTo>
                        <a:pt x="1035" y="487"/>
                      </a:lnTo>
                      <a:lnTo>
                        <a:pt x="1035" y="488"/>
                      </a:lnTo>
                      <a:lnTo>
                        <a:pt x="1037" y="490"/>
                      </a:lnTo>
                      <a:lnTo>
                        <a:pt x="1038" y="490"/>
                      </a:lnTo>
                      <a:lnTo>
                        <a:pt x="1040" y="490"/>
                      </a:lnTo>
                      <a:lnTo>
                        <a:pt x="1042" y="490"/>
                      </a:lnTo>
                      <a:lnTo>
                        <a:pt x="1042" y="491"/>
                      </a:lnTo>
                      <a:lnTo>
                        <a:pt x="1040" y="491"/>
                      </a:lnTo>
                      <a:lnTo>
                        <a:pt x="1040" y="493"/>
                      </a:lnTo>
                      <a:lnTo>
                        <a:pt x="1042" y="495"/>
                      </a:lnTo>
                      <a:lnTo>
                        <a:pt x="1042" y="496"/>
                      </a:lnTo>
                      <a:lnTo>
                        <a:pt x="1043" y="496"/>
                      </a:lnTo>
                      <a:lnTo>
                        <a:pt x="1043" y="498"/>
                      </a:lnTo>
                      <a:lnTo>
                        <a:pt x="1043" y="500"/>
                      </a:lnTo>
                      <a:lnTo>
                        <a:pt x="1042" y="500"/>
                      </a:lnTo>
                      <a:lnTo>
                        <a:pt x="1042" y="501"/>
                      </a:lnTo>
                      <a:lnTo>
                        <a:pt x="1043" y="501"/>
                      </a:lnTo>
                      <a:lnTo>
                        <a:pt x="1043" y="503"/>
                      </a:lnTo>
                      <a:lnTo>
                        <a:pt x="1043" y="505"/>
                      </a:lnTo>
                      <a:lnTo>
                        <a:pt x="1045" y="505"/>
                      </a:lnTo>
                      <a:lnTo>
                        <a:pt x="1045" y="503"/>
                      </a:lnTo>
                      <a:lnTo>
                        <a:pt x="1047" y="503"/>
                      </a:lnTo>
                      <a:lnTo>
                        <a:pt x="1047" y="505"/>
                      </a:lnTo>
                      <a:lnTo>
                        <a:pt x="1045" y="505"/>
                      </a:lnTo>
                      <a:lnTo>
                        <a:pt x="1045" y="506"/>
                      </a:lnTo>
                      <a:lnTo>
                        <a:pt x="1047" y="506"/>
                      </a:lnTo>
                      <a:lnTo>
                        <a:pt x="1048" y="508"/>
                      </a:lnTo>
                      <a:lnTo>
                        <a:pt x="1050" y="508"/>
                      </a:lnTo>
                      <a:lnTo>
                        <a:pt x="1052" y="508"/>
                      </a:lnTo>
                      <a:lnTo>
                        <a:pt x="1054" y="506"/>
                      </a:lnTo>
                      <a:lnTo>
                        <a:pt x="1054" y="508"/>
                      </a:lnTo>
                      <a:lnTo>
                        <a:pt x="1054" y="509"/>
                      </a:lnTo>
                      <a:lnTo>
                        <a:pt x="1055" y="509"/>
                      </a:lnTo>
                      <a:lnTo>
                        <a:pt x="1055" y="511"/>
                      </a:lnTo>
                      <a:lnTo>
                        <a:pt x="1054" y="511"/>
                      </a:lnTo>
                      <a:lnTo>
                        <a:pt x="1054" y="513"/>
                      </a:lnTo>
                      <a:lnTo>
                        <a:pt x="1054" y="514"/>
                      </a:lnTo>
                      <a:lnTo>
                        <a:pt x="1052" y="516"/>
                      </a:lnTo>
                      <a:lnTo>
                        <a:pt x="1052" y="519"/>
                      </a:lnTo>
                      <a:lnTo>
                        <a:pt x="1050" y="519"/>
                      </a:lnTo>
                      <a:lnTo>
                        <a:pt x="1050" y="521"/>
                      </a:lnTo>
                      <a:lnTo>
                        <a:pt x="1050" y="523"/>
                      </a:lnTo>
                      <a:lnTo>
                        <a:pt x="1048" y="523"/>
                      </a:lnTo>
                      <a:lnTo>
                        <a:pt x="1048" y="521"/>
                      </a:lnTo>
                      <a:lnTo>
                        <a:pt x="1047" y="521"/>
                      </a:lnTo>
                      <a:lnTo>
                        <a:pt x="1047" y="523"/>
                      </a:lnTo>
                      <a:lnTo>
                        <a:pt x="1047" y="524"/>
                      </a:lnTo>
                      <a:lnTo>
                        <a:pt x="1048" y="524"/>
                      </a:lnTo>
                      <a:lnTo>
                        <a:pt x="1048" y="526"/>
                      </a:lnTo>
                      <a:lnTo>
                        <a:pt x="1047" y="526"/>
                      </a:lnTo>
                      <a:lnTo>
                        <a:pt x="1045" y="526"/>
                      </a:lnTo>
                      <a:lnTo>
                        <a:pt x="1045" y="528"/>
                      </a:lnTo>
                      <a:lnTo>
                        <a:pt x="1043" y="528"/>
                      </a:lnTo>
                      <a:lnTo>
                        <a:pt x="1045" y="528"/>
                      </a:lnTo>
                      <a:lnTo>
                        <a:pt x="1045" y="529"/>
                      </a:lnTo>
                      <a:lnTo>
                        <a:pt x="1045" y="531"/>
                      </a:lnTo>
                      <a:lnTo>
                        <a:pt x="1047" y="532"/>
                      </a:lnTo>
                      <a:lnTo>
                        <a:pt x="1045" y="534"/>
                      </a:lnTo>
                      <a:lnTo>
                        <a:pt x="1045" y="536"/>
                      </a:lnTo>
                      <a:lnTo>
                        <a:pt x="1045" y="537"/>
                      </a:lnTo>
                      <a:lnTo>
                        <a:pt x="1045" y="539"/>
                      </a:lnTo>
                      <a:lnTo>
                        <a:pt x="1045" y="541"/>
                      </a:lnTo>
                      <a:lnTo>
                        <a:pt x="1047" y="541"/>
                      </a:lnTo>
                      <a:lnTo>
                        <a:pt x="1047" y="542"/>
                      </a:lnTo>
                      <a:lnTo>
                        <a:pt x="1047" y="544"/>
                      </a:lnTo>
                      <a:lnTo>
                        <a:pt x="1047" y="546"/>
                      </a:lnTo>
                      <a:lnTo>
                        <a:pt x="1045" y="546"/>
                      </a:lnTo>
                      <a:lnTo>
                        <a:pt x="1045" y="547"/>
                      </a:lnTo>
                      <a:lnTo>
                        <a:pt x="1045" y="549"/>
                      </a:lnTo>
                      <a:lnTo>
                        <a:pt x="1045" y="551"/>
                      </a:lnTo>
                      <a:lnTo>
                        <a:pt x="1043" y="551"/>
                      </a:lnTo>
                      <a:lnTo>
                        <a:pt x="1043" y="552"/>
                      </a:lnTo>
                      <a:lnTo>
                        <a:pt x="1042" y="554"/>
                      </a:lnTo>
                      <a:lnTo>
                        <a:pt x="1040" y="555"/>
                      </a:lnTo>
                      <a:lnTo>
                        <a:pt x="1038" y="557"/>
                      </a:lnTo>
                      <a:lnTo>
                        <a:pt x="1038" y="559"/>
                      </a:lnTo>
                      <a:lnTo>
                        <a:pt x="1040" y="560"/>
                      </a:lnTo>
                      <a:lnTo>
                        <a:pt x="1040" y="562"/>
                      </a:lnTo>
                      <a:lnTo>
                        <a:pt x="1038" y="562"/>
                      </a:lnTo>
                      <a:lnTo>
                        <a:pt x="1037" y="562"/>
                      </a:lnTo>
                      <a:lnTo>
                        <a:pt x="1037" y="564"/>
                      </a:lnTo>
                      <a:lnTo>
                        <a:pt x="1037" y="565"/>
                      </a:lnTo>
                      <a:lnTo>
                        <a:pt x="1035" y="565"/>
                      </a:lnTo>
                      <a:lnTo>
                        <a:pt x="1035" y="567"/>
                      </a:lnTo>
                      <a:lnTo>
                        <a:pt x="1033" y="567"/>
                      </a:lnTo>
                      <a:lnTo>
                        <a:pt x="1033" y="569"/>
                      </a:lnTo>
                      <a:lnTo>
                        <a:pt x="1032" y="569"/>
                      </a:lnTo>
                      <a:lnTo>
                        <a:pt x="1030" y="570"/>
                      </a:lnTo>
                      <a:lnTo>
                        <a:pt x="1030" y="572"/>
                      </a:lnTo>
                      <a:lnTo>
                        <a:pt x="1030" y="574"/>
                      </a:lnTo>
                      <a:lnTo>
                        <a:pt x="1030" y="575"/>
                      </a:lnTo>
                      <a:lnTo>
                        <a:pt x="1030" y="577"/>
                      </a:lnTo>
                      <a:lnTo>
                        <a:pt x="1028" y="578"/>
                      </a:lnTo>
                      <a:lnTo>
                        <a:pt x="1028" y="582"/>
                      </a:lnTo>
                      <a:lnTo>
                        <a:pt x="1027" y="583"/>
                      </a:lnTo>
                      <a:lnTo>
                        <a:pt x="1027" y="585"/>
                      </a:lnTo>
                      <a:lnTo>
                        <a:pt x="1025" y="587"/>
                      </a:lnTo>
                      <a:lnTo>
                        <a:pt x="1023" y="587"/>
                      </a:lnTo>
                      <a:lnTo>
                        <a:pt x="1021" y="588"/>
                      </a:lnTo>
                      <a:lnTo>
                        <a:pt x="1020" y="588"/>
                      </a:lnTo>
                      <a:lnTo>
                        <a:pt x="1020" y="590"/>
                      </a:lnTo>
                      <a:lnTo>
                        <a:pt x="1020" y="592"/>
                      </a:lnTo>
                      <a:lnTo>
                        <a:pt x="1021" y="592"/>
                      </a:lnTo>
                      <a:lnTo>
                        <a:pt x="1021" y="593"/>
                      </a:lnTo>
                      <a:lnTo>
                        <a:pt x="1021" y="595"/>
                      </a:lnTo>
                      <a:lnTo>
                        <a:pt x="1021" y="597"/>
                      </a:lnTo>
                      <a:lnTo>
                        <a:pt x="1021" y="598"/>
                      </a:lnTo>
                      <a:lnTo>
                        <a:pt x="1021" y="600"/>
                      </a:lnTo>
                      <a:lnTo>
                        <a:pt x="1023" y="601"/>
                      </a:lnTo>
                      <a:lnTo>
                        <a:pt x="1023" y="603"/>
                      </a:lnTo>
                      <a:lnTo>
                        <a:pt x="1021" y="605"/>
                      </a:lnTo>
                      <a:lnTo>
                        <a:pt x="1023" y="606"/>
                      </a:lnTo>
                      <a:lnTo>
                        <a:pt x="1021" y="608"/>
                      </a:lnTo>
                      <a:lnTo>
                        <a:pt x="1021" y="610"/>
                      </a:lnTo>
                      <a:lnTo>
                        <a:pt x="1020" y="610"/>
                      </a:lnTo>
                      <a:lnTo>
                        <a:pt x="1020" y="611"/>
                      </a:lnTo>
                      <a:lnTo>
                        <a:pt x="1020" y="613"/>
                      </a:lnTo>
                      <a:lnTo>
                        <a:pt x="1021" y="613"/>
                      </a:lnTo>
                      <a:lnTo>
                        <a:pt x="1021" y="615"/>
                      </a:lnTo>
                      <a:lnTo>
                        <a:pt x="1021" y="616"/>
                      </a:lnTo>
                      <a:lnTo>
                        <a:pt x="1021" y="618"/>
                      </a:lnTo>
                      <a:lnTo>
                        <a:pt x="1023" y="620"/>
                      </a:lnTo>
                      <a:lnTo>
                        <a:pt x="1023" y="621"/>
                      </a:lnTo>
                      <a:lnTo>
                        <a:pt x="1023" y="623"/>
                      </a:lnTo>
                      <a:lnTo>
                        <a:pt x="1021" y="624"/>
                      </a:lnTo>
                      <a:lnTo>
                        <a:pt x="1020" y="626"/>
                      </a:lnTo>
                      <a:lnTo>
                        <a:pt x="1018" y="626"/>
                      </a:lnTo>
                      <a:lnTo>
                        <a:pt x="1016" y="624"/>
                      </a:lnTo>
                      <a:lnTo>
                        <a:pt x="1015" y="624"/>
                      </a:lnTo>
                      <a:lnTo>
                        <a:pt x="1015" y="626"/>
                      </a:lnTo>
                      <a:lnTo>
                        <a:pt x="1016" y="628"/>
                      </a:lnTo>
                      <a:lnTo>
                        <a:pt x="1016" y="629"/>
                      </a:lnTo>
                      <a:lnTo>
                        <a:pt x="1015" y="629"/>
                      </a:lnTo>
                      <a:lnTo>
                        <a:pt x="1015" y="631"/>
                      </a:lnTo>
                      <a:lnTo>
                        <a:pt x="1013" y="631"/>
                      </a:lnTo>
                      <a:lnTo>
                        <a:pt x="1015" y="633"/>
                      </a:lnTo>
                      <a:lnTo>
                        <a:pt x="1013" y="633"/>
                      </a:lnTo>
                      <a:lnTo>
                        <a:pt x="1013" y="634"/>
                      </a:lnTo>
                      <a:lnTo>
                        <a:pt x="1011" y="636"/>
                      </a:lnTo>
                      <a:lnTo>
                        <a:pt x="1011" y="638"/>
                      </a:lnTo>
                      <a:lnTo>
                        <a:pt x="1010" y="639"/>
                      </a:lnTo>
                      <a:lnTo>
                        <a:pt x="1010" y="641"/>
                      </a:lnTo>
                      <a:lnTo>
                        <a:pt x="1010" y="643"/>
                      </a:lnTo>
                      <a:lnTo>
                        <a:pt x="1010" y="644"/>
                      </a:lnTo>
                      <a:lnTo>
                        <a:pt x="1010" y="646"/>
                      </a:lnTo>
                      <a:lnTo>
                        <a:pt x="1010" y="647"/>
                      </a:lnTo>
                      <a:lnTo>
                        <a:pt x="1008" y="647"/>
                      </a:lnTo>
                      <a:lnTo>
                        <a:pt x="1008" y="649"/>
                      </a:lnTo>
                      <a:lnTo>
                        <a:pt x="1008" y="651"/>
                      </a:lnTo>
                      <a:lnTo>
                        <a:pt x="1008" y="652"/>
                      </a:lnTo>
                      <a:lnTo>
                        <a:pt x="1008" y="654"/>
                      </a:lnTo>
                      <a:lnTo>
                        <a:pt x="1008" y="656"/>
                      </a:lnTo>
                      <a:lnTo>
                        <a:pt x="1010" y="656"/>
                      </a:lnTo>
                      <a:lnTo>
                        <a:pt x="1010" y="657"/>
                      </a:lnTo>
                      <a:lnTo>
                        <a:pt x="1010" y="659"/>
                      </a:lnTo>
                      <a:lnTo>
                        <a:pt x="1010" y="661"/>
                      </a:lnTo>
                      <a:lnTo>
                        <a:pt x="1011" y="662"/>
                      </a:lnTo>
                      <a:lnTo>
                        <a:pt x="1010" y="664"/>
                      </a:lnTo>
                      <a:lnTo>
                        <a:pt x="1008" y="666"/>
                      </a:lnTo>
                      <a:lnTo>
                        <a:pt x="1008" y="667"/>
                      </a:lnTo>
                      <a:lnTo>
                        <a:pt x="1008" y="669"/>
                      </a:lnTo>
                      <a:lnTo>
                        <a:pt x="1008" y="670"/>
                      </a:lnTo>
                      <a:lnTo>
                        <a:pt x="1008" y="672"/>
                      </a:lnTo>
                      <a:lnTo>
                        <a:pt x="1006" y="672"/>
                      </a:lnTo>
                      <a:lnTo>
                        <a:pt x="1006" y="674"/>
                      </a:lnTo>
                      <a:lnTo>
                        <a:pt x="1006" y="675"/>
                      </a:lnTo>
                      <a:lnTo>
                        <a:pt x="1005" y="675"/>
                      </a:lnTo>
                      <a:lnTo>
                        <a:pt x="1005" y="677"/>
                      </a:lnTo>
                      <a:lnTo>
                        <a:pt x="1005" y="679"/>
                      </a:lnTo>
                      <a:lnTo>
                        <a:pt x="1005" y="680"/>
                      </a:lnTo>
                      <a:lnTo>
                        <a:pt x="1003" y="680"/>
                      </a:lnTo>
                      <a:lnTo>
                        <a:pt x="1003" y="682"/>
                      </a:lnTo>
                      <a:lnTo>
                        <a:pt x="1003" y="684"/>
                      </a:lnTo>
                      <a:lnTo>
                        <a:pt x="1003" y="685"/>
                      </a:lnTo>
                      <a:lnTo>
                        <a:pt x="1003" y="687"/>
                      </a:lnTo>
                      <a:lnTo>
                        <a:pt x="1001" y="689"/>
                      </a:lnTo>
                      <a:lnTo>
                        <a:pt x="1000" y="690"/>
                      </a:lnTo>
                      <a:lnTo>
                        <a:pt x="1000" y="692"/>
                      </a:lnTo>
                      <a:lnTo>
                        <a:pt x="1000" y="693"/>
                      </a:lnTo>
                      <a:lnTo>
                        <a:pt x="1000" y="695"/>
                      </a:lnTo>
                      <a:lnTo>
                        <a:pt x="1000" y="697"/>
                      </a:lnTo>
                      <a:lnTo>
                        <a:pt x="1000" y="698"/>
                      </a:lnTo>
                      <a:lnTo>
                        <a:pt x="998" y="698"/>
                      </a:lnTo>
                      <a:lnTo>
                        <a:pt x="998" y="700"/>
                      </a:lnTo>
                      <a:lnTo>
                        <a:pt x="996" y="700"/>
                      </a:lnTo>
                      <a:lnTo>
                        <a:pt x="994" y="700"/>
                      </a:lnTo>
                      <a:lnTo>
                        <a:pt x="993" y="702"/>
                      </a:lnTo>
                      <a:lnTo>
                        <a:pt x="993" y="703"/>
                      </a:lnTo>
                      <a:lnTo>
                        <a:pt x="993" y="705"/>
                      </a:lnTo>
                      <a:lnTo>
                        <a:pt x="991" y="705"/>
                      </a:lnTo>
                      <a:lnTo>
                        <a:pt x="989" y="707"/>
                      </a:lnTo>
                      <a:lnTo>
                        <a:pt x="988" y="707"/>
                      </a:lnTo>
                      <a:lnTo>
                        <a:pt x="986" y="708"/>
                      </a:lnTo>
                      <a:lnTo>
                        <a:pt x="984" y="710"/>
                      </a:lnTo>
                      <a:lnTo>
                        <a:pt x="981" y="710"/>
                      </a:lnTo>
                      <a:lnTo>
                        <a:pt x="979" y="710"/>
                      </a:lnTo>
                      <a:lnTo>
                        <a:pt x="979" y="708"/>
                      </a:lnTo>
                      <a:lnTo>
                        <a:pt x="979" y="707"/>
                      </a:lnTo>
                      <a:lnTo>
                        <a:pt x="979" y="705"/>
                      </a:lnTo>
                      <a:lnTo>
                        <a:pt x="978" y="705"/>
                      </a:lnTo>
                      <a:lnTo>
                        <a:pt x="978" y="703"/>
                      </a:lnTo>
                      <a:lnTo>
                        <a:pt x="976" y="703"/>
                      </a:lnTo>
                      <a:lnTo>
                        <a:pt x="974" y="705"/>
                      </a:lnTo>
                      <a:lnTo>
                        <a:pt x="974" y="707"/>
                      </a:lnTo>
                      <a:lnTo>
                        <a:pt x="972" y="707"/>
                      </a:lnTo>
                      <a:lnTo>
                        <a:pt x="971" y="707"/>
                      </a:lnTo>
                      <a:lnTo>
                        <a:pt x="969" y="707"/>
                      </a:lnTo>
                      <a:lnTo>
                        <a:pt x="967" y="707"/>
                      </a:lnTo>
                      <a:lnTo>
                        <a:pt x="966" y="707"/>
                      </a:lnTo>
                      <a:lnTo>
                        <a:pt x="966" y="708"/>
                      </a:lnTo>
                      <a:lnTo>
                        <a:pt x="964" y="710"/>
                      </a:lnTo>
                      <a:lnTo>
                        <a:pt x="962" y="711"/>
                      </a:lnTo>
                      <a:lnTo>
                        <a:pt x="961" y="711"/>
                      </a:lnTo>
                      <a:lnTo>
                        <a:pt x="959" y="711"/>
                      </a:lnTo>
                      <a:lnTo>
                        <a:pt x="957" y="711"/>
                      </a:lnTo>
                      <a:lnTo>
                        <a:pt x="957" y="713"/>
                      </a:lnTo>
                      <a:lnTo>
                        <a:pt x="956" y="713"/>
                      </a:lnTo>
                      <a:lnTo>
                        <a:pt x="956" y="715"/>
                      </a:lnTo>
                      <a:lnTo>
                        <a:pt x="956" y="716"/>
                      </a:lnTo>
                      <a:lnTo>
                        <a:pt x="954" y="716"/>
                      </a:lnTo>
                      <a:lnTo>
                        <a:pt x="952" y="716"/>
                      </a:lnTo>
                      <a:lnTo>
                        <a:pt x="952" y="718"/>
                      </a:lnTo>
                      <a:lnTo>
                        <a:pt x="952" y="720"/>
                      </a:lnTo>
                      <a:lnTo>
                        <a:pt x="951" y="720"/>
                      </a:lnTo>
                      <a:lnTo>
                        <a:pt x="951" y="721"/>
                      </a:lnTo>
                      <a:lnTo>
                        <a:pt x="949" y="721"/>
                      </a:lnTo>
                      <a:lnTo>
                        <a:pt x="947" y="721"/>
                      </a:lnTo>
                      <a:lnTo>
                        <a:pt x="945" y="723"/>
                      </a:lnTo>
                      <a:lnTo>
                        <a:pt x="945" y="725"/>
                      </a:lnTo>
                      <a:lnTo>
                        <a:pt x="945" y="726"/>
                      </a:lnTo>
                      <a:lnTo>
                        <a:pt x="944" y="728"/>
                      </a:lnTo>
                      <a:lnTo>
                        <a:pt x="944" y="730"/>
                      </a:lnTo>
                      <a:lnTo>
                        <a:pt x="945" y="730"/>
                      </a:lnTo>
                      <a:lnTo>
                        <a:pt x="945" y="731"/>
                      </a:lnTo>
                      <a:lnTo>
                        <a:pt x="944" y="733"/>
                      </a:lnTo>
                      <a:lnTo>
                        <a:pt x="942" y="733"/>
                      </a:lnTo>
                      <a:lnTo>
                        <a:pt x="942" y="734"/>
                      </a:lnTo>
                      <a:lnTo>
                        <a:pt x="942" y="736"/>
                      </a:lnTo>
                      <a:lnTo>
                        <a:pt x="942" y="738"/>
                      </a:lnTo>
                      <a:lnTo>
                        <a:pt x="944" y="739"/>
                      </a:lnTo>
                      <a:lnTo>
                        <a:pt x="944" y="741"/>
                      </a:lnTo>
                      <a:lnTo>
                        <a:pt x="942" y="743"/>
                      </a:lnTo>
                      <a:lnTo>
                        <a:pt x="942" y="744"/>
                      </a:lnTo>
                      <a:lnTo>
                        <a:pt x="940" y="744"/>
                      </a:lnTo>
                      <a:lnTo>
                        <a:pt x="942" y="746"/>
                      </a:lnTo>
                      <a:lnTo>
                        <a:pt x="940" y="748"/>
                      </a:lnTo>
                      <a:lnTo>
                        <a:pt x="940" y="749"/>
                      </a:lnTo>
                      <a:lnTo>
                        <a:pt x="940" y="751"/>
                      </a:lnTo>
                      <a:lnTo>
                        <a:pt x="940" y="753"/>
                      </a:lnTo>
                      <a:lnTo>
                        <a:pt x="939" y="753"/>
                      </a:lnTo>
                      <a:lnTo>
                        <a:pt x="937" y="753"/>
                      </a:lnTo>
                      <a:lnTo>
                        <a:pt x="937" y="754"/>
                      </a:lnTo>
                      <a:lnTo>
                        <a:pt x="939" y="756"/>
                      </a:lnTo>
                      <a:lnTo>
                        <a:pt x="939" y="757"/>
                      </a:lnTo>
                      <a:lnTo>
                        <a:pt x="937" y="757"/>
                      </a:lnTo>
                      <a:lnTo>
                        <a:pt x="935" y="757"/>
                      </a:lnTo>
                      <a:lnTo>
                        <a:pt x="935" y="756"/>
                      </a:lnTo>
                      <a:lnTo>
                        <a:pt x="934" y="756"/>
                      </a:lnTo>
                      <a:lnTo>
                        <a:pt x="934" y="757"/>
                      </a:lnTo>
                      <a:lnTo>
                        <a:pt x="935" y="762"/>
                      </a:lnTo>
                      <a:lnTo>
                        <a:pt x="935" y="764"/>
                      </a:lnTo>
                      <a:lnTo>
                        <a:pt x="935" y="766"/>
                      </a:lnTo>
                      <a:lnTo>
                        <a:pt x="932" y="771"/>
                      </a:lnTo>
                      <a:lnTo>
                        <a:pt x="932" y="772"/>
                      </a:lnTo>
                      <a:lnTo>
                        <a:pt x="930" y="772"/>
                      </a:lnTo>
                      <a:lnTo>
                        <a:pt x="932" y="772"/>
                      </a:lnTo>
                      <a:lnTo>
                        <a:pt x="930" y="774"/>
                      </a:lnTo>
                      <a:lnTo>
                        <a:pt x="929" y="776"/>
                      </a:lnTo>
                      <a:lnTo>
                        <a:pt x="927" y="777"/>
                      </a:lnTo>
                      <a:lnTo>
                        <a:pt x="925" y="779"/>
                      </a:lnTo>
                      <a:lnTo>
                        <a:pt x="925" y="780"/>
                      </a:lnTo>
                      <a:lnTo>
                        <a:pt x="924" y="780"/>
                      </a:lnTo>
                      <a:lnTo>
                        <a:pt x="924" y="782"/>
                      </a:lnTo>
                      <a:lnTo>
                        <a:pt x="922" y="782"/>
                      </a:lnTo>
                      <a:lnTo>
                        <a:pt x="920" y="780"/>
                      </a:lnTo>
                      <a:lnTo>
                        <a:pt x="918" y="780"/>
                      </a:lnTo>
                      <a:lnTo>
                        <a:pt x="917" y="780"/>
                      </a:lnTo>
                      <a:lnTo>
                        <a:pt x="917" y="782"/>
                      </a:lnTo>
                      <a:lnTo>
                        <a:pt x="917" y="784"/>
                      </a:lnTo>
                      <a:lnTo>
                        <a:pt x="915" y="784"/>
                      </a:lnTo>
                      <a:lnTo>
                        <a:pt x="913" y="784"/>
                      </a:lnTo>
                      <a:lnTo>
                        <a:pt x="913" y="785"/>
                      </a:lnTo>
                      <a:lnTo>
                        <a:pt x="913" y="787"/>
                      </a:lnTo>
                      <a:lnTo>
                        <a:pt x="912" y="787"/>
                      </a:lnTo>
                      <a:lnTo>
                        <a:pt x="910" y="789"/>
                      </a:lnTo>
                      <a:lnTo>
                        <a:pt x="910" y="787"/>
                      </a:lnTo>
                      <a:lnTo>
                        <a:pt x="908" y="789"/>
                      </a:lnTo>
                      <a:lnTo>
                        <a:pt x="907" y="789"/>
                      </a:lnTo>
                      <a:lnTo>
                        <a:pt x="907" y="787"/>
                      </a:lnTo>
                      <a:lnTo>
                        <a:pt x="905" y="787"/>
                      </a:lnTo>
                      <a:lnTo>
                        <a:pt x="903" y="787"/>
                      </a:lnTo>
                      <a:lnTo>
                        <a:pt x="903" y="789"/>
                      </a:lnTo>
                      <a:lnTo>
                        <a:pt x="903" y="787"/>
                      </a:lnTo>
                      <a:lnTo>
                        <a:pt x="902" y="787"/>
                      </a:lnTo>
                      <a:lnTo>
                        <a:pt x="900" y="789"/>
                      </a:lnTo>
                      <a:lnTo>
                        <a:pt x="898" y="789"/>
                      </a:lnTo>
                      <a:lnTo>
                        <a:pt x="896" y="789"/>
                      </a:lnTo>
                      <a:lnTo>
                        <a:pt x="895" y="787"/>
                      </a:lnTo>
                      <a:lnTo>
                        <a:pt x="893" y="787"/>
                      </a:lnTo>
                      <a:lnTo>
                        <a:pt x="893" y="789"/>
                      </a:lnTo>
                      <a:lnTo>
                        <a:pt x="891" y="789"/>
                      </a:lnTo>
                      <a:lnTo>
                        <a:pt x="890" y="789"/>
                      </a:lnTo>
                      <a:lnTo>
                        <a:pt x="888" y="789"/>
                      </a:lnTo>
                      <a:lnTo>
                        <a:pt x="888" y="790"/>
                      </a:lnTo>
                      <a:lnTo>
                        <a:pt x="888" y="792"/>
                      </a:lnTo>
                      <a:lnTo>
                        <a:pt x="888" y="794"/>
                      </a:lnTo>
                      <a:lnTo>
                        <a:pt x="886" y="794"/>
                      </a:lnTo>
                      <a:lnTo>
                        <a:pt x="885" y="795"/>
                      </a:lnTo>
                      <a:lnTo>
                        <a:pt x="885" y="797"/>
                      </a:lnTo>
                      <a:lnTo>
                        <a:pt x="885" y="799"/>
                      </a:lnTo>
                      <a:lnTo>
                        <a:pt x="883" y="799"/>
                      </a:lnTo>
                      <a:lnTo>
                        <a:pt x="883" y="800"/>
                      </a:lnTo>
                      <a:lnTo>
                        <a:pt x="883" y="802"/>
                      </a:lnTo>
                      <a:lnTo>
                        <a:pt x="881" y="802"/>
                      </a:lnTo>
                      <a:lnTo>
                        <a:pt x="883" y="802"/>
                      </a:lnTo>
                      <a:lnTo>
                        <a:pt x="881" y="803"/>
                      </a:lnTo>
                      <a:lnTo>
                        <a:pt x="881" y="805"/>
                      </a:lnTo>
                      <a:lnTo>
                        <a:pt x="880" y="805"/>
                      </a:lnTo>
                      <a:lnTo>
                        <a:pt x="880" y="807"/>
                      </a:lnTo>
                      <a:lnTo>
                        <a:pt x="878" y="805"/>
                      </a:lnTo>
                      <a:lnTo>
                        <a:pt x="878" y="807"/>
                      </a:lnTo>
                      <a:lnTo>
                        <a:pt x="876" y="807"/>
                      </a:lnTo>
                      <a:lnTo>
                        <a:pt x="875" y="807"/>
                      </a:lnTo>
                      <a:lnTo>
                        <a:pt x="873" y="807"/>
                      </a:lnTo>
                      <a:lnTo>
                        <a:pt x="873" y="808"/>
                      </a:lnTo>
                      <a:lnTo>
                        <a:pt x="871" y="808"/>
                      </a:lnTo>
                      <a:lnTo>
                        <a:pt x="869" y="808"/>
                      </a:lnTo>
                      <a:lnTo>
                        <a:pt x="869" y="810"/>
                      </a:lnTo>
                      <a:lnTo>
                        <a:pt x="868" y="810"/>
                      </a:lnTo>
                      <a:lnTo>
                        <a:pt x="866" y="810"/>
                      </a:lnTo>
                      <a:lnTo>
                        <a:pt x="866" y="812"/>
                      </a:lnTo>
                      <a:lnTo>
                        <a:pt x="864" y="812"/>
                      </a:lnTo>
                      <a:lnTo>
                        <a:pt x="864" y="810"/>
                      </a:lnTo>
                      <a:lnTo>
                        <a:pt x="863" y="810"/>
                      </a:lnTo>
                      <a:lnTo>
                        <a:pt x="863" y="812"/>
                      </a:lnTo>
                      <a:lnTo>
                        <a:pt x="863" y="813"/>
                      </a:lnTo>
                      <a:lnTo>
                        <a:pt x="861" y="813"/>
                      </a:lnTo>
                      <a:lnTo>
                        <a:pt x="861" y="815"/>
                      </a:lnTo>
                      <a:lnTo>
                        <a:pt x="861" y="817"/>
                      </a:lnTo>
                      <a:lnTo>
                        <a:pt x="861" y="818"/>
                      </a:lnTo>
                      <a:lnTo>
                        <a:pt x="861" y="820"/>
                      </a:lnTo>
                      <a:lnTo>
                        <a:pt x="859" y="818"/>
                      </a:lnTo>
                      <a:lnTo>
                        <a:pt x="859" y="820"/>
                      </a:lnTo>
                      <a:lnTo>
                        <a:pt x="859" y="822"/>
                      </a:lnTo>
                      <a:lnTo>
                        <a:pt x="861" y="822"/>
                      </a:lnTo>
                      <a:lnTo>
                        <a:pt x="861" y="823"/>
                      </a:lnTo>
                      <a:lnTo>
                        <a:pt x="859" y="823"/>
                      </a:lnTo>
                      <a:lnTo>
                        <a:pt x="858" y="822"/>
                      </a:lnTo>
                      <a:lnTo>
                        <a:pt x="858" y="823"/>
                      </a:lnTo>
                      <a:lnTo>
                        <a:pt x="856" y="823"/>
                      </a:lnTo>
                      <a:lnTo>
                        <a:pt x="854" y="823"/>
                      </a:lnTo>
                      <a:lnTo>
                        <a:pt x="854" y="825"/>
                      </a:lnTo>
                      <a:lnTo>
                        <a:pt x="853" y="825"/>
                      </a:lnTo>
                      <a:lnTo>
                        <a:pt x="851" y="825"/>
                      </a:lnTo>
                      <a:lnTo>
                        <a:pt x="849" y="825"/>
                      </a:lnTo>
                      <a:lnTo>
                        <a:pt x="849" y="826"/>
                      </a:lnTo>
                      <a:lnTo>
                        <a:pt x="848" y="826"/>
                      </a:lnTo>
                      <a:lnTo>
                        <a:pt x="848" y="828"/>
                      </a:lnTo>
                      <a:lnTo>
                        <a:pt x="848" y="830"/>
                      </a:lnTo>
                      <a:lnTo>
                        <a:pt x="848" y="831"/>
                      </a:lnTo>
                      <a:lnTo>
                        <a:pt x="848" y="833"/>
                      </a:lnTo>
                      <a:lnTo>
                        <a:pt x="848" y="835"/>
                      </a:lnTo>
                      <a:lnTo>
                        <a:pt x="849" y="836"/>
                      </a:lnTo>
                      <a:lnTo>
                        <a:pt x="851" y="836"/>
                      </a:lnTo>
                      <a:lnTo>
                        <a:pt x="853" y="836"/>
                      </a:lnTo>
                      <a:lnTo>
                        <a:pt x="851" y="838"/>
                      </a:lnTo>
                      <a:lnTo>
                        <a:pt x="853" y="838"/>
                      </a:lnTo>
                      <a:lnTo>
                        <a:pt x="853" y="840"/>
                      </a:lnTo>
                      <a:lnTo>
                        <a:pt x="854" y="840"/>
                      </a:lnTo>
                      <a:lnTo>
                        <a:pt x="854" y="841"/>
                      </a:lnTo>
                      <a:lnTo>
                        <a:pt x="856" y="841"/>
                      </a:lnTo>
                      <a:lnTo>
                        <a:pt x="854" y="841"/>
                      </a:lnTo>
                      <a:lnTo>
                        <a:pt x="854" y="843"/>
                      </a:lnTo>
                      <a:lnTo>
                        <a:pt x="856" y="843"/>
                      </a:lnTo>
                      <a:lnTo>
                        <a:pt x="854" y="843"/>
                      </a:lnTo>
                      <a:lnTo>
                        <a:pt x="856" y="843"/>
                      </a:lnTo>
                      <a:lnTo>
                        <a:pt x="854" y="845"/>
                      </a:lnTo>
                      <a:lnTo>
                        <a:pt x="853" y="845"/>
                      </a:lnTo>
                      <a:lnTo>
                        <a:pt x="853" y="846"/>
                      </a:lnTo>
                      <a:lnTo>
                        <a:pt x="853" y="848"/>
                      </a:lnTo>
                      <a:lnTo>
                        <a:pt x="853" y="849"/>
                      </a:lnTo>
                      <a:lnTo>
                        <a:pt x="851" y="849"/>
                      </a:lnTo>
                      <a:lnTo>
                        <a:pt x="851" y="848"/>
                      </a:lnTo>
                      <a:lnTo>
                        <a:pt x="851" y="849"/>
                      </a:lnTo>
                      <a:lnTo>
                        <a:pt x="849" y="849"/>
                      </a:lnTo>
                      <a:lnTo>
                        <a:pt x="849" y="851"/>
                      </a:lnTo>
                      <a:lnTo>
                        <a:pt x="849" y="853"/>
                      </a:lnTo>
                      <a:lnTo>
                        <a:pt x="848" y="853"/>
                      </a:lnTo>
                      <a:lnTo>
                        <a:pt x="848" y="851"/>
                      </a:lnTo>
                      <a:lnTo>
                        <a:pt x="846" y="851"/>
                      </a:lnTo>
                      <a:lnTo>
                        <a:pt x="846" y="853"/>
                      </a:lnTo>
                      <a:lnTo>
                        <a:pt x="844" y="853"/>
                      </a:lnTo>
                      <a:lnTo>
                        <a:pt x="842" y="853"/>
                      </a:lnTo>
                      <a:lnTo>
                        <a:pt x="842" y="854"/>
                      </a:lnTo>
                      <a:lnTo>
                        <a:pt x="844" y="854"/>
                      </a:lnTo>
                      <a:lnTo>
                        <a:pt x="844" y="856"/>
                      </a:lnTo>
                      <a:lnTo>
                        <a:pt x="844" y="858"/>
                      </a:lnTo>
                      <a:lnTo>
                        <a:pt x="842" y="856"/>
                      </a:lnTo>
                      <a:lnTo>
                        <a:pt x="842" y="858"/>
                      </a:lnTo>
                      <a:lnTo>
                        <a:pt x="842" y="859"/>
                      </a:lnTo>
                      <a:lnTo>
                        <a:pt x="841" y="859"/>
                      </a:lnTo>
                      <a:lnTo>
                        <a:pt x="839" y="859"/>
                      </a:lnTo>
                      <a:lnTo>
                        <a:pt x="839" y="861"/>
                      </a:lnTo>
                      <a:lnTo>
                        <a:pt x="841" y="859"/>
                      </a:lnTo>
                      <a:lnTo>
                        <a:pt x="841" y="861"/>
                      </a:lnTo>
                      <a:lnTo>
                        <a:pt x="841" y="863"/>
                      </a:lnTo>
                      <a:lnTo>
                        <a:pt x="841" y="864"/>
                      </a:lnTo>
                      <a:lnTo>
                        <a:pt x="839" y="863"/>
                      </a:lnTo>
                      <a:lnTo>
                        <a:pt x="839" y="864"/>
                      </a:lnTo>
                      <a:lnTo>
                        <a:pt x="837" y="864"/>
                      </a:lnTo>
                      <a:lnTo>
                        <a:pt x="837" y="866"/>
                      </a:lnTo>
                      <a:lnTo>
                        <a:pt x="837" y="868"/>
                      </a:lnTo>
                      <a:lnTo>
                        <a:pt x="836" y="868"/>
                      </a:lnTo>
                      <a:lnTo>
                        <a:pt x="836" y="866"/>
                      </a:lnTo>
                      <a:lnTo>
                        <a:pt x="836" y="868"/>
                      </a:lnTo>
                      <a:lnTo>
                        <a:pt x="834" y="868"/>
                      </a:lnTo>
                      <a:lnTo>
                        <a:pt x="834" y="869"/>
                      </a:lnTo>
                      <a:lnTo>
                        <a:pt x="832" y="869"/>
                      </a:lnTo>
                      <a:lnTo>
                        <a:pt x="831" y="869"/>
                      </a:lnTo>
                      <a:lnTo>
                        <a:pt x="831" y="871"/>
                      </a:lnTo>
                      <a:lnTo>
                        <a:pt x="829" y="871"/>
                      </a:lnTo>
                      <a:lnTo>
                        <a:pt x="829" y="869"/>
                      </a:lnTo>
                      <a:lnTo>
                        <a:pt x="829" y="871"/>
                      </a:lnTo>
                      <a:lnTo>
                        <a:pt x="827" y="871"/>
                      </a:lnTo>
                      <a:lnTo>
                        <a:pt x="829" y="871"/>
                      </a:lnTo>
                      <a:lnTo>
                        <a:pt x="827" y="871"/>
                      </a:lnTo>
                      <a:lnTo>
                        <a:pt x="827" y="872"/>
                      </a:lnTo>
                      <a:lnTo>
                        <a:pt x="826" y="872"/>
                      </a:lnTo>
                      <a:lnTo>
                        <a:pt x="826" y="874"/>
                      </a:lnTo>
                      <a:lnTo>
                        <a:pt x="824" y="874"/>
                      </a:lnTo>
                      <a:lnTo>
                        <a:pt x="826" y="874"/>
                      </a:lnTo>
                      <a:lnTo>
                        <a:pt x="826" y="872"/>
                      </a:lnTo>
                      <a:lnTo>
                        <a:pt x="824" y="872"/>
                      </a:lnTo>
                      <a:lnTo>
                        <a:pt x="824" y="874"/>
                      </a:lnTo>
                      <a:lnTo>
                        <a:pt x="824" y="876"/>
                      </a:lnTo>
                      <a:lnTo>
                        <a:pt x="822" y="876"/>
                      </a:lnTo>
                      <a:lnTo>
                        <a:pt x="824" y="877"/>
                      </a:lnTo>
                      <a:lnTo>
                        <a:pt x="822" y="877"/>
                      </a:lnTo>
                      <a:lnTo>
                        <a:pt x="820" y="877"/>
                      </a:lnTo>
                      <a:lnTo>
                        <a:pt x="822" y="877"/>
                      </a:lnTo>
                      <a:lnTo>
                        <a:pt x="820" y="879"/>
                      </a:lnTo>
                      <a:lnTo>
                        <a:pt x="820" y="877"/>
                      </a:lnTo>
                      <a:lnTo>
                        <a:pt x="819" y="877"/>
                      </a:lnTo>
                      <a:lnTo>
                        <a:pt x="819" y="879"/>
                      </a:lnTo>
                      <a:lnTo>
                        <a:pt x="819" y="877"/>
                      </a:lnTo>
                      <a:lnTo>
                        <a:pt x="817" y="877"/>
                      </a:lnTo>
                      <a:lnTo>
                        <a:pt x="817" y="879"/>
                      </a:lnTo>
                      <a:lnTo>
                        <a:pt x="815" y="879"/>
                      </a:lnTo>
                      <a:lnTo>
                        <a:pt x="817" y="879"/>
                      </a:lnTo>
                      <a:lnTo>
                        <a:pt x="815" y="881"/>
                      </a:lnTo>
                      <a:lnTo>
                        <a:pt x="815" y="882"/>
                      </a:lnTo>
                      <a:lnTo>
                        <a:pt x="814" y="882"/>
                      </a:lnTo>
                      <a:lnTo>
                        <a:pt x="814" y="884"/>
                      </a:lnTo>
                      <a:lnTo>
                        <a:pt x="815" y="884"/>
                      </a:lnTo>
                      <a:lnTo>
                        <a:pt x="814" y="884"/>
                      </a:lnTo>
                      <a:lnTo>
                        <a:pt x="814" y="886"/>
                      </a:lnTo>
                      <a:lnTo>
                        <a:pt x="814" y="887"/>
                      </a:lnTo>
                      <a:lnTo>
                        <a:pt x="812" y="887"/>
                      </a:lnTo>
                      <a:lnTo>
                        <a:pt x="812" y="889"/>
                      </a:lnTo>
                      <a:lnTo>
                        <a:pt x="814" y="891"/>
                      </a:lnTo>
                      <a:lnTo>
                        <a:pt x="812" y="891"/>
                      </a:lnTo>
                      <a:lnTo>
                        <a:pt x="812" y="892"/>
                      </a:lnTo>
                      <a:lnTo>
                        <a:pt x="812" y="894"/>
                      </a:lnTo>
                      <a:lnTo>
                        <a:pt x="810" y="894"/>
                      </a:lnTo>
                      <a:lnTo>
                        <a:pt x="812" y="894"/>
                      </a:lnTo>
                      <a:lnTo>
                        <a:pt x="810" y="894"/>
                      </a:lnTo>
                      <a:lnTo>
                        <a:pt x="810" y="895"/>
                      </a:lnTo>
                      <a:lnTo>
                        <a:pt x="812" y="895"/>
                      </a:lnTo>
                      <a:lnTo>
                        <a:pt x="812" y="897"/>
                      </a:lnTo>
                      <a:lnTo>
                        <a:pt x="810" y="897"/>
                      </a:lnTo>
                      <a:lnTo>
                        <a:pt x="810" y="899"/>
                      </a:lnTo>
                      <a:lnTo>
                        <a:pt x="810" y="897"/>
                      </a:lnTo>
                      <a:lnTo>
                        <a:pt x="810" y="899"/>
                      </a:lnTo>
                      <a:lnTo>
                        <a:pt x="809" y="899"/>
                      </a:lnTo>
                      <a:lnTo>
                        <a:pt x="810" y="899"/>
                      </a:lnTo>
                      <a:lnTo>
                        <a:pt x="809" y="899"/>
                      </a:lnTo>
                      <a:lnTo>
                        <a:pt x="809" y="900"/>
                      </a:lnTo>
                      <a:lnTo>
                        <a:pt x="809" y="899"/>
                      </a:lnTo>
                      <a:lnTo>
                        <a:pt x="809" y="900"/>
                      </a:lnTo>
                      <a:lnTo>
                        <a:pt x="807" y="900"/>
                      </a:lnTo>
                      <a:lnTo>
                        <a:pt x="807" y="902"/>
                      </a:lnTo>
                      <a:lnTo>
                        <a:pt x="807" y="904"/>
                      </a:lnTo>
                      <a:lnTo>
                        <a:pt x="805" y="904"/>
                      </a:lnTo>
                      <a:lnTo>
                        <a:pt x="805" y="905"/>
                      </a:lnTo>
                      <a:lnTo>
                        <a:pt x="804" y="905"/>
                      </a:lnTo>
                      <a:lnTo>
                        <a:pt x="804" y="907"/>
                      </a:lnTo>
                      <a:lnTo>
                        <a:pt x="804" y="905"/>
                      </a:lnTo>
                      <a:lnTo>
                        <a:pt x="804" y="907"/>
                      </a:lnTo>
                      <a:lnTo>
                        <a:pt x="802" y="907"/>
                      </a:lnTo>
                      <a:lnTo>
                        <a:pt x="804" y="907"/>
                      </a:lnTo>
                      <a:lnTo>
                        <a:pt x="804" y="909"/>
                      </a:lnTo>
                      <a:lnTo>
                        <a:pt x="802" y="909"/>
                      </a:lnTo>
                      <a:lnTo>
                        <a:pt x="802" y="910"/>
                      </a:lnTo>
                      <a:lnTo>
                        <a:pt x="802" y="912"/>
                      </a:lnTo>
                      <a:lnTo>
                        <a:pt x="802" y="913"/>
                      </a:lnTo>
                      <a:lnTo>
                        <a:pt x="800" y="913"/>
                      </a:lnTo>
                      <a:lnTo>
                        <a:pt x="800" y="915"/>
                      </a:lnTo>
                      <a:lnTo>
                        <a:pt x="800" y="913"/>
                      </a:lnTo>
                      <a:lnTo>
                        <a:pt x="799" y="915"/>
                      </a:lnTo>
                      <a:lnTo>
                        <a:pt x="799" y="917"/>
                      </a:lnTo>
                      <a:lnTo>
                        <a:pt x="797" y="917"/>
                      </a:lnTo>
                      <a:lnTo>
                        <a:pt x="797" y="918"/>
                      </a:lnTo>
                      <a:lnTo>
                        <a:pt x="799" y="918"/>
                      </a:lnTo>
                      <a:lnTo>
                        <a:pt x="799" y="920"/>
                      </a:lnTo>
                      <a:lnTo>
                        <a:pt x="797" y="918"/>
                      </a:lnTo>
                      <a:lnTo>
                        <a:pt x="797" y="920"/>
                      </a:lnTo>
                      <a:lnTo>
                        <a:pt x="799" y="920"/>
                      </a:lnTo>
                      <a:lnTo>
                        <a:pt x="797" y="920"/>
                      </a:lnTo>
                      <a:lnTo>
                        <a:pt x="799" y="922"/>
                      </a:lnTo>
                      <a:lnTo>
                        <a:pt x="799" y="923"/>
                      </a:lnTo>
                      <a:lnTo>
                        <a:pt x="799" y="925"/>
                      </a:lnTo>
                      <a:lnTo>
                        <a:pt x="799" y="927"/>
                      </a:lnTo>
                      <a:lnTo>
                        <a:pt x="799" y="925"/>
                      </a:lnTo>
                      <a:lnTo>
                        <a:pt x="799" y="927"/>
                      </a:lnTo>
                      <a:lnTo>
                        <a:pt x="797" y="927"/>
                      </a:lnTo>
                      <a:lnTo>
                        <a:pt x="799" y="927"/>
                      </a:lnTo>
                      <a:lnTo>
                        <a:pt x="799" y="928"/>
                      </a:lnTo>
                      <a:lnTo>
                        <a:pt x="797" y="928"/>
                      </a:lnTo>
                      <a:lnTo>
                        <a:pt x="797" y="930"/>
                      </a:lnTo>
                      <a:lnTo>
                        <a:pt x="795" y="930"/>
                      </a:lnTo>
                      <a:lnTo>
                        <a:pt x="797" y="930"/>
                      </a:lnTo>
                      <a:lnTo>
                        <a:pt x="795" y="930"/>
                      </a:lnTo>
                      <a:lnTo>
                        <a:pt x="795" y="932"/>
                      </a:lnTo>
                      <a:lnTo>
                        <a:pt x="797" y="932"/>
                      </a:lnTo>
                      <a:lnTo>
                        <a:pt x="795" y="932"/>
                      </a:lnTo>
                      <a:lnTo>
                        <a:pt x="797" y="932"/>
                      </a:lnTo>
                      <a:lnTo>
                        <a:pt x="797" y="933"/>
                      </a:lnTo>
                      <a:lnTo>
                        <a:pt x="795" y="935"/>
                      </a:lnTo>
                      <a:lnTo>
                        <a:pt x="795" y="936"/>
                      </a:lnTo>
                      <a:lnTo>
                        <a:pt x="795" y="938"/>
                      </a:lnTo>
                      <a:lnTo>
                        <a:pt x="795" y="940"/>
                      </a:lnTo>
                      <a:lnTo>
                        <a:pt x="795" y="941"/>
                      </a:lnTo>
                      <a:lnTo>
                        <a:pt x="793" y="941"/>
                      </a:lnTo>
                      <a:lnTo>
                        <a:pt x="795" y="941"/>
                      </a:lnTo>
                      <a:lnTo>
                        <a:pt x="793" y="943"/>
                      </a:lnTo>
                      <a:lnTo>
                        <a:pt x="795" y="943"/>
                      </a:lnTo>
                      <a:lnTo>
                        <a:pt x="795" y="945"/>
                      </a:lnTo>
                      <a:lnTo>
                        <a:pt x="795" y="946"/>
                      </a:lnTo>
                      <a:lnTo>
                        <a:pt x="793" y="946"/>
                      </a:lnTo>
                      <a:lnTo>
                        <a:pt x="795" y="946"/>
                      </a:lnTo>
                      <a:lnTo>
                        <a:pt x="795" y="948"/>
                      </a:lnTo>
                      <a:lnTo>
                        <a:pt x="793" y="948"/>
                      </a:lnTo>
                      <a:lnTo>
                        <a:pt x="795" y="948"/>
                      </a:lnTo>
                      <a:lnTo>
                        <a:pt x="793" y="948"/>
                      </a:lnTo>
                      <a:lnTo>
                        <a:pt x="795" y="948"/>
                      </a:lnTo>
                      <a:lnTo>
                        <a:pt x="793" y="948"/>
                      </a:lnTo>
                      <a:lnTo>
                        <a:pt x="793" y="950"/>
                      </a:lnTo>
                      <a:lnTo>
                        <a:pt x="793" y="951"/>
                      </a:lnTo>
                      <a:lnTo>
                        <a:pt x="795" y="951"/>
                      </a:lnTo>
                      <a:lnTo>
                        <a:pt x="793" y="951"/>
                      </a:lnTo>
                      <a:lnTo>
                        <a:pt x="795" y="951"/>
                      </a:lnTo>
                      <a:lnTo>
                        <a:pt x="795" y="953"/>
                      </a:lnTo>
                      <a:lnTo>
                        <a:pt x="795" y="955"/>
                      </a:lnTo>
                      <a:lnTo>
                        <a:pt x="795" y="956"/>
                      </a:lnTo>
                      <a:lnTo>
                        <a:pt x="797" y="956"/>
                      </a:lnTo>
                      <a:lnTo>
                        <a:pt x="797" y="958"/>
                      </a:lnTo>
                      <a:lnTo>
                        <a:pt x="797" y="956"/>
                      </a:lnTo>
                      <a:lnTo>
                        <a:pt x="797" y="958"/>
                      </a:lnTo>
                      <a:lnTo>
                        <a:pt x="799" y="958"/>
                      </a:lnTo>
                      <a:lnTo>
                        <a:pt x="799" y="959"/>
                      </a:lnTo>
                      <a:lnTo>
                        <a:pt x="800" y="959"/>
                      </a:lnTo>
                      <a:lnTo>
                        <a:pt x="800" y="961"/>
                      </a:lnTo>
                      <a:lnTo>
                        <a:pt x="802" y="961"/>
                      </a:lnTo>
                      <a:lnTo>
                        <a:pt x="802" y="963"/>
                      </a:lnTo>
                      <a:lnTo>
                        <a:pt x="802" y="964"/>
                      </a:lnTo>
                      <a:lnTo>
                        <a:pt x="804" y="964"/>
                      </a:lnTo>
                      <a:lnTo>
                        <a:pt x="804" y="966"/>
                      </a:lnTo>
                      <a:lnTo>
                        <a:pt x="804" y="968"/>
                      </a:lnTo>
                      <a:lnTo>
                        <a:pt x="805" y="968"/>
                      </a:lnTo>
                      <a:lnTo>
                        <a:pt x="805" y="969"/>
                      </a:lnTo>
                      <a:lnTo>
                        <a:pt x="804" y="969"/>
                      </a:lnTo>
                      <a:lnTo>
                        <a:pt x="805" y="969"/>
                      </a:lnTo>
                      <a:lnTo>
                        <a:pt x="804" y="971"/>
                      </a:lnTo>
                      <a:lnTo>
                        <a:pt x="805" y="971"/>
                      </a:lnTo>
                      <a:lnTo>
                        <a:pt x="805" y="973"/>
                      </a:lnTo>
                      <a:lnTo>
                        <a:pt x="805" y="974"/>
                      </a:lnTo>
                      <a:lnTo>
                        <a:pt x="805" y="976"/>
                      </a:lnTo>
                      <a:lnTo>
                        <a:pt x="807" y="976"/>
                      </a:lnTo>
                      <a:lnTo>
                        <a:pt x="809" y="976"/>
                      </a:lnTo>
                      <a:lnTo>
                        <a:pt x="809" y="978"/>
                      </a:lnTo>
                      <a:lnTo>
                        <a:pt x="810" y="979"/>
                      </a:lnTo>
                      <a:lnTo>
                        <a:pt x="810" y="981"/>
                      </a:lnTo>
                      <a:lnTo>
                        <a:pt x="810" y="982"/>
                      </a:lnTo>
                      <a:lnTo>
                        <a:pt x="810" y="984"/>
                      </a:lnTo>
                      <a:lnTo>
                        <a:pt x="810" y="986"/>
                      </a:lnTo>
                      <a:lnTo>
                        <a:pt x="802" y="986"/>
                      </a:lnTo>
                      <a:lnTo>
                        <a:pt x="800" y="986"/>
                      </a:lnTo>
                      <a:lnTo>
                        <a:pt x="799" y="986"/>
                      </a:lnTo>
                      <a:lnTo>
                        <a:pt x="799" y="984"/>
                      </a:lnTo>
                      <a:lnTo>
                        <a:pt x="797" y="984"/>
                      </a:lnTo>
                      <a:lnTo>
                        <a:pt x="795" y="984"/>
                      </a:lnTo>
                      <a:lnTo>
                        <a:pt x="795" y="982"/>
                      </a:lnTo>
                      <a:lnTo>
                        <a:pt x="790" y="982"/>
                      </a:lnTo>
                      <a:lnTo>
                        <a:pt x="788" y="982"/>
                      </a:lnTo>
                      <a:lnTo>
                        <a:pt x="787" y="982"/>
                      </a:lnTo>
                      <a:lnTo>
                        <a:pt x="787" y="984"/>
                      </a:lnTo>
                      <a:lnTo>
                        <a:pt x="785" y="982"/>
                      </a:lnTo>
                      <a:lnTo>
                        <a:pt x="785" y="984"/>
                      </a:lnTo>
                      <a:lnTo>
                        <a:pt x="785" y="982"/>
                      </a:lnTo>
                      <a:lnTo>
                        <a:pt x="783" y="984"/>
                      </a:lnTo>
                      <a:lnTo>
                        <a:pt x="783" y="982"/>
                      </a:lnTo>
                      <a:lnTo>
                        <a:pt x="783" y="984"/>
                      </a:lnTo>
                      <a:lnTo>
                        <a:pt x="782" y="984"/>
                      </a:lnTo>
                      <a:lnTo>
                        <a:pt x="780" y="982"/>
                      </a:lnTo>
                      <a:lnTo>
                        <a:pt x="778" y="982"/>
                      </a:lnTo>
                      <a:lnTo>
                        <a:pt x="778" y="981"/>
                      </a:lnTo>
                      <a:lnTo>
                        <a:pt x="778" y="982"/>
                      </a:lnTo>
                      <a:lnTo>
                        <a:pt x="778" y="981"/>
                      </a:lnTo>
                      <a:lnTo>
                        <a:pt x="777" y="982"/>
                      </a:lnTo>
                      <a:lnTo>
                        <a:pt x="777" y="981"/>
                      </a:lnTo>
                      <a:lnTo>
                        <a:pt x="777" y="982"/>
                      </a:lnTo>
                      <a:lnTo>
                        <a:pt x="775" y="982"/>
                      </a:lnTo>
                      <a:lnTo>
                        <a:pt x="775" y="984"/>
                      </a:lnTo>
                      <a:lnTo>
                        <a:pt x="773" y="986"/>
                      </a:lnTo>
                      <a:lnTo>
                        <a:pt x="773" y="984"/>
                      </a:lnTo>
                      <a:lnTo>
                        <a:pt x="773" y="986"/>
                      </a:lnTo>
                      <a:lnTo>
                        <a:pt x="771" y="986"/>
                      </a:lnTo>
                      <a:lnTo>
                        <a:pt x="770" y="986"/>
                      </a:lnTo>
                      <a:lnTo>
                        <a:pt x="768" y="984"/>
                      </a:lnTo>
                      <a:lnTo>
                        <a:pt x="766" y="984"/>
                      </a:lnTo>
                      <a:lnTo>
                        <a:pt x="765" y="984"/>
                      </a:lnTo>
                      <a:lnTo>
                        <a:pt x="765" y="982"/>
                      </a:lnTo>
                      <a:lnTo>
                        <a:pt x="763" y="984"/>
                      </a:lnTo>
                      <a:lnTo>
                        <a:pt x="761" y="984"/>
                      </a:lnTo>
                      <a:lnTo>
                        <a:pt x="761" y="982"/>
                      </a:lnTo>
                      <a:lnTo>
                        <a:pt x="760" y="982"/>
                      </a:lnTo>
                      <a:lnTo>
                        <a:pt x="760" y="981"/>
                      </a:lnTo>
                      <a:lnTo>
                        <a:pt x="758" y="981"/>
                      </a:lnTo>
                      <a:lnTo>
                        <a:pt x="756" y="981"/>
                      </a:lnTo>
                      <a:lnTo>
                        <a:pt x="755" y="981"/>
                      </a:lnTo>
                      <a:lnTo>
                        <a:pt x="753" y="982"/>
                      </a:lnTo>
                      <a:lnTo>
                        <a:pt x="755" y="982"/>
                      </a:lnTo>
                      <a:lnTo>
                        <a:pt x="753" y="982"/>
                      </a:lnTo>
                      <a:lnTo>
                        <a:pt x="751" y="984"/>
                      </a:lnTo>
                      <a:lnTo>
                        <a:pt x="753" y="984"/>
                      </a:lnTo>
                      <a:lnTo>
                        <a:pt x="751" y="984"/>
                      </a:lnTo>
                      <a:lnTo>
                        <a:pt x="751" y="982"/>
                      </a:lnTo>
                      <a:lnTo>
                        <a:pt x="751" y="984"/>
                      </a:lnTo>
                      <a:lnTo>
                        <a:pt x="750" y="982"/>
                      </a:lnTo>
                      <a:lnTo>
                        <a:pt x="748" y="982"/>
                      </a:lnTo>
                      <a:lnTo>
                        <a:pt x="746" y="982"/>
                      </a:lnTo>
                      <a:lnTo>
                        <a:pt x="744" y="982"/>
                      </a:lnTo>
                      <a:lnTo>
                        <a:pt x="743" y="982"/>
                      </a:lnTo>
                      <a:lnTo>
                        <a:pt x="743" y="981"/>
                      </a:lnTo>
                      <a:lnTo>
                        <a:pt x="741" y="981"/>
                      </a:lnTo>
                      <a:lnTo>
                        <a:pt x="743" y="981"/>
                      </a:lnTo>
                      <a:lnTo>
                        <a:pt x="741" y="981"/>
                      </a:lnTo>
                      <a:lnTo>
                        <a:pt x="741" y="979"/>
                      </a:lnTo>
                      <a:lnTo>
                        <a:pt x="741" y="981"/>
                      </a:lnTo>
                      <a:lnTo>
                        <a:pt x="741" y="979"/>
                      </a:lnTo>
                      <a:lnTo>
                        <a:pt x="739" y="979"/>
                      </a:lnTo>
                      <a:lnTo>
                        <a:pt x="739" y="978"/>
                      </a:lnTo>
                      <a:lnTo>
                        <a:pt x="738" y="978"/>
                      </a:lnTo>
                      <a:lnTo>
                        <a:pt x="738" y="976"/>
                      </a:lnTo>
                      <a:lnTo>
                        <a:pt x="738" y="978"/>
                      </a:lnTo>
                      <a:lnTo>
                        <a:pt x="738" y="976"/>
                      </a:lnTo>
                      <a:lnTo>
                        <a:pt x="736" y="976"/>
                      </a:lnTo>
                      <a:lnTo>
                        <a:pt x="734" y="976"/>
                      </a:lnTo>
                      <a:lnTo>
                        <a:pt x="736" y="976"/>
                      </a:lnTo>
                      <a:lnTo>
                        <a:pt x="734" y="974"/>
                      </a:lnTo>
                      <a:lnTo>
                        <a:pt x="734" y="976"/>
                      </a:lnTo>
                      <a:lnTo>
                        <a:pt x="734" y="974"/>
                      </a:lnTo>
                      <a:lnTo>
                        <a:pt x="733" y="974"/>
                      </a:lnTo>
                      <a:lnTo>
                        <a:pt x="731" y="974"/>
                      </a:lnTo>
                      <a:lnTo>
                        <a:pt x="731" y="976"/>
                      </a:lnTo>
                      <a:lnTo>
                        <a:pt x="731" y="974"/>
                      </a:lnTo>
                      <a:lnTo>
                        <a:pt x="731" y="976"/>
                      </a:lnTo>
                      <a:lnTo>
                        <a:pt x="729" y="976"/>
                      </a:lnTo>
                      <a:lnTo>
                        <a:pt x="729" y="974"/>
                      </a:lnTo>
                      <a:lnTo>
                        <a:pt x="729" y="976"/>
                      </a:lnTo>
                      <a:lnTo>
                        <a:pt x="728" y="974"/>
                      </a:lnTo>
                      <a:lnTo>
                        <a:pt x="728" y="976"/>
                      </a:lnTo>
                      <a:lnTo>
                        <a:pt x="728" y="974"/>
                      </a:lnTo>
                      <a:lnTo>
                        <a:pt x="728" y="973"/>
                      </a:lnTo>
                      <a:lnTo>
                        <a:pt x="728" y="971"/>
                      </a:lnTo>
                      <a:lnTo>
                        <a:pt x="728" y="969"/>
                      </a:lnTo>
                      <a:lnTo>
                        <a:pt x="729" y="969"/>
                      </a:lnTo>
                      <a:lnTo>
                        <a:pt x="728" y="968"/>
                      </a:lnTo>
                      <a:lnTo>
                        <a:pt x="729" y="968"/>
                      </a:lnTo>
                      <a:lnTo>
                        <a:pt x="729" y="966"/>
                      </a:lnTo>
                      <a:lnTo>
                        <a:pt x="731" y="966"/>
                      </a:lnTo>
                      <a:lnTo>
                        <a:pt x="731" y="964"/>
                      </a:lnTo>
                      <a:lnTo>
                        <a:pt x="733" y="964"/>
                      </a:lnTo>
                      <a:lnTo>
                        <a:pt x="731" y="963"/>
                      </a:lnTo>
                      <a:lnTo>
                        <a:pt x="733" y="963"/>
                      </a:lnTo>
                      <a:lnTo>
                        <a:pt x="733" y="961"/>
                      </a:lnTo>
                      <a:lnTo>
                        <a:pt x="733" y="959"/>
                      </a:lnTo>
                      <a:lnTo>
                        <a:pt x="734" y="959"/>
                      </a:lnTo>
                      <a:lnTo>
                        <a:pt x="734" y="958"/>
                      </a:lnTo>
                      <a:lnTo>
                        <a:pt x="736" y="958"/>
                      </a:lnTo>
                      <a:lnTo>
                        <a:pt x="736" y="956"/>
                      </a:lnTo>
                      <a:lnTo>
                        <a:pt x="736" y="955"/>
                      </a:lnTo>
                      <a:lnTo>
                        <a:pt x="738" y="955"/>
                      </a:lnTo>
                      <a:lnTo>
                        <a:pt x="739" y="955"/>
                      </a:lnTo>
                      <a:lnTo>
                        <a:pt x="739" y="953"/>
                      </a:lnTo>
                      <a:lnTo>
                        <a:pt x="741" y="953"/>
                      </a:lnTo>
                      <a:lnTo>
                        <a:pt x="743" y="953"/>
                      </a:lnTo>
                      <a:lnTo>
                        <a:pt x="744" y="953"/>
                      </a:lnTo>
                      <a:lnTo>
                        <a:pt x="746" y="953"/>
                      </a:lnTo>
                      <a:lnTo>
                        <a:pt x="748" y="953"/>
                      </a:lnTo>
                      <a:lnTo>
                        <a:pt x="748" y="951"/>
                      </a:lnTo>
                      <a:lnTo>
                        <a:pt x="750" y="951"/>
                      </a:lnTo>
                      <a:lnTo>
                        <a:pt x="750" y="953"/>
                      </a:lnTo>
                      <a:lnTo>
                        <a:pt x="751" y="951"/>
                      </a:lnTo>
                      <a:lnTo>
                        <a:pt x="751" y="936"/>
                      </a:lnTo>
                      <a:lnTo>
                        <a:pt x="753" y="913"/>
                      </a:lnTo>
                      <a:lnTo>
                        <a:pt x="751" y="912"/>
                      </a:lnTo>
                      <a:lnTo>
                        <a:pt x="750" y="912"/>
                      </a:lnTo>
                      <a:lnTo>
                        <a:pt x="748" y="912"/>
                      </a:lnTo>
                      <a:lnTo>
                        <a:pt x="746" y="913"/>
                      </a:lnTo>
                      <a:lnTo>
                        <a:pt x="744" y="913"/>
                      </a:lnTo>
                      <a:lnTo>
                        <a:pt x="746" y="913"/>
                      </a:lnTo>
                      <a:lnTo>
                        <a:pt x="744" y="913"/>
                      </a:lnTo>
                      <a:lnTo>
                        <a:pt x="744" y="915"/>
                      </a:lnTo>
                      <a:lnTo>
                        <a:pt x="744" y="917"/>
                      </a:lnTo>
                      <a:lnTo>
                        <a:pt x="743" y="917"/>
                      </a:lnTo>
                      <a:lnTo>
                        <a:pt x="741" y="917"/>
                      </a:lnTo>
                      <a:lnTo>
                        <a:pt x="739" y="918"/>
                      </a:lnTo>
                      <a:lnTo>
                        <a:pt x="739" y="920"/>
                      </a:lnTo>
                      <a:lnTo>
                        <a:pt x="739" y="922"/>
                      </a:lnTo>
                      <a:lnTo>
                        <a:pt x="738" y="922"/>
                      </a:lnTo>
                      <a:lnTo>
                        <a:pt x="739" y="922"/>
                      </a:lnTo>
                      <a:lnTo>
                        <a:pt x="739" y="923"/>
                      </a:lnTo>
                      <a:lnTo>
                        <a:pt x="738" y="923"/>
                      </a:lnTo>
                      <a:lnTo>
                        <a:pt x="736" y="923"/>
                      </a:lnTo>
                      <a:lnTo>
                        <a:pt x="736" y="925"/>
                      </a:lnTo>
                      <a:lnTo>
                        <a:pt x="734" y="925"/>
                      </a:lnTo>
                      <a:lnTo>
                        <a:pt x="734" y="927"/>
                      </a:lnTo>
                      <a:lnTo>
                        <a:pt x="733" y="927"/>
                      </a:lnTo>
                      <a:lnTo>
                        <a:pt x="733" y="928"/>
                      </a:lnTo>
                      <a:lnTo>
                        <a:pt x="731" y="928"/>
                      </a:lnTo>
                      <a:lnTo>
                        <a:pt x="731" y="930"/>
                      </a:lnTo>
                      <a:lnTo>
                        <a:pt x="729" y="930"/>
                      </a:lnTo>
                      <a:lnTo>
                        <a:pt x="729" y="932"/>
                      </a:lnTo>
                      <a:lnTo>
                        <a:pt x="728" y="932"/>
                      </a:lnTo>
                      <a:lnTo>
                        <a:pt x="728" y="933"/>
                      </a:lnTo>
                      <a:lnTo>
                        <a:pt x="726" y="933"/>
                      </a:lnTo>
                      <a:lnTo>
                        <a:pt x="724" y="933"/>
                      </a:lnTo>
                      <a:lnTo>
                        <a:pt x="724" y="935"/>
                      </a:lnTo>
                      <a:lnTo>
                        <a:pt x="724" y="933"/>
                      </a:lnTo>
                      <a:lnTo>
                        <a:pt x="723" y="933"/>
                      </a:lnTo>
                      <a:lnTo>
                        <a:pt x="723" y="935"/>
                      </a:lnTo>
                      <a:lnTo>
                        <a:pt x="721" y="935"/>
                      </a:lnTo>
                      <a:lnTo>
                        <a:pt x="719" y="935"/>
                      </a:lnTo>
                      <a:lnTo>
                        <a:pt x="719" y="936"/>
                      </a:lnTo>
                      <a:lnTo>
                        <a:pt x="717" y="936"/>
                      </a:lnTo>
                      <a:lnTo>
                        <a:pt x="717" y="938"/>
                      </a:lnTo>
                      <a:lnTo>
                        <a:pt x="717" y="940"/>
                      </a:lnTo>
                      <a:lnTo>
                        <a:pt x="719" y="940"/>
                      </a:lnTo>
                      <a:lnTo>
                        <a:pt x="717" y="940"/>
                      </a:lnTo>
                      <a:lnTo>
                        <a:pt x="717" y="941"/>
                      </a:lnTo>
                      <a:lnTo>
                        <a:pt x="717" y="943"/>
                      </a:lnTo>
                      <a:lnTo>
                        <a:pt x="717" y="945"/>
                      </a:lnTo>
                      <a:lnTo>
                        <a:pt x="716" y="945"/>
                      </a:lnTo>
                      <a:lnTo>
                        <a:pt x="716" y="946"/>
                      </a:lnTo>
                      <a:lnTo>
                        <a:pt x="716" y="948"/>
                      </a:lnTo>
                      <a:lnTo>
                        <a:pt x="714" y="948"/>
                      </a:lnTo>
                      <a:lnTo>
                        <a:pt x="714" y="946"/>
                      </a:lnTo>
                      <a:lnTo>
                        <a:pt x="712" y="946"/>
                      </a:lnTo>
                      <a:lnTo>
                        <a:pt x="712" y="948"/>
                      </a:lnTo>
                      <a:lnTo>
                        <a:pt x="712" y="946"/>
                      </a:lnTo>
                      <a:lnTo>
                        <a:pt x="712" y="948"/>
                      </a:lnTo>
                      <a:lnTo>
                        <a:pt x="711" y="946"/>
                      </a:lnTo>
                      <a:lnTo>
                        <a:pt x="711" y="948"/>
                      </a:lnTo>
                      <a:lnTo>
                        <a:pt x="709" y="946"/>
                      </a:lnTo>
                      <a:lnTo>
                        <a:pt x="709" y="948"/>
                      </a:lnTo>
                      <a:lnTo>
                        <a:pt x="709" y="946"/>
                      </a:lnTo>
                      <a:lnTo>
                        <a:pt x="707" y="946"/>
                      </a:lnTo>
                      <a:lnTo>
                        <a:pt x="706" y="946"/>
                      </a:lnTo>
                      <a:lnTo>
                        <a:pt x="704" y="946"/>
                      </a:lnTo>
                      <a:lnTo>
                        <a:pt x="704" y="948"/>
                      </a:lnTo>
                      <a:lnTo>
                        <a:pt x="702" y="948"/>
                      </a:lnTo>
                      <a:lnTo>
                        <a:pt x="701" y="948"/>
                      </a:lnTo>
                      <a:lnTo>
                        <a:pt x="699" y="948"/>
                      </a:lnTo>
                      <a:lnTo>
                        <a:pt x="699" y="950"/>
                      </a:lnTo>
                      <a:lnTo>
                        <a:pt x="697" y="950"/>
                      </a:lnTo>
                      <a:lnTo>
                        <a:pt x="697" y="951"/>
                      </a:lnTo>
                      <a:lnTo>
                        <a:pt x="695" y="951"/>
                      </a:lnTo>
                      <a:lnTo>
                        <a:pt x="694" y="951"/>
                      </a:lnTo>
                      <a:lnTo>
                        <a:pt x="692" y="951"/>
                      </a:lnTo>
                      <a:lnTo>
                        <a:pt x="690" y="951"/>
                      </a:lnTo>
                      <a:lnTo>
                        <a:pt x="689" y="951"/>
                      </a:lnTo>
                      <a:lnTo>
                        <a:pt x="689" y="950"/>
                      </a:lnTo>
                      <a:lnTo>
                        <a:pt x="689" y="951"/>
                      </a:lnTo>
                      <a:lnTo>
                        <a:pt x="689" y="950"/>
                      </a:lnTo>
                      <a:lnTo>
                        <a:pt x="687" y="950"/>
                      </a:lnTo>
                      <a:lnTo>
                        <a:pt x="685" y="948"/>
                      </a:lnTo>
                      <a:lnTo>
                        <a:pt x="687" y="948"/>
                      </a:lnTo>
                      <a:lnTo>
                        <a:pt x="687" y="946"/>
                      </a:lnTo>
                      <a:lnTo>
                        <a:pt x="687" y="945"/>
                      </a:lnTo>
                      <a:lnTo>
                        <a:pt x="687" y="943"/>
                      </a:lnTo>
                      <a:lnTo>
                        <a:pt x="687" y="945"/>
                      </a:lnTo>
                      <a:lnTo>
                        <a:pt x="687" y="943"/>
                      </a:lnTo>
                      <a:lnTo>
                        <a:pt x="685" y="943"/>
                      </a:lnTo>
                      <a:lnTo>
                        <a:pt x="684" y="943"/>
                      </a:lnTo>
                      <a:lnTo>
                        <a:pt x="684" y="941"/>
                      </a:lnTo>
                      <a:lnTo>
                        <a:pt x="684" y="940"/>
                      </a:lnTo>
                      <a:lnTo>
                        <a:pt x="682" y="940"/>
                      </a:lnTo>
                      <a:lnTo>
                        <a:pt x="680" y="940"/>
                      </a:lnTo>
                      <a:lnTo>
                        <a:pt x="679" y="940"/>
                      </a:lnTo>
                      <a:lnTo>
                        <a:pt x="679" y="938"/>
                      </a:lnTo>
                      <a:lnTo>
                        <a:pt x="677" y="938"/>
                      </a:lnTo>
                      <a:lnTo>
                        <a:pt x="679" y="938"/>
                      </a:lnTo>
                      <a:lnTo>
                        <a:pt x="677" y="938"/>
                      </a:lnTo>
                      <a:lnTo>
                        <a:pt x="677" y="936"/>
                      </a:lnTo>
                      <a:lnTo>
                        <a:pt x="679" y="936"/>
                      </a:lnTo>
                      <a:lnTo>
                        <a:pt x="677" y="936"/>
                      </a:lnTo>
                      <a:lnTo>
                        <a:pt x="677" y="935"/>
                      </a:lnTo>
                      <a:lnTo>
                        <a:pt x="675" y="935"/>
                      </a:lnTo>
                      <a:lnTo>
                        <a:pt x="674" y="935"/>
                      </a:lnTo>
                      <a:lnTo>
                        <a:pt x="672" y="935"/>
                      </a:lnTo>
                      <a:lnTo>
                        <a:pt x="670" y="935"/>
                      </a:lnTo>
                      <a:lnTo>
                        <a:pt x="668" y="935"/>
                      </a:lnTo>
                      <a:lnTo>
                        <a:pt x="668" y="933"/>
                      </a:lnTo>
                      <a:lnTo>
                        <a:pt x="667" y="933"/>
                      </a:lnTo>
                      <a:lnTo>
                        <a:pt x="667" y="935"/>
                      </a:lnTo>
                      <a:lnTo>
                        <a:pt x="665" y="935"/>
                      </a:lnTo>
                      <a:lnTo>
                        <a:pt x="665" y="936"/>
                      </a:lnTo>
                      <a:lnTo>
                        <a:pt x="663" y="935"/>
                      </a:lnTo>
                      <a:lnTo>
                        <a:pt x="663" y="936"/>
                      </a:lnTo>
                      <a:lnTo>
                        <a:pt x="662" y="936"/>
                      </a:lnTo>
                      <a:lnTo>
                        <a:pt x="662" y="935"/>
                      </a:lnTo>
                      <a:lnTo>
                        <a:pt x="660" y="935"/>
                      </a:lnTo>
                      <a:lnTo>
                        <a:pt x="660" y="936"/>
                      </a:lnTo>
                      <a:lnTo>
                        <a:pt x="658" y="936"/>
                      </a:lnTo>
                      <a:lnTo>
                        <a:pt x="657" y="936"/>
                      </a:lnTo>
                      <a:lnTo>
                        <a:pt x="657" y="938"/>
                      </a:lnTo>
                      <a:lnTo>
                        <a:pt x="655" y="938"/>
                      </a:lnTo>
                      <a:lnTo>
                        <a:pt x="653" y="938"/>
                      </a:lnTo>
                      <a:lnTo>
                        <a:pt x="652" y="938"/>
                      </a:lnTo>
                      <a:lnTo>
                        <a:pt x="652" y="940"/>
                      </a:lnTo>
                      <a:lnTo>
                        <a:pt x="652" y="941"/>
                      </a:lnTo>
                      <a:lnTo>
                        <a:pt x="650" y="941"/>
                      </a:lnTo>
                      <a:lnTo>
                        <a:pt x="652" y="941"/>
                      </a:lnTo>
                      <a:lnTo>
                        <a:pt x="652" y="943"/>
                      </a:lnTo>
                      <a:lnTo>
                        <a:pt x="650" y="943"/>
                      </a:lnTo>
                      <a:lnTo>
                        <a:pt x="648" y="943"/>
                      </a:lnTo>
                      <a:lnTo>
                        <a:pt x="648" y="945"/>
                      </a:lnTo>
                      <a:lnTo>
                        <a:pt x="647" y="945"/>
                      </a:lnTo>
                      <a:lnTo>
                        <a:pt x="645" y="946"/>
                      </a:lnTo>
                      <a:lnTo>
                        <a:pt x="643" y="946"/>
                      </a:lnTo>
                      <a:lnTo>
                        <a:pt x="641" y="946"/>
                      </a:lnTo>
                      <a:lnTo>
                        <a:pt x="641" y="948"/>
                      </a:lnTo>
                      <a:lnTo>
                        <a:pt x="640" y="948"/>
                      </a:lnTo>
                      <a:lnTo>
                        <a:pt x="638" y="948"/>
                      </a:lnTo>
                      <a:lnTo>
                        <a:pt x="638" y="946"/>
                      </a:lnTo>
                      <a:lnTo>
                        <a:pt x="636" y="946"/>
                      </a:lnTo>
                      <a:lnTo>
                        <a:pt x="635" y="946"/>
                      </a:lnTo>
                      <a:lnTo>
                        <a:pt x="633" y="946"/>
                      </a:lnTo>
                      <a:lnTo>
                        <a:pt x="633" y="948"/>
                      </a:lnTo>
                      <a:lnTo>
                        <a:pt x="633" y="946"/>
                      </a:lnTo>
                      <a:lnTo>
                        <a:pt x="633" y="948"/>
                      </a:lnTo>
                      <a:lnTo>
                        <a:pt x="631" y="948"/>
                      </a:lnTo>
                      <a:lnTo>
                        <a:pt x="630" y="948"/>
                      </a:lnTo>
                      <a:lnTo>
                        <a:pt x="630" y="950"/>
                      </a:lnTo>
                      <a:lnTo>
                        <a:pt x="628" y="950"/>
                      </a:lnTo>
                      <a:lnTo>
                        <a:pt x="630" y="950"/>
                      </a:lnTo>
                      <a:lnTo>
                        <a:pt x="628" y="950"/>
                      </a:lnTo>
                      <a:lnTo>
                        <a:pt x="628" y="948"/>
                      </a:lnTo>
                      <a:lnTo>
                        <a:pt x="628" y="950"/>
                      </a:lnTo>
                      <a:lnTo>
                        <a:pt x="628" y="948"/>
                      </a:lnTo>
                      <a:lnTo>
                        <a:pt x="626" y="948"/>
                      </a:lnTo>
                      <a:lnTo>
                        <a:pt x="626" y="950"/>
                      </a:lnTo>
                      <a:lnTo>
                        <a:pt x="626" y="948"/>
                      </a:lnTo>
                      <a:lnTo>
                        <a:pt x="626" y="950"/>
                      </a:lnTo>
                      <a:lnTo>
                        <a:pt x="626" y="948"/>
                      </a:lnTo>
                      <a:lnTo>
                        <a:pt x="626" y="950"/>
                      </a:lnTo>
                      <a:lnTo>
                        <a:pt x="625" y="950"/>
                      </a:lnTo>
                      <a:lnTo>
                        <a:pt x="623" y="950"/>
                      </a:lnTo>
                      <a:lnTo>
                        <a:pt x="621" y="950"/>
                      </a:lnTo>
                      <a:lnTo>
                        <a:pt x="621" y="948"/>
                      </a:lnTo>
                      <a:lnTo>
                        <a:pt x="621" y="950"/>
                      </a:lnTo>
                      <a:lnTo>
                        <a:pt x="619" y="948"/>
                      </a:lnTo>
                      <a:lnTo>
                        <a:pt x="619" y="950"/>
                      </a:lnTo>
                      <a:lnTo>
                        <a:pt x="619" y="948"/>
                      </a:lnTo>
                      <a:lnTo>
                        <a:pt x="618" y="948"/>
                      </a:lnTo>
                      <a:lnTo>
                        <a:pt x="618" y="950"/>
                      </a:lnTo>
                      <a:lnTo>
                        <a:pt x="616" y="950"/>
                      </a:lnTo>
                      <a:lnTo>
                        <a:pt x="616" y="951"/>
                      </a:lnTo>
                      <a:lnTo>
                        <a:pt x="614" y="950"/>
                      </a:lnTo>
                      <a:lnTo>
                        <a:pt x="613" y="950"/>
                      </a:lnTo>
                      <a:lnTo>
                        <a:pt x="611" y="950"/>
                      </a:lnTo>
                      <a:lnTo>
                        <a:pt x="613" y="950"/>
                      </a:lnTo>
                      <a:lnTo>
                        <a:pt x="611" y="950"/>
                      </a:lnTo>
                      <a:lnTo>
                        <a:pt x="611" y="948"/>
                      </a:lnTo>
                      <a:lnTo>
                        <a:pt x="609" y="948"/>
                      </a:lnTo>
                      <a:lnTo>
                        <a:pt x="609" y="946"/>
                      </a:lnTo>
                      <a:lnTo>
                        <a:pt x="608" y="948"/>
                      </a:lnTo>
                      <a:lnTo>
                        <a:pt x="606" y="946"/>
                      </a:lnTo>
                      <a:lnTo>
                        <a:pt x="608" y="946"/>
                      </a:lnTo>
                      <a:lnTo>
                        <a:pt x="606" y="946"/>
                      </a:lnTo>
                      <a:lnTo>
                        <a:pt x="606" y="945"/>
                      </a:lnTo>
                      <a:lnTo>
                        <a:pt x="606" y="946"/>
                      </a:lnTo>
                      <a:lnTo>
                        <a:pt x="606" y="945"/>
                      </a:lnTo>
                      <a:lnTo>
                        <a:pt x="606" y="946"/>
                      </a:lnTo>
                      <a:lnTo>
                        <a:pt x="606" y="945"/>
                      </a:lnTo>
                      <a:lnTo>
                        <a:pt x="604" y="945"/>
                      </a:lnTo>
                      <a:lnTo>
                        <a:pt x="604" y="946"/>
                      </a:lnTo>
                      <a:lnTo>
                        <a:pt x="604" y="945"/>
                      </a:lnTo>
                      <a:lnTo>
                        <a:pt x="604" y="943"/>
                      </a:lnTo>
                      <a:lnTo>
                        <a:pt x="603" y="943"/>
                      </a:lnTo>
                      <a:lnTo>
                        <a:pt x="603" y="941"/>
                      </a:lnTo>
                      <a:lnTo>
                        <a:pt x="603" y="943"/>
                      </a:lnTo>
                      <a:lnTo>
                        <a:pt x="601" y="943"/>
                      </a:lnTo>
                      <a:lnTo>
                        <a:pt x="601" y="941"/>
                      </a:lnTo>
                      <a:lnTo>
                        <a:pt x="599" y="941"/>
                      </a:lnTo>
                      <a:lnTo>
                        <a:pt x="601" y="941"/>
                      </a:lnTo>
                      <a:lnTo>
                        <a:pt x="601" y="940"/>
                      </a:lnTo>
                      <a:lnTo>
                        <a:pt x="599" y="940"/>
                      </a:lnTo>
                      <a:lnTo>
                        <a:pt x="599" y="941"/>
                      </a:lnTo>
                      <a:lnTo>
                        <a:pt x="598" y="941"/>
                      </a:lnTo>
                      <a:lnTo>
                        <a:pt x="598" y="940"/>
                      </a:lnTo>
                      <a:lnTo>
                        <a:pt x="598" y="941"/>
                      </a:lnTo>
                      <a:lnTo>
                        <a:pt x="596" y="941"/>
                      </a:lnTo>
                      <a:lnTo>
                        <a:pt x="594" y="941"/>
                      </a:lnTo>
                      <a:lnTo>
                        <a:pt x="594" y="940"/>
                      </a:lnTo>
                      <a:lnTo>
                        <a:pt x="592" y="938"/>
                      </a:lnTo>
                      <a:lnTo>
                        <a:pt x="591" y="938"/>
                      </a:lnTo>
                      <a:lnTo>
                        <a:pt x="589" y="938"/>
                      </a:lnTo>
                      <a:lnTo>
                        <a:pt x="587" y="938"/>
                      </a:lnTo>
                      <a:lnTo>
                        <a:pt x="586" y="938"/>
                      </a:lnTo>
                      <a:lnTo>
                        <a:pt x="586" y="936"/>
                      </a:lnTo>
                      <a:lnTo>
                        <a:pt x="586" y="938"/>
                      </a:lnTo>
                      <a:lnTo>
                        <a:pt x="586" y="936"/>
                      </a:lnTo>
                      <a:lnTo>
                        <a:pt x="584" y="936"/>
                      </a:lnTo>
                      <a:lnTo>
                        <a:pt x="584" y="935"/>
                      </a:lnTo>
                      <a:lnTo>
                        <a:pt x="582" y="935"/>
                      </a:lnTo>
                      <a:lnTo>
                        <a:pt x="581" y="935"/>
                      </a:lnTo>
                      <a:lnTo>
                        <a:pt x="579" y="935"/>
                      </a:lnTo>
                      <a:lnTo>
                        <a:pt x="579" y="933"/>
                      </a:lnTo>
                      <a:lnTo>
                        <a:pt x="577" y="933"/>
                      </a:lnTo>
                      <a:lnTo>
                        <a:pt x="576" y="932"/>
                      </a:lnTo>
                      <a:lnTo>
                        <a:pt x="574" y="932"/>
                      </a:lnTo>
                      <a:lnTo>
                        <a:pt x="574" y="930"/>
                      </a:lnTo>
                      <a:lnTo>
                        <a:pt x="574" y="928"/>
                      </a:lnTo>
                      <a:lnTo>
                        <a:pt x="572" y="930"/>
                      </a:lnTo>
                      <a:lnTo>
                        <a:pt x="572" y="928"/>
                      </a:lnTo>
                      <a:lnTo>
                        <a:pt x="574" y="927"/>
                      </a:lnTo>
                      <a:lnTo>
                        <a:pt x="572" y="927"/>
                      </a:lnTo>
                      <a:lnTo>
                        <a:pt x="572" y="925"/>
                      </a:lnTo>
                      <a:lnTo>
                        <a:pt x="571" y="925"/>
                      </a:lnTo>
                      <a:lnTo>
                        <a:pt x="571" y="923"/>
                      </a:lnTo>
                      <a:lnTo>
                        <a:pt x="571" y="925"/>
                      </a:lnTo>
                      <a:lnTo>
                        <a:pt x="569" y="925"/>
                      </a:lnTo>
                      <a:lnTo>
                        <a:pt x="569" y="923"/>
                      </a:lnTo>
                      <a:lnTo>
                        <a:pt x="567" y="923"/>
                      </a:lnTo>
                      <a:lnTo>
                        <a:pt x="567" y="922"/>
                      </a:lnTo>
                      <a:lnTo>
                        <a:pt x="567" y="923"/>
                      </a:lnTo>
                      <a:lnTo>
                        <a:pt x="565" y="923"/>
                      </a:lnTo>
                      <a:lnTo>
                        <a:pt x="565" y="922"/>
                      </a:lnTo>
                      <a:lnTo>
                        <a:pt x="565" y="923"/>
                      </a:lnTo>
                      <a:lnTo>
                        <a:pt x="564" y="923"/>
                      </a:lnTo>
                      <a:lnTo>
                        <a:pt x="564" y="922"/>
                      </a:lnTo>
                      <a:lnTo>
                        <a:pt x="564" y="923"/>
                      </a:lnTo>
                      <a:lnTo>
                        <a:pt x="562" y="922"/>
                      </a:lnTo>
                      <a:lnTo>
                        <a:pt x="562" y="923"/>
                      </a:lnTo>
                      <a:lnTo>
                        <a:pt x="560" y="922"/>
                      </a:lnTo>
                      <a:lnTo>
                        <a:pt x="560" y="923"/>
                      </a:lnTo>
                      <a:lnTo>
                        <a:pt x="559" y="922"/>
                      </a:lnTo>
                      <a:lnTo>
                        <a:pt x="557" y="922"/>
                      </a:lnTo>
                      <a:lnTo>
                        <a:pt x="555" y="920"/>
                      </a:lnTo>
                      <a:lnTo>
                        <a:pt x="555" y="922"/>
                      </a:lnTo>
                      <a:lnTo>
                        <a:pt x="554" y="920"/>
                      </a:lnTo>
                      <a:lnTo>
                        <a:pt x="554" y="922"/>
                      </a:lnTo>
                      <a:lnTo>
                        <a:pt x="554" y="920"/>
                      </a:lnTo>
                      <a:lnTo>
                        <a:pt x="552" y="920"/>
                      </a:lnTo>
                      <a:lnTo>
                        <a:pt x="552" y="918"/>
                      </a:lnTo>
                      <a:lnTo>
                        <a:pt x="550" y="918"/>
                      </a:lnTo>
                      <a:lnTo>
                        <a:pt x="549" y="918"/>
                      </a:lnTo>
                      <a:lnTo>
                        <a:pt x="550" y="918"/>
                      </a:lnTo>
                      <a:lnTo>
                        <a:pt x="550" y="917"/>
                      </a:lnTo>
                      <a:lnTo>
                        <a:pt x="549" y="917"/>
                      </a:lnTo>
                      <a:lnTo>
                        <a:pt x="549" y="918"/>
                      </a:lnTo>
                      <a:lnTo>
                        <a:pt x="549" y="917"/>
                      </a:lnTo>
                      <a:lnTo>
                        <a:pt x="547" y="917"/>
                      </a:lnTo>
                      <a:lnTo>
                        <a:pt x="545" y="915"/>
                      </a:lnTo>
                      <a:lnTo>
                        <a:pt x="545" y="917"/>
                      </a:lnTo>
                      <a:lnTo>
                        <a:pt x="543" y="917"/>
                      </a:lnTo>
                      <a:lnTo>
                        <a:pt x="543" y="915"/>
                      </a:lnTo>
                      <a:lnTo>
                        <a:pt x="543" y="917"/>
                      </a:lnTo>
                      <a:lnTo>
                        <a:pt x="542" y="915"/>
                      </a:lnTo>
                      <a:lnTo>
                        <a:pt x="543" y="915"/>
                      </a:lnTo>
                      <a:lnTo>
                        <a:pt x="542" y="915"/>
                      </a:lnTo>
                      <a:lnTo>
                        <a:pt x="540" y="915"/>
                      </a:lnTo>
                      <a:lnTo>
                        <a:pt x="540" y="913"/>
                      </a:lnTo>
                      <a:lnTo>
                        <a:pt x="540" y="915"/>
                      </a:lnTo>
                      <a:lnTo>
                        <a:pt x="538" y="917"/>
                      </a:lnTo>
                      <a:lnTo>
                        <a:pt x="538" y="915"/>
                      </a:lnTo>
                      <a:lnTo>
                        <a:pt x="537" y="913"/>
                      </a:lnTo>
                      <a:lnTo>
                        <a:pt x="538" y="913"/>
                      </a:lnTo>
                      <a:lnTo>
                        <a:pt x="537" y="913"/>
                      </a:lnTo>
                      <a:lnTo>
                        <a:pt x="535" y="913"/>
                      </a:lnTo>
                      <a:lnTo>
                        <a:pt x="533" y="913"/>
                      </a:lnTo>
                      <a:lnTo>
                        <a:pt x="535" y="913"/>
                      </a:lnTo>
                      <a:lnTo>
                        <a:pt x="533" y="912"/>
                      </a:lnTo>
                      <a:lnTo>
                        <a:pt x="533" y="913"/>
                      </a:lnTo>
                      <a:lnTo>
                        <a:pt x="533" y="912"/>
                      </a:lnTo>
                      <a:lnTo>
                        <a:pt x="532" y="912"/>
                      </a:lnTo>
                      <a:lnTo>
                        <a:pt x="532" y="910"/>
                      </a:lnTo>
                      <a:lnTo>
                        <a:pt x="533" y="910"/>
                      </a:lnTo>
                      <a:lnTo>
                        <a:pt x="533" y="909"/>
                      </a:lnTo>
                      <a:lnTo>
                        <a:pt x="532" y="909"/>
                      </a:lnTo>
                      <a:lnTo>
                        <a:pt x="530" y="907"/>
                      </a:lnTo>
                      <a:lnTo>
                        <a:pt x="528" y="907"/>
                      </a:lnTo>
                      <a:lnTo>
                        <a:pt x="527" y="907"/>
                      </a:lnTo>
                      <a:lnTo>
                        <a:pt x="525" y="907"/>
                      </a:lnTo>
                      <a:lnTo>
                        <a:pt x="523" y="907"/>
                      </a:lnTo>
                      <a:lnTo>
                        <a:pt x="523" y="905"/>
                      </a:lnTo>
                      <a:lnTo>
                        <a:pt x="522" y="905"/>
                      </a:lnTo>
                      <a:lnTo>
                        <a:pt x="522" y="907"/>
                      </a:lnTo>
                      <a:lnTo>
                        <a:pt x="520" y="907"/>
                      </a:lnTo>
                      <a:lnTo>
                        <a:pt x="520" y="909"/>
                      </a:lnTo>
                      <a:lnTo>
                        <a:pt x="520" y="907"/>
                      </a:lnTo>
                      <a:lnTo>
                        <a:pt x="518" y="907"/>
                      </a:lnTo>
                      <a:lnTo>
                        <a:pt x="518" y="909"/>
                      </a:lnTo>
                      <a:lnTo>
                        <a:pt x="516" y="909"/>
                      </a:lnTo>
                      <a:lnTo>
                        <a:pt x="515" y="909"/>
                      </a:lnTo>
                      <a:lnTo>
                        <a:pt x="516" y="909"/>
                      </a:lnTo>
                      <a:lnTo>
                        <a:pt x="515" y="909"/>
                      </a:lnTo>
                      <a:lnTo>
                        <a:pt x="515" y="910"/>
                      </a:lnTo>
                      <a:lnTo>
                        <a:pt x="513" y="910"/>
                      </a:lnTo>
                      <a:lnTo>
                        <a:pt x="513" y="912"/>
                      </a:lnTo>
                      <a:lnTo>
                        <a:pt x="513" y="910"/>
                      </a:lnTo>
                      <a:lnTo>
                        <a:pt x="511" y="910"/>
                      </a:lnTo>
                      <a:lnTo>
                        <a:pt x="513" y="912"/>
                      </a:lnTo>
                      <a:lnTo>
                        <a:pt x="511" y="912"/>
                      </a:lnTo>
                      <a:lnTo>
                        <a:pt x="511" y="910"/>
                      </a:lnTo>
                      <a:lnTo>
                        <a:pt x="510" y="910"/>
                      </a:lnTo>
                      <a:lnTo>
                        <a:pt x="510" y="912"/>
                      </a:lnTo>
                      <a:lnTo>
                        <a:pt x="508" y="912"/>
                      </a:lnTo>
                      <a:lnTo>
                        <a:pt x="510" y="913"/>
                      </a:lnTo>
                      <a:lnTo>
                        <a:pt x="508" y="913"/>
                      </a:lnTo>
                      <a:lnTo>
                        <a:pt x="508" y="912"/>
                      </a:lnTo>
                      <a:lnTo>
                        <a:pt x="508" y="913"/>
                      </a:lnTo>
                      <a:lnTo>
                        <a:pt x="506" y="913"/>
                      </a:lnTo>
                      <a:lnTo>
                        <a:pt x="506" y="915"/>
                      </a:lnTo>
                      <a:lnTo>
                        <a:pt x="505" y="915"/>
                      </a:lnTo>
                      <a:lnTo>
                        <a:pt x="505" y="917"/>
                      </a:lnTo>
                      <a:lnTo>
                        <a:pt x="505" y="915"/>
                      </a:lnTo>
                      <a:lnTo>
                        <a:pt x="503" y="915"/>
                      </a:lnTo>
                      <a:lnTo>
                        <a:pt x="503" y="917"/>
                      </a:lnTo>
                      <a:lnTo>
                        <a:pt x="501" y="917"/>
                      </a:lnTo>
                      <a:lnTo>
                        <a:pt x="500" y="917"/>
                      </a:lnTo>
                      <a:lnTo>
                        <a:pt x="500" y="915"/>
                      </a:lnTo>
                      <a:lnTo>
                        <a:pt x="501" y="915"/>
                      </a:lnTo>
                      <a:lnTo>
                        <a:pt x="500" y="915"/>
                      </a:lnTo>
                      <a:lnTo>
                        <a:pt x="500" y="917"/>
                      </a:lnTo>
                      <a:lnTo>
                        <a:pt x="498" y="917"/>
                      </a:lnTo>
                      <a:lnTo>
                        <a:pt x="496" y="917"/>
                      </a:lnTo>
                      <a:lnTo>
                        <a:pt x="496" y="918"/>
                      </a:lnTo>
                      <a:lnTo>
                        <a:pt x="495" y="918"/>
                      </a:lnTo>
                      <a:lnTo>
                        <a:pt x="495" y="920"/>
                      </a:lnTo>
                      <a:lnTo>
                        <a:pt x="495" y="918"/>
                      </a:lnTo>
                      <a:lnTo>
                        <a:pt x="493" y="920"/>
                      </a:lnTo>
                      <a:lnTo>
                        <a:pt x="491" y="922"/>
                      </a:lnTo>
                      <a:lnTo>
                        <a:pt x="491" y="920"/>
                      </a:lnTo>
                      <a:lnTo>
                        <a:pt x="491" y="918"/>
                      </a:lnTo>
                      <a:lnTo>
                        <a:pt x="489" y="918"/>
                      </a:lnTo>
                      <a:lnTo>
                        <a:pt x="489" y="920"/>
                      </a:lnTo>
                      <a:lnTo>
                        <a:pt x="489" y="918"/>
                      </a:lnTo>
                      <a:lnTo>
                        <a:pt x="488" y="918"/>
                      </a:lnTo>
                      <a:lnTo>
                        <a:pt x="486" y="918"/>
                      </a:lnTo>
                      <a:lnTo>
                        <a:pt x="486" y="917"/>
                      </a:lnTo>
                      <a:lnTo>
                        <a:pt x="484" y="918"/>
                      </a:lnTo>
                      <a:lnTo>
                        <a:pt x="484" y="917"/>
                      </a:lnTo>
                      <a:lnTo>
                        <a:pt x="484" y="918"/>
                      </a:lnTo>
                      <a:lnTo>
                        <a:pt x="486" y="918"/>
                      </a:lnTo>
                      <a:lnTo>
                        <a:pt x="484" y="918"/>
                      </a:lnTo>
                      <a:lnTo>
                        <a:pt x="484" y="920"/>
                      </a:lnTo>
                      <a:lnTo>
                        <a:pt x="484" y="918"/>
                      </a:lnTo>
                      <a:lnTo>
                        <a:pt x="484" y="920"/>
                      </a:lnTo>
                      <a:lnTo>
                        <a:pt x="483" y="920"/>
                      </a:lnTo>
                      <a:lnTo>
                        <a:pt x="481" y="920"/>
                      </a:lnTo>
                      <a:lnTo>
                        <a:pt x="479" y="920"/>
                      </a:lnTo>
                      <a:lnTo>
                        <a:pt x="478" y="920"/>
                      </a:lnTo>
                      <a:lnTo>
                        <a:pt x="479" y="920"/>
                      </a:lnTo>
                      <a:lnTo>
                        <a:pt x="479" y="922"/>
                      </a:lnTo>
                      <a:lnTo>
                        <a:pt x="478" y="920"/>
                      </a:lnTo>
                      <a:lnTo>
                        <a:pt x="476" y="922"/>
                      </a:lnTo>
                      <a:lnTo>
                        <a:pt x="476" y="920"/>
                      </a:lnTo>
                      <a:lnTo>
                        <a:pt x="476" y="922"/>
                      </a:lnTo>
                      <a:lnTo>
                        <a:pt x="474" y="920"/>
                      </a:lnTo>
                      <a:lnTo>
                        <a:pt x="474" y="922"/>
                      </a:lnTo>
                      <a:lnTo>
                        <a:pt x="473" y="920"/>
                      </a:lnTo>
                      <a:lnTo>
                        <a:pt x="471" y="920"/>
                      </a:lnTo>
                      <a:lnTo>
                        <a:pt x="473" y="920"/>
                      </a:lnTo>
                      <a:lnTo>
                        <a:pt x="473" y="922"/>
                      </a:lnTo>
                      <a:lnTo>
                        <a:pt x="471" y="920"/>
                      </a:lnTo>
                      <a:lnTo>
                        <a:pt x="471" y="922"/>
                      </a:lnTo>
                      <a:lnTo>
                        <a:pt x="469" y="922"/>
                      </a:lnTo>
                      <a:lnTo>
                        <a:pt x="469" y="920"/>
                      </a:lnTo>
                      <a:lnTo>
                        <a:pt x="467" y="920"/>
                      </a:lnTo>
                      <a:lnTo>
                        <a:pt x="466" y="920"/>
                      </a:lnTo>
                      <a:lnTo>
                        <a:pt x="466" y="918"/>
                      </a:lnTo>
                      <a:lnTo>
                        <a:pt x="464" y="918"/>
                      </a:lnTo>
                      <a:lnTo>
                        <a:pt x="464" y="920"/>
                      </a:lnTo>
                      <a:lnTo>
                        <a:pt x="462" y="920"/>
                      </a:lnTo>
                      <a:lnTo>
                        <a:pt x="461" y="920"/>
                      </a:lnTo>
                      <a:lnTo>
                        <a:pt x="461" y="922"/>
                      </a:lnTo>
                      <a:lnTo>
                        <a:pt x="461" y="923"/>
                      </a:lnTo>
                      <a:lnTo>
                        <a:pt x="459" y="925"/>
                      </a:lnTo>
                      <a:lnTo>
                        <a:pt x="459" y="927"/>
                      </a:lnTo>
                      <a:lnTo>
                        <a:pt x="457" y="927"/>
                      </a:lnTo>
                      <a:lnTo>
                        <a:pt x="456" y="927"/>
                      </a:lnTo>
                      <a:lnTo>
                        <a:pt x="454" y="927"/>
                      </a:lnTo>
                      <a:lnTo>
                        <a:pt x="454" y="928"/>
                      </a:lnTo>
                      <a:lnTo>
                        <a:pt x="454" y="930"/>
                      </a:lnTo>
                      <a:lnTo>
                        <a:pt x="456" y="930"/>
                      </a:lnTo>
                      <a:lnTo>
                        <a:pt x="456" y="932"/>
                      </a:lnTo>
                      <a:lnTo>
                        <a:pt x="454" y="930"/>
                      </a:lnTo>
                      <a:lnTo>
                        <a:pt x="454" y="932"/>
                      </a:lnTo>
                      <a:lnTo>
                        <a:pt x="456" y="932"/>
                      </a:lnTo>
                      <a:lnTo>
                        <a:pt x="456" y="933"/>
                      </a:lnTo>
                      <a:lnTo>
                        <a:pt x="454" y="933"/>
                      </a:lnTo>
                      <a:lnTo>
                        <a:pt x="452" y="933"/>
                      </a:lnTo>
                      <a:lnTo>
                        <a:pt x="452" y="935"/>
                      </a:lnTo>
                      <a:lnTo>
                        <a:pt x="451" y="935"/>
                      </a:lnTo>
                      <a:lnTo>
                        <a:pt x="451" y="936"/>
                      </a:lnTo>
                      <a:lnTo>
                        <a:pt x="452" y="936"/>
                      </a:lnTo>
                      <a:lnTo>
                        <a:pt x="451" y="938"/>
                      </a:lnTo>
                      <a:lnTo>
                        <a:pt x="451" y="940"/>
                      </a:lnTo>
                      <a:lnTo>
                        <a:pt x="449" y="940"/>
                      </a:lnTo>
                      <a:lnTo>
                        <a:pt x="447" y="940"/>
                      </a:lnTo>
                      <a:lnTo>
                        <a:pt x="446" y="940"/>
                      </a:lnTo>
                      <a:lnTo>
                        <a:pt x="446" y="941"/>
                      </a:lnTo>
                      <a:lnTo>
                        <a:pt x="444" y="941"/>
                      </a:lnTo>
                      <a:lnTo>
                        <a:pt x="444" y="943"/>
                      </a:lnTo>
                      <a:lnTo>
                        <a:pt x="442" y="943"/>
                      </a:lnTo>
                      <a:lnTo>
                        <a:pt x="440" y="943"/>
                      </a:lnTo>
                      <a:lnTo>
                        <a:pt x="440" y="945"/>
                      </a:lnTo>
                      <a:lnTo>
                        <a:pt x="440" y="946"/>
                      </a:lnTo>
                      <a:lnTo>
                        <a:pt x="442" y="946"/>
                      </a:lnTo>
                      <a:lnTo>
                        <a:pt x="442" y="948"/>
                      </a:lnTo>
                      <a:lnTo>
                        <a:pt x="440" y="948"/>
                      </a:lnTo>
                      <a:lnTo>
                        <a:pt x="440" y="950"/>
                      </a:lnTo>
                      <a:lnTo>
                        <a:pt x="440" y="951"/>
                      </a:lnTo>
                      <a:lnTo>
                        <a:pt x="439" y="951"/>
                      </a:lnTo>
                      <a:lnTo>
                        <a:pt x="439" y="953"/>
                      </a:lnTo>
                      <a:lnTo>
                        <a:pt x="437" y="953"/>
                      </a:lnTo>
                      <a:lnTo>
                        <a:pt x="437" y="955"/>
                      </a:lnTo>
                      <a:lnTo>
                        <a:pt x="435" y="955"/>
                      </a:lnTo>
                      <a:lnTo>
                        <a:pt x="435" y="956"/>
                      </a:lnTo>
                      <a:lnTo>
                        <a:pt x="434" y="958"/>
                      </a:lnTo>
                      <a:lnTo>
                        <a:pt x="432" y="958"/>
                      </a:lnTo>
                      <a:lnTo>
                        <a:pt x="430" y="959"/>
                      </a:lnTo>
                      <a:lnTo>
                        <a:pt x="429" y="961"/>
                      </a:lnTo>
                      <a:lnTo>
                        <a:pt x="427" y="961"/>
                      </a:lnTo>
                      <a:lnTo>
                        <a:pt x="427" y="963"/>
                      </a:lnTo>
                      <a:lnTo>
                        <a:pt x="427" y="961"/>
                      </a:lnTo>
                      <a:lnTo>
                        <a:pt x="425" y="961"/>
                      </a:lnTo>
                      <a:lnTo>
                        <a:pt x="424" y="963"/>
                      </a:lnTo>
                      <a:lnTo>
                        <a:pt x="422" y="963"/>
                      </a:lnTo>
                      <a:lnTo>
                        <a:pt x="420" y="963"/>
                      </a:lnTo>
                      <a:lnTo>
                        <a:pt x="419" y="963"/>
                      </a:lnTo>
                      <a:lnTo>
                        <a:pt x="417" y="963"/>
                      </a:lnTo>
                      <a:lnTo>
                        <a:pt x="415" y="964"/>
                      </a:lnTo>
                      <a:lnTo>
                        <a:pt x="415" y="963"/>
                      </a:lnTo>
                      <a:lnTo>
                        <a:pt x="415" y="964"/>
                      </a:lnTo>
                      <a:lnTo>
                        <a:pt x="417" y="964"/>
                      </a:lnTo>
                      <a:lnTo>
                        <a:pt x="417" y="966"/>
                      </a:lnTo>
                      <a:lnTo>
                        <a:pt x="415" y="964"/>
                      </a:lnTo>
                      <a:lnTo>
                        <a:pt x="415" y="966"/>
                      </a:lnTo>
                      <a:lnTo>
                        <a:pt x="413" y="966"/>
                      </a:lnTo>
                      <a:lnTo>
                        <a:pt x="412" y="966"/>
                      </a:lnTo>
                      <a:lnTo>
                        <a:pt x="410" y="966"/>
                      </a:lnTo>
                      <a:lnTo>
                        <a:pt x="412" y="966"/>
                      </a:lnTo>
                      <a:lnTo>
                        <a:pt x="410" y="966"/>
                      </a:lnTo>
                      <a:lnTo>
                        <a:pt x="410" y="964"/>
                      </a:lnTo>
                      <a:lnTo>
                        <a:pt x="408" y="966"/>
                      </a:lnTo>
                      <a:lnTo>
                        <a:pt x="408" y="968"/>
                      </a:lnTo>
                      <a:lnTo>
                        <a:pt x="407" y="968"/>
                      </a:lnTo>
                      <a:lnTo>
                        <a:pt x="405" y="968"/>
                      </a:lnTo>
                      <a:lnTo>
                        <a:pt x="403" y="968"/>
                      </a:lnTo>
                      <a:lnTo>
                        <a:pt x="403" y="966"/>
                      </a:lnTo>
                      <a:lnTo>
                        <a:pt x="402" y="966"/>
                      </a:lnTo>
                      <a:lnTo>
                        <a:pt x="402" y="968"/>
                      </a:lnTo>
                      <a:lnTo>
                        <a:pt x="400" y="968"/>
                      </a:lnTo>
                      <a:lnTo>
                        <a:pt x="400" y="969"/>
                      </a:lnTo>
                      <a:lnTo>
                        <a:pt x="398" y="969"/>
                      </a:lnTo>
                      <a:lnTo>
                        <a:pt x="397" y="971"/>
                      </a:lnTo>
                      <a:lnTo>
                        <a:pt x="397" y="973"/>
                      </a:lnTo>
                      <a:lnTo>
                        <a:pt x="395" y="974"/>
                      </a:lnTo>
                      <a:lnTo>
                        <a:pt x="395" y="973"/>
                      </a:lnTo>
                      <a:lnTo>
                        <a:pt x="393" y="973"/>
                      </a:lnTo>
                      <a:lnTo>
                        <a:pt x="393" y="971"/>
                      </a:lnTo>
                      <a:lnTo>
                        <a:pt x="393" y="969"/>
                      </a:lnTo>
                      <a:lnTo>
                        <a:pt x="391" y="969"/>
                      </a:lnTo>
                      <a:lnTo>
                        <a:pt x="390" y="969"/>
                      </a:lnTo>
                      <a:lnTo>
                        <a:pt x="388" y="969"/>
                      </a:lnTo>
                      <a:lnTo>
                        <a:pt x="388" y="968"/>
                      </a:lnTo>
                      <a:lnTo>
                        <a:pt x="386" y="968"/>
                      </a:lnTo>
                      <a:lnTo>
                        <a:pt x="386" y="966"/>
                      </a:lnTo>
                      <a:lnTo>
                        <a:pt x="385" y="966"/>
                      </a:lnTo>
                      <a:lnTo>
                        <a:pt x="385" y="964"/>
                      </a:lnTo>
                      <a:lnTo>
                        <a:pt x="383" y="964"/>
                      </a:lnTo>
                      <a:lnTo>
                        <a:pt x="381" y="964"/>
                      </a:lnTo>
                      <a:lnTo>
                        <a:pt x="381" y="963"/>
                      </a:lnTo>
                      <a:lnTo>
                        <a:pt x="380" y="963"/>
                      </a:lnTo>
                      <a:lnTo>
                        <a:pt x="381" y="963"/>
                      </a:lnTo>
                      <a:lnTo>
                        <a:pt x="381" y="961"/>
                      </a:lnTo>
                      <a:lnTo>
                        <a:pt x="380" y="961"/>
                      </a:lnTo>
                      <a:lnTo>
                        <a:pt x="380" y="959"/>
                      </a:lnTo>
                      <a:lnTo>
                        <a:pt x="380" y="958"/>
                      </a:lnTo>
                      <a:lnTo>
                        <a:pt x="378" y="956"/>
                      </a:lnTo>
                      <a:lnTo>
                        <a:pt x="378" y="958"/>
                      </a:lnTo>
                      <a:lnTo>
                        <a:pt x="376" y="958"/>
                      </a:lnTo>
                      <a:lnTo>
                        <a:pt x="375" y="958"/>
                      </a:lnTo>
                      <a:lnTo>
                        <a:pt x="375" y="956"/>
                      </a:lnTo>
                      <a:lnTo>
                        <a:pt x="373" y="956"/>
                      </a:lnTo>
                      <a:lnTo>
                        <a:pt x="375" y="956"/>
                      </a:lnTo>
                      <a:lnTo>
                        <a:pt x="373" y="955"/>
                      </a:lnTo>
                      <a:lnTo>
                        <a:pt x="375" y="953"/>
                      </a:lnTo>
                      <a:lnTo>
                        <a:pt x="375" y="951"/>
                      </a:lnTo>
                      <a:lnTo>
                        <a:pt x="373" y="950"/>
                      </a:lnTo>
                      <a:lnTo>
                        <a:pt x="375" y="950"/>
                      </a:lnTo>
                      <a:lnTo>
                        <a:pt x="373" y="950"/>
                      </a:lnTo>
                      <a:lnTo>
                        <a:pt x="373" y="948"/>
                      </a:lnTo>
                      <a:lnTo>
                        <a:pt x="373" y="946"/>
                      </a:lnTo>
                      <a:lnTo>
                        <a:pt x="371" y="946"/>
                      </a:lnTo>
                      <a:lnTo>
                        <a:pt x="373" y="946"/>
                      </a:lnTo>
                      <a:lnTo>
                        <a:pt x="371" y="945"/>
                      </a:lnTo>
                      <a:lnTo>
                        <a:pt x="371" y="943"/>
                      </a:lnTo>
                      <a:lnTo>
                        <a:pt x="371" y="941"/>
                      </a:lnTo>
                      <a:lnTo>
                        <a:pt x="371" y="940"/>
                      </a:lnTo>
                      <a:lnTo>
                        <a:pt x="370" y="940"/>
                      </a:lnTo>
                      <a:lnTo>
                        <a:pt x="368" y="940"/>
                      </a:lnTo>
                      <a:lnTo>
                        <a:pt x="368" y="941"/>
                      </a:lnTo>
                      <a:lnTo>
                        <a:pt x="368" y="943"/>
                      </a:lnTo>
                      <a:lnTo>
                        <a:pt x="354" y="932"/>
                      </a:lnTo>
                      <a:lnTo>
                        <a:pt x="346" y="936"/>
                      </a:lnTo>
                      <a:lnTo>
                        <a:pt x="346" y="938"/>
                      </a:lnTo>
                      <a:lnTo>
                        <a:pt x="344" y="938"/>
                      </a:lnTo>
                      <a:lnTo>
                        <a:pt x="344" y="936"/>
                      </a:lnTo>
                      <a:lnTo>
                        <a:pt x="343" y="936"/>
                      </a:lnTo>
                      <a:lnTo>
                        <a:pt x="341" y="936"/>
                      </a:lnTo>
                      <a:lnTo>
                        <a:pt x="339" y="936"/>
                      </a:lnTo>
                      <a:lnTo>
                        <a:pt x="339" y="935"/>
                      </a:lnTo>
                      <a:lnTo>
                        <a:pt x="339" y="933"/>
                      </a:lnTo>
                      <a:lnTo>
                        <a:pt x="337" y="933"/>
                      </a:lnTo>
                      <a:lnTo>
                        <a:pt x="337" y="932"/>
                      </a:lnTo>
                      <a:lnTo>
                        <a:pt x="336" y="933"/>
                      </a:lnTo>
                      <a:lnTo>
                        <a:pt x="334" y="933"/>
                      </a:lnTo>
                      <a:lnTo>
                        <a:pt x="332" y="932"/>
                      </a:lnTo>
                      <a:lnTo>
                        <a:pt x="332" y="930"/>
                      </a:lnTo>
                      <a:lnTo>
                        <a:pt x="332" y="928"/>
                      </a:lnTo>
                      <a:lnTo>
                        <a:pt x="331" y="928"/>
                      </a:lnTo>
                      <a:lnTo>
                        <a:pt x="329" y="928"/>
                      </a:lnTo>
                      <a:lnTo>
                        <a:pt x="329" y="927"/>
                      </a:lnTo>
                      <a:lnTo>
                        <a:pt x="327" y="927"/>
                      </a:lnTo>
                      <a:lnTo>
                        <a:pt x="326" y="927"/>
                      </a:lnTo>
                      <a:lnTo>
                        <a:pt x="324" y="925"/>
                      </a:lnTo>
                      <a:lnTo>
                        <a:pt x="326" y="925"/>
                      </a:lnTo>
                      <a:lnTo>
                        <a:pt x="326" y="923"/>
                      </a:lnTo>
                      <a:lnTo>
                        <a:pt x="324" y="923"/>
                      </a:lnTo>
                      <a:lnTo>
                        <a:pt x="322" y="923"/>
                      </a:lnTo>
                      <a:lnTo>
                        <a:pt x="321" y="923"/>
                      </a:lnTo>
                      <a:lnTo>
                        <a:pt x="319" y="923"/>
                      </a:lnTo>
                      <a:lnTo>
                        <a:pt x="319" y="922"/>
                      </a:lnTo>
                      <a:lnTo>
                        <a:pt x="319" y="920"/>
                      </a:lnTo>
                      <a:lnTo>
                        <a:pt x="317" y="920"/>
                      </a:lnTo>
                      <a:lnTo>
                        <a:pt x="317" y="918"/>
                      </a:lnTo>
                      <a:lnTo>
                        <a:pt x="315" y="918"/>
                      </a:lnTo>
                      <a:lnTo>
                        <a:pt x="315" y="917"/>
                      </a:lnTo>
                      <a:lnTo>
                        <a:pt x="315" y="915"/>
                      </a:lnTo>
                      <a:lnTo>
                        <a:pt x="314" y="915"/>
                      </a:lnTo>
                      <a:lnTo>
                        <a:pt x="314" y="913"/>
                      </a:lnTo>
                      <a:lnTo>
                        <a:pt x="312" y="913"/>
                      </a:lnTo>
                      <a:lnTo>
                        <a:pt x="312" y="912"/>
                      </a:lnTo>
                      <a:lnTo>
                        <a:pt x="310" y="912"/>
                      </a:lnTo>
                      <a:lnTo>
                        <a:pt x="310" y="910"/>
                      </a:lnTo>
                      <a:lnTo>
                        <a:pt x="309" y="910"/>
                      </a:lnTo>
                      <a:lnTo>
                        <a:pt x="309" y="909"/>
                      </a:lnTo>
                      <a:lnTo>
                        <a:pt x="307" y="909"/>
                      </a:lnTo>
                      <a:lnTo>
                        <a:pt x="305" y="907"/>
                      </a:lnTo>
                      <a:lnTo>
                        <a:pt x="305" y="905"/>
                      </a:lnTo>
                      <a:lnTo>
                        <a:pt x="305" y="904"/>
                      </a:lnTo>
                      <a:lnTo>
                        <a:pt x="307" y="902"/>
                      </a:lnTo>
                      <a:lnTo>
                        <a:pt x="307" y="900"/>
                      </a:lnTo>
                      <a:lnTo>
                        <a:pt x="305" y="900"/>
                      </a:lnTo>
                      <a:lnTo>
                        <a:pt x="304" y="900"/>
                      </a:lnTo>
                      <a:lnTo>
                        <a:pt x="304" y="899"/>
                      </a:lnTo>
                      <a:lnTo>
                        <a:pt x="302" y="899"/>
                      </a:lnTo>
                      <a:lnTo>
                        <a:pt x="302" y="897"/>
                      </a:lnTo>
                      <a:lnTo>
                        <a:pt x="302" y="895"/>
                      </a:lnTo>
                      <a:lnTo>
                        <a:pt x="304" y="895"/>
                      </a:lnTo>
                      <a:lnTo>
                        <a:pt x="302" y="895"/>
                      </a:lnTo>
                      <a:lnTo>
                        <a:pt x="302" y="894"/>
                      </a:lnTo>
                      <a:lnTo>
                        <a:pt x="304" y="894"/>
                      </a:lnTo>
                      <a:lnTo>
                        <a:pt x="302" y="894"/>
                      </a:lnTo>
                      <a:lnTo>
                        <a:pt x="302" y="892"/>
                      </a:lnTo>
                      <a:lnTo>
                        <a:pt x="302" y="891"/>
                      </a:lnTo>
                      <a:lnTo>
                        <a:pt x="304" y="891"/>
                      </a:lnTo>
                      <a:lnTo>
                        <a:pt x="304" y="889"/>
                      </a:lnTo>
                      <a:lnTo>
                        <a:pt x="302" y="889"/>
                      </a:lnTo>
                      <a:lnTo>
                        <a:pt x="300" y="887"/>
                      </a:lnTo>
                      <a:lnTo>
                        <a:pt x="302" y="887"/>
                      </a:lnTo>
                      <a:lnTo>
                        <a:pt x="300" y="887"/>
                      </a:lnTo>
                      <a:lnTo>
                        <a:pt x="300" y="886"/>
                      </a:lnTo>
                      <a:lnTo>
                        <a:pt x="300" y="884"/>
                      </a:lnTo>
                      <a:lnTo>
                        <a:pt x="299" y="886"/>
                      </a:lnTo>
                      <a:lnTo>
                        <a:pt x="299" y="884"/>
                      </a:lnTo>
                      <a:lnTo>
                        <a:pt x="299" y="882"/>
                      </a:lnTo>
                      <a:lnTo>
                        <a:pt x="300" y="882"/>
                      </a:lnTo>
                      <a:lnTo>
                        <a:pt x="300" y="881"/>
                      </a:lnTo>
                      <a:lnTo>
                        <a:pt x="299" y="881"/>
                      </a:lnTo>
                      <a:lnTo>
                        <a:pt x="300" y="881"/>
                      </a:lnTo>
                      <a:lnTo>
                        <a:pt x="299" y="881"/>
                      </a:lnTo>
                      <a:lnTo>
                        <a:pt x="300" y="879"/>
                      </a:lnTo>
                      <a:lnTo>
                        <a:pt x="299" y="879"/>
                      </a:lnTo>
                      <a:lnTo>
                        <a:pt x="300" y="877"/>
                      </a:lnTo>
                      <a:lnTo>
                        <a:pt x="299" y="877"/>
                      </a:lnTo>
                      <a:lnTo>
                        <a:pt x="300" y="877"/>
                      </a:lnTo>
                      <a:lnTo>
                        <a:pt x="299" y="877"/>
                      </a:lnTo>
                      <a:lnTo>
                        <a:pt x="299" y="876"/>
                      </a:lnTo>
                      <a:lnTo>
                        <a:pt x="300" y="876"/>
                      </a:lnTo>
                      <a:lnTo>
                        <a:pt x="299" y="876"/>
                      </a:lnTo>
                      <a:lnTo>
                        <a:pt x="299" y="874"/>
                      </a:lnTo>
                      <a:lnTo>
                        <a:pt x="299" y="872"/>
                      </a:lnTo>
                      <a:lnTo>
                        <a:pt x="299" y="871"/>
                      </a:lnTo>
                      <a:lnTo>
                        <a:pt x="300" y="871"/>
                      </a:lnTo>
                      <a:lnTo>
                        <a:pt x="300" y="869"/>
                      </a:lnTo>
                      <a:lnTo>
                        <a:pt x="299" y="868"/>
                      </a:lnTo>
                      <a:lnTo>
                        <a:pt x="299" y="866"/>
                      </a:lnTo>
                      <a:lnTo>
                        <a:pt x="299" y="864"/>
                      </a:lnTo>
                      <a:lnTo>
                        <a:pt x="299" y="863"/>
                      </a:lnTo>
                      <a:lnTo>
                        <a:pt x="300" y="859"/>
                      </a:lnTo>
                      <a:lnTo>
                        <a:pt x="300" y="858"/>
                      </a:lnTo>
                      <a:lnTo>
                        <a:pt x="300" y="856"/>
                      </a:lnTo>
                      <a:lnTo>
                        <a:pt x="302" y="853"/>
                      </a:lnTo>
                      <a:lnTo>
                        <a:pt x="304" y="853"/>
                      </a:lnTo>
                      <a:lnTo>
                        <a:pt x="304" y="851"/>
                      </a:lnTo>
                      <a:lnTo>
                        <a:pt x="307" y="849"/>
                      </a:lnTo>
                      <a:lnTo>
                        <a:pt x="307" y="848"/>
                      </a:lnTo>
                      <a:lnTo>
                        <a:pt x="310" y="848"/>
                      </a:lnTo>
                      <a:lnTo>
                        <a:pt x="310" y="846"/>
                      </a:lnTo>
                      <a:lnTo>
                        <a:pt x="312" y="843"/>
                      </a:lnTo>
                      <a:lnTo>
                        <a:pt x="310" y="840"/>
                      </a:lnTo>
                      <a:lnTo>
                        <a:pt x="310" y="838"/>
                      </a:lnTo>
                      <a:lnTo>
                        <a:pt x="310" y="836"/>
                      </a:lnTo>
                      <a:lnTo>
                        <a:pt x="310" y="835"/>
                      </a:lnTo>
                      <a:lnTo>
                        <a:pt x="312" y="835"/>
                      </a:lnTo>
                      <a:lnTo>
                        <a:pt x="312" y="833"/>
                      </a:lnTo>
                      <a:lnTo>
                        <a:pt x="314" y="833"/>
                      </a:lnTo>
                      <a:lnTo>
                        <a:pt x="314" y="831"/>
                      </a:lnTo>
                      <a:lnTo>
                        <a:pt x="314" y="830"/>
                      </a:lnTo>
                      <a:lnTo>
                        <a:pt x="315" y="828"/>
                      </a:lnTo>
                      <a:lnTo>
                        <a:pt x="315" y="826"/>
                      </a:lnTo>
                      <a:lnTo>
                        <a:pt x="314" y="825"/>
                      </a:lnTo>
                      <a:lnTo>
                        <a:pt x="314" y="823"/>
                      </a:lnTo>
                      <a:lnTo>
                        <a:pt x="312" y="823"/>
                      </a:lnTo>
                      <a:lnTo>
                        <a:pt x="310" y="823"/>
                      </a:lnTo>
                      <a:lnTo>
                        <a:pt x="309" y="823"/>
                      </a:lnTo>
                      <a:lnTo>
                        <a:pt x="307" y="822"/>
                      </a:lnTo>
                      <a:lnTo>
                        <a:pt x="307" y="823"/>
                      </a:lnTo>
                      <a:lnTo>
                        <a:pt x="307" y="825"/>
                      </a:lnTo>
                      <a:lnTo>
                        <a:pt x="305" y="826"/>
                      </a:lnTo>
                      <a:lnTo>
                        <a:pt x="304" y="828"/>
                      </a:lnTo>
                      <a:lnTo>
                        <a:pt x="302" y="828"/>
                      </a:lnTo>
                      <a:lnTo>
                        <a:pt x="270" y="826"/>
                      </a:lnTo>
                      <a:lnTo>
                        <a:pt x="204" y="825"/>
                      </a:lnTo>
                      <a:lnTo>
                        <a:pt x="197" y="823"/>
                      </a:lnTo>
                      <a:lnTo>
                        <a:pt x="170" y="823"/>
                      </a:lnTo>
                      <a:lnTo>
                        <a:pt x="150" y="823"/>
                      </a:lnTo>
                      <a:lnTo>
                        <a:pt x="138" y="823"/>
                      </a:lnTo>
                      <a:lnTo>
                        <a:pt x="133" y="761"/>
                      </a:lnTo>
                      <a:lnTo>
                        <a:pt x="131" y="749"/>
                      </a:lnTo>
                      <a:lnTo>
                        <a:pt x="106" y="723"/>
                      </a:lnTo>
                      <a:lnTo>
                        <a:pt x="103" y="720"/>
                      </a:lnTo>
                      <a:lnTo>
                        <a:pt x="101" y="716"/>
                      </a:lnTo>
                      <a:lnTo>
                        <a:pt x="106" y="715"/>
                      </a:lnTo>
                      <a:lnTo>
                        <a:pt x="131" y="715"/>
                      </a:lnTo>
                      <a:lnTo>
                        <a:pt x="128" y="670"/>
                      </a:lnTo>
                      <a:lnTo>
                        <a:pt x="128" y="672"/>
                      </a:lnTo>
                      <a:lnTo>
                        <a:pt x="126" y="672"/>
                      </a:lnTo>
                      <a:lnTo>
                        <a:pt x="125" y="670"/>
                      </a:lnTo>
                      <a:lnTo>
                        <a:pt x="123" y="670"/>
                      </a:lnTo>
                      <a:lnTo>
                        <a:pt x="123" y="669"/>
                      </a:lnTo>
                      <a:lnTo>
                        <a:pt x="123" y="667"/>
                      </a:lnTo>
                      <a:lnTo>
                        <a:pt x="123" y="666"/>
                      </a:lnTo>
                      <a:lnTo>
                        <a:pt x="123" y="664"/>
                      </a:lnTo>
                      <a:lnTo>
                        <a:pt x="123" y="666"/>
                      </a:lnTo>
                      <a:lnTo>
                        <a:pt x="123" y="664"/>
                      </a:lnTo>
                      <a:lnTo>
                        <a:pt x="121" y="664"/>
                      </a:lnTo>
                      <a:lnTo>
                        <a:pt x="121" y="662"/>
                      </a:lnTo>
                      <a:lnTo>
                        <a:pt x="121" y="661"/>
                      </a:lnTo>
                      <a:lnTo>
                        <a:pt x="121" y="659"/>
                      </a:lnTo>
                      <a:lnTo>
                        <a:pt x="120" y="659"/>
                      </a:lnTo>
                      <a:lnTo>
                        <a:pt x="120" y="657"/>
                      </a:lnTo>
                      <a:lnTo>
                        <a:pt x="118" y="657"/>
                      </a:lnTo>
                      <a:lnTo>
                        <a:pt x="118" y="656"/>
                      </a:lnTo>
                      <a:lnTo>
                        <a:pt x="118" y="654"/>
                      </a:lnTo>
                      <a:lnTo>
                        <a:pt x="116" y="654"/>
                      </a:lnTo>
                      <a:lnTo>
                        <a:pt x="116" y="652"/>
                      </a:lnTo>
                      <a:lnTo>
                        <a:pt x="116" y="651"/>
                      </a:lnTo>
                      <a:lnTo>
                        <a:pt x="116" y="649"/>
                      </a:lnTo>
                      <a:lnTo>
                        <a:pt x="116" y="647"/>
                      </a:lnTo>
                      <a:lnTo>
                        <a:pt x="115" y="647"/>
                      </a:lnTo>
                      <a:lnTo>
                        <a:pt x="116" y="647"/>
                      </a:lnTo>
                      <a:lnTo>
                        <a:pt x="115" y="646"/>
                      </a:lnTo>
                      <a:lnTo>
                        <a:pt x="115" y="647"/>
                      </a:lnTo>
                      <a:lnTo>
                        <a:pt x="115" y="646"/>
                      </a:lnTo>
                      <a:lnTo>
                        <a:pt x="113" y="646"/>
                      </a:lnTo>
                      <a:lnTo>
                        <a:pt x="115" y="646"/>
                      </a:lnTo>
                      <a:lnTo>
                        <a:pt x="113" y="646"/>
                      </a:lnTo>
                      <a:lnTo>
                        <a:pt x="113" y="644"/>
                      </a:lnTo>
                      <a:lnTo>
                        <a:pt x="111" y="644"/>
                      </a:lnTo>
                      <a:lnTo>
                        <a:pt x="111" y="643"/>
                      </a:lnTo>
                      <a:lnTo>
                        <a:pt x="111" y="641"/>
                      </a:lnTo>
                      <a:lnTo>
                        <a:pt x="109" y="639"/>
                      </a:lnTo>
                      <a:lnTo>
                        <a:pt x="111" y="639"/>
                      </a:lnTo>
                      <a:lnTo>
                        <a:pt x="109" y="639"/>
                      </a:lnTo>
                      <a:lnTo>
                        <a:pt x="109" y="638"/>
                      </a:lnTo>
                      <a:lnTo>
                        <a:pt x="111" y="638"/>
                      </a:lnTo>
                      <a:lnTo>
                        <a:pt x="111" y="636"/>
                      </a:lnTo>
                      <a:lnTo>
                        <a:pt x="109" y="636"/>
                      </a:lnTo>
                      <a:lnTo>
                        <a:pt x="109" y="634"/>
                      </a:lnTo>
                      <a:lnTo>
                        <a:pt x="109" y="633"/>
                      </a:lnTo>
                      <a:lnTo>
                        <a:pt x="109" y="631"/>
                      </a:lnTo>
                      <a:lnTo>
                        <a:pt x="108" y="631"/>
                      </a:lnTo>
                      <a:lnTo>
                        <a:pt x="108" y="629"/>
                      </a:lnTo>
                      <a:lnTo>
                        <a:pt x="109" y="629"/>
                      </a:lnTo>
                      <a:lnTo>
                        <a:pt x="109" y="628"/>
                      </a:lnTo>
                      <a:lnTo>
                        <a:pt x="108" y="626"/>
                      </a:lnTo>
                      <a:lnTo>
                        <a:pt x="109" y="626"/>
                      </a:lnTo>
                      <a:lnTo>
                        <a:pt x="108" y="624"/>
                      </a:lnTo>
                      <a:lnTo>
                        <a:pt x="109" y="624"/>
                      </a:lnTo>
                      <a:lnTo>
                        <a:pt x="109" y="623"/>
                      </a:lnTo>
                      <a:lnTo>
                        <a:pt x="108" y="623"/>
                      </a:lnTo>
                      <a:lnTo>
                        <a:pt x="109" y="623"/>
                      </a:lnTo>
                      <a:lnTo>
                        <a:pt x="111" y="623"/>
                      </a:lnTo>
                      <a:lnTo>
                        <a:pt x="111" y="621"/>
                      </a:lnTo>
                      <a:lnTo>
                        <a:pt x="113" y="621"/>
                      </a:lnTo>
                      <a:lnTo>
                        <a:pt x="113" y="620"/>
                      </a:lnTo>
                      <a:lnTo>
                        <a:pt x="113" y="618"/>
                      </a:lnTo>
                      <a:lnTo>
                        <a:pt x="115" y="618"/>
                      </a:lnTo>
                      <a:lnTo>
                        <a:pt x="116" y="616"/>
                      </a:lnTo>
                      <a:lnTo>
                        <a:pt x="115" y="616"/>
                      </a:lnTo>
                      <a:lnTo>
                        <a:pt x="116" y="616"/>
                      </a:lnTo>
                      <a:lnTo>
                        <a:pt x="116" y="615"/>
                      </a:lnTo>
                      <a:lnTo>
                        <a:pt x="116" y="613"/>
                      </a:lnTo>
                      <a:lnTo>
                        <a:pt x="118" y="613"/>
                      </a:lnTo>
                      <a:lnTo>
                        <a:pt x="118" y="611"/>
                      </a:lnTo>
                      <a:lnTo>
                        <a:pt x="116" y="611"/>
                      </a:lnTo>
                      <a:lnTo>
                        <a:pt x="115" y="613"/>
                      </a:lnTo>
                      <a:lnTo>
                        <a:pt x="115" y="611"/>
                      </a:lnTo>
                      <a:lnTo>
                        <a:pt x="113" y="610"/>
                      </a:lnTo>
                      <a:lnTo>
                        <a:pt x="115" y="610"/>
                      </a:lnTo>
                      <a:lnTo>
                        <a:pt x="115" y="611"/>
                      </a:lnTo>
                      <a:lnTo>
                        <a:pt x="115" y="610"/>
                      </a:lnTo>
                      <a:lnTo>
                        <a:pt x="115" y="608"/>
                      </a:lnTo>
                      <a:lnTo>
                        <a:pt x="113" y="608"/>
                      </a:lnTo>
                      <a:lnTo>
                        <a:pt x="111" y="608"/>
                      </a:lnTo>
                      <a:lnTo>
                        <a:pt x="111" y="606"/>
                      </a:lnTo>
                      <a:lnTo>
                        <a:pt x="111" y="605"/>
                      </a:lnTo>
                      <a:lnTo>
                        <a:pt x="111" y="603"/>
                      </a:lnTo>
                      <a:lnTo>
                        <a:pt x="109" y="603"/>
                      </a:lnTo>
                      <a:lnTo>
                        <a:pt x="109" y="601"/>
                      </a:lnTo>
                      <a:lnTo>
                        <a:pt x="111" y="601"/>
                      </a:lnTo>
                      <a:lnTo>
                        <a:pt x="111" y="600"/>
                      </a:lnTo>
                      <a:lnTo>
                        <a:pt x="109" y="600"/>
                      </a:lnTo>
                      <a:lnTo>
                        <a:pt x="108" y="600"/>
                      </a:lnTo>
                      <a:lnTo>
                        <a:pt x="108" y="601"/>
                      </a:lnTo>
                      <a:lnTo>
                        <a:pt x="108" y="600"/>
                      </a:lnTo>
                      <a:lnTo>
                        <a:pt x="109" y="598"/>
                      </a:lnTo>
                      <a:lnTo>
                        <a:pt x="108" y="598"/>
                      </a:lnTo>
                      <a:lnTo>
                        <a:pt x="108" y="597"/>
                      </a:lnTo>
                      <a:lnTo>
                        <a:pt x="109" y="598"/>
                      </a:lnTo>
                      <a:lnTo>
                        <a:pt x="109" y="597"/>
                      </a:lnTo>
                      <a:lnTo>
                        <a:pt x="108" y="597"/>
                      </a:lnTo>
                      <a:lnTo>
                        <a:pt x="109" y="595"/>
                      </a:lnTo>
                      <a:lnTo>
                        <a:pt x="108" y="595"/>
                      </a:lnTo>
                      <a:lnTo>
                        <a:pt x="106" y="595"/>
                      </a:lnTo>
                      <a:lnTo>
                        <a:pt x="104" y="595"/>
                      </a:lnTo>
                      <a:lnTo>
                        <a:pt x="104" y="593"/>
                      </a:lnTo>
                      <a:lnTo>
                        <a:pt x="103" y="593"/>
                      </a:lnTo>
                      <a:lnTo>
                        <a:pt x="101" y="593"/>
                      </a:lnTo>
                      <a:lnTo>
                        <a:pt x="99" y="593"/>
                      </a:lnTo>
                      <a:lnTo>
                        <a:pt x="99" y="592"/>
                      </a:lnTo>
                      <a:lnTo>
                        <a:pt x="101" y="592"/>
                      </a:lnTo>
                      <a:lnTo>
                        <a:pt x="99" y="592"/>
                      </a:lnTo>
                      <a:lnTo>
                        <a:pt x="99" y="590"/>
                      </a:lnTo>
                      <a:lnTo>
                        <a:pt x="98" y="590"/>
                      </a:lnTo>
                      <a:lnTo>
                        <a:pt x="96" y="590"/>
                      </a:lnTo>
                      <a:lnTo>
                        <a:pt x="96" y="588"/>
                      </a:lnTo>
                      <a:lnTo>
                        <a:pt x="94" y="588"/>
                      </a:lnTo>
                      <a:lnTo>
                        <a:pt x="93" y="588"/>
                      </a:lnTo>
                      <a:lnTo>
                        <a:pt x="93" y="590"/>
                      </a:lnTo>
                      <a:lnTo>
                        <a:pt x="93" y="588"/>
                      </a:lnTo>
                      <a:lnTo>
                        <a:pt x="93" y="590"/>
                      </a:lnTo>
                      <a:lnTo>
                        <a:pt x="91" y="590"/>
                      </a:lnTo>
                      <a:lnTo>
                        <a:pt x="91" y="588"/>
                      </a:lnTo>
                      <a:lnTo>
                        <a:pt x="89" y="588"/>
                      </a:lnTo>
                      <a:lnTo>
                        <a:pt x="89" y="587"/>
                      </a:lnTo>
                      <a:lnTo>
                        <a:pt x="87" y="587"/>
                      </a:lnTo>
                      <a:lnTo>
                        <a:pt x="87" y="588"/>
                      </a:lnTo>
                      <a:lnTo>
                        <a:pt x="87" y="587"/>
                      </a:lnTo>
                      <a:lnTo>
                        <a:pt x="87" y="585"/>
                      </a:lnTo>
                      <a:lnTo>
                        <a:pt x="86" y="585"/>
                      </a:lnTo>
                      <a:lnTo>
                        <a:pt x="86" y="583"/>
                      </a:lnTo>
                      <a:lnTo>
                        <a:pt x="87" y="583"/>
                      </a:lnTo>
                      <a:lnTo>
                        <a:pt x="87" y="582"/>
                      </a:lnTo>
                      <a:lnTo>
                        <a:pt x="89" y="582"/>
                      </a:lnTo>
                      <a:lnTo>
                        <a:pt x="89" y="580"/>
                      </a:lnTo>
                      <a:lnTo>
                        <a:pt x="89" y="578"/>
                      </a:lnTo>
                      <a:lnTo>
                        <a:pt x="91" y="578"/>
                      </a:lnTo>
                      <a:lnTo>
                        <a:pt x="91" y="577"/>
                      </a:lnTo>
                      <a:lnTo>
                        <a:pt x="93" y="577"/>
                      </a:lnTo>
                      <a:lnTo>
                        <a:pt x="94" y="577"/>
                      </a:lnTo>
                      <a:lnTo>
                        <a:pt x="93" y="577"/>
                      </a:lnTo>
                      <a:lnTo>
                        <a:pt x="93" y="575"/>
                      </a:lnTo>
                      <a:lnTo>
                        <a:pt x="94" y="575"/>
                      </a:lnTo>
                      <a:lnTo>
                        <a:pt x="94" y="574"/>
                      </a:lnTo>
                      <a:lnTo>
                        <a:pt x="96" y="574"/>
                      </a:lnTo>
                      <a:lnTo>
                        <a:pt x="98" y="575"/>
                      </a:lnTo>
                      <a:lnTo>
                        <a:pt x="98" y="574"/>
                      </a:lnTo>
                      <a:lnTo>
                        <a:pt x="99" y="574"/>
                      </a:lnTo>
                      <a:lnTo>
                        <a:pt x="101" y="574"/>
                      </a:lnTo>
                      <a:lnTo>
                        <a:pt x="101" y="572"/>
                      </a:lnTo>
                      <a:lnTo>
                        <a:pt x="103" y="572"/>
                      </a:lnTo>
                      <a:lnTo>
                        <a:pt x="104" y="570"/>
                      </a:lnTo>
                      <a:lnTo>
                        <a:pt x="103" y="570"/>
                      </a:lnTo>
                      <a:lnTo>
                        <a:pt x="104" y="570"/>
                      </a:lnTo>
                      <a:lnTo>
                        <a:pt x="104" y="569"/>
                      </a:lnTo>
                      <a:lnTo>
                        <a:pt x="106" y="569"/>
                      </a:lnTo>
                      <a:lnTo>
                        <a:pt x="106" y="567"/>
                      </a:lnTo>
                      <a:lnTo>
                        <a:pt x="108" y="567"/>
                      </a:lnTo>
                      <a:lnTo>
                        <a:pt x="109" y="567"/>
                      </a:lnTo>
                      <a:lnTo>
                        <a:pt x="111" y="567"/>
                      </a:lnTo>
                      <a:lnTo>
                        <a:pt x="113" y="567"/>
                      </a:lnTo>
                      <a:lnTo>
                        <a:pt x="113" y="565"/>
                      </a:lnTo>
                      <a:lnTo>
                        <a:pt x="115" y="565"/>
                      </a:lnTo>
                      <a:lnTo>
                        <a:pt x="115" y="564"/>
                      </a:lnTo>
                      <a:lnTo>
                        <a:pt x="116" y="564"/>
                      </a:lnTo>
                      <a:lnTo>
                        <a:pt x="118" y="564"/>
                      </a:lnTo>
                      <a:lnTo>
                        <a:pt x="118" y="562"/>
                      </a:lnTo>
                      <a:lnTo>
                        <a:pt x="118" y="560"/>
                      </a:lnTo>
                      <a:lnTo>
                        <a:pt x="118" y="559"/>
                      </a:lnTo>
                      <a:lnTo>
                        <a:pt x="118" y="557"/>
                      </a:lnTo>
                      <a:lnTo>
                        <a:pt x="118" y="555"/>
                      </a:lnTo>
                      <a:lnTo>
                        <a:pt x="120" y="555"/>
                      </a:lnTo>
                      <a:lnTo>
                        <a:pt x="120" y="554"/>
                      </a:lnTo>
                      <a:lnTo>
                        <a:pt x="120" y="552"/>
                      </a:lnTo>
                      <a:lnTo>
                        <a:pt x="118" y="552"/>
                      </a:lnTo>
                      <a:lnTo>
                        <a:pt x="120" y="551"/>
                      </a:lnTo>
                      <a:lnTo>
                        <a:pt x="120" y="549"/>
                      </a:lnTo>
                      <a:lnTo>
                        <a:pt x="121" y="549"/>
                      </a:lnTo>
                      <a:lnTo>
                        <a:pt x="121" y="547"/>
                      </a:lnTo>
                      <a:lnTo>
                        <a:pt x="123" y="546"/>
                      </a:lnTo>
                      <a:lnTo>
                        <a:pt x="123" y="544"/>
                      </a:lnTo>
                      <a:lnTo>
                        <a:pt x="123" y="542"/>
                      </a:lnTo>
                      <a:lnTo>
                        <a:pt x="125" y="541"/>
                      </a:lnTo>
                      <a:lnTo>
                        <a:pt x="125" y="539"/>
                      </a:lnTo>
                      <a:lnTo>
                        <a:pt x="125" y="537"/>
                      </a:lnTo>
                      <a:lnTo>
                        <a:pt x="126" y="537"/>
                      </a:lnTo>
                      <a:lnTo>
                        <a:pt x="128" y="536"/>
                      </a:lnTo>
                      <a:lnTo>
                        <a:pt x="128" y="534"/>
                      </a:lnTo>
                      <a:lnTo>
                        <a:pt x="128" y="532"/>
                      </a:lnTo>
                      <a:lnTo>
                        <a:pt x="128" y="531"/>
                      </a:lnTo>
                      <a:lnTo>
                        <a:pt x="126" y="531"/>
                      </a:lnTo>
                      <a:lnTo>
                        <a:pt x="128" y="531"/>
                      </a:lnTo>
                      <a:lnTo>
                        <a:pt x="126" y="531"/>
                      </a:lnTo>
                      <a:lnTo>
                        <a:pt x="126" y="529"/>
                      </a:lnTo>
                      <a:lnTo>
                        <a:pt x="128" y="529"/>
                      </a:lnTo>
                      <a:lnTo>
                        <a:pt x="130" y="528"/>
                      </a:lnTo>
                      <a:lnTo>
                        <a:pt x="130" y="526"/>
                      </a:lnTo>
                      <a:lnTo>
                        <a:pt x="130" y="528"/>
                      </a:lnTo>
                      <a:lnTo>
                        <a:pt x="130" y="526"/>
                      </a:lnTo>
                      <a:lnTo>
                        <a:pt x="131" y="526"/>
                      </a:lnTo>
                      <a:lnTo>
                        <a:pt x="131" y="524"/>
                      </a:lnTo>
                      <a:lnTo>
                        <a:pt x="131" y="526"/>
                      </a:lnTo>
                      <a:lnTo>
                        <a:pt x="131" y="524"/>
                      </a:lnTo>
                      <a:lnTo>
                        <a:pt x="133" y="524"/>
                      </a:lnTo>
                      <a:lnTo>
                        <a:pt x="133" y="523"/>
                      </a:lnTo>
                      <a:lnTo>
                        <a:pt x="135" y="521"/>
                      </a:lnTo>
                      <a:lnTo>
                        <a:pt x="135" y="519"/>
                      </a:lnTo>
                      <a:lnTo>
                        <a:pt x="136" y="519"/>
                      </a:lnTo>
                      <a:lnTo>
                        <a:pt x="138" y="519"/>
                      </a:lnTo>
                      <a:lnTo>
                        <a:pt x="140" y="519"/>
                      </a:lnTo>
                      <a:lnTo>
                        <a:pt x="140" y="518"/>
                      </a:lnTo>
                      <a:lnTo>
                        <a:pt x="140" y="519"/>
                      </a:lnTo>
                      <a:lnTo>
                        <a:pt x="142" y="519"/>
                      </a:lnTo>
                      <a:lnTo>
                        <a:pt x="142" y="518"/>
                      </a:lnTo>
                      <a:lnTo>
                        <a:pt x="143" y="518"/>
                      </a:lnTo>
                      <a:lnTo>
                        <a:pt x="143" y="516"/>
                      </a:lnTo>
                      <a:lnTo>
                        <a:pt x="143" y="514"/>
                      </a:lnTo>
                      <a:lnTo>
                        <a:pt x="145" y="514"/>
                      </a:lnTo>
                      <a:lnTo>
                        <a:pt x="145" y="513"/>
                      </a:lnTo>
                      <a:lnTo>
                        <a:pt x="147" y="513"/>
                      </a:lnTo>
                      <a:lnTo>
                        <a:pt x="147" y="511"/>
                      </a:lnTo>
                      <a:lnTo>
                        <a:pt x="147" y="509"/>
                      </a:lnTo>
                      <a:lnTo>
                        <a:pt x="147" y="506"/>
                      </a:lnTo>
                      <a:lnTo>
                        <a:pt x="147" y="505"/>
                      </a:lnTo>
                      <a:lnTo>
                        <a:pt x="147" y="503"/>
                      </a:lnTo>
                      <a:lnTo>
                        <a:pt x="147" y="501"/>
                      </a:lnTo>
                      <a:lnTo>
                        <a:pt x="147" y="500"/>
                      </a:lnTo>
                      <a:lnTo>
                        <a:pt x="145" y="498"/>
                      </a:lnTo>
                      <a:lnTo>
                        <a:pt x="145" y="496"/>
                      </a:lnTo>
                      <a:lnTo>
                        <a:pt x="145" y="495"/>
                      </a:lnTo>
                      <a:lnTo>
                        <a:pt x="147" y="495"/>
                      </a:lnTo>
                      <a:lnTo>
                        <a:pt x="147" y="493"/>
                      </a:lnTo>
                      <a:lnTo>
                        <a:pt x="147" y="491"/>
                      </a:lnTo>
                      <a:lnTo>
                        <a:pt x="147" y="490"/>
                      </a:lnTo>
                      <a:lnTo>
                        <a:pt x="148" y="488"/>
                      </a:lnTo>
                      <a:lnTo>
                        <a:pt x="147" y="487"/>
                      </a:lnTo>
                      <a:lnTo>
                        <a:pt x="148" y="487"/>
                      </a:lnTo>
                      <a:lnTo>
                        <a:pt x="148" y="485"/>
                      </a:lnTo>
                      <a:lnTo>
                        <a:pt x="150" y="485"/>
                      </a:lnTo>
                      <a:lnTo>
                        <a:pt x="152" y="483"/>
                      </a:lnTo>
                      <a:lnTo>
                        <a:pt x="152" y="482"/>
                      </a:lnTo>
                      <a:lnTo>
                        <a:pt x="152" y="480"/>
                      </a:lnTo>
                      <a:lnTo>
                        <a:pt x="153" y="480"/>
                      </a:lnTo>
                      <a:lnTo>
                        <a:pt x="153" y="478"/>
                      </a:lnTo>
                      <a:lnTo>
                        <a:pt x="155" y="478"/>
                      </a:lnTo>
                      <a:lnTo>
                        <a:pt x="157" y="478"/>
                      </a:lnTo>
                      <a:lnTo>
                        <a:pt x="157" y="477"/>
                      </a:lnTo>
                      <a:lnTo>
                        <a:pt x="158" y="475"/>
                      </a:lnTo>
                      <a:lnTo>
                        <a:pt x="160" y="475"/>
                      </a:lnTo>
                      <a:lnTo>
                        <a:pt x="162" y="473"/>
                      </a:lnTo>
                      <a:lnTo>
                        <a:pt x="163" y="473"/>
                      </a:lnTo>
                      <a:lnTo>
                        <a:pt x="165" y="473"/>
                      </a:lnTo>
                      <a:lnTo>
                        <a:pt x="167" y="473"/>
                      </a:lnTo>
                      <a:lnTo>
                        <a:pt x="169" y="473"/>
                      </a:lnTo>
                      <a:lnTo>
                        <a:pt x="169" y="472"/>
                      </a:lnTo>
                      <a:lnTo>
                        <a:pt x="169" y="470"/>
                      </a:lnTo>
                      <a:lnTo>
                        <a:pt x="169" y="468"/>
                      </a:lnTo>
                      <a:lnTo>
                        <a:pt x="170" y="467"/>
                      </a:lnTo>
                      <a:lnTo>
                        <a:pt x="170" y="465"/>
                      </a:lnTo>
                      <a:lnTo>
                        <a:pt x="172" y="465"/>
                      </a:lnTo>
                      <a:lnTo>
                        <a:pt x="170" y="465"/>
                      </a:lnTo>
                      <a:lnTo>
                        <a:pt x="172" y="465"/>
                      </a:lnTo>
                      <a:lnTo>
                        <a:pt x="172" y="464"/>
                      </a:lnTo>
                      <a:lnTo>
                        <a:pt x="172" y="462"/>
                      </a:lnTo>
                      <a:lnTo>
                        <a:pt x="174" y="462"/>
                      </a:lnTo>
                      <a:lnTo>
                        <a:pt x="175" y="460"/>
                      </a:lnTo>
                      <a:lnTo>
                        <a:pt x="165" y="452"/>
                      </a:lnTo>
                      <a:lnTo>
                        <a:pt x="163" y="452"/>
                      </a:lnTo>
                      <a:lnTo>
                        <a:pt x="163" y="450"/>
                      </a:lnTo>
                      <a:lnTo>
                        <a:pt x="163" y="449"/>
                      </a:lnTo>
                      <a:lnTo>
                        <a:pt x="162" y="447"/>
                      </a:lnTo>
                      <a:lnTo>
                        <a:pt x="162" y="445"/>
                      </a:lnTo>
                      <a:lnTo>
                        <a:pt x="163" y="445"/>
                      </a:lnTo>
                      <a:lnTo>
                        <a:pt x="163" y="444"/>
                      </a:lnTo>
                      <a:lnTo>
                        <a:pt x="163" y="442"/>
                      </a:lnTo>
                      <a:lnTo>
                        <a:pt x="163" y="441"/>
                      </a:lnTo>
                      <a:lnTo>
                        <a:pt x="162" y="439"/>
                      </a:lnTo>
                      <a:lnTo>
                        <a:pt x="160" y="437"/>
                      </a:lnTo>
                      <a:lnTo>
                        <a:pt x="160" y="436"/>
                      </a:lnTo>
                      <a:lnTo>
                        <a:pt x="158" y="436"/>
                      </a:lnTo>
                      <a:lnTo>
                        <a:pt x="158" y="434"/>
                      </a:lnTo>
                      <a:lnTo>
                        <a:pt x="157" y="434"/>
                      </a:lnTo>
                      <a:lnTo>
                        <a:pt x="158" y="434"/>
                      </a:lnTo>
                      <a:lnTo>
                        <a:pt x="157" y="434"/>
                      </a:lnTo>
                      <a:lnTo>
                        <a:pt x="157" y="432"/>
                      </a:lnTo>
                      <a:lnTo>
                        <a:pt x="157" y="431"/>
                      </a:lnTo>
                      <a:lnTo>
                        <a:pt x="157" y="429"/>
                      </a:lnTo>
                      <a:lnTo>
                        <a:pt x="157" y="427"/>
                      </a:lnTo>
                      <a:lnTo>
                        <a:pt x="157" y="426"/>
                      </a:lnTo>
                      <a:lnTo>
                        <a:pt x="155" y="426"/>
                      </a:lnTo>
                      <a:lnTo>
                        <a:pt x="155" y="424"/>
                      </a:lnTo>
                      <a:lnTo>
                        <a:pt x="155" y="422"/>
                      </a:lnTo>
                      <a:lnTo>
                        <a:pt x="155" y="421"/>
                      </a:lnTo>
                      <a:lnTo>
                        <a:pt x="153" y="421"/>
                      </a:lnTo>
                      <a:lnTo>
                        <a:pt x="153" y="419"/>
                      </a:lnTo>
                      <a:lnTo>
                        <a:pt x="152" y="419"/>
                      </a:lnTo>
                      <a:lnTo>
                        <a:pt x="152" y="421"/>
                      </a:lnTo>
                      <a:lnTo>
                        <a:pt x="152" y="419"/>
                      </a:lnTo>
                      <a:lnTo>
                        <a:pt x="150" y="421"/>
                      </a:lnTo>
                      <a:lnTo>
                        <a:pt x="150" y="419"/>
                      </a:lnTo>
                      <a:lnTo>
                        <a:pt x="150" y="421"/>
                      </a:lnTo>
                      <a:lnTo>
                        <a:pt x="148" y="419"/>
                      </a:lnTo>
                      <a:lnTo>
                        <a:pt x="147" y="419"/>
                      </a:lnTo>
                      <a:lnTo>
                        <a:pt x="147" y="418"/>
                      </a:lnTo>
                      <a:lnTo>
                        <a:pt x="147" y="416"/>
                      </a:lnTo>
                      <a:lnTo>
                        <a:pt x="145" y="418"/>
                      </a:lnTo>
                      <a:lnTo>
                        <a:pt x="145" y="416"/>
                      </a:lnTo>
                      <a:lnTo>
                        <a:pt x="145" y="414"/>
                      </a:lnTo>
                      <a:lnTo>
                        <a:pt x="143" y="414"/>
                      </a:lnTo>
                      <a:lnTo>
                        <a:pt x="145" y="414"/>
                      </a:lnTo>
                      <a:lnTo>
                        <a:pt x="145" y="413"/>
                      </a:lnTo>
                      <a:lnTo>
                        <a:pt x="145" y="411"/>
                      </a:lnTo>
                      <a:lnTo>
                        <a:pt x="143" y="411"/>
                      </a:lnTo>
                      <a:lnTo>
                        <a:pt x="145" y="409"/>
                      </a:lnTo>
                      <a:lnTo>
                        <a:pt x="143" y="409"/>
                      </a:lnTo>
                      <a:lnTo>
                        <a:pt x="145" y="409"/>
                      </a:lnTo>
                      <a:lnTo>
                        <a:pt x="143" y="409"/>
                      </a:lnTo>
                      <a:lnTo>
                        <a:pt x="145" y="409"/>
                      </a:lnTo>
                      <a:lnTo>
                        <a:pt x="145" y="408"/>
                      </a:lnTo>
                      <a:lnTo>
                        <a:pt x="143" y="408"/>
                      </a:lnTo>
                      <a:lnTo>
                        <a:pt x="143" y="406"/>
                      </a:lnTo>
                      <a:lnTo>
                        <a:pt x="143" y="404"/>
                      </a:lnTo>
                      <a:lnTo>
                        <a:pt x="143" y="403"/>
                      </a:lnTo>
                      <a:lnTo>
                        <a:pt x="143" y="401"/>
                      </a:lnTo>
                      <a:lnTo>
                        <a:pt x="143" y="399"/>
                      </a:lnTo>
                      <a:lnTo>
                        <a:pt x="143" y="398"/>
                      </a:lnTo>
                      <a:lnTo>
                        <a:pt x="143" y="396"/>
                      </a:lnTo>
                      <a:lnTo>
                        <a:pt x="143" y="395"/>
                      </a:lnTo>
                      <a:lnTo>
                        <a:pt x="143" y="393"/>
                      </a:lnTo>
                      <a:lnTo>
                        <a:pt x="143" y="391"/>
                      </a:lnTo>
                      <a:lnTo>
                        <a:pt x="145" y="391"/>
                      </a:lnTo>
                      <a:lnTo>
                        <a:pt x="145" y="390"/>
                      </a:lnTo>
                      <a:lnTo>
                        <a:pt x="145" y="391"/>
                      </a:lnTo>
                      <a:lnTo>
                        <a:pt x="145" y="390"/>
                      </a:lnTo>
                      <a:lnTo>
                        <a:pt x="147" y="390"/>
                      </a:lnTo>
                      <a:lnTo>
                        <a:pt x="145" y="390"/>
                      </a:lnTo>
                      <a:lnTo>
                        <a:pt x="145" y="388"/>
                      </a:lnTo>
                      <a:lnTo>
                        <a:pt x="145" y="390"/>
                      </a:lnTo>
                      <a:lnTo>
                        <a:pt x="147" y="390"/>
                      </a:lnTo>
                      <a:lnTo>
                        <a:pt x="147" y="388"/>
                      </a:lnTo>
                      <a:lnTo>
                        <a:pt x="148" y="388"/>
                      </a:lnTo>
                      <a:lnTo>
                        <a:pt x="148" y="386"/>
                      </a:lnTo>
                      <a:lnTo>
                        <a:pt x="150" y="386"/>
                      </a:lnTo>
                      <a:lnTo>
                        <a:pt x="150" y="385"/>
                      </a:lnTo>
                      <a:lnTo>
                        <a:pt x="152" y="385"/>
                      </a:lnTo>
                      <a:lnTo>
                        <a:pt x="152" y="383"/>
                      </a:lnTo>
                      <a:lnTo>
                        <a:pt x="153" y="381"/>
                      </a:lnTo>
                      <a:lnTo>
                        <a:pt x="155" y="381"/>
                      </a:lnTo>
                      <a:lnTo>
                        <a:pt x="155" y="380"/>
                      </a:lnTo>
                      <a:lnTo>
                        <a:pt x="157" y="380"/>
                      </a:lnTo>
                      <a:lnTo>
                        <a:pt x="157" y="378"/>
                      </a:lnTo>
                      <a:lnTo>
                        <a:pt x="158" y="378"/>
                      </a:lnTo>
                      <a:lnTo>
                        <a:pt x="158" y="376"/>
                      </a:lnTo>
                      <a:lnTo>
                        <a:pt x="160" y="376"/>
                      </a:lnTo>
                      <a:lnTo>
                        <a:pt x="162" y="375"/>
                      </a:lnTo>
                      <a:lnTo>
                        <a:pt x="160" y="375"/>
                      </a:lnTo>
                      <a:lnTo>
                        <a:pt x="162" y="375"/>
                      </a:lnTo>
                      <a:lnTo>
                        <a:pt x="162" y="373"/>
                      </a:lnTo>
                      <a:lnTo>
                        <a:pt x="162" y="372"/>
                      </a:lnTo>
                      <a:lnTo>
                        <a:pt x="162" y="370"/>
                      </a:lnTo>
                      <a:lnTo>
                        <a:pt x="162" y="368"/>
                      </a:lnTo>
                      <a:lnTo>
                        <a:pt x="162" y="367"/>
                      </a:lnTo>
                      <a:lnTo>
                        <a:pt x="160" y="367"/>
                      </a:lnTo>
                      <a:lnTo>
                        <a:pt x="160" y="365"/>
                      </a:lnTo>
                      <a:lnTo>
                        <a:pt x="158" y="365"/>
                      </a:lnTo>
                      <a:lnTo>
                        <a:pt x="158" y="363"/>
                      </a:lnTo>
                      <a:lnTo>
                        <a:pt x="157" y="362"/>
                      </a:lnTo>
                      <a:lnTo>
                        <a:pt x="157" y="360"/>
                      </a:lnTo>
                      <a:lnTo>
                        <a:pt x="155" y="358"/>
                      </a:lnTo>
                      <a:lnTo>
                        <a:pt x="155" y="357"/>
                      </a:lnTo>
                      <a:lnTo>
                        <a:pt x="157" y="357"/>
                      </a:lnTo>
                      <a:lnTo>
                        <a:pt x="157" y="355"/>
                      </a:lnTo>
                      <a:lnTo>
                        <a:pt x="157" y="353"/>
                      </a:lnTo>
                      <a:lnTo>
                        <a:pt x="155" y="353"/>
                      </a:lnTo>
                      <a:lnTo>
                        <a:pt x="155" y="352"/>
                      </a:lnTo>
                      <a:lnTo>
                        <a:pt x="155" y="350"/>
                      </a:lnTo>
                      <a:lnTo>
                        <a:pt x="157" y="350"/>
                      </a:lnTo>
                      <a:lnTo>
                        <a:pt x="157" y="349"/>
                      </a:lnTo>
                      <a:lnTo>
                        <a:pt x="155" y="349"/>
                      </a:lnTo>
                      <a:lnTo>
                        <a:pt x="153" y="349"/>
                      </a:lnTo>
                      <a:lnTo>
                        <a:pt x="152" y="349"/>
                      </a:lnTo>
                      <a:lnTo>
                        <a:pt x="150" y="349"/>
                      </a:lnTo>
                      <a:lnTo>
                        <a:pt x="148" y="349"/>
                      </a:lnTo>
                      <a:lnTo>
                        <a:pt x="147" y="347"/>
                      </a:lnTo>
                      <a:lnTo>
                        <a:pt x="145" y="347"/>
                      </a:lnTo>
                      <a:lnTo>
                        <a:pt x="143" y="347"/>
                      </a:lnTo>
                      <a:lnTo>
                        <a:pt x="142" y="347"/>
                      </a:lnTo>
                      <a:lnTo>
                        <a:pt x="140" y="347"/>
                      </a:lnTo>
                      <a:lnTo>
                        <a:pt x="138" y="345"/>
                      </a:lnTo>
                      <a:lnTo>
                        <a:pt x="138" y="347"/>
                      </a:lnTo>
                      <a:lnTo>
                        <a:pt x="136" y="347"/>
                      </a:lnTo>
                      <a:lnTo>
                        <a:pt x="136" y="349"/>
                      </a:lnTo>
                      <a:lnTo>
                        <a:pt x="135" y="347"/>
                      </a:lnTo>
                      <a:lnTo>
                        <a:pt x="135" y="349"/>
                      </a:lnTo>
                      <a:lnTo>
                        <a:pt x="135" y="347"/>
                      </a:lnTo>
                      <a:lnTo>
                        <a:pt x="133" y="347"/>
                      </a:lnTo>
                      <a:lnTo>
                        <a:pt x="131" y="347"/>
                      </a:lnTo>
                      <a:lnTo>
                        <a:pt x="131" y="345"/>
                      </a:lnTo>
                      <a:lnTo>
                        <a:pt x="131" y="347"/>
                      </a:lnTo>
                      <a:lnTo>
                        <a:pt x="130" y="347"/>
                      </a:lnTo>
                      <a:lnTo>
                        <a:pt x="130" y="345"/>
                      </a:lnTo>
                      <a:lnTo>
                        <a:pt x="128" y="345"/>
                      </a:lnTo>
                      <a:lnTo>
                        <a:pt x="128" y="347"/>
                      </a:lnTo>
                      <a:lnTo>
                        <a:pt x="128" y="345"/>
                      </a:lnTo>
                      <a:lnTo>
                        <a:pt x="128" y="344"/>
                      </a:lnTo>
                      <a:lnTo>
                        <a:pt x="126" y="344"/>
                      </a:lnTo>
                      <a:lnTo>
                        <a:pt x="125" y="342"/>
                      </a:lnTo>
                      <a:lnTo>
                        <a:pt x="125" y="344"/>
                      </a:lnTo>
                      <a:lnTo>
                        <a:pt x="123" y="344"/>
                      </a:lnTo>
                      <a:lnTo>
                        <a:pt x="123" y="345"/>
                      </a:lnTo>
                      <a:lnTo>
                        <a:pt x="121" y="345"/>
                      </a:lnTo>
                      <a:lnTo>
                        <a:pt x="121" y="344"/>
                      </a:lnTo>
                      <a:lnTo>
                        <a:pt x="121" y="345"/>
                      </a:lnTo>
                      <a:lnTo>
                        <a:pt x="121" y="347"/>
                      </a:lnTo>
                      <a:lnTo>
                        <a:pt x="120" y="347"/>
                      </a:lnTo>
                      <a:lnTo>
                        <a:pt x="118" y="345"/>
                      </a:lnTo>
                      <a:lnTo>
                        <a:pt x="118" y="347"/>
                      </a:lnTo>
                      <a:lnTo>
                        <a:pt x="116" y="345"/>
                      </a:lnTo>
                      <a:lnTo>
                        <a:pt x="116" y="344"/>
                      </a:lnTo>
                      <a:lnTo>
                        <a:pt x="115" y="344"/>
                      </a:lnTo>
                      <a:lnTo>
                        <a:pt x="115" y="342"/>
                      </a:lnTo>
                      <a:lnTo>
                        <a:pt x="115" y="340"/>
                      </a:lnTo>
                      <a:lnTo>
                        <a:pt x="113" y="340"/>
                      </a:lnTo>
                      <a:lnTo>
                        <a:pt x="111" y="340"/>
                      </a:lnTo>
                      <a:lnTo>
                        <a:pt x="113" y="339"/>
                      </a:lnTo>
                      <a:lnTo>
                        <a:pt x="111" y="339"/>
                      </a:lnTo>
                      <a:lnTo>
                        <a:pt x="111" y="337"/>
                      </a:lnTo>
                      <a:lnTo>
                        <a:pt x="59" y="337"/>
                      </a:lnTo>
                      <a:lnTo>
                        <a:pt x="18" y="335"/>
                      </a:lnTo>
                      <a:lnTo>
                        <a:pt x="6" y="335"/>
                      </a:lnTo>
                      <a:lnTo>
                        <a:pt x="8" y="335"/>
                      </a:lnTo>
                      <a:lnTo>
                        <a:pt x="10" y="335"/>
                      </a:lnTo>
                      <a:lnTo>
                        <a:pt x="10" y="334"/>
                      </a:lnTo>
                      <a:lnTo>
                        <a:pt x="10" y="332"/>
                      </a:lnTo>
                      <a:lnTo>
                        <a:pt x="10" y="330"/>
                      </a:lnTo>
                      <a:lnTo>
                        <a:pt x="10" y="329"/>
                      </a:lnTo>
                      <a:lnTo>
                        <a:pt x="10" y="327"/>
                      </a:lnTo>
                      <a:lnTo>
                        <a:pt x="10" y="326"/>
                      </a:lnTo>
                      <a:lnTo>
                        <a:pt x="10" y="324"/>
                      </a:lnTo>
                      <a:lnTo>
                        <a:pt x="10" y="322"/>
                      </a:lnTo>
                      <a:lnTo>
                        <a:pt x="11" y="322"/>
                      </a:lnTo>
                      <a:lnTo>
                        <a:pt x="10" y="321"/>
                      </a:lnTo>
                      <a:lnTo>
                        <a:pt x="11" y="321"/>
                      </a:lnTo>
                      <a:lnTo>
                        <a:pt x="11" y="319"/>
                      </a:lnTo>
                      <a:lnTo>
                        <a:pt x="11" y="317"/>
                      </a:lnTo>
                      <a:lnTo>
                        <a:pt x="13" y="317"/>
                      </a:lnTo>
                      <a:lnTo>
                        <a:pt x="13" y="319"/>
                      </a:lnTo>
                      <a:lnTo>
                        <a:pt x="15" y="319"/>
                      </a:lnTo>
                      <a:lnTo>
                        <a:pt x="15" y="317"/>
                      </a:lnTo>
                      <a:lnTo>
                        <a:pt x="13" y="317"/>
                      </a:lnTo>
                      <a:lnTo>
                        <a:pt x="13" y="316"/>
                      </a:lnTo>
                      <a:lnTo>
                        <a:pt x="13" y="314"/>
                      </a:lnTo>
                      <a:lnTo>
                        <a:pt x="13" y="312"/>
                      </a:lnTo>
                      <a:lnTo>
                        <a:pt x="15" y="311"/>
                      </a:lnTo>
                      <a:lnTo>
                        <a:pt x="13" y="311"/>
                      </a:lnTo>
                      <a:lnTo>
                        <a:pt x="11" y="311"/>
                      </a:lnTo>
                      <a:lnTo>
                        <a:pt x="11" y="309"/>
                      </a:lnTo>
                      <a:lnTo>
                        <a:pt x="11" y="307"/>
                      </a:lnTo>
                      <a:lnTo>
                        <a:pt x="13" y="307"/>
                      </a:lnTo>
                      <a:lnTo>
                        <a:pt x="13" y="306"/>
                      </a:lnTo>
                      <a:lnTo>
                        <a:pt x="13" y="304"/>
                      </a:lnTo>
                      <a:lnTo>
                        <a:pt x="13" y="303"/>
                      </a:lnTo>
                      <a:lnTo>
                        <a:pt x="13" y="301"/>
                      </a:lnTo>
                      <a:lnTo>
                        <a:pt x="13" y="299"/>
                      </a:lnTo>
                      <a:lnTo>
                        <a:pt x="13" y="298"/>
                      </a:lnTo>
                      <a:lnTo>
                        <a:pt x="15" y="298"/>
                      </a:lnTo>
                      <a:lnTo>
                        <a:pt x="15" y="296"/>
                      </a:lnTo>
                      <a:lnTo>
                        <a:pt x="15" y="294"/>
                      </a:lnTo>
                      <a:lnTo>
                        <a:pt x="13" y="294"/>
                      </a:lnTo>
                      <a:lnTo>
                        <a:pt x="13" y="293"/>
                      </a:lnTo>
                      <a:lnTo>
                        <a:pt x="13" y="291"/>
                      </a:lnTo>
                      <a:lnTo>
                        <a:pt x="13" y="289"/>
                      </a:lnTo>
                      <a:lnTo>
                        <a:pt x="15" y="289"/>
                      </a:lnTo>
                      <a:lnTo>
                        <a:pt x="15" y="288"/>
                      </a:lnTo>
                      <a:lnTo>
                        <a:pt x="15" y="286"/>
                      </a:lnTo>
                      <a:lnTo>
                        <a:pt x="15" y="285"/>
                      </a:lnTo>
                      <a:lnTo>
                        <a:pt x="15" y="283"/>
                      </a:lnTo>
                      <a:lnTo>
                        <a:pt x="13" y="283"/>
                      </a:lnTo>
                      <a:lnTo>
                        <a:pt x="15" y="283"/>
                      </a:lnTo>
                      <a:lnTo>
                        <a:pt x="13" y="283"/>
                      </a:lnTo>
                      <a:lnTo>
                        <a:pt x="13" y="281"/>
                      </a:lnTo>
                      <a:lnTo>
                        <a:pt x="11" y="281"/>
                      </a:lnTo>
                      <a:lnTo>
                        <a:pt x="11" y="280"/>
                      </a:lnTo>
                      <a:lnTo>
                        <a:pt x="11" y="278"/>
                      </a:lnTo>
                      <a:lnTo>
                        <a:pt x="10" y="278"/>
                      </a:lnTo>
                      <a:lnTo>
                        <a:pt x="10" y="276"/>
                      </a:lnTo>
                      <a:lnTo>
                        <a:pt x="8" y="276"/>
                      </a:lnTo>
                      <a:lnTo>
                        <a:pt x="8" y="275"/>
                      </a:lnTo>
                      <a:lnTo>
                        <a:pt x="6" y="275"/>
                      </a:lnTo>
                      <a:lnTo>
                        <a:pt x="6" y="273"/>
                      </a:lnTo>
                      <a:lnTo>
                        <a:pt x="8" y="273"/>
                      </a:lnTo>
                      <a:lnTo>
                        <a:pt x="6" y="271"/>
                      </a:lnTo>
                      <a:lnTo>
                        <a:pt x="6" y="270"/>
                      </a:lnTo>
                      <a:lnTo>
                        <a:pt x="5" y="270"/>
                      </a:lnTo>
                      <a:lnTo>
                        <a:pt x="5" y="268"/>
                      </a:lnTo>
                      <a:lnTo>
                        <a:pt x="5" y="266"/>
                      </a:lnTo>
                      <a:lnTo>
                        <a:pt x="5" y="265"/>
                      </a:lnTo>
                      <a:lnTo>
                        <a:pt x="5" y="263"/>
                      </a:lnTo>
                      <a:lnTo>
                        <a:pt x="6" y="263"/>
                      </a:lnTo>
                      <a:lnTo>
                        <a:pt x="6" y="262"/>
                      </a:lnTo>
                      <a:lnTo>
                        <a:pt x="5" y="260"/>
                      </a:lnTo>
                      <a:lnTo>
                        <a:pt x="3" y="260"/>
                      </a:lnTo>
                      <a:lnTo>
                        <a:pt x="1" y="260"/>
                      </a:lnTo>
                      <a:lnTo>
                        <a:pt x="1" y="258"/>
                      </a:lnTo>
                      <a:lnTo>
                        <a:pt x="3" y="258"/>
                      </a:lnTo>
                      <a:lnTo>
                        <a:pt x="3" y="257"/>
                      </a:lnTo>
                      <a:lnTo>
                        <a:pt x="3" y="255"/>
                      </a:lnTo>
                      <a:lnTo>
                        <a:pt x="3" y="253"/>
                      </a:lnTo>
                      <a:lnTo>
                        <a:pt x="5" y="252"/>
                      </a:lnTo>
                      <a:lnTo>
                        <a:pt x="3" y="250"/>
                      </a:lnTo>
                      <a:lnTo>
                        <a:pt x="5" y="250"/>
                      </a:lnTo>
                      <a:lnTo>
                        <a:pt x="6" y="248"/>
                      </a:lnTo>
                      <a:lnTo>
                        <a:pt x="8" y="247"/>
                      </a:lnTo>
                      <a:lnTo>
                        <a:pt x="8" y="245"/>
                      </a:lnTo>
                      <a:lnTo>
                        <a:pt x="8" y="243"/>
                      </a:lnTo>
                      <a:lnTo>
                        <a:pt x="10" y="243"/>
                      </a:lnTo>
                      <a:lnTo>
                        <a:pt x="10" y="242"/>
                      </a:lnTo>
                      <a:lnTo>
                        <a:pt x="8" y="242"/>
                      </a:lnTo>
                      <a:lnTo>
                        <a:pt x="8" y="240"/>
                      </a:lnTo>
                      <a:lnTo>
                        <a:pt x="10" y="240"/>
                      </a:lnTo>
                      <a:lnTo>
                        <a:pt x="10" y="239"/>
                      </a:lnTo>
                      <a:lnTo>
                        <a:pt x="10" y="237"/>
                      </a:lnTo>
                      <a:lnTo>
                        <a:pt x="10" y="235"/>
                      </a:lnTo>
                      <a:lnTo>
                        <a:pt x="11" y="235"/>
                      </a:lnTo>
                      <a:lnTo>
                        <a:pt x="11" y="234"/>
                      </a:lnTo>
                      <a:lnTo>
                        <a:pt x="11" y="232"/>
                      </a:lnTo>
                      <a:lnTo>
                        <a:pt x="10" y="232"/>
                      </a:lnTo>
                      <a:lnTo>
                        <a:pt x="10" y="230"/>
                      </a:lnTo>
                      <a:lnTo>
                        <a:pt x="10" y="229"/>
                      </a:lnTo>
                      <a:lnTo>
                        <a:pt x="8" y="229"/>
                      </a:lnTo>
                      <a:lnTo>
                        <a:pt x="10" y="227"/>
                      </a:lnTo>
                      <a:lnTo>
                        <a:pt x="10" y="225"/>
                      </a:lnTo>
                      <a:lnTo>
                        <a:pt x="8" y="225"/>
                      </a:lnTo>
                      <a:lnTo>
                        <a:pt x="8" y="224"/>
                      </a:lnTo>
                      <a:lnTo>
                        <a:pt x="8" y="222"/>
                      </a:lnTo>
                      <a:lnTo>
                        <a:pt x="8" y="220"/>
                      </a:lnTo>
                      <a:lnTo>
                        <a:pt x="6" y="220"/>
                      </a:lnTo>
                      <a:lnTo>
                        <a:pt x="5" y="220"/>
                      </a:lnTo>
                      <a:lnTo>
                        <a:pt x="5" y="219"/>
                      </a:lnTo>
                      <a:lnTo>
                        <a:pt x="6" y="219"/>
                      </a:lnTo>
                      <a:lnTo>
                        <a:pt x="8" y="219"/>
                      </a:lnTo>
                      <a:lnTo>
                        <a:pt x="10" y="219"/>
                      </a:lnTo>
                      <a:lnTo>
                        <a:pt x="10" y="217"/>
                      </a:lnTo>
                      <a:lnTo>
                        <a:pt x="11" y="217"/>
                      </a:lnTo>
                      <a:lnTo>
                        <a:pt x="11" y="216"/>
                      </a:lnTo>
                      <a:lnTo>
                        <a:pt x="11" y="214"/>
                      </a:lnTo>
                      <a:lnTo>
                        <a:pt x="13" y="212"/>
                      </a:lnTo>
                      <a:lnTo>
                        <a:pt x="13" y="211"/>
                      </a:lnTo>
                      <a:lnTo>
                        <a:pt x="11" y="211"/>
                      </a:lnTo>
                      <a:lnTo>
                        <a:pt x="11" y="209"/>
                      </a:lnTo>
                      <a:lnTo>
                        <a:pt x="11" y="207"/>
                      </a:lnTo>
                      <a:lnTo>
                        <a:pt x="11" y="206"/>
                      </a:lnTo>
                      <a:lnTo>
                        <a:pt x="11" y="204"/>
                      </a:lnTo>
                      <a:lnTo>
                        <a:pt x="11" y="202"/>
                      </a:lnTo>
                      <a:lnTo>
                        <a:pt x="10" y="202"/>
                      </a:lnTo>
                      <a:lnTo>
                        <a:pt x="8" y="202"/>
                      </a:lnTo>
                      <a:lnTo>
                        <a:pt x="8" y="201"/>
                      </a:lnTo>
                      <a:lnTo>
                        <a:pt x="6" y="201"/>
                      </a:lnTo>
                      <a:lnTo>
                        <a:pt x="8" y="201"/>
                      </a:lnTo>
                      <a:lnTo>
                        <a:pt x="8" y="199"/>
                      </a:lnTo>
                      <a:lnTo>
                        <a:pt x="10" y="199"/>
                      </a:lnTo>
                      <a:lnTo>
                        <a:pt x="8" y="199"/>
                      </a:lnTo>
                      <a:lnTo>
                        <a:pt x="6" y="197"/>
                      </a:lnTo>
                      <a:lnTo>
                        <a:pt x="5" y="197"/>
                      </a:lnTo>
                      <a:lnTo>
                        <a:pt x="5" y="196"/>
                      </a:lnTo>
                      <a:lnTo>
                        <a:pt x="5" y="194"/>
                      </a:lnTo>
                      <a:lnTo>
                        <a:pt x="6" y="193"/>
                      </a:lnTo>
                      <a:lnTo>
                        <a:pt x="6" y="191"/>
                      </a:lnTo>
                      <a:lnTo>
                        <a:pt x="6" y="189"/>
                      </a:lnTo>
                      <a:lnTo>
                        <a:pt x="6" y="188"/>
                      </a:lnTo>
                      <a:lnTo>
                        <a:pt x="5" y="188"/>
                      </a:lnTo>
                      <a:lnTo>
                        <a:pt x="5" y="186"/>
                      </a:lnTo>
                      <a:lnTo>
                        <a:pt x="3" y="188"/>
                      </a:lnTo>
                      <a:lnTo>
                        <a:pt x="1" y="186"/>
                      </a:lnTo>
                      <a:lnTo>
                        <a:pt x="0" y="186"/>
                      </a:lnTo>
                      <a:lnTo>
                        <a:pt x="0" y="184"/>
                      </a:lnTo>
                      <a:lnTo>
                        <a:pt x="1" y="183"/>
                      </a:lnTo>
                      <a:lnTo>
                        <a:pt x="1" y="181"/>
                      </a:lnTo>
                      <a:lnTo>
                        <a:pt x="1" y="179"/>
                      </a:lnTo>
                      <a:lnTo>
                        <a:pt x="1" y="178"/>
                      </a:lnTo>
                      <a:lnTo>
                        <a:pt x="0" y="179"/>
                      </a:lnTo>
                      <a:lnTo>
                        <a:pt x="0" y="178"/>
                      </a:lnTo>
                      <a:lnTo>
                        <a:pt x="0" y="176"/>
                      </a:lnTo>
                      <a:lnTo>
                        <a:pt x="1" y="176"/>
                      </a:lnTo>
                      <a:lnTo>
                        <a:pt x="3" y="176"/>
                      </a:lnTo>
                      <a:lnTo>
                        <a:pt x="3" y="174"/>
                      </a:lnTo>
                      <a:lnTo>
                        <a:pt x="5" y="174"/>
                      </a:lnTo>
                      <a:lnTo>
                        <a:pt x="6" y="176"/>
                      </a:lnTo>
                      <a:lnTo>
                        <a:pt x="8" y="176"/>
                      </a:lnTo>
                      <a:lnTo>
                        <a:pt x="10" y="176"/>
                      </a:lnTo>
                      <a:lnTo>
                        <a:pt x="10" y="174"/>
                      </a:lnTo>
                      <a:lnTo>
                        <a:pt x="10" y="173"/>
                      </a:lnTo>
                      <a:lnTo>
                        <a:pt x="10" y="171"/>
                      </a:lnTo>
                      <a:lnTo>
                        <a:pt x="10" y="170"/>
                      </a:lnTo>
                      <a:lnTo>
                        <a:pt x="8" y="168"/>
                      </a:lnTo>
                      <a:lnTo>
                        <a:pt x="8" y="166"/>
                      </a:lnTo>
                      <a:lnTo>
                        <a:pt x="6" y="166"/>
                      </a:lnTo>
                      <a:lnTo>
                        <a:pt x="6" y="165"/>
                      </a:lnTo>
                      <a:lnTo>
                        <a:pt x="6" y="163"/>
                      </a:lnTo>
                      <a:lnTo>
                        <a:pt x="6" y="161"/>
                      </a:lnTo>
                      <a:lnTo>
                        <a:pt x="6" y="160"/>
                      </a:lnTo>
                      <a:lnTo>
                        <a:pt x="8" y="160"/>
                      </a:lnTo>
                      <a:lnTo>
                        <a:pt x="8" y="158"/>
                      </a:lnTo>
                      <a:lnTo>
                        <a:pt x="8" y="156"/>
                      </a:lnTo>
                      <a:lnTo>
                        <a:pt x="10" y="155"/>
                      </a:lnTo>
                      <a:lnTo>
                        <a:pt x="10" y="153"/>
                      </a:lnTo>
                      <a:lnTo>
                        <a:pt x="10" y="151"/>
                      </a:lnTo>
                      <a:lnTo>
                        <a:pt x="11" y="150"/>
                      </a:lnTo>
                      <a:lnTo>
                        <a:pt x="11" y="148"/>
                      </a:lnTo>
                      <a:lnTo>
                        <a:pt x="13" y="147"/>
                      </a:lnTo>
                      <a:lnTo>
                        <a:pt x="15" y="145"/>
                      </a:lnTo>
                      <a:lnTo>
                        <a:pt x="13" y="145"/>
                      </a:lnTo>
                      <a:lnTo>
                        <a:pt x="13" y="143"/>
                      </a:lnTo>
                      <a:lnTo>
                        <a:pt x="13" y="142"/>
                      </a:lnTo>
                      <a:lnTo>
                        <a:pt x="11" y="142"/>
                      </a:lnTo>
                      <a:lnTo>
                        <a:pt x="11" y="140"/>
                      </a:lnTo>
                      <a:lnTo>
                        <a:pt x="10" y="140"/>
                      </a:lnTo>
                      <a:lnTo>
                        <a:pt x="10" y="138"/>
                      </a:lnTo>
                      <a:lnTo>
                        <a:pt x="10" y="137"/>
                      </a:lnTo>
                      <a:lnTo>
                        <a:pt x="8" y="137"/>
                      </a:lnTo>
                      <a:lnTo>
                        <a:pt x="6" y="135"/>
                      </a:lnTo>
                      <a:lnTo>
                        <a:pt x="5" y="135"/>
                      </a:lnTo>
                      <a:lnTo>
                        <a:pt x="3" y="135"/>
                      </a:lnTo>
                      <a:lnTo>
                        <a:pt x="11" y="135"/>
                      </a:lnTo>
                      <a:lnTo>
                        <a:pt x="115" y="133"/>
                      </a:lnTo>
                      <a:lnTo>
                        <a:pt x="153" y="135"/>
                      </a:lnTo>
                      <a:lnTo>
                        <a:pt x="201" y="135"/>
                      </a:lnTo>
                      <a:lnTo>
                        <a:pt x="236" y="135"/>
                      </a:lnTo>
                      <a:lnTo>
                        <a:pt x="297" y="135"/>
                      </a:lnTo>
                      <a:lnTo>
                        <a:pt x="302" y="135"/>
                      </a:lnTo>
                      <a:close/>
                    </a:path>
                  </a:pathLst>
                </a:custGeom>
                <a:solidFill>
                  <a:srgbClr val="FFFFE1"/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black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6" name="Freeform 27"/>
                <p:cNvSpPr>
                  <a:spLocks noChangeAspect="1"/>
                </p:cNvSpPr>
                <p:nvPr/>
              </p:nvSpPr>
              <p:spPr bwMode="auto">
                <a:xfrm>
                  <a:off x="4342341" y="3184913"/>
                  <a:ext cx="1087338" cy="1093878"/>
                </a:xfrm>
                <a:custGeom>
                  <a:avLst/>
                  <a:gdLst>
                    <a:gd name="T0" fmla="*/ 2147483647 w 698"/>
                    <a:gd name="T1" fmla="*/ 2147483647 h 655"/>
                    <a:gd name="T2" fmla="*/ 2147483647 w 698"/>
                    <a:gd name="T3" fmla="*/ 2147483647 h 655"/>
                    <a:gd name="T4" fmla="*/ 2147483647 w 698"/>
                    <a:gd name="T5" fmla="*/ 2147483647 h 655"/>
                    <a:gd name="T6" fmla="*/ 2147483647 w 698"/>
                    <a:gd name="T7" fmla="*/ 2147483647 h 655"/>
                    <a:gd name="T8" fmla="*/ 2147483647 w 698"/>
                    <a:gd name="T9" fmla="*/ 2147483647 h 655"/>
                    <a:gd name="T10" fmla="*/ 2147483647 w 698"/>
                    <a:gd name="T11" fmla="*/ 2147483647 h 655"/>
                    <a:gd name="T12" fmla="*/ 2147483647 w 698"/>
                    <a:gd name="T13" fmla="*/ 2147483647 h 655"/>
                    <a:gd name="T14" fmla="*/ 2147483647 w 698"/>
                    <a:gd name="T15" fmla="*/ 2147483647 h 655"/>
                    <a:gd name="T16" fmla="*/ 2147483647 w 698"/>
                    <a:gd name="T17" fmla="*/ 2147483647 h 655"/>
                    <a:gd name="T18" fmla="*/ 2147483647 w 698"/>
                    <a:gd name="T19" fmla="*/ 2147483647 h 655"/>
                    <a:gd name="T20" fmla="*/ 2147483647 w 698"/>
                    <a:gd name="T21" fmla="*/ 2147483647 h 655"/>
                    <a:gd name="T22" fmla="*/ 2147483647 w 698"/>
                    <a:gd name="T23" fmla="*/ 2147483647 h 655"/>
                    <a:gd name="T24" fmla="*/ 2147483647 w 698"/>
                    <a:gd name="T25" fmla="*/ 2147483647 h 655"/>
                    <a:gd name="T26" fmla="*/ 2147483647 w 698"/>
                    <a:gd name="T27" fmla="*/ 2147483647 h 655"/>
                    <a:gd name="T28" fmla="*/ 2147483647 w 698"/>
                    <a:gd name="T29" fmla="*/ 2147483647 h 655"/>
                    <a:gd name="T30" fmla="*/ 2147483647 w 698"/>
                    <a:gd name="T31" fmla="*/ 2147483647 h 655"/>
                    <a:gd name="T32" fmla="*/ 2147483647 w 698"/>
                    <a:gd name="T33" fmla="*/ 2147483647 h 655"/>
                    <a:gd name="T34" fmla="*/ 2147483647 w 698"/>
                    <a:gd name="T35" fmla="*/ 2147483647 h 655"/>
                    <a:gd name="T36" fmla="*/ 2147483647 w 698"/>
                    <a:gd name="T37" fmla="*/ 2147483647 h 655"/>
                    <a:gd name="T38" fmla="*/ 2147483647 w 698"/>
                    <a:gd name="T39" fmla="*/ 2147483647 h 655"/>
                    <a:gd name="T40" fmla="*/ 2147483647 w 698"/>
                    <a:gd name="T41" fmla="*/ 2147483647 h 655"/>
                    <a:gd name="T42" fmla="*/ 2147483647 w 698"/>
                    <a:gd name="T43" fmla="*/ 2147483647 h 655"/>
                    <a:gd name="T44" fmla="*/ 2147483647 w 698"/>
                    <a:gd name="T45" fmla="*/ 2147483647 h 655"/>
                    <a:gd name="T46" fmla="*/ 2147483647 w 698"/>
                    <a:gd name="T47" fmla="*/ 2147483647 h 655"/>
                    <a:gd name="T48" fmla="*/ 2147483647 w 698"/>
                    <a:gd name="T49" fmla="*/ 2147483647 h 655"/>
                    <a:gd name="T50" fmla="*/ 2147483647 w 698"/>
                    <a:gd name="T51" fmla="*/ 2147483647 h 655"/>
                    <a:gd name="T52" fmla="*/ 2147483647 w 698"/>
                    <a:gd name="T53" fmla="*/ 2147483647 h 655"/>
                    <a:gd name="T54" fmla="*/ 2147483647 w 698"/>
                    <a:gd name="T55" fmla="*/ 2147483647 h 655"/>
                    <a:gd name="T56" fmla="*/ 2147483647 w 698"/>
                    <a:gd name="T57" fmla="*/ 2147483647 h 655"/>
                    <a:gd name="T58" fmla="*/ 2147483647 w 698"/>
                    <a:gd name="T59" fmla="*/ 2147483647 h 655"/>
                    <a:gd name="T60" fmla="*/ 2147483647 w 698"/>
                    <a:gd name="T61" fmla="*/ 2147483647 h 655"/>
                    <a:gd name="T62" fmla="*/ 2147483647 w 698"/>
                    <a:gd name="T63" fmla="*/ 2147483647 h 655"/>
                    <a:gd name="T64" fmla="*/ 2147483647 w 698"/>
                    <a:gd name="T65" fmla="*/ 2147483647 h 655"/>
                    <a:gd name="T66" fmla="*/ 2147483647 w 698"/>
                    <a:gd name="T67" fmla="*/ 2147483647 h 655"/>
                    <a:gd name="T68" fmla="*/ 2147483647 w 698"/>
                    <a:gd name="T69" fmla="*/ 2147483647 h 655"/>
                    <a:gd name="T70" fmla="*/ 2147483647 w 698"/>
                    <a:gd name="T71" fmla="*/ 2147483647 h 655"/>
                    <a:gd name="T72" fmla="*/ 2147483647 w 698"/>
                    <a:gd name="T73" fmla="*/ 2147483647 h 655"/>
                    <a:gd name="T74" fmla="*/ 2147483647 w 698"/>
                    <a:gd name="T75" fmla="*/ 2147483647 h 655"/>
                    <a:gd name="T76" fmla="*/ 2147483647 w 698"/>
                    <a:gd name="T77" fmla="*/ 2147483647 h 655"/>
                    <a:gd name="T78" fmla="*/ 2147483647 w 698"/>
                    <a:gd name="T79" fmla="*/ 2147483647 h 655"/>
                    <a:gd name="T80" fmla="*/ 2147483647 w 698"/>
                    <a:gd name="T81" fmla="*/ 2147483647 h 655"/>
                    <a:gd name="T82" fmla="*/ 2147483647 w 698"/>
                    <a:gd name="T83" fmla="*/ 2147483647 h 655"/>
                    <a:gd name="T84" fmla="*/ 2147483647 w 698"/>
                    <a:gd name="T85" fmla="*/ 2147483647 h 655"/>
                    <a:gd name="T86" fmla="*/ 2147483647 w 698"/>
                    <a:gd name="T87" fmla="*/ 2147483647 h 655"/>
                    <a:gd name="T88" fmla="*/ 2147483647 w 698"/>
                    <a:gd name="T89" fmla="*/ 2147483647 h 655"/>
                    <a:gd name="T90" fmla="*/ 2147483647 w 698"/>
                    <a:gd name="T91" fmla="*/ 2147483647 h 655"/>
                    <a:gd name="T92" fmla="*/ 2147483647 w 698"/>
                    <a:gd name="T93" fmla="*/ 2147483647 h 655"/>
                    <a:gd name="T94" fmla="*/ 2147483647 w 698"/>
                    <a:gd name="T95" fmla="*/ 2147483647 h 655"/>
                    <a:gd name="T96" fmla="*/ 2147483647 w 698"/>
                    <a:gd name="T97" fmla="*/ 2147483647 h 655"/>
                    <a:gd name="T98" fmla="*/ 2147483647 w 698"/>
                    <a:gd name="T99" fmla="*/ 2147483647 h 655"/>
                    <a:gd name="T100" fmla="*/ 2147483647 w 698"/>
                    <a:gd name="T101" fmla="*/ 2147483647 h 655"/>
                    <a:gd name="T102" fmla="*/ 2147483647 w 698"/>
                    <a:gd name="T103" fmla="*/ 2147483647 h 655"/>
                    <a:gd name="T104" fmla="*/ 2147483647 w 698"/>
                    <a:gd name="T105" fmla="*/ 2147483647 h 655"/>
                    <a:gd name="T106" fmla="*/ 2147483647 w 698"/>
                    <a:gd name="T107" fmla="*/ 2147483647 h 655"/>
                    <a:gd name="T108" fmla="*/ 2147483647 w 698"/>
                    <a:gd name="T109" fmla="*/ 2147483647 h 655"/>
                    <a:gd name="T110" fmla="*/ 2147483647 w 698"/>
                    <a:gd name="T111" fmla="*/ 2147483647 h 655"/>
                    <a:gd name="T112" fmla="*/ 2147483647 w 698"/>
                    <a:gd name="T113" fmla="*/ 2147483647 h 655"/>
                    <a:gd name="T114" fmla="*/ 2147483647 w 698"/>
                    <a:gd name="T115" fmla="*/ 2147483647 h 655"/>
                    <a:gd name="T116" fmla="*/ 2147483647 w 698"/>
                    <a:gd name="T117" fmla="*/ 2147483647 h 655"/>
                    <a:gd name="T118" fmla="*/ 2147483647 w 698"/>
                    <a:gd name="T119" fmla="*/ 2147483647 h 655"/>
                    <a:gd name="T120" fmla="*/ 2147483647 w 698"/>
                    <a:gd name="T121" fmla="*/ 2147483647 h 655"/>
                    <a:gd name="T122" fmla="*/ 2147483647 w 698"/>
                    <a:gd name="T123" fmla="*/ 2147483647 h 655"/>
                    <a:gd name="T124" fmla="*/ 2147483647 w 698"/>
                    <a:gd name="T125" fmla="*/ 2147483647 h 65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98"/>
                    <a:gd name="T190" fmla="*/ 0 h 655"/>
                    <a:gd name="T191" fmla="*/ 698 w 698"/>
                    <a:gd name="T192" fmla="*/ 655 h 65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98" h="655">
                      <a:moveTo>
                        <a:pt x="686" y="224"/>
                      </a:moveTo>
                      <a:lnTo>
                        <a:pt x="686" y="225"/>
                      </a:lnTo>
                      <a:lnTo>
                        <a:pt x="684" y="225"/>
                      </a:lnTo>
                      <a:lnTo>
                        <a:pt x="683" y="225"/>
                      </a:lnTo>
                      <a:lnTo>
                        <a:pt x="684" y="225"/>
                      </a:lnTo>
                      <a:lnTo>
                        <a:pt x="684" y="227"/>
                      </a:lnTo>
                      <a:lnTo>
                        <a:pt x="686" y="228"/>
                      </a:lnTo>
                      <a:lnTo>
                        <a:pt x="684" y="228"/>
                      </a:lnTo>
                      <a:lnTo>
                        <a:pt x="684" y="230"/>
                      </a:lnTo>
                      <a:lnTo>
                        <a:pt x="684" y="228"/>
                      </a:lnTo>
                      <a:lnTo>
                        <a:pt x="684" y="230"/>
                      </a:lnTo>
                      <a:lnTo>
                        <a:pt x="683" y="230"/>
                      </a:lnTo>
                      <a:lnTo>
                        <a:pt x="683" y="232"/>
                      </a:lnTo>
                      <a:lnTo>
                        <a:pt x="683" y="233"/>
                      </a:lnTo>
                      <a:lnTo>
                        <a:pt x="681" y="232"/>
                      </a:lnTo>
                      <a:lnTo>
                        <a:pt x="681" y="233"/>
                      </a:lnTo>
                      <a:lnTo>
                        <a:pt x="681" y="235"/>
                      </a:lnTo>
                      <a:lnTo>
                        <a:pt x="679" y="235"/>
                      </a:lnTo>
                      <a:lnTo>
                        <a:pt x="678" y="235"/>
                      </a:lnTo>
                      <a:lnTo>
                        <a:pt x="678" y="233"/>
                      </a:lnTo>
                      <a:lnTo>
                        <a:pt x="676" y="233"/>
                      </a:lnTo>
                      <a:lnTo>
                        <a:pt x="676" y="235"/>
                      </a:lnTo>
                      <a:lnTo>
                        <a:pt x="674" y="235"/>
                      </a:lnTo>
                      <a:lnTo>
                        <a:pt x="674" y="233"/>
                      </a:lnTo>
                      <a:lnTo>
                        <a:pt x="673" y="233"/>
                      </a:lnTo>
                      <a:lnTo>
                        <a:pt x="673" y="232"/>
                      </a:lnTo>
                      <a:lnTo>
                        <a:pt x="673" y="233"/>
                      </a:lnTo>
                      <a:lnTo>
                        <a:pt x="673" y="235"/>
                      </a:lnTo>
                      <a:lnTo>
                        <a:pt x="673" y="237"/>
                      </a:lnTo>
                      <a:lnTo>
                        <a:pt x="671" y="237"/>
                      </a:lnTo>
                      <a:lnTo>
                        <a:pt x="669" y="235"/>
                      </a:lnTo>
                      <a:lnTo>
                        <a:pt x="668" y="237"/>
                      </a:lnTo>
                      <a:lnTo>
                        <a:pt x="668" y="235"/>
                      </a:lnTo>
                      <a:lnTo>
                        <a:pt x="666" y="233"/>
                      </a:lnTo>
                      <a:lnTo>
                        <a:pt x="664" y="233"/>
                      </a:lnTo>
                      <a:lnTo>
                        <a:pt x="664" y="235"/>
                      </a:lnTo>
                      <a:lnTo>
                        <a:pt x="663" y="235"/>
                      </a:lnTo>
                      <a:lnTo>
                        <a:pt x="661" y="235"/>
                      </a:lnTo>
                      <a:lnTo>
                        <a:pt x="661" y="233"/>
                      </a:lnTo>
                      <a:lnTo>
                        <a:pt x="659" y="233"/>
                      </a:lnTo>
                      <a:lnTo>
                        <a:pt x="659" y="232"/>
                      </a:lnTo>
                      <a:lnTo>
                        <a:pt x="657" y="232"/>
                      </a:lnTo>
                      <a:lnTo>
                        <a:pt x="659" y="230"/>
                      </a:lnTo>
                      <a:lnTo>
                        <a:pt x="659" y="228"/>
                      </a:lnTo>
                      <a:lnTo>
                        <a:pt x="661" y="228"/>
                      </a:lnTo>
                      <a:lnTo>
                        <a:pt x="659" y="228"/>
                      </a:lnTo>
                      <a:lnTo>
                        <a:pt x="657" y="227"/>
                      </a:lnTo>
                      <a:lnTo>
                        <a:pt x="657" y="225"/>
                      </a:lnTo>
                      <a:lnTo>
                        <a:pt x="657" y="224"/>
                      </a:lnTo>
                      <a:lnTo>
                        <a:pt x="656" y="222"/>
                      </a:lnTo>
                      <a:lnTo>
                        <a:pt x="654" y="222"/>
                      </a:lnTo>
                      <a:lnTo>
                        <a:pt x="652" y="222"/>
                      </a:lnTo>
                      <a:lnTo>
                        <a:pt x="652" y="220"/>
                      </a:lnTo>
                      <a:lnTo>
                        <a:pt x="651" y="220"/>
                      </a:lnTo>
                      <a:lnTo>
                        <a:pt x="651" y="219"/>
                      </a:lnTo>
                      <a:lnTo>
                        <a:pt x="649" y="219"/>
                      </a:lnTo>
                      <a:lnTo>
                        <a:pt x="647" y="219"/>
                      </a:lnTo>
                      <a:lnTo>
                        <a:pt x="647" y="217"/>
                      </a:lnTo>
                      <a:lnTo>
                        <a:pt x="646" y="217"/>
                      </a:lnTo>
                      <a:lnTo>
                        <a:pt x="644" y="217"/>
                      </a:lnTo>
                      <a:lnTo>
                        <a:pt x="644" y="215"/>
                      </a:lnTo>
                      <a:lnTo>
                        <a:pt x="644" y="214"/>
                      </a:lnTo>
                      <a:lnTo>
                        <a:pt x="642" y="214"/>
                      </a:lnTo>
                      <a:lnTo>
                        <a:pt x="641" y="214"/>
                      </a:lnTo>
                      <a:lnTo>
                        <a:pt x="641" y="215"/>
                      </a:lnTo>
                      <a:lnTo>
                        <a:pt x="641" y="217"/>
                      </a:lnTo>
                      <a:lnTo>
                        <a:pt x="639" y="217"/>
                      </a:lnTo>
                      <a:lnTo>
                        <a:pt x="637" y="219"/>
                      </a:lnTo>
                      <a:lnTo>
                        <a:pt x="637" y="220"/>
                      </a:lnTo>
                      <a:lnTo>
                        <a:pt x="635" y="222"/>
                      </a:lnTo>
                      <a:lnTo>
                        <a:pt x="635" y="224"/>
                      </a:lnTo>
                      <a:lnTo>
                        <a:pt x="635" y="225"/>
                      </a:lnTo>
                      <a:lnTo>
                        <a:pt x="637" y="225"/>
                      </a:lnTo>
                      <a:lnTo>
                        <a:pt x="639" y="225"/>
                      </a:lnTo>
                      <a:lnTo>
                        <a:pt x="639" y="227"/>
                      </a:lnTo>
                      <a:lnTo>
                        <a:pt x="639" y="228"/>
                      </a:lnTo>
                      <a:lnTo>
                        <a:pt x="639" y="230"/>
                      </a:lnTo>
                      <a:lnTo>
                        <a:pt x="637" y="230"/>
                      </a:lnTo>
                      <a:lnTo>
                        <a:pt x="637" y="232"/>
                      </a:lnTo>
                      <a:lnTo>
                        <a:pt x="637" y="233"/>
                      </a:lnTo>
                      <a:lnTo>
                        <a:pt x="637" y="235"/>
                      </a:lnTo>
                      <a:lnTo>
                        <a:pt x="637" y="237"/>
                      </a:lnTo>
                      <a:lnTo>
                        <a:pt x="637" y="238"/>
                      </a:lnTo>
                      <a:lnTo>
                        <a:pt x="639" y="238"/>
                      </a:lnTo>
                      <a:lnTo>
                        <a:pt x="639" y="240"/>
                      </a:lnTo>
                      <a:lnTo>
                        <a:pt x="639" y="242"/>
                      </a:lnTo>
                      <a:lnTo>
                        <a:pt x="639" y="243"/>
                      </a:lnTo>
                      <a:lnTo>
                        <a:pt x="641" y="243"/>
                      </a:lnTo>
                      <a:lnTo>
                        <a:pt x="641" y="245"/>
                      </a:lnTo>
                      <a:lnTo>
                        <a:pt x="641" y="246"/>
                      </a:lnTo>
                      <a:lnTo>
                        <a:pt x="639" y="246"/>
                      </a:lnTo>
                      <a:lnTo>
                        <a:pt x="637" y="246"/>
                      </a:lnTo>
                      <a:lnTo>
                        <a:pt x="635" y="246"/>
                      </a:lnTo>
                      <a:lnTo>
                        <a:pt x="635" y="248"/>
                      </a:lnTo>
                      <a:lnTo>
                        <a:pt x="634" y="248"/>
                      </a:lnTo>
                      <a:lnTo>
                        <a:pt x="632" y="248"/>
                      </a:lnTo>
                      <a:lnTo>
                        <a:pt x="632" y="250"/>
                      </a:lnTo>
                      <a:lnTo>
                        <a:pt x="630" y="250"/>
                      </a:lnTo>
                      <a:lnTo>
                        <a:pt x="630" y="248"/>
                      </a:lnTo>
                      <a:lnTo>
                        <a:pt x="629" y="250"/>
                      </a:lnTo>
                      <a:lnTo>
                        <a:pt x="627" y="250"/>
                      </a:lnTo>
                      <a:lnTo>
                        <a:pt x="627" y="248"/>
                      </a:lnTo>
                      <a:lnTo>
                        <a:pt x="625" y="246"/>
                      </a:lnTo>
                      <a:lnTo>
                        <a:pt x="624" y="246"/>
                      </a:lnTo>
                      <a:lnTo>
                        <a:pt x="622" y="246"/>
                      </a:lnTo>
                      <a:lnTo>
                        <a:pt x="622" y="245"/>
                      </a:lnTo>
                      <a:lnTo>
                        <a:pt x="620" y="245"/>
                      </a:lnTo>
                      <a:lnTo>
                        <a:pt x="619" y="245"/>
                      </a:lnTo>
                      <a:lnTo>
                        <a:pt x="617" y="245"/>
                      </a:lnTo>
                      <a:lnTo>
                        <a:pt x="615" y="243"/>
                      </a:lnTo>
                      <a:lnTo>
                        <a:pt x="614" y="243"/>
                      </a:lnTo>
                      <a:lnTo>
                        <a:pt x="612" y="243"/>
                      </a:lnTo>
                      <a:lnTo>
                        <a:pt x="612" y="242"/>
                      </a:lnTo>
                      <a:lnTo>
                        <a:pt x="610" y="242"/>
                      </a:lnTo>
                      <a:lnTo>
                        <a:pt x="608" y="242"/>
                      </a:lnTo>
                      <a:lnTo>
                        <a:pt x="607" y="242"/>
                      </a:lnTo>
                      <a:lnTo>
                        <a:pt x="607" y="243"/>
                      </a:lnTo>
                      <a:lnTo>
                        <a:pt x="605" y="243"/>
                      </a:lnTo>
                      <a:lnTo>
                        <a:pt x="603" y="245"/>
                      </a:lnTo>
                      <a:lnTo>
                        <a:pt x="602" y="245"/>
                      </a:lnTo>
                      <a:lnTo>
                        <a:pt x="602" y="246"/>
                      </a:lnTo>
                      <a:lnTo>
                        <a:pt x="600" y="246"/>
                      </a:lnTo>
                      <a:lnTo>
                        <a:pt x="600" y="248"/>
                      </a:lnTo>
                      <a:lnTo>
                        <a:pt x="602" y="248"/>
                      </a:lnTo>
                      <a:lnTo>
                        <a:pt x="602" y="250"/>
                      </a:lnTo>
                      <a:lnTo>
                        <a:pt x="603" y="250"/>
                      </a:lnTo>
                      <a:lnTo>
                        <a:pt x="603" y="251"/>
                      </a:lnTo>
                      <a:lnTo>
                        <a:pt x="605" y="251"/>
                      </a:lnTo>
                      <a:lnTo>
                        <a:pt x="603" y="253"/>
                      </a:lnTo>
                      <a:lnTo>
                        <a:pt x="603" y="255"/>
                      </a:lnTo>
                      <a:lnTo>
                        <a:pt x="602" y="255"/>
                      </a:lnTo>
                      <a:lnTo>
                        <a:pt x="602" y="256"/>
                      </a:lnTo>
                      <a:lnTo>
                        <a:pt x="602" y="258"/>
                      </a:lnTo>
                      <a:lnTo>
                        <a:pt x="600" y="258"/>
                      </a:lnTo>
                      <a:lnTo>
                        <a:pt x="600" y="260"/>
                      </a:lnTo>
                      <a:lnTo>
                        <a:pt x="600" y="261"/>
                      </a:lnTo>
                      <a:lnTo>
                        <a:pt x="600" y="263"/>
                      </a:lnTo>
                      <a:lnTo>
                        <a:pt x="600" y="265"/>
                      </a:lnTo>
                      <a:lnTo>
                        <a:pt x="602" y="265"/>
                      </a:lnTo>
                      <a:lnTo>
                        <a:pt x="602" y="263"/>
                      </a:lnTo>
                      <a:lnTo>
                        <a:pt x="603" y="263"/>
                      </a:lnTo>
                      <a:lnTo>
                        <a:pt x="603" y="265"/>
                      </a:lnTo>
                      <a:lnTo>
                        <a:pt x="605" y="266"/>
                      </a:lnTo>
                      <a:lnTo>
                        <a:pt x="603" y="266"/>
                      </a:lnTo>
                      <a:lnTo>
                        <a:pt x="603" y="268"/>
                      </a:lnTo>
                      <a:lnTo>
                        <a:pt x="605" y="268"/>
                      </a:lnTo>
                      <a:lnTo>
                        <a:pt x="607" y="269"/>
                      </a:lnTo>
                      <a:lnTo>
                        <a:pt x="608" y="271"/>
                      </a:lnTo>
                      <a:lnTo>
                        <a:pt x="608" y="273"/>
                      </a:lnTo>
                      <a:lnTo>
                        <a:pt x="607" y="273"/>
                      </a:lnTo>
                      <a:lnTo>
                        <a:pt x="607" y="274"/>
                      </a:lnTo>
                      <a:lnTo>
                        <a:pt x="608" y="274"/>
                      </a:lnTo>
                      <a:lnTo>
                        <a:pt x="608" y="276"/>
                      </a:lnTo>
                      <a:lnTo>
                        <a:pt x="607" y="276"/>
                      </a:lnTo>
                      <a:lnTo>
                        <a:pt x="605" y="278"/>
                      </a:lnTo>
                      <a:lnTo>
                        <a:pt x="603" y="278"/>
                      </a:lnTo>
                      <a:lnTo>
                        <a:pt x="602" y="279"/>
                      </a:lnTo>
                      <a:lnTo>
                        <a:pt x="602" y="281"/>
                      </a:lnTo>
                      <a:lnTo>
                        <a:pt x="600" y="281"/>
                      </a:lnTo>
                      <a:lnTo>
                        <a:pt x="600" y="283"/>
                      </a:lnTo>
                      <a:lnTo>
                        <a:pt x="600" y="284"/>
                      </a:lnTo>
                      <a:lnTo>
                        <a:pt x="600" y="286"/>
                      </a:lnTo>
                      <a:lnTo>
                        <a:pt x="600" y="288"/>
                      </a:lnTo>
                      <a:lnTo>
                        <a:pt x="598" y="289"/>
                      </a:lnTo>
                      <a:lnTo>
                        <a:pt x="598" y="291"/>
                      </a:lnTo>
                      <a:lnTo>
                        <a:pt x="598" y="292"/>
                      </a:lnTo>
                      <a:lnTo>
                        <a:pt x="598" y="294"/>
                      </a:lnTo>
                      <a:lnTo>
                        <a:pt x="600" y="294"/>
                      </a:lnTo>
                      <a:lnTo>
                        <a:pt x="602" y="296"/>
                      </a:lnTo>
                      <a:lnTo>
                        <a:pt x="603" y="296"/>
                      </a:lnTo>
                      <a:lnTo>
                        <a:pt x="603" y="297"/>
                      </a:lnTo>
                      <a:lnTo>
                        <a:pt x="605" y="297"/>
                      </a:lnTo>
                      <a:lnTo>
                        <a:pt x="607" y="297"/>
                      </a:lnTo>
                      <a:lnTo>
                        <a:pt x="607" y="299"/>
                      </a:lnTo>
                      <a:lnTo>
                        <a:pt x="607" y="301"/>
                      </a:lnTo>
                      <a:lnTo>
                        <a:pt x="608" y="301"/>
                      </a:lnTo>
                      <a:lnTo>
                        <a:pt x="608" y="302"/>
                      </a:lnTo>
                      <a:lnTo>
                        <a:pt x="607" y="304"/>
                      </a:lnTo>
                      <a:lnTo>
                        <a:pt x="608" y="306"/>
                      </a:lnTo>
                      <a:lnTo>
                        <a:pt x="608" y="307"/>
                      </a:lnTo>
                      <a:lnTo>
                        <a:pt x="610" y="307"/>
                      </a:lnTo>
                      <a:lnTo>
                        <a:pt x="610" y="309"/>
                      </a:lnTo>
                      <a:lnTo>
                        <a:pt x="610" y="311"/>
                      </a:lnTo>
                      <a:lnTo>
                        <a:pt x="610" y="312"/>
                      </a:lnTo>
                      <a:lnTo>
                        <a:pt x="612" y="314"/>
                      </a:lnTo>
                      <a:lnTo>
                        <a:pt x="612" y="315"/>
                      </a:lnTo>
                      <a:lnTo>
                        <a:pt x="610" y="315"/>
                      </a:lnTo>
                      <a:lnTo>
                        <a:pt x="610" y="317"/>
                      </a:lnTo>
                      <a:lnTo>
                        <a:pt x="612" y="319"/>
                      </a:lnTo>
                      <a:lnTo>
                        <a:pt x="612" y="320"/>
                      </a:lnTo>
                      <a:lnTo>
                        <a:pt x="612" y="322"/>
                      </a:lnTo>
                      <a:lnTo>
                        <a:pt x="610" y="322"/>
                      </a:lnTo>
                      <a:lnTo>
                        <a:pt x="607" y="324"/>
                      </a:lnTo>
                      <a:lnTo>
                        <a:pt x="605" y="324"/>
                      </a:lnTo>
                      <a:lnTo>
                        <a:pt x="602" y="324"/>
                      </a:lnTo>
                      <a:lnTo>
                        <a:pt x="598" y="325"/>
                      </a:lnTo>
                      <a:lnTo>
                        <a:pt x="593" y="327"/>
                      </a:lnTo>
                      <a:lnTo>
                        <a:pt x="592" y="327"/>
                      </a:lnTo>
                      <a:lnTo>
                        <a:pt x="590" y="327"/>
                      </a:lnTo>
                      <a:lnTo>
                        <a:pt x="588" y="327"/>
                      </a:lnTo>
                      <a:lnTo>
                        <a:pt x="588" y="329"/>
                      </a:lnTo>
                      <a:lnTo>
                        <a:pt x="587" y="329"/>
                      </a:lnTo>
                      <a:lnTo>
                        <a:pt x="585" y="330"/>
                      </a:lnTo>
                      <a:lnTo>
                        <a:pt x="585" y="329"/>
                      </a:lnTo>
                      <a:lnTo>
                        <a:pt x="583" y="330"/>
                      </a:lnTo>
                      <a:lnTo>
                        <a:pt x="583" y="329"/>
                      </a:lnTo>
                      <a:lnTo>
                        <a:pt x="581" y="329"/>
                      </a:lnTo>
                      <a:lnTo>
                        <a:pt x="581" y="327"/>
                      </a:lnTo>
                      <a:lnTo>
                        <a:pt x="580" y="327"/>
                      </a:lnTo>
                      <a:lnTo>
                        <a:pt x="581" y="327"/>
                      </a:lnTo>
                      <a:lnTo>
                        <a:pt x="580" y="327"/>
                      </a:lnTo>
                      <a:lnTo>
                        <a:pt x="580" y="329"/>
                      </a:lnTo>
                      <a:lnTo>
                        <a:pt x="578" y="327"/>
                      </a:lnTo>
                      <a:lnTo>
                        <a:pt x="578" y="329"/>
                      </a:lnTo>
                      <a:lnTo>
                        <a:pt x="578" y="330"/>
                      </a:lnTo>
                      <a:lnTo>
                        <a:pt x="576" y="330"/>
                      </a:lnTo>
                      <a:lnTo>
                        <a:pt x="576" y="332"/>
                      </a:lnTo>
                      <a:lnTo>
                        <a:pt x="575" y="332"/>
                      </a:lnTo>
                      <a:lnTo>
                        <a:pt x="576" y="332"/>
                      </a:lnTo>
                      <a:lnTo>
                        <a:pt x="575" y="332"/>
                      </a:lnTo>
                      <a:lnTo>
                        <a:pt x="575" y="334"/>
                      </a:lnTo>
                      <a:lnTo>
                        <a:pt x="573" y="334"/>
                      </a:lnTo>
                      <a:lnTo>
                        <a:pt x="573" y="335"/>
                      </a:lnTo>
                      <a:lnTo>
                        <a:pt x="573" y="334"/>
                      </a:lnTo>
                      <a:lnTo>
                        <a:pt x="573" y="335"/>
                      </a:lnTo>
                      <a:lnTo>
                        <a:pt x="571" y="335"/>
                      </a:lnTo>
                      <a:lnTo>
                        <a:pt x="571" y="334"/>
                      </a:lnTo>
                      <a:lnTo>
                        <a:pt x="571" y="335"/>
                      </a:lnTo>
                      <a:lnTo>
                        <a:pt x="570" y="335"/>
                      </a:lnTo>
                      <a:lnTo>
                        <a:pt x="568" y="335"/>
                      </a:lnTo>
                      <a:lnTo>
                        <a:pt x="568" y="334"/>
                      </a:lnTo>
                      <a:lnTo>
                        <a:pt x="568" y="335"/>
                      </a:lnTo>
                      <a:lnTo>
                        <a:pt x="568" y="334"/>
                      </a:lnTo>
                      <a:lnTo>
                        <a:pt x="566" y="334"/>
                      </a:lnTo>
                      <a:lnTo>
                        <a:pt x="566" y="335"/>
                      </a:lnTo>
                      <a:lnTo>
                        <a:pt x="565" y="335"/>
                      </a:lnTo>
                      <a:lnTo>
                        <a:pt x="566" y="335"/>
                      </a:lnTo>
                      <a:lnTo>
                        <a:pt x="565" y="335"/>
                      </a:lnTo>
                      <a:lnTo>
                        <a:pt x="566" y="335"/>
                      </a:lnTo>
                      <a:lnTo>
                        <a:pt x="565" y="335"/>
                      </a:lnTo>
                      <a:lnTo>
                        <a:pt x="565" y="337"/>
                      </a:lnTo>
                      <a:lnTo>
                        <a:pt x="565" y="335"/>
                      </a:lnTo>
                      <a:lnTo>
                        <a:pt x="565" y="337"/>
                      </a:lnTo>
                      <a:lnTo>
                        <a:pt x="563" y="337"/>
                      </a:lnTo>
                      <a:lnTo>
                        <a:pt x="563" y="335"/>
                      </a:lnTo>
                      <a:lnTo>
                        <a:pt x="561" y="335"/>
                      </a:lnTo>
                      <a:lnTo>
                        <a:pt x="561" y="334"/>
                      </a:lnTo>
                      <a:lnTo>
                        <a:pt x="559" y="334"/>
                      </a:lnTo>
                      <a:lnTo>
                        <a:pt x="558" y="334"/>
                      </a:lnTo>
                      <a:lnTo>
                        <a:pt x="558" y="332"/>
                      </a:lnTo>
                      <a:lnTo>
                        <a:pt x="558" y="330"/>
                      </a:lnTo>
                      <a:lnTo>
                        <a:pt x="558" y="329"/>
                      </a:lnTo>
                      <a:lnTo>
                        <a:pt x="559" y="329"/>
                      </a:lnTo>
                      <a:lnTo>
                        <a:pt x="558" y="329"/>
                      </a:lnTo>
                      <a:lnTo>
                        <a:pt x="559" y="329"/>
                      </a:lnTo>
                      <a:lnTo>
                        <a:pt x="558" y="327"/>
                      </a:lnTo>
                      <a:lnTo>
                        <a:pt x="559" y="327"/>
                      </a:lnTo>
                      <a:lnTo>
                        <a:pt x="558" y="327"/>
                      </a:lnTo>
                      <a:lnTo>
                        <a:pt x="559" y="327"/>
                      </a:lnTo>
                      <a:lnTo>
                        <a:pt x="559" y="325"/>
                      </a:lnTo>
                      <a:lnTo>
                        <a:pt x="558" y="325"/>
                      </a:lnTo>
                      <a:lnTo>
                        <a:pt x="558" y="324"/>
                      </a:lnTo>
                      <a:lnTo>
                        <a:pt x="558" y="322"/>
                      </a:lnTo>
                      <a:lnTo>
                        <a:pt x="558" y="320"/>
                      </a:lnTo>
                      <a:lnTo>
                        <a:pt x="559" y="320"/>
                      </a:lnTo>
                      <a:lnTo>
                        <a:pt x="558" y="320"/>
                      </a:lnTo>
                      <a:lnTo>
                        <a:pt x="559" y="320"/>
                      </a:lnTo>
                      <a:lnTo>
                        <a:pt x="559" y="319"/>
                      </a:lnTo>
                      <a:lnTo>
                        <a:pt x="558" y="319"/>
                      </a:lnTo>
                      <a:lnTo>
                        <a:pt x="559" y="319"/>
                      </a:lnTo>
                      <a:lnTo>
                        <a:pt x="558" y="319"/>
                      </a:lnTo>
                      <a:lnTo>
                        <a:pt x="559" y="319"/>
                      </a:lnTo>
                      <a:lnTo>
                        <a:pt x="559" y="317"/>
                      </a:lnTo>
                      <a:lnTo>
                        <a:pt x="559" y="315"/>
                      </a:lnTo>
                      <a:lnTo>
                        <a:pt x="561" y="315"/>
                      </a:lnTo>
                      <a:lnTo>
                        <a:pt x="559" y="315"/>
                      </a:lnTo>
                      <a:lnTo>
                        <a:pt x="561" y="315"/>
                      </a:lnTo>
                      <a:lnTo>
                        <a:pt x="561" y="314"/>
                      </a:lnTo>
                      <a:lnTo>
                        <a:pt x="563" y="312"/>
                      </a:lnTo>
                      <a:lnTo>
                        <a:pt x="563" y="311"/>
                      </a:lnTo>
                      <a:lnTo>
                        <a:pt x="565" y="311"/>
                      </a:lnTo>
                      <a:lnTo>
                        <a:pt x="565" y="309"/>
                      </a:lnTo>
                      <a:lnTo>
                        <a:pt x="563" y="309"/>
                      </a:lnTo>
                      <a:lnTo>
                        <a:pt x="563" y="307"/>
                      </a:lnTo>
                      <a:lnTo>
                        <a:pt x="565" y="307"/>
                      </a:lnTo>
                      <a:lnTo>
                        <a:pt x="565" y="306"/>
                      </a:lnTo>
                      <a:lnTo>
                        <a:pt x="563" y="306"/>
                      </a:lnTo>
                      <a:lnTo>
                        <a:pt x="563" y="304"/>
                      </a:lnTo>
                      <a:lnTo>
                        <a:pt x="563" y="302"/>
                      </a:lnTo>
                      <a:lnTo>
                        <a:pt x="563" y="301"/>
                      </a:lnTo>
                      <a:lnTo>
                        <a:pt x="563" y="299"/>
                      </a:lnTo>
                      <a:lnTo>
                        <a:pt x="563" y="297"/>
                      </a:lnTo>
                      <a:lnTo>
                        <a:pt x="563" y="296"/>
                      </a:lnTo>
                      <a:lnTo>
                        <a:pt x="565" y="296"/>
                      </a:lnTo>
                      <a:lnTo>
                        <a:pt x="563" y="296"/>
                      </a:lnTo>
                      <a:lnTo>
                        <a:pt x="561" y="296"/>
                      </a:lnTo>
                      <a:lnTo>
                        <a:pt x="561" y="294"/>
                      </a:lnTo>
                      <a:lnTo>
                        <a:pt x="559" y="294"/>
                      </a:lnTo>
                      <a:lnTo>
                        <a:pt x="558" y="294"/>
                      </a:lnTo>
                      <a:lnTo>
                        <a:pt x="556" y="294"/>
                      </a:lnTo>
                      <a:lnTo>
                        <a:pt x="556" y="292"/>
                      </a:lnTo>
                      <a:lnTo>
                        <a:pt x="556" y="291"/>
                      </a:lnTo>
                      <a:lnTo>
                        <a:pt x="554" y="291"/>
                      </a:lnTo>
                      <a:lnTo>
                        <a:pt x="554" y="288"/>
                      </a:lnTo>
                      <a:lnTo>
                        <a:pt x="546" y="288"/>
                      </a:lnTo>
                      <a:lnTo>
                        <a:pt x="494" y="288"/>
                      </a:lnTo>
                      <a:lnTo>
                        <a:pt x="480" y="288"/>
                      </a:lnTo>
                      <a:lnTo>
                        <a:pt x="480" y="297"/>
                      </a:lnTo>
                      <a:lnTo>
                        <a:pt x="480" y="299"/>
                      </a:lnTo>
                      <a:lnTo>
                        <a:pt x="478" y="299"/>
                      </a:lnTo>
                      <a:lnTo>
                        <a:pt x="477" y="299"/>
                      </a:lnTo>
                      <a:lnTo>
                        <a:pt x="477" y="301"/>
                      </a:lnTo>
                      <a:lnTo>
                        <a:pt x="477" y="302"/>
                      </a:lnTo>
                      <a:lnTo>
                        <a:pt x="475" y="304"/>
                      </a:lnTo>
                      <a:lnTo>
                        <a:pt x="477" y="306"/>
                      </a:lnTo>
                      <a:lnTo>
                        <a:pt x="477" y="307"/>
                      </a:lnTo>
                      <a:lnTo>
                        <a:pt x="478" y="306"/>
                      </a:lnTo>
                      <a:lnTo>
                        <a:pt x="478" y="307"/>
                      </a:lnTo>
                      <a:lnTo>
                        <a:pt x="480" y="309"/>
                      </a:lnTo>
                      <a:lnTo>
                        <a:pt x="478" y="309"/>
                      </a:lnTo>
                      <a:lnTo>
                        <a:pt x="480" y="309"/>
                      </a:lnTo>
                      <a:lnTo>
                        <a:pt x="478" y="311"/>
                      </a:lnTo>
                      <a:lnTo>
                        <a:pt x="478" y="312"/>
                      </a:lnTo>
                      <a:lnTo>
                        <a:pt x="477" y="312"/>
                      </a:lnTo>
                      <a:lnTo>
                        <a:pt x="477" y="314"/>
                      </a:lnTo>
                      <a:lnTo>
                        <a:pt x="477" y="315"/>
                      </a:lnTo>
                      <a:lnTo>
                        <a:pt x="475" y="314"/>
                      </a:lnTo>
                      <a:lnTo>
                        <a:pt x="475" y="315"/>
                      </a:lnTo>
                      <a:lnTo>
                        <a:pt x="473" y="315"/>
                      </a:lnTo>
                      <a:lnTo>
                        <a:pt x="473" y="317"/>
                      </a:lnTo>
                      <a:lnTo>
                        <a:pt x="472" y="317"/>
                      </a:lnTo>
                      <a:lnTo>
                        <a:pt x="472" y="319"/>
                      </a:lnTo>
                      <a:lnTo>
                        <a:pt x="472" y="320"/>
                      </a:lnTo>
                      <a:lnTo>
                        <a:pt x="473" y="320"/>
                      </a:lnTo>
                      <a:lnTo>
                        <a:pt x="472" y="322"/>
                      </a:lnTo>
                      <a:lnTo>
                        <a:pt x="473" y="322"/>
                      </a:lnTo>
                      <a:lnTo>
                        <a:pt x="473" y="324"/>
                      </a:lnTo>
                      <a:lnTo>
                        <a:pt x="473" y="325"/>
                      </a:lnTo>
                      <a:lnTo>
                        <a:pt x="473" y="327"/>
                      </a:lnTo>
                      <a:lnTo>
                        <a:pt x="475" y="327"/>
                      </a:lnTo>
                      <a:lnTo>
                        <a:pt x="475" y="329"/>
                      </a:lnTo>
                      <a:lnTo>
                        <a:pt x="475" y="330"/>
                      </a:lnTo>
                      <a:lnTo>
                        <a:pt x="473" y="330"/>
                      </a:lnTo>
                      <a:lnTo>
                        <a:pt x="475" y="330"/>
                      </a:lnTo>
                      <a:lnTo>
                        <a:pt x="473" y="332"/>
                      </a:lnTo>
                      <a:lnTo>
                        <a:pt x="473" y="334"/>
                      </a:lnTo>
                      <a:lnTo>
                        <a:pt x="473" y="335"/>
                      </a:lnTo>
                      <a:lnTo>
                        <a:pt x="473" y="337"/>
                      </a:lnTo>
                      <a:lnTo>
                        <a:pt x="472" y="337"/>
                      </a:lnTo>
                      <a:lnTo>
                        <a:pt x="472" y="338"/>
                      </a:lnTo>
                      <a:lnTo>
                        <a:pt x="490" y="338"/>
                      </a:lnTo>
                      <a:lnTo>
                        <a:pt x="505" y="338"/>
                      </a:lnTo>
                      <a:lnTo>
                        <a:pt x="529" y="338"/>
                      </a:lnTo>
                      <a:lnTo>
                        <a:pt x="565" y="338"/>
                      </a:lnTo>
                      <a:lnTo>
                        <a:pt x="565" y="340"/>
                      </a:lnTo>
                      <a:lnTo>
                        <a:pt x="565" y="342"/>
                      </a:lnTo>
                      <a:lnTo>
                        <a:pt x="563" y="342"/>
                      </a:lnTo>
                      <a:lnTo>
                        <a:pt x="561" y="342"/>
                      </a:lnTo>
                      <a:lnTo>
                        <a:pt x="563" y="342"/>
                      </a:lnTo>
                      <a:lnTo>
                        <a:pt x="563" y="343"/>
                      </a:lnTo>
                      <a:lnTo>
                        <a:pt x="561" y="343"/>
                      </a:lnTo>
                      <a:lnTo>
                        <a:pt x="561" y="345"/>
                      </a:lnTo>
                      <a:lnTo>
                        <a:pt x="559" y="345"/>
                      </a:lnTo>
                      <a:lnTo>
                        <a:pt x="561" y="345"/>
                      </a:lnTo>
                      <a:lnTo>
                        <a:pt x="561" y="347"/>
                      </a:lnTo>
                      <a:lnTo>
                        <a:pt x="561" y="348"/>
                      </a:lnTo>
                      <a:lnTo>
                        <a:pt x="563" y="348"/>
                      </a:lnTo>
                      <a:lnTo>
                        <a:pt x="563" y="350"/>
                      </a:lnTo>
                      <a:lnTo>
                        <a:pt x="561" y="350"/>
                      </a:lnTo>
                      <a:lnTo>
                        <a:pt x="563" y="350"/>
                      </a:lnTo>
                      <a:lnTo>
                        <a:pt x="563" y="352"/>
                      </a:lnTo>
                      <a:lnTo>
                        <a:pt x="563" y="353"/>
                      </a:lnTo>
                      <a:lnTo>
                        <a:pt x="563" y="355"/>
                      </a:lnTo>
                      <a:lnTo>
                        <a:pt x="563" y="357"/>
                      </a:lnTo>
                      <a:lnTo>
                        <a:pt x="561" y="358"/>
                      </a:lnTo>
                      <a:lnTo>
                        <a:pt x="561" y="360"/>
                      </a:lnTo>
                      <a:lnTo>
                        <a:pt x="559" y="360"/>
                      </a:lnTo>
                      <a:lnTo>
                        <a:pt x="559" y="361"/>
                      </a:lnTo>
                      <a:lnTo>
                        <a:pt x="561" y="361"/>
                      </a:lnTo>
                      <a:lnTo>
                        <a:pt x="559" y="361"/>
                      </a:lnTo>
                      <a:lnTo>
                        <a:pt x="559" y="363"/>
                      </a:lnTo>
                      <a:lnTo>
                        <a:pt x="558" y="365"/>
                      </a:lnTo>
                      <a:lnTo>
                        <a:pt x="558" y="366"/>
                      </a:lnTo>
                      <a:lnTo>
                        <a:pt x="556" y="366"/>
                      </a:lnTo>
                      <a:lnTo>
                        <a:pt x="556" y="368"/>
                      </a:lnTo>
                      <a:lnTo>
                        <a:pt x="554" y="368"/>
                      </a:lnTo>
                      <a:lnTo>
                        <a:pt x="554" y="370"/>
                      </a:lnTo>
                      <a:lnTo>
                        <a:pt x="553" y="370"/>
                      </a:lnTo>
                      <a:lnTo>
                        <a:pt x="553" y="371"/>
                      </a:lnTo>
                      <a:lnTo>
                        <a:pt x="554" y="371"/>
                      </a:lnTo>
                      <a:lnTo>
                        <a:pt x="553" y="371"/>
                      </a:lnTo>
                      <a:lnTo>
                        <a:pt x="553" y="373"/>
                      </a:lnTo>
                      <a:lnTo>
                        <a:pt x="553" y="375"/>
                      </a:lnTo>
                      <a:lnTo>
                        <a:pt x="551" y="375"/>
                      </a:lnTo>
                      <a:lnTo>
                        <a:pt x="551" y="376"/>
                      </a:lnTo>
                      <a:lnTo>
                        <a:pt x="551" y="378"/>
                      </a:lnTo>
                      <a:lnTo>
                        <a:pt x="551" y="380"/>
                      </a:lnTo>
                      <a:lnTo>
                        <a:pt x="549" y="380"/>
                      </a:lnTo>
                      <a:lnTo>
                        <a:pt x="551" y="380"/>
                      </a:lnTo>
                      <a:lnTo>
                        <a:pt x="551" y="381"/>
                      </a:lnTo>
                      <a:lnTo>
                        <a:pt x="551" y="383"/>
                      </a:lnTo>
                      <a:lnTo>
                        <a:pt x="553" y="383"/>
                      </a:lnTo>
                      <a:lnTo>
                        <a:pt x="553" y="384"/>
                      </a:lnTo>
                      <a:lnTo>
                        <a:pt x="554" y="384"/>
                      </a:lnTo>
                      <a:lnTo>
                        <a:pt x="556" y="384"/>
                      </a:lnTo>
                      <a:lnTo>
                        <a:pt x="554" y="384"/>
                      </a:lnTo>
                      <a:lnTo>
                        <a:pt x="554" y="386"/>
                      </a:lnTo>
                      <a:lnTo>
                        <a:pt x="556" y="386"/>
                      </a:lnTo>
                      <a:lnTo>
                        <a:pt x="556" y="388"/>
                      </a:lnTo>
                      <a:lnTo>
                        <a:pt x="558" y="388"/>
                      </a:lnTo>
                      <a:lnTo>
                        <a:pt x="556" y="386"/>
                      </a:lnTo>
                      <a:lnTo>
                        <a:pt x="558" y="386"/>
                      </a:lnTo>
                      <a:lnTo>
                        <a:pt x="558" y="388"/>
                      </a:lnTo>
                      <a:lnTo>
                        <a:pt x="558" y="389"/>
                      </a:lnTo>
                      <a:lnTo>
                        <a:pt x="558" y="388"/>
                      </a:lnTo>
                      <a:lnTo>
                        <a:pt x="559" y="389"/>
                      </a:lnTo>
                      <a:lnTo>
                        <a:pt x="559" y="388"/>
                      </a:lnTo>
                      <a:lnTo>
                        <a:pt x="561" y="388"/>
                      </a:lnTo>
                      <a:lnTo>
                        <a:pt x="561" y="389"/>
                      </a:lnTo>
                      <a:lnTo>
                        <a:pt x="563" y="389"/>
                      </a:lnTo>
                      <a:lnTo>
                        <a:pt x="561" y="389"/>
                      </a:lnTo>
                      <a:lnTo>
                        <a:pt x="563" y="389"/>
                      </a:lnTo>
                      <a:lnTo>
                        <a:pt x="565" y="389"/>
                      </a:lnTo>
                      <a:lnTo>
                        <a:pt x="563" y="389"/>
                      </a:lnTo>
                      <a:lnTo>
                        <a:pt x="563" y="391"/>
                      </a:lnTo>
                      <a:lnTo>
                        <a:pt x="563" y="389"/>
                      </a:lnTo>
                      <a:lnTo>
                        <a:pt x="565" y="391"/>
                      </a:lnTo>
                      <a:lnTo>
                        <a:pt x="566" y="391"/>
                      </a:lnTo>
                      <a:lnTo>
                        <a:pt x="566" y="393"/>
                      </a:lnTo>
                      <a:lnTo>
                        <a:pt x="566" y="391"/>
                      </a:lnTo>
                      <a:lnTo>
                        <a:pt x="566" y="393"/>
                      </a:lnTo>
                      <a:lnTo>
                        <a:pt x="568" y="393"/>
                      </a:lnTo>
                      <a:lnTo>
                        <a:pt x="568" y="394"/>
                      </a:lnTo>
                      <a:lnTo>
                        <a:pt x="570" y="394"/>
                      </a:lnTo>
                      <a:lnTo>
                        <a:pt x="570" y="396"/>
                      </a:lnTo>
                      <a:lnTo>
                        <a:pt x="570" y="398"/>
                      </a:lnTo>
                      <a:lnTo>
                        <a:pt x="570" y="399"/>
                      </a:lnTo>
                      <a:lnTo>
                        <a:pt x="571" y="398"/>
                      </a:lnTo>
                      <a:lnTo>
                        <a:pt x="571" y="399"/>
                      </a:lnTo>
                      <a:lnTo>
                        <a:pt x="573" y="399"/>
                      </a:lnTo>
                      <a:lnTo>
                        <a:pt x="573" y="401"/>
                      </a:lnTo>
                      <a:lnTo>
                        <a:pt x="571" y="401"/>
                      </a:lnTo>
                      <a:lnTo>
                        <a:pt x="573" y="401"/>
                      </a:lnTo>
                      <a:lnTo>
                        <a:pt x="573" y="403"/>
                      </a:lnTo>
                      <a:lnTo>
                        <a:pt x="571" y="403"/>
                      </a:lnTo>
                      <a:lnTo>
                        <a:pt x="571" y="404"/>
                      </a:lnTo>
                      <a:lnTo>
                        <a:pt x="573" y="404"/>
                      </a:lnTo>
                      <a:lnTo>
                        <a:pt x="571" y="404"/>
                      </a:lnTo>
                      <a:lnTo>
                        <a:pt x="573" y="406"/>
                      </a:lnTo>
                      <a:lnTo>
                        <a:pt x="573" y="407"/>
                      </a:lnTo>
                      <a:lnTo>
                        <a:pt x="573" y="409"/>
                      </a:lnTo>
                      <a:lnTo>
                        <a:pt x="575" y="409"/>
                      </a:lnTo>
                      <a:lnTo>
                        <a:pt x="573" y="409"/>
                      </a:lnTo>
                      <a:lnTo>
                        <a:pt x="575" y="409"/>
                      </a:lnTo>
                      <a:lnTo>
                        <a:pt x="575" y="411"/>
                      </a:lnTo>
                      <a:lnTo>
                        <a:pt x="575" y="412"/>
                      </a:lnTo>
                      <a:lnTo>
                        <a:pt x="573" y="412"/>
                      </a:lnTo>
                      <a:lnTo>
                        <a:pt x="575" y="414"/>
                      </a:lnTo>
                      <a:lnTo>
                        <a:pt x="575" y="416"/>
                      </a:lnTo>
                      <a:lnTo>
                        <a:pt x="575" y="417"/>
                      </a:lnTo>
                      <a:lnTo>
                        <a:pt x="576" y="417"/>
                      </a:lnTo>
                      <a:lnTo>
                        <a:pt x="576" y="416"/>
                      </a:lnTo>
                      <a:lnTo>
                        <a:pt x="576" y="417"/>
                      </a:lnTo>
                      <a:lnTo>
                        <a:pt x="578" y="417"/>
                      </a:lnTo>
                      <a:lnTo>
                        <a:pt x="578" y="419"/>
                      </a:lnTo>
                      <a:lnTo>
                        <a:pt x="576" y="419"/>
                      </a:lnTo>
                      <a:lnTo>
                        <a:pt x="578" y="419"/>
                      </a:lnTo>
                      <a:lnTo>
                        <a:pt x="578" y="421"/>
                      </a:lnTo>
                      <a:lnTo>
                        <a:pt x="580" y="421"/>
                      </a:lnTo>
                      <a:lnTo>
                        <a:pt x="580" y="422"/>
                      </a:lnTo>
                      <a:lnTo>
                        <a:pt x="578" y="422"/>
                      </a:lnTo>
                      <a:lnTo>
                        <a:pt x="580" y="422"/>
                      </a:lnTo>
                      <a:lnTo>
                        <a:pt x="581" y="424"/>
                      </a:lnTo>
                      <a:lnTo>
                        <a:pt x="581" y="426"/>
                      </a:lnTo>
                      <a:lnTo>
                        <a:pt x="580" y="426"/>
                      </a:lnTo>
                      <a:lnTo>
                        <a:pt x="580" y="427"/>
                      </a:lnTo>
                      <a:lnTo>
                        <a:pt x="580" y="426"/>
                      </a:lnTo>
                      <a:lnTo>
                        <a:pt x="581" y="426"/>
                      </a:lnTo>
                      <a:lnTo>
                        <a:pt x="581" y="427"/>
                      </a:lnTo>
                      <a:lnTo>
                        <a:pt x="580" y="427"/>
                      </a:lnTo>
                      <a:lnTo>
                        <a:pt x="580" y="429"/>
                      </a:lnTo>
                      <a:lnTo>
                        <a:pt x="580" y="427"/>
                      </a:lnTo>
                      <a:lnTo>
                        <a:pt x="578" y="429"/>
                      </a:lnTo>
                      <a:lnTo>
                        <a:pt x="580" y="429"/>
                      </a:lnTo>
                      <a:lnTo>
                        <a:pt x="578" y="429"/>
                      </a:lnTo>
                      <a:lnTo>
                        <a:pt x="578" y="430"/>
                      </a:lnTo>
                      <a:lnTo>
                        <a:pt x="578" y="429"/>
                      </a:lnTo>
                      <a:lnTo>
                        <a:pt x="576" y="429"/>
                      </a:lnTo>
                      <a:lnTo>
                        <a:pt x="576" y="430"/>
                      </a:lnTo>
                      <a:lnTo>
                        <a:pt x="576" y="432"/>
                      </a:lnTo>
                      <a:lnTo>
                        <a:pt x="576" y="430"/>
                      </a:lnTo>
                      <a:lnTo>
                        <a:pt x="575" y="430"/>
                      </a:lnTo>
                      <a:lnTo>
                        <a:pt x="575" y="432"/>
                      </a:lnTo>
                      <a:lnTo>
                        <a:pt x="576" y="432"/>
                      </a:lnTo>
                      <a:lnTo>
                        <a:pt x="575" y="432"/>
                      </a:lnTo>
                      <a:lnTo>
                        <a:pt x="573" y="432"/>
                      </a:lnTo>
                      <a:lnTo>
                        <a:pt x="575" y="432"/>
                      </a:lnTo>
                      <a:lnTo>
                        <a:pt x="573" y="432"/>
                      </a:lnTo>
                      <a:lnTo>
                        <a:pt x="573" y="434"/>
                      </a:lnTo>
                      <a:lnTo>
                        <a:pt x="571" y="432"/>
                      </a:lnTo>
                      <a:lnTo>
                        <a:pt x="571" y="434"/>
                      </a:lnTo>
                      <a:lnTo>
                        <a:pt x="573" y="434"/>
                      </a:lnTo>
                      <a:lnTo>
                        <a:pt x="571" y="434"/>
                      </a:lnTo>
                      <a:lnTo>
                        <a:pt x="570" y="434"/>
                      </a:lnTo>
                      <a:lnTo>
                        <a:pt x="570" y="435"/>
                      </a:lnTo>
                      <a:lnTo>
                        <a:pt x="570" y="434"/>
                      </a:lnTo>
                      <a:lnTo>
                        <a:pt x="570" y="435"/>
                      </a:lnTo>
                      <a:lnTo>
                        <a:pt x="570" y="434"/>
                      </a:lnTo>
                      <a:lnTo>
                        <a:pt x="570" y="435"/>
                      </a:lnTo>
                      <a:lnTo>
                        <a:pt x="570" y="434"/>
                      </a:lnTo>
                      <a:lnTo>
                        <a:pt x="568" y="434"/>
                      </a:lnTo>
                      <a:lnTo>
                        <a:pt x="568" y="435"/>
                      </a:lnTo>
                      <a:lnTo>
                        <a:pt x="566" y="435"/>
                      </a:lnTo>
                      <a:lnTo>
                        <a:pt x="566" y="437"/>
                      </a:lnTo>
                      <a:lnTo>
                        <a:pt x="568" y="435"/>
                      </a:lnTo>
                      <a:lnTo>
                        <a:pt x="568" y="437"/>
                      </a:lnTo>
                      <a:lnTo>
                        <a:pt x="566" y="437"/>
                      </a:lnTo>
                      <a:lnTo>
                        <a:pt x="568" y="437"/>
                      </a:lnTo>
                      <a:lnTo>
                        <a:pt x="566" y="437"/>
                      </a:lnTo>
                      <a:lnTo>
                        <a:pt x="566" y="439"/>
                      </a:lnTo>
                      <a:lnTo>
                        <a:pt x="565" y="439"/>
                      </a:lnTo>
                      <a:lnTo>
                        <a:pt x="565" y="440"/>
                      </a:lnTo>
                      <a:lnTo>
                        <a:pt x="565" y="439"/>
                      </a:lnTo>
                      <a:lnTo>
                        <a:pt x="563" y="440"/>
                      </a:lnTo>
                      <a:lnTo>
                        <a:pt x="563" y="439"/>
                      </a:lnTo>
                      <a:lnTo>
                        <a:pt x="563" y="440"/>
                      </a:lnTo>
                      <a:lnTo>
                        <a:pt x="563" y="439"/>
                      </a:lnTo>
                      <a:lnTo>
                        <a:pt x="563" y="440"/>
                      </a:lnTo>
                      <a:lnTo>
                        <a:pt x="561" y="440"/>
                      </a:lnTo>
                      <a:lnTo>
                        <a:pt x="559" y="440"/>
                      </a:lnTo>
                      <a:lnTo>
                        <a:pt x="559" y="442"/>
                      </a:lnTo>
                      <a:lnTo>
                        <a:pt x="561" y="442"/>
                      </a:lnTo>
                      <a:lnTo>
                        <a:pt x="559" y="442"/>
                      </a:lnTo>
                      <a:lnTo>
                        <a:pt x="561" y="442"/>
                      </a:lnTo>
                      <a:lnTo>
                        <a:pt x="561" y="444"/>
                      </a:lnTo>
                      <a:lnTo>
                        <a:pt x="561" y="442"/>
                      </a:lnTo>
                      <a:lnTo>
                        <a:pt x="559" y="442"/>
                      </a:lnTo>
                      <a:lnTo>
                        <a:pt x="559" y="444"/>
                      </a:lnTo>
                      <a:lnTo>
                        <a:pt x="559" y="442"/>
                      </a:lnTo>
                      <a:lnTo>
                        <a:pt x="559" y="444"/>
                      </a:lnTo>
                      <a:lnTo>
                        <a:pt x="561" y="444"/>
                      </a:lnTo>
                      <a:lnTo>
                        <a:pt x="561" y="445"/>
                      </a:lnTo>
                      <a:lnTo>
                        <a:pt x="559" y="445"/>
                      </a:lnTo>
                      <a:lnTo>
                        <a:pt x="559" y="444"/>
                      </a:lnTo>
                      <a:lnTo>
                        <a:pt x="559" y="445"/>
                      </a:lnTo>
                      <a:lnTo>
                        <a:pt x="558" y="445"/>
                      </a:lnTo>
                      <a:lnTo>
                        <a:pt x="558" y="447"/>
                      </a:lnTo>
                      <a:lnTo>
                        <a:pt x="558" y="448"/>
                      </a:lnTo>
                      <a:lnTo>
                        <a:pt x="556" y="448"/>
                      </a:lnTo>
                      <a:lnTo>
                        <a:pt x="554" y="448"/>
                      </a:lnTo>
                      <a:lnTo>
                        <a:pt x="554" y="450"/>
                      </a:lnTo>
                      <a:lnTo>
                        <a:pt x="553" y="450"/>
                      </a:lnTo>
                      <a:lnTo>
                        <a:pt x="554" y="450"/>
                      </a:lnTo>
                      <a:lnTo>
                        <a:pt x="553" y="450"/>
                      </a:lnTo>
                      <a:lnTo>
                        <a:pt x="553" y="452"/>
                      </a:lnTo>
                      <a:lnTo>
                        <a:pt x="554" y="452"/>
                      </a:lnTo>
                      <a:lnTo>
                        <a:pt x="554" y="453"/>
                      </a:lnTo>
                      <a:lnTo>
                        <a:pt x="553" y="453"/>
                      </a:lnTo>
                      <a:lnTo>
                        <a:pt x="554" y="455"/>
                      </a:lnTo>
                      <a:lnTo>
                        <a:pt x="553" y="455"/>
                      </a:lnTo>
                      <a:lnTo>
                        <a:pt x="551" y="455"/>
                      </a:lnTo>
                      <a:lnTo>
                        <a:pt x="551" y="457"/>
                      </a:lnTo>
                      <a:lnTo>
                        <a:pt x="553" y="457"/>
                      </a:lnTo>
                      <a:lnTo>
                        <a:pt x="551" y="457"/>
                      </a:lnTo>
                      <a:lnTo>
                        <a:pt x="551" y="458"/>
                      </a:lnTo>
                      <a:lnTo>
                        <a:pt x="551" y="457"/>
                      </a:lnTo>
                      <a:lnTo>
                        <a:pt x="549" y="457"/>
                      </a:lnTo>
                      <a:lnTo>
                        <a:pt x="549" y="458"/>
                      </a:lnTo>
                      <a:lnTo>
                        <a:pt x="551" y="458"/>
                      </a:lnTo>
                      <a:lnTo>
                        <a:pt x="549" y="458"/>
                      </a:lnTo>
                      <a:lnTo>
                        <a:pt x="549" y="457"/>
                      </a:lnTo>
                      <a:lnTo>
                        <a:pt x="548" y="458"/>
                      </a:lnTo>
                      <a:lnTo>
                        <a:pt x="548" y="457"/>
                      </a:lnTo>
                      <a:lnTo>
                        <a:pt x="546" y="457"/>
                      </a:lnTo>
                      <a:lnTo>
                        <a:pt x="546" y="455"/>
                      </a:lnTo>
                      <a:lnTo>
                        <a:pt x="544" y="455"/>
                      </a:lnTo>
                      <a:lnTo>
                        <a:pt x="544" y="457"/>
                      </a:lnTo>
                      <a:lnTo>
                        <a:pt x="546" y="457"/>
                      </a:lnTo>
                      <a:lnTo>
                        <a:pt x="544" y="457"/>
                      </a:lnTo>
                      <a:lnTo>
                        <a:pt x="544" y="458"/>
                      </a:lnTo>
                      <a:lnTo>
                        <a:pt x="544" y="460"/>
                      </a:lnTo>
                      <a:lnTo>
                        <a:pt x="544" y="462"/>
                      </a:lnTo>
                      <a:lnTo>
                        <a:pt x="544" y="460"/>
                      </a:lnTo>
                      <a:lnTo>
                        <a:pt x="543" y="460"/>
                      </a:lnTo>
                      <a:lnTo>
                        <a:pt x="544" y="462"/>
                      </a:lnTo>
                      <a:lnTo>
                        <a:pt x="543" y="462"/>
                      </a:lnTo>
                      <a:lnTo>
                        <a:pt x="543" y="463"/>
                      </a:lnTo>
                      <a:lnTo>
                        <a:pt x="544" y="463"/>
                      </a:lnTo>
                      <a:lnTo>
                        <a:pt x="543" y="463"/>
                      </a:lnTo>
                      <a:lnTo>
                        <a:pt x="544" y="465"/>
                      </a:lnTo>
                      <a:lnTo>
                        <a:pt x="544" y="467"/>
                      </a:lnTo>
                      <a:lnTo>
                        <a:pt x="543" y="467"/>
                      </a:lnTo>
                      <a:lnTo>
                        <a:pt x="543" y="468"/>
                      </a:lnTo>
                      <a:lnTo>
                        <a:pt x="543" y="467"/>
                      </a:lnTo>
                      <a:lnTo>
                        <a:pt x="543" y="468"/>
                      </a:lnTo>
                      <a:lnTo>
                        <a:pt x="544" y="468"/>
                      </a:lnTo>
                      <a:lnTo>
                        <a:pt x="544" y="470"/>
                      </a:lnTo>
                      <a:lnTo>
                        <a:pt x="546" y="470"/>
                      </a:lnTo>
                      <a:lnTo>
                        <a:pt x="546" y="471"/>
                      </a:lnTo>
                      <a:lnTo>
                        <a:pt x="546" y="473"/>
                      </a:lnTo>
                      <a:lnTo>
                        <a:pt x="546" y="475"/>
                      </a:lnTo>
                      <a:lnTo>
                        <a:pt x="548" y="475"/>
                      </a:lnTo>
                      <a:lnTo>
                        <a:pt x="548" y="473"/>
                      </a:lnTo>
                      <a:lnTo>
                        <a:pt x="549" y="473"/>
                      </a:lnTo>
                      <a:lnTo>
                        <a:pt x="549" y="475"/>
                      </a:lnTo>
                      <a:lnTo>
                        <a:pt x="551" y="475"/>
                      </a:lnTo>
                      <a:lnTo>
                        <a:pt x="553" y="475"/>
                      </a:lnTo>
                      <a:lnTo>
                        <a:pt x="553" y="473"/>
                      </a:lnTo>
                      <a:lnTo>
                        <a:pt x="554" y="473"/>
                      </a:lnTo>
                      <a:lnTo>
                        <a:pt x="556" y="473"/>
                      </a:lnTo>
                      <a:lnTo>
                        <a:pt x="558" y="473"/>
                      </a:lnTo>
                      <a:lnTo>
                        <a:pt x="559" y="473"/>
                      </a:lnTo>
                      <a:lnTo>
                        <a:pt x="561" y="475"/>
                      </a:lnTo>
                      <a:lnTo>
                        <a:pt x="561" y="473"/>
                      </a:lnTo>
                      <a:lnTo>
                        <a:pt x="563" y="473"/>
                      </a:lnTo>
                      <a:lnTo>
                        <a:pt x="563" y="475"/>
                      </a:lnTo>
                      <a:lnTo>
                        <a:pt x="565" y="475"/>
                      </a:lnTo>
                      <a:lnTo>
                        <a:pt x="565" y="476"/>
                      </a:lnTo>
                      <a:lnTo>
                        <a:pt x="566" y="478"/>
                      </a:lnTo>
                      <a:lnTo>
                        <a:pt x="566" y="480"/>
                      </a:lnTo>
                      <a:lnTo>
                        <a:pt x="568" y="480"/>
                      </a:lnTo>
                      <a:lnTo>
                        <a:pt x="568" y="481"/>
                      </a:lnTo>
                      <a:lnTo>
                        <a:pt x="568" y="483"/>
                      </a:lnTo>
                      <a:lnTo>
                        <a:pt x="568" y="485"/>
                      </a:lnTo>
                      <a:lnTo>
                        <a:pt x="566" y="486"/>
                      </a:lnTo>
                      <a:lnTo>
                        <a:pt x="568" y="486"/>
                      </a:lnTo>
                      <a:lnTo>
                        <a:pt x="566" y="486"/>
                      </a:lnTo>
                      <a:lnTo>
                        <a:pt x="568" y="486"/>
                      </a:lnTo>
                      <a:lnTo>
                        <a:pt x="568" y="488"/>
                      </a:lnTo>
                      <a:lnTo>
                        <a:pt x="566" y="488"/>
                      </a:lnTo>
                      <a:lnTo>
                        <a:pt x="565" y="488"/>
                      </a:lnTo>
                      <a:lnTo>
                        <a:pt x="565" y="490"/>
                      </a:lnTo>
                      <a:lnTo>
                        <a:pt x="565" y="491"/>
                      </a:lnTo>
                      <a:lnTo>
                        <a:pt x="563" y="493"/>
                      </a:lnTo>
                      <a:lnTo>
                        <a:pt x="561" y="493"/>
                      </a:lnTo>
                      <a:lnTo>
                        <a:pt x="561" y="494"/>
                      </a:lnTo>
                      <a:lnTo>
                        <a:pt x="561" y="496"/>
                      </a:lnTo>
                      <a:lnTo>
                        <a:pt x="563" y="496"/>
                      </a:lnTo>
                      <a:lnTo>
                        <a:pt x="561" y="496"/>
                      </a:lnTo>
                      <a:lnTo>
                        <a:pt x="561" y="498"/>
                      </a:lnTo>
                      <a:lnTo>
                        <a:pt x="559" y="498"/>
                      </a:lnTo>
                      <a:lnTo>
                        <a:pt x="559" y="499"/>
                      </a:lnTo>
                      <a:lnTo>
                        <a:pt x="561" y="499"/>
                      </a:lnTo>
                      <a:lnTo>
                        <a:pt x="559" y="499"/>
                      </a:lnTo>
                      <a:lnTo>
                        <a:pt x="561" y="499"/>
                      </a:lnTo>
                      <a:lnTo>
                        <a:pt x="561" y="501"/>
                      </a:lnTo>
                      <a:lnTo>
                        <a:pt x="559" y="501"/>
                      </a:lnTo>
                      <a:lnTo>
                        <a:pt x="558" y="501"/>
                      </a:lnTo>
                      <a:lnTo>
                        <a:pt x="558" y="503"/>
                      </a:lnTo>
                      <a:lnTo>
                        <a:pt x="559" y="503"/>
                      </a:lnTo>
                      <a:lnTo>
                        <a:pt x="559" y="504"/>
                      </a:lnTo>
                      <a:lnTo>
                        <a:pt x="559" y="506"/>
                      </a:lnTo>
                      <a:lnTo>
                        <a:pt x="559" y="508"/>
                      </a:lnTo>
                      <a:lnTo>
                        <a:pt x="561" y="508"/>
                      </a:lnTo>
                      <a:lnTo>
                        <a:pt x="561" y="509"/>
                      </a:lnTo>
                      <a:lnTo>
                        <a:pt x="561" y="511"/>
                      </a:lnTo>
                      <a:lnTo>
                        <a:pt x="561" y="513"/>
                      </a:lnTo>
                      <a:lnTo>
                        <a:pt x="561" y="511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1" y="513"/>
                      </a:lnTo>
                      <a:lnTo>
                        <a:pt x="563" y="513"/>
                      </a:lnTo>
                      <a:lnTo>
                        <a:pt x="563" y="514"/>
                      </a:lnTo>
                      <a:lnTo>
                        <a:pt x="565" y="514"/>
                      </a:lnTo>
                      <a:lnTo>
                        <a:pt x="565" y="516"/>
                      </a:lnTo>
                      <a:lnTo>
                        <a:pt x="563" y="516"/>
                      </a:lnTo>
                      <a:lnTo>
                        <a:pt x="563" y="517"/>
                      </a:lnTo>
                      <a:lnTo>
                        <a:pt x="565" y="517"/>
                      </a:lnTo>
                      <a:lnTo>
                        <a:pt x="565" y="519"/>
                      </a:lnTo>
                      <a:lnTo>
                        <a:pt x="565" y="517"/>
                      </a:lnTo>
                      <a:lnTo>
                        <a:pt x="565" y="519"/>
                      </a:lnTo>
                      <a:lnTo>
                        <a:pt x="566" y="519"/>
                      </a:lnTo>
                      <a:lnTo>
                        <a:pt x="566" y="521"/>
                      </a:lnTo>
                      <a:lnTo>
                        <a:pt x="565" y="521"/>
                      </a:lnTo>
                      <a:lnTo>
                        <a:pt x="566" y="521"/>
                      </a:lnTo>
                      <a:lnTo>
                        <a:pt x="566" y="522"/>
                      </a:lnTo>
                      <a:lnTo>
                        <a:pt x="566" y="521"/>
                      </a:lnTo>
                      <a:lnTo>
                        <a:pt x="566" y="522"/>
                      </a:lnTo>
                      <a:lnTo>
                        <a:pt x="566" y="524"/>
                      </a:lnTo>
                      <a:lnTo>
                        <a:pt x="565" y="524"/>
                      </a:lnTo>
                      <a:lnTo>
                        <a:pt x="563" y="524"/>
                      </a:lnTo>
                      <a:lnTo>
                        <a:pt x="561" y="526"/>
                      </a:lnTo>
                      <a:lnTo>
                        <a:pt x="559" y="526"/>
                      </a:lnTo>
                      <a:lnTo>
                        <a:pt x="559" y="527"/>
                      </a:lnTo>
                      <a:lnTo>
                        <a:pt x="559" y="526"/>
                      </a:lnTo>
                      <a:lnTo>
                        <a:pt x="559" y="527"/>
                      </a:lnTo>
                      <a:lnTo>
                        <a:pt x="558" y="529"/>
                      </a:lnTo>
                      <a:lnTo>
                        <a:pt x="556" y="529"/>
                      </a:lnTo>
                      <a:lnTo>
                        <a:pt x="554" y="531"/>
                      </a:lnTo>
                      <a:lnTo>
                        <a:pt x="556" y="531"/>
                      </a:lnTo>
                      <a:lnTo>
                        <a:pt x="554" y="531"/>
                      </a:lnTo>
                      <a:lnTo>
                        <a:pt x="553" y="531"/>
                      </a:lnTo>
                      <a:lnTo>
                        <a:pt x="553" y="532"/>
                      </a:lnTo>
                      <a:lnTo>
                        <a:pt x="553" y="534"/>
                      </a:lnTo>
                      <a:lnTo>
                        <a:pt x="553" y="532"/>
                      </a:lnTo>
                      <a:lnTo>
                        <a:pt x="551" y="532"/>
                      </a:lnTo>
                      <a:lnTo>
                        <a:pt x="549" y="534"/>
                      </a:lnTo>
                      <a:lnTo>
                        <a:pt x="548" y="534"/>
                      </a:lnTo>
                      <a:lnTo>
                        <a:pt x="548" y="536"/>
                      </a:lnTo>
                      <a:lnTo>
                        <a:pt x="546" y="536"/>
                      </a:lnTo>
                      <a:lnTo>
                        <a:pt x="544" y="536"/>
                      </a:lnTo>
                      <a:lnTo>
                        <a:pt x="544" y="537"/>
                      </a:lnTo>
                      <a:lnTo>
                        <a:pt x="543" y="537"/>
                      </a:lnTo>
                      <a:lnTo>
                        <a:pt x="543" y="539"/>
                      </a:lnTo>
                      <a:lnTo>
                        <a:pt x="544" y="539"/>
                      </a:lnTo>
                      <a:lnTo>
                        <a:pt x="543" y="539"/>
                      </a:lnTo>
                      <a:lnTo>
                        <a:pt x="543" y="537"/>
                      </a:lnTo>
                      <a:lnTo>
                        <a:pt x="543" y="536"/>
                      </a:lnTo>
                      <a:lnTo>
                        <a:pt x="541" y="536"/>
                      </a:lnTo>
                      <a:lnTo>
                        <a:pt x="541" y="537"/>
                      </a:lnTo>
                      <a:lnTo>
                        <a:pt x="539" y="537"/>
                      </a:lnTo>
                      <a:lnTo>
                        <a:pt x="539" y="539"/>
                      </a:lnTo>
                      <a:lnTo>
                        <a:pt x="538" y="539"/>
                      </a:lnTo>
                      <a:lnTo>
                        <a:pt x="539" y="539"/>
                      </a:lnTo>
                      <a:lnTo>
                        <a:pt x="538" y="539"/>
                      </a:lnTo>
                      <a:lnTo>
                        <a:pt x="538" y="540"/>
                      </a:lnTo>
                      <a:lnTo>
                        <a:pt x="536" y="540"/>
                      </a:lnTo>
                      <a:lnTo>
                        <a:pt x="536" y="542"/>
                      </a:lnTo>
                      <a:lnTo>
                        <a:pt x="536" y="540"/>
                      </a:lnTo>
                      <a:lnTo>
                        <a:pt x="534" y="540"/>
                      </a:lnTo>
                      <a:lnTo>
                        <a:pt x="534" y="542"/>
                      </a:lnTo>
                      <a:lnTo>
                        <a:pt x="534" y="544"/>
                      </a:lnTo>
                      <a:lnTo>
                        <a:pt x="532" y="544"/>
                      </a:lnTo>
                      <a:lnTo>
                        <a:pt x="534" y="544"/>
                      </a:lnTo>
                      <a:lnTo>
                        <a:pt x="534" y="545"/>
                      </a:lnTo>
                      <a:lnTo>
                        <a:pt x="536" y="545"/>
                      </a:lnTo>
                      <a:lnTo>
                        <a:pt x="536" y="547"/>
                      </a:lnTo>
                      <a:lnTo>
                        <a:pt x="534" y="547"/>
                      </a:lnTo>
                      <a:lnTo>
                        <a:pt x="534" y="549"/>
                      </a:lnTo>
                      <a:lnTo>
                        <a:pt x="532" y="549"/>
                      </a:lnTo>
                      <a:lnTo>
                        <a:pt x="532" y="547"/>
                      </a:lnTo>
                      <a:lnTo>
                        <a:pt x="531" y="549"/>
                      </a:lnTo>
                      <a:lnTo>
                        <a:pt x="531" y="550"/>
                      </a:lnTo>
                      <a:lnTo>
                        <a:pt x="529" y="550"/>
                      </a:lnTo>
                      <a:lnTo>
                        <a:pt x="527" y="552"/>
                      </a:lnTo>
                      <a:lnTo>
                        <a:pt x="526" y="552"/>
                      </a:lnTo>
                      <a:lnTo>
                        <a:pt x="526" y="550"/>
                      </a:lnTo>
                      <a:lnTo>
                        <a:pt x="526" y="552"/>
                      </a:lnTo>
                      <a:lnTo>
                        <a:pt x="524" y="550"/>
                      </a:lnTo>
                      <a:lnTo>
                        <a:pt x="524" y="552"/>
                      </a:lnTo>
                      <a:lnTo>
                        <a:pt x="522" y="552"/>
                      </a:lnTo>
                      <a:lnTo>
                        <a:pt x="522" y="554"/>
                      </a:lnTo>
                      <a:lnTo>
                        <a:pt x="522" y="555"/>
                      </a:lnTo>
                      <a:lnTo>
                        <a:pt x="521" y="555"/>
                      </a:lnTo>
                      <a:lnTo>
                        <a:pt x="521" y="557"/>
                      </a:lnTo>
                      <a:lnTo>
                        <a:pt x="519" y="557"/>
                      </a:lnTo>
                      <a:lnTo>
                        <a:pt x="517" y="555"/>
                      </a:lnTo>
                      <a:lnTo>
                        <a:pt x="516" y="555"/>
                      </a:lnTo>
                      <a:lnTo>
                        <a:pt x="516" y="557"/>
                      </a:lnTo>
                      <a:lnTo>
                        <a:pt x="514" y="557"/>
                      </a:lnTo>
                      <a:lnTo>
                        <a:pt x="514" y="559"/>
                      </a:lnTo>
                      <a:lnTo>
                        <a:pt x="516" y="559"/>
                      </a:lnTo>
                      <a:lnTo>
                        <a:pt x="514" y="559"/>
                      </a:lnTo>
                      <a:lnTo>
                        <a:pt x="512" y="559"/>
                      </a:lnTo>
                      <a:lnTo>
                        <a:pt x="512" y="560"/>
                      </a:lnTo>
                      <a:lnTo>
                        <a:pt x="511" y="560"/>
                      </a:lnTo>
                      <a:lnTo>
                        <a:pt x="512" y="560"/>
                      </a:lnTo>
                      <a:lnTo>
                        <a:pt x="512" y="562"/>
                      </a:lnTo>
                      <a:lnTo>
                        <a:pt x="511" y="562"/>
                      </a:lnTo>
                      <a:lnTo>
                        <a:pt x="511" y="560"/>
                      </a:lnTo>
                      <a:lnTo>
                        <a:pt x="509" y="560"/>
                      </a:lnTo>
                      <a:lnTo>
                        <a:pt x="509" y="562"/>
                      </a:lnTo>
                      <a:lnTo>
                        <a:pt x="507" y="560"/>
                      </a:lnTo>
                      <a:lnTo>
                        <a:pt x="505" y="562"/>
                      </a:lnTo>
                      <a:lnTo>
                        <a:pt x="505" y="563"/>
                      </a:lnTo>
                      <a:lnTo>
                        <a:pt x="505" y="562"/>
                      </a:lnTo>
                      <a:lnTo>
                        <a:pt x="504" y="563"/>
                      </a:lnTo>
                      <a:lnTo>
                        <a:pt x="502" y="563"/>
                      </a:lnTo>
                      <a:lnTo>
                        <a:pt x="502" y="562"/>
                      </a:lnTo>
                      <a:lnTo>
                        <a:pt x="500" y="562"/>
                      </a:lnTo>
                      <a:lnTo>
                        <a:pt x="500" y="560"/>
                      </a:lnTo>
                      <a:lnTo>
                        <a:pt x="500" y="559"/>
                      </a:lnTo>
                      <a:lnTo>
                        <a:pt x="499" y="560"/>
                      </a:lnTo>
                      <a:lnTo>
                        <a:pt x="497" y="560"/>
                      </a:lnTo>
                      <a:lnTo>
                        <a:pt x="497" y="559"/>
                      </a:lnTo>
                      <a:lnTo>
                        <a:pt x="495" y="559"/>
                      </a:lnTo>
                      <a:lnTo>
                        <a:pt x="495" y="557"/>
                      </a:lnTo>
                      <a:lnTo>
                        <a:pt x="494" y="555"/>
                      </a:lnTo>
                      <a:lnTo>
                        <a:pt x="492" y="557"/>
                      </a:lnTo>
                      <a:lnTo>
                        <a:pt x="490" y="557"/>
                      </a:lnTo>
                      <a:lnTo>
                        <a:pt x="489" y="557"/>
                      </a:lnTo>
                      <a:lnTo>
                        <a:pt x="487" y="557"/>
                      </a:lnTo>
                      <a:lnTo>
                        <a:pt x="487" y="555"/>
                      </a:lnTo>
                      <a:lnTo>
                        <a:pt x="485" y="555"/>
                      </a:lnTo>
                      <a:lnTo>
                        <a:pt x="485" y="554"/>
                      </a:lnTo>
                      <a:lnTo>
                        <a:pt x="483" y="554"/>
                      </a:lnTo>
                      <a:lnTo>
                        <a:pt x="483" y="552"/>
                      </a:lnTo>
                      <a:lnTo>
                        <a:pt x="482" y="552"/>
                      </a:lnTo>
                      <a:lnTo>
                        <a:pt x="480" y="550"/>
                      </a:lnTo>
                      <a:lnTo>
                        <a:pt x="478" y="550"/>
                      </a:lnTo>
                      <a:lnTo>
                        <a:pt x="477" y="550"/>
                      </a:lnTo>
                      <a:lnTo>
                        <a:pt x="478" y="549"/>
                      </a:lnTo>
                      <a:lnTo>
                        <a:pt x="475" y="549"/>
                      </a:lnTo>
                      <a:lnTo>
                        <a:pt x="473" y="549"/>
                      </a:lnTo>
                      <a:lnTo>
                        <a:pt x="475" y="549"/>
                      </a:lnTo>
                      <a:lnTo>
                        <a:pt x="473" y="549"/>
                      </a:lnTo>
                      <a:lnTo>
                        <a:pt x="473" y="547"/>
                      </a:lnTo>
                      <a:lnTo>
                        <a:pt x="473" y="549"/>
                      </a:lnTo>
                      <a:lnTo>
                        <a:pt x="472" y="549"/>
                      </a:lnTo>
                      <a:lnTo>
                        <a:pt x="472" y="550"/>
                      </a:lnTo>
                      <a:lnTo>
                        <a:pt x="470" y="550"/>
                      </a:lnTo>
                      <a:lnTo>
                        <a:pt x="468" y="552"/>
                      </a:lnTo>
                      <a:lnTo>
                        <a:pt x="470" y="552"/>
                      </a:lnTo>
                      <a:lnTo>
                        <a:pt x="470" y="554"/>
                      </a:lnTo>
                      <a:lnTo>
                        <a:pt x="468" y="554"/>
                      </a:lnTo>
                      <a:lnTo>
                        <a:pt x="467" y="552"/>
                      </a:lnTo>
                      <a:lnTo>
                        <a:pt x="465" y="552"/>
                      </a:lnTo>
                      <a:lnTo>
                        <a:pt x="463" y="552"/>
                      </a:lnTo>
                      <a:lnTo>
                        <a:pt x="462" y="552"/>
                      </a:lnTo>
                      <a:lnTo>
                        <a:pt x="460" y="552"/>
                      </a:lnTo>
                      <a:lnTo>
                        <a:pt x="460" y="550"/>
                      </a:lnTo>
                      <a:lnTo>
                        <a:pt x="458" y="552"/>
                      </a:lnTo>
                      <a:lnTo>
                        <a:pt x="456" y="552"/>
                      </a:lnTo>
                      <a:lnTo>
                        <a:pt x="456" y="550"/>
                      </a:lnTo>
                      <a:lnTo>
                        <a:pt x="455" y="552"/>
                      </a:lnTo>
                      <a:lnTo>
                        <a:pt x="453" y="552"/>
                      </a:lnTo>
                      <a:lnTo>
                        <a:pt x="453" y="554"/>
                      </a:lnTo>
                      <a:lnTo>
                        <a:pt x="453" y="552"/>
                      </a:lnTo>
                      <a:lnTo>
                        <a:pt x="453" y="550"/>
                      </a:lnTo>
                      <a:lnTo>
                        <a:pt x="451" y="550"/>
                      </a:lnTo>
                      <a:lnTo>
                        <a:pt x="450" y="550"/>
                      </a:lnTo>
                      <a:lnTo>
                        <a:pt x="448" y="550"/>
                      </a:lnTo>
                      <a:lnTo>
                        <a:pt x="446" y="550"/>
                      </a:lnTo>
                      <a:lnTo>
                        <a:pt x="446" y="549"/>
                      </a:lnTo>
                      <a:lnTo>
                        <a:pt x="446" y="547"/>
                      </a:lnTo>
                      <a:lnTo>
                        <a:pt x="443" y="547"/>
                      </a:lnTo>
                      <a:lnTo>
                        <a:pt x="443" y="549"/>
                      </a:lnTo>
                      <a:lnTo>
                        <a:pt x="441" y="549"/>
                      </a:lnTo>
                      <a:lnTo>
                        <a:pt x="441" y="547"/>
                      </a:lnTo>
                      <a:lnTo>
                        <a:pt x="440" y="547"/>
                      </a:lnTo>
                      <a:lnTo>
                        <a:pt x="438" y="547"/>
                      </a:lnTo>
                      <a:lnTo>
                        <a:pt x="438" y="549"/>
                      </a:lnTo>
                      <a:lnTo>
                        <a:pt x="436" y="549"/>
                      </a:lnTo>
                      <a:lnTo>
                        <a:pt x="436" y="550"/>
                      </a:lnTo>
                      <a:lnTo>
                        <a:pt x="435" y="550"/>
                      </a:lnTo>
                      <a:lnTo>
                        <a:pt x="435" y="549"/>
                      </a:lnTo>
                      <a:lnTo>
                        <a:pt x="433" y="550"/>
                      </a:lnTo>
                      <a:lnTo>
                        <a:pt x="431" y="549"/>
                      </a:lnTo>
                      <a:lnTo>
                        <a:pt x="429" y="550"/>
                      </a:lnTo>
                      <a:lnTo>
                        <a:pt x="428" y="550"/>
                      </a:lnTo>
                      <a:lnTo>
                        <a:pt x="428" y="549"/>
                      </a:lnTo>
                      <a:lnTo>
                        <a:pt x="426" y="550"/>
                      </a:lnTo>
                      <a:lnTo>
                        <a:pt x="424" y="550"/>
                      </a:lnTo>
                      <a:lnTo>
                        <a:pt x="423" y="550"/>
                      </a:lnTo>
                      <a:lnTo>
                        <a:pt x="423" y="552"/>
                      </a:lnTo>
                      <a:lnTo>
                        <a:pt x="421" y="552"/>
                      </a:lnTo>
                      <a:lnTo>
                        <a:pt x="419" y="550"/>
                      </a:lnTo>
                      <a:lnTo>
                        <a:pt x="419" y="549"/>
                      </a:lnTo>
                      <a:lnTo>
                        <a:pt x="418" y="549"/>
                      </a:lnTo>
                      <a:lnTo>
                        <a:pt x="416" y="549"/>
                      </a:lnTo>
                      <a:lnTo>
                        <a:pt x="416" y="547"/>
                      </a:lnTo>
                      <a:lnTo>
                        <a:pt x="414" y="547"/>
                      </a:lnTo>
                      <a:lnTo>
                        <a:pt x="413" y="547"/>
                      </a:lnTo>
                      <a:lnTo>
                        <a:pt x="413" y="545"/>
                      </a:lnTo>
                      <a:lnTo>
                        <a:pt x="411" y="545"/>
                      </a:lnTo>
                      <a:lnTo>
                        <a:pt x="409" y="547"/>
                      </a:lnTo>
                      <a:lnTo>
                        <a:pt x="407" y="547"/>
                      </a:lnTo>
                      <a:lnTo>
                        <a:pt x="407" y="549"/>
                      </a:lnTo>
                      <a:lnTo>
                        <a:pt x="406" y="549"/>
                      </a:lnTo>
                      <a:lnTo>
                        <a:pt x="406" y="550"/>
                      </a:lnTo>
                      <a:lnTo>
                        <a:pt x="404" y="550"/>
                      </a:lnTo>
                      <a:lnTo>
                        <a:pt x="404" y="552"/>
                      </a:lnTo>
                      <a:lnTo>
                        <a:pt x="402" y="552"/>
                      </a:lnTo>
                      <a:lnTo>
                        <a:pt x="401" y="552"/>
                      </a:lnTo>
                      <a:lnTo>
                        <a:pt x="399" y="552"/>
                      </a:lnTo>
                      <a:lnTo>
                        <a:pt x="401" y="552"/>
                      </a:lnTo>
                      <a:lnTo>
                        <a:pt x="399" y="554"/>
                      </a:lnTo>
                      <a:lnTo>
                        <a:pt x="399" y="555"/>
                      </a:lnTo>
                      <a:lnTo>
                        <a:pt x="397" y="555"/>
                      </a:lnTo>
                      <a:lnTo>
                        <a:pt x="396" y="555"/>
                      </a:lnTo>
                      <a:lnTo>
                        <a:pt x="394" y="555"/>
                      </a:lnTo>
                      <a:lnTo>
                        <a:pt x="394" y="554"/>
                      </a:lnTo>
                      <a:lnTo>
                        <a:pt x="392" y="554"/>
                      </a:lnTo>
                      <a:lnTo>
                        <a:pt x="391" y="554"/>
                      </a:lnTo>
                      <a:lnTo>
                        <a:pt x="389" y="555"/>
                      </a:lnTo>
                      <a:lnTo>
                        <a:pt x="387" y="555"/>
                      </a:lnTo>
                      <a:lnTo>
                        <a:pt x="387" y="557"/>
                      </a:lnTo>
                      <a:lnTo>
                        <a:pt x="386" y="555"/>
                      </a:lnTo>
                      <a:lnTo>
                        <a:pt x="384" y="555"/>
                      </a:lnTo>
                      <a:lnTo>
                        <a:pt x="384" y="557"/>
                      </a:lnTo>
                      <a:lnTo>
                        <a:pt x="386" y="557"/>
                      </a:lnTo>
                      <a:lnTo>
                        <a:pt x="386" y="559"/>
                      </a:lnTo>
                      <a:lnTo>
                        <a:pt x="386" y="560"/>
                      </a:lnTo>
                      <a:lnTo>
                        <a:pt x="384" y="560"/>
                      </a:lnTo>
                      <a:lnTo>
                        <a:pt x="382" y="562"/>
                      </a:lnTo>
                      <a:lnTo>
                        <a:pt x="382" y="563"/>
                      </a:lnTo>
                      <a:lnTo>
                        <a:pt x="380" y="565"/>
                      </a:lnTo>
                      <a:lnTo>
                        <a:pt x="380" y="567"/>
                      </a:lnTo>
                      <a:lnTo>
                        <a:pt x="379" y="567"/>
                      </a:lnTo>
                      <a:lnTo>
                        <a:pt x="377" y="567"/>
                      </a:lnTo>
                      <a:lnTo>
                        <a:pt x="377" y="568"/>
                      </a:lnTo>
                      <a:lnTo>
                        <a:pt x="377" y="570"/>
                      </a:lnTo>
                      <a:lnTo>
                        <a:pt x="375" y="570"/>
                      </a:lnTo>
                      <a:lnTo>
                        <a:pt x="374" y="570"/>
                      </a:lnTo>
                      <a:lnTo>
                        <a:pt x="372" y="570"/>
                      </a:lnTo>
                      <a:lnTo>
                        <a:pt x="372" y="572"/>
                      </a:lnTo>
                      <a:lnTo>
                        <a:pt x="372" y="573"/>
                      </a:lnTo>
                      <a:lnTo>
                        <a:pt x="370" y="573"/>
                      </a:lnTo>
                      <a:lnTo>
                        <a:pt x="369" y="575"/>
                      </a:lnTo>
                      <a:lnTo>
                        <a:pt x="369" y="577"/>
                      </a:lnTo>
                      <a:lnTo>
                        <a:pt x="367" y="577"/>
                      </a:lnTo>
                      <a:lnTo>
                        <a:pt x="365" y="577"/>
                      </a:lnTo>
                      <a:lnTo>
                        <a:pt x="364" y="577"/>
                      </a:lnTo>
                      <a:lnTo>
                        <a:pt x="364" y="573"/>
                      </a:lnTo>
                      <a:lnTo>
                        <a:pt x="362" y="573"/>
                      </a:lnTo>
                      <a:lnTo>
                        <a:pt x="362" y="572"/>
                      </a:lnTo>
                      <a:lnTo>
                        <a:pt x="360" y="572"/>
                      </a:lnTo>
                      <a:lnTo>
                        <a:pt x="359" y="570"/>
                      </a:lnTo>
                      <a:lnTo>
                        <a:pt x="359" y="568"/>
                      </a:lnTo>
                      <a:lnTo>
                        <a:pt x="359" y="567"/>
                      </a:lnTo>
                      <a:lnTo>
                        <a:pt x="359" y="565"/>
                      </a:lnTo>
                      <a:lnTo>
                        <a:pt x="359" y="563"/>
                      </a:lnTo>
                      <a:lnTo>
                        <a:pt x="357" y="563"/>
                      </a:lnTo>
                      <a:lnTo>
                        <a:pt x="355" y="563"/>
                      </a:lnTo>
                      <a:lnTo>
                        <a:pt x="353" y="563"/>
                      </a:lnTo>
                      <a:lnTo>
                        <a:pt x="352" y="563"/>
                      </a:lnTo>
                      <a:lnTo>
                        <a:pt x="352" y="565"/>
                      </a:lnTo>
                      <a:lnTo>
                        <a:pt x="353" y="567"/>
                      </a:lnTo>
                      <a:lnTo>
                        <a:pt x="352" y="567"/>
                      </a:lnTo>
                      <a:lnTo>
                        <a:pt x="352" y="568"/>
                      </a:lnTo>
                      <a:lnTo>
                        <a:pt x="350" y="568"/>
                      </a:lnTo>
                      <a:lnTo>
                        <a:pt x="348" y="568"/>
                      </a:lnTo>
                      <a:lnTo>
                        <a:pt x="347" y="568"/>
                      </a:lnTo>
                      <a:lnTo>
                        <a:pt x="343" y="568"/>
                      </a:lnTo>
                      <a:lnTo>
                        <a:pt x="342" y="570"/>
                      </a:lnTo>
                      <a:lnTo>
                        <a:pt x="343" y="572"/>
                      </a:lnTo>
                      <a:lnTo>
                        <a:pt x="343" y="573"/>
                      </a:lnTo>
                      <a:lnTo>
                        <a:pt x="342" y="573"/>
                      </a:lnTo>
                      <a:lnTo>
                        <a:pt x="342" y="572"/>
                      </a:lnTo>
                      <a:lnTo>
                        <a:pt x="340" y="572"/>
                      </a:lnTo>
                      <a:lnTo>
                        <a:pt x="338" y="572"/>
                      </a:lnTo>
                      <a:lnTo>
                        <a:pt x="337" y="573"/>
                      </a:lnTo>
                      <a:lnTo>
                        <a:pt x="335" y="573"/>
                      </a:lnTo>
                      <a:lnTo>
                        <a:pt x="335" y="575"/>
                      </a:lnTo>
                      <a:lnTo>
                        <a:pt x="333" y="575"/>
                      </a:lnTo>
                      <a:lnTo>
                        <a:pt x="331" y="573"/>
                      </a:lnTo>
                      <a:lnTo>
                        <a:pt x="331" y="575"/>
                      </a:lnTo>
                      <a:lnTo>
                        <a:pt x="330" y="575"/>
                      </a:lnTo>
                      <a:lnTo>
                        <a:pt x="330" y="577"/>
                      </a:lnTo>
                      <a:lnTo>
                        <a:pt x="328" y="577"/>
                      </a:lnTo>
                      <a:lnTo>
                        <a:pt x="326" y="577"/>
                      </a:lnTo>
                      <a:lnTo>
                        <a:pt x="325" y="577"/>
                      </a:lnTo>
                      <a:lnTo>
                        <a:pt x="323" y="575"/>
                      </a:lnTo>
                      <a:lnTo>
                        <a:pt x="321" y="575"/>
                      </a:lnTo>
                      <a:lnTo>
                        <a:pt x="321" y="573"/>
                      </a:lnTo>
                      <a:lnTo>
                        <a:pt x="320" y="573"/>
                      </a:lnTo>
                      <a:lnTo>
                        <a:pt x="320" y="575"/>
                      </a:lnTo>
                      <a:lnTo>
                        <a:pt x="318" y="575"/>
                      </a:lnTo>
                      <a:lnTo>
                        <a:pt x="316" y="575"/>
                      </a:lnTo>
                      <a:lnTo>
                        <a:pt x="315" y="575"/>
                      </a:lnTo>
                      <a:lnTo>
                        <a:pt x="313" y="575"/>
                      </a:lnTo>
                      <a:lnTo>
                        <a:pt x="311" y="575"/>
                      </a:lnTo>
                      <a:lnTo>
                        <a:pt x="311" y="573"/>
                      </a:lnTo>
                      <a:lnTo>
                        <a:pt x="310" y="573"/>
                      </a:lnTo>
                      <a:lnTo>
                        <a:pt x="308" y="573"/>
                      </a:lnTo>
                      <a:lnTo>
                        <a:pt x="306" y="573"/>
                      </a:lnTo>
                      <a:lnTo>
                        <a:pt x="306" y="575"/>
                      </a:lnTo>
                      <a:lnTo>
                        <a:pt x="304" y="575"/>
                      </a:lnTo>
                      <a:lnTo>
                        <a:pt x="304" y="577"/>
                      </a:lnTo>
                      <a:lnTo>
                        <a:pt x="303" y="578"/>
                      </a:lnTo>
                      <a:lnTo>
                        <a:pt x="301" y="580"/>
                      </a:lnTo>
                      <a:lnTo>
                        <a:pt x="299" y="580"/>
                      </a:lnTo>
                      <a:lnTo>
                        <a:pt x="298" y="580"/>
                      </a:lnTo>
                      <a:lnTo>
                        <a:pt x="294" y="578"/>
                      </a:lnTo>
                      <a:lnTo>
                        <a:pt x="293" y="580"/>
                      </a:lnTo>
                      <a:lnTo>
                        <a:pt x="291" y="580"/>
                      </a:lnTo>
                      <a:lnTo>
                        <a:pt x="289" y="580"/>
                      </a:lnTo>
                      <a:lnTo>
                        <a:pt x="288" y="580"/>
                      </a:lnTo>
                      <a:lnTo>
                        <a:pt x="286" y="580"/>
                      </a:lnTo>
                      <a:lnTo>
                        <a:pt x="284" y="580"/>
                      </a:lnTo>
                      <a:lnTo>
                        <a:pt x="284" y="582"/>
                      </a:lnTo>
                      <a:lnTo>
                        <a:pt x="283" y="582"/>
                      </a:lnTo>
                      <a:lnTo>
                        <a:pt x="281" y="582"/>
                      </a:lnTo>
                      <a:lnTo>
                        <a:pt x="279" y="582"/>
                      </a:lnTo>
                      <a:lnTo>
                        <a:pt x="279" y="583"/>
                      </a:lnTo>
                      <a:lnTo>
                        <a:pt x="277" y="585"/>
                      </a:lnTo>
                      <a:lnTo>
                        <a:pt x="276" y="586"/>
                      </a:lnTo>
                      <a:lnTo>
                        <a:pt x="276" y="588"/>
                      </a:lnTo>
                      <a:lnTo>
                        <a:pt x="276" y="590"/>
                      </a:lnTo>
                      <a:lnTo>
                        <a:pt x="274" y="591"/>
                      </a:lnTo>
                      <a:lnTo>
                        <a:pt x="274" y="593"/>
                      </a:lnTo>
                      <a:lnTo>
                        <a:pt x="272" y="593"/>
                      </a:lnTo>
                      <a:lnTo>
                        <a:pt x="271" y="593"/>
                      </a:lnTo>
                      <a:lnTo>
                        <a:pt x="269" y="595"/>
                      </a:lnTo>
                      <a:lnTo>
                        <a:pt x="267" y="598"/>
                      </a:lnTo>
                      <a:lnTo>
                        <a:pt x="267" y="600"/>
                      </a:lnTo>
                      <a:lnTo>
                        <a:pt x="267" y="601"/>
                      </a:lnTo>
                      <a:lnTo>
                        <a:pt x="266" y="601"/>
                      </a:lnTo>
                      <a:lnTo>
                        <a:pt x="266" y="603"/>
                      </a:lnTo>
                      <a:lnTo>
                        <a:pt x="264" y="603"/>
                      </a:lnTo>
                      <a:lnTo>
                        <a:pt x="262" y="603"/>
                      </a:lnTo>
                      <a:lnTo>
                        <a:pt x="261" y="605"/>
                      </a:lnTo>
                      <a:lnTo>
                        <a:pt x="261" y="606"/>
                      </a:lnTo>
                      <a:lnTo>
                        <a:pt x="261" y="608"/>
                      </a:lnTo>
                      <a:lnTo>
                        <a:pt x="262" y="608"/>
                      </a:lnTo>
                      <a:lnTo>
                        <a:pt x="262" y="609"/>
                      </a:lnTo>
                      <a:lnTo>
                        <a:pt x="262" y="611"/>
                      </a:lnTo>
                      <a:lnTo>
                        <a:pt x="262" y="613"/>
                      </a:lnTo>
                      <a:lnTo>
                        <a:pt x="261" y="614"/>
                      </a:lnTo>
                      <a:lnTo>
                        <a:pt x="261" y="616"/>
                      </a:lnTo>
                      <a:lnTo>
                        <a:pt x="259" y="618"/>
                      </a:lnTo>
                      <a:lnTo>
                        <a:pt x="259" y="619"/>
                      </a:lnTo>
                      <a:lnTo>
                        <a:pt x="257" y="619"/>
                      </a:lnTo>
                      <a:lnTo>
                        <a:pt x="257" y="621"/>
                      </a:lnTo>
                      <a:lnTo>
                        <a:pt x="255" y="621"/>
                      </a:lnTo>
                      <a:lnTo>
                        <a:pt x="254" y="623"/>
                      </a:lnTo>
                      <a:lnTo>
                        <a:pt x="252" y="623"/>
                      </a:lnTo>
                      <a:lnTo>
                        <a:pt x="250" y="623"/>
                      </a:lnTo>
                      <a:lnTo>
                        <a:pt x="249" y="623"/>
                      </a:lnTo>
                      <a:lnTo>
                        <a:pt x="247" y="623"/>
                      </a:lnTo>
                      <a:lnTo>
                        <a:pt x="245" y="623"/>
                      </a:lnTo>
                      <a:lnTo>
                        <a:pt x="245" y="624"/>
                      </a:lnTo>
                      <a:lnTo>
                        <a:pt x="245" y="626"/>
                      </a:lnTo>
                      <a:lnTo>
                        <a:pt x="244" y="626"/>
                      </a:lnTo>
                      <a:lnTo>
                        <a:pt x="242" y="626"/>
                      </a:lnTo>
                      <a:lnTo>
                        <a:pt x="242" y="628"/>
                      </a:lnTo>
                      <a:lnTo>
                        <a:pt x="240" y="628"/>
                      </a:lnTo>
                      <a:lnTo>
                        <a:pt x="239" y="628"/>
                      </a:lnTo>
                      <a:lnTo>
                        <a:pt x="239" y="629"/>
                      </a:lnTo>
                      <a:lnTo>
                        <a:pt x="239" y="631"/>
                      </a:lnTo>
                      <a:lnTo>
                        <a:pt x="239" y="632"/>
                      </a:lnTo>
                      <a:lnTo>
                        <a:pt x="237" y="632"/>
                      </a:lnTo>
                      <a:lnTo>
                        <a:pt x="237" y="634"/>
                      </a:lnTo>
                      <a:lnTo>
                        <a:pt x="235" y="634"/>
                      </a:lnTo>
                      <a:lnTo>
                        <a:pt x="234" y="634"/>
                      </a:lnTo>
                      <a:lnTo>
                        <a:pt x="234" y="636"/>
                      </a:lnTo>
                      <a:lnTo>
                        <a:pt x="232" y="636"/>
                      </a:lnTo>
                      <a:lnTo>
                        <a:pt x="232" y="637"/>
                      </a:lnTo>
                      <a:lnTo>
                        <a:pt x="230" y="637"/>
                      </a:lnTo>
                      <a:lnTo>
                        <a:pt x="230" y="639"/>
                      </a:lnTo>
                      <a:lnTo>
                        <a:pt x="230" y="641"/>
                      </a:lnTo>
                      <a:lnTo>
                        <a:pt x="230" y="642"/>
                      </a:lnTo>
                      <a:lnTo>
                        <a:pt x="228" y="644"/>
                      </a:lnTo>
                      <a:lnTo>
                        <a:pt x="227" y="646"/>
                      </a:lnTo>
                      <a:lnTo>
                        <a:pt x="227" y="647"/>
                      </a:lnTo>
                      <a:lnTo>
                        <a:pt x="227" y="649"/>
                      </a:lnTo>
                      <a:lnTo>
                        <a:pt x="227" y="650"/>
                      </a:lnTo>
                      <a:lnTo>
                        <a:pt x="230" y="652"/>
                      </a:lnTo>
                      <a:lnTo>
                        <a:pt x="230" y="654"/>
                      </a:lnTo>
                      <a:lnTo>
                        <a:pt x="232" y="654"/>
                      </a:lnTo>
                      <a:lnTo>
                        <a:pt x="230" y="655"/>
                      </a:lnTo>
                      <a:lnTo>
                        <a:pt x="228" y="655"/>
                      </a:lnTo>
                      <a:lnTo>
                        <a:pt x="225" y="654"/>
                      </a:lnTo>
                      <a:lnTo>
                        <a:pt x="223" y="654"/>
                      </a:lnTo>
                      <a:lnTo>
                        <a:pt x="222" y="654"/>
                      </a:lnTo>
                      <a:lnTo>
                        <a:pt x="220" y="654"/>
                      </a:lnTo>
                      <a:lnTo>
                        <a:pt x="220" y="652"/>
                      </a:lnTo>
                      <a:lnTo>
                        <a:pt x="218" y="650"/>
                      </a:lnTo>
                      <a:lnTo>
                        <a:pt x="217" y="650"/>
                      </a:lnTo>
                      <a:lnTo>
                        <a:pt x="215" y="649"/>
                      </a:lnTo>
                      <a:lnTo>
                        <a:pt x="217" y="649"/>
                      </a:lnTo>
                      <a:lnTo>
                        <a:pt x="217" y="647"/>
                      </a:lnTo>
                      <a:lnTo>
                        <a:pt x="215" y="647"/>
                      </a:lnTo>
                      <a:lnTo>
                        <a:pt x="213" y="647"/>
                      </a:lnTo>
                      <a:lnTo>
                        <a:pt x="215" y="647"/>
                      </a:lnTo>
                      <a:lnTo>
                        <a:pt x="213" y="647"/>
                      </a:lnTo>
                      <a:lnTo>
                        <a:pt x="212" y="647"/>
                      </a:lnTo>
                      <a:lnTo>
                        <a:pt x="212" y="646"/>
                      </a:lnTo>
                      <a:lnTo>
                        <a:pt x="213" y="646"/>
                      </a:lnTo>
                      <a:lnTo>
                        <a:pt x="212" y="646"/>
                      </a:lnTo>
                      <a:lnTo>
                        <a:pt x="212" y="644"/>
                      </a:lnTo>
                      <a:lnTo>
                        <a:pt x="212" y="642"/>
                      </a:lnTo>
                      <a:lnTo>
                        <a:pt x="210" y="644"/>
                      </a:lnTo>
                      <a:lnTo>
                        <a:pt x="210" y="642"/>
                      </a:lnTo>
                      <a:lnTo>
                        <a:pt x="210" y="641"/>
                      </a:lnTo>
                      <a:lnTo>
                        <a:pt x="208" y="641"/>
                      </a:lnTo>
                      <a:lnTo>
                        <a:pt x="208" y="639"/>
                      </a:lnTo>
                      <a:lnTo>
                        <a:pt x="207" y="639"/>
                      </a:lnTo>
                      <a:lnTo>
                        <a:pt x="205" y="637"/>
                      </a:lnTo>
                      <a:lnTo>
                        <a:pt x="205" y="639"/>
                      </a:lnTo>
                      <a:lnTo>
                        <a:pt x="203" y="637"/>
                      </a:lnTo>
                      <a:lnTo>
                        <a:pt x="201" y="637"/>
                      </a:lnTo>
                      <a:lnTo>
                        <a:pt x="201" y="636"/>
                      </a:lnTo>
                      <a:lnTo>
                        <a:pt x="200" y="636"/>
                      </a:lnTo>
                      <a:lnTo>
                        <a:pt x="198" y="636"/>
                      </a:lnTo>
                      <a:lnTo>
                        <a:pt x="196" y="636"/>
                      </a:lnTo>
                      <a:lnTo>
                        <a:pt x="196" y="634"/>
                      </a:lnTo>
                      <a:lnTo>
                        <a:pt x="195" y="634"/>
                      </a:lnTo>
                      <a:lnTo>
                        <a:pt x="193" y="634"/>
                      </a:lnTo>
                      <a:lnTo>
                        <a:pt x="191" y="634"/>
                      </a:lnTo>
                      <a:lnTo>
                        <a:pt x="191" y="636"/>
                      </a:lnTo>
                      <a:lnTo>
                        <a:pt x="190" y="634"/>
                      </a:lnTo>
                      <a:lnTo>
                        <a:pt x="188" y="634"/>
                      </a:lnTo>
                      <a:lnTo>
                        <a:pt x="188" y="632"/>
                      </a:lnTo>
                      <a:lnTo>
                        <a:pt x="186" y="632"/>
                      </a:lnTo>
                      <a:lnTo>
                        <a:pt x="185" y="632"/>
                      </a:lnTo>
                      <a:lnTo>
                        <a:pt x="185" y="631"/>
                      </a:lnTo>
                      <a:lnTo>
                        <a:pt x="186" y="631"/>
                      </a:lnTo>
                      <a:lnTo>
                        <a:pt x="185" y="631"/>
                      </a:lnTo>
                      <a:lnTo>
                        <a:pt x="183" y="631"/>
                      </a:lnTo>
                      <a:lnTo>
                        <a:pt x="181" y="629"/>
                      </a:lnTo>
                      <a:lnTo>
                        <a:pt x="181" y="631"/>
                      </a:lnTo>
                      <a:lnTo>
                        <a:pt x="179" y="631"/>
                      </a:lnTo>
                      <a:lnTo>
                        <a:pt x="179" y="629"/>
                      </a:lnTo>
                      <a:lnTo>
                        <a:pt x="179" y="628"/>
                      </a:lnTo>
                      <a:lnTo>
                        <a:pt x="178" y="628"/>
                      </a:lnTo>
                      <a:lnTo>
                        <a:pt x="176" y="628"/>
                      </a:lnTo>
                      <a:lnTo>
                        <a:pt x="176" y="626"/>
                      </a:lnTo>
                      <a:lnTo>
                        <a:pt x="174" y="626"/>
                      </a:lnTo>
                      <a:lnTo>
                        <a:pt x="173" y="626"/>
                      </a:lnTo>
                      <a:lnTo>
                        <a:pt x="173" y="624"/>
                      </a:lnTo>
                      <a:lnTo>
                        <a:pt x="171" y="624"/>
                      </a:lnTo>
                      <a:lnTo>
                        <a:pt x="171" y="626"/>
                      </a:lnTo>
                      <a:lnTo>
                        <a:pt x="171" y="624"/>
                      </a:lnTo>
                      <a:lnTo>
                        <a:pt x="169" y="624"/>
                      </a:lnTo>
                      <a:lnTo>
                        <a:pt x="168" y="624"/>
                      </a:lnTo>
                      <a:lnTo>
                        <a:pt x="166" y="624"/>
                      </a:lnTo>
                      <a:lnTo>
                        <a:pt x="168" y="624"/>
                      </a:lnTo>
                      <a:lnTo>
                        <a:pt x="166" y="624"/>
                      </a:lnTo>
                      <a:lnTo>
                        <a:pt x="164" y="623"/>
                      </a:lnTo>
                      <a:lnTo>
                        <a:pt x="163" y="623"/>
                      </a:lnTo>
                      <a:lnTo>
                        <a:pt x="161" y="623"/>
                      </a:lnTo>
                      <a:lnTo>
                        <a:pt x="159" y="623"/>
                      </a:lnTo>
                      <a:lnTo>
                        <a:pt x="159" y="621"/>
                      </a:lnTo>
                      <a:lnTo>
                        <a:pt x="159" y="623"/>
                      </a:lnTo>
                      <a:lnTo>
                        <a:pt x="159" y="621"/>
                      </a:lnTo>
                      <a:lnTo>
                        <a:pt x="158" y="621"/>
                      </a:lnTo>
                      <a:lnTo>
                        <a:pt x="158" y="623"/>
                      </a:lnTo>
                      <a:lnTo>
                        <a:pt x="156" y="623"/>
                      </a:lnTo>
                      <a:lnTo>
                        <a:pt x="154" y="621"/>
                      </a:lnTo>
                      <a:lnTo>
                        <a:pt x="154" y="623"/>
                      </a:lnTo>
                      <a:lnTo>
                        <a:pt x="152" y="623"/>
                      </a:lnTo>
                      <a:lnTo>
                        <a:pt x="151" y="623"/>
                      </a:lnTo>
                      <a:lnTo>
                        <a:pt x="151" y="621"/>
                      </a:lnTo>
                      <a:lnTo>
                        <a:pt x="149" y="621"/>
                      </a:lnTo>
                      <a:lnTo>
                        <a:pt x="147" y="621"/>
                      </a:lnTo>
                      <a:lnTo>
                        <a:pt x="147" y="619"/>
                      </a:lnTo>
                      <a:lnTo>
                        <a:pt x="146" y="619"/>
                      </a:lnTo>
                      <a:lnTo>
                        <a:pt x="144" y="619"/>
                      </a:lnTo>
                      <a:lnTo>
                        <a:pt x="144" y="618"/>
                      </a:lnTo>
                      <a:lnTo>
                        <a:pt x="142" y="618"/>
                      </a:lnTo>
                      <a:lnTo>
                        <a:pt x="141" y="618"/>
                      </a:lnTo>
                      <a:lnTo>
                        <a:pt x="139" y="618"/>
                      </a:lnTo>
                      <a:lnTo>
                        <a:pt x="139" y="616"/>
                      </a:lnTo>
                      <a:lnTo>
                        <a:pt x="137" y="616"/>
                      </a:lnTo>
                      <a:lnTo>
                        <a:pt x="137" y="614"/>
                      </a:lnTo>
                      <a:lnTo>
                        <a:pt x="136" y="614"/>
                      </a:lnTo>
                      <a:lnTo>
                        <a:pt x="134" y="614"/>
                      </a:lnTo>
                      <a:lnTo>
                        <a:pt x="136" y="614"/>
                      </a:lnTo>
                      <a:lnTo>
                        <a:pt x="134" y="614"/>
                      </a:lnTo>
                      <a:lnTo>
                        <a:pt x="132" y="614"/>
                      </a:lnTo>
                      <a:lnTo>
                        <a:pt x="132" y="613"/>
                      </a:lnTo>
                      <a:lnTo>
                        <a:pt x="131" y="613"/>
                      </a:lnTo>
                      <a:lnTo>
                        <a:pt x="131" y="611"/>
                      </a:lnTo>
                      <a:lnTo>
                        <a:pt x="129" y="609"/>
                      </a:lnTo>
                      <a:lnTo>
                        <a:pt x="127" y="609"/>
                      </a:lnTo>
                      <a:lnTo>
                        <a:pt x="127" y="608"/>
                      </a:lnTo>
                      <a:lnTo>
                        <a:pt x="125" y="608"/>
                      </a:lnTo>
                      <a:lnTo>
                        <a:pt x="125" y="606"/>
                      </a:lnTo>
                      <a:lnTo>
                        <a:pt x="125" y="608"/>
                      </a:lnTo>
                      <a:lnTo>
                        <a:pt x="124" y="608"/>
                      </a:lnTo>
                      <a:lnTo>
                        <a:pt x="124" y="606"/>
                      </a:lnTo>
                      <a:lnTo>
                        <a:pt x="122" y="606"/>
                      </a:lnTo>
                      <a:lnTo>
                        <a:pt x="122" y="608"/>
                      </a:lnTo>
                      <a:lnTo>
                        <a:pt x="122" y="606"/>
                      </a:lnTo>
                      <a:lnTo>
                        <a:pt x="122" y="608"/>
                      </a:lnTo>
                      <a:lnTo>
                        <a:pt x="120" y="608"/>
                      </a:lnTo>
                      <a:lnTo>
                        <a:pt x="120" y="606"/>
                      </a:lnTo>
                      <a:lnTo>
                        <a:pt x="119" y="608"/>
                      </a:lnTo>
                      <a:lnTo>
                        <a:pt x="117" y="608"/>
                      </a:lnTo>
                      <a:lnTo>
                        <a:pt x="119" y="608"/>
                      </a:lnTo>
                      <a:lnTo>
                        <a:pt x="117" y="606"/>
                      </a:lnTo>
                      <a:lnTo>
                        <a:pt x="115" y="606"/>
                      </a:lnTo>
                      <a:lnTo>
                        <a:pt x="115" y="605"/>
                      </a:lnTo>
                      <a:lnTo>
                        <a:pt x="115" y="606"/>
                      </a:lnTo>
                      <a:lnTo>
                        <a:pt x="114" y="605"/>
                      </a:lnTo>
                      <a:lnTo>
                        <a:pt x="114" y="606"/>
                      </a:lnTo>
                      <a:lnTo>
                        <a:pt x="112" y="606"/>
                      </a:lnTo>
                      <a:lnTo>
                        <a:pt x="112" y="605"/>
                      </a:lnTo>
                      <a:lnTo>
                        <a:pt x="112" y="606"/>
                      </a:lnTo>
                      <a:lnTo>
                        <a:pt x="112" y="605"/>
                      </a:lnTo>
                      <a:lnTo>
                        <a:pt x="110" y="605"/>
                      </a:lnTo>
                      <a:lnTo>
                        <a:pt x="112" y="605"/>
                      </a:lnTo>
                      <a:lnTo>
                        <a:pt x="110" y="605"/>
                      </a:lnTo>
                      <a:lnTo>
                        <a:pt x="110" y="603"/>
                      </a:lnTo>
                      <a:lnTo>
                        <a:pt x="109" y="603"/>
                      </a:lnTo>
                      <a:lnTo>
                        <a:pt x="110" y="603"/>
                      </a:lnTo>
                      <a:lnTo>
                        <a:pt x="110" y="601"/>
                      </a:lnTo>
                      <a:lnTo>
                        <a:pt x="109" y="601"/>
                      </a:lnTo>
                      <a:lnTo>
                        <a:pt x="109" y="600"/>
                      </a:lnTo>
                      <a:lnTo>
                        <a:pt x="107" y="600"/>
                      </a:lnTo>
                      <a:lnTo>
                        <a:pt x="107" y="601"/>
                      </a:lnTo>
                      <a:lnTo>
                        <a:pt x="107" y="600"/>
                      </a:lnTo>
                      <a:lnTo>
                        <a:pt x="107" y="601"/>
                      </a:lnTo>
                      <a:lnTo>
                        <a:pt x="107" y="600"/>
                      </a:lnTo>
                      <a:lnTo>
                        <a:pt x="105" y="600"/>
                      </a:lnTo>
                      <a:lnTo>
                        <a:pt x="105" y="598"/>
                      </a:lnTo>
                      <a:lnTo>
                        <a:pt x="103" y="598"/>
                      </a:lnTo>
                      <a:lnTo>
                        <a:pt x="105" y="598"/>
                      </a:lnTo>
                      <a:lnTo>
                        <a:pt x="103" y="598"/>
                      </a:lnTo>
                      <a:lnTo>
                        <a:pt x="103" y="596"/>
                      </a:lnTo>
                      <a:lnTo>
                        <a:pt x="102" y="596"/>
                      </a:lnTo>
                      <a:lnTo>
                        <a:pt x="100" y="596"/>
                      </a:lnTo>
                      <a:lnTo>
                        <a:pt x="98" y="595"/>
                      </a:lnTo>
                      <a:lnTo>
                        <a:pt x="97" y="595"/>
                      </a:lnTo>
                      <a:lnTo>
                        <a:pt x="95" y="595"/>
                      </a:lnTo>
                      <a:lnTo>
                        <a:pt x="93" y="595"/>
                      </a:lnTo>
                      <a:lnTo>
                        <a:pt x="92" y="595"/>
                      </a:lnTo>
                      <a:lnTo>
                        <a:pt x="90" y="595"/>
                      </a:lnTo>
                      <a:lnTo>
                        <a:pt x="88" y="595"/>
                      </a:lnTo>
                      <a:lnTo>
                        <a:pt x="88" y="593"/>
                      </a:lnTo>
                      <a:lnTo>
                        <a:pt x="87" y="593"/>
                      </a:lnTo>
                      <a:lnTo>
                        <a:pt x="87" y="591"/>
                      </a:lnTo>
                      <a:lnTo>
                        <a:pt x="85" y="591"/>
                      </a:lnTo>
                      <a:lnTo>
                        <a:pt x="83" y="591"/>
                      </a:lnTo>
                      <a:lnTo>
                        <a:pt x="83" y="590"/>
                      </a:lnTo>
                      <a:lnTo>
                        <a:pt x="82" y="588"/>
                      </a:lnTo>
                      <a:lnTo>
                        <a:pt x="82" y="586"/>
                      </a:lnTo>
                      <a:lnTo>
                        <a:pt x="80" y="586"/>
                      </a:lnTo>
                      <a:lnTo>
                        <a:pt x="80" y="585"/>
                      </a:lnTo>
                      <a:lnTo>
                        <a:pt x="78" y="585"/>
                      </a:lnTo>
                      <a:lnTo>
                        <a:pt x="78" y="583"/>
                      </a:lnTo>
                      <a:lnTo>
                        <a:pt x="78" y="582"/>
                      </a:lnTo>
                      <a:lnTo>
                        <a:pt x="76" y="582"/>
                      </a:lnTo>
                      <a:lnTo>
                        <a:pt x="75" y="582"/>
                      </a:lnTo>
                      <a:lnTo>
                        <a:pt x="73" y="580"/>
                      </a:lnTo>
                      <a:lnTo>
                        <a:pt x="71" y="580"/>
                      </a:lnTo>
                      <a:lnTo>
                        <a:pt x="70" y="580"/>
                      </a:lnTo>
                      <a:lnTo>
                        <a:pt x="70" y="578"/>
                      </a:lnTo>
                      <a:lnTo>
                        <a:pt x="68" y="578"/>
                      </a:lnTo>
                      <a:lnTo>
                        <a:pt x="66" y="578"/>
                      </a:lnTo>
                      <a:lnTo>
                        <a:pt x="65" y="580"/>
                      </a:lnTo>
                      <a:lnTo>
                        <a:pt x="63" y="582"/>
                      </a:lnTo>
                      <a:lnTo>
                        <a:pt x="61" y="582"/>
                      </a:lnTo>
                      <a:lnTo>
                        <a:pt x="60" y="582"/>
                      </a:lnTo>
                      <a:lnTo>
                        <a:pt x="58" y="582"/>
                      </a:lnTo>
                      <a:lnTo>
                        <a:pt x="56" y="580"/>
                      </a:lnTo>
                      <a:lnTo>
                        <a:pt x="55" y="580"/>
                      </a:lnTo>
                      <a:lnTo>
                        <a:pt x="53" y="580"/>
                      </a:lnTo>
                      <a:lnTo>
                        <a:pt x="53" y="582"/>
                      </a:lnTo>
                      <a:lnTo>
                        <a:pt x="51" y="582"/>
                      </a:lnTo>
                      <a:lnTo>
                        <a:pt x="49" y="582"/>
                      </a:lnTo>
                      <a:lnTo>
                        <a:pt x="48" y="582"/>
                      </a:lnTo>
                      <a:lnTo>
                        <a:pt x="48" y="580"/>
                      </a:lnTo>
                      <a:lnTo>
                        <a:pt x="46" y="580"/>
                      </a:lnTo>
                      <a:lnTo>
                        <a:pt x="44" y="580"/>
                      </a:lnTo>
                      <a:lnTo>
                        <a:pt x="43" y="580"/>
                      </a:lnTo>
                      <a:lnTo>
                        <a:pt x="41" y="580"/>
                      </a:lnTo>
                      <a:lnTo>
                        <a:pt x="39" y="580"/>
                      </a:lnTo>
                      <a:lnTo>
                        <a:pt x="39" y="578"/>
                      </a:lnTo>
                      <a:lnTo>
                        <a:pt x="38" y="578"/>
                      </a:lnTo>
                      <a:lnTo>
                        <a:pt x="36" y="577"/>
                      </a:lnTo>
                      <a:lnTo>
                        <a:pt x="34" y="577"/>
                      </a:lnTo>
                      <a:lnTo>
                        <a:pt x="33" y="577"/>
                      </a:lnTo>
                      <a:lnTo>
                        <a:pt x="33" y="575"/>
                      </a:lnTo>
                      <a:lnTo>
                        <a:pt x="31" y="575"/>
                      </a:lnTo>
                      <a:lnTo>
                        <a:pt x="31" y="573"/>
                      </a:lnTo>
                      <a:lnTo>
                        <a:pt x="31" y="572"/>
                      </a:lnTo>
                      <a:lnTo>
                        <a:pt x="29" y="572"/>
                      </a:lnTo>
                      <a:lnTo>
                        <a:pt x="29" y="570"/>
                      </a:lnTo>
                      <a:lnTo>
                        <a:pt x="27" y="568"/>
                      </a:lnTo>
                      <a:lnTo>
                        <a:pt x="27" y="567"/>
                      </a:lnTo>
                      <a:lnTo>
                        <a:pt x="29" y="567"/>
                      </a:lnTo>
                      <a:lnTo>
                        <a:pt x="29" y="565"/>
                      </a:lnTo>
                      <a:lnTo>
                        <a:pt x="31" y="565"/>
                      </a:lnTo>
                      <a:lnTo>
                        <a:pt x="33" y="565"/>
                      </a:lnTo>
                      <a:lnTo>
                        <a:pt x="33" y="563"/>
                      </a:lnTo>
                      <a:lnTo>
                        <a:pt x="34" y="562"/>
                      </a:lnTo>
                      <a:lnTo>
                        <a:pt x="36" y="560"/>
                      </a:lnTo>
                      <a:lnTo>
                        <a:pt x="36" y="559"/>
                      </a:lnTo>
                      <a:lnTo>
                        <a:pt x="36" y="557"/>
                      </a:lnTo>
                      <a:lnTo>
                        <a:pt x="38" y="557"/>
                      </a:lnTo>
                      <a:lnTo>
                        <a:pt x="39" y="557"/>
                      </a:lnTo>
                      <a:lnTo>
                        <a:pt x="41" y="557"/>
                      </a:lnTo>
                      <a:lnTo>
                        <a:pt x="43" y="557"/>
                      </a:lnTo>
                      <a:lnTo>
                        <a:pt x="44" y="555"/>
                      </a:lnTo>
                      <a:lnTo>
                        <a:pt x="44" y="554"/>
                      </a:lnTo>
                      <a:lnTo>
                        <a:pt x="46" y="554"/>
                      </a:lnTo>
                      <a:lnTo>
                        <a:pt x="46" y="552"/>
                      </a:lnTo>
                      <a:lnTo>
                        <a:pt x="48" y="552"/>
                      </a:lnTo>
                      <a:lnTo>
                        <a:pt x="48" y="550"/>
                      </a:lnTo>
                      <a:lnTo>
                        <a:pt x="46" y="549"/>
                      </a:lnTo>
                      <a:lnTo>
                        <a:pt x="44" y="547"/>
                      </a:lnTo>
                      <a:lnTo>
                        <a:pt x="43" y="547"/>
                      </a:lnTo>
                      <a:lnTo>
                        <a:pt x="41" y="547"/>
                      </a:lnTo>
                      <a:lnTo>
                        <a:pt x="39" y="547"/>
                      </a:lnTo>
                      <a:lnTo>
                        <a:pt x="38" y="547"/>
                      </a:lnTo>
                      <a:lnTo>
                        <a:pt x="33" y="545"/>
                      </a:lnTo>
                      <a:lnTo>
                        <a:pt x="31" y="545"/>
                      </a:lnTo>
                      <a:lnTo>
                        <a:pt x="29" y="545"/>
                      </a:lnTo>
                      <a:lnTo>
                        <a:pt x="27" y="545"/>
                      </a:lnTo>
                      <a:lnTo>
                        <a:pt x="26" y="545"/>
                      </a:lnTo>
                      <a:lnTo>
                        <a:pt x="24" y="547"/>
                      </a:lnTo>
                      <a:lnTo>
                        <a:pt x="22" y="549"/>
                      </a:lnTo>
                      <a:lnTo>
                        <a:pt x="22" y="550"/>
                      </a:lnTo>
                      <a:lnTo>
                        <a:pt x="21" y="550"/>
                      </a:lnTo>
                      <a:lnTo>
                        <a:pt x="21" y="549"/>
                      </a:lnTo>
                      <a:lnTo>
                        <a:pt x="19" y="549"/>
                      </a:lnTo>
                      <a:lnTo>
                        <a:pt x="17" y="549"/>
                      </a:lnTo>
                      <a:lnTo>
                        <a:pt x="17" y="547"/>
                      </a:lnTo>
                      <a:lnTo>
                        <a:pt x="16" y="547"/>
                      </a:lnTo>
                      <a:lnTo>
                        <a:pt x="16" y="545"/>
                      </a:lnTo>
                      <a:lnTo>
                        <a:pt x="16" y="544"/>
                      </a:lnTo>
                      <a:lnTo>
                        <a:pt x="16" y="542"/>
                      </a:lnTo>
                      <a:lnTo>
                        <a:pt x="14" y="542"/>
                      </a:lnTo>
                      <a:lnTo>
                        <a:pt x="14" y="540"/>
                      </a:lnTo>
                      <a:lnTo>
                        <a:pt x="14" y="539"/>
                      </a:lnTo>
                      <a:lnTo>
                        <a:pt x="14" y="537"/>
                      </a:lnTo>
                      <a:lnTo>
                        <a:pt x="12" y="532"/>
                      </a:lnTo>
                      <a:lnTo>
                        <a:pt x="12" y="531"/>
                      </a:lnTo>
                      <a:lnTo>
                        <a:pt x="12" y="529"/>
                      </a:lnTo>
                      <a:lnTo>
                        <a:pt x="11" y="526"/>
                      </a:lnTo>
                      <a:lnTo>
                        <a:pt x="11" y="524"/>
                      </a:lnTo>
                      <a:lnTo>
                        <a:pt x="12" y="524"/>
                      </a:lnTo>
                      <a:lnTo>
                        <a:pt x="12" y="522"/>
                      </a:lnTo>
                      <a:lnTo>
                        <a:pt x="14" y="522"/>
                      </a:lnTo>
                      <a:lnTo>
                        <a:pt x="16" y="522"/>
                      </a:lnTo>
                      <a:lnTo>
                        <a:pt x="17" y="522"/>
                      </a:lnTo>
                      <a:lnTo>
                        <a:pt x="17" y="521"/>
                      </a:lnTo>
                      <a:lnTo>
                        <a:pt x="17" y="519"/>
                      </a:lnTo>
                      <a:lnTo>
                        <a:pt x="17" y="517"/>
                      </a:lnTo>
                      <a:lnTo>
                        <a:pt x="17" y="516"/>
                      </a:lnTo>
                      <a:lnTo>
                        <a:pt x="17" y="514"/>
                      </a:lnTo>
                      <a:lnTo>
                        <a:pt x="16" y="513"/>
                      </a:lnTo>
                      <a:lnTo>
                        <a:pt x="16" y="511"/>
                      </a:lnTo>
                      <a:lnTo>
                        <a:pt x="14" y="511"/>
                      </a:lnTo>
                      <a:lnTo>
                        <a:pt x="12" y="511"/>
                      </a:lnTo>
                      <a:lnTo>
                        <a:pt x="12" y="509"/>
                      </a:lnTo>
                      <a:lnTo>
                        <a:pt x="12" y="508"/>
                      </a:lnTo>
                      <a:lnTo>
                        <a:pt x="12" y="506"/>
                      </a:lnTo>
                      <a:lnTo>
                        <a:pt x="11" y="506"/>
                      </a:lnTo>
                      <a:lnTo>
                        <a:pt x="12" y="504"/>
                      </a:lnTo>
                      <a:lnTo>
                        <a:pt x="11" y="504"/>
                      </a:lnTo>
                      <a:lnTo>
                        <a:pt x="12" y="504"/>
                      </a:lnTo>
                      <a:lnTo>
                        <a:pt x="12" y="503"/>
                      </a:lnTo>
                      <a:lnTo>
                        <a:pt x="11" y="503"/>
                      </a:lnTo>
                      <a:lnTo>
                        <a:pt x="11" y="501"/>
                      </a:lnTo>
                      <a:lnTo>
                        <a:pt x="11" y="499"/>
                      </a:lnTo>
                      <a:lnTo>
                        <a:pt x="9" y="499"/>
                      </a:lnTo>
                      <a:lnTo>
                        <a:pt x="9" y="498"/>
                      </a:lnTo>
                      <a:lnTo>
                        <a:pt x="9" y="496"/>
                      </a:lnTo>
                      <a:lnTo>
                        <a:pt x="7" y="496"/>
                      </a:lnTo>
                      <a:lnTo>
                        <a:pt x="7" y="494"/>
                      </a:lnTo>
                      <a:lnTo>
                        <a:pt x="6" y="494"/>
                      </a:lnTo>
                      <a:lnTo>
                        <a:pt x="6" y="493"/>
                      </a:lnTo>
                      <a:lnTo>
                        <a:pt x="4" y="493"/>
                      </a:lnTo>
                      <a:lnTo>
                        <a:pt x="4" y="491"/>
                      </a:lnTo>
                      <a:lnTo>
                        <a:pt x="4" y="493"/>
                      </a:lnTo>
                      <a:lnTo>
                        <a:pt x="4" y="491"/>
                      </a:lnTo>
                      <a:lnTo>
                        <a:pt x="2" y="491"/>
                      </a:lnTo>
                      <a:lnTo>
                        <a:pt x="2" y="490"/>
                      </a:lnTo>
                      <a:lnTo>
                        <a:pt x="2" y="488"/>
                      </a:lnTo>
                      <a:lnTo>
                        <a:pt x="2" y="486"/>
                      </a:lnTo>
                      <a:lnTo>
                        <a:pt x="0" y="486"/>
                      </a:lnTo>
                      <a:lnTo>
                        <a:pt x="2" y="486"/>
                      </a:lnTo>
                      <a:lnTo>
                        <a:pt x="0" y="486"/>
                      </a:lnTo>
                      <a:lnTo>
                        <a:pt x="0" y="485"/>
                      </a:lnTo>
                      <a:lnTo>
                        <a:pt x="0" y="483"/>
                      </a:lnTo>
                      <a:lnTo>
                        <a:pt x="2" y="483"/>
                      </a:lnTo>
                      <a:lnTo>
                        <a:pt x="0" y="483"/>
                      </a:lnTo>
                      <a:lnTo>
                        <a:pt x="2" y="483"/>
                      </a:lnTo>
                      <a:lnTo>
                        <a:pt x="0" y="483"/>
                      </a:lnTo>
                      <a:lnTo>
                        <a:pt x="2" y="483"/>
                      </a:lnTo>
                      <a:lnTo>
                        <a:pt x="2" y="481"/>
                      </a:lnTo>
                      <a:lnTo>
                        <a:pt x="0" y="481"/>
                      </a:lnTo>
                      <a:lnTo>
                        <a:pt x="2" y="481"/>
                      </a:lnTo>
                      <a:lnTo>
                        <a:pt x="2" y="480"/>
                      </a:lnTo>
                      <a:lnTo>
                        <a:pt x="2" y="478"/>
                      </a:lnTo>
                      <a:lnTo>
                        <a:pt x="0" y="478"/>
                      </a:lnTo>
                      <a:lnTo>
                        <a:pt x="2" y="476"/>
                      </a:lnTo>
                      <a:lnTo>
                        <a:pt x="0" y="476"/>
                      </a:lnTo>
                      <a:lnTo>
                        <a:pt x="2" y="476"/>
                      </a:lnTo>
                      <a:lnTo>
                        <a:pt x="2" y="475"/>
                      </a:lnTo>
                      <a:lnTo>
                        <a:pt x="2" y="473"/>
                      </a:lnTo>
                      <a:lnTo>
                        <a:pt x="2" y="471"/>
                      </a:lnTo>
                      <a:lnTo>
                        <a:pt x="2" y="470"/>
                      </a:lnTo>
                      <a:lnTo>
                        <a:pt x="4" y="468"/>
                      </a:lnTo>
                      <a:lnTo>
                        <a:pt x="4" y="467"/>
                      </a:lnTo>
                      <a:lnTo>
                        <a:pt x="2" y="467"/>
                      </a:lnTo>
                      <a:lnTo>
                        <a:pt x="4" y="467"/>
                      </a:lnTo>
                      <a:lnTo>
                        <a:pt x="2" y="467"/>
                      </a:lnTo>
                      <a:lnTo>
                        <a:pt x="2" y="465"/>
                      </a:lnTo>
                      <a:lnTo>
                        <a:pt x="4" y="465"/>
                      </a:lnTo>
                      <a:lnTo>
                        <a:pt x="2" y="465"/>
                      </a:lnTo>
                      <a:lnTo>
                        <a:pt x="4" y="465"/>
                      </a:lnTo>
                      <a:lnTo>
                        <a:pt x="4" y="463"/>
                      </a:lnTo>
                      <a:lnTo>
                        <a:pt x="6" y="463"/>
                      </a:lnTo>
                      <a:lnTo>
                        <a:pt x="6" y="462"/>
                      </a:lnTo>
                      <a:lnTo>
                        <a:pt x="4" y="462"/>
                      </a:lnTo>
                      <a:lnTo>
                        <a:pt x="6" y="462"/>
                      </a:lnTo>
                      <a:lnTo>
                        <a:pt x="6" y="460"/>
                      </a:lnTo>
                      <a:lnTo>
                        <a:pt x="6" y="462"/>
                      </a:lnTo>
                      <a:lnTo>
                        <a:pt x="6" y="460"/>
                      </a:lnTo>
                      <a:lnTo>
                        <a:pt x="6" y="458"/>
                      </a:lnTo>
                      <a:lnTo>
                        <a:pt x="6" y="457"/>
                      </a:lnTo>
                      <a:lnTo>
                        <a:pt x="4" y="455"/>
                      </a:lnTo>
                      <a:lnTo>
                        <a:pt x="6" y="455"/>
                      </a:lnTo>
                      <a:lnTo>
                        <a:pt x="4" y="455"/>
                      </a:lnTo>
                      <a:lnTo>
                        <a:pt x="4" y="453"/>
                      </a:lnTo>
                      <a:lnTo>
                        <a:pt x="6" y="455"/>
                      </a:lnTo>
                      <a:lnTo>
                        <a:pt x="6" y="453"/>
                      </a:lnTo>
                      <a:lnTo>
                        <a:pt x="4" y="453"/>
                      </a:lnTo>
                      <a:lnTo>
                        <a:pt x="4" y="452"/>
                      </a:lnTo>
                      <a:lnTo>
                        <a:pt x="6" y="452"/>
                      </a:lnTo>
                      <a:lnTo>
                        <a:pt x="6" y="450"/>
                      </a:lnTo>
                      <a:lnTo>
                        <a:pt x="7" y="448"/>
                      </a:lnTo>
                      <a:lnTo>
                        <a:pt x="7" y="450"/>
                      </a:lnTo>
                      <a:lnTo>
                        <a:pt x="7" y="448"/>
                      </a:lnTo>
                      <a:lnTo>
                        <a:pt x="9" y="448"/>
                      </a:lnTo>
                      <a:lnTo>
                        <a:pt x="9" y="447"/>
                      </a:lnTo>
                      <a:lnTo>
                        <a:pt x="9" y="445"/>
                      </a:lnTo>
                      <a:lnTo>
                        <a:pt x="9" y="444"/>
                      </a:lnTo>
                      <a:lnTo>
                        <a:pt x="11" y="444"/>
                      </a:lnTo>
                      <a:lnTo>
                        <a:pt x="11" y="442"/>
                      </a:lnTo>
                      <a:lnTo>
                        <a:pt x="9" y="442"/>
                      </a:lnTo>
                      <a:lnTo>
                        <a:pt x="11" y="442"/>
                      </a:lnTo>
                      <a:lnTo>
                        <a:pt x="11" y="440"/>
                      </a:lnTo>
                      <a:lnTo>
                        <a:pt x="11" y="442"/>
                      </a:lnTo>
                      <a:lnTo>
                        <a:pt x="11" y="440"/>
                      </a:lnTo>
                      <a:lnTo>
                        <a:pt x="12" y="440"/>
                      </a:lnTo>
                      <a:lnTo>
                        <a:pt x="12" y="439"/>
                      </a:lnTo>
                      <a:lnTo>
                        <a:pt x="14" y="439"/>
                      </a:lnTo>
                      <a:lnTo>
                        <a:pt x="14" y="437"/>
                      </a:lnTo>
                      <a:lnTo>
                        <a:pt x="14" y="435"/>
                      </a:lnTo>
                      <a:lnTo>
                        <a:pt x="16" y="435"/>
                      </a:lnTo>
                      <a:lnTo>
                        <a:pt x="16" y="434"/>
                      </a:lnTo>
                      <a:lnTo>
                        <a:pt x="16" y="435"/>
                      </a:lnTo>
                      <a:lnTo>
                        <a:pt x="16" y="434"/>
                      </a:lnTo>
                      <a:lnTo>
                        <a:pt x="17" y="434"/>
                      </a:lnTo>
                      <a:lnTo>
                        <a:pt x="16" y="434"/>
                      </a:lnTo>
                      <a:lnTo>
                        <a:pt x="17" y="434"/>
                      </a:lnTo>
                      <a:lnTo>
                        <a:pt x="17" y="432"/>
                      </a:lnTo>
                      <a:lnTo>
                        <a:pt x="17" y="434"/>
                      </a:lnTo>
                      <a:lnTo>
                        <a:pt x="17" y="432"/>
                      </a:lnTo>
                      <a:lnTo>
                        <a:pt x="19" y="432"/>
                      </a:lnTo>
                      <a:lnTo>
                        <a:pt x="19" y="430"/>
                      </a:lnTo>
                      <a:lnTo>
                        <a:pt x="17" y="430"/>
                      </a:lnTo>
                      <a:lnTo>
                        <a:pt x="17" y="429"/>
                      </a:lnTo>
                      <a:lnTo>
                        <a:pt x="19" y="429"/>
                      </a:lnTo>
                      <a:lnTo>
                        <a:pt x="17" y="429"/>
                      </a:lnTo>
                      <a:lnTo>
                        <a:pt x="19" y="429"/>
                      </a:lnTo>
                      <a:lnTo>
                        <a:pt x="19" y="427"/>
                      </a:lnTo>
                      <a:lnTo>
                        <a:pt x="19" y="426"/>
                      </a:lnTo>
                      <a:lnTo>
                        <a:pt x="21" y="426"/>
                      </a:lnTo>
                      <a:lnTo>
                        <a:pt x="19" y="424"/>
                      </a:lnTo>
                      <a:lnTo>
                        <a:pt x="19" y="422"/>
                      </a:lnTo>
                      <a:lnTo>
                        <a:pt x="21" y="422"/>
                      </a:lnTo>
                      <a:lnTo>
                        <a:pt x="21" y="421"/>
                      </a:lnTo>
                      <a:lnTo>
                        <a:pt x="21" y="419"/>
                      </a:lnTo>
                      <a:lnTo>
                        <a:pt x="22" y="419"/>
                      </a:lnTo>
                      <a:lnTo>
                        <a:pt x="21" y="419"/>
                      </a:lnTo>
                      <a:lnTo>
                        <a:pt x="21" y="417"/>
                      </a:lnTo>
                      <a:lnTo>
                        <a:pt x="22" y="417"/>
                      </a:lnTo>
                      <a:lnTo>
                        <a:pt x="22" y="416"/>
                      </a:lnTo>
                      <a:lnTo>
                        <a:pt x="24" y="414"/>
                      </a:lnTo>
                      <a:lnTo>
                        <a:pt x="22" y="414"/>
                      </a:lnTo>
                      <a:lnTo>
                        <a:pt x="24" y="414"/>
                      </a:lnTo>
                      <a:lnTo>
                        <a:pt x="24" y="412"/>
                      </a:lnTo>
                      <a:lnTo>
                        <a:pt x="26" y="412"/>
                      </a:lnTo>
                      <a:lnTo>
                        <a:pt x="26" y="414"/>
                      </a:lnTo>
                      <a:lnTo>
                        <a:pt x="26" y="412"/>
                      </a:lnTo>
                      <a:lnTo>
                        <a:pt x="27" y="412"/>
                      </a:lnTo>
                      <a:lnTo>
                        <a:pt x="27" y="414"/>
                      </a:lnTo>
                      <a:lnTo>
                        <a:pt x="29" y="412"/>
                      </a:lnTo>
                      <a:lnTo>
                        <a:pt x="27" y="412"/>
                      </a:lnTo>
                      <a:lnTo>
                        <a:pt x="29" y="412"/>
                      </a:lnTo>
                      <a:lnTo>
                        <a:pt x="31" y="412"/>
                      </a:lnTo>
                      <a:lnTo>
                        <a:pt x="29" y="411"/>
                      </a:lnTo>
                      <a:lnTo>
                        <a:pt x="31" y="411"/>
                      </a:lnTo>
                      <a:lnTo>
                        <a:pt x="31" y="409"/>
                      </a:lnTo>
                      <a:lnTo>
                        <a:pt x="31" y="407"/>
                      </a:lnTo>
                      <a:lnTo>
                        <a:pt x="33" y="407"/>
                      </a:lnTo>
                      <a:lnTo>
                        <a:pt x="33" y="409"/>
                      </a:lnTo>
                      <a:lnTo>
                        <a:pt x="31" y="409"/>
                      </a:lnTo>
                      <a:lnTo>
                        <a:pt x="33" y="409"/>
                      </a:lnTo>
                      <a:lnTo>
                        <a:pt x="33" y="407"/>
                      </a:lnTo>
                      <a:lnTo>
                        <a:pt x="34" y="407"/>
                      </a:lnTo>
                      <a:lnTo>
                        <a:pt x="34" y="406"/>
                      </a:lnTo>
                      <a:lnTo>
                        <a:pt x="36" y="406"/>
                      </a:lnTo>
                      <a:lnTo>
                        <a:pt x="34" y="406"/>
                      </a:lnTo>
                      <a:lnTo>
                        <a:pt x="36" y="406"/>
                      </a:lnTo>
                      <a:lnTo>
                        <a:pt x="36" y="404"/>
                      </a:lnTo>
                      <a:lnTo>
                        <a:pt x="36" y="406"/>
                      </a:lnTo>
                      <a:lnTo>
                        <a:pt x="38" y="406"/>
                      </a:lnTo>
                      <a:lnTo>
                        <a:pt x="38" y="404"/>
                      </a:lnTo>
                      <a:lnTo>
                        <a:pt x="39" y="404"/>
                      </a:lnTo>
                      <a:lnTo>
                        <a:pt x="41" y="404"/>
                      </a:lnTo>
                      <a:lnTo>
                        <a:pt x="41" y="403"/>
                      </a:lnTo>
                      <a:lnTo>
                        <a:pt x="43" y="403"/>
                      </a:lnTo>
                      <a:lnTo>
                        <a:pt x="43" y="401"/>
                      </a:lnTo>
                      <a:lnTo>
                        <a:pt x="43" y="403"/>
                      </a:lnTo>
                      <a:lnTo>
                        <a:pt x="44" y="403"/>
                      </a:lnTo>
                      <a:lnTo>
                        <a:pt x="44" y="401"/>
                      </a:lnTo>
                      <a:lnTo>
                        <a:pt x="44" y="399"/>
                      </a:lnTo>
                      <a:lnTo>
                        <a:pt x="46" y="399"/>
                      </a:lnTo>
                      <a:lnTo>
                        <a:pt x="46" y="398"/>
                      </a:lnTo>
                      <a:lnTo>
                        <a:pt x="48" y="399"/>
                      </a:lnTo>
                      <a:lnTo>
                        <a:pt x="48" y="398"/>
                      </a:lnTo>
                      <a:lnTo>
                        <a:pt x="48" y="396"/>
                      </a:lnTo>
                      <a:lnTo>
                        <a:pt x="48" y="394"/>
                      </a:lnTo>
                      <a:lnTo>
                        <a:pt x="46" y="396"/>
                      </a:lnTo>
                      <a:lnTo>
                        <a:pt x="46" y="394"/>
                      </a:lnTo>
                      <a:lnTo>
                        <a:pt x="48" y="394"/>
                      </a:lnTo>
                      <a:lnTo>
                        <a:pt x="49" y="394"/>
                      </a:lnTo>
                      <a:lnTo>
                        <a:pt x="49" y="393"/>
                      </a:lnTo>
                      <a:lnTo>
                        <a:pt x="49" y="391"/>
                      </a:lnTo>
                      <a:lnTo>
                        <a:pt x="51" y="393"/>
                      </a:lnTo>
                      <a:lnTo>
                        <a:pt x="51" y="391"/>
                      </a:lnTo>
                      <a:lnTo>
                        <a:pt x="51" y="389"/>
                      </a:lnTo>
                      <a:lnTo>
                        <a:pt x="49" y="389"/>
                      </a:lnTo>
                      <a:lnTo>
                        <a:pt x="49" y="388"/>
                      </a:lnTo>
                      <a:lnTo>
                        <a:pt x="51" y="388"/>
                      </a:lnTo>
                      <a:lnTo>
                        <a:pt x="53" y="388"/>
                      </a:lnTo>
                      <a:lnTo>
                        <a:pt x="53" y="386"/>
                      </a:lnTo>
                      <a:lnTo>
                        <a:pt x="55" y="386"/>
                      </a:lnTo>
                      <a:lnTo>
                        <a:pt x="55" y="388"/>
                      </a:lnTo>
                      <a:lnTo>
                        <a:pt x="56" y="388"/>
                      </a:lnTo>
                      <a:lnTo>
                        <a:pt x="56" y="386"/>
                      </a:lnTo>
                      <a:lnTo>
                        <a:pt x="56" y="384"/>
                      </a:lnTo>
                      <a:lnTo>
                        <a:pt x="58" y="384"/>
                      </a:lnTo>
                      <a:lnTo>
                        <a:pt x="58" y="383"/>
                      </a:lnTo>
                      <a:lnTo>
                        <a:pt x="58" y="384"/>
                      </a:lnTo>
                      <a:lnTo>
                        <a:pt x="60" y="384"/>
                      </a:lnTo>
                      <a:lnTo>
                        <a:pt x="60" y="383"/>
                      </a:lnTo>
                      <a:lnTo>
                        <a:pt x="60" y="381"/>
                      </a:lnTo>
                      <a:lnTo>
                        <a:pt x="60" y="380"/>
                      </a:lnTo>
                      <a:lnTo>
                        <a:pt x="61" y="380"/>
                      </a:lnTo>
                      <a:lnTo>
                        <a:pt x="63" y="378"/>
                      </a:lnTo>
                      <a:lnTo>
                        <a:pt x="61" y="378"/>
                      </a:lnTo>
                      <a:lnTo>
                        <a:pt x="63" y="378"/>
                      </a:lnTo>
                      <a:lnTo>
                        <a:pt x="61" y="378"/>
                      </a:lnTo>
                      <a:lnTo>
                        <a:pt x="61" y="376"/>
                      </a:lnTo>
                      <a:lnTo>
                        <a:pt x="63" y="376"/>
                      </a:lnTo>
                      <a:lnTo>
                        <a:pt x="61" y="376"/>
                      </a:lnTo>
                      <a:lnTo>
                        <a:pt x="61" y="375"/>
                      </a:lnTo>
                      <a:lnTo>
                        <a:pt x="60" y="375"/>
                      </a:lnTo>
                      <a:lnTo>
                        <a:pt x="60" y="373"/>
                      </a:lnTo>
                      <a:lnTo>
                        <a:pt x="58" y="373"/>
                      </a:lnTo>
                      <a:lnTo>
                        <a:pt x="60" y="371"/>
                      </a:lnTo>
                      <a:lnTo>
                        <a:pt x="58" y="371"/>
                      </a:lnTo>
                      <a:lnTo>
                        <a:pt x="56" y="371"/>
                      </a:lnTo>
                      <a:lnTo>
                        <a:pt x="55" y="370"/>
                      </a:lnTo>
                      <a:lnTo>
                        <a:pt x="55" y="368"/>
                      </a:lnTo>
                      <a:lnTo>
                        <a:pt x="55" y="366"/>
                      </a:lnTo>
                      <a:lnTo>
                        <a:pt x="55" y="365"/>
                      </a:lnTo>
                      <a:lnTo>
                        <a:pt x="55" y="363"/>
                      </a:lnTo>
                      <a:lnTo>
                        <a:pt x="55" y="361"/>
                      </a:lnTo>
                      <a:lnTo>
                        <a:pt x="56" y="361"/>
                      </a:lnTo>
                      <a:lnTo>
                        <a:pt x="56" y="360"/>
                      </a:lnTo>
                      <a:lnTo>
                        <a:pt x="58" y="360"/>
                      </a:lnTo>
                      <a:lnTo>
                        <a:pt x="60" y="360"/>
                      </a:lnTo>
                      <a:lnTo>
                        <a:pt x="61" y="360"/>
                      </a:lnTo>
                      <a:lnTo>
                        <a:pt x="61" y="358"/>
                      </a:lnTo>
                      <a:lnTo>
                        <a:pt x="63" y="358"/>
                      </a:lnTo>
                      <a:lnTo>
                        <a:pt x="65" y="358"/>
                      </a:lnTo>
                      <a:lnTo>
                        <a:pt x="65" y="357"/>
                      </a:lnTo>
                      <a:lnTo>
                        <a:pt x="66" y="358"/>
                      </a:lnTo>
                      <a:lnTo>
                        <a:pt x="68" y="358"/>
                      </a:lnTo>
                      <a:lnTo>
                        <a:pt x="68" y="357"/>
                      </a:lnTo>
                      <a:lnTo>
                        <a:pt x="66" y="357"/>
                      </a:lnTo>
                      <a:lnTo>
                        <a:pt x="66" y="355"/>
                      </a:lnTo>
                      <a:lnTo>
                        <a:pt x="66" y="353"/>
                      </a:lnTo>
                      <a:lnTo>
                        <a:pt x="68" y="355"/>
                      </a:lnTo>
                      <a:lnTo>
                        <a:pt x="68" y="353"/>
                      </a:lnTo>
                      <a:lnTo>
                        <a:pt x="68" y="352"/>
                      </a:lnTo>
                      <a:lnTo>
                        <a:pt x="68" y="350"/>
                      </a:lnTo>
                      <a:lnTo>
                        <a:pt x="68" y="348"/>
                      </a:lnTo>
                      <a:lnTo>
                        <a:pt x="70" y="348"/>
                      </a:lnTo>
                      <a:lnTo>
                        <a:pt x="70" y="347"/>
                      </a:lnTo>
                      <a:lnTo>
                        <a:pt x="70" y="345"/>
                      </a:lnTo>
                      <a:lnTo>
                        <a:pt x="71" y="345"/>
                      </a:lnTo>
                      <a:lnTo>
                        <a:pt x="71" y="347"/>
                      </a:lnTo>
                      <a:lnTo>
                        <a:pt x="73" y="347"/>
                      </a:lnTo>
                      <a:lnTo>
                        <a:pt x="73" y="345"/>
                      </a:lnTo>
                      <a:lnTo>
                        <a:pt x="75" y="345"/>
                      </a:lnTo>
                      <a:lnTo>
                        <a:pt x="76" y="345"/>
                      </a:lnTo>
                      <a:lnTo>
                        <a:pt x="76" y="343"/>
                      </a:lnTo>
                      <a:lnTo>
                        <a:pt x="78" y="343"/>
                      </a:lnTo>
                      <a:lnTo>
                        <a:pt x="80" y="343"/>
                      </a:lnTo>
                      <a:lnTo>
                        <a:pt x="80" y="342"/>
                      </a:lnTo>
                      <a:lnTo>
                        <a:pt x="82" y="342"/>
                      </a:lnTo>
                      <a:lnTo>
                        <a:pt x="83" y="342"/>
                      </a:lnTo>
                      <a:lnTo>
                        <a:pt x="85" y="342"/>
                      </a:lnTo>
                      <a:lnTo>
                        <a:pt x="85" y="340"/>
                      </a:lnTo>
                      <a:lnTo>
                        <a:pt x="87" y="342"/>
                      </a:lnTo>
                      <a:lnTo>
                        <a:pt x="87" y="340"/>
                      </a:lnTo>
                      <a:lnTo>
                        <a:pt x="88" y="340"/>
                      </a:lnTo>
                      <a:lnTo>
                        <a:pt x="88" y="338"/>
                      </a:lnTo>
                      <a:lnTo>
                        <a:pt x="90" y="337"/>
                      </a:lnTo>
                      <a:lnTo>
                        <a:pt x="88" y="337"/>
                      </a:lnTo>
                      <a:lnTo>
                        <a:pt x="90" y="337"/>
                      </a:lnTo>
                      <a:lnTo>
                        <a:pt x="90" y="335"/>
                      </a:lnTo>
                      <a:lnTo>
                        <a:pt x="90" y="334"/>
                      </a:lnTo>
                      <a:lnTo>
                        <a:pt x="92" y="334"/>
                      </a:lnTo>
                      <a:lnTo>
                        <a:pt x="92" y="332"/>
                      </a:lnTo>
                      <a:lnTo>
                        <a:pt x="92" y="330"/>
                      </a:lnTo>
                      <a:lnTo>
                        <a:pt x="93" y="329"/>
                      </a:lnTo>
                      <a:lnTo>
                        <a:pt x="95" y="329"/>
                      </a:lnTo>
                      <a:lnTo>
                        <a:pt x="95" y="327"/>
                      </a:lnTo>
                      <a:lnTo>
                        <a:pt x="95" y="325"/>
                      </a:lnTo>
                      <a:lnTo>
                        <a:pt x="95" y="324"/>
                      </a:lnTo>
                      <a:lnTo>
                        <a:pt x="97" y="324"/>
                      </a:lnTo>
                      <a:lnTo>
                        <a:pt x="98" y="324"/>
                      </a:lnTo>
                      <a:lnTo>
                        <a:pt x="100" y="324"/>
                      </a:lnTo>
                      <a:lnTo>
                        <a:pt x="100" y="322"/>
                      </a:lnTo>
                      <a:lnTo>
                        <a:pt x="102" y="322"/>
                      </a:lnTo>
                      <a:lnTo>
                        <a:pt x="103" y="324"/>
                      </a:lnTo>
                      <a:lnTo>
                        <a:pt x="105" y="324"/>
                      </a:lnTo>
                      <a:lnTo>
                        <a:pt x="107" y="324"/>
                      </a:lnTo>
                      <a:lnTo>
                        <a:pt x="109" y="322"/>
                      </a:lnTo>
                      <a:lnTo>
                        <a:pt x="110" y="322"/>
                      </a:lnTo>
                      <a:lnTo>
                        <a:pt x="110" y="324"/>
                      </a:lnTo>
                      <a:lnTo>
                        <a:pt x="110" y="322"/>
                      </a:lnTo>
                      <a:lnTo>
                        <a:pt x="112" y="322"/>
                      </a:lnTo>
                      <a:lnTo>
                        <a:pt x="114" y="322"/>
                      </a:lnTo>
                      <a:lnTo>
                        <a:pt x="114" y="324"/>
                      </a:lnTo>
                      <a:lnTo>
                        <a:pt x="115" y="324"/>
                      </a:lnTo>
                      <a:lnTo>
                        <a:pt x="117" y="322"/>
                      </a:lnTo>
                      <a:lnTo>
                        <a:pt x="117" y="324"/>
                      </a:lnTo>
                      <a:lnTo>
                        <a:pt x="119" y="322"/>
                      </a:lnTo>
                      <a:lnTo>
                        <a:pt x="120" y="322"/>
                      </a:lnTo>
                      <a:lnTo>
                        <a:pt x="120" y="320"/>
                      </a:lnTo>
                      <a:lnTo>
                        <a:pt x="120" y="319"/>
                      </a:lnTo>
                      <a:lnTo>
                        <a:pt x="122" y="319"/>
                      </a:lnTo>
                      <a:lnTo>
                        <a:pt x="124" y="319"/>
                      </a:lnTo>
                      <a:lnTo>
                        <a:pt x="124" y="317"/>
                      </a:lnTo>
                      <a:lnTo>
                        <a:pt x="124" y="315"/>
                      </a:lnTo>
                      <a:lnTo>
                        <a:pt x="125" y="315"/>
                      </a:lnTo>
                      <a:lnTo>
                        <a:pt x="127" y="315"/>
                      </a:lnTo>
                      <a:lnTo>
                        <a:pt x="129" y="317"/>
                      </a:lnTo>
                      <a:lnTo>
                        <a:pt x="131" y="317"/>
                      </a:lnTo>
                      <a:lnTo>
                        <a:pt x="131" y="315"/>
                      </a:lnTo>
                      <a:lnTo>
                        <a:pt x="132" y="315"/>
                      </a:lnTo>
                      <a:lnTo>
                        <a:pt x="132" y="314"/>
                      </a:lnTo>
                      <a:lnTo>
                        <a:pt x="134" y="312"/>
                      </a:lnTo>
                      <a:lnTo>
                        <a:pt x="136" y="311"/>
                      </a:lnTo>
                      <a:lnTo>
                        <a:pt x="137" y="309"/>
                      </a:lnTo>
                      <a:lnTo>
                        <a:pt x="139" y="307"/>
                      </a:lnTo>
                      <a:lnTo>
                        <a:pt x="137" y="307"/>
                      </a:lnTo>
                      <a:lnTo>
                        <a:pt x="139" y="307"/>
                      </a:lnTo>
                      <a:lnTo>
                        <a:pt x="139" y="306"/>
                      </a:lnTo>
                      <a:lnTo>
                        <a:pt x="142" y="301"/>
                      </a:lnTo>
                      <a:lnTo>
                        <a:pt x="142" y="299"/>
                      </a:lnTo>
                      <a:lnTo>
                        <a:pt x="142" y="297"/>
                      </a:lnTo>
                      <a:lnTo>
                        <a:pt x="141" y="292"/>
                      </a:lnTo>
                      <a:lnTo>
                        <a:pt x="141" y="291"/>
                      </a:lnTo>
                      <a:lnTo>
                        <a:pt x="142" y="291"/>
                      </a:lnTo>
                      <a:lnTo>
                        <a:pt x="142" y="292"/>
                      </a:lnTo>
                      <a:lnTo>
                        <a:pt x="144" y="292"/>
                      </a:lnTo>
                      <a:lnTo>
                        <a:pt x="146" y="292"/>
                      </a:lnTo>
                      <a:lnTo>
                        <a:pt x="146" y="291"/>
                      </a:lnTo>
                      <a:lnTo>
                        <a:pt x="144" y="289"/>
                      </a:lnTo>
                      <a:lnTo>
                        <a:pt x="144" y="288"/>
                      </a:lnTo>
                      <a:lnTo>
                        <a:pt x="146" y="288"/>
                      </a:lnTo>
                      <a:lnTo>
                        <a:pt x="147" y="288"/>
                      </a:lnTo>
                      <a:lnTo>
                        <a:pt x="147" y="286"/>
                      </a:lnTo>
                      <a:lnTo>
                        <a:pt x="147" y="284"/>
                      </a:lnTo>
                      <a:lnTo>
                        <a:pt x="147" y="283"/>
                      </a:lnTo>
                      <a:lnTo>
                        <a:pt x="149" y="281"/>
                      </a:lnTo>
                      <a:lnTo>
                        <a:pt x="147" y="279"/>
                      </a:lnTo>
                      <a:lnTo>
                        <a:pt x="149" y="279"/>
                      </a:lnTo>
                      <a:lnTo>
                        <a:pt x="149" y="278"/>
                      </a:lnTo>
                      <a:lnTo>
                        <a:pt x="151" y="276"/>
                      </a:lnTo>
                      <a:lnTo>
                        <a:pt x="151" y="274"/>
                      </a:lnTo>
                      <a:lnTo>
                        <a:pt x="149" y="273"/>
                      </a:lnTo>
                      <a:lnTo>
                        <a:pt x="149" y="271"/>
                      </a:lnTo>
                      <a:lnTo>
                        <a:pt x="149" y="269"/>
                      </a:lnTo>
                      <a:lnTo>
                        <a:pt x="149" y="268"/>
                      </a:lnTo>
                      <a:lnTo>
                        <a:pt x="151" y="268"/>
                      </a:lnTo>
                      <a:lnTo>
                        <a:pt x="152" y="266"/>
                      </a:lnTo>
                      <a:lnTo>
                        <a:pt x="152" y="265"/>
                      </a:lnTo>
                      <a:lnTo>
                        <a:pt x="151" y="265"/>
                      </a:lnTo>
                      <a:lnTo>
                        <a:pt x="151" y="263"/>
                      </a:lnTo>
                      <a:lnTo>
                        <a:pt x="152" y="261"/>
                      </a:lnTo>
                      <a:lnTo>
                        <a:pt x="152" y="260"/>
                      </a:lnTo>
                      <a:lnTo>
                        <a:pt x="152" y="258"/>
                      </a:lnTo>
                      <a:lnTo>
                        <a:pt x="154" y="256"/>
                      </a:lnTo>
                      <a:lnTo>
                        <a:pt x="156" y="256"/>
                      </a:lnTo>
                      <a:lnTo>
                        <a:pt x="158" y="256"/>
                      </a:lnTo>
                      <a:lnTo>
                        <a:pt x="158" y="255"/>
                      </a:lnTo>
                      <a:lnTo>
                        <a:pt x="159" y="255"/>
                      </a:lnTo>
                      <a:lnTo>
                        <a:pt x="159" y="253"/>
                      </a:lnTo>
                      <a:lnTo>
                        <a:pt x="159" y="251"/>
                      </a:lnTo>
                      <a:lnTo>
                        <a:pt x="161" y="251"/>
                      </a:lnTo>
                      <a:lnTo>
                        <a:pt x="163" y="251"/>
                      </a:lnTo>
                      <a:lnTo>
                        <a:pt x="163" y="250"/>
                      </a:lnTo>
                      <a:lnTo>
                        <a:pt x="163" y="248"/>
                      </a:lnTo>
                      <a:lnTo>
                        <a:pt x="164" y="248"/>
                      </a:lnTo>
                      <a:lnTo>
                        <a:pt x="164" y="246"/>
                      </a:lnTo>
                      <a:lnTo>
                        <a:pt x="166" y="246"/>
                      </a:lnTo>
                      <a:lnTo>
                        <a:pt x="168" y="246"/>
                      </a:lnTo>
                      <a:lnTo>
                        <a:pt x="169" y="246"/>
                      </a:lnTo>
                      <a:lnTo>
                        <a:pt x="171" y="245"/>
                      </a:lnTo>
                      <a:lnTo>
                        <a:pt x="173" y="243"/>
                      </a:lnTo>
                      <a:lnTo>
                        <a:pt x="173" y="242"/>
                      </a:lnTo>
                      <a:lnTo>
                        <a:pt x="174" y="242"/>
                      </a:lnTo>
                      <a:lnTo>
                        <a:pt x="176" y="242"/>
                      </a:lnTo>
                      <a:lnTo>
                        <a:pt x="178" y="242"/>
                      </a:lnTo>
                      <a:lnTo>
                        <a:pt x="179" y="242"/>
                      </a:lnTo>
                      <a:lnTo>
                        <a:pt x="181" y="242"/>
                      </a:lnTo>
                      <a:lnTo>
                        <a:pt x="181" y="240"/>
                      </a:lnTo>
                      <a:lnTo>
                        <a:pt x="183" y="238"/>
                      </a:lnTo>
                      <a:lnTo>
                        <a:pt x="185" y="238"/>
                      </a:lnTo>
                      <a:lnTo>
                        <a:pt x="185" y="240"/>
                      </a:lnTo>
                      <a:lnTo>
                        <a:pt x="186" y="240"/>
                      </a:lnTo>
                      <a:lnTo>
                        <a:pt x="186" y="242"/>
                      </a:lnTo>
                      <a:lnTo>
                        <a:pt x="186" y="243"/>
                      </a:lnTo>
                      <a:lnTo>
                        <a:pt x="186" y="245"/>
                      </a:lnTo>
                      <a:lnTo>
                        <a:pt x="188" y="245"/>
                      </a:lnTo>
                      <a:lnTo>
                        <a:pt x="191" y="245"/>
                      </a:lnTo>
                      <a:lnTo>
                        <a:pt x="193" y="243"/>
                      </a:lnTo>
                      <a:lnTo>
                        <a:pt x="195" y="242"/>
                      </a:lnTo>
                      <a:lnTo>
                        <a:pt x="196" y="242"/>
                      </a:lnTo>
                      <a:lnTo>
                        <a:pt x="198" y="240"/>
                      </a:lnTo>
                      <a:lnTo>
                        <a:pt x="200" y="240"/>
                      </a:lnTo>
                      <a:lnTo>
                        <a:pt x="200" y="238"/>
                      </a:lnTo>
                      <a:lnTo>
                        <a:pt x="200" y="237"/>
                      </a:lnTo>
                      <a:lnTo>
                        <a:pt x="201" y="235"/>
                      </a:lnTo>
                      <a:lnTo>
                        <a:pt x="203" y="235"/>
                      </a:lnTo>
                      <a:lnTo>
                        <a:pt x="205" y="235"/>
                      </a:lnTo>
                      <a:lnTo>
                        <a:pt x="205" y="233"/>
                      </a:lnTo>
                      <a:lnTo>
                        <a:pt x="207" y="233"/>
                      </a:lnTo>
                      <a:lnTo>
                        <a:pt x="207" y="232"/>
                      </a:lnTo>
                      <a:lnTo>
                        <a:pt x="207" y="230"/>
                      </a:lnTo>
                      <a:lnTo>
                        <a:pt x="207" y="228"/>
                      </a:lnTo>
                      <a:lnTo>
                        <a:pt x="207" y="227"/>
                      </a:lnTo>
                      <a:lnTo>
                        <a:pt x="207" y="225"/>
                      </a:lnTo>
                      <a:lnTo>
                        <a:pt x="208" y="224"/>
                      </a:lnTo>
                      <a:lnTo>
                        <a:pt x="210" y="222"/>
                      </a:lnTo>
                      <a:lnTo>
                        <a:pt x="210" y="220"/>
                      </a:lnTo>
                      <a:lnTo>
                        <a:pt x="210" y="219"/>
                      </a:lnTo>
                      <a:lnTo>
                        <a:pt x="210" y="217"/>
                      </a:lnTo>
                      <a:lnTo>
                        <a:pt x="210" y="215"/>
                      </a:lnTo>
                      <a:lnTo>
                        <a:pt x="212" y="215"/>
                      </a:lnTo>
                      <a:lnTo>
                        <a:pt x="212" y="214"/>
                      </a:lnTo>
                      <a:lnTo>
                        <a:pt x="212" y="212"/>
                      </a:lnTo>
                      <a:lnTo>
                        <a:pt x="212" y="210"/>
                      </a:lnTo>
                      <a:lnTo>
                        <a:pt x="213" y="210"/>
                      </a:lnTo>
                      <a:lnTo>
                        <a:pt x="213" y="209"/>
                      </a:lnTo>
                      <a:lnTo>
                        <a:pt x="213" y="207"/>
                      </a:lnTo>
                      <a:lnTo>
                        <a:pt x="215" y="207"/>
                      </a:lnTo>
                      <a:lnTo>
                        <a:pt x="215" y="205"/>
                      </a:lnTo>
                      <a:lnTo>
                        <a:pt x="215" y="204"/>
                      </a:lnTo>
                      <a:lnTo>
                        <a:pt x="215" y="202"/>
                      </a:lnTo>
                      <a:lnTo>
                        <a:pt x="215" y="201"/>
                      </a:lnTo>
                      <a:lnTo>
                        <a:pt x="217" y="199"/>
                      </a:lnTo>
                      <a:lnTo>
                        <a:pt x="218" y="197"/>
                      </a:lnTo>
                      <a:lnTo>
                        <a:pt x="217" y="196"/>
                      </a:lnTo>
                      <a:lnTo>
                        <a:pt x="217" y="194"/>
                      </a:lnTo>
                      <a:lnTo>
                        <a:pt x="217" y="192"/>
                      </a:lnTo>
                      <a:lnTo>
                        <a:pt x="217" y="191"/>
                      </a:lnTo>
                      <a:lnTo>
                        <a:pt x="215" y="191"/>
                      </a:lnTo>
                      <a:lnTo>
                        <a:pt x="215" y="189"/>
                      </a:lnTo>
                      <a:lnTo>
                        <a:pt x="215" y="187"/>
                      </a:lnTo>
                      <a:lnTo>
                        <a:pt x="215" y="186"/>
                      </a:lnTo>
                      <a:lnTo>
                        <a:pt x="215" y="184"/>
                      </a:lnTo>
                      <a:lnTo>
                        <a:pt x="215" y="182"/>
                      </a:lnTo>
                      <a:lnTo>
                        <a:pt x="217" y="182"/>
                      </a:lnTo>
                      <a:lnTo>
                        <a:pt x="217" y="181"/>
                      </a:lnTo>
                      <a:lnTo>
                        <a:pt x="217" y="179"/>
                      </a:lnTo>
                      <a:lnTo>
                        <a:pt x="217" y="178"/>
                      </a:lnTo>
                      <a:lnTo>
                        <a:pt x="217" y="176"/>
                      </a:lnTo>
                      <a:lnTo>
                        <a:pt x="217" y="174"/>
                      </a:lnTo>
                      <a:lnTo>
                        <a:pt x="218" y="173"/>
                      </a:lnTo>
                      <a:lnTo>
                        <a:pt x="218" y="171"/>
                      </a:lnTo>
                      <a:lnTo>
                        <a:pt x="220" y="169"/>
                      </a:lnTo>
                      <a:lnTo>
                        <a:pt x="220" y="168"/>
                      </a:lnTo>
                      <a:lnTo>
                        <a:pt x="222" y="168"/>
                      </a:lnTo>
                      <a:lnTo>
                        <a:pt x="220" y="166"/>
                      </a:lnTo>
                      <a:lnTo>
                        <a:pt x="222" y="166"/>
                      </a:lnTo>
                      <a:lnTo>
                        <a:pt x="222" y="164"/>
                      </a:lnTo>
                      <a:lnTo>
                        <a:pt x="223" y="164"/>
                      </a:lnTo>
                      <a:lnTo>
                        <a:pt x="223" y="163"/>
                      </a:lnTo>
                      <a:lnTo>
                        <a:pt x="222" y="161"/>
                      </a:lnTo>
                      <a:lnTo>
                        <a:pt x="222" y="159"/>
                      </a:lnTo>
                      <a:lnTo>
                        <a:pt x="223" y="159"/>
                      </a:lnTo>
                      <a:lnTo>
                        <a:pt x="225" y="161"/>
                      </a:lnTo>
                      <a:lnTo>
                        <a:pt x="227" y="161"/>
                      </a:lnTo>
                      <a:lnTo>
                        <a:pt x="228" y="159"/>
                      </a:lnTo>
                      <a:lnTo>
                        <a:pt x="230" y="158"/>
                      </a:lnTo>
                      <a:lnTo>
                        <a:pt x="230" y="156"/>
                      </a:lnTo>
                      <a:lnTo>
                        <a:pt x="230" y="155"/>
                      </a:lnTo>
                      <a:lnTo>
                        <a:pt x="228" y="153"/>
                      </a:lnTo>
                      <a:lnTo>
                        <a:pt x="228" y="151"/>
                      </a:lnTo>
                      <a:lnTo>
                        <a:pt x="228" y="150"/>
                      </a:lnTo>
                      <a:lnTo>
                        <a:pt x="228" y="148"/>
                      </a:lnTo>
                      <a:lnTo>
                        <a:pt x="227" y="148"/>
                      </a:lnTo>
                      <a:lnTo>
                        <a:pt x="227" y="146"/>
                      </a:lnTo>
                      <a:lnTo>
                        <a:pt x="227" y="145"/>
                      </a:lnTo>
                      <a:lnTo>
                        <a:pt x="228" y="145"/>
                      </a:lnTo>
                      <a:lnTo>
                        <a:pt x="228" y="143"/>
                      </a:lnTo>
                      <a:lnTo>
                        <a:pt x="230" y="141"/>
                      </a:lnTo>
                      <a:lnTo>
                        <a:pt x="228" y="140"/>
                      </a:lnTo>
                      <a:lnTo>
                        <a:pt x="230" y="138"/>
                      </a:lnTo>
                      <a:lnTo>
                        <a:pt x="230" y="136"/>
                      </a:lnTo>
                      <a:lnTo>
                        <a:pt x="228" y="135"/>
                      </a:lnTo>
                      <a:lnTo>
                        <a:pt x="228" y="133"/>
                      </a:lnTo>
                      <a:lnTo>
                        <a:pt x="228" y="132"/>
                      </a:lnTo>
                      <a:lnTo>
                        <a:pt x="228" y="130"/>
                      </a:lnTo>
                      <a:lnTo>
                        <a:pt x="228" y="128"/>
                      </a:lnTo>
                      <a:lnTo>
                        <a:pt x="228" y="127"/>
                      </a:lnTo>
                      <a:lnTo>
                        <a:pt x="227" y="127"/>
                      </a:lnTo>
                      <a:lnTo>
                        <a:pt x="227" y="125"/>
                      </a:lnTo>
                      <a:lnTo>
                        <a:pt x="227" y="123"/>
                      </a:lnTo>
                      <a:lnTo>
                        <a:pt x="228" y="123"/>
                      </a:lnTo>
                      <a:lnTo>
                        <a:pt x="230" y="122"/>
                      </a:lnTo>
                      <a:lnTo>
                        <a:pt x="232" y="122"/>
                      </a:lnTo>
                      <a:lnTo>
                        <a:pt x="234" y="120"/>
                      </a:lnTo>
                      <a:lnTo>
                        <a:pt x="234" y="118"/>
                      </a:lnTo>
                      <a:lnTo>
                        <a:pt x="235" y="117"/>
                      </a:lnTo>
                      <a:lnTo>
                        <a:pt x="235" y="113"/>
                      </a:lnTo>
                      <a:lnTo>
                        <a:pt x="237" y="112"/>
                      </a:lnTo>
                      <a:lnTo>
                        <a:pt x="237" y="110"/>
                      </a:lnTo>
                      <a:lnTo>
                        <a:pt x="237" y="109"/>
                      </a:lnTo>
                      <a:lnTo>
                        <a:pt x="237" y="107"/>
                      </a:lnTo>
                      <a:lnTo>
                        <a:pt x="237" y="105"/>
                      </a:lnTo>
                      <a:lnTo>
                        <a:pt x="239" y="104"/>
                      </a:lnTo>
                      <a:lnTo>
                        <a:pt x="240" y="104"/>
                      </a:lnTo>
                      <a:lnTo>
                        <a:pt x="240" y="102"/>
                      </a:lnTo>
                      <a:lnTo>
                        <a:pt x="242" y="102"/>
                      </a:lnTo>
                      <a:lnTo>
                        <a:pt x="242" y="100"/>
                      </a:lnTo>
                      <a:lnTo>
                        <a:pt x="244" y="100"/>
                      </a:lnTo>
                      <a:lnTo>
                        <a:pt x="244" y="99"/>
                      </a:lnTo>
                      <a:lnTo>
                        <a:pt x="244" y="97"/>
                      </a:lnTo>
                      <a:lnTo>
                        <a:pt x="245" y="97"/>
                      </a:lnTo>
                      <a:lnTo>
                        <a:pt x="247" y="97"/>
                      </a:lnTo>
                      <a:lnTo>
                        <a:pt x="247" y="95"/>
                      </a:lnTo>
                      <a:lnTo>
                        <a:pt x="245" y="94"/>
                      </a:lnTo>
                      <a:lnTo>
                        <a:pt x="245" y="92"/>
                      </a:lnTo>
                      <a:lnTo>
                        <a:pt x="247" y="90"/>
                      </a:lnTo>
                      <a:lnTo>
                        <a:pt x="249" y="89"/>
                      </a:lnTo>
                      <a:lnTo>
                        <a:pt x="250" y="87"/>
                      </a:lnTo>
                      <a:lnTo>
                        <a:pt x="250" y="86"/>
                      </a:lnTo>
                      <a:lnTo>
                        <a:pt x="252" y="86"/>
                      </a:lnTo>
                      <a:lnTo>
                        <a:pt x="252" y="84"/>
                      </a:lnTo>
                      <a:lnTo>
                        <a:pt x="252" y="82"/>
                      </a:lnTo>
                      <a:lnTo>
                        <a:pt x="252" y="81"/>
                      </a:lnTo>
                      <a:lnTo>
                        <a:pt x="254" y="81"/>
                      </a:lnTo>
                      <a:lnTo>
                        <a:pt x="254" y="79"/>
                      </a:lnTo>
                      <a:lnTo>
                        <a:pt x="254" y="77"/>
                      </a:lnTo>
                      <a:lnTo>
                        <a:pt x="254" y="76"/>
                      </a:lnTo>
                      <a:lnTo>
                        <a:pt x="252" y="76"/>
                      </a:lnTo>
                      <a:lnTo>
                        <a:pt x="252" y="74"/>
                      </a:lnTo>
                      <a:lnTo>
                        <a:pt x="252" y="72"/>
                      </a:lnTo>
                      <a:lnTo>
                        <a:pt x="252" y="71"/>
                      </a:lnTo>
                      <a:lnTo>
                        <a:pt x="252" y="69"/>
                      </a:lnTo>
                      <a:lnTo>
                        <a:pt x="254" y="67"/>
                      </a:lnTo>
                      <a:lnTo>
                        <a:pt x="252" y="66"/>
                      </a:lnTo>
                      <a:lnTo>
                        <a:pt x="252" y="64"/>
                      </a:lnTo>
                      <a:lnTo>
                        <a:pt x="252" y="63"/>
                      </a:lnTo>
                      <a:lnTo>
                        <a:pt x="250" y="63"/>
                      </a:lnTo>
                      <a:lnTo>
                        <a:pt x="252" y="63"/>
                      </a:lnTo>
                      <a:lnTo>
                        <a:pt x="252" y="61"/>
                      </a:lnTo>
                      <a:lnTo>
                        <a:pt x="254" y="61"/>
                      </a:lnTo>
                      <a:lnTo>
                        <a:pt x="255" y="61"/>
                      </a:lnTo>
                      <a:lnTo>
                        <a:pt x="255" y="59"/>
                      </a:lnTo>
                      <a:lnTo>
                        <a:pt x="254" y="59"/>
                      </a:lnTo>
                      <a:lnTo>
                        <a:pt x="254" y="58"/>
                      </a:lnTo>
                      <a:lnTo>
                        <a:pt x="254" y="56"/>
                      </a:lnTo>
                      <a:lnTo>
                        <a:pt x="255" y="56"/>
                      </a:lnTo>
                      <a:lnTo>
                        <a:pt x="255" y="58"/>
                      </a:lnTo>
                      <a:lnTo>
                        <a:pt x="257" y="58"/>
                      </a:lnTo>
                      <a:lnTo>
                        <a:pt x="257" y="56"/>
                      </a:lnTo>
                      <a:lnTo>
                        <a:pt x="257" y="54"/>
                      </a:lnTo>
                      <a:lnTo>
                        <a:pt x="259" y="54"/>
                      </a:lnTo>
                      <a:lnTo>
                        <a:pt x="259" y="51"/>
                      </a:lnTo>
                      <a:lnTo>
                        <a:pt x="261" y="49"/>
                      </a:lnTo>
                      <a:lnTo>
                        <a:pt x="261" y="48"/>
                      </a:lnTo>
                      <a:lnTo>
                        <a:pt x="261" y="46"/>
                      </a:lnTo>
                      <a:lnTo>
                        <a:pt x="262" y="46"/>
                      </a:lnTo>
                      <a:lnTo>
                        <a:pt x="262" y="44"/>
                      </a:lnTo>
                      <a:lnTo>
                        <a:pt x="261" y="44"/>
                      </a:lnTo>
                      <a:lnTo>
                        <a:pt x="261" y="43"/>
                      </a:lnTo>
                      <a:lnTo>
                        <a:pt x="262" y="43"/>
                      </a:lnTo>
                      <a:lnTo>
                        <a:pt x="262" y="41"/>
                      </a:lnTo>
                      <a:lnTo>
                        <a:pt x="262" y="40"/>
                      </a:lnTo>
                      <a:lnTo>
                        <a:pt x="264" y="40"/>
                      </a:lnTo>
                      <a:lnTo>
                        <a:pt x="262" y="38"/>
                      </a:lnTo>
                      <a:lnTo>
                        <a:pt x="262" y="36"/>
                      </a:lnTo>
                      <a:lnTo>
                        <a:pt x="264" y="36"/>
                      </a:lnTo>
                      <a:lnTo>
                        <a:pt x="264" y="35"/>
                      </a:lnTo>
                      <a:lnTo>
                        <a:pt x="266" y="35"/>
                      </a:lnTo>
                      <a:lnTo>
                        <a:pt x="264" y="33"/>
                      </a:lnTo>
                      <a:lnTo>
                        <a:pt x="264" y="35"/>
                      </a:lnTo>
                      <a:lnTo>
                        <a:pt x="264" y="33"/>
                      </a:lnTo>
                      <a:lnTo>
                        <a:pt x="266" y="33"/>
                      </a:lnTo>
                      <a:lnTo>
                        <a:pt x="266" y="31"/>
                      </a:lnTo>
                      <a:lnTo>
                        <a:pt x="264" y="30"/>
                      </a:lnTo>
                      <a:lnTo>
                        <a:pt x="266" y="30"/>
                      </a:lnTo>
                      <a:lnTo>
                        <a:pt x="266" y="28"/>
                      </a:lnTo>
                      <a:lnTo>
                        <a:pt x="267" y="28"/>
                      </a:lnTo>
                      <a:lnTo>
                        <a:pt x="269" y="28"/>
                      </a:lnTo>
                      <a:lnTo>
                        <a:pt x="267" y="28"/>
                      </a:lnTo>
                      <a:lnTo>
                        <a:pt x="267" y="26"/>
                      </a:lnTo>
                      <a:lnTo>
                        <a:pt x="269" y="26"/>
                      </a:lnTo>
                      <a:lnTo>
                        <a:pt x="267" y="26"/>
                      </a:lnTo>
                      <a:lnTo>
                        <a:pt x="267" y="25"/>
                      </a:lnTo>
                      <a:lnTo>
                        <a:pt x="269" y="25"/>
                      </a:lnTo>
                      <a:lnTo>
                        <a:pt x="267" y="25"/>
                      </a:lnTo>
                      <a:lnTo>
                        <a:pt x="269" y="23"/>
                      </a:lnTo>
                      <a:lnTo>
                        <a:pt x="269" y="25"/>
                      </a:lnTo>
                      <a:lnTo>
                        <a:pt x="271" y="25"/>
                      </a:lnTo>
                      <a:lnTo>
                        <a:pt x="269" y="23"/>
                      </a:lnTo>
                      <a:lnTo>
                        <a:pt x="269" y="22"/>
                      </a:lnTo>
                      <a:lnTo>
                        <a:pt x="271" y="22"/>
                      </a:lnTo>
                      <a:lnTo>
                        <a:pt x="272" y="22"/>
                      </a:lnTo>
                      <a:lnTo>
                        <a:pt x="272" y="20"/>
                      </a:lnTo>
                      <a:lnTo>
                        <a:pt x="271" y="20"/>
                      </a:lnTo>
                      <a:lnTo>
                        <a:pt x="272" y="18"/>
                      </a:lnTo>
                      <a:lnTo>
                        <a:pt x="274" y="18"/>
                      </a:lnTo>
                      <a:lnTo>
                        <a:pt x="274" y="17"/>
                      </a:lnTo>
                      <a:lnTo>
                        <a:pt x="274" y="15"/>
                      </a:lnTo>
                      <a:lnTo>
                        <a:pt x="276" y="15"/>
                      </a:lnTo>
                      <a:lnTo>
                        <a:pt x="274" y="15"/>
                      </a:lnTo>
                      <a:lnTo>
                        <a:pt x="276" y="15"/>
                      </a:lnTo>
                      <a:lnTo>
                        <a:pt x="276" y="13"/>
                      </a:lnTo>
                      <a:lnTo>
                        <a:pt x="277" y="13"/>
                      </a:lnTo>
                      <a:lnTo>
                        <a:pt x="277" y="12"/>
                      </a:lnTo>
                      <a:lnTo>
                        <a:pt x="279" y="12"/>
                      </a:lnTo>
                      <a:lnTo>
                        <a:pt x="279" y="13"/>
                      </a:lnTo>
                      <a:lnTo>
                        <a:pt x="279" y="12"/>
                      </a:lnTo>
                      <a:lnTo>
                        <a:pt x="279" y="10"/>
                      </a:lnTo>
                      <a:lnTo>
                        <a:pt x="281" y="10"/>
                      </a:lnTo>
                      <a:lnTo>
                        <a:pt x="283" y="10"/>
                      </a:lnTo>
                      <a:lnTo>
                        <a:pt x="283" y="8"/>
                      </a:lnTo>
                      <a:lnTo>
                        <a:pt x="284" y="8"/>
                      </a:lnTo>
                      <a:lnTo>
                        <a:pt x="286" y="7"/>
                      </a:lnTo>
                      <a:lnTo>
                        <a:pt x="288" y="7"/>
                      </a:lnTo>
                      <a:lnTo>
                        <a:pt x="288" y="5"/>
                      </a:lnTo>
                      <a:lnTo>
                        <a:pt x="289" y="7"/>
                      </a:lnTo>
                      <a:lnTo>
                        <a:pt x="289" y="5"/>
                      </a:lnTo>
                      <a:lnTo>
                        <a:pt x="291" y="5"/>
                      </a:lnTo>
                      <a:lnTo>
                        <a:pt x="293" y="3"/>
                      </a:lnTo>
                      <a:lnTo>
                        <a:pt x="291" y="3"/>
                      </a:lnTo>
                      <a:lnTo>
                        <a:pt x="291" y="2"/>
                      </a:lnTo>
                      <a:lnTo>
                        <a:pt x="291" y="3"/>
                      </a:lnTo>
                      <a:lnTo>
                        <a:pt x="293" y="3"/>
                      </a:lnTo>
                      <a:lnTo>
                        <a:pt x="293" y="2"/>
                      </a:lnTo>
                      <a:lnTo>
                        <a:pt x="294" y="2"/>
                      </a:lnTo>
                      <a:lnTo>
                        <a:pt x="296" y="0"/>
                      </a:lnTo>
                      <a:lnTo>
                        <a:pt x="294" y="2"/>
                      </a:lnTo>
                      <a:lnTo>
                        <a:pt x="294" y="3"/>
                      </a:lnTo>
                      <a:lnTo>
                        <a:pt x="294" y="5"/>
                      </a:lnTo>
                      <a:lnTo>
                        <a:pt x="293" y="5"/>
                      </a:lnTo>
                      <a:lnTo>
                        <a:pt x="293" y="7"/>
                      </a:lnTo>
                      <a:lnTo>
                        <a:pt x="291" y="7"/>
                      </a:lnTo>
                      <a:lnTo>
                        <a:pt x="289" y="7"/>
                      </a:lnTo>
                      <a:lnTo>
                        <a:pt x="289" y="8"/>
                      </a:lnTo>
                      <a:lnTo>
                        <a:pt x="289" y="10"/>
                      </a:lnTo>
                      <a:lnTo>
                        <a:pt x="289" y="12"/>
                      </a:lnTo>
                      <a:lnTo>
                        <a:pt x="288" y="12"/>
                      </a:lnTo>
                      <a:lnTo>
                        <a:pt x="288" y="13"/>
                      </a:lnTo>
                      <a:lnTo>
                        <a:pt x="288" y="15"/>
                      </a:lnTo>
                      <a:lnTo>
                        <a:pt x="289" y="15"/>
                      </a:lnTo>
                      <a:lnTo>
                        <a:pt x="289" y="17"/>
                      </a:lnTo>
                      <a:lnTo>
                        <a:pt x="289" y="15"/>
                      </a:lnTo>
                      <a:lnTo>
                        <a:pt x="291" y="15"/>
                      </a:lnTo>
                      <a:lnTo>
                        <a:pt x="291" y="17"/>
                      </a:lnTo>
                      <a:lnTo>
                        <a:pt x="289" y="17"/>
                      </a:lnTo>
                      <a:lnTo>
                        <a:pt x="289" y="18"/>
                      </a:lnTo>
                      <a:lnTo>
                        <a:pt x="288" y="18"/>
                      </a:lnTo>
                      <a:lnTo>
                        <a:pt x="286" y="18"/>
                      </a:lnTo>
                      <a:lnTo>
                        <a:pt x="286" y="20"/>
                      </a:lnTo>
                      <a:lnTo>
                        <a:pt x="286" y="22"/>
                      </a:lnTo>
                      <a:lnTo>
                        <a:pt x="288" y="22"/>
                      </a:lnTo>
                      <a:lnTo>
                        <a:pt x="286" y="22"/>
                      </a:lnTo>
                      <a:lnTo>
                        <a:pt x="286" y="23"/>
                      </a:lnTo>
                      <a:lnTo>
                        <a:pt x="286" y="22"/>
                      </a:lnTo>
                      <a:lnTo>
                        <a:pt x="284" y="22"/>
                      </a:lnTo>
                      <a:lnTo>
                        <a:pt x="284" y="23"/>
                      </a:lnTo>
                      <a:lnTo>
                        <a:pt x="284" y="25"/>
                      </a:lnTo>
                      <a:lnTo>
                        <a:pt x="284" y="26"/>
                      </a:lnTo>
                      <a:lnTo>
                        <a:pt x="284" y="28"/>
                      </a:lnTo>
                      <a:lnTo>
                        <a:pt x="283" y="28"/>
                      </a:lnTo>
                      <a:lnTo>
                        <a:pt x="283" y="26"/>
                      </a:lnTo>
                      <a:lnTo>
                        <a:pt x="283" y="28"/>
                      </a:lnTo>
                      <a:lnTo>
                        <a:pt x="281" y="28"/>
                      </a:lnTo>
                      <a:lnTo>
                        <a:pt x="281" y="26"/>
                      </a:lnTo>
                      <a:lnTo>
                        <a:pt x="281" y="28"/>
                      </a:lnTo>
                      <a:lnTo>
                        <a:pt x="281" y="30"/>
                      </a:lnTo>
                      <a:lnTo>
                        <a:pt x="283" y="30"/>
                      </a:lnTo>
                      <a:lnTo>
                        <a:pt x="283" y="31"/>
                      </a:lnTo>
                      <a:lnTo>
                        <a:pt x="283" y="33"/>
                      </a:lnTo>
                      <a:lnTo>
                        <a:pt x="281" y="33"/>
                      </a:lnTo>
                      <a:lnTo>
                        <a:pt x="281" y="35"/>
                      </a:lnTo>
                      <a:lnTo>
                        <a:pt x="281" y="36"/>
                      </a:lnTo>
                      <a:lnTo>
                        <a:pt x="279" y="38"/>
                      </a:lnTo>
                      <a:lnTo>
                        <a:pt x="281" y="38"/>
                      </a:lnTo>
                      <a:lnTo>
                        <a:pt x="281" y="40"/>
                      </a:lnTo>
                      <a:lnTo>
                        <a:pt x="281" y="41"/>
                      </a:lnTo>
                      <a:lnTo>
                        <a:pt x="283" y="41"/>
                      </a:lnTo>
                      <a:lnTo>
                        <a:pt x="283" y="43"/>
                      </a:lnTo>
                      <a:lnTo>
                        <a:pt x="283" y="41"/>
                      </a:lnTo>
                      <a:lnTo>
                        <a:pt x="283" y="43"/>
                      </a:lnTo>
                      <a:lnTo>
                        <a:pt x="284" y="41"/>
                      </a:lnTo>
                      <a:lnTo>
                        <a:pt x="284" y="43"/>
                      </a:lnTo>
                      <a:lnTo>
                        <a:pt x="286" y="43"/>
                      </a:lnTo>
                      <a:lnTo>
                        <a:pt x="288" y="43"/>
                      </a:lnTo>
                      <a:lnTo>
                        <a:pt x="288" y="44"/>
                      </a:lnTo>
                      <a:lnTo>
                        <a:pt x="289" y="44"/>
                      </a:lnTo>
                      <a:lnTo>
                        <a:pt x="289" y="46"/>
                      </a:lnTo>
                      <a:lnTo>
                        <a:pt x="289" y="44"/>
                      </a:lnTo>
                      <a:lnTo>
                        <a:pt x="289" y="46"/>
                      </a:lnTo>
                      <a:lnTo>
                        <a:pt x="291" y="46"/>
                      </a:lnTo>
                      <a:lnTo>
                        <a:pt x="293" y="48"/>
                      </a:lnTo>
                      <a:lnTo>
                        <a:pt x="293" y="46"/>
                      </a:lnTo>
                      <a:lnTo>
                        <a:pt x="293" y="48"/>
                      </a:lnTo>
                      <a:lnTo>
                        <a:pt x="293" y="46"/>
                      </a:lnTo>
                      <a:lnTo>
                        <a:pt x="294" y="46"/>
                      </a:lnTo>
                      <a:lnTo>
                        <a:pt x="294" y="48"/>
                      </a:lnTo>
                      <a:lnTo>
                        <a:pt x="296" y="48"/>
                      </a:lnTo>
                      <a:lnTo>
                        <a:pt x="298" y="48"/>
                      </a:lnTo>
                      <a:lnTo>
                        <a:pt x="299" y="48"/>
                      </a:lnTo>
                      <a:lnTo>
                        <a:pt x="301" y="48"/>
                      </a:lnTo>
                      <a:lnTo>
                        <a:pt x="303" y="48"/>
                      </a:lnTo>
                      <a:lnTo>
                        <a:pt x="303" y="49"/>
                      </a:lnTo>
                      <a:lnTo>
                        <a:pt x="304" y="49"/>
                      </a:lnTo>
                      <a:lnTo>
                        <a:pt x="304" y="51"/>
                      </a:lnTo>
                      <a:lnTo>
                        <a:pt x="306" y="51"/>
                      </a:lnTo>
                      <a:lnTo>
                        <a:pt x="308" y="49"/>
                      </a:lnTo>
                      <a:lnTo>
                        <a:pt x="308" y="51"/>
                      </a:lnTo>
                      <a:lnTo>
                        <a:pt x="310" y="51"/>
                      </a:lnTo>
                      <a:lnTo>
                        <a:pt x="311" y="51"/>
                      </a:lnTo>
                      <a:lnTo>
                        <a:pt x="313" y="53"/>
                      </a:lnTo>
                      <a:lnTo>
                        <a:pt x="315" y="53"/>
                      </a:lnTo>
                      <a:lnTo>
                        <a:pt x="316" y="53"/>
                      </a:lnTo>
                      <a:lnTo>
                        <a:pt x="318" y="53"/>
                      </a:lnTo>
                      <a:lnTo>
                        <a:pt x="318" y="54"/>
                      </a:lnTo>
                      <a:lnTo>
                        <a:pt x="357" y="76"/>
                      </a:lnTo>
                      <a:lnTo>
                        <a:pt x="369" y="82"/>
                      </a:lnTo>
                      <a:lnTo>
                        <a:pt x="370" y="81"/>
                      </a:lnTo>
                      <a:lnTo>
                        <a:pt x="372" y="81"/>
                      </a:lnTo>
                      <a:lnTo>
                        <a:pt x="372" y="79"/>
                      </a:lnTo>
                      <a:lnTo>
                        <a:pt x="372" y="77"/>
                      </a:lnTo>
                      <a:lnTo>
                        <a:pt x="370" y="76"/>
                      </a:lnTo>
                      <a:lnTo>
                        <a:pt x="372" y="76"/>
                      </a:lnTo>
                      <a:lnTo>
                        <a:pt x="370" y="74"/>
                      </a:lnTo>
                      <a:lnTo>
                        <a:pt x="372" y="74"/>
                      </a:lnTo>
                      <a:lnTo>
                        <a:pt x="372" y="72"/>
                      </a:lnTo>
                      <a:lnTo>
                        <a:pt x="370" y="72"/>
                      </a:lnTo>
                      <a:lnTo>
                        <a:pt x="370" y="71"/>
                      </a:lnTo>
                      <a:lnTo>
                        <a:pt x="370" y="69"/>
                      </a:lnTo>
                      <a:lnTo>
                        <a:pt x="372" y="69"/>
                      </a:lnTo>
                      <a:lnTo>
                        <a:pt x="372" y="67"/>
                      </a:lnTo>
                      <a:lnTo>
                        <a:pt x="370" y="67"/>
                      </a:lnTo>
                      <a:lnTo>
                        <a:pt x="370" y="66"/>
                      </a:lnTo>
                      <a:lnTo>
                        <a:pt x="370" y="64"/>
                      </a:lnTo>
                      <a:lnTo>
                        <a:pt x="372" y="64"/>
                      </a:lnTo>
                      <a:lnTo>
                        <a:pt x="372" y="63"/>
                      </a:lnTo>
                      <a:lnTo>
                        <a:pt x="374" y="63"/>
                      </a:lnTo>
                      <a:lnTo>
                        <a:pt x="374" y="61"/>
                      </a:lnTo>
                      <a:lnTo>
                        <a:pt x="374" y="59"/>
                      </a:lnTo>
                      <a:lnTo>
                        <a:pt x="375" y="59"/>
                      </a:lnTo>
                      <a:lnTo>
                        <a:pt x="375" y="58"/>
                      </a:lnTo>
                      <a:lnTo>
                        <a:pt x="377" y="58"/>
                      </a:lnTo>
                      <a:lnTo>
                        <a:pt x="377" y="56"/>
                      </a:lnTo>
                      <a:lnTo>
                        <a:pt x="377" y="54"/>
                      </a:lnTo>
                      <a:lnTo>
                        <a:pt x="379" y="53"/>
                      </a:lnTo>
                      <a:lnTo>
                        <a:pt x="379" y="51"/>
                      </a:lnTo>
                      <a:lnTo>
                        <a:pt x="380" y="51"/>
                      </a:lnTo>
                      <a:lnTo>
                        <a:pt x="380" y="49"/>
                      </a:lnTo>
                      <a:lnTo>
                        <a:pt x="380" y="48"/>
                      </a:lnTo>
                      <a:lnTo>
                        <a:pt x="382" y="46"/>
                      </a:lnTo>
                      <a:lnTo>
                        <a:pt x="382" y="44"/>
                      </a:lnTo>
                      <a:lnTo>
                        <a:pt x="384" y="46"/>
                      </a:lnTo>
                      <a:lnTo>
                        <a:pt x="384" y="44"/>
                      </a:lnTo>
                      <a:lnTo>
                        <a:pt x="386" y="44"/>
                      </a:lnTo>
                      <a:lnTo>
                        <a:pt x="386" y="43"/>
                      </a:lnTo>
                      <a:lnTo>
                        <a:pt x="387" y="43"/>
                      </a:lnTo>
                      <a:lnTo>
                        <a:pt x="389" y="41"/>
                      </a:lnTo>
                      <a:lnTo>
                        <a:pt x="389" y="40"/>
                      </a:lnTo>
                      <a:lnTo>
                        <a:pt x="391" y="40"/>
                      </a:lnTo>
                      <a:lnTo>
                        <a:pt x="391" y="38"/>
                      </a:lnTo>
                      <a:lnTo>
                        <a:pt x="392" y="38"/>
                      </a:lnTo>
                      <a:lnTo>
                        <a:pt x="394" y="41"/>
                      </a:lnTo>
                      <a:lnTo>
                        <a:pt x="396" y="41"/>
                      </a:lnTo>
                      <a:lnTo>
                        <a:pt x="396" y="43"/>
                      </a:lnTo>
                      <a:lnTo>
                        <a:pt x="397" y="43"/>
                      </a:lnTo>
                      <a:lnTo>
                        <a:pt x="397" y="44"/>
                      </a:lnTo>
                      <a:lnTo>
                        <a:pt x="396" y="44"/>
                      </a:lnTo>
                      <a:lnTo>
                        <a:pt x="396" y="46"/>
                      </a:lnTo>
                      <a:lnTo>
                        <a:pt x="396" y="48"/>
                      </a:lnTo>
                      <a:lnTo>
                        <a:pt x="397" y="48"/>
                      </a:lnTo>
                      <a:lnTo>
                        <a:pt x="399" y="48"/>
                      </a:lnTo>
                      <a:lnTo>
                        <a:pt x="399" y="49"/>
                      </a:lnTo>
                      <a:lnTo>
                        <a:pt x="399" y="48"/>
                      </a:lnTo>
                      <a:lnTo>
                        <a:pt x="401" y="48"/>
                      </a:lnTo>
                      <a:lnTo>
                        <a:pt x="402" y="48"/>
                      </a:lnTo>
                      <a:lnTo>
                        <a:pt x="402" y="49"/>
                      </a:lnTo>
                      <a:lnTo>
                        <a:pt x="404" y="49"/>
                      </a:lnTo>
                      <a:lnTo>
                        <a:pt x="404" y="51"/>
                      </a:lnTo>
                      <a:lnTo>
                        <a:pt x="406" y="51"/>
                      </a:lnTo>
                      <a:lnTo>
                        <a:pt x="406" y="53"/>
                      </a:lnTo>
                      <a:lnTo>
                        <a:pt x="416" y="40"/>
                      </a:lnTo>
                      <a:lnTo>
                        <a:pt x="416" y="38"/>
                      </a:lnTo>
                      <a:lnTo>
                        <a:pt x="416" y="40"/>
                      </a:lnTo>
                      <a:lnTo>
                        <a:pt x="418" y="40"/>
                      </a:lnTo>
                      <a:lnTo>
                        <a:pt x="418" y="38"/>
                      </a:lnTo>
                      <a:lnTo>
                        <a:pt x="418" y="40"/>
                      </a:lnTo>
                      <a:lnTo>
                        <a:pt x="418" y="38"/>
                      </a:lnTo>
                      <a:lnTo>
                        <a:pt x="418" y="40"/>
                      </a:lnTo>
                      <a:lnTo>
                        <a:pt x="419" y="40"/>
                      </a:lnTo>
                      <a:lnTo>
                        <a:pt x="419" y="41"/>
                      </a:lnTo>
                      <a:lnTo>
                        <a:pt x="419" y="43"/>
                      </a:lnTo>
                      <a:lnTo>
                        <a:pt x="421" y="43"/>
                      </a:lnTo>
                      <a:lnTo>
                        <a:pt x="423" y="43"/>
                      </a:lnTo>
                      <a:lnTo>
                        <a:pt x="423" y="44"/>
                      </a:lnTo>
                      <a:lnTo>
                        <a:pt x="421" y="44"/>
                      </a:lnTo>
                      <a:lnTo>
                        <a:pt x="423" y="44"/>
                      </a:lnTo>
                      <a:lnTo>
                        <a:pt x="423" y="46"/>
                      </a:lnTo>
                      <a:lnTo>
                        <a:pt x="423" y="44"/>
                      </a:lnTo>
                      <a:lnTo>
                        <a:pt x="424" y="46"/>
                      </a:lnTo>
                      <a:lnTo>
                        <a:pt x="426" y="46"/>
                      </a:lnTo>
                      <a:lnTo>
                        <a:pt x="426" y="48"/>
                      </a:lnTo>
                      <a:lnTo>
                        <a:pt x="428" y="48"/>
                      </a:lnTo>
                      <a:lnTo>
                        <a:pt x="428" y="49"/>
                      </a:lnTo>
                      <a:lnTo>
                        <a:pt x="429" y="49"/>
                      </a:lnTo>
                      <a:lnTo>
                        <a:pt x="429" y="51"/>
                      </a:lnTo>
                      <a:lnTo>
                        <a:pt x="429" y="53"/>
                      </a:lnTo>
                      <a:lnTo>
                        <a:pt x="429" y="54"/>
                      </a:lnTo>
                      <a:lnTo>
                        <a:pt x="429" y="56"/>
                      </a:lnTo>
                      <a:lnTo>
                        <a:pt x="431" y="56"/>
                      </a:lnTo>
                      <a:lnTo>
                        <a:pt x="431" y="58"/>
                      </a:lnTo>
                      <a:lnTo>
                        <a:pt x="431" y="56"/>
                      </a:lnTo>
                      <a:lnTo>
                        <a:pt x="431" y="58"/>
                      </a:lnTo>
                      <a:lnTo>
                        <a:pt x="433" y="56"/>
                      </a:lnTo>
                      <a:lnTo>
                        <a:pt x="433" y="58"/>
                      </a:lnTo>
                      <a:lnTo>
                        <a:pt x="435" y="58"/>
                      </a:lnTo>
                      <a:lnTo>
                        <a:pt x="435" y="56"/>
                      </a:lnTo>
                      <a:lnTo>
                        <a:pt x="436" y="56"/>
                      </a:lnTo>
                      <a:lnTo>
                        <a:pt x="436" y="58"/>
                      </a:lnTo>
                      <a:lnTo>
                        <a:pt x="436" y="56"/>
                      </a:lnTo>
                      <a:lnTo>
                        <a:pt x="436" y="58"/>
                      </a:lnTo>
                      <a:lnTo>
                        <a:pt x="438" y="58"/>
                      </a:lnTo>
                      <a:lnTo>
                        <a:pt x="438" y="59"/>
                      </a:lnTo>
                      <a:lnTo>
                        <a:pt x="438" y="61"/>
                      </a:lnTo>
                      <a:lnTo>
                        <a:pt x="440" y="61"/>
                      </a:lnTo>
                      <a:lnTo>
                        <a:pt x="438" y="61"/>
                      </a:lnTo>
                      <a:lnTo>
                        <a:pt x="440" y="61"/>
                      </a:lnTo>
                      <a:lnTo>
                        <a:pt x="441" y="63"/>
                      </a:lnTo>
                      <a:lnTo>
                        <a:pt x="441" y="64"/>
                      </a:lnTo>
                      <a:lnTo>
                        <a:pt x="443" y="64"/>
                      </a:lnTo>
                      <a:lnTo>
                        <a:pt x="441" y="64"/>
                      </a:lnTo>
                      <a:lnTo>
                        <a:pt x="443" y="64"/>
                      </a:lnTo>
                      <a:lnTo>
                        <a:pt x="443" y="66"/>
                      </a:lnTo>
                      <a:lnTo>
                        <a:pt x="443" y="67"/>
                      </a:lnTo>
                      <a:lnTo>
                        <a:pt x="445" y="67"/>
                      </a:lnTo>
                      <a:lnTo>
                        <a:pt x="445" y="69"/>
                      </a:lnTo>
                      <a:lnTo>
                        <a:pt x="443" y="69"/>
                      </a:lnTo>
                      <a:lnTo>
                        <a:pt x="443" y="71"/>
                      </a:lnTo>
                      <a:lnTo>
                        <a:pt x="443" y="72"/>
                      </a:lnTo>
                      <a:lnTo>
                        <a:pt x="445" y="72"/>
                      </a:lnTo>
                      <a:lnTo>
                        <a:pt x="443" y="72"/>
                      </a:lnTo>
                      <a:lnTo>
                        <a:pt x="443" y="74"/>
                      </a:lnTo>
                      <a:lnTo>
                        <a:pt x="445" y="74"/>
                      </a:lnTo>
                      <a:lnTo>
                        <a:pt x="443" y="76"/>
                      </a:lnTo>
                      <a:lnTo>
                        <a:pt x="445" y="76"/>
                      </a:lnTo>
                      <a:lnTo>
                        <a:pt x="443" y="76"/>
                      </a:lnTo>
                      <a:lnTo>
                        <a:pt x="443" y="77"/>
                      </a:lnTo>
                      <a:lnTo>
                        <a:pt x="443" y="79"/>
                      </a:lnTo>
                      <a:lnTo>
                        <a:pt x="441" y="79"/>
                      </a:lnTo>
                      <a:lnTo>
                        <a:pt x="443" y="79"/>
                      </a:lnTo>
                      <a:lnTo>
                        <a:pt x="443" y="81"/>
                      </a:lnTo>
                      <a:lnTo>
                        <a:pt x="443" y="82"/>
                      </a:lnTo>
                      <a:lnTo>
                        <a:pt x="441" y="84"/>
                      </a:lnTo>
                      <a:lnTo>
                        <a:pt x="443" y="84"/>
                      </a:lnTo>
                      <a:lnTo>
                        <a:pt x="443" y="86"/>
                      </a:lnTo>
                      <a:lnTo>
                        <a:pt x="445" y="86"/>
                      </a:lnTo>
                      <a:lnTo>
                        <a:pt x="446" y="84"/>
                      </a:lnTo>
                      <a:lnTo>
                        <a:pt x="446" y="82"/>
                      </a:lnTo>
                      <a:lnTo>
                        <a:pt x="446" y="81"/>
                      </a:lnTo>
                      <a:lnTo>
                        <a:pt x="446" y="79"/>
                      </a:lnTo>
                      <a:lnTo>
                        <a:pt x="446" y="77"/>
                      </a:lnTo>
                      <a:lnTo>
                        <a:pt x="446" y="76"/>
                      </a:lnTo>
                      <a:lnTo>
                        <a:pt x="446" y="74"/>
                      </a:lnTo>
                      <a:lnTo>
                        <a:pt x="448" y="74"/>
                      </a:lnTo>
                      <a:lnTo>
                        <a:pt x="450" y="72"/>
                      </a:lnTo>
                      <a:lnTo>
                        <a:pt x="450" y="71"/>
                      </a:lnTo>
                      <a:lnTo>
                        <a:pt x="450" y="69"/>
                      </a:lnTo>
                      <a:lnTo>
                        <a:pt x="451" y="69"/>
                      </a:lnTo>
                      <a:lnTo>
                        <a:pt x="453" y="69"/>
                      </a:lnTo>
                      <a:lnTo>
                        <a:pt x="455" y="69"/>
                      </a:lnTo>
                      <a:lnTo>
                        <a:pt x="455" y="71"/>
                      </a:lnTo>
                      <a:lnTo>
                        <a:pt x="455" y="72"/>
                      </a:lnTo>
                      <a:lnTo>
                        <a:pt x="453" y="72"/>
                      </a:lnTo>
                      <a:lnTo>
                        <a:pt x="453" y="74"/>
                      </a:lnTo>
                      <a:lnTo>
                        <a:pt x="453" y="76"/>
                      </a:lnTo>
                      <a:lnTo>
                        <a:pt x="455" y="76"/>
                      </a:lnTo>
                      <a:lnTo>
                        <a:pt x="453" y="76"/>
                      </a:lnTo>
                      <a:lnTo>
                        <a:pt x="455" y="76"/>
                      </a:lnTo>
                      <a:lnTo>
                        <a:pt x="453" y="76"/>
                      </a:lnTo>
                      <a:lnTo>
                        <a:pt x="453" y="77"/>
                      </a:lnTo>
                      <a:lnTo>
                        <a:pt x="455" y="77"/>
                      </a:lnTo>
                      <a:lnTo>
                        <a:pt x="453" y="77"/>
                      </a:lnTo>
                      <a:lnTo>
                        <a:pt x="453" y="79"/>
                      </a:lnTo>
                      <a:lnTo>
                        <a:pt x="455" y="79"/>
                      </a:lnTo>
                      <a:lnTo>
                        <a:pt x="455" y="81"/>
                      </a:lnTo>
                      <a:lnTo>
                        <a:pt x="455" y="82"/>
                      </a:lnTo>
                      <a:lnTo>
                        <a:pt x="456" y="82"/>
                      </a:lnTo>
                      <a:lnTo>
                        <a:pt x="456" y="84"/>
                      </a:lnTo>
                      <a:lnTo>
                        <a:pt x="458" y="84"/>
                      </a:lnTo>
                      <a:lnTo>
                        <a:pt x="458" y="82"/>
                      </a:lnTo>
                      <a:lnTo>
                        <a:pt x="460" y="82"/>
                      </a:lnTo>
                      <a:lnTo>
                        <a:pt x="460" y="81"/>
                      </a:lnTo>
                      <a:lnTo>
                        <a:pt x="462" y="81"/>
                      </a:lnTo>
                      <a:lnTo>
                        <a:pt x="462" y="82"/>
                      </a:lnTo>
                      <a:lnTo>
                        <a:pt x="462" y="81"/>
                      </a:lnTo>
                      <a:lnTo>
                        <a:pt x="463" y="81"/>
                      </a:lnTo>
                      <a:lnTo>
                        <a:pt x="463" y="79"/>
                      </a:lnTo>
                      <a:lnTo>
                        <a:pt x="465" y="79"/>
                      </a:lnTo>
                      <a:lnTo>
                        <a:pt x="467" y="79"/>
                      </a:lnTo>
                      <a:lnTo>
                        <a:pt x="465" y="79"/>
                      </a:lnTo>
                      <a:lnTo>
                        <a:pt x="467" y="79"/>
                      </a:lnTo>
                      <a:lnTo>
                        <a:pt x="467" y="77"/>
                      </a:lnTo>
                      <a:lnTo>
                        <a:pt x="468" y="77"/>
                      </a:lnTo>
                      <a:lnTo>
                        <a:pt x="468" y="79"/>
                      </a:lnTo>
                      <a:lnTo>
                        <a:pt x="470" y="79"/>
                      </a:lnTo>
                      <a:lnTo>
                        <a:pt x="470" y="77"/>
                      </a:lnTo>
                      <a:lnTo>
                        <a:pt x="472" y="77"/>
                      </a:lnTo>
                      <a:lnTo>
                        <a:pt x="472" y="76"/>
                      </a:lnTo>
                      <a:lnTo>
                        <a:pt x="472" y="77"/>
                      </a:lnTo>
                      <a:lnTo>
                        <a:pt x="472" y="76"/>
                      </a:lnTo>
                      <a:lnTo>
                        <a:pt x="473" y="76"/>
                      </a:lnTo>
                      <a:lnTo>
                        <a:pt x="472" y="76"/>
                      </a:lnTo>
                      <a:lnTo>
                        <a:pt x="473" y="76"/>
                      </a:lnTo>
                      <a:lnTo>
                        <a:pt x="473" y="74"/>
                      </a:lnTo>
                      <a:lnTo>
                        <a:pt x="473" y="76"/>
                      </a:lnTo>
                      <a:lnTo>
                        <a:pt x="475" y="74"/>
                      </a:lnTo>
                      <a:lnTo>
                        <a:pt x="477" y="74"/>
                      </a:lnTo>
                      <a:lnTo>
                        <a:pt x="477" y="72"/>
                      </a:lnTo>
                      <a:lnTo>
                        <a:pt x="478" y="72"/>
                      </a:lnTo>
                      <a:lnTo>
                        <a:pt x="480" y="72"/>
                      </a:lnTo>
                      <a:lnTo>
                        <a:pt x="480" y="71"/>
                      </a:lnTo>
                      <a:lnTo>
                        <a:pt x="482" y="71"/>
                      </a:lnTo>
                      <a:lnTo>
                        <a:pt x="480" y="71"/>
                      </a:lnTo>
                      <a:lnTo>
                        <a:pt x="482" y="71"/>
                      </a:lnTo>
                      <a:lnTo>
                        <a:pt x="483" y="71"/>
                      </a:lnTo>
                      <a:lnTo>
                        <a:pt x="485" y="71"/>
                      </a:lnTo>
                      <a:lnTo>
                        <a:pt x="483" y="72"/>
                      </a:lnTo>
                      <a:lnTo>
                        <a:pt x="483" y="74"/>
                      </a:lnTo>
                      <a:lnTo>
                        <a:pt x="483" y="76"/>
                      </a:lnTo>
                      <a:lnTo>
                        <a:pt x="483" y="77"/>
                      </a:lnTo>
                      <a:lnTo>
                        <a:pt x="483" y="79"/>
                      </a:lnTo>
                      <a:lnTo>
                        <a:pt x="483" y="81"/>
                      </a:lnTo>
                      <a:lnTo>
                        <a:pt x="483" y="82"/>
                      </a:lnTo>
                      <a:lnTo>
                        <a:pt x="483" y="84"/>
                      </a:lnTo>
                      <a:lnTo>
                        <a:pt x="483" y="86"/>
                      </a:lnTo>
                      <a:lnTo>
                        <a:pt x="483" y="84"/>
                      </a:lnTo>
                      <a:lnTo>
                        <a:pt x="483" y="86"/>
                      </a:lnTo>
                      <a:lnTo>
                        <a:pt x="483" y="84"/>
                      </a:lnTo>
                      <a:lnTo>
                        <a:pt x="485" y="86"/>
                      </a:lnTo>
                      <a:lnTo>
                        <a:pt x="485" y="84"/>
                      </a:lnTo>
                      <a:lnTo>
                        <a:pt x="487" y="84"/>
                      </a:lnTo>
                      <a:lnTo>
                        <a:pt x="489" y="84"/>
                      </a:lnTo>
                      <a:lnTo>
                        <a:pt x="490" y="84"/>
                      </a:lnTo>
                      <a:lnTo>
                        <a:pt x="490" y="82"/>
                      </a:lnTo>
                      <a:lnTo>
                        <a:pt x="490" y="84"/>
                      </a:lnTo>
                      <a:lnTo>
                        <a:pt x="490" y="82"/>
                      </a:lnTo>
                      <a:lnTo>
                        <a:pt x="490" y="84"/>
                      </a:lnTo>
                      <a:lnTo>
                        <a:pt x="490" y="82"/>
                      </a:lnTo>
                      <a:lnTo>
                        <a:pt x="492" y="82"/>
                      </a:lnTo>
                      <a:lnTo>
                        <a:pt x="492" y="81"/>
                      </a:lnTo>
                      <a:lnTo>
                        <a:pt x="492" y="79"/>
                      </a:lnTo>
                      <a:lnTo>
                        <a:pt x="494" y="79"/>
                      </a:lnTo>
                      <a:lnTo>
                        <a:pt x="494" y="81"/>
                      </a:lnTo>
                      <a:lnTo>
                        <a:pt x="495" y="81"/>
                      </a:lnTo>
                      <a:lnTo>
                        <a:pt x="495" y="82"/>
                      </a:lnTo>
                      <a:lnTo>
                        <a:pt x="497" y="82"/>
                      </a:lnTo>
                      <a:lnTo>
                        <a:pt x="499" y="82"/>
                      </a:lnTo>
                      <a:lnTo>
                        <a:pt x="500" y="82"/>
                      </a:lnTo>
                      <a:lnTo>
                        <a:pt x="500" y="84"/>
                      </a:lnTo>
                      <a:lnTo>
                        <a:pt x="502" y="84"/>
                      </a:lnTo>
                      <a:lnTo>
                        <a:pt x="502" y="86"/>
                      </a:lnTo>
                      <a:lnTo>
                        <a:pt x="504" y="86"/>
                      </a:lnTo>
                      <a:lnTo>
                        <a:pt x="504" y="84"/>
                      </a:lnTo>
                      <a:lnTo>
                        <a:pt x="505" y="84"/>
                      </a:lnTo>
                      <a:lnTo>
                        <a:pt x="504" y="84"/>
                      </a:lnTo>
                      <a:lnTo>
                        <a:pt x="505" y="84"/>
                      </a:lnTo>
                      <a:lnTo>
                        <a:pt x="507" y="84"/>
                      </a:lnTo>
                      <a:lnTo>
                        <a:pt x="509" y="84"/>
                      </a:lnTo>
                      <a:lnTo>
                        <a:pt x="507" y="86"/>
                      </a:lnTo>
                      <a:lnTo>
                        <a:pt x="509" y="86"/>
                      </a:lnTo>
                      <a:lnTo>
                        <a:pt x="511" y="86"/>
                      </a:lnTo>
                      <a:lnTo>
                        <a:pt x="512" y="86"/>
                      </a:lnTo>
                      <a:lnTo>
                        <a:pt x="514" y="86"/>
                      </a:lnTo>
                      <a:lnTo>
                        <a:pt x="516" y="86"/>
                      </a:lnTo>
                      <a:lnTo>
                        <a:pt x="517" y="86"/>
                      </a:lnTo>
                      <a:lnTo>
                        <a:pt x="517" y="87"/>
                      </a:lnTo>
                      <a:lnTo>
                        <a:pt x="529" y="100"/>
                      </a:lnTo>
                      <a:lnTo>
                        <a:pt x="529" y="99"/>
                      </a:lnTo>
                      <a:lnTo>
                        <a:pt x="531" y="97"/>
                      </a:lnTo>
                      <a:lnTo>
                        <a:pt x="531" y="95"/>
                      </a:lnTo>
                      <a:lnTo>
                        <a:pt x="532" y="94"/>
                      </a:lnTo>
                      <a:lnTo>
                        <a:pt x="532" y="92"/>
                      </a:lnTo>
                      <a:lnTo>
                        <a:pt x="534" y="92"/>
                      </a:lnTo>
                      <a:lnTo>
                        <a:pt x="534" y="90"/>
                      </a:lnTo>
                      <a:lnTo>
                        <a:pt x="532" y="90"/>
                      </a:lnTo>
                      <a:lnTo>
                        <a:pt x="532" y="89"/>
                      </a:lnTo>
                      <a:lnTo>
                        <a:pt x="532" y="87"/>
                      </a:lnTo>
                      <a:lnTo>
                        <a:pt x="531" y="86"/>
                      </a:lnTo>
                      <a:lnTo>
                        <a:pt x="532" y="86"/>
                      </a:lnTo>
                      <a:lnTo>
                        <a:pt x="531" y="86"/>
                      </a:lnTo>
                      <a:lnTo>
                        <a:pt x="531" y="84"/>
                      </a:lnTo>
                      <a:lnTo>
                        <a:pt x="531" y="82"/>
                      </a:lnTo>
                      <a:lnTo>
                        <a:pt x="532" y="82"/>
                      </a:lnTo>
                      <a:lnTo>
                        <a:pt x="532" y="81"/>
                      </a:lnTo>
                      <a:lnTo>
                        <a:pt x="532" y="79"/>
                      </a:lnTo>
                      <a:lnTo>
                        <a:pt x="531" y="79"/>
                      </a:lnTo>
                      <a:lnTo>
                        <a:pt x="531" y="77"/>
                      </a:lnTo>
                      <a:lnTo>
                        <a:pt x="532" y="77"/>
                      </a:lnTo>
                      <a:lnTo>
                        <a:pt x="531" y="77"/>
                      </a:lnTo>
                      <a:lnTo>
                        <a:pt x="531" y="76"/>
                      </a:lnTo>
                      <a:lnTo>
                        <a:pt x="531" y="74"/>
                      </a:lnTo>
                      <a:lnTo>
                        <a:pt x="531" y="72"/>
                      </a:lnTo>
                      <a:lnTo>
                        <a:pt x="531" y="71"/>
                      </a:lnTo>
                      <a:lnTo>
                        <a:pt x="532" y="71"/>
                      </a:lnTo>
                      <a:lnTo>
                        <a:pt x="532" y="69"/>
                      </a:lnTo>
                      <a:lnTo>
                        <a:pt x="532" y="67"/>
                      </a:lnTo>
                      <a:lnTo>
                        <a:pt x="534" y="67"/>
                      </a:lnTo>
                      <a:lnTo>
                        <a:pt x="534" y="66"/>
                      </a:lnTo>
                      <a:lnTo>
                        <a:pt x="534" y="67"/>
                      </a:lnTo>
                      <a:lnTo>
                        <a:pt x="534" y="66"/>
                      </a:lnTo>
                      <a:lnTo>
                        <a:pt x="536" y="66"/>
                      </a:lnTo>
                      <a:lnTo>
                        <a:pt x="536" y="67"/>
                      </a:lnTo>
                      <a:lnTo>
                        <a:pt x="538" y="67"/>
                      </a:lnTo>
                      <a:lnTo>
                        <a:pt x="539" y="67"/>
                      </a:lnTo>
                      <a:lnTo>
                        <a:pt x="541" y="67"/>
                      </a:lnTo>
                      <a:lnTo>
                        <a:pt x="541" y="69"/>
                      </a:lnTo>
                      <a:lnTo>
                        <a:pt x="539" y="69"/>
                      </a:lnTo>
                      <a:lnTo>
                        <a:pt x="539" y="71"/>
                      </a:lnTo>
                      <a:lnTo>
                        <a:pt x="541" y="71"/>
                      </a:lnTo>
                      <a:lnTo>
                        <a:pt x="539" y="72"/>
                      </a:lnTo>
                      <a:lnTo>
                        <a:pt x="541" y="74"/>
                      </a:lnTo>
                      <a:lnTo>
                        <a:pt x="543" y="74"/>
                      </a:lnTo>
                      <a:lnTo>
                        <a:pt x="544" y="74"/>
                      </a:lnTo>
                      <a:lnTo>
                        <a:pt x="546" y="74"/>
                      </a:lnTo>
                      <a:lnTo>
                        <a:pt x="548" y="74"/>
                      </a:lnTo>
                      <a:lnTo>
                        <a:pt x="548" y="76"/>
                      </a:lnTo>
                      <a:lnTo>
                        <a:pt x="548" y="77"/>
                      </a:lnTo>
                      <a:lnTo>
                        <a:pt x="549" y="77"/>
                      </a:lnTo>
                      <a:lnTo>
                        <a:pt x="551" y="77"/>
                      </a:lnTo>
                      <a:lnTo>
                        <a:pt x="553" y="77"/>
                      </a:lnTo>
                      <a:lnTo>
                        <a:pt x="553" y="79"/>
                      </a:lnTo>
                      <a:lnTo>
                        <a:pt x="551" y="79"/>
                      </a:lnTo>
                      <a:lnTo>
                        <a:pt x="551" y="81"/>
                      </a:lnTo>
                      <a:lnTo>
                        <a:pt x="553" y="81"/>
                      </a:lnTo>
                      <a:lnTo>
                        <a:pt x="553" y="82"/>
                      </a:lnTo>
                      <a:lnTo>
                        <a:pt x="553" y="84"/>
                      </a:lnTo>
                      <a:lnTo>
                        <a:pt x="554" y="84"/>
                      </a:lnTo>
                      <a:lnTo>
                        <a:pt x="554" y="82"/>
                      </a:lnTo>
                      <a:lnTo>
                        <a:pt x="556" y="81"/>
                      </a:lnTo>
                      <a:lnTo>
                        <a:pt x="556" y="79"/>
                      </a:lnTo>
                      <a:lnTo>
                        <a:pt x="558" y="79"/>
                      </a:lnTo>
                      <a:lnTo>
                        <a:pt x="558" y="77"/>
                      </a:lnTo>
                      <a:lnTo>
                        <a:pt x="559" y="79"/>
                      </a:lnTo>
                      <a:lnTo>
                        <a:pt x="561" y="79"/>
                      </a:lnTo>
                      <a:lnTo>
                        <a:pt x="563" y="79"/>
                      </a:lnTo>
                      <a:lnTo>
                        <a:pt x="563" y="81"/>
                      </a:lnTo>
                      <a:lnTo>
                        <a:pt x="565" y="79"/>
                      </a:lnTo>
                      <a:lnTo>
                        <a:pt x="566" y="79"/>
                      </a:lnTo>
                      <a:lnTo>
                        <a:pt x="566" y="81"/>
                      </a:lnTo>
                      <a:lnTo>
                        <a:pt x="568" y="81"/>
                      </a:lnTo>
                      <a:lnTo>
                        <a:pt x="568" y="79"/>
                      </a:lnTo>
                      <a:lnTo>
                        <a:pt x="570" y="79"/>
                      </a:lnTo>
                      <a:lnTo>
                        <a:pt x="570" y="77"/>
                      </a:lnTo>
                      <a:lnTo>
                        <a:pt x="570" y="76"/>
                      </a:lnTo>
                      <a:lnTo>
                        <a:pt x="571" y="76"/>
                      </a:lnTo>
                      <a:lnTo>
                        <a:pt x="571" y="74"/>
                      </a:lnTo>
                      <a:lnTo>
                        <a:pt x="573" y="74"/>
                      </a:lnTo>
                      <a:lnTo>
                        <a:pt x="575" y="74"/>
                      </a:lnTo>
                      <a:lnTo>
                        <a:pt x="576" y="74"/>
                      </a:lnTo>
                      <a:lnTo>
                        <a:pt x="576" y="76"/>
                      </a:lnTo>
                      <a:lnTo>
                        <a:pt x="578" y="76"/>
                      </a:lnTo>
                      <a:lnTo>
                        <a:pt x="580" y="76"/>
                      </a:lnTo>
                      <a:lnTo>
                        <a:pt x="581" y="76"/>
                      </a:lnTo>
                      <a:lnTo>
                        <a:pt x="581" y="74"/>
                      </a:lnTo>
                      <a:lnTo>
                        <a:pt x="580" y="74"/>
                      </a:lnTo>
                      <a:lnTo>
                        <a:pt x="581" y="72"/>
                      </a:lnTo>
                      <a:lnTo>
                        <a:pt x="583" y="72"/>
                      </a:lnTo>
                      <a:lnTo>
                        <a:pt x="583" y="74"/>
                      </a:lnTo>
                      <a:lnTo>
                        <a:pt x="583" y="72"/>
                      </a:lnTo>
                      <a:lnTo>
                        <a:pt x="585" y="72"/>
                      </a:lnTo>
                      <a:lnTo>
                        <a:pt x="585" y="74"/>
                      </a:lnTo>
                      <a:lnTo>
                        <a:pt x="585" y="72"/>
                      </a:lnTo>
                      <a:lnTo>
                        <a:pt x="587" y="72"/>
                      </a:lnTo>
                      <a:lnTo>
                        <a:pt x="585" y="72"/>
                      </a:lnTo>
                      <a:lnTo>
                        <a:pt x="587" y="72"/>
                      </a:lnTo>
                      <a:lnTo>
                        <a:pt x="587" y="71"/>
                      </a:lnTo>
                      <a:lnTo>
                        <a:pt x="588" y="71"/>
                      </a:lnTo>
                      <a:lnTo>
                        <a:pt x="590" y="71"/>
                      </a:lnTo>
                      <a:lnTo>
                        <a:pt x="592" y="71"/>
                      </a:lnTo>
                      <a:lnTo>
                        <a:pt x="592" y="69"/>
                      </a:lnTo>
                      <a:lnTo>
                        <a:pt x="592" y="71"/>
                      </a:lnTo>
                      <a:lnTo>
                        <a:pt x="592" y="69"/>
                      </a:lnTo>
                      <a:lnTo>
                        <a:pt x="593" y="69"/>
                      </a:lnTo>
                      <a:lnTo>
                        <a:pt x="593" y="67"/>
                      </a:lnTo>
                      <a:lnTo>
                        <a:pt x="595" y="67"/>
                      </a:lnTo>
                      <a:lnTo>
                        <a:pt x="595" y="69"/>
                      </a:lnTo>
                      <a:lnTo>
                        <a:pt x="597" y="67"/>
                      </a:lnTo>
                      <a:lnTo>
                        <a:pt x="595" y="67"/>
                      </a:lnTo>
                      <a:lnTo>
                        <a:pt x="597" y="67"/>
                      </a:lnTo>
                      <a:lnTo>
                        <a:pt x="598" y="67"/>
                      </a:lnTo>
                      <a:lnTo>
                        <a:pt x="598" y="66"/>
                      </a:lnTo>
                      <a:lnTo>
                        <a:pt x="600" y="66"/>
                      </a:lnTo>
                      <a:lnTo>
                        <a:pt x="600" y="64"/>
                      </a:lnTo>
                      <a:lnTo>
                        <a:pt x="602" y="64"/>
                      </a:lnTo>
                      <a:lnTo>
                        <a:pt x="602" y="63"/>
                      </a:lnTo>
                      <a:lnTo>
                        <a:pt x="603" y="63"/>
                      </a:lnTo>
                      <a:lnTo>
                        <a:pt x="603" y="61"/>
                      </a:lnTo>
                      <a:lnTo>
                        <a:pt x="605" y="61"/>
                      </a:lnTo>
                      <a:lnTo>
                        <a:pt x="605" y="63"/>
                      </a:lnTo>
                      <a:lnTo>
                        <a:pt x="607" y="63"/>
                      </a:lnTo>
                      <a:lnTo>
                        <a:pt x="605" y="63"/>
                      </a:lnTo>
                      <a:lnTo>
                        <a:pt x="607" y="63"/>
                      </a:lnTo>
                      <a:lnTo>
                        <a:pt x="608" y="61"/>
                      </a:lnTo>
                      <a:lnTo>
                        <a:pt x="608" y="59"/>
                      </a:lnTo>
                      <a:lnTo>
                        <a:pt x="610" y="59"/>
                      </a:lnTo>
                      <a:lnTo>
                        <a:pt x="610" y="58"/>
                      </a:lnTo>
                      <a:lnTo>
                        <a:pt x="612" y="56"/>
                      </a:lnTo>
                      <a:lnTo>
                        <a:pt x="630" y="51"/>
                      </a:lnTo>
                      <a:lnTo>
                        <a:pt x="632" y="53"/>
                      </a:lnTo>
                      <a:lnTo>
                        <a:pt x="644" y="53"/>
                      </a:lnTo>
                      <a:lnTo>
                        <a:pt x="646" y="49"/>
                      </a:lnTo>
                      <a:lnTo>
                        <a:pt x="649" y="40"/>
                      </a:lnTo>
                      <a:lnTo>
                        <a:pt x="649" y="41"/>
                      </a:lnTo>
                      <a:lnTo>
                        <a:pt x="651" y="41"/>
                      </a:lnTo>
                      <a:lnTo>
                        <a:pt x="649" y="43"/>
                      </a:lnTo>
                      <a:lnTo>
                        <a:pt x="651" y="43"/>
                      </a:lnTo>
                      <a:lnTo>
                        <a:pt x="652" y="43"/>
                      </a:lnTo>
                      <a:lnTo>
                        <a:pt x="652" y="44"/>
                      </a:lnTo>
                      <a:lnTo>
                        <a:pt x="654" y="44"/>
                      </a:lnTo>
                      <a:lnTo>
                        <a:pt x="654" y="46"/>
                      </a:lnTo>
                      <a:lnTo>
                        <a:pt x="654" y="48"/>
                      </a:lnTo>
                      <a:lnTo>
                        <a:pt x="654" y="49"/>
                      </a:lnTo>
                      <a:lnTo>
                        <a:pt x="654" y="51"/>
                      </a:lnTo>
                      <a:lnTo>
                        <a:pt x="652" y="51"/>
                      </a:lnTo>
                      <a:lnTo>
                        <a:pt x="654" y="53"/>
                      </a:lnTo>
                      <a:lnTo>
                        <a:pt x="652" y="53"/>
                      </a:lnTo>
                      <a:lnTo>
                        <a:pt x="654" y="54"/>
                      </a:lnTo>
                      <a:lnTo>
                        <a:pt x="652" y="54"/>
                      </a:lnTo>
                      <a:lnTo>
                        <a:pt x="654" y="54"/>
                      </a:lnTo>
                      <a:lnTo>
                        <a:pt x="652" y="56"/>
                      </a:lnTo>
                      <a:lnTo>
                        <a:pt x="654" y="56"/>
                      </a:lnTo>
                      <a:lnTo>
                        <a:pt x="656" y="56"/>
                      </a:lnTo>
                      <a:lnTo>
                        <a:pt x="656" y="54"/>
                      </a:lnTo>
                      <a:lnTo>
                        <a:pt x="657" y="54"/>
                      </a:lnTo>
                      <a:lnTo>
                        <a:pt x="659" y="54"/>
                      </a:lnTo>
                      <a:lnTo>
                        <a:pt x="661" y="54"/>
                      </a:lnTo>
                      <a:lnTo>
                        <a:pt x="663" y="54"/>
                      </a:lnTo>
                      <a:lnTo>
                        <a:pt x="664" y="53"/>
                      </a:lnTo>
                      <a:lnTo>
                        <a:pt x="666" y="53"/>
                      </a:lnTo>
                      <a:lnTo>
                        <a:pt x="668" y="53"/>
                      </a:lnTo>
                      <a:lnTo>
                        <a:pt x="669" y="53"/>
                      </a:lnTo>
                      <a:lnTo>
                        <a:pt x="671" y="53"/>
                      </a:lnTo>
                      <a:lnTo>
                        <a:pt x="671" y="51"/>
                      </a:lnTo>
                      <a:lnTo>
                        <a:pt x="673" y="51"/>
                      </a:lnTo>
                      <a:lnTo>
                        <a:pt x="674" y="51"/>
                      </a:lnTo>
                      <a:lnTo>
                        <a:pt x="676" y="51"/>
                      </a:lnTo>
                      <a:lnTo>
                        <a:pt x="676" y="49"/>
                      </a:lnTo>
                      <a:lnTo>
                        <a:pt x="678" y="49"/>
                      </a:lnTo>
                      <a:lnTo>
                        <a:pt x="678" y="51"/>
                      </a:lnTo>
                      <a:lnTo>
                        <a:pt x="676" y="53"/>
                      </a:lnTo>
                      <a:lnTo>
                        <a:pt x="678" y="53"/>
                      </a:lnTo>
                      <a:lnTo>
                        <a:pt x="676" y="53"/>
                      </a:lnTo>
                      <a:lnTo>
                        <a:pt x="674" y="54"/>
                      </a:lnTo>
                      <a:lnTo>
                        <a:pt x="673" y="54"/>
                      </a:lnTo>
                      <a:lnTo>
                        <a:pt x="671" y="56"/>
                      </a:lnTo>
                      <a:lnTo>
                        <a:pt x="669" y="56"/>
                      </a:lnTo>
                      <a:lnTo>
                        <a:pt x="668" y="58"/>
                      </a:lnTo>
                      <a:lnTo>
                        <a:pt x="668" y="56"/>
                      </a:lnTo>
                      <a:lnTo>
                        <a:pt x="666" y="56"/>
                      </a:lnTo>
                      <a:lnTo>
                        <a:pt x="664" y="56"/>
                      </a:lnTo>
                      <a:lnTo>
                        <a:pt x="664" y="58"/>
                      </a:lnTo>
                      <a:lnTo>
                        <a:pt x="663" y="58"/>
                      </a:lnTo>
                      <a:lnTo>
                        <a:pt x="663" y="59"/>
                      </a:lnTo>
                      <a:lnTo>
                        <a:pt x="663" y="61"/>
                      </a:lnTo>
                      <a:lnTo>
                        <a:pt x="661" y="61"/>
                      </a:lnTo>
                      <a:lnTo>
                        <a:pt x="661" y="63"/>
                      </a:lnTo>
                      <a:lnTo>
                        <a:pt x="659" y="64"/>
                      </a:lnTo>
                      <a:lnTo>
                        <a:pt x="659" y="66"/>
                      </a:lnTo>
                      <a:lnTo>
                        <a:pt x="657" y="66"/>
                      </a:lnTo>
                      <a:lnTo>
                        <a:pt x="659" y="66"/>
                      </a:lnTo>
                      <a:lnTo>
                        <a:pt x="659" y="67"/>
                      </a:lnTo>
                      <a:lnTo>
                        <a:pt x="661" y="67"/>
                      </a:lnTo>
                      <a:lnTo>
                        <a:pt x="661" y="69"/>
                      </a:lnTo>
                      <a:lnTo>
                        <a:pt x="661" y="71"/>
                      </a:lnTo>
                      <a:lnTo>
                        <a:pt x="659" y="71"/>
                      </a:lnTo>
                      <a:lnTo>
                        <a:pt x="659" y="72"/>
                      </a:lnTo>
                      <a:lnTo>
                        <a:pt x="659" y="74"/>
                      </a:lnTo>
                      <a:lnTo>
                        <a:pt x="659" y="76"/>
                      </a:lnTo>
                      <a:lnTo>
                        <a:pt x="659" y="77"/>
                      </a:lnTo>
                      <a:lnTo>
                        <a:pt x="657" y="77"/>
                      </a:lnTo>
                      <a:lnTo>
                        <a:pt x="657" y="79"/>
                      </a:lnTo>
                      <a:lnTo>
                        <a:pt x="657" y="81"/>
                      </a:lnTo>
                      <a:lnTo>
                        <a:pt x="659" y="81"/>
                      </a:lnTo>
                      <a:lnTo>
                        <a:pt x="661" y="81"/>
                      </a:lnTo>
                      <a:lnTo>
                        <a:pt x="659" y="81"/>
                      </a:lnTo>
                      <a:lnTo>
                        <a:pt x="661" y="82"/>
                      </a:lnTo>
                      <a:lnTo>
                        <a:pt x="659" y="84"/>
                      </a:lnTo>
                      <a:lnTo>
                        <a:pt x="659" y="86"/>
                      </a:lnTo>
                      <a:lnTo>
                        <a:pt x="661" y="86"/>
                      </a:lnTo>
                      <a:lnTo>
                        <a:pt x="661" y="87"/>
                      </a:lnTo>
                      <a:lnTo>
                        <a:pt x="663" y="87"/>
                      </a:lnTo>
                      <a:lnTo>
                        <a:pt x="663" y="89"/>
                      </a:lnTo>
                      <a:lnTo>
                        <a:pt x="664" y="89"/>
                      </a:lnTo>
                      <a:lnTo>
                        <a:pt x="666" y="87"/>
                      </a:lnTo>
                      <a:lnTo>
                        <a:pt x="668" y="86"/>
                      </a:lnTo>
                      <a:lnTo>
                        <a:pt x="669" y="86"/>
                      </a:lnTo>
                      <a:lnTo>
                        <a:pt x="671" y="86"/>
                      </a:lnTo>
                      <a:lnTo>
                        <a:pt x="673" y="86"/>
                      </a:lnTo>
                      <a:lnTo>
                        <a:pt x="674" y="84"/>
                      </a:lnTo>
                      <a:lnTo>
                        <a:pt x="676" y="84"/>
                      </a:lnTo>
                      <a:lnTo>
                        <a:pt x="676" y="82"/>
                      </a:lnTo>
                      <a:lnTo>
                        <a:pt x="678" y="82"/>
                      </a:lnTo>
                      <a:lnTo>
                        <a:pt x="679" y="82"/>
                      </a:lnTo>
                      <a:lnTo>
                        <a:pt x="681" y="82"/>
                      </a:lnTo>
                      <a:lnTo>
                        <a:pt x="681" y="81"/>
                      </a:lnTo>
                      <a:lnTo>
                        <a:pt x="683" y="81"/>
                      </a:lnTo>
                      <a:lnTo>
                        <a:pt x="684" y="82"/>
                      </a:lnTo>
                      <a:lnTo>
                        <a:pt x="684" y="84"/>
                      </a:lnTo>
                      <a:lnTo>
                        <a:pt x="684" y="86"/>
                      </a:lnTo>
                      <a:lnTo>
                        <a:pt x="683" y="86"/>
                      </a:lnTo>
                      <a:lnTo>
                        <a:pt x="681" y="87"/>
                      </a:lnTo>
                      <a:lnTo>
                        <a:pt x="679" y="87"/>
                      </a:lnTo>
                      <a:lnTo>
                        <a:pt x="679" y="89"/>
                      </a:lnTo>
                      <a:lnTo>
                        <a:pt x="678" y="90"/>
                      </a:lnTo>
                      <a:lnTo>
                        <a:pt x="676" y="90"/>
                      </a:lnTo>
                      <a:lnTo>
                        <a:pt x="676" y="92"/>
                      </a:lnTo>
                      <a:lnTo>
                        <a:pt x="674" y="92"/>
                      </a:lnTo>
                      <a:lnTo>
                        <a:pt x="673" y="92"/>
                      </a:lnTo>
                      <a:lnTo>
                        <a:pt x="671" y="92"/>
                      </a:lnTo>
                      <a:lnTo>
                        <a:pt x="669" y="94"/>
                      </a:lnTo>
                      <a:lnTo>
                        <a:pt x="668" y="94"/>
                      </a:lnTo>
                      <a:lnTo>
                        <a:pt x="668" y="95"/>
                      </a:lnTo>
                      <a:lnTo>
                        <a:pt x="666" y="95"/>
                      </a:lnTo>
                      <a:lnTo>
                        <a:pt x="666" y="97"/>
                      </a:lnTo>
                      <a:lnTo>
                        <a:pt x="668" y="97"/>
                      </a:lnTo>
                      <a:lnTo>
                        <a:pt x="668" y="99"/>
                      </a:lnTo>
                      <a:lnTo>
                        <a:pt x="669" y="99"/>
                      </a:lnTo>
                      <a:lnTo>
                        <a:pt x="669" y="100"/>
                      </a:lnTo>
                      <a:lnTo>
                        <a:pt x="668" y="100"/>
                      </a:lnTo>
                      <a:lnTo>
                        <a:pt x="666" y="100"/>
                      </a:lnTo>
                      <a:lnTo>
                        <a:pt x="668" y="102"/>
                      </a:lnTo>
                      <a:lnTo>
                        <a:pt x="668" y="104"/>
                      </a:lnTo>
                      <a:lnTo>
                        <a:pt x="666" y="105"/>
                      </a:lnTo>
                      <a:lnTo>
                        <a:pt x="666" y="107"/>
                      </a:lnTo>
                      <a:lnTo>
                        <a:pt x="666" y="109"/>
                      </a:lnTo>
                      <a:lnTo>
                        <a:pt x="668" y="109"/>
                      </a:lnTo>
                      <a:lnTo>
                        <a:pt x="668" y="110"/>
                      </a:lnTo>
                      <a:lnTo>
                        <a:pt x="669" y="109"/>
                      </a:lnTo>
                      <a:lnTo>
                        <a:pt x="671" y="109"/>
                      </a:lnTo>
                      <a:lnTo>
                        <a:pt x="673" y="110"/>
                      </a:lnTo>
                      <a:lnTo>
                        <a:pt x="673" y="112"/>
                      </a:lnTo>
                      <a:lnTo>
                        <a:pt x="671" y="113"/>
                      </a:lnTo>
                      <a:lnTo>
                        <a:pt x="669" y="113"/>
                      </a:lnTo>
                      <a:lnTo>
                        <a:pt x="668" y="115"/>
                      </a:lnTo>
                      <a:lnTo>
                        <a:pt x="668" y="117"/>
                      </a:lnTo>
                      <a:lnTo>
                        <a:pt x="666" y="117"/>
                      </a:lnTo>
                      <a:lnTo>
                        <a:pt x="666" y="118"/>
                      </a:lnTo>
                      <a:lnTo>
                        <a:pt x="664" y="118"/>
                      </a:lnTo>
                      <a:lnTo>
                        <a:pt x="664" y="120"/>
                      </a:lnTo>
                      <a:lnTo>
                        <a:pt x="666" y="122"/>
                      </a:lnTo>
                      <a:lnTo>
                        <a:pt x="666" y="123"/>
                      </a:lnTo>
                      <a:lnTo>
                        <a:pt x="664" y="123"/>
                      </a:lnTo>
                      <a:lnTo>
                        <a:pt x="664" y="125"/>
                      </a:lnTo>
                      <a:lnTo>
                        <a:pt x="663" y="125"/>
                      </a:lnTo>
                      <a:lnTo>
                        <a:pt x="664" y="125"/>
                      </a:lnTo>
                      <a:lnTo>
                        <a:pt x="666" y="125"/>
                      </a:lnTo>
                      <a:lnTo>
                        <a:pt x="666" y="127"/>
                      </a:lnTo>
                      <a:lnTo>
                        <a:pt x="668" y="127"/>
                      </a:lnTo>
                      <a:lnTo>
                        <a:pt x="668" y="128"/>
                      </a:lnTo>
                      <a:lnTo>
                        <a:pt x="666" y="128"/>
                      </a:lnTo>
                      <a:lnTo>
                        <a:pt x="664" y="128"/>
                      </a:lnTo>
                      <a:lnTo>
                        <a:pt x="663" y="130"/>
                      </a:lnTo>
                      <a:lnTo>
                        <a:pt x="664" y="132"/>
                      </a:lnTo>
                      <a:lnTo>
                        <a:pt x="663" y="132"/>
                      </a:lnTo>
                      <a:lnTo>
                        <a:pt x="663" y="133"/>
                      </a:lnTo>
                      <a:lnTo>
                        <a:pt x="664" y="133"/>
                      </a:lnTo>
                      <a:lnTo>
                        <a:pt x="666" y="133"/>
                      </a:lnTo>
                      <a:lnTo>
                        <a:pt x="666" y="135"/>
                      </a:lnTo>
                      <a:lnTo>
                        <a:pt x="666" y="136"/>
                      </a:lnTo>
                      <a:lnTo>
                        <a:pt x="664" y="138"/>
                      </a:lnTo>
                      <a:lnTo>
                        <a:pt x="664" y="140"/>
                      </a:lnTo>
                      <a:lnTo>
                        <a:pt x="664" y="143"/>
                      </a:lnTo>
                      <a:lnTo>
                        <a:pt x="663" y="143"/>
                      </a:lnTo>
                      <a:lnTo>
                        <a:pt x="663" y="145"/>
                      </a:lnTo>
                      <a:lnTo>
                        <a:pt x="664" y="145"/>
                      </a:lnTo>
                      <a:lnTo>
                        <a:pt x="666" y="146"/>
                      </a:lnTo>
                      <a:lnTo>
                        <a:pt x="668" y="146"/>
                      </a:lnTo>
                      <a:lnTo>
                        <a:pt x="668" y="148"/>
                      </a:lnTo>
                      <a:lnTo>
                        <a:pt x="668" y="150"/>
                      </a:lnTo>
                      <a:lnTo>
                        <a:pt x="669" y="150"/>
                      </a:lnTo>
                      <a:lnTo>
                        <a:pt x="669" y="151"/>
                      </a:lnTo>
                      <a:lnTo>
                        <a:pt x="668" y="151"/>
                      </a:lnTo>
                      <a:lnTo>
                        <a:pt x="668" y="153"/>
                      </a:lnTo>
                      <a:lnTo>
                        <a:pt x="666" y="153"/>
                      </a:lnTo>
                      <a:lnTo>
                        <a:pt x="664" y="155"/>
                      </a:lnTo>
                      <a:lnTo>
                        <a:pt x="666" y="155"/>
                      </a:lnTo>
                      <a:lnTo>
                        <a:pt x="668" y="155"/>
                      </a:lnTo>
                      <a:lnTo>
                        <a:pt x="668" y="156"/>
                      </a:lnTo>
                      <a:lnTo>
                        <a:pt x="666" y="156"/>
                      </a:lnTo>
                      <a:lnTo>
                        <a:pt x="666" y="158"/>
                      </a:lnTo>
                      <a:lnTo>
                        <a:pt x="664" y="158"/>
                      </a:lnTo>
                      <a:lnTo>
                        <a:pt x="664" y="156"/>
                      </a:lnTo>
                      <a:lnTo>
                        <a:pt x="664" y="158"/>
                      </a:lnTo>
                      <a:lnTo>
                        <a:pt x="663" y="158"/>
                      </a:lnTo>
                      <a:lnTo>
                        <a:pt x="664" y="158"/>
                      </a:lnTo>
                      <a:lnTo>
                        <a:pt x="666" y="159"/>
                      </a:lnTo>
                      <a:lnTo>
                        <a:pt x="668" y="159"/>
                      </a:lnTo>
                      <a:lnTo>
                        <a:pt x="669" y="159"/>
                      </a:lnTo>
                      <a:lnTo>
                        <a:pt x="669" y="161"/>
                      </a:lnTo>
                      <a:lnTo>
                        <a:pt x="669" y="163"/>
                      </a:lnTo>
                      <a:lnTo>
                        <a:pt x="671" y="163"/>
                      </a:lnTo>
                      <a:lnTo>
                        <a:pt x="674" y="164"/>
                      </a:lnTo>
                      <a:lnTo>
                        <a:pt x="674" y="163"/>
                      </a:lnTo>
                      <a:lnTo>
                        <a:pt x="676" y="163"/>
                      </a:lnTo>
                      <a:lnTo>
                        <a:pt x="678" y="164"/>
                      </a:lnTo>
                      <a:lnTo>
                        <a:pt x="678" y="166"/>
                      </a:lnTo>
                      <a:lnTo>
                        <a:pt x="679" y="166"/>
                      </a:lnTo>
                      <a:lnTo>
                        <a:pt x="679" y="168"/>
                      </a:lnTo>
                      <a:lnTo>
                        <a:pt x="681" y="168"/>
                      </a:lnTo>
                      <a:lnTo>
                        <a:pt x="683" y="166"/>
                      </a:lnTo>
                      <a:lnTo>
                        <a:pt x="683" y="168"/>
                      </a:lnTo>
                      <a:lnTo>
                        <a:pt x="683" y="169"/>
                      </a:lnTo>
                      <a:lnTo>
                        <a:pt x="683" y="171"/>
                      </a:lnTo>
                      <a:lnTo>
                        <a:pt x="684" y="171"/>
                      </a:lnTo>
                      <a:lnTo>
                        <a:pt x="686" y="171"/>
                      </a:lnTo>
                      <a:lnTo>
                        <a:pt x="686" y="173"/>
                      </a:lnTo>
                      <a:lnTo>
                        <a:pt x="688" y="173"/>
                      </a:lnTo>
                      <a:lnTo>
                        <a:pt x="690" y="173"/>
                      </a:lnTo>
                      <a:lnTo>
                        <a:pt x="690" y="174"/>
                      </a:lnTo>
                      <a:lnTo>
                        <a:pt x="691" y="174"/>
                      </a:lnTo>
                      <a:lnTo>
                        <a:pt x="691" y="176"/>
                      </a:lnTo>
                      <a:lnTo>
                        <a:pt x="693" y="176"/>
                      </a:lnTo>
                      <a:lnTo>
                        <a:pt x="693" y="178"/>
                      </a:lnTo>
                      <a:lnTo>
                        <a:pt x="693" y="179"/>
                      </a:lnTo>
                      <a:lnTo>
                        <a:pt x="693" y="181"/>
                      </a:lnTo>
                      <a:lnTo>
                        <a:pt x="695" y="181"/>
                      </a:lnTo>
                      <a:lnTo>
                        <a:pt x="696" y="181"/>
                      </a:lnTo>
                      <a:lnTo>
                        <a:pt x="698" y="181"/>
                      </a:lnTo>
                      <a:lnTo>
                        <a:pt x="698" y="182"/>
                      </a:lnTo>
                      <a:lnTo>
                        <a:pt x="696" y="182"/>
                      </a:lnTo>
                      <a:lnTo>
                        <a:pt x="696" y="184"/>
                      </a:lnTo>
                      <a:lnTo>
                        <a:pt x="696" y="186"/>
                      </a:lnTo>
                      <a:lnTo>
                        <a:pt x="695" y="187"/>
                      </a:lnTo>
                      <a:lnTo>
                        <a:pt x="693" y="187"/>
                      </a:lnTo>
                      <a:lnTo>
                        <a:pt x="693" y="189"/>
                      </a:lnTo>
                      <a:lnTo>
                        <a:pt x="691" y="189"/>
                      </a:lnTo>
                      <a:lnTo>
                        <a:pt x="690" y="189"/>
                      </a:lnTo>
                      <a:lnTo>
                        <a:pt x="688" y="189"/>
                      </a:lnTo>
                      <a:lnTo>
                        <a:pt x="688" y="187"/>
                      </a:lnTo>
                      <a:lnTo>
                        <a:pt x="688" y="186"/>
                      </a:lnTo>
                      <a:lnTo>
                        <a:pt x="688" y="187"/>
                      </a:lnTo>
                      <a:lnTo>
                        <a:pt x="686" y="187"/>
                      </a:lnTo>
                      <a:lnTo>
                        <a:pt x="688" y="187"/>
                      </a:lnTo>
                      <a:lnTo>
                        <a:pt x="688" y="189"/>
                      </a:lnTo>
                      <a:lnTo>
                        <a:pt x="688" y="191"/>
                      </a:lnTo>
                      <a:lnTo>
                        <a:pt x="686" y="192"/>
                      </a:lnTo>
                      <a:lnTo>
                        <a:pt x="688" y="192"/>
                      </a:lnTo>
                      <a:lnTo>
                        <a:pt x="688" y="194"/>
                      </a:lnTo>
                      <a:lnTo>
                        <a:pt x="690" y="194"/>
                      </a:lnTo>
                      <a:lnTo>
                        <a:pt x="690" y="196"/>
                      </a:lnTo>
                      <a:lnTo>
                        <a:pt x="688" y="196"/>
                      </a:lnTo>
                      <a:lnTo>
                        <a:pt x="688" y="197"/>
                      </a:lnTo>
                      <a:lnTo>
                        <a:pt x="690" y="197"/>
                      </a:lnTo>
                      <a:lnTo>
                        <a:pt x="691" y="199"/>
                      </a:lnTo>
                      <a:lnTo>
                        <a:pt x="690" y="199"/>
                      </a:lnTo>
                      <a:lnTo>
                        <a:pt x="690" y="201"/>
                      </a:lnTo>
                      <a:lnTo>
                        <a:pt x="690" y="202"/>
                      </a:lnTo>
                      <a:lnTo>
                        <a:pt x="690" y="204"/>
                      </a:lnTo>
                      <a:lnTo>
                        <a:pt x="688" y="204"/>
                      </a:lnTo>
                      <a:lnTo>
                        <a:pt x="688" y="205"/>
                      </a:lnTo>
                      <a:lnTo>
                        <a:pt x="690" y="205"/>
                      </a:lnTo>
                      <a:lnTo>
                        <a:pt x="690" y="207"/>
                      </a:lnTo>
                      <a:lnTo>
                        <a:pt x="690" y="209"/>
                      </a:lnTo>
                      <a:lnTo>
                        <a:pt x="690" y="210"/>
                      </a:lnTo>
                      <a:lnTo>
                        <a:pt x="688" y="210"/>
                      </a:lnTo>
                      <a:lnTo>
                        <a:pt x="688" y="209"/>
                      </a:lnTo>
                      <a:lnTo>
                        <a:pt x="688" y="210"/>
                      </a:lnTo>
                      <a:lnTo>
                        <a:pt x="686" y="210"/>
                      </a:lnTo>
                      <a:lnTo>
                        <a:pt x="686" y="212"/>
                      </a:lnTo>
                      <a:lnTo>
                        <a:pt x="688" y="214"/>
                      </a:lnTo>
                      <a:lnTo>
                        <a:pt x="688" y="215"/>
                      </a:lnTo>
                      <a:lnTo>
                        <a:pt x="688" y="217"/>
                      </a:lnTo>
                      <a:lnTo>
                        <a:pt x="688" y="219"/>
                      </a:lnTo>
                      <a:lnTo>
                        <a:pt x="688" y="220"/>
                      </a:lnTo>
                      <a:lnTo>
                        <a:pt x="688" y="222"/>
                      </a:lnTo>
                      <a:lnTo>
                        <a:pt x="686" y="224"/>
                      </a:lnTo>
                      <a:close/>
                    </a:path>
                  </a:pathLst>
                </a:custGeom>
                <a:solidFill>
                  <a:srgbClr val="FFFFE1"/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black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7" name="Freeform 29"/>
                <p:cNvSpPr>
                  <a:spLocks noChangeAspect="1"/>
                </p:cNvSpPr>
                <p:nvPr/>
              </p:nvSpPr>
              <p:spPr bwMode="auto">
                <a:xfrm>
                  <a:off x="4713709" y="2070962"/>
                  <a:ext cx="746079" cy="1281211"/>
                </a:xfrm>
                <a:custGeom>
                  <a:avLst/>
                  <a:gdLst>
                    <a:gd name="T0" fmla="*/ 2147483647 w 478"/>
                    <a:gd name="T1" fmla="*/ 2147483647 h 765"/>
                    <a:gd name="T2" fmla="*/ 2147483647 w 478"/>
                    <a:gd name="T3" fmla="*/ 2147483647 h 765"/>
                    <a:gd name="T4" fmla="*/ 2147483647 w 478"/>
                    <a:gd name="T5" fmla="*/ 2147483647 h 765"/>
                    <a:gd name="T6" fmla="*/ 2147483647 w 478"/>
                    <a:gd name="T7" fmla="*/ 2147483647 h 765"/>
                    <a:gd name="T8" fmla="*/ 2147483647 w 478"/>
                    <a:gd name="T9" fmla="*/ 2147483647 h 765"/>
                    <a:gd name="T10" fmla="*/ 2147483647 w 478"/>
                    <a:gd name="T11" fmla="*/ 2147483647 h 765"/>
                    <a:gd name="T12" fmla="*/ 2147483647 w 478"/>
                    <a:gd name="T13" fmla="*/ 2147483647 h 765"/>
                    <a:gd name="T14" fmla="*/ 2147483647 w 478"/>
                    <a:gd name="T15" fmla="*/ 2147483647 h 765"/>
                    <a:gd name="T16" fmla="*/ 2147483647 w 478"/>
                    <a:gd name="T17" fmla="*/ 2147483647 h 765"/>
                    <a:gd name="T18" fmla="*/ 2147483647 w 478"/>
                    <a:gd name="T19" fmla="*/ 2147483647 h 765"/>
                    <a:gd name="T20" fmla="*/ 2147483647 w 478"/>
                    <a:gd name="T21" fmla="*/ 2147483647 h 765"/>
                    <a:gd name="T22" fmla="*/ 2147483647 w 478"/>
                    <a:gd name="T23" fmla="*/ 2147483647 h 765"/>
                    <a:gd name="T24" fmla="*/ 2147483647 w 478"/>
                    <a:gd name="T25" fmla="*/ 2147483647 h 765"/>
                    <a:gd name="T26" fmla="*/ 2147483647 w 478"/>
                    <a:gd name="T27" fmla="*/ 2147483647 h 765"/>
                    <a:gd name="T28" fmla="*/ 2147483647 w 478"/>
                    <a:gd name="T29" fmla="*/ 2147483647 h 765"/>
                    <a:gd name="T30" fmla="*/ 2147483647 w 478"/>
                    <a:gd name="T31" fmla="*/ 2147483647 h 765"/>
                    <a:gd name="T32" fmla="*/ 2147483647 w 478"/>
                    <a:gd name="T33" fmla="*/ 2147483647 h 765"/>
                    <a:gd name="T34" fmla="*/ 2147483647 w 478"/>
                    <a:gd name="T35" fmla="*/ 2147483647 h 765"/>
                    <a:gd name="T36" fmla="*/ 2147483647 w 478"/>
                    <a:gd name="T37" fmla="*/ 2147483647 h 765"/>
                    <a:gd name="T38" fmla="*/ 2147483647 w 478"/>
                    <a:gd name="T39" fmla="*/ 2147483647 h 765"/>
                    <a:gd name="T40" fmla="*/ 2147483647 w 478"/>
                    <a:gd name="T41" fmla="*/ 2147483647 h 765"/>
                    <a:gd name="T42" fmla="*/ 2147483647 w 478"/>
                    <a:gd name="T43" fmla="*/ 2147483647 h 765"/>
                    <a:gd name="T44" fmla="*/ 2147483647 w 478"/>
                    <a:gd name="T45" fmla="*/ 2147483647 h 765"/>
                    <a:gd name="T46" fmla="*/ 2147483647 w 478"/>
                    <a:gd name="T47" fmla="*/ 2147483647 h 765"/>
                    <a:gd name="T48" fmla="*/ 2147483647 w 478"/>
                    <a:gd name="T49" fmla="*/ 2147483647 h 765"/>
                    <a:gd name="T50" fmla="*/ 2147483647 w 478"/>
                    <a:gd name="T51" fmla="*/ 2147483647 h 765"/>
                    <a:gd name="T52" fmla="*/ 2147483647 w 478"/>
                    <a:gd name="T53" fmla="*/ 2147483647 h 765"/>
                    <a:gd name="T54" fmla="*/ 2147483647 w 478"/>
                    <a:gd name="T55" fmla="*/ 2147483647 h 765"/>
                    <a:gd name="T56" fmla="*/ 2147483647 w 478"/>
                    <a:gd name="T57" fmla="*/ 2147483647 h 765"/>
                    <a:gd name="T58" fmla="*/ 2147483647 w 478"/>
                    <a:gd name="T59" fmla="*/ 2147483647 h 765"/>
                    <a:gd name="T60" fmla="*/ 2147483647 w 478"/>
                    <a:gd name="T61" fmla="*/ 2147483647 h 765"/>
                    <a:gd name="T62" fmla="*/ 2147483647 w 478"/>
                    <a:gd name="T63" fmla="*/ 2147483647 h 765"/>
                    <a:gd name="T64" fmla="*/ 2147483647 w 478"/>
                    <a:gd name="T65" fmla="*/ 2147483647 h 765"/>
                    <a:gd name="T66" fmla="*/ 2147483647 w 478"/>
                    <a:gd name="T67" fmla="*/ 2147483647 h 765"/>
                    <a:gd name="T68" fmla="*/ 2147483647 w 478"/>
                    <a:gd name="T69" fmla="*/ 2147483647 h 765"/>
                    <a:gd name="T70" fmla="*/ 2147483647 w 478"/>
                    <a:gd name="T71" fmla="*/ 2147483647 h 765"/>
                    <a:gd name="T72" fmla="*/ 2147483647 w 478"/>
                    <a:gd name="T73" fmla="*/ 2147483647 h 765"/>
                    <a:gd name="T74" fmla="*/ 2147483647 w 478"/>
                    <a:gd name="T75" fmla="*/ 2147483647 h 765"/>
                    <a:gd name="T76" fmla="*/ 2147483647 w 478"/>
                    <a:gd name="T77" fmla="*/ 2147483647 h 765"/>
                    <a:gd name="T78" fmla="*/ 2147483647 w 478"/>
                    <a:gd name="T79" fmla="*/ 2147483647 h 765"/>
                    <a:gd name="T80" fmla="*/ 2147483647 w 478"/>
                    <a:gd name="T81" fmla="*/ 2147483647 h 765"/>
                    <a:gd name="T82" fmla="*/ 2147483647 w 478"/>
                    <a:gd name="T83" fmla="*/ 2147483647 h 765"/>
                    <a:gd name="T84" fmla="*/ 2147483647 w 478"/>
                    <a:gd name="T85" fmla="*/ 2147483647 h 765"/>
                    <a:gd name="T86" fmla="*/ 2147483647 w 478"/>
                    <a:gd name="T87" fmla="*/ 2147483647 h 765"/>
                    <a:gd name="T88" fmla="*/ 2147483647 w 478"/>
                    <a:gd name="T89" fmla="*/ 2147483647 h 765"/>
                    <a:gd name="T90" fmla="*/ 2147483647 w 478"/>
                    <a:gd name="T91" fmla="*/ 2147483647 h 765"/>
                    <a:gd name="T92" fmla="*/ 2147483647 w 478"/>
                    <a:gd name="T93" fmla="*/ 2147483647 h 765"/>
                    <a:gd name="T94" fmla="*/ 2147483647 w 478"/>
                    <a:gd name="T95" fmla="*/ 2147483647 h 765"/>
                    <a:gd name="T96" fmla="*/ 2147483647 w 478"/>
                    <a:gd name="T97" fmla="*/ 2147483647 h 765"/>
                    <a:gd name="T98" fmla="*/ 2147483647 w 478"/>
                    <a:gd name="T99" fmla="*/ 2147483647 h 765"/>
                    <a:gd name="T100" fmla="*/ 2147483647 w 478"/>
                    <a:gd name="T101" fmla="*/ 2147483647 h 765"/>
                    <a:gd name="T102" fmla="*/ 2147483647 w 478"/>
                    <a:gd name="T103" fmla="*/ 2147483647 h 765"/>
                    <a:gd name="T104" fmla="*/ 2147483647 w 478"/>
                    <a:gd name="T105" fmla="*/ 2147483647 h 765"/>
                    <a:gd name="T106" fmla="*/ 2147483647 w 478"/>
                    <a:gd name="T107" fmla="*/ 2147483647 h 765"/>
                    <a:gd name="T108" fmla="*/ 2147483647 w 478"/>
                    <a:gd name="T109" fmla="*/ 2147483647 h 765"/>
                    <a:gd name="T110" fmla="*/ 2147483647 w 478"/>
                    <a:gd name="T111" fmla="*/ 2147483647 h 765"/>
                    <a:gd name="T112" fmla="*/ 2147483647 w 478"/>
                    <a:gd name="T113" fmla="*/ 2147483647 h 765"/>
                    <a:gd name="T114" fmla="*/ 2147483647 w 478"/>
                    <a:gd name="T115" fmla="*/ 2147483647 h 765"/>
                    <a:gd name="T116" fmla="*/ 2147483647 w 478"/>
                    <a:gd name="T117" fmla="*/ 2147483647 h 765"/>
                    <a:gd name="T118" fmla="*/ 2147483647 w 478"/>
                    <a:gd name="T119" fmla="*/ 2147483647 h 765"/>
                    <a:gd name="T120" fmla="*/ 2147483647 w 478"/>
                    <a:gd name="T121" fmla="*/ 2147483647 h 765"/>
                    <a:gd name="T122" fmla="*/ 2147483647 w 478"/>
                    <a:gd name="T123" fmla="*/ 2147483647 h 765"/>
                    <a:gd name="T124" fmla="*/ 2147483647 w 478"/>
                    <a:gd name="T125" fmla="*/ 2147483647 h 76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478"/>
                    <a:gd name="T190" fmla="*/ 0 h 765"/>
                    <a:gd name="T191" fmla="*/ 478 w 478"/>
                    <a:gd name="T192" fmla="*/ 765 h 76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478" h="765">
                      <a:moveTo>
                        <a:pt x="425" y="680"/>
                      </a:moveTo>
                      <a:lnTo>
                        <a:pt x="425" y="682"/>
                      </a:lnTo>
                      <a:lnTo>
                        <a:pt x="424" y="682"/>
                      </a:lnTo>
                      <a:lnTo>
                        <a:pt x="424" y="683"/>
                      </a:lnTo>
                      <a:lnTo>
                        <a:pt x="424" y="685"/>
                      </a:lnTo>
                      <a:lnTo>
                        <a:pt x="424" y="687"/>
                      </a:lnTo>
                      <a:lnTo>
                        <a:pt x="422" y="687"/>
                      </a:lnTo>
                      <a:lnTo>
                        <a:pt x="422" y="688"/>
                      </a:lnTo>
                      <a:lnTo>
                        <a:pt x="424" y="688"/>
                      </a:lnTo>
                      <a:lnTo>
                        <a:pt x="425" y="690"/>
                      </a:lnTo>
                      <a:lnTo>
                        <a:pt x="424" y="691"/>
                      </a:lnTo>
                      <a:lnTo>
                        <a:pt x="422" y="691"/>
                      </a:lnTo>
                      <a:lnTo>
                        <a:pt x="422" y="693"/>
                      </a:lnTo>
                      <a:lnTo>
                        <a:pt x="422" y="695"/>
                      </a:lnTo>
                      <a:lnTo>
                        <a:pt x="424" y="695"/>
                      </a:lnTo>
                      <a:lnTo>
                        <a:pt x="425" y="696"/>
                      </a:lnTo>
                      <a:lnTo>
                        <a:pt x="424" y="698"/>
                      </a:lnTo>
                      <a:lnTo>
                        <a:pt x="424" y="700"/>
                      </a:lnTo>
                      <a:lnTo>
                        <a:pt x="424" y="701"/>
                      </a:lnTo>
                      <a:lnTo>
                        <a:pt x="422" y="701"/>
                      </a:lnTo>
                      <a:lnTo>
                        <a:pt x="424" y="703"/>
                      </a:lnTo>
                      <a:lnTo>
                        <a:pt x="424" y="705"/>
                      </a:lnTo>
                      <a:lnTo>
                        <a:pt x="425" y="706"/>
                      </a:lnTo>
                      <a:lnTo>
                        <a:pt x="424" y="708"/>
                      </a:lnTo>
                      <a:lnTo>
                        <a:pt x="422" y="708"/>
                      </a:lnTo>
                      <a:lnTo>
                        <a:pt x="422" y="709"/>
                      </a:lnTo>
                      <a:lnTo>
                        <a:pt x="422" y="711"/>
                      </a:lnTo>
                      <a:lnTo>
                        <a:pt x="422" y="713"/>
                      </a:lnTo>
                      <a:lnTo>
                        <a:pt x="422" y="714"/>
                      </a:lnTo>
                      <a:lnTo>
                        <a:pt x="422" y="716"/>
                      </a:lnTo>
                      <a:lnTo>
                        <a:pt x="420" y="716"/>
                      </a:lnTo>
                      <a:lnTo>
                        <a:pt x="420" y="718"/>
                      </a:lnTo>
                      <a:lnTo>
                        <a:pt x="422" y="716"/>
                      </a:lnTo>
                      <a:lnTo>
                        <a:pt x="424" y="716"/>
                      </a:lnTo>
                      <a:lnTo>
                        <a:pt x="425" y="716"/>
                      </a:lnTo>
                      <a:lnTo>
                        <a:pt x="427" y="716"/>
                      </a:lnTo>
                      <a:lnTo>
                        <a:pt x="429" y="716"/>
                      </a:lnTo>
                      <a:lnTo>
                        <a:pt x="430" y="714"/>
                      </a:lnTo>
                      <a:lnTo>
                        <a:pt x="432" y="714"/>
                      </a:lnTo>
                      <a:lnTo>
                        <a:pt x="434" y="714"/>
                      </a:lnTo>
                      <a:lnTo>
                        <a:pt x="435" y="714"/>
                      </a:lnTo>
                      <a:lnTo>
                        <a:pt x="437" y="713"/>
                      </a:lnTo>
                      <a:lnTo>
                        <a:pt x="439" y="714"/>
                      </a:lnTo>
                      <a:lnTo>
                        <a:pt x="437" y="714"/>
                      </a:lnTo>
                      <a:lnTo>
                        <a:pt x="437" y="716"/>
                      </a:lnTo>
                      <a:lnTo>
                        <a:pt x="435" y="716"/>
                      </a:lnTo>
                      <a:lnTo>
                        <a:pt x="434" y="716"/>
                      </a:lnTo>
                      <a:lnTo>
                        <a:pt x="432" y="716"/>
                      </a:lnTo>
                      <a:lnTo>
                        <a:pt x="432" y="718"/>
                      </a:lnTo>
                      <a:lnTo>
                        <a:pt x="430" y="718"/>
                      </a:lnTo>
                      <a:lnTo>
                        <a:pt x="429" y="718"/>
                      </a:lnTo>
                      <a:lnTo>
                        <a:pt x="427" y="718"/>
                      </a:lnTo>
                      <a:lnTo>
                        <a:pt x="425" y="718"/>
                      </a:lnTo>
                      <a:lnTo>
                        <a:pt x="424" y="719"/>
                      </a:lnTo>
                      <a:lnTo>
                        <a:pt x="422" y="719"/>
                      </a:lnTo>
                      <a:lnTo>
                        <a:pt x="420" y="719"/>
                      </a:lnTo>
                      <a:lnTo>
                        <a:pt x="418" y="719"/>
                      </a:lnTo>
                      <a:lnTo>
                        <a:pt x="417" y="719"/>
                      </a:lnTo>
                      <a:lnTo>
                        <a:pt x="417" y="721"/>
                      </a:lnTo>
                      <a:lnTo>
                        <a:pt x="415" y="721"/>
                      </a:lnTo>
                      <a:lnTo>
                        <a:pt x="413" y="721"/>
                      </a:lnTo>
                      <a:lnTo>
                        <a:pt x="415" y="719"/>
                      </a:lnTo>
                      <a:lnTo>
                        <a:pt x="413" y="719"/>
                      </a:lnTo>
                      <a:lnTo>
                        <a:pt x="415" y="719"/>
                      </a:lnTo>
                      <a:lnTo>
                        <a:pt x="413" y="718"/>
                      </a:lnTo>
                      <a:lnTo>
                        <a:pt x="415" y="718"/>
                      </a:lnTo>
                      <a:lnTo>
                        <a:pt x="413" y="716"/>
                      </a:lnTo>
                      <a:lnTo>
                        <a:pt x="415" y="716"/>
                      </a:lnTo>
                      <a:lnTo>
                        <a:pt x="415" y="714"/>
                      </a:lnTo>
                      <a:lnTo>
                        <a:pt x="415" y="713"/>
                      </a:lnTo>
                      <a:lnTo>
                        <a:pt x="415" y="711"/>
                      </a:lnTo>
                      <a:lnTo>
                        <a:pt x="415" y="709"/>
                      </a:lnTo>
                      <a:lnTo>
                        <a:pt x="413" y="709"/>
                      </a:lnTo>
                      <a:lnTo>
                        <a:pt x="413" y="708"/>
                      </a:lnTo>
                      <a:lnTo>
                        <a:pt x="412" y="708"/>
                      </a:lnTo>
                      <a:lnTo>
                        <a:pt x="410" y="708"/>
                      </a:lnTo>
                      <a:lnTo>
                        <a:pt x="412" y="706"/>
                      </a:lnTo>
                      <a:lnTo>
                        <a:pt x="410" y="706"/>
                      </a:lnTo>
                      <a:lnTo>
                        <a:pt x="410" y="705"/>
                      </a:lnTo>
                      <a:lnTo>
                        <a:pt x="407" y="714"/>
                      </a:lnTo>
                      <a:lnTo>
                        <a:pt x="405" y="718"/>
                      </a:lnTo>
                      <a:lnTo>
                        <a:pt x="393" y="718"/>
                      </a:lnTo>
                      <a:lnTo>
                        <a:pt x="391" y="716"/>
                      </a:lnTo>
                      <a:lnTo>
                        <a:pt x="373" y="721"/>
                      </a:lnTo>
                      <a:lnTo>
                        <a:pt x="371" y="723"/>
                      </a:lnTo>
                      <a:lnTo>
                        <a:pt x="371" y="724"/>
                      </a:lnTo>
                      <a:lnTo>
                        <a:pt x="369" y="724"/>
                      </a:lnTo>
                      <a:lnTo>
                        <a:pt x="369" y="726"/>
                      </a:lnTo>
                      <a:lnTo>
                        <a:pt x="368" y="728"/>
                      </a:lnTo>
                      <a:lnTo>
                        <a:pt x="366" y="728"/>
                      </a:lnTo>
                      <a:lnTo>
                        <a:pt x="368" y="728"/>
                      </a:lnTo>
                      <a:lnTo>
                        <a:pt x="366" y="728"/>
                      </a:lnTo>
                      <a:lnTo>
                        <a:pt x="366" y="726"/>
                      </a:lnTo>
                      <a:lnTo>
                        <a:pt x="364" y="726"/>
                      </a:lnTo>
                      <a:lnTo>
                        <a:pt x="364" y="728"/>
                      </a:lnTo>
                      <a:lnTo>
                        <a:pt x="363" y="728"/>
                      </a:lnTo>
                      <a:lnTo>
                        <a:pt x="363" y="729"/>
                      </a:lnTo>
                      <a:lnTo>
                        <a:pt x="361" y="729"/>
                      </a:lnTo>
                      <a:lnTo>
                        <a:pt x="361" y="731"/>
                      </a:lnTo>
                      <a:lnTo>
                        <a:pt x="359" y="731"/>
                      </a:lnTo>
                      <a:lnTo>
                        <a:pt x="359" y="732"/>
                      </a:lnTo>
                      <a:lnTo>
                        <a:pt x="358" y="732"/>
                      </a:lnTo>
                      <a:lnTo>
                        <a:pt x="356" y="732"/>
                      </a:lnTo>
                      <a:lnTo>
                        <a:pt x="358" y="732"/>
                      </a:lnTo>
                      <a:lnTo>
                        <a:pt x="356" y="734"/>
                      </a:lnTo>
                      <a:lnTo>
                        <a:pt x="356" y="732"/>
                      </a:lnTo>
                      <a:lnTo>
                        <a:pt x="354" y="732"/>
                      </a:lnTo>
                      <a:lnTo>
                        <a:pt x="354" y="734"/>
                      </a:lnTo>
                      <a:lnTo>
                        <a:pt x="353" y="734"/>
                      </a:lnTo>
                      <a:lnTo>
                        <a:pt x="353" y="736"/>
                      </a:lnTo>
                      <a:lnTo>
                        <a:pt x="353" y="734"/>
                      </a:lnTo>
                      <a:lnTo>
                        <a:pt x="353" y="736"/>
                      </a:lnTo>
                      <a:lnTo>
                        <a:pt x="351" y="736"/>
                      </a:lnTo>
                      <a:lnTo>
                        <a:pt x="349" y="736"/>
                      </a:lnTo>
                      <a:lnTo>
                        <a:pt x="348" y="736"/>
                      </a:lnTo>
                      <a:lnTo>
                        <a:pt x="348" y="737"/>
                      </a:lnTo>
                      <a:lnTo>
                        <a:pt x="346" y="737"/>
                      </a:lnTo>
                      <a:lnTo>
                        <a:pt x="348" y="737"/>
                      </a:lnTo>
                      <a:lnTo>
                        <a:pt x="346" y="737"/>
                      </a:lnTo>
                      <a:lnTo>
                        <a:pt x="346" y="739"/>
                      </a:lnTo>
                      <a:lnTo>
                        <a:pt x="346" y="737"/>
                      </a:lnTo>
                      <a:lnTo>
                        <a:pt x="344" y="737"/>
                      </a:lnTo>
                      <a:lnTo>
                        <a:pt x="344" y="739"/>
                      </a:lnTo>
                      <a:lnTo>
                        <a:pt x="344" y="737"/>
                      </a:lnTo>
                      <a:lnTo>
                        <a:pt x="342" y="737"/>
                      </a:lnTo>
                      <a:lnTo>
                        <a:pt x="341" y="739"/>
                      </a:lnTo>
                      <a:lnTo>
                        <a:pt x="342" y="739"/>
                      </a:lnTo>
                      <a:lnTo>
                        <a:pt x="342" y="741"/>
                      </a:lnTo>
                      <a:lnTo>
                        <a:pt x="341" y="741"/>
                      </a:lnTo>
                      <a:lnTo>
                        <a:pt x="339" y="741"/>
                      </a:lnTo>
                      <a:lnTo>
                        <a:pt x="337" y="741"/>
                      </a:lnTo>
                      <a:lnTo>
                        <a:pt x="337" y="739"/>
                      </a:lnTo>
                      <a:lnTo>
                        <a:pt x="336" y="739"/>
                      </a:lnTo>
                      <a:lnTo>
                        <a:pt x="334" y="739"/>
                      </a:lnTo>
                      <a:lnTo>
                        <a:pt x="332" y="739"/>
                      </a:lnTo>
                      <a:lnTo>
                        <a:pt x="332" y="741"/>
                      </a:lnTo>
                      <a:lnTo>
                        <a:pt x="331" y="741"/>
                      </a:lnTo>
                      <a:lnTo>
                        <a:pt x="331" y="742"/>
                      </a:lnTo>
                      <a:lnTo>
                        <a:pt x="331" y="744"/>
                      </a:lnTo>
                      <a:lnTo>
                        <a:pt x="329" y="744"/>
                      </a:lnTo>
                      <a:lnTo>
                        <a:pt x="329" y="746"/>
                      </a:lnTo>
                      <a:lnTo>
                        <a:pt x="327" y="746"/>
                      </a:lnTo>
                      <a:lnTo>
                        <a:pt x="327" y="744"/>
                      </a:lnTo>
                      <a:lnTo>
                        <a:pt x="326" y="744"/>
                      </a:lnTo>
                      <a:lnTo>
                        <a:pt x="324" y="746"/>
                      </a:lnTo>
                      <a:lnTo>
                        <a:pt x="324" y="744"/>
                      </a:lnTo>
                      <a:lnTo>
                        <a:pt x="322" y="744"/>
                      </a:lnTo>
                      <a:lnTo>
                        <a:pt x="320" y="744"/>
                      </a:lnTo>
                      <a:lnTo>
                        <a:pt x="319" y="742"/>
                      </a:lnTo>
                      <a:lnTo>
                        <a:pt x="319" y="744"/>
                      </a:lnTo>
                      <a:lnTo>
                        <a:pt x="317" y="744"/>
                      </a:lnTo>
                      <a:lnTo>
                        <a:pt x="317" y="746"/>
                      </a:lnTo>
                      <a:lnTo>
                        <a:pt x="315" y="747"/>
                      </a:lnTo>
                      <a:lnTo>
                        <a:pt x="315" y="749"/>
                      </a:lnTo>
                      <a:lnTo>
                        <a:pt x="314" y="749"/>
                      </a:lnTo>
                      <a:lnTo>
                        <a:pt x="314" y="747"/>
                      </a:lnTo>
                      <a:lnTo>
                        <a:pt x="314" y="746"/>
                      </a:lnTo>
                      <a:lnTo>
                        <a:pt x="312" y="746"/>
                      </a:lnTo>
                      <a:lnTo>
                        <a:pt x="312" y="744"/>
                      </a:lnTo>
                      <a:lnTo>
                        <a:pt x="314" y="744"/>
                      </a:lnTo>
                      <a:lnTo>
                        <a:pt x="314" y="742"/>
                      </a:lnTo>
                      <a:lnTo>
                        <a:pt x="312" y="742"/>
                      </a:lnTo>
                      <a:lnTo>
                        <a:pt x="310" y="742"/>
                      </a:lnTo>
                      <a:lnTo>
                        <a:pt x="309" y="742"/>
                      </a:lnTo>
                      <a:lnTo>
                        <a:pt x="309" y="741"/>
                      </a:lnTo>
                      <a:lnTo>
                        <a:pt x="309" y="739"/>
                      </a:lnTo>
                      <a:lnTo>
                        <a:pt x="307" y="739"/>
                      </a:lnTo>
                      <a:lnTo>
                        <a:pt x="305" y="739"/>
                      </a:lnTo>
                      <a:lnTo>
                        <a:pt x="304" y="739"/>
                      </a:lnTo>
                      <a:lnTo>
                        <a:pt x="302" y="739"/>
                      </a:lnTo>
                      <a:lnTo>
                        <a:pt x="300" y="737"/>
                      </a:lnTo>
                      <a:lnTo>
                        <a:pt x="302" y="736"/>
                      </a:lnTo>
                      <a:lnTo>
                        <a:pt x="300" y="736"/>
                      </a:lnTo>
                      <a:lnTo>
                        <a:pt x="300" y="734"/>
                      </a:lnTo>
                      <a:lnTo>
                        <a:pt x="302" y="734"/>
                      </a:lnTo>
                      <a:lnTo>
                        <a:pt x="302" y="732"/>
                      </a:lnTo>
                      <a:lnTo>
                        <a:pt x="300" y="732"/>
                      </a:lnTo>
                      <a:lnTo>
                        <a:pt x="299" y="732"/>
                      </a:lnTo>
                      <a:lnTo>
                        <a:pt x="297" y="732"/>
                      </a:lnTo>
                      <a:lnTo>
                        <a:pt x="297" y="731"/>
                      </a:lnTo>
                      <a:lnTo>
                        <a:pt x="295" y="731"/>
                      </a:lnTo>
                      <a:lnTo>
                        <a:pt x="295" y="732"/>
                      </a:lnTo>
                      <a:lnTo>
                        <a:pt x="295" y="731"/>
                      </a:lnTo>
                      <a:lnTo>
                        <a:pt x="295" y="732"/>
                      </a:lnTo>
                      <a:lnTo>
                        <a:pt x="293" y="732"/>
                      </a:lnTo>
                      <a:lnTo>
                        <a:pt x="293" y="734"/>
                      </a:lnTo>
                      <a:lnTo>
                        <a:pt x="293" y="736"/>
                      </a:lnTo>
                      <a:lnTo>
                        <a:pt x="292" y="736"/>
                      </a:lnTo>
                      <a:lnTo>
                        <a:pt x="292" y="737"/>
                      </a:lnTo>
                      <a:lnTo>
                        <a:pt x="292" y="739"/>
                      </a:lnTo>
                      <a:lnTo>
                        <a:pt x="292" y="741"/>
                      </a:lnTo>
                      <a:lnTo>
                        <a:pt x="292" y="742"/>
                      </a:lnTo>
                      <a:lnTo>
                        <a:pt x="293" y="742"/>
                      </a:lnTo>
                      <a:lnTo>
                        <a:pt x="292" y="742"/>
                      </a:lnTo>
                      <a:lnTo>
                        <a:pt x="292" y="744"/>
                      </a:lnTo>
                      <a:lnTo>
                        <a:pt x="293" y="744"/>
                      </a:lnTo>
                      <a:lnTo>
                        <a:pt x="293" y="746"/>
                      </a:lnTo>
                      <a:lnTo>
                        <a:pt x="293" y="747"/>
                      </a:lnTo>
                      <a:lnTo>
                        <a:pt x="292" y="747"/>
                      </a:lnTo>
                      <a:lnTo>
                        <a:pt x="292" y="749"/>
                      </a:lnTo>
                      <a:lnTo>
                        <a:pt x="292" y="751"/>
                      </a:lnTo>
                      <a:lnTo>
                        <a:pt x="293" y="751"/>
                      </a:lnTo>
                      <a:lnTo>
                        <a:pt x="292" y="751"/>
                      </a:lnTo>
                      <a:lnTo>
                        <a:pt x="293" y="752"/>
                      </a:lnTo>
                      <a:lnTo>
                        <a:pt x="293" y="754"/>
                      </a:lnTo>
                      <a:lnTo>
                        <a:pt x="293" y="755"/>
                      </a:lnTo>
                      <a:lnTo>
                        <a:pt x="295" y="755"/>
                      </a:lnTo>
                      <a:lnTo>
                        <a:pt x="295" y="757"/>
                      </a:lnTo>
                      <a:lnTo>
                        <a:pt x="293" y="757"/>
                      </a:lnTo>
                      <a:lnTo>
                        <a:pt x="293" y="759"/>
                      </a:lnTo>
                      <a:lnTo>
                        <a:pt x="292" y="760"/>
                      </a:lnTo>
                      <a:lnTo>
                        <a:pt x="292" y="762"/>
                      </a:lnTo>
                      <a:lnTo>
                        <a:pt x="290" y="764"/>
                      </a:lnTo>
                      <a:lnTo>
                        <a:pt x="290" y="765"/>
                      </a:lnTo>
                      <a:lnTo>
                        <a:pt x="278" y="752"/>
                      </a:lnTo>
                      <a:lnTo>
                        <a:pt x="278" y="751"/>
                      </a:lnTo>
                      <a:lnTo>
                        <a:pt x="277" y="751"/>
                      </a:lnTo>
                      <a:lnTo>
                        <a:pt x="275" y="751"/>
                      </a:lnTo>
                      <a:lnTo>
                        <a:pt x="273" y="751"/>
                      </a:lnTo>
                      <a:lnTo>
                        <a:pt x="272" y="751"/>
                      </a:lnTo>
                      <a:lnTo>
                        <a:pt x="270" y="751"/>
                      </a:lnTo>
                      <a:lnTo>
                        <a:pt x="268" y="751"/>
                      </a:lnTo>
                      <a:lnTo>
                        <a:pt x="270" y="749"/>
                      </a:lnTo>
                      <a:lnTo>
                        <a:pt x="268" y="749"/>
                      </a:lnTo>
                      <a:lnTo>
                        <a:pt x="266" y="749"/>
                      </a:lnTo>
                      <a:lnTo>
                        <a:pt x="265" y="749"/>
                      </a:lnTo>
                      <a:lnTo>
                        <a:pt x="266" y="749"/>
                      </a:lnTo>
                      <a:lnTo>
                        <a:pt x="265" y="749"/>
                      </a:lnTo>
                      <a:lnTo>
                        <a:pt x="265" y="751"/>
                      </a:lnTo>
                      <a:lnTo>
                        <a:pt x="263" y="751"/>
                      </a:lnTo>
                      <a:lnTo>
                        <a:pt x="263" y="749"/>
                      </a:lnTo>
                      <a:lnTo>
                        <a:pt x="261" y="749"/>
                      </a:lnTo>
                      <a:lnTo>
                        <a:pt x="261" y="747"/>
                      </a:lnTo>
                      <a:lnTo>
                        <a:pt x="260" y="747"/>
                      </a:lnTo>
                      <a:lnTo>
                        <a:pt x="258" y="747"/>
                      </a:lnTo>
                      <a:lnTo>
                        <a:pt x="256" y="747"/>
                      </a:lnTo>
                      <a:lnTo>
                        <a:pt x="256" y="746"/>
                      </a:lnTo>
                      <a:lnTo>
                        <a:pt x="255" y="746"/>
                      </a:lnTo>
                      <a:lnTo>
                        <a:pt x="255" y="744"/>
                      </a:lnTo>
                      <a:lnTo>
                        <a:pt x="253" y="744"/>
                      </a:lnTo>
                      <a:lnTo>
                        <a:pt x="253" y="746"/>
                      </a:lnTo>
                      <a:lnTo>
                        <a:pt x="253" y="747"/>
                      </a:lnTo>
                      <a:lnTo>
                        <a:pt x="251" y="747"/>
                      </a:lnTo>
                      <a:lnTo>
                        <a:pt x="251" y="749"/>
                      </a:lnTo>
                      <a:lnTo>
                        <a:pt x="251" y="747"/>
                      </a:lnTo>
                      <a:lnTo>
                        <a:pt x="251" y="749"/>
                      </a:lnTo>
                      <a:lnTo>
                        <a:pt x="251" y="747"/>
                      </a:lnTo>
                      <a:lnTo>
                        <a:pt x="251" y="749"/>
                      </a:lnTo>
                      <a:lnTo>
                        <a:pt x="250" y="749"/>
                      </a:lnTo>
                      <a:lnTo>
                        <a:pt x="248" y="749"/>
                      </a:lnTo>
                      <a:lnTo>
                        <a:pt x="246" y="749"/>
                      </a:lnTo>
                      <a:lnTo>
                        <a:pt x="246" y="751"/>
                      </a:lnTo>
                      <a:lnTo>
                        <a:pt x="244" y="749"/>
                      </a:lnTo>
                      <a:lnTo>
                        <a:pt x="244" y="751"/>
                      </a:lnTo>
                      <a:lnTo>
                        <a:pt x="244" y="749"/>
                      </a:lnTo>
                      <a:lnTo>
                        <a:pt x="244" y="751"/>
                      </a:lnTo>
                      <a:lnTo>
                        <a:pt x="244" y="749"/>
                      </a:lnTo>
                      <a:lnTo>
                        <a:pt x="244" y="747"/>
                      </a:lnTo>
                      <a:lnTo>
                        <a:pt x="244" y="746"/>
                      </a:lnTo>
                      <a:lnTo>
                        <a:pt x="244" y="744"/>
                      </a:lnTo>
                      <a:lnTo>
                        <a:pt x="244" y="742"/>
                      </a:lnTo>
                      <a:lnTo>
                        <a:pt x="244" y="741"/>
                      </a:lnTo>
                      <a:lnTo>
                        <a:pt x="244" y="739"/>
                      </a:lnTo>
                      <a:lnTo>
                        <a:pt x="244" y="737"/>
                      </a:lnTo>
                      <a:lnTo>
                        <a:pt x="246" y="736"/>
                      </a:lnTo>
                      <a:lnTo>
                        <a:pt x="244" y="736"/>
                      </a:lnTo>
                      <a:lnTo>
                        <a:pt x="243" y="736"/>
                      </a:lnTo>
                      <a:lnTo>
                        <a:pt x="241" y="736"/>
                      </a:lnTo>
                      <a:lnTo>
                        <a:pt x="243" y="736"/>
                      </a:lnTo>
                      <a:lnTo>
                        <a:pt x="241" y="736"/>
                      </a:lnTo>
                      <a:lnTo>
                        <a:pt x="241" y="737"/>
                      </a:lnTo>
                      <a:lnTo>
                        <a:pt x="239" y="737"/>
                      </a:lnTo>
                      <a:lnTo>
                        <a:pt x="238" y="737"/>
                      </a:lnTo>
                      <a:lnTo>
                        <a:pt x="238" y="739"/>
                      </a:lnTo>
                      <a:lnTo>
                        <a:pt x="236" y="739"/>
                      </a:lnTo>
                      <a:lnTo>
                        <a:pt x="234" y="741"/>
                      </a:lnTo>
                      <a:lnTo>
                        <a:pt x="234" y="739"/>
                      </a:lnTo>
                      <a:lnTo>
                        <a:pt x="234" y="741"/>
                      </a:lnTo>
                      <a:lnTo>
                        <a:pt x="233" y="741"/>
                      </a:lnTo>
                      <a:lnTo>
                        <a:pt x="234" y="741"/>
                      </a:lnTo>
                      <a:lnTo>
                        <a:pt x="233" y="741"/>
                      </a:lnTo>
                      <a:lnTo>
                        <a:pt x="233" y="742"/>
                      </a:lnTo>
                      <a:lnTo>
                        <a:pt x="233" y="741"/>
                      </a:lnTo>
                      <a:lnTo>
                        <a:pt x="233" y="742"/>
                      </a:lnTo>
                      <a:lnTo>
                        <a:pt x="231" y="742"/>
                      </a:lnTo>
                      <a:lnTo>
                        <a:pt x="231" y="744"/>
                      </a:lnTo>
                      <a:lnTo>
                        <a:pt x="229" y="744"/>
                      </a:lnTo>
                      <a:lnTo>
                        <a:pt x="229" y="742"/>
                      </a:lnTo>
                      <a:lnTo>
                        <a:pt x="228" y="742"/>
                      </a:lnTo>
                      <a:lnTo>
                        <a:pt x="228" y="744"/>
                      </a:lnTo>
                      <a:lnTo>
                        <a:pt x="226" y="744"/>
                      </a:lnTo>
                      <a:lnTo>
                        <a:pt x="228" y="744"/>
                      </a:lnTo>
                      <a:lnTo>
                        <a:pt x="226" y="744"/>
                      </a:lnTo>
                      <a:lnTo>
                        <a:pt x="224" y="744"/>
                      </a:lnTo>
                      <a:lnTo>
                        <a:pt x="224" y="746"/>
                      </a:lnTo>
                      <a:lnTo>
                        <a:pt x="223" y="746"/>
                      </a:lnTo>
                      <a:lnTo>
                        <a:pt x="223" y="747"/>
                      </a:lnTo>
                      <a:lnTo>
                        <a:pt x="223" y="746"/>
                      </a:lnTo>
                      <a:lnTo>
                        <a:pt x="221" y="746"/>
                      </a:lnTo>
                      <a:lnTo>
                        <a:pt x="221" y="747"/>
                      </a:lnTo>
                      <a:lnTo>
                        <a:pt x="219" y="747"/>
                      </a:lnTo>
                      <a:lnTo>
                        <a:pt x="219" y="749"/>
                      </a:lnTo>
                      <a:lnTo>
                        <a:pt x="217" y="749"/>
                      </a:lnTo>
                      <a:lnTo>
                        <a:pt x="217" y="747"/>
                      </a:lnTo>
                      <a:lnTo>
                        <a:pt x="216" y="747"/>
                      </a:lnTo>
                      <a:lnTo>
                        <a:pt x="216" y="746"/>
                      </a:lnTo>
                      <a:lnTo>
                        <a:pt x="216" y="744"/>
                      </a:lnTo>
                      <a:lnTo>
                        <a:pt x="214" y="744"/>
                      </a:lnTo>
                      <a:lnTo>
                        <a:pt x="214" y="742"/>
                      </a:lnTo>
                      <a:lnTo>
                        <a:pt x="216" y="742"/>
                      </a:lnTo>
                      <a:lnTo>
                        <a:pt x="214" y="742"/>
                      </a:lnTo>
                      <a:lnTo>
                        <a:pt x="214" y="741"/>
                      </a:lnTo>
                      <a:lnTo>
                        <a:pt x="216" y="741"/>
                      </a:lnTo>
                      <a:lnTo>
                        <a:pt x="214" y="741"/>
                      </a:lnTo>
                      <a:lnTo>
                        <a:pt x="216" y="741"/>
                      </a:lnTo>
                      <a:lnTo>
                        <a:pt x="214" y="741"/>
                      </a:lnTo>
                      <a:lnTo>
                        <a:pt x="214" y="739"/>
                      </a:lnTo>
                      <a:lnTo>
                        <a:pt x="214" y="737"/>
                      </a:lnTo>
                      <a:lnTo>
                        <a:pt x="216" y="737"/>
                      </a:lnTo>
                      <a:lnTo>
                        <a:pt x="216" y="736"/>
                      </a:lnTo>
                      <a:lnTo>
                        <a:pt x="216" y="734"/>
                      </a:lnTo>
                      <a:lnTo>
                        <a:pt x="214" y="734"/>
                      </a:lnTo>
                      <a:lnTo>
                        <a:pt x="212" y="734"/>
                      </a:lnTo>
                      <a:lnTo>
                        <a:pt x="211" y="734"/>
                      </a:lnTo>
                      <a:lnTo>
                        <a:pt x="211" y="736"/>
                      </a:lnTo>
                      <a:lnTo>
                        <a:pt x="211" y="737"/>
                      </a:lnTo>
                      <a:lnTo>
                        <a:pt x="209" y="739"/>
                      </a:lnTo>
                      <a:lnTo>
                        <a:pt x="207" y="739"/>
                      </a:lnTo>
                      <a:lnTo>
                        <a:pt x="207" y="741"/>
                      </a:lnTo>
                      <a:lnTo>
                        <a:pt x="207" y="742"/>
                      </a:lnTo>
                      <a:lnTo>
                        <a:pt x="207" y="744"/>
                      </a:lnTo>
                      <a:lnTo>
                        <a:pt x="207" y="746"/>
                      </a:lnTo>
                      <a:lnTo>
                        <a:pt x="207" y="747"/>
                      </a:lnTo>
                      <a:lnTo>
                        <a:pt x="207" y="749"/>
                      </a:lnTo>
                      <a:lnTo>
                        <a:pt x="206" y="751"/>
                      </a:lnTo>
                      <a:lnTo>
                        <a:pt x="204" y="751"/>
                      </a:lnTo>
                      <a:lnTo>
                        <a:pt x="204" y="749"/>
                      </a:lnTo>
                      <a:lnTo>
                        <a:pt x="202" y="749"/>
                      </a:lnTo>
                      <a:lnTo>
                        <a:pt x="204" y="747"/>
                      </a:lnTo>
                      <a:lnTo>
                        <a:pt x="204" y="746"/>
                      </a:lnTo>
                      <a:lnTo>
                        <a:pt x="204" y="744"/>
                      </a:lnTo>
                      <a:lnTo>
                        <a:pt x="202" y="744"/>
                      </a:lnTo>
                      <a:lnTo>
                        <a:pt x="204" y="744"/>
                      </a:lnTo>
                      <a:lnTo>
                        <a:pt x="204" y="742"/>
                      </a:lnTo>
                      <a:lnTo>
                        <a:pt x="204" y="741"/>
                      </a:lnTo>
                      <a:lnTo>
                        <a:pt x="206" y="741"/>
                      </a:lnTo>
                      <a:lnTo>
                        <a:pt x="204" y="741"/>
                      </a:lnTo>
                      <a:lnTo>
                        <a:pt x="206" y="739"/>
                      </a:lnTo>
                      <a:lnTo>
                        <a:pt x="204" y="739"/>
                      </a:lnTo>
                      <a:lnTo>
                        <a:pt x="204" y="737"/>
                      </a:lnTo>
                      <a:lnTo>
                        <a:pt x="206" y="737"/>
                      </a:lnTo>
                      <a:lnTo>
                        <a:pt x="204" y="737"/>
                      </a:lnTo>
                      <a:lnTo>
                        <a:pt x="204" y="736"/>
                      </a:lnTo>
                      <a:lnTo>
                        <a:pt x="204" y="734"/>
                      </a:lnTo>
                      <a:lnTo>
                        <a:pt x="206" y="734"/>
                      </a:lnTo>
                      <a:lnTo>
                        <a:pt x="206" y="732"/>
                      </a:lnTo>
                      <a:lnTo>
                        <a:pt x="204" y="732"/>
                      </a:lnTo>
                      <a:lnTo>
                        <a:pt x="204" y="731"/>
                      </a:lnTo>
                      <a:lnTo>
                        <a:pt x="204" y="729"/>
                      </a:lnTo>
                      <a:lnTo>
                        <a:pt x="202" y="729"/>
                      </a:lnTo>
                      <a:lnTo>
                        <a:pt x="204" y="729"/>
                      </a:lnTo>
                      <a:lnTo>
                        <a:pt x="202" y="729"/>
                      </a:lnTo>
                      <a:lnTo>
                        <a:pt x="202" y="728"/>
                      </a:lnTo>
                      <a:lnTo>
                        <a:pt x="201" y="726"/>
                      </a:lnTo>
                      <a:lnTo>
                        <a:pt x="199" y="726"/>
                      </a:lnTo>
                      <a:lnTo>
                        <a:pt x="201" y="726"/>
                      </a:lnTo>
                      <a:lnTo>
                        <a:pt x="199" y="726"/>
                      </a:lnTo>
                      <a:lnTo>
                        <a:pt x="199" y="724"/>
                      </a:lnTo>
                      <a:lnTo>
                        <a:pt x="199" y="723"/>
                      </a:lnTo>
                      <a:lnTo>
                        <a:pt x="197" y="723"/>
                      </a:lnTo>
                      <a:lnTo>
                        <a:pt x="197" y="721"/>
                      </a:lnTo>
                      <a:lnTo>
                        <a:pt x="197" y="723"/>
                      </a:lnTo>
                      <a:lnTo>
                        <a:pt x="197" y="721"/>
                      </a:lnTo>
                      <a:lnTo>
                        <a:pt x="196" y="721"/>
                      </a:lnTo>
                      <a:lnTo>
                        <a:pt x="196" y="723"/>
                      </a:lnTo>
                      <a:lnTo>
                        <a:pt x="194" y="723"/>
                      </a:lnTo>
                      <a:lnTo>
                        <a:pt x="194" y="721"/>
                      </a:lnTo>
                      <a:lnTo>
                        <a:pt x="192" y="723"/>
                      </a:lnTo>
                      <a:lnTo>
                        <a:pt x="192" y="721"/>
                      </a:lnTo>
                      <a:lnTo>
                        <a:pt x="192" y="723"/>
                      </a:lnTo>
                      <a:lnTo>
                        <a:pt x="192" y="721"/>
                      </a:lnTo>
                      <a:lnTo>
                        <a:pt x="190" y="721"/>
                      </a:lnTo>
                      <a:lnTo>
                        <a:pt x="190" y="719"/>
                      </a:lnTo>
                      <a:lnTo>
                        <a:pt x="190" y="718"/>
                      </a:lnTo>
                      <a:lnTo>
                        <a:pt x="190" y="716"/>
                      </a:lnTo>
                      <a:lnTo>
                        <a:pt x="190" y="714"/>
                      </a:lnTo>
                      <a:lnTo>
                        <a:pt x="189" y="714"/>
                      </a:lnTo>
                      <a:lnTo>
                        <a:pt x="189" y="713"/>
                      </a:lnTo>
                      <a:lnTo>
                        <a:pt x="187" y="713"/>
                      </a:lnTo>
                      <a:lnTo>
                        <a:pt x="187" y="711"/>
                      </a:lnTo>
                      <a:lnTo>
                        <a:pt x="185" y="711"/>
                      </a:lnTo>
                      <a:lnTo>
                        <a:pt x="184" y="709"/>
                      </a:lnTo>
                      <a:lnTo>
                        <a:pt x="184" y="711"/>
                      </a:lnTo>
                      <a:lnTo>
                        <a:pt x="184" y="709"/>
                      </a:lnTo>
                      <a:lnTo>
                        <a:pt x="182" y="709"/>
                      </a:lnTo>
                      <a:lnTo>
                        <a:pt x="184" y="709"/>
                      </a:lnTo>
                      <a:lnTo>
                        <a:pt x="184" y="708"/>
                      </a:lnTo>
                      <a:lnTo>
                        <a:pt x="182" y="708"/>
                      </a:lnTo>
                      <a:lnTo>
                        <a:pt x="180" y="708"/>
                      </a:lnTo>
                      <a:lnTo>
                        <a:pt x="180" y="706"/>
                      </a:lnTo>
                      <a:lnTo>
                        <a:pt x="180" y="705"/>
                      </a:lnTo>
                      <a:lnTo>
                        <a:pt x="179" y="705"/>
                      </a:lnTo>
                      <a:lnTo>
                        <a:pt x="179" y="703"/>
                      </a:lnTo>
                      <a:lnTo>
                        <a:pt x="179" y="705"/>
                      </a:lnTo>
                      <a:lnTo>
                        <a:pt x="179" y="703"/>
                      </a:lnTo>
                      <a:lnTo>
                        <a:pt x="179" y="705"/>
                      </a:lnTo>
                      <a:lnTo>
                        <a:pt x="177" y="705"/>
                      </a:lnTo>
                      <a:lnTo>
                        <a:pt x="177" y="703"/>
                      </a:lnTo>
                      <a:lnTo>
                        <a:pt x="177" y="705"/>
                      </a:lnTo>
                      <a:lnTo>
                        <a:pt x="167" y="718"/>
                      </a:lnTo>
                      <a:lnTo>
                        <a:pt x="167" y="716"/>
                      </a:lnTo>
                      <a:lnTo>
                        <a:pt x="165" y="716"/>
                      </a:lnTo>
                      <a:lnTo>
                        <a:pt x="165" y="714"/>
                      </a:lnTo>
                      <a:lnTo>
                        <a:pt x="163" y="714"/>
                      </a:lnTo>
                      <a:lnTo>
                        <a:pt x="163" y="713"/>
                      </a:lnTo>
                      <a:lnTo>
                        <a:pt x="162" y="713"/>
                      </a:lnTo>
                      <a:lnTo>
                        <a:pt x="160" y="713"/>
                      </a:lnTo>
                      <a:lnTo>
                        <a:pt x="160" y="714"/>
                      </a:lnTo>
                      <a:lnTo>
                        <a:pt x="160" y="713"/>
                      </a:lnTo>
                      <a:lnTo>
                        <a:pt x="158" y="713"/>
                      </a:lnTo>
                      <a:lnTo>
                        <a:pt x="157" y="713"/>
                      </a:lnTo>
                      <a:lnTo>
                        <a:pt x="157" y="711"/>
                      </a:lnTo>
                      <a:lnTo>
                        <a:pt x="157" y="709"/>
                      </a:lnTo>
                      <a:lnTo>
                        <a:pt x="158" y="709"/>
                      </a:lnTo>
                      <a:lnTo>
                        <a:pt x="158" y="708"/>
                      </a:lnTo>
                      <a:lnTo>
                        <a:pt x="157" y="708"/>
                      </a:lnTo>
                      <a:lnTo>
                        <a:pt x="157" y="706"/>
                      </a:lnTo>
                      <a:lnTo>
                        <a:pt x="155" y="706"/>
                      </a:lnTo>
                      <a:lnTo>
                        <a:pt x="153" y="703"/>
                      </a:lnTo>
                      <a:lnTo>
                        <a:pt x="152" y="703"/>
                      </a:lnTo>
                      <a:lnTo>
                        <a:pt x="152" y="705"/>
                      </a:lnTo>
                      <a:lnTo>
                        <a:pt x="150" y="705"/>
                      </a:lnTo>
                      <a:lnTo>
                        <a:pt x="150" y="706"/>
                      </a:lnTo>
                      <a:lnTo>
                        <a:pt x="148" y="708"/>
                      </a:lnTo>
                      <a:lnTo>
                        <a:pt x="147" y="708"/>
                      </a:lnTo>
                      <a:lnTo>
                        <a:pt x="147" y="709"/>
                      </a:lnTo>
                      <a:lnTo>
                        <a:pt x="145" y="709"/>
                      </a:lnTo>
                      <a:lnTo>
                        <a:pt x="145" y="711"/>
                      </a:lnTo>
                      <a:lnTo>
                        <a:pt x="143" y="709"/>
                      </a:lnTo>
                      <a:lnTo>
                        <a:pt x="143" y="711"/>
                      </a:lnTo>
                      <a:lnTo>
                        <a:pt x="141" y="713"/>
                      </a:lnTo>
                      <a:lnTo>
                        <a:pt x="141" y="714"/>
                      </a:lnTo>
                      <a:lnTo>
                        <a:pt x="141" y="716"/>
                      </a:lnTo>
                      <a:lnTo>
                        <a:pt x="140" y="716"/>
                      </a:lnTo>
                      <a:lnTo>
                        <a:pt x="140" y="718"/>
                      </a:lnTo>
                      <a:lnTo>
                        <a:pt x="138" y="719"/>
                      </a:lnTo>
                      <a:lnTo>
                        <a:pt x="138" y="721"/>
                      </a:lnTo>
                      <a:lnTo>
                        <a:pt x="138" y="723"/>
                      </a:lnTo>
                      <a:lnTo>
                        <a:pt x="136" y="723"/>
                      </a:lnTo>
                      <a:lnTo>
                        <a:pt x="136" y="724"/>
                      </a:lnTo>
                      <a:lnTo>
                        <a:pt x="135" y="724"/>
                      </a:lnTo>
                      <a:lnTo>
                        <a:pt x="135" y="726"/>
                      </a:lnTo>
                      <a:lnTo>
                        <a:pt x="135" y="728"/>
                      </a:lnTo>
                      <a:lnTo>
                        <a:pt x="133" y="728"/>
                      </a:lnTo>
                      <a:lnTo>
                        <a:pt x="133" y="729"/>
                      </a:lnTo>
                      <a:lnTo>
                        <a:pt x="131" y="729"/>
                      </a:lnTo>
                      <a:lnTo>
                        <a:pt x="131" y="731"/>
                      </a:lnTo>
                      <a:lnTo>
                        <a:pt x="131" y="732"/>
                      </a:lnTo>
                      <a:lnTo>
                        <a:pt x="133" y="732"/>
                      </a:lnTo>
                      <a:lnTo>
                        <a:pt x="133" y="734"/>
                      </a:lnTo>
                      <a:lnTo>
                        <a:pt x="131" y="734"/>
                      </a:lnTo>
                      <a:lnTo>
                        <a:pt x="131" y="736"/>
                      </a:lnTo>
                      <a:lnTo>
                        <a:pt x="131" y="737"/>
                      </a:lnTo>
                      <a:lnTo>
                        <a:pt x="133" y="737"/>
                      </a:lnTo>
                      <a:lnTo>
                        <a:pt x="133" y="739"/>
                      </a:lnTo>
                      <a:lnTo>
                        <a:pt x="131" y="739"/>
                      </a:lnTo>
                      <a:lnTo>
                        <a:pt x="133" y="741"/>
                      </a:lnTo>
                      <a:lnTo>
                        <a:pt x="131" y="741"/>
                      </a:lnTo>
                      <a:lnTo>
                        <a:pt x="133" y="742"/>
                      </a:lnTo>
                      <a:lnTo>
                        <a:pt x="133" y="744"/>
                      </a:lnTo>
                      <a:lnTo>
                        <a:pt x="133" y="746"/>
                      </a:lnTo>
                      <a:lnTo>
                        <a:pt x="131" y="746"/>
                      </a:lnTo>
                      <a:lnTo>
                        <a:pt x="130" y="747"/>
                      </a:lnTo>
                      <a:lnTo>
                        <a:pt x="118" y="741"/>
                      </a:lnTo>
                      <a:lnTo>
                        <a:pt x="79" y="719"/>
                      </a:lnTo>
                      <a:lnTo>
                        <a:pt x="79" y="718"/>
                      </a:lnTo>
                      <a:lnTo>
                        <a:pt x="77" y="718"/>
                      </a:lnTo>
                      <a:lnTo>
                        <a:pt x="76" y="718"/>
                      </a:lnTo>
                      <a:lnTo>
                        <a:pt x="74" y="718"/>
                      </a:lnTo>
                      <a:lnTo>
                        <a:pt x="72" y="716"/>
                      </a:lnTo>
                      <a:lnTo>
                        <a:pt x="71" y="716"/>
                      </a:lnTo>
                      <a:lnTo>
                        <a:pt x="69" y="716"/>
                      </a:lnTo>
                      <a:lnTo>
                        <a:pt x="69" y="714"/>
                      </a:lnTo>
                      <a:lnTo>
                        <a:pt x="67" y="716"/>
                      </a:lnTo>
                      <a:lnTo>
                        <a:pt x="65" y="716"/>
                      </a:lnTo>
                      <a:lnTo>
                        <a:pt x="65" y="714"/>
                      </a:lnTo>
                      <a:lnTo>
                        <a:pt x="64" y="714"/>
                      </a:lnTo>
                      <a:lnTo>
                        <a:pt x="64" y="713"/>
                      </a:lnTo>
                      <a:lnTo>
                        <a:pt x="62" y="713"/>
                      </a:lnTo>
                      <a:lnTo>
                        <a:pt x="60" y="713"/>
                      </a:lnTo>
                      <a:lnTo>
                        <a:pt x="59" y="713"/>
                      </a:lnTo>
                      <a:lnTo>
                        <a:pt x="57" y="713"/>
                      </a:lnTo>
                      <a:lnTo>
                        <a:pt x="55" y="713"/>
                      </a:lnTo>
                      <a:lnTo>
                        <a:pt x="55" y="711"/>
                      </a:lnTo>
                      <a:lnTo>
                        <a:pt x="54" y="711"/>
                      </a:lnTo>
                      <a:lnTo>
                        <a:pt x="54" y="713"/>
                      </a:lnTo>
                      <a:lnTo>
                        <a:pt x="54" y="711"/>
                      </a:lnTo>
                      <a:lnTo>
                        <a:pt x="54" y="713"/>
                      </a:lnTo>
                      <a:lnTo>
                        <a:pt x="52" y="711"/>
                      </a:lnTo>
                      <a:lnTo>
                        <a:pt x="50" y="711"/>
                      </a:lnTo>
                      <a:lnTo>
                        <a:pt x="50" y="709"/>
                      </a:lnTo>
                      <a:lnTo>
                        <a:pt x="50" y="711"/>
                      </a:lnTo>
                      <a:lnTo>
                        <a:pt x="50" y="709"/>
                      </a:lnTo>
                      <a:lnTo>
                        <a:pt x="49" y="709"/>
                      </a:lnTo>
                      <a:lnTo>
                        <a:pt x="49" y="708"/>
                      </a:lnTo>
                      <a:lnTo>
                        <a:pt x="47" y="708"/>
                      </a:lnTo>
                      <a:lnTo>
                        <a:pt x="45" y="708"/>
                      </a:lnTo>
                      <a:lnTo>
                        <a:pt x="45" y="706"/>
                      </a:lnTo>
                      <a:lnTo>
                        <a:pt x="44" y="708"/>
                      </a:lnTo>
                      <a:lnTo>
                        <a:pt x="44" y="706"/>
                      </a:lnTo>
                      <a:lnTo>
                        <a:pt x="44" y="708"/>
                      </a:lnTo>
                      <a:lnTo>
                        <a:pt x="44" y="706"/>
                      </a:lnTo>
                      <a:lnTo>
                        <a:pt x="42" y="706"/>
                      </a:lnTo>
                      <a:lnTo>
                        <a:pt x="42" y="705"/>
                      </a:lnTo>
                      <a:lnTo>
                        <a:pt x="42" y="703"/>
                      </a:lnTo>
                      <a:lnTo>
                        <a:pt x="40" y="703"/>
                      </a:lnTo>
                      <a:lnTo>
                        <a:pt x="42" y="701"/>
                      </a:lnTo>
                      <a:lnTo>
                        <a:pt x="42" y="700"/>
                      </a:lnTo>
                      <a:lnTo>
                        <a:pt x="42" y="698"/>
                      </a:lnTo>
                      <a:lnTo>
                        <a:pt x="44" y="698"/>
                      </a:lnTo>
                      <a:lnTo>
                        <a:pt x="44" y="696"/>
                      </a:lnTo>
                      <a:lnTo>
                        <a:pt x="44" y="695"/>
                      </a:lnTo>
                      <a:lnTo>
                        <a:pt x="42" y="695"/>
                      </a:lnTo>
                      <a:lnTo>
                        <a:pt x="42" y="693"/>
                      </a:lnTo>
                      <a:lnTo>
                        <a:pt x="42" y="691"/>
                      </a:lnTo>
                      <a:lnTo>
                        <a:pt x="42" y="693"/>
                      </a:lnTo>
                      <a:lnTo>
                        <a:pt x="44" y="693"/>
                      </a:lnTo>
                      <a:lnTo>
                        <a:pt x="44" y="691"/>
                      </a:lnTo>
                      <a:lnTo>
                        <a:pt x="44" y="693"/>
                      </a:lnTo>
                      <a:lnTo>
                        <a:pt x="45" y="693"/>
                      </a:lnTo>
                      <a:lnTo>
                        <a:pt x="45" y="691"/>
                      </a:lnTo>
                      <a:lnTo>
                        <a:pt x="45" y="690"/>
                      </a:lnTo>
                      <a:lnTo>
                        <a:pt x="45" y="688"/>
                      </a:lnTo>
                      <a:lnTo>
                        <a:pt x="45" y="687"/>
                      </a:lnTo>
                      <a:lnTo>
                        <a:pt x="47" y="687"/>
                      </a:lnTo>
                      <a:lnTo>
                        <a:pt x="47" y="688"/>
                      </a:lnTo>
                      <a:lnTo>
                        <a:pt x="47" y="687"/>
                      </a:lnTo>
                      <a:lnTo>
                        <a:pt x="49" y="687"/>
                      </a:lnTo>
                      <a:lnTo>
                        <a:pt x="47" y="687"/>
                      </a:lnTo>
                      <a:lnTo>
                        <a:pt x="47" y="685"/>
                      </a:lnTo>
                      <a:lnTo>
                        <a:pt x="47" y="683"/>
                      </a:lnTo>
                      <a:lnTo>
                        <a:pt x="49" y="683"/>
                      </a:lnTo>
                      <a:lnTo>
                        <a:pt x="50" y="683"/>
                      </a:lnTo>
                      <a:lnTo>
                        <a:pt x="50" y="682"/>
                      </a:lnTo>
                      <a:lnTo>
                        <a:pt x="52" y="682"/>
                      </a:lnTo>
                      <a:lnTo>
                        <a:pt x="52" y="680"/>
                      </a:lnTo>
                      <a:lnTo>
                        <a:pt x="50" y="680"/>
                      </a:lnTo>
                      <a:lnTo>
                        <a:pt x="50" y="682"/>
                      </a:lnTo>
                      <a:lnTo>
                        <a:pt x="50" y="680"/>
                      </a:lnTo>
                      <a:lnTo>
                        <a:pt x="49" y="680"/>
                      </a:lnTo>
                      <a:lnTo>
                        <a:pt x="49" y="678"/>
                      </a:lnTo>
                      <a:lnTo>
                        <a:pt x="49" y="677"/>
                      </a:lnTo>
                      <a:lnTo>
                        <a:pt x="50" y="677"/>
                      </a:lnTo>
                      <a:lnTo>
                        <a:pt x="50" y="675"/>
                      </a:lnTo>
                      <a:lnTo>
                        <a:pt x="50" y="673"/>
                      </a:lnTo>
                      <a:lnTo>
                        <a:pt x="50" y="672"/>
                      </a:lnTo>
                      <a:lnTo>
                        <a:pt x="52" y="672"/>
                      </a:lnTo>
                      <a:lnTo>
                        <a:pt x="54" y="672"/>
                      </a:lnTo>
                      <a:lnTo>
                        <a:pt x="54" y="670"/>
                      </a:lnTo>
                      <a:lnTo>
                        <a:pt x="55" y="670"/>
                      </a:lnTo>
                      <a:lnTo>
                        <a:pt x="55" y="668"/>
                      </a:lnTo>
                      <a:lnTo>
                        <a:pt x="55" y="667"/>
                      </a:lnTo>
                      <a:lnTo>
                        <a:pt x="57" y="665"/>
                      </a:lnTo>
                      <a:lnTo>
                        <a:pt x="55" y="667"/>
                      </a:lnTo>
                      <a:lnTo>
                        <a:pt x="54" y="667"/>
                      </a:lnTo>
                      <a:lnTo>
                        <a:pt x="54" y="668"/>
                      </a:lnTo>
                      <a:lnTo>
                        <a:pt x="52" y="668"/>
                      </a:lnTo>
                      <a:lnTo>
                        <a:pt x="52" y="667"/>
                      </a:lnTo>
                      <a:lnTo>
                        <a:pt x="52" y="668"/>
                      </a:lnTo>
                      <a:lnTo>
                        <a:pt x="54" y="668"/>
                      </a:lnTo>
                      <a:lnTo>
                        <a:pt x="52" y="670"/>
                      </a:lnTo>
                      <a:lnTo>
                        <a:pt x="50" y="670"/>
                      </a:lnTo>
                      <a:lnTo>
                        <a:pt x="50" y="672"/>
                      </a:lnTo>
                      <a:lnTo>
                        <a:pt x="49" y="670"/>
                      </a:lnTo>
                      <a:lnTo>
                        <a:pt x="49" y="672"/>
                      </a:lnTo>
                      <a:lnTo>
                        <a:pt x="47" y="672"/>
                      </a:lnTo>
                      <a:lnTo>
                        <a:pt x="45" y="673"/>
                      </a:lnTo>
                      <a:lnTo>
                        <a:pt x="44" y="673"/>
                      </a:lnTo>
                      <a:lnTo>
                        <a:pt x="44" y="675"/>
                      </a:lnTo>
                      <a:lnTo>
                        <a:pt x="42" y="675"/>
                      </a:lnTo>
                      <a:lnTo>
                        <a:pt x="40" y="675"/>
                      </a:lnTo>
                      <a:lnTo>
                        <a:pt x="40" y="677"/>
                      </a:lnTo>
                      <a:lnTo>
                        <a:pt x="40" y="678"/>
                      </a:lnTo>
                      <a:lnTo>
                        <a:pt x="40" y="677"/>
                      </a:lnTo>
                      <a:lnTo>
                        <a:pt x="38" y="677"/>
                      </a:lnTo>
                      <a:lnTo>
                        <a:pt x="38" y="678"/>
                      </a:lnTo>
                      <a:lnTo>
                        <a:pt x="37" y="678"/>
                      </a:lnTo>
                      <a:lnTo>
                        <a:pt x="37" y="680"/>
                      </a:lnTo>
                      <a:lnTo>
                        <a:pt x="35" y="680"/>
                      </a:lnTo>
                      <a:lnTo>
                        <a:pt x="37" y="680"/>
                      </a:lnTo>
                      <a:lnTo>
                        <a:pt x="35" y="680"/>
                      </a:lnTo>
                      <a:lnTo>
                        <a:pt x="35" y="682"/>
                      </a:lnTo>
                      <a:lnTo>
                        <a:pt x="35" y="683"/>
                      </a:lnTo>
                      <a:lnTo>
                        <a:pt x="33" y="683"/>
                      </a:lnTo>
                      <a:lnTo>
                        <a:pt x="32" y="685"/>
                      </a:lnTo>
                      <a:lnTo>
                        <a:pt x="33" y="685"/>
                      </a:lnTo>
                      <a:lnTo>
                        <a:pt x="33" y="687"/>
                      </a:lnTo>
                      <a:lnTo>
                        <a:pt x="32" y="687"/>
                      </a:lnTo>
                      <a:lnTo>
                        <a:pt x="30" y="687"/>
                      </a:lnTo>
                      <a:lnTo>
                        <a:pt x="30" y="688"/>
                      </a:lnTo>
                      <a:lnTo>
                        <a:pt x="32" y="690"/>
                      </a:lnTo>
                      <a:lnTo>
                        <a:pt x="30" y="690"/>
                      </a:lnTo>
                      <a:lnTo>
                        <a:pt x="30" y="688"/>
                      </a:lnTo>
                      <a:lnTo>
                        <a:pt x="28" y="690"/>
                      </a:lnTo>
                      <a:lnTo>
                        <a:pt x="30" y="690"/>
                      </a:lnTo>
                      <a:lnTo>
                        <a:pt x="28" y="690"/>
                      </a:lnTo>
                      <a:lnTo>
                        <a:pt x="28" y="691"/>
                      </a:lnTo>
                      <a:lnTo>
                        <a:pt x="30" y="691"/>
                      </a:lnTo>
                      <a:lnTo>
                        <a:pt x="28" y="691"/>
                      </a:lnTo>
                      <a:lnTo>
                        <a:pt x="28" y="693"/>
                      </a:lnTo>
                      <a:lnTo>
                        <a:pt x="30" y="693"/>
                      </a:lnTo>
                      <a:lnTo>
                        <a:pt x="28" y="693"/>
                      </a:lnTo>
                      <a:lnTo>
                        <a:pt x="27" y="693"/>
                      </a:lnTo>
                      <a:lnTo>
                        <a:pt x="27" y="695"/>
                      </a:lnTo>
                      <a:lnTo>
                        <a:pt x="25" y="695"/>
                      </a:lnTo>
                      <a:lnTo>
                        <a:pt x="27" y="696"/>
                      </a:lnTo>
                      <a:lnTo>
                        <a:pt x="27" y="698"/>
                      </a:lnTo>
                      <a:lnTo>
                        <a:pt x="25" y="698"/>
                      </a:lnTo>
                      <a:lnTo>
                        <a:pt x="25" y="700"/>
                      </a:lnTo>
                      <a:lnTo>
                        <a:pt x="25" y="698"/>
                      </a:lnTo>
                      <a:lnTo>
                        <a:pt x="27" y="700"/>
                      </a:lnTo>
                      <a:lnTo>
                        <a:pt x="25" y="700"/>
                      </a:lnTo>
                      <a:lnTo>
                        <a:pt x="25" y="701"/>
                      </a:lnTo>
                      <a:lnTo>
                        <a:pt x="23" y="701"/>
                      </a:lnTo>
                      <a:lnTo>
                        <a:pt x="23" y="703"/>
                      </a:lnTo>
                      <a:lnTo>
                        <a:pt x="25" y="705"/>
                      </a:lnTo>
                      <a:lnTo>
                        <a:pt x="23" y="705"/>
                      </a:lnTo>
                      <a:lnTo>
                        <a:pt x="23" y="706"/>
                      </a:lnTo>
                      <a:lnTo>
                        <a:pt x="23" y="708"/>
                      </a:lnTo>
                      <a:lnTo>
                        <a:pt x="22" y="708"/>
                      </a:lnTo>
                      <a:lnTo>
                        <a:pt x="22" y="709"/>
                      </a:lnTo>
                      <a:lnTo>
                        <a:pt x="22" y="708"/>
                      </a:lnTo>
                      <a:lnTo>
                        <a:pt x="22" y="706"/>
                      </a:lnTo>
                      <a:lnTo>
                        <a:pt x="20" y="708"/>
                      </a:lnTo>
                      <a:lnTo>
                        <a:pt x="18" y="708"/>
                      </a:lnTo>
                      <a:lnTo>
                        <a:pt x="16" y="708"/>
                      </a:lnTo>
                      <a:lnTo>
                        <a:pt x="15" y="706"/>
                      </a:lnTo>
                      <a:lnTo>
                        <a:pt x="13" y="706"/>
                      </a:lnTo>
                      <a:lnTo>
                        <a:pt x="13" y="705"/>
                      </a:lnTo>
                      <a:lnTo>
                        <a:pt x="15" y="705"/>
                      </a:lnTo>
                      <a:lnTo>
                        <a:pt x="15" y="703"/>
                      </a:lnTo>
                      <a:lnTo>
                        <a:pt x="13" y="703"/>
                      </a:lnTo>
                      <a:lnTo>
                        <a:pt x="13" y="705"/>
                      </a:lnTo>
                      <a:lnTo>
                        <a:pt x="11" y="705"/>
                      </a:lnTo>
                      <a:lnTo>
                        <a:pt x="11" y="703"/>
                      </a:lnTo>
                      <a:lnTo>
                        <a:pt x="11" y="701"/>
                      </a:lnTo>
                      <a:lnTo>
                        <a:pt x="10" y="701"/>
                      </a:lnTo>
                      <a:lnTo>
                        <a:pt x="10" y="700"/>
                      </a:lnTo>
                      <a:lnTo>
                        <a:pt x="11" y="700"/>
                      </a:lnTo>
                      <a:lnTo>
                        <a:pt x="11" y="698"/>
                      </a:lnTo>
                      <a:lnTo>
                        <a:pt x="11" y="696"/>
                      </a:lnTo>
                      <a:lnTo>
                        <a:pt x="10" y="696"/>
                      </a:lnTo>
                      <a:lnTo>
                        <a:pt x="10" y="695"/>
                      </a:lnTo>
                      <a:lnTo>
                        <a:pt x="8" y="693"/>
                      </a:lnTo>
                      <a:lnTo>
                        <a:pt x="8" y="691"/>
                      </a:lnTo>
                      <a:lnTo>
                        <a:pt x="10" y="691"/>
                      </a:lnTo>
                      <a:lnTo>
                        <a:pt x="10" y="690"/>
                      </a:lnTo>
                      <a:lnTo>
                        <a:pt x="8" y="690"/>
                      </a:lnTo>
                      <a:lnTo>
                        <a:pt x="6" y="690"/>
                      </a:lnTo>
                      <a:lnTo>
                        <a:pt x="5" y="690"/>
                      </a:lnTo>
                      <a:lnTo>
                        <a:pt x="3" y="688"/>
                      </a:lnTo>
                      <a:lnTo>
                        <a:pt x="3" y="687"/>
                      </a:lnTo>
                      <a:lnTo>
                        <a:pt x="3" y="685"/>
                      </a:lnTo>
                      <a:lnTo>
                        <a:pt x="5" y="685"/>
                      </a:lnTo>
                      <a:lnTo>
                        <a:pt x="6" y="685"/>
                      </a:lnTo>
                      <a:lnTo>
                        <a:pt x="6" y="683"/>
                      </a:lnTo>
                      <a:lnTo>
                        <a:pt x="5" y="682"/>
                      </a:lnTo>
                      <a:lnTo>
                        <a:pt x="6" y="680"/>
                      </a:lnTo>
                      <a:lnTo>
                        <a:pt x="8" y="678"/>
                      </a:lnTo>
                      <a:lnTo>
                        <a:pt x="8" y="677"/>
                      </a:lnTo>
                      <a:lnTo>
                        <a:pt x="8" y="675"/>
                      </a:lnTo>
                      <a:lnTo>
                        <a:pt x="10" y="673"/>
                      </a:lnTo>
                      <a:lnTo>
                        <a:pt x="8" y="672"/>
                      </a:lnTo>
                      <a:lnTo>
                        <a:pt x="10" y="672"/>
                      </a:lnTo>
                      <a:lnTo>
                        <a:pt x="11" y="672"/>
                      </a:lnTo>
                      <a:lnTo>
                        <a:pt x="11" y="670"/>
                      </a:lnTo>
                      <a:lnTo>
                        <a:pt x="11" y="668"/>
                      </a:lnTo>
                      <a:lnTo>
                        <a:pt x="10" y="668"/>
                      </a:lnTo>
                      <a:lnTo>
                        <a:pt x="10" y="667"/>
                      </a:lnTo>
                      <a:lnTo>
                        <a:pt x="11" y="667"/>
                      </a:lnTo>
                      <a:lnTo>
                        <a:pt x="11" y="665"/>
                      </a:lnTo>
                      <a:lnTo>
                        <a:pt x="10" y="664"/>
                      </a:lnTo>
                      <a:lnTo>
                        <a:pt x="10" y="662"/>
                      </a:lnTo>
                      <a:lnTo>
                        <a:pt x="10" y="660"/>
                      </a:lnTo>
                      <a:lnTo>
                        <a:pt x="10" y="659"/>
                      </a:lnTo>
                      <a:lnTo>
                        <a:pt x="10" y="657"/>
                      </a:lnTo>
                      <a:lnTo>
                        <a:pt x="8" y="657"/>
                      </a:lnTo>
                      <a:lnTo>
                        <a:pt x="10" y="657"/>
                      </a:lnTo>
                      <a:lnTo>
                        <a:pt x="10" y="655"/>
                      </a:lnTo>
                      <a:lnTo>
                        <a:pt x="10" y="654"/>
                      </a:lnTo>
                      <a:lnTo>
                        <a:pt x="8" y="652"/>
                      </a:lnTo>
                      <a:lnTo>
                        <a:pt x="8" y="650"/>
                      </a:lnTo>
                      <a:lnTo>
                        <a:pt x="10" y="650"/>
                      </a:lnTo>
                      <a:lnTo>
                        <a:pt x="8" y="650"/>
                      </a:lnTo>
                      <a:lnTo>
                        <a:pt x="6" y="650"/>
                      </a:lnTo>
                      <a:lnTo>
                        <a:pt x="6" y="649"/>
                      </a:lnTo>
                      <a:lnTo>
                        <a:pt x="5" y="649"/>
                      </a:lnTo>
                      <a:lnTo>
                        <a:pt x="6" y="647"/>
                      </a:lnTo>
                      <a:lnTo>
                        <a:pt x="6" y="645"/>
                      </a:lnTo>
                      <a:lnTo>
                        <a:pt x="6" y="644"/>
                      </a:lnTo>
                      <a:lnTo>
                        <a:pt x="6" y="642"/>
                      </a:lnTo>
                      <a:lnTo>
                        <a:pt x="6" y="641"/>
                      </a:lnTo>
                      <a:lnTo>
                        <a:pt x="6" y="639"/>
                      </a:lnTo>
                      <a:lnTo>
                        <a:pt x="6" y="637"/>
                      </a:lnTo>
                      <a:lnTo>
                        <a:pt x="6" y="636"/>
                      </a:lnTo>
                      <a:lnTo>
                        <a:pt x="6" y="634"/>
                      </a:lnTo>
                      <a:lnTo>
                        <a:pt x="5" y="634"/>
                      </a:lnTo>
                      <a:lnTo>
                        <a:pt x="5" y="632"/>
                      </a:lnTo>
                      <a:lnTo>
                        <a:pt x="6" y="632"/>
                      </a:lnTo>
                      <a:lnTo>
                        <a:pt x="6" y="631"/>
                      </a:lnTo>
                      <a:lnTo>
                        <a:pt x="5" y="631"/>
                      </a:lnTo>
                      <a:lnTo>
                        <a:pt x="5" y="629"/>
                      </a:lnTo>
                      <a:lnTo>
                        <a:pt x="6" y="629"/>
                      </a:lnTo>
                      <a:lnTo>
                        <a:pt x="6" y="627"/>
                      </a:lnTo>
                      <a:lnTo>
                        <a:pt x="8" y="627"/>
                      </a:lnTo>
                      <a:lnTo>
                        <a:pt x="8" y="626"/>
                      </a:lnTo>
                      <a:lnTo>
                        <a:pt x="8" y="624"/>
                      </a:lnTo>
                      <a:lnTo>
                        <a:pt x="6" y="622"/>
                      </a:lnTo>
                      <a:lnTo>
                        <a:pt x="8" y="621"/>
                      </a:lnTo>
                      <a:lnTo>
                        <a:pt x="10" y="621"/>
                      </a:lnTo>
                      <a:lnTo>
                        <a:pt x="10" y="619"/>
                      </a:lnTo>
                      <a:lnTo>
                        <a:pt x="10" y="618"/>
                      </a:lnTo>
                      <a:lnTo>
                        <a:pt x="8" y="618"/>
                      </a:lnTo>
                      <a:lnTo>
                        <a:pt x="6" y="618"/>
                      </a:lnTo>
                      <a:lnTo>
                        <a:pt x="5" y="618"/>
                      </a:lnTo>
                      <a:lnTo>
                        <a:pt x="5" y="616"/>
                      </a:lnTo>
                      <a:lnTo>
                        <a:pt x="5" y="614"/>
                      </a:lnTo>
                      <a:lnTo>
                        <a:pt x="5" y="613"/>
                      </a:lnTo>
                      <a:lnTo>
                        <a:pt x="3" y="611"/>
                      </a:lnTo>
                      <a:lnTo>
                        <a:pt x="3" y="608"/>
                      </a:lnTo>
                      <a:lnTo>
                        <a:pt x="3" y="606"/>
                      </a:lnTo>
                      <a:lnTo>
                        <a:pt x="1" y="606"/>
                      </a:lnTo>
                      <a:lnTo>
                        <a:pt x="1" y="604"/>
                      </a:lnTo>
                      <a:lnTo>
                        <a:pt x="3" y="604"/>
                      </a:lnTo>
                      <a:lnTo>
                        <a:pt x="3" y="603"/>
                      </a:lnTo>
                      <a:lnTo>
                        <a:pt x="5" y="603"/>
                      </a:lnTo>
                      <a:lnTo>
                        <a:pt x="5" y="601"/>
                      </a:lnTo>
                      <a:lnTo>
                        <a:pt x="6" y="601"/>
                      </a:lnTo>
                      <a:lnTo>
                        <a:pt x="8" y="599"/>
                      </a:lnTo>
                      <a:lnTo>
                        <a:pt x="8" y="598"/>
                      </a:lnTo>
                      <a:lnTo>
                        <a:pt x="8" y="596"/>
                      </a:lnTo>
                      <a:lnTo>
                        <a:pt x="8" y="595"/>
                      </a:lnTo>
                      <a:lnTo>
                        <a:pt x="6" y="595"/>
                      </a:lnTo>
                      <a:lnTo>
                        <a:pt x="8" y="595"/>
                      </a:lnTo>
                      <a:lnTo>
                        <a:pt x="8" y="593"/>
                      </a:lnTo>
                      <a:lnTo>
                        <a:pt x="8" y="591"/>
                      </a:lnTo>
                      <a:lnTo>
                        <a:pt x="6" y="591"/>
                      </a:lnTo>
                      <a:lnTo>
                        <a:pt x="5" y="591"/>
                      </a:lnTo>
                      <a:lnTo>
                        <a:pt x="3" y="591"/>
                      </a:lnTo>
                      <a:lnTo>
                        <a:pt x="1" y="590"/>
                      </a:lnTo>
                      <a:lnTo>
                        <a:pt x="1" y="588"/>
                      </a:lnTo>
                      <a:lnTo>
                        <a:pt x="0" y="588"/>
                      </a:lnTo>
                      <a:lnTo>
                        <a:pt x="0" y="586"/>
                      </a:lnTo>
                      <a:lnTo>
                        <a:pt x="1" y="585"/>
                      </a:lnTo>
                      <a:lnTo>
                        <a:pt x="0" y="583"/>
                      </a:lnTo>
                      <a:lnTo>
                        <a:pt x="0" y="581"/>
                      </a:lnTo>
                      <a:lnTo>
                        <a:pt x="0" y="580"/>
                      </a:lnTo>
                      <a:lnTo>
                        <a:pt x="0" y="578"/>
                      </a:lnTo>
                      <a:lnTo>
                        <a:pt x="1" y="576"/>
                      </a:lnTo>
                      <a:lnTo>
                        <a:pt x="1" y="575"/>
                      </a:lnTo>
                      <a:lnTo>
                        <a:pt x="1" y="573"/>
                      </a:lnTo>
                      <a:lnTo>
                        <a:pt x="3" y="572"/>
                      </a:lnTo>
                      <a:lnTo>
                        <a:pt x="3" y="570"/>
                      </a:lnTo>
                      <a:lnTo>
                        <a:pt x="3" y="568"/>
                      </a:lnTo>
                      <a:lnTo>
                        <a:pt x="5" y="567"/>
                      </a:lnTo>
                      <a:lnTo>
                        <a:pt x="5" y="565"/>
                      </a:lnTo>
                      <a:lnTo>
                        <a:pt x="6" y="565"/>
                      </a:lnTo>
                      <a:lnTo>
                        <a:pt x="6" y="563"/>
                      </a:lnTo>
                      <a:lnTo>
                        <a:pt x="6" y="562"/>
                      </a:lnTo>
                      <a:lnTo>
                        <a:pt x="8" y="560"/>
                      </a:lnTo>
                      <a:lnTo>
                        <a:pt x="8" y="557"/>
                      </a:lnTo>
                      <a:lnTo>
                        <a:pt x="8" y="555"/>
                      </a:lnTo>
                      <a:lnTo>
                        <a:pt x="6" y="552"/>
                      </a:lnTo>
                      <a:lnTo>
                        <a:pt x="8" y="552"/>
                      </a:lnTo>
                      <a:lnTo>
                        <a:pt x="8" y="550"/>
                      </a:lnTo>
                      <a:lnTo>
                        <a:pt x="8" y="549"/>
                      </a:lnTo>
                      <a:lnTo>
                        <a:pt x="10" y="549"/>
                      </a:lnTo>
                      <a:lnTo>
                        <a:pt x="10" y="547"/>
                      </a:lnTo>
                      <a:lnTo>
                        <a:pt x="10" y="545"/>
                      </a:lnTo>
                      <a:lnTo>
                        <a:pt x="11" y="545"/>
                      </a:lnTo>
                      <a:lnTo>
                        <a:pt x="11" y="544"/>
                      </a:lnTo>
                      <a:lnTo>
                        <a:pt x="13" y="544"/>
                      </a:lnTo>
                      <a:lnTo>
                        <a:pt x="11" y="542"/>
                      </a:lnTo>
                      <a:lnTo>
                        <a:pt x="11" y="540"/>
                      </a:lnTo>
                      <a:lnTo>
                        <a:pt x="11" y="539"/>
                      </a:lnTo>
                      <a:lnTo>
                        <a:pt x="11" y="537"/>
                      </a:lnTo>
                      <a:lnTo>
                        <a:pt x="11" y="535"/>
                      </a:lnTo>
                      <a:lnTo>
                        <a:pt x="11" y="534"/>
                      </a:lnTo>
                      <a:lnTo>
                        <a:pt x="11" y="532"/>
                      </a:lnTo>
                      <a:lnTo>
                        <a:pt x="10" y="532"/>
                      </a:lnTo>
                      <a:lnTo>
                        <a:pt x="10" y="530"/>
                      </a:lnTo>
                      <a:lnTo>
                        <a:pt x="11" y="529"/>
                      </a:lnTo>
                      <a:lnTo>
                        <a:pt x="13" y="529"/>
                      </a:lnTo>
                      <a:lnTo>
                        <a:pt x="13" y="527"/>
                      </a:lnTo>
                      <a:lnTo>
                        <a:pt x="13" y="526"/>
                      </a:lnTo>
                      <a:lnTo>
                        <a:pt x="11" y="526"/>
                      </a:lnTo>
                      <a:lnTo>
                        <a:pt x="11" y="524"/>
                      </a:lnTo>
                      <a:lnTo>
                        <a:pt x="11" y="522"/>
                      </a:lnTo>
                      <a:lnTo>
                        <a:pt x="11" y="521"/>
                      </a:lnTo>
                      <a:lnTo>
                        <a:pt x="11" y="519"/>
                      </a:lnTo>
                      <a:lnTo>
                        <a:pt x="13" y="519"/>
                      </a:lnTo>
                      <a:lnTo>
                        <a:pt x="15" y="519"/>
                      </a:lnTo>
                      <a:lnTo>
                        <a:pt x="15" y="517"/>
                      </a:lnTo>
                      <a:lnTo>
                        <a:pt x="15" y="516"/>
                      </a:lnTo>
                      <a:lnTo>
                        <a:pt x="16" y="516"/>
                      </a:lnTo>
                      <a:lnTo>
                        <a:pt x="16" y="514"/>
                      </a:lnTo>
                      <a:lnTo>
                        <a:pt x="15" y="512"/>
                      </a:lnTo>
                      <a:lnTo>
                        <a:pt x="15" y="511"/>
                      </a:lnTo>
                      <a:lnTo>
                        <a:pt x="15" y="509"/>
                      </a:lnTo>
                      <a:lnTo>
                        <a:pt x="15" y="507"/>
                      </a:lnTo>
                      <a:lnTo>
                        <a:pt x="13" y="507"/>
                      </a:lnTo>
                      <a:lnTo>
                        <a:pt x="13" y="506"/>
                      </a:lnTo>
                      <a:lnTo>
                        <a:pt x="15" y="504"/>
                      </a:lnTo>
                      <a:lnTo>
                        <a:pt x="15" y="503"/>
                      </a:lnTo>
                      <a:lnTo>
                        <a:pt x="16" y="503"/>
                      </a:lnTo>
                      <a:lnTo>
                        <a:pt x="16" y="501"/>
                      </a:lnTo>
                      <a:lnTo>
                        <a:pt x="18" y="501"/>
                      </a:lnTo>
                      <a:lnTo>
                        <a:pt x="20" y="501"/>
                      </a:lnTo>
                      <a:lnTo>
                        <a:pt x="20" y="499"/>
                      </a:lnTo>
                      <a:lnTo>
                        <a:pt x="20" y="498"/>
                      </a:lnTo>
                      <a:lnTo>
                        <a:pt x="22" y="498"/>
                      </a:lnTo>
                      <a:lnTo>
                        <a:pt x="22" y="496"/>
                      </a:lnTo>
                      <a:lnTo>
                        <a:pt x="20" y="494"/>
                      </a:lnTo>
                      <a:lnTo>
                        <a:pt x="22" y="493"/>
                      </a:lnTo>
                      <a:lnTo>
                        <a:pt x="22" y="491"/>
                      </a:lnTo>
                      <a:lnTo>
                        <a:pt x="23" y="491"/>
                      </a:lnTo>
                      <a:lnTo>
                        <a:pt x="25" y="489"/>
                      </a:lnTo>
                      <a:lnTo>
                        <a:pt x="23" y="489"/>
                      </a:lnTo>
                      <a:lnTo>
                        <a:pt x="23" y="488"/>
                      </a:lnTo>
                      <a:lnTo>
                        <a:pt x="25" y="485"/>
                      </a:lnTo>
                      <a:lnTo>
                        <a:pt x="25" y="483"/>
                      </a:lnTo>
                      <a:lnTo>
                        <a:pt x="27" y="481"/>
                      </a:lnTo>
                      <a:lnTo>
                        <a:pt x="28" y="481"/>
                      </a:lnTo>
                      <a:lnTo>
                        <a:pt x="28" y="480"/>
                      </a:lnTo>
                      <a:lnTo>
                        <a:pt x="30" y="478"/>
                      </a:lnTo>
                      <a:lnTo>
                        <a:pt x="30" y="476"/>
                      </a:lnTo>
                      <a:lnTo>
                        <a:pt x="32" y="473"/>
                      </a:lnTo>
                      <a:lnTo>
                        <a:pt x="32" y="471"/>
                      </a:lnTo>
                      <a:lnTo>
                        <a:pt x="32" y="470"/>
                      </a:lnTo>
                      <a:lnTo>
                        <a:pt x="32" y="468"/>
                      </a:lnTo>
                      <a:lnTo>
                        <a:pt x="33" y="468"/>
                      </a:lnTo>
                      <a:lnTo>
                        <a:pt x="33" y="466"/>
                      </a:lnTo>
                      <a:lnTo>
                        <a:pt x="33" y="465"/>
                      </a:lnTo>
                      <a:lnTo>
                        <a:pt x="33" y="462"/>
                      </a:lnTo>
                      <a:lnTo>
                        <a:pt x="32" y="460"/>
                      </a:lnTo>
                      <a:lnTo>
                        <a:pt x="33" y="457"/>
                      </a:lnTo>
                      <a:lnTo>
                        <a:pt x="35" y="455"/>
                      </a:lnTo>
                      <a:lnTo>
                        <a:pt x="37" y="453"/>
                      </a:lnTo>
                      <a:lnTo>
                        <a:pt x="37" y="452"/>
                      </a:lnTo>
                      <a:lnTo>
                        <a:pt x="38" y="450"/>
                      </a:lnTo>
                      <a:lnTo>
                        <a:pt x="40" y="450"/>
                      </a:lnTo>
                      <a:lnTo>
                        <a:pt x="42" y="448"/>
                      </a:lnTo>
                      <a:lnTo>
                        <a:pt x="42" y="447"/>
                      </a:lnTo>
                      <a:lnTo>
                        <a:pt x="42" y="445"/>
                      </a:lnTo>
                      <a:lnTo>
                        <a:pt x="42" y="443"/>
                      </a:lnTo>
                      <a:lnTo>
                        <a:pt x="44" y="443"/>
                      </a:lnTo>
                      <a:lnTo>
                        <a:pt x="44" y="442"/>
                      </a:lnTo>
                      <a:lnTo>
                        <a:pt x="44" y="440"/>
                      </a:lnTo>
                      <a:lnTo>
                        <a:pt x="45" y="440"/>
                      </a:lnTo>
                      <a:lnTo>
                        <a:pt x="45" y="439"/>
                      </a:lnTo>
                      <a:lnTo>
                        <a:pt x="45" y="437"/>
                      </a:lnTo>
                      <a:lnTo>
                        <a:pt x="45" y="435"/>
                      </a:lnTo>
                      <a:lnTo>
                        <a:pt x="47" y="434"/>
                      </a:lnTo>
                      <a:lnTo>
                        <a:pt x="47" y="432"/>
                      </a:lnTo>
                      <a:lnTo>
                        <a:pt x="49" y="432"/>
                      </a:lnTo>
                      <a:lnTo>
                        <a:pt x="49" y="430"/>
                      </a:lnTo>
                      <a:lnTo>
                        <a:pt x="50" y="430"/>
                      </a:lnTo>
                      <a:lnTo>
                        <a:pt x="50" y="429"/>
                      </a:lnTo>
                      <a:lnTo>
                        <a:pt x="50" y="427"/>
                      </a:lnTo>
                      <a:lnTo>
                        <a:pt x="50" y="425"/>
                      </a:lnTo>
                      <a:lnTo>
                        <a:pt x="52" y="424"/>
                      </a:lnTo>
                      <a:lnTo>
                        <a:pt x="52" y="422"/>
                      </a:lnTo>
                      <a:lnTo>
                        <a:pt x="54" y="420"/>
                      </a:lnTo>
                      <a:lnTo>
                        <a:pt x="55" y="419"/>
                      </a:lnTo>
                      <a:lnTo>
                        <a:pt x="55" y="417"/>
                      </a:lnTo>
                      <a:lnTo>
                        <a:pt x="55" y="416"/>
                      </a:lnTo>
                      <a:lnTo>
                        <a:pt x="57" y="414"/>
                      </a:lnTo>
                      <a:lnTo>
                        <a:pt x="57" y="412"/>
                      </a:lnTo>
                      <a:lnTo>
                        <a:pt x="57" y="411"/>
                      </a:lnTo>
                      <a:lnTo>
                        <a:pt x="59" y="411"/>
                      </a:lnTo>
                      <a:lnTo>
                        <a:pt x="59" y="409"/>
                      </a:lnTo>
                      <a:lnTo>
                        <a:pt x="60" y="407"/>
                      </a:lnTo>
                      <a:lnTo>
                        <a:pt x="60" y="406"/>
                      </a:lnTo>
                      <a:lnTo>
                        <a:pt x="60" y="404"/>
                      </a:lnTo>
                      <a:lnTo>
                        <a:pt x="62" y="404"/>
                      </a:lnTo>
                      <a:lnTo>
                        <a:pt x="62" y="402"/>
                      </a:lnTo>
                      <a:lnTo>
                        <a:pt x="62" y="401"/>
                      </a:lnTo>
                      <a:lnTo>
                        <a:pt x="60" y="399"/>
                      </a:lnTo>
                      <a:lnTo>
                        <a:pt x="60" y="397"/>
                      </a:lnTo>
                      <a:lnTo>
                        <a:pt x="60" y="394"/>
                      </a:lnTo>
                      <a:lnTo>
                        <a:pt x="62" y="394"/>
                      </a:lnTo>
                      <a:lnTo>
                        <a:pt x="62" y="393"/>
                      </a:lnTo>
                      <a:lnTo>
                        <a:pt x="62" y="391"/>
                      </a:lnTo>
                      <a:lnTo>
                        <a:pt x="64" y="391"/>
                      </a:lnTo>
                      <a:lnTo>
                        <a:pt x="64" y="389"/>
                      </a:lnTo>
                      <a:lnTo>
                        <a:pt x="65" y="388"/>
                      </a:lnTo>
                      <a:lnTo>
                        <a:pt x="65" y="386"/>
                      </a:lnTo>
                      <a:lnTo>
                        <a:pt x="65" y="384"/>
                      </a:lnTo>
                      <a:lnTo>
                        <a:pt x="65" y="381"/>
                      </a:lnTo>
                      <a:lnTo>
                        <a:pt x="67" y="379"/>
                      </a:lnTo>
                      <a:lnTo>
                        <a:pt x="69" y="379"/>
                      </a:lnTo>
                      <a:lnTo>
                        <a:pt x="69" y="378"/>
                      </a:lnTo>
                      <a:lnTo>
                        <a:pt x="71" y="378"/>
                      </a:lnTo>
                      <a:lnTo>
                        <a:pt x="71" y="376"/>
                      </a:lnTo>
                      <a:lnTo>
                        <a:pt x="71" y="374"/>
                      </a:lnTo>
                      <a:lnTo>
                        <a:pt x="72" y="374"/>
                      </a:lnTo>
                      <a:lnTo>
                        <a:pt x="74" y="374"/>
                      </a:lnTo>
                      <a:lnTo>
                        <a:pt x="74" y="373"/>
                      </a:lnTo>
                      <a:lnTo>
                        <a:pt x="76" y="371"/>
                      </a:lnTo>
                      <a:lnTo>
                        <a:pt x="77" y="370"/>
                      </a:lnTo>
                      <a:lnTo>
                        <a:pt x="79" y="370"/>
                      </a:lnTo>
                      <a:lnTo>
                        <a:pt x="79" y="368"/>
                      </a:lnTo>
                      <a:lnTo>
                        <a:pt x="79" y="366"/>
                      </a:lnTo>
                      <a:lnTo>
                        <a:pt x="81" y="366"/>
                      </a:lnTo>
                      <a:lnTo>
                        <a:pt x="81" y="365"/>
                      </a:lnTo>
                      <a:lnTo>
                        <a:pt x="82" y="363"/>
                      </a:lnTo>
                      <a:lnTo>
                        <a:pt x="82" y="361"/>
                      </a:lnTo>
                      <a:lnTo>
                        <a:pt x="84" y="361"/>
                      </a:lnTo>
                      <a:lnTo>
                        <a:pt x="84" y="360"/>
                      </a:lnTo>
                      <a:lnTo>
                        <a:pt x="84" y="358"/>
                      </a:lnTo>
                      <a:lnTo>
                        <a:pt x="84" y="356"/>
                      </a:lnTo>
                      <a:lnTo>
                        <a:pt x="86" y="355"/>
                      </a:lnTo>
                      <a:lnTo>
                        <a:pt x="87" y="353"/>
                      </a:lnTo>
                      <a:lnTo>
                        <a:pt x="89" y="351"/>
                      </a:lnTo>
                      <a:lnTo>
                        <a:pt x="91" y="350"/>
                      </a:lnTo>
                      <a:lnTo>
                        <a:pt x="92" y="348"/>
                      </a:lnTo>
                      <a:lnTo>
                        <a:pt x="92" y="347"/>
                      </a:lnTo>
                      <a:lnTo>
                        <a:pt x="94" y="345"/>
                      </a:lnTo>
                      <a:lnTo>
                        <a:pt x="96" y="343"/>
                      </a:lnTo>
                      <a:lnTo>
                        <a:pt x="98" y="342"/>
                      </a:lnTo>
                      <a:lnTo>
                        <a:pt x="99" y="342"/>
                      </a:lnTo>
                      <a:lnTo>
                        <a:pt x="101" y="340"/>
                      </a:lnTo>
                      <a:lnTo>
                        <a:pt x="104" y="338"/>
                      </a:lnTo>
                      <a:lnTo>
                        <a:pt x="106" y="338"/>
                      </a:lnTo>
                      <a:lnTo>
                        <a:pt x="108" y="338"/>
                      </a:lnTo>
                      <a:lnTo>
                        <a:pt x="109" y="338"/>
                      </a:lnTo>
                      <a:lnTo>
                        <a:pt x="109" y="337"/>
                      </a:lnTo>
                      <a:lnTo>
                        <a:pt x="111" y="335"/>
                      </a:lnTo>
                      <a:lnTo>
                        <a:pt x="111" y="333"/>
                      </a:lnTo>
                      <a:lnTo>
                        <a:pt x="113" y="332"/>
                      </a:lnTo>
                      <a:lnTo>
                        <a:pt x="113" y="330"/>
                      </a:lnTo>
                      <a:lnTo>
                        <a:pt x="114" y="330"/>
                      </a:lnTo>
                      <a:lnTo>
                        <a:pt x="116" y="327"/>
                      </a:lnTo>
                      <a:lnTo>
                        <a:pt x="118" y="325"/>
                      </a:lnTo>
                      <a:lnTo>
                        <a:pt x="120" y="324"/>
                      </a:lnTo>
                      <a:lnTo>
                        <a:pt x="120" y="322"/>
                      </a:lnTo>
                      <a:lnTo>
                        <a:pt x="120" y="320"/>
                      </a:lnTo>
                      <a:lnTo>
                        <a:pt x="121" y="320"/>
                      </a:lnTo>
                      <a:lnTo>
                        <a:pt x="121" y="319"/>
                      </a:lnTo>
                      <a:lnTo>
                        <a:pt x="121" y="317"/>
                      </a:lnTo>
                      <a:lnTo>
                        <a:pt x="125" y="315"/>
                      </a:lnTo>
                      <a:lnTo>
                        <a:pt x="126" y="314"/>
                      </a:lnTo>
                      <a:lnTo>
                        <a:pt x="126" y="312"/>
                      </a:lnTo>
                      <a:lnTo>
                        <a:pt x="128" y="312"/>
                      </a:lnTo>
                      <a:lnTo>
                        <a:pt x="128" y="310"/>
                      </a:lnTo>
                      <a:lnTo>
                        <a:pt x="128" y="309"/>
                      </a:lnTo>
                      <a:lnTo>
                        <a:pt x="128" y="307"/>
                      </a:lnTo>
                      <a:lnTo>
                        <a:pt x="128" y="305"/>
                      </a:lnTo>
                      <a:lnTo>
                        <a:pt x="130" y="302"/>
                      </a:lnTo>
                      <a:lnTo>
                        <a:pt x="131" y="299"/>
                      </a:lnTo>
                      <a:lnTo>
                        <a:pt x="133" y="299"/>
                      </a:lnTo>
                      <a:lnTo>
                        <a:pt x="135" y="297"/>
                      </a:lnTo>
                      <a:lnTo>
                        <a:pt x="136" y="297"/>
                      </a:lnTo>
                      <a:lnTo>
                        <a:pt x="138" y="296"/>
                      </a:lnTo>
                      <a:lnTo>
                        <a:pt x="138" y="294"/>
                      </a:lnTo>
                      <a:lnTo>
                        <a:pt x="140" y="291"/>
                      </a:lnTo>
                      <a:lnTo>
                        <a:pt x="140" y="289"/>
                      </a:lnTo>
                      <a:lnTo>
                        <a:pt x="141" y="287"/>
                      </a:lnTo>
                      <a:lnTo>
                        <a:pt x="141" y="286"/>
                      </a:lnTo>
                      <a:lnTo>
                        <a:pt x="141" y="284"/>
                      </a:lnTo>
                      <a:lnTo>
                        <a:pt x="143" y="282"/>
                      </a:lnTo>
                      <a:lnTo>
                        <a:pt x="143" y="281"/>
                      </a:lnTo>
                      <a:lnTo>
                        <a:pt x="143" y="279"/>
                      </a:lnTo>
                      <a:lnTo>
                        <a:pt x="145" y="279"/>
                      </a:lnTo>
                      <a:lnTo>
                        <a:pt x="145" y="278"/>
                      </a:lnTo>
                      <a:lnTo>
                        <a:pt x="147" y="274"/>
                      </a:lnTo>
                      <a:lnTo>
                        <a:pt x="145" y="273"/>
                      </a:lnTo>
                      <a:lnTo>
                        <a:pt x="147" y="271"/>
                      </a:lnTo>
                      <a:lnTo>
                        <a:pt x="147" y="269"/>
                      </a:lnTo>
                      <a:lnTo>
                        <a:pt x="147" y="268"/>
                      </a:lnTo>
                      <a:lnTo>
                        <a:pt x="148" y="268"/>
                      </a:lnTo>
                      <a:lnTo>
                        <a:pt x="148" y="266"/>
                      </a:lnTo>
                      <a:lnTo>
                        <a:pt x="148" y="264"/>
                      </a:lnTo>
                      <a:lnTo>
                        <a:pt x="148" y="263"/>
                      </a:lnTo>
                      <a:lnTo>
                        <a:pt x="148" y="261"/>
                      </a:lnTo>
                      <a:lnTo>
                        <a:pt x="148" y="260"/>
                      </a:lnTo>
                      <a:lnTo>
                        <a:pt x="148" y="258"/>
                      </a:lnTo>
                      <a:lnTo>
                        <a:pt x="148" y="256"/>
                      </a:lnTo>
                      <a:lnTo>
                        <a:pt x="150" y="256"/>
                      </a:lnTo>
                      <a:lnTo>
                        <a:pt x="150" y="253"/>
                      </a:lnTo>
                      <a:lnTo>
                        <a:pt x="150" y="251"/>
                      </a:lnTo>
                      <a:lnTo>
                        <a:pt x="150" y="250"/>
                      </a:lnTo>
                      <a:lnTo>
                        <a:pt x="150" y="248"/>
                      </a:lnTo>
                      <a:lnTo>
                        <a:pt x="150" y="246"/>
                      </a:lnTo>
                      <a:lnTo>
                        <a:pt x="150" y="245"/>
                      </a:lnTo>
                      <a:lnTo>
                        <a:pt x="152" y="243"/>
                      </a:lnTo>
                      <a:lnTo>
                        <a:pt x="150" y="241"/>
                      </a:lnTo>
                      <a:lnTo>
                        <a:pt x="148" y="241"/>
                      </a:lnTo>
                      <a:lnTo>
                        <a:pt x="147" y="240"/>
                      </a:lnTo>
                      <a:lnTo>
                        <a:pt x="145" y="238"/>
                      </a:lnTo>
                      <a:lnTo>
                        <a:pt x="143" y="238"/>
                      </a:lnTo>
                      <a:lnTo>
                        <a:pt x="143" y="237"/>
                      </a:lnTo>
                      <a:lnTo>
                        <a:pt x="141" y="237"/>
                      </a:lnTo>
                      <a:lnTo>
                        <a:pt x="140" y="235"/>
                      </a:lnTo>
                      <a:lnTo>
                        <a:pt x="138" y="233"/>
                      </a:lnTo>
                      <a:lnTo>
                        <a:pt x="136" y="233"/>
                      </a:lnTo>
                      <a:lnTo>
                        <a:pt x="135" y="232"/>
                      </a:lnTo>
                      <a:lnTo>
                        <a:pt x="133" y="230"/>
                      </a:lnTo>
                      <a:lnTo>
                        <a:pt x="133" y="228"/>
                      </a:lnTo>
                      <a:lnTo>
                        <a:pt x="131" y="227"/>
                      </a:lnTo>
                      <a:lnTo>
                        <a:pt x="131" y="225"/>
                      </a:lnTo>
                      <a:lnTo>
                        <a:pt x="130" y="223"/>
                      </a:lnTo>
                      <a:lnTo>
                        <a:pt x="130" y="220"/>
                      </a:lnTo>
                      <a:lnTo>
                        <a:pt x="128" y="220"/>
                      </a:lnTo>
                      <a:lnTo>
                        <a:pt x="128" y="218"/>
                      </a:lnTo>
                      <a:lnTo>
                        <a:pt x="130" y="215"/>
                      </a:lnTo>
                      <a:lnTo>
                        <a:pt x="130" y="214"/>
                      </a:lnTo>
                      <a:lnTo>
                        <a:pt x="133" y="209"/>
                      </a:lnTo>
                      <a:lnTo>
                        <a:pt x="135" y="209"/>
                      </a:lnTo>
                      <a:lnTo>
                        <a:pt x="135" y="207"/>
                      </a:lnTo>
                      <a:lnTo>
                        <a:pt x="136" y="207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40" y="204"/>
                      </a:lnTo>
                      <a:lnTo>
                        <a:pt x="140" y="202"/>
                      </a:lnTo>
                      <a:lnTo>
                        <a:pt x="141" y="200"/>
                      </a:lnTo>
                      <a:lnTo>
                        <a:pt x="141" y="199"/>
                      </a:lnTo>
                      <a:lnTo>
                        <a:pt x="143" y="199"/>
                      </a:lnTo>
                      <a:lnTo>
                        <a:pt x="145" y="195"/>
                      </a:lnTo>
                      <a:lnTo>
                        <a:pt x="145" y="194"/>
                      </a:lnTo>
                      <a:lnTo>
                        <a:pt x="147" y="191"/>
                      </a:lnTo>
                      <a:lnTo>
                        <a:pt x="148" y="191"/>
                      </a:lnTo>
                      <a:lnTo>
                        <a:pt x="148" y="189"/>
                      </a:lnTo>
                      <a:lnTo>
                        <a:pt x="147" y="186"/>
                      </a:lnTo>
                      <a:lnTo>
                        <a:pt x="147" y="181"/>
                      </a:lnTo>
                      <a:lnTo>
                        <a:pt x="147" y="177"/>
                      </a:lnTo>
                      <a:lnTo>
                        <a:pt x="147" y="176"/>
                      </a:lnTo>
                      <a:lnTo>
                        <a:pt x="147" y="174"/>
                      </a:lnTo>
                      <a:lnTo>
                        <a:pt x="147" y="172"/>
                      </a:lnTo>
                      <a:lnTo>
                        <a:pt x="147" y="171"/>
                      </a:lnTo>
                      <a:lnTo>
                        <a:pt x="147" y="169"/>
                      </a:lnTo>
                      <a:lnTo>
                        <a:pt x="145" y="168"/>
                      </a:lnTo>
                      <a:lnTo>
                        <a:pt x="145" y="166"/>
                      </a:lnTo>
                      <a:lnTo>
                        <a:pt x="145" y="164"/>
                      </a:lnTo>
                      <a:lnTo>
                        <a:pt x="145" y="163"/>
                      </a:lnTo>
                      <a:lnTo>
                        <a:pt x="145" y="161"/>
                      </a:lnTo>
                      <a:lnTo>
                        <a:pt x="147" y="161"/>
                      </a:lnTo>
                      <a:lnTo>
                        <a:pt x="148" y="159"/>
                      </a:lnTo>
                      <a:lnTo>
                        <a:pt x="150" y="158"/>
                      </a:lnTo>
                      <a:lnTo>
                        <a:pt x="152" y="158"/>
                      </a:lnTo>
                      <a:lnTo>
                        <a:pt x="153" y="156"/>
                      </a:lnTo>
                      <a:lnTo>
                        <a:pt x="155" y="156"/>
                      </a:lnTo>
                      <a:lnTo>
                        <a:pt x="157" y="154"/>
                      </a:lnTo>
                      <a:lnTo>
                        <a:pt x="158" y="153"/>
                      </a:lnTo>
                      <a:lnTo>
                        <a:pt x="160" y="151"/>
                      </a:lnTo>
                      <a:lnTo>
                        <a:pt x="162" y="149"/>
                      </a:lnTo>
                      <a:lnTo>
                        <a:pt x="163" y="149"/>
                      </a:lnTo>
                      <a:lnTo>
                        <a:pt x="163" y="148"/>
                      </a:lnTo>
                      <a:lnTo>
                        <a:pt x="165" y="148"/>
                      </a:lnTo>
                      <a:lnTo>
                        <a:pt x="167" y="148"/>
                      </a:lnTo>
                      <a:lnTo>
                        <a:pt x="168" y="148"/>
                      </a:lnTo>
                      <a:lnTo>
                        <a:pt x="170" y="148"/>
                      </a:lnTo>
                      <a:lnTo>
                        <a:pt x="170" y="146"/>
                      </a:lnTo>
                      <a:lnTo>
                        <a:pt x="172" y="146"/>
                      </a:lnTo>
                      <a:lnTo>
                        <a:pt x="174" y="146"/>
                      </a:lnTo>
                      <a:lnTo>
                        <a:pt x="175" y="146"/>
                      </a:lnTo>
                      <a:lnTo>
                        <a:pt x="179" y="145"/>
                      </a:lnTo>
                      <a:lnTo>
                        <a:pt x="180" y="145"/>
                      </a:lnTo>
                      <a:lnTo>
                        <a:pt x="180" y="146"/>
                      </a:lnTo>
                      <a:lnTo>
                        <a:pt x="182" y="146"/>
                      </a:lnTo>
                      <a:lnTo>
                        <a:pt x="185" y="145"/>
                      </a:lnTo>
                      <a:lnTo>
                        <a:pt x="187" y="145"/>
                      </a:lnTo>
                      <a:lnTo>
                        <a:pt x="187" y="143"/>
                      </a:lnTo>
                      <a:lnTo>
                        <a:pt x="189" y="143"/>
                      </a:lnTo>
                      <a:lnTo>
                        <a:pt x="189" y="141"/>
                      </a:lnTo>
                      <a:lnTo>
                        <a:pt x="190" y="140"/>
                      </a:lnTo>
                      <a:lnTo>
                        <a:pt x="194" y="140"/>
                      </a:lnTo>
                      <a:lnTo>
                        <a:pt x="196" y="140"/>
                      </a:lnTo>
                      <a:lnTo>
                        <a:pt x="196" y="138"/>
                      </a:lnTo>
                      <a:lnTo>
                        <a:pt x="197" y="138"/>
                      </a:lnTo>
                      <a:lnTo>
                        <a:pt x="197" y="136"/>
                      </a:lnTo>
                      <a:lnTo>
                        <a:pt x="197" y="135"/>
                      </a:lnTo>
                      <a:lnTo>
                        <a:pt x="197" y="133"/>
                      </a:lnTo>
                      <a:lnTo>
                        <a:pt x="197" y="131"/>
                      </a:lnTo>
                      <a:lnTo>
                        <a:pt x="197" y="130"/>
                      </a:lnTo>
                      <a:lnTo>
                        <a:pt x="197" y="128"/>
                      </a:lnTo>
                      <a:lnTo>
                        <a:pt x="197" y="126"/>
                      </a:lnTo>
                      <a:lnTo>
                        <a:pt x="199" y="125"/>
                      </a:lnTo>
                      <a:lnTo>
                        <a:pt x="199" y="123"/>
                      </a:lnTo>
                      <a:lnTo>
                        <a:pt x="199" y="122"/>
                      </a:lnTo>
                      <a:lnTo>
                        <a:pt x="201" y="122"/>
                      </a:lnTo>
                      <a:lnTo>
                        <a:pt x="201" y="120"/>
                      </a:lnTo>
                      <a:lnTo>
                        <a:pt x="201" y="118"/>
                      </a:lnTo>
                      <a:lnTo>
                        <a:pt x="202" y="118"/>
                      </a:lnTo>
                      <a:lnTo>
                        <a:pt x="202" y="117"/>
                      </a:lnTo>
                      <a:lnTo>
                        <a:pt x="204" y="117"/>
                      </a:lnTo>
                      <a:lnTo>
                        <a:pt x="206" y="115"/>
                      </a:lnTo>
                      <a:lnTo>
                        <a:pt x="207" y="113"/>
                      </a:lnTo>
                      <a:lnTo>
                        <a:pt x="209" y="113"/>
                      </a:lnTo>
                      <a:lnTo>
                        <a:pt x="209" y="112"/>
                      </a:lnTo>
                      <a:lnTo>
                        <a:pt x="211" y="110"/>
                      </a:lnTo>
                      <a:lnTo>
                        <a:pt x="211" y="108"/>
                      </a:lnTo>
                      <a:lnTo>
                        <a:pt x="212" y="108"/>
                      </a:lnTo>
                      <a:lnTo>
                        <a:pt x="216" y="108"/>
                      </a:lnTo>
                      <a:lnTo>
                        <a:pt x="217" y="108"/>
                      </a:lnTo>
                      <a:lnTo>
                        <a:pt x="219" y="108"/>
                      </a:lnTo>
                      <a:lnTo>
                        <a:pt x="223" y="110"/>
                      </a:lnTo>
                      <a:lnTo>
                        <a:pt x="223" y="112"/>
                      </a:lnTo>
                      <a:lnTo>
                        <a:pt x="224" y="112"/>
                      </a:lnTo>
                      <a:lnTo>
                        <a:pt x="224" y="110"/>
                      </a:lnTo>
                      <a:lnTo>
                        <a:pt x="224" y="108"/>
                      </a:lnTo>
                      <a:lnTo>
                        <a:pt x="224" y="107"/>
                      </a:lnTo>
                      <a:lnTo>
                        <a:pt x="223" y="105"/>
                      </a:lnTo>
                      <a:lnTo>
                        <a:pt x="221" y="105"/>
                      </a:lnTo>
                      <a:lnTo>
                        <a:pt x="221" y="103"/>
                      </a:lnTo>
                      <a:lnTo>
                        <a:pt x="221" y="102"/>
                      </a:lnTo>
                      <a:lnTo>
                        <a:pt x="221" y="100"/>
                      </a:lnTo>
                      <a:lnTo>
                        <a:pt x="219" y="99"/>
                      </a:lnTo>
                      <a:lnTo>
                        <a:pt x="219" y="95"/>
                      </a:lnTo>
                      <a:lnTo>
                        <a:pt x="219" y="94"/>
                      </a:lnTo>
                      <a:lnTo>
                        <a:pt x="219" y="92"/>
                      </a:lnTo>
                      <a:lnTo>
                        <a:pt x="221" y="92"/>
                      </a:lnTo>
                      <a:lnTo>
                        <a:pt x="221" y="90"/>
                      </a:lnTo>
                      <a:lnTo>
                        <a:pt x="223" y="90"/>
                      </a:lnTo>
                      <a:lnTo>
                        <a:pt x="224" y="90"/>
                      </a:lnTo>
                      <a:lnTo>
                        <a:pt x="226" y="90"/>
                      </a:lnTo>
                      <a:lnTo>
                        <a:pt x="228" y="89"/>
                      </a:lnTo>
                      <a:lnTo>
                        <a:pt x="229" y="89"/>
                      </a:lnTo>
                      <a:lnTo>
                        <a:pt x="231" y="87"/>
                      </a:lnTo>
                      <a:lnTo>
                        <a:pt x="233" y="85"/>
                      </a:lnTo>
                      <a:lnTo>
                        <a:pt x="233" y="84"/>
                      </a:lnTo>
                      <a:lnTo>
                        <a:pt x="233" y="82"/>
                      </a:lnTo>
                      <a:lnTo>
                        <a:pt x="231" y="80"/>
                      </a:lnTo>
                      <a:lnTo>
                        <a:pt x="229" y="80"/>
                      </a:lnTo>
                      <a:lnTo>
                        <a:pt x="228" y="80"/>
                      </a:lnTo>
                      <a:lnTo>
                        <a:pt x="228" y="79"/>
                      </a:lnTo>
                      <a:lnTo>
                        <a:pt x="228" y="77"/>
                      </a:lnTo>
                      <a:lnTo>
                        <a:pt x="229" y="76"/>
                      </a:lnTo>
                      <a:lnTo>
                        <a:pt x="231" y="74"/>
                      </a:lnTo>
                      <a:lnTo>
                        <a:pt x="233" y="74"/>
                      </a:lnTo>
                      <a:lnTo>
                        <a:pt x="234" y="72"/>
                      </a:lnTo>
                      <a:lnTo>
                        <a:pt x="236" y="72"/>
                      </a:lnTo>
                      <a:lnTo>
                        <a:pt x="238" y="72"/>
                      </a:lnTo>
                      <a:lnTo>
                        <a:pt x="238" y="71"/>
                      </a:lnTo>
                      <a:lnTo>
                        <a:pt x="238" y="69"/>
                      </a:lnTo>
                      <a:lnTo>
                        <a:pt x="238" y="67"/>
                      </a:lnTo>
                      <a:lnTo>
                        <a:pt x="236" y="66"/>
                      </a:lnTo>
                      <a:lnTo>
                        <a:pt x="234" y="64"/>
                      </a:lnTo>
                      <a:lnTo>
                        <a:pt x="233" y="64"/>
                      </a:lnTo>
                      <a:lnTo>
                        <a:pt x="233" y="62"/>
                      </a:lnTo>
                      <a:lnTo>
                        <a:pt x="233" y="61"/>
                      </a:lnTo>
                      <a:lnTo>
                        <a:pt x="231" y="59"/>
                      </a:lnTo>
                      <a:lnTo>
                        <a:pt x="231" y="58"/>
                      </a:lnTo>
                      <a:lnTo>
                        <a:pt x="231" y="56"/>
                      </a:lnTo>
                      <a:lnTo>
                        <a:pt x="231" y="54"/>
                      </a:lnTo>
                      <a:lnTo>
                        <a:pt x="233" y="53"/>
                      </a:lnTo>
                      <a:lnTo>
                        <a:pt x="233" y="51"/>
                      </a:lnTo>
                      <a:lnTo>
                        <a:pt x="234" y="51"/>
                      </a:lnTo>
                      <a:lnTo>
                        <a:pt x="236" y="51"/>
                      </a:lnTo>
                      <a:lnTo>
                        <a:pt x="238" y="51"/>
                      </a:lnTo>
                      <a:lnTo>
                        <a:pt x="239" y="51"/>
                      </a:lnTo>
                      <a:lnTo>
                        <a:pt x="241" y="51"/>
                      </a:lnTo>
                      <a:lnTo>
                        <a:pt x="243" y="49"/>
                      </a:lnTo>
                      <a:lnTo>
                        <a:pt x="244" y="49"/>
                      </a:lnTo>
                      <a:lnTo>
                        <a:pt x="244" y="48"/>
                      </a:lnTo>
                      <a:lnTo>
                        <a:pt x="244" y="46"/>
                      </a:lnTo>
                      <a:lnTo>
                        <a:pt x="246" y="44"/>
                      </a:lnTo>
                      <a:lnTo>
                        <a:pt x="246" y="43"/>
                      </a:lnTo>
                      <a:lnTo>
                        <a:pt x="246" y="41"/>
                      </a:lnTo>
                      <a:lnTo>
                        <a:pt x="244" y="39"/>
                      </a:lnTo>
                      <a:lnTo>
                        <a:pt x="243" y="38"/>
                      </a:lnTo>
                      <a:lnTo>
                        <a:pt x="241" y="36"/>
                      </a:lnTo>
                      <a:lnTo>
                        <a:pt x="239" y="36"/>
                      </a:lnTo>
                      <a:lnTo>
                        <a:pt x="238" y="35"/>
                      </a:lnTo>
                      <a:lnTo>
                        <a:pt x="234" y="35"/>
                      </a:lnTo>
                      <a:lnTo>
                        <a:pt x="233" y="35"/>
                      </a:lnTo>
                      <a:lnTo>
                        <a:pt x="231" y="33"/>
                      </a:lnTo>
                      <a:lnTo>
                        <a:pt x="229" y="30"/>
                      </a:lnTo>
                      <a:lnTo>
                        <a:pt x="229" y="28"/>
                      </a:lnTo>
                      <a:lnTo>
                        <a:pt x="228" y="28"/>
                      </a:lnTo>
                      <a:lnTo>
                        <a:pt x="228" y="26"/>
                      </a:lnTo>
                      <a:lnTo>
                        <a:pt x="228" y="25"/>
                      </a:lnTo>
                      <a:lnTo>
                        <a:pt x="226" y="23"/>
                      </a:lnTo>
                      <a:lnTo>
                        <a:pt x="224" y="23"/>
                      </a:lnTo>
                      <a:lnTo>
                        <a:pt x="223" y="23"/>
                      </a:lnTo>
                      <a:lnTo>
                        <a:pt x="223" y="21"/>
                      </a:lnTo>
                      <a:lnTo>
                        <a:pt x="219" y="21"/>
                      </a:lnTo>
                      <a:lnTo>
                        <a:pt x="217" y="21"/>
                      </a:lnTo>
                      <a:lnTo>
                        <a:pt x="217" y="20"/>
                      </a:lnTo>
                      <a:lnTo>
                        <a:pt x="216" y="21"/>
                      </a:lnTo>
                      <a:lnTo>
                        <a:pt x="212" y="21"/>
                      </a:lnTo>
                      <a:lnTo>
                        <a:pt x="206" y="23"/>
                      </a:lnTo>
                      <a:lnTo>
                        <a:pt x="204" y="23"/>
                      </a:lnTo>
                      <a:lnTo>
                        <a:pt x="202" y="23"/>
                      </a:lnTo>
                      <a:lnTo>
                        <a:pt x="201" y="21"/>
                      </a:lnTo>
                      <a:lnTo>
                        <a:pt x="199" y="20"/>
                      </a:lnTo>
                      <a:lnTo>
                        <a:pt x="196" y="20"/>
                      </a:lnTo>
                      <a:lnTo>
                        <a:pt x="194" y="20"/>
                      </a:lnTo>
                      <a:lnTo>
                        <a:pt x="194" y="18"/>
                      </a:lnTo>
                      <a:lnTo>
                        <a:pt x="192" y="18"/>
                      </a:lnTo>
                      <a:lnTo>
                        <a:pt x="190" y="18"/>
                      </a:lnTo>
                      <a:lnTo>
                        <a:pt x="189" y="18"/>
                      </a:lnTo>
                      <a:lnTo>
                        <a:pt x="189" y="16"/>
                      </a:lnTo>
                      <a:lnTo>
                        <a:pt x="190" y="16"/>
                      </a:lnTo>
                      <a:lnTo>
                        <a:pt x="192" y="16"/>
                      </a:lnTo>
                      <a:lnTo>
                        <a:pt x="194" y="16"/>
                      </a:lnTo>
                      <a:lnTo>
                        <a:pt x="194" y="15"/>
                      </a:lnTo>
                      <a:lnTo>
                        <a:pt x="194" y="13"/>
                      </a:lnTo>
                      <a:lnTo>
                        <a:pt x="196" y="12"/>
                      </a:lnTo>
                      <a:lnTo>
                        <a:pt x="197" y="12"/>
                      </a:lnTo>
                      <a:lnTo>
                        <a:pt x="199" y="13"/>
                      </a:lnTo>
                      <a:lnTo>
                        <a:pt x="201" y="15"/>
                      </a:lnTo>
                      <a:lnTo>
                        <a:pt x="202" y="15"/>
                      </a:lnTo>
                      <a:lnTo>
                        <a:pt x="204" y="13"/>
                      </a:lnTo>
                      <a:lnTo>
                        <a:pt x="206" y="10"/>
                      </a:lnTo>
                      <a:lnTo>
                        <a:pt x="206" y="8"/>
                      </a:lnTo>
                      <a:lnTo>
                        <a:pt x="207" y="7"/>
                      </a:lnTo>
                      <a:lnTo>
                        <a:pt x="207" y="5"/>
                      </a:lnTo>
                      <a:lnTo>
                        <a:pt x="207" y="3"/>
                      </a:lnTo>
                      <a:lnTo>
                        <a:pt x="209" y="3"/>
                      </a:lnTo>
                      <a:lnTo>
                        <a:pt x="209" y="2"/>
                      </a:lnTo>
                      <a:lnTo>
                        <a:pt x="211" y="2"/>
                      </a:lnTo>
                      <a:lnTo>
                        <a:pt x="212" y="2"/>
                      </a:lnTo>
                      <a:lnTo>
                        <a:pt x="214" y="2"/>
                      </a:lnTo>
                      <a:lnTo>
                        <a:pt x="216" y="2"/>
                      </a:lnTo>
                      <a:lnTo>
                        <a:pt x="217" y="2"/>
                      </a:lnTo>
                      <a:lnTo>
                        <a:pt x="221" y="0"/>
                      </a:lnTo>
                      <a:lnTo>
                        <a:pt x="223" y="0"/>
                      </a:lnTo>
                      <a:lnTo>
                        <a:pt x="224" y="0"/>
                      </a:lnTo>
                      <a:lnTo>
                        <a:pt x="226" y="0"/>
                      </a:lnTo>
                      <a:lnTo>
                        <a:pt x="228" y="2"/>
                      </a:lnTo>
                      <a:lnTo>
                        <a:pt x="229" y="2"/>
                      </a:lnTo>
                      <a:lnTo>
                        <a:pt x="229" y="3"/>
                      </a:lnTo>
                      <a:lnTo>
                        <a:pt x="231" y="3"/>
                      </a:lnTo>
                      <a:lnTo>
                        <a:pt x="233" y="3"/>
                      </a:lnTo>
                      <a:lnTo>
                        <a:pt x="234" y="3"/>
                      </a:lnTo>
                      <a:lnTo>
                        <a:pt x="236" y="5"/>
                      </a:lnTo>
                      <a:lnTo>
                        <a:pt x="238" y="5"/>
                      </a:lnTo>
                      <a:lnTo>
                        <a:pt x="239" y="7"/>
                      </a:lnTo>
                      <a:lnTo>
                        <a:pt x="241" y="7"/>
                      </a:lnTo>
                      <a:lnTo>
                        <a:pt x="243" y="8"/>
                      </a:lnTo>
                      <a:lnTo>
                        <a:pt x="246" y="8"/>
                      </a:lnTo>
                      <a:lnTo>
                        <a:pt x="250" y="8"/>
                      </a:lnTo>
                      <a:lnTo>
                        <a:pt x="251" y="10"/>
                      </a:lnTo>
                      <a:lnTo>
                        <a:pt x="253" y="10"/>
                      </a:lnTo>
                      <a:lnTo>
                        <a:pt x="255" y="8"/>
                      </a:lnTo>
                      <a:lnTo>
                        <a:pt x="256" y="8"/>
                      </a:lnTo>
                      <a:lnTo>
                        <a:pt x="256" y="7"/>
                      </a:lnTo>
                      <a:lnTo>
                        <a:pt x="258" y="7"/>
                      </a:lnTo>
                      <a:lnTo>
                        <a:pt x="260" y="5"/>
                      </a:lnTo>
                      <a:lnTo>
                        <a:pt x="261" y="5"/>
                      </a:lnTo>
                      <a:lnTo>
                        <a:pt x="263" y="7"/>
                      </a:lnTo>
                      <a:lnTo>
                        <a:pt x="265" y="7"/>
                      </a:lnTo>
                      <a:lnTo>
                        <a:pt x="266" y="7"/>
                      </a:lnTo>
                      <a:lnTo>
                        <a:pt x="268" y="7"/>
                      </a:lnTo>
                      <a:lnTo>
                        <a:pt x="272" y="8"/>
                      </a:lnTo>
                      <a:lnTo>
                        <a:pt x="272" y="10"/>
                      </a:lnTo>
                      <a:lnTo>
                        <a:pt x="273" y="12"/>
                      </a:lnTo>
                      <a:lnTo>
                        <a:pt x="273" y="13"/>
                      </a:lnTo>
                      <a:lnTo>
                        <a:pt x="272" y="15"/>
                      </a:lnTo>
                      <a:lnTo>
                        <a:pt x="273" y="15"/>
                      </a:lnTo>
                      <a:lnTo>
                        <a:pt x="273" y="16"/>
                      </a:lnTo>
                      <a:lnTo>
                        <a:pt x="275" y="18"/>
                      </a:lnTo>
                      <a:lnTo>
                        <a:pt x="275" y="20"/>
                      </a:lnTo>
                      <a:lnTo>
                        <a:pt x="277" y="20"/>
                      </a:lnTo>
                      <a:lnTo>
                        <a:pt x="278" y="20"/>
                      </a:lnTo>
                      <a:lnTo>
                        <a:pt x="280" y="20"/>
                      </a:lnTo>
                      <a:lnTo>
                        <a:pt x="282" y="20"/>
                      </a:lnTo>
                      <a:lnTo>
                        <a:pt x="282" y="18"/>
                      </a:lnTo>
                      <a:lnTo>
                        <a:pt x="283" y="18"/>
                      </a:lnTo>
                      <a:lnTo>
                        <a:pt x="283" y="20"/>
                      </a:lnTo>
                      <a:lnTo>
                        <a:pt x="285" y="20"/>
                      </a:lnTo>
                      <a:lnTo>
                        <a:pt x="287" y="20"/>
                      </a:lnTo>
                      <a:lnTo>
                        <a:pt x="290" y="21"/>
                      </a:lnTo>
                      <a:lnTo>
                        <a:pt x="290" y="23"/>
                      </a:lnTo>
                      <a:lnTo>
                        <a:pt x="292" y="23"/>
                      </a:lnTo>
                      <a:lnTo>
                        <a:pt x="293" y="25"/>
                      </a:lnTo>
                      <a:lnTo>
                        <a:pt x="295" y="26"/>
                      </a:lnTo>
                      <a:lnTo>
                        <a:pt x="297" y="26"/>
                      </a:lnTo>
                      <a:lnTo>
                        <a:pt x="299" y="26"/>
                      </a:lnTo>
                      <a:lnTo>
                        <a:pt x="300" y="28"/>
                      </a:lnTo>
                      <a:lnTo>
                        <a:pt x="300" y="26"/>
                      </a:lnTo>
                      <a:lnTo>
                        <a:pt x="302" y="26"/>
                      </a:lnTo>
                      <a:lnTo>
                        <a:pt x="302" y="28"/>
                      </a:lnTo>
                      <a:lnTo>
                        <a:pt x="304" y="28"/>
                      </a:lnTo>
                      <a:lnTo>
                        <a:pt x="305" y="30"/>
                      </a:lnTo>
                      <a:lnTo>
                        <a:pt x="305" y="31"/>
                      </a:lnTo>
                      <a:lnTo>
                        <a:pt x="307" y="33"/>
                      </a:lnTo>
                      <a:lnTo>
                        <a:pt x="309" y="35"/>
                      </a:lnTo>
                      <a:lnTo>
                        <a:pt x="309" y="36"/>
                      </a:lnTo>
                      <a:lnTo>
                        <a:pt x="309" y="38"/>
                      </a:lnTo>
                      <a:lnTo>
                        <a:pt x="309" y="39"/>
                      </a:lnTo>
                      <a:lnTo>
                        <a:pt x="309" y="41"/>
                      </a:lnTo>
                      <a:lnTo>
                        <a:pt x="309" y="43"/>
                      </a:lnTo>
                      <a:lnTo>
                        <a:pt x="310" y="44"/>
                      </a:lnTo>
                      <a:lnTo>
                        <a:pt x="309" y="48"/>
                      </a:lnTo>
                      <a:lnTo>
                        <a:pt x="309" y="49"/>
                      </a:lnTo>
                      <a:lnTo>
                        <a:pt x="307" y="51"/>
                      </a:lnTo>
                      <a:lnTo>
                        <a:pt x="307" y="53"/>
                      </a:lnTo>
                      <a:lnTo>
                        <a:pt x="309" y="53"/>
                      </a:lnTo>
                      <a:lnTo>
                        <a:pt x="309" y="54"/>
                      </a:lnTo>
                      <a:lnTo>
                        <a:pt x="310" y="54"/>
                      </a:lnTo>
                      <a:lnTo>
                        <a:pt x="310" y="56"/>
                      </a:lnTo>
                      <a:lnTo>
                        <a:pt x="312" y="58"/>
                      </a:lnTo>
                      <a:lnTo>
                        <a:pt x="312" y="59"/>
                      </a:lnTo>
                      <a:lnTo>
                        <a:pt x="312" y="61"/>
                      </a:lnTo>
                      <a:lnTo>
                        <a:pt x="314" y="62"/>
                      </a:lnTo>
                      <a:lnTo>
                        <a:pt x="314" y="64"/>
                      </a:lnTo>
                      <a:lnTo>
                        <a:pt x="314" y="66"/>
                      </a:lnTo>
                      <a:lnTo>
                        <a:pt x="314" y="69"/>
                      </a:lnTo>
                      <a:lnTo>
                        <a:pt x="314" y="71"/>
                      </a:lnTo>
                      <a:lnTo>
                        <a:pt x="314" y="72"/>
                      </a:lnTo>
                      <a:lnTo>
                        <a:pt x="314" y="74"/>
                      </a:lnTo>
                      <a:lnTo>
                        <a:pt x="312" y="74"/>
                      </a:lnTo>
                      <a:lnTo>
                        <a:pt x="312" y="76"/>
                      </a:lnTo>
                      <a:lnTo>
                        <a:pt x="314" y="77"/>
                      </a:lnTo>
                      <a:lnTo>
                        <a:pt x="314" y="79"/>
                      </a:lnTo>
                      <a:lnTo>
                        <a:pt x="314" y="80"/>
                      </a:lnTo>
                      <a:lnTo>
                        <a:pt x="314" y="82"/>
                      </a:lnTo>
                      <a:lnTo>
                        <a:pt x="314" y="84"/>
                      </a:lnTo>
                      <a:lnTo>
                        <a:pt x="314" y="85"/>
                      </a:lnTo>
                      <a:lnTo>
                        <a:pt x="314" y="89"/>
                      </a:lnTo>
                      <a:lnTo>
                        <a:pt x="314" y="90"/>
                      </a:lnTo>
                      <a:lnTo>
                        <a:pt x="315" y="92"/>
                      </a:lnTo>
                      <a:lnTo>
                        <a:pt x="317" y="95"/>
                      </a:lnTo>
                      <a:lnTo>
                        <a:pt x="317" y="97"/>
                      </a:lnTo>
                      <a:lnTo>
                        <a:pt x="319" y="97"/>
                      </a:lnTo>
                      <a:lnTo>
                        <a:pt x="319" y="99"/>
                      </a:lnTo>
                      <a:lnTo>
                        <a:pt x="319" y="100"/>
                      </a:lnTo>
                      <a:lnTo>
                        <a:pt x="319" y="102"/>
                      </a:lnTo>
                      <a:lnTo>
                        <a:pt x="317" y="105"/>
                      </a:lnTo>
                      <a:lnTo>
                        <a:pt x="315" y="107"/>
                      </a:lnTo>
                      <a:lnTo>
                        <a:pt x="315" y="108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5" y="113"/>
                      </a:lnTo>
                      <a:lnTo>
                        <a:pt x="314" y="117"/>
                      </a:lnTo>
                      <a:lnTo>
                        <a:pt x="315" y="120"/>
                      </a:lnTo>
                      <a:lnTo>
                        <a:pt x="315" y="122"/>
                      </a:lnTo>
                      <a:lnTo>
                        <a:pt x="314" y="122"/>
                      </a:lnTo>
                      <a:lnTo>
                        <a:pt x="314" y="123"/>
                      </a:lnTo>
                      <a:lnTo>
                        <a:pt x="312" y="123"/>
                      </a:lnTo>
                      <a:lnTo>
                        <a:pt x="312" y="126"/>
                      </a:lnTo>
                      <a:lnTo>
                        <a:pt x="312" y="128"/>
                      </a:lnTo>
                      <a:lnTo>
                        <a:pt x="310" y="128"/>
                      </a:lnTo>
                      <a:lnTo>
                        <a:pt x="310" y="130"/>
                      </a:lnTo>
                      <a:lnTo>
                        <a:pt x="310" y="131"/>
                      </a:lnTo>
                      <a:lnTo>
                        <a:pt x="310" y="133"/>
                      </a:lnTo>
                      <a:lnTo>
                        <a:pt x="310" y="135"/>
                      </a:lnTo>
                      <a:lnTo>
                        <a:pt x="309" y="136"/>
                      </a:lnTo>
                      <a:lnTo>
                        <a:pt x="307" y="138"/>
                      </a:lnTo>
                      <a:lnTo>
                        <a:pt x="309" y="140"/>
                      </a:lnTo>
                      <a:lnTo>
                        <a:pt x="307" y="141"/>
                      </a:lnTo>
                      <a:lnTo>
                        <a:pt x="307" y="143"/>
                      </a:lnTo>
                      <a:lnTo>
                        <a:pt x="307" y="145"/>
                      </a:lnTo>
                      <a:lnTo>
                        <a:pt x="309" y="145"/>
                      </a:lnTo>
                      <a:lnTo>
                        <a:pt x="309" y="146"/>
                      </a:lnTo>
                      <a:lnTo>
                        <a:pt x="307" y="146"/>
                      </a:lnTo>
                      <a:lnTo>
                        <a:pt x="305" y="149"/>
                      </a:lnTo>
                      <a:lnTo>
                        <a:pt x="305" y="151"/>
                      </a:lnTo>
                      <a:lnTo>
                        <a:pt x="305" y="153"/>
                      </a:lnTo>
                      <a:lnTo>
                        <a:pt x="305" y="154"/>
                      </a:lnTo>
                      <a:lnTo>
                        <a:pt x="307" y="156"/>
                      </a:lnTo>
                      <a:lnTo>
                        <a:pt x="307" y="158"/>
                      </a:lnTo>
                      <a:lnTo>
                        <a:pt x="307" y="159"/>
                      </a:lnTo>
                      <a:lnTo>
                        <a:pt x="305" y="161"/>
                      </a:lnTo>
                      <a:lnTo>
                        <a:pt x="305" y="163"/>
                      </a:lnTo>
                      <a:lnTo>
                        <a:pt x="305" y="164"/>
                      </a:lnTo>
                      <a:lnTo>
                        <a:pt x="304" y="164"/>
                      </a:lnTo>
                      <a:lnTo>
                        <a:pt x="305" y="166"/>
                      </a:lnTo>
                      <a:lnTo>
                        <a:pt x="304" y="166"/>
                      </a:lnTo>
                      <a:lnTo>
                        <a:pt x="304" y="168"/>
                      </a:lnTo>
                      <a:lnTo>
                        <a:pt x="302" y="169"/>
                      </a:lnTo>
                      <a:lnTo>
                        <a:pt x="300" y="169"/>
                      </a:lnTo>
                      <a:lnTo>
                        <a:pt x="300" y="171"/>
                      </a:lnTo>
                      <a:lnTo>
                        <a:pt x="299" y="171"/>
                      </a:lnTo>
                      <a:lnTo>
                        <a:pt x="299" y="172"/>
                      </a:lnTo>
                      <a:lnTo>
                        <a:pt x="299" y="174"/>
                      </a:lnTo>
                      <a:lnTo>
                        <a:pt x="297" y="176"/>
                      </a:lnTo>
                      <a:lnTo>
                        <a:pt x="297" y="177"/>
                      </a:lnTo>
                      <a:lnTo>
                        <a:pt x="295" y="179"/>
                      </a:lnTo>
                      <a:lnTo>
                        <a:pt x="295" y="181"/>
                      </a:lnTo>
                      <a:lnTo>
                        <a:pt x="293" y="181"/>
                      </a:lnTo>
                      <a:lnTo>
                        <a:pt x="293" y="182"/>
                      </a:lnTo>
                      <a:lnTo>
                        <a:pt x="292" y="182"/>
                      </a:lnTo>
                      <a:lnTo>
                        <a:pt x="290" y="182"/>
                      </a:lnTo>
                      <a:lnTo>
                        <a:pt x="288" y="181"/>
                      </a:lnTo>
                      <a:lnTo>
                        <a:pt x="287" y="181"/>
                      </a:lnTo>
                      <a:lnTo>
                        <a:pt x="285" y="182"/>
                      </a:lnTo>
                      <a:lnTo>
                        <a:pt x="283" y="184"/>
                      </a:lnTo>
                      <a:lnTo>
                        <a:pt x="283" y="186"/>
                      </a:lnTo>
                      <a:lnTo>
                        <a:pt x="283" y="187"/>
                      </a:lnTo>
                      <a:lnTo>
                        <a:pt x="285" y="189"/>
                      </a:lnTo>
                      <a:lnTo>
                        <a:pt x="287" y="189"/>
                      </a:lnTo>
                      <a:lnTo>
                        <a:pt x="288" y="191"/>
                      </a:lnTo>
                      <a:lnTo>
                        <a:pt x="290" y="192"/>
                      </a:lnTo>
                      <a:lnTo>
                        <a:pt x="292" y="194"/>
                      </a:lnTo>
                      <a:lnTo>
                        <a:pt x="292" y="195"/>
                      </a:lnTo>
                      <a:lnTo>
                        <a:pt x="293" y="195"/>
                      </a:lnTo>
                      <a:lnTo>
                        <a:pt x="293" y="197"/>
                      </a:lnTo>
                      <a:lnTo>
                        <a:pt x="295" y="197"/>
                      </a:lnTo>
                      <a:lnTo>
                        <a:pt x="295" y="195"/>
                      </a:lnTo>
                      <a:lnTo>
                        <a:pt x="297" y="195"/>
                      </a:lnTo>
                      <a:lnTo>
                        <a:pt x="297" y="194"/>
                      </a:lnTo>
                      <a:lnTo>
                        <a:pt x="299" y="194"/>
                      </a:lnTo>
                      <a:lnTo>
                        <a:pt x="299" y="192"/>
                      </a:lnTo>
                      <a:lnTo>
                        <a:pt x="300" y="192"/>
                      </a:lnTo>
                      <a:lnTo>
                        <a:pt x="302" y="192"/>
                      </a:lnTo>
                      <a:lnTo>
                        <a:pt x="304" y="192"/>
                      </a:lnTo>
                      <a:lnTo>
                        <a:pt x="304" y="194"/>
                      </a:lnTo>
                      <a:lnTo>
                        <a:pt x="305" y="194"/>
                      </a:lnTo>
                      <a:lnTo>
                        <a:pt x="307" y="195"/>
                      </a:lnTo>
                      <a:lnTo>
                        <a:pt x="309" y="197"/>
                      </a:lnTo>
                      <a:lnTo>
                        <a:pt x="309" y="199"/>
                      </a:lnTo>
                      <a:lnTo>
                        <a:pt x="309" y="200"/>
                      </a:lnTo>
                      <a:lnTo>
                        <a:pt x="309" y="202"/>
                      </a:lnTo>
                      <a:lnTo>
                        <a:pt x="307" y="204"/>
                      </a:lnTo>
                      <a:lnTo>
                        <a:pt x="305" y="205"/>
                      </a:lnTo>
                      <a:lnTo>
                        <a:pt x="304" y="205"/>
                      </a:lnTo>
                      <a:lnTo>
                        <a:pt x="302" y="205"/>
                      </a:lnTo>
                      <a:lnTo>
                        <a:pt x="300" y="207"/>
                      </a:lnTo>
                      <a:lnTo>
                        <a:pt x="299" y="207"/>
                      </a:lnTo>
                      <a:lnTo>
                        <a:pt x="299" y="209"/>
                      </a:lnTo>
                      <a:lnTo>
                        <a:pt x="300" y="209"/>
                      </a:lnTo>
                      <a:lnTo>
                        <a:pt x="300" y="210"/>
                      </a:lnTo>
                      <a:lnTo>
                        <a:pt x="302" y="210"/>
                      </a:lnTo>
                      <a:lnTo>
                        <a:pt x="302" y="209"/>
                      </a:lnTo>
                      <a:lnTo>
                        <a:pt x="304" y="209"/>
                      </a:lnTo>
                      <a:lnTo>
                        <a:pt x="305" y="209"/>
                      </a:lnTo>
                      <a:lnTo>
                        <a:pt x="307" y="209"/>
                      </a:lnTo>
                      <a:lnTo>
                        <a:pt x="307" y="210"/>
                      </a:lnTo>
                      <a:lnTo>
                        <a:pt x="307" y="212"/>
                      </a:lnTo>
                      <a:lnTo>
                        <a:pt x="307" y="214"/>
                      </a:lnTo>
                      <a:lnTo>
                        <a:pt x="309" y="214"/>
                      </a:lnTo>
                      <a:lnTo>
                        <a:pt x="309" y="215"/>
                      </a:lnTo>
                      <a:lnTo>
                        <a:pt x="309" y="217"/>
                      </a:lnTo>
                      <a:lnTo>
                        <a:pt x="310" y="217"/>
                      </a:lnTo>
                      <a:lnTo>
                        <a:pt x="310" y="218"/>
                      </a:lnTo>
                      <a:lnTo>
                        <a:pt x="310" y="217"/>
                      </a:lnTo>
                      <a:lnTo>
                        <a:pt x="312" y="217"/>
                      </a:lnTo>
                      <a:lnTo>
                        <a:pt x="314" y="217"/>
                      </a:lnTo>
                      <a:lnTo>
                        <a:pt x="314" y="218"/>
                      </a:lnTo>
                      <a:lnTo>
                        <a:pt x="314" y="220"/>
                      </a:lnTo>
                      <a:lnTo>
                        <a:pt x="315" y="220"/>
                      </a:lnTo>
                      <a:lnTo>
                        <a:pt x="317" y="220"/>
                      </a:lnTo>
                      <a:lnTo>
                        <a:pt x="317" y="222"/>
                      </a:lnTo>
                      <a:lnTo>
                        <a:pt x="317" y="223"/>
                      </a:lnTo>
                      <a:lnTo>
                        <a:pt x="319" y="223"/>
                      </a:lnTo>
                      <a:lnTo>
                        <a:pt x="319" y="225"/>
                      </a:lnTo>
                      <a:lnTo>
                        <a:pt x="319" y="227"/>
                      </a:lnTo>
                      <a:lnTo>
                        <a:pt x="319" y="228"/>
                      </a:lnTo>
                      <a:lnTo>
                        <a:pt x="320" y="228"/>
                      </a:lnTo>
                      <a:lnTo>
                        <a:pt x="322" y="228"/>
                      </a:lnTo>
                      <a:lnTo>
                        <a:pt x="320" y="228"/>
                      </a:lnTo>
                      <a:lnTo>
                        <a:pt x="320" y="227"/>
                      </a:lnTo>
                      <a:lnTo>
                        <a:pt x="319" y="227"/>
                      </a:lnTo>
                      <a:lnTo>
                        <a:pt x="319" y="225"/>
                      </a:lnTo>
                      <a:lnTo>
                        <a:pt x="320" y="225"/>
                      </a:lnTo>
                      <a:lnTo>
                        <a:pt x="322" y="225"/>
                      </a:lnTo>
                      <a:lnTo>
                        <a:pt x="322" y="227"/>
                      </a:lnTo>
                      <a:lnTo>
                        <a:pt x="324" y="228"/>
                      </a:lnTo>
                      <a:lnTo>
                        <a:pt x="324" y="230"/>
                      </a:lnTo>
                      <a:lnTo>
                        <a:pt x="326" y="230"/>
                      </a:lnTo>
                      <a:lnTo>
                        <a:pt x="324" y="230"/>
                      </a:lnTo>
                      <a:lnTo>
                        <a:pt x="322" y="230"/>
                      </a:lnTo>
                      <a:lnTo>
                        <a:pt x="324" y="230"/>
                      </a:lnTo>
                      <a:lnTo>
                        <a:pt x="324" y="232"/>
                      </a:lnTo>
                      <a:lnTo>
                        <a:pt x="326" y="232"/>
                      </a:lnTo>
                      <a:lnTo>
                        <a:pt x="326" y="233"/>
                      </a:lnTo>
                      <a:lnTo>
                        <a:pt x="326" y="235"/>
                      </a:lnTo>
                      <a:lnTo>
                        <a:pt x="326" y="237"/>
                      </a:lnTo>
                      <a:lnTo>
                        <a:pt x="327" y="237"/>
                      </a:lnTo>
                      <a:lnTo>
                        <a:pt x="327" y="235"/>
                      </a:lnTo>
                      <a:lnTo>
                        <a:pt x="327" y="237"/>
                      </a:lnTo>
                      <a:lnTo>
                        <a:pt x="329" y="237"/>
                      </a:lnTo>
                      <a:lnTo>
                        <a:pt x="331" y="237"/>
                      </a:lnTo>
                      <a:lnTo>
                        <a:pt x="331" y="238"/>
                      </a:lnTo>
                      <a:lnTo>
                        <a:pt x="329" y="238"/>
                      </a:lnTo>
                      <a:lnTo>
                        <a:pt x="331" y="238"/>
                      </a:lnTo>
                      <a:lnTo>
                        <a:pt x="331" y="240"/>
                      </a:lnTo>
                      <a:lnTo>
                        <a:pt x="331" y="241"/>
                      </a:lnTo>
                      <a:lnTo>
                        <a:pt x="332" y="241"/>
                      </a:lnTo>
                      <a:lnTo>
                        <a:pt x="331" y="241"/>
                      </a:lnTo>
                      <a:lnTo>
                        <a:pt x="331" y="243"/>
                      </a:lnTo>
                      <a:lnTo>
                        <a:pt x="332" y="243"/>
                      </a:lnTo>
                      <a:lnTo>
                        <a:pt x="331" y="243"/>
                      </a:lnTo>
                      <a:lnTo>
                        <a:pt x="332" y="243"/>
                      </a:lnTo>
                      <a:lnTo>
                        <a:pt x="332" y="245"/>
                      </a:lnTo>
                      <a:lnTo>
                        <a:pt x="332" y="243"/>
                      </a:lnTo>
                      <a:lnTo>
                        <a:pt x="332" y="245"/>
                      </a:lnTo>
                      <a:lnTo>
                        <a:pt x="334" y="245"/>
                      </a:lnTo>
                      <a:lnTo>
                        <a:pt x="336" y="245"/>
                      </a:lnTo>
                      <a:lnTo>
                        <a:pt x="336" y="246"/>
                      </a:lnTo>
                      <a:lnTo>
                        <a:pt x="337" y="246"/>
                      </a:lnTo>
                      <a:lnTo>
                        <a:pt x="337" y="248"/>
                      </a:lnTo>
                      <a:lnTo>
                        <a:pt x="339" y="250"/>
                      </a:lnTo>
                      <a:lnTo>
                        <a:pt x="339" y="251"/>
                      </a:lnTo>
                      <a:lnTo>
                        <a:pt x="341" y="251"/>
                      </a:lnTo>
                      <a:lnTo>
                        <a:pt x="341" y="253"/>
                      </a:lnTo>
                      <a:lnTo>
                        <a:pt x="342" y="253"/>
                      </a:lnTo>
                      <a:lnTo>
                        <a:pt x="342" y="255"/>
                      </a:lnTo>
                      <a:lnTo>
                        <a:pt x="344" y="255"/>
                      </a:lnTo>
                      <a:lnTo>
                        <a:pt x="344" y="256"/>
                      </a:lnTo>
                      <a:lnTo>
                        <a:pt x="346" y="256"/>
                      </a:lnTo>
                      <a:lnTo>
                        <a:pt x="344" y="256"/>
                      </a:lnTo>
                      <a:lnTo>
                        <a:pt x="344" y="258"/>
                      </a:lnTo>
                      <a:lnTo>
                        <a:pt x="346" y="258"/>
                      </a:lnTo>
                      <a:lnTo>
                        <a:pt x="344" y="258"/>
                      </a:lnTo>
                      <a:lnTo>
                        <a:pt x="346" y="258"/>
                      </a:lnTo>
                      <a:lnTo>
                        <a:pt x="346" y="260"/>
                      </a:lnTo>
                      <a:lnTo>
                        <a:pt x="344" y="260"/>
                      </a:lnTo>
                      <a:lnTo>
                        <a:pt x="346" y="260"/>
                      </a:lnTo>
                      <a:lnTo>
                        <a:pt x="348" y="260"/>
                      </a:lnTo>
                      <a:lnTo>
                        <a:pt x="348" y="261"/>
                      </a:lnTo>
                      <a:lnTo>
                        <a:pt x="349" y="261"/>
                      </a:lnTo>
                      <a:lnTo>
                        <a:pt x="349" y="263"/>
                      </a:lnTo>
                      <a:lnTo>
                        <a:pt x="349" y="264"/>
                      </a:lnTo>
                      <a:lnTo>
                        <a:pt x="351" y="264"/>
                      </a:lnTo>
                      <a:lnTo>
                        <a:pt x="351" y="266"/>
                      </a:lnTo>
                      <a:lnTo>
                        <a:pt x="353" y="266"/>
                      </a:lnTo>
                      <a:lnTo>
                        <a:pt x="354" y="266"/>
                      </a:lnTo>
                      <a:lnTo>
                        <a:pt x="356" y="266"/>
                      </a:lnTo>
                      <a:lnTo>
                        <a:pt x="354" y="266"/>
                      </a:lnTo>
                      <a:lnTo>
                        <a:pt x="356" y="266"/>
                      </a:lnTo>
                      <a:lnTo>
                        <a:pt x="356" y="264"/>
                      </a:lnTo>
                      <a:lnTo>
                        <a:pt x="356" y="266"/>
                      </a:lnTo>
                      <a:lnTo>
                        <a:pt x="356" y="264"/>
                      </a:lnTo>
                      <a:lnTo>
                        <a:pt x="358" y="264"/>
                      </a:lnTo>
                      <a:lnTo>
                        <a:pt x="358" y="263"/>
                      </a:lnTo>
                      <a:lnTo>
                        <a:pt x="359" y="263"/>
                      </a:lnTo>
                      <a:lnTo>
                        <a:pt x="359" y="261"/>
                      </a:lnTo>
                      <a:lnTo>
                        <a:pt x="361" y="261"/>
                      </a:lnTo>
                      <a:lnTo>
                        <a:pt x="361" y="260"/>
                      </a:lnTo>
                      <a:lnTo>
                        <a:pt x="363" y="260"/>
                      </a:lnTo>
                      <a:lnTo>
                        <a:pt x="364" y="260"/>
                      </a:lnTo>
                      <a:lnTo>
                        <a:pt x="364" y="258"/>
                      </a:lnTo>
                      <a:lnTo>
                        <a:pt x="366" y="258"/>
                      </a:lnTo>
                      <a:lnTo>
                        <a:pt x="366" y="256"/>
                      </a:lnTo>
                      <a:lnTo>
                        <a:pt x="368" y="256"/>
                      </a:lnTo>
                      <a:lnTo>
                        <a:pt x="366" y="258"/>
                      </a:lnTo>
                      <a:lnTo>
                        <a:pt x="368" y="258"/>
                      </a:lnTo>
                      <a:lnTo>
                        <a:pt x="368" y="256"/>
                      </a:lnTo>
                      <a:lnTo>
                        <a:pt x="369" y="256"/>
                      </a:lnTo>
                      <a:lnTo>
                        <a:pt x="369" y="258"/>
                      </a:lnTo>
                      <a:lnTo>
                        <a:pt x="369" y="256"/>
                      </a:lnTo>
                      <a:lnTo>
                        <a:pt x="371" y="258"/>
                      </a:lnTo>
                      <a:lnTo>
                        <a:pt x="371" y="256"/>
                      </a:lnTo>
                      <a:lnTo>
                        <a:pt x="373" y="256"/>
                      </a:lnTo>
                      <a:lnTo>
                        <a:pt x="375" y="256"/>
                      </a:lnTo>
                      <a:lnTo>
                        <a:pt x="376" y="256"/>
                      </a:lnTo>
                      <a:lnTo>
                        <a:pt x="376" y="255"/>
                      </a:lnTo>
                      <a:lnTo>
                        <a:pt x="378" y="255"/>
                      </a:lnTo>
                      <a:lnTo>
                        <a:pt x="378" y="253"/>
                      </a:lnTo>
                      <a:lnTo>
                        <a:pt x="378" y="255"/>
                      </a:lnTo>
                      <a:lnTo>
                        <a:pt x="380" y="255"/>
                      </a:lnTo>
                      <a:lnTo>
                        <a:pt x="380" y="253"/>
                      </a:lnTo>
                      <a:lnTo>
                        <a:pt x="381" y="253"/>
                      </a:lnTo>
                      <a:lnTo>
                        <a:pt x="383" y="253"/>
                      </a:lnTo>
                      <a:lnTo>
                        <a:pt x="385" y="253"/>
                      </a:lnTo>
                      <a:lnTo>
                        <a:pt x="386" y="253"/>
                      </a:lnTo>
                      <a:lnTo>
                        <a:pt x="386" y="251"/>
                      </a:lnTo>
                      <a:lnTo>
                        <a:pt x="388" y="251"/>
                      </a:lnTo>
                      <a:lnTo>
                        <a:pt x="388" y="253"/>
                      </a:lnTo>
                      <a:lnTo>
                        <a:pt x="388" y="251"/>
                      </a:lnTo>
                      <a:lnTo>
                        <a:pt x="390" y="251"/>
                      </a:lnTo>
                      <a:lnTo>
                        <a:pt x="391" y="251"/>
                      </a:lnTo>
                      <a:lnTo>
                        <a:pt x="393" y="251"/>
                      </a:lnTo>
                      <a:lnTo>
                        <a:pt x="395" y="251"/>
                      </a:lnTo>
                      <a:lnTo>
                        <a:pt x="395" y="253"/>
                      </a:lnTo>
                      <a:lnTo>
                        <a:pt x="396" y="253"/>
                      </a:lnTo>
                      <a:lnTo>
                        <a:pt x="396" y="255"/>
                      </a:lnTo>
                      <a:lnTo>
                        <a:pt x="398" y="256"/>
                      </a:lnTo>
                      <a:lnTo>
                        <a:pt x="400" y="256"/>
                      </a:lnTo>
                      <a:lnTo>
                        <a:pt x="400" y="258"/>
                      </a:lnTo>
                      <a:lnTo>
                        <a:pt x="402" y="258"/>
                      </a:lnTo>
                      <a:lnTo>
                        <a:pt x="403" y="260"/>
                      </a:lnTo>
                      <a:lnTo>
                        <a:pt x="403" y="261"/>
                      </a:lnTo>
                      <a:lnTo>
                        <a:pt x="405" y="261"/>
                      </a:lnTo>
                      <a:lnTo>
                        <a:pt x="405" y="263"/>
                      </a:lnTo>
                      <a:lnTo>
                        <a:pt x="405" y="264"/>
                      </a:lnTo>
                      <a:lnTo>
                        <a:pt x="403" y="264"/>
                      </a:lnTo>
                      <a:lnTo>
                        <a:pt x="405" y="264"/>
                      </a:lnTo>
                      <a:lnTo>
                        <a:pt x="405" y="266"/>
                      </a:lnTo>
                      <a:lnTo>
                        <a:pt x="405" y="268"/>
                      </a:lnTo>
                      <a:lnTo>
                        <a:pt x="405" y="269"/>
                      </a:lnTo>
                      <a:lnTo>
                        <a:pt x="403" y="269"/>
                      </a:lnTo>
                      <a:lnTo>
                        <a:pt x="403" y="271"/>
                      </a:lnTo>
                      <a:lnTo>
                        <a:pt x="403" y="273"/>
                      </a:lnTo>
                      <a:lnTo>
                        <a:pt x="402" y="273"/>
                      </a:lnTo>
                      <a:lnTo>
                        <a:pt x="402" y="274"/>
                      </a:lnTo>
                      <a:lnTo>
                        <a:pt x="402" y="276"/>
                      </a:lnTo>
                      <a:lnTo>
                        <a:pt x="400" y="276"/>
                      </a:lnTo>
                      <a:lnTo>
                        <a:pt x="400" y="278"/>
                      </a:lnTo>
                      <a:lnTo>
                        <a:pt x="402" y="278"/>
                      </a:lnTo>
                      <a:lnTo>
                        <a:pt x="403" y="279"/>
                      </a:lnTo>
                      <a:lnTo>
                        <a:pt x="402" y="281"/>
                      </a:lnTo>
                      <a:lnTo>
                        <a:pt x="402" y="282"/>
                      </a:lnTo>
                      <a:lnTo>
                        <a:pt x="402" y="284"/>
                      </a:lnTo>
                      <a:lnTo>
                        <a:pt x="402" y="286"/>
                      </a:lnTo>
                      <a:lnTo>
                        <a:pt x="402" y="287"/>
                      </a:lnTo>
                      <a:lnTo>
                        <a:pt x="400" y="287"/>
                      </a:lnTo>
                      <a:lnTo>
                        <a:pt x="398" y="289"/>
                      </a:lnTo>
                      <a:lnTo>
                        <a:pt x="398" y="291"/>
                      </a:lnTo>
                      <a:lnTo>
                        <a:pt x="396" y="291"/>
                      </a:lnTo>
                      <a:lnTo>
                        <a:pt x="395" y="291"/>
                      </a:lnTo>
                      <a:lnTo>
                        <a:pt x="393" y="291"/>
                      </a:lnTo>
                      <a:lnTo>
                        <a:pt x="391" y="291"/>
                      </a:lnTo>
                      <a:lnTo>
                        <a:pt x="390" y="291"/>
                      </a:lnTo>
                      <a:lnTo>
                        <a:pt x="388" y="291"/>
                      </a:lnTo>
                      <a:lnTo>
                        <a:pt x="386" y="291"/>
                      </a:lnTo>
                      <a:lnTo>
                        <a:pt x="385" y="292"/>
                      </a:lnTo>
                      <a:lnTo>
                        <a:pt x="383" y="292"/>
                      </a:lnTo>
                      <a:lnTo>
                        <a:pt x="381" y="294"/>
                      </a:lnTo>
                      <a:lnTo>
                        <a:pt x="381" y="296"/>
                      </a:lnTo>
                      <a:lnTo>
                        <a:pt x="380" y="296"/>
                      </a:lnTo>
                      <a:lnTo>
                        <a:pt x="378" y="296"/>
                      </a:lnTo>
                      <a:lnTo>
                        <a:pt x="376" y="296"/>
                      </a:lnTo>
                      <a:lnTo>
                        <a:pt x="376" y="294"/>
                      </a:lnTo>
                      <a:lnTo>
                        <a:pt x="375" y="294"/>
                      </a:lnTo>
                      <a:lnTo>
                        <a:pt x="375" y="296"/>
                      </a:lnTo>
                      <a:lnTo>
                        <a:pt x="375" y="297"/>
                      </a:lnTo>
                      <a:lnTo>
                        <a:pt x="373" y="297"/>
                      </a:lnTo>
                      <a:lnTo>
                        <a:pt x="373" y="299"/>
                      </a:lnTo>
                      <a:lnTo>
                        <a:pt x="375" y="299"/>
                      </a:lnTo>
                      <a:lnTo>
                        <a:pt x="373" y="299"/>
                      </a:lnTo>
                      <a:lnTo>
                        <a:pt x="375" y="301"/>
                      </a:lnTo>
                      <a:lnTo>
                        <a:pt x="373" y="301"/>
                      </a:lnTo>
                      <a:lnTo>
                        <a:pt x="373" y="302"/>
                      </a:lnTo>
                      <a:lnTo>
                        <a:pt x="375" y="302"/>
                      </a:lnTo>
                      <a:lnTo>
                        <a:pt x="373" y="302"/>
                      </a:lnTo>
                      <a:lnTo>
                        <a:pt x="373" y="304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69" y="307"/>
                      </a:lnTo>
                      <a:lnTo>
                        <a:pt x="369" y="309"/>
                      </a:lnTo>
                      <a:lnTo>
                        <a:pt x="369" y="310"/>
                      </a:lnTo>
                      <a:lnTo>
                        <a:pt x="368" y="310"/>
                      </a:lnTo>
                      <a:lnTo>
                        <a:pt x="368" y="312"/>
                      </a:lnTo>
                      <a:lnTo>
                        <a:pt x="366" y="312"/>
                      </a:lnTo>
                      <a:lnTo>
                        <a:pt x="366" y="314"/>
                      </a:lnTo>
                      <a:lnTo>
                        <a:pt x="366" y="312"/>
                      </a:lnTo>
                      <a:lnTo>
                        <a:pt x="366" y="314"/>
                      </a:lnTo>
                      <a:lnTo>
                        <a:pt x="364" y="314"/>
                      </a:lnTo>
                      <a:lnTo>
                        <a:pt x="364" y="315"/>
                      </a:lnTo>
                      <a:lnTo>
                        <a:pt x="363" y="315"/>
                      </a:lnTo>
                      <a:lnTo>
                        <a:pt x="364" y="315"/>
                      </a:lnTo>
                      <a:lnTo>
                        <a:pt x="364" y="317"/>
                      </a:lnTo>
                      <a:lnTo>
                        <a:pt x="363" y="317"/>
                      </a:lnTo>
                      <a:lnTo>
                        <a:pt x="363" y="319"/>
                      </a:lnTo>
                      <a:lnTo>
                        <a:pt x="363" y="317"/>
                      </a:lnTo>
                      <a:lnTo>
                        <a:pt x="363" y="319"/>
                      </a:lnTo>
                      <a:lnTo>
                        <a:pt x="363" y="320"/>
                      </a:lnTo>
                      <a:lnTo>
                        <a:pt x="364" y="320"/>
                      </a:lnTo>
                      <a:lnTo>
                        <a:pt x="364" y="322"/>
                      </a:lnTo>
                      <a:lnTo>
                        <a:pt x="364" y="324"/>
                      </a:lnTo>
                      <a:lnTo>
                        <a:pt x="366" y="324"/>
                      </a:lnTo>
                      <a:lnTo>
                        <a:pt x="364" y="324"/>
                      </a:lnTo>
                      <a:lnTo>
                        <a:pt x="364" y="325"/>
                      </a:lnTo>
                      <a:lnTo>
                        <a:pt x="363" y="325"/>
                      </a:lnTo>
                      <a:lnTo>
                        <a:pt x="363" y="327"/>
                      </a:lnTo>
                      <a:lnTo>
                        <a:pt x="363" y="328"/>
                      </a:lnTo>
                      <a:lnTo>
                        <a:pt x="361" y="327"/>
                      </a:lnTo>
                      <a:lnTo>
                        <a:pt x="361" y="328"/>
                      </a:lnTo>
                      <a:lnTo>
                        <a:pt x="363" y="330"/>
                      </a:lnTo>
                      <a:lnTo>
                        <a:pt x="363" y="332"/>
                      </a:lnTo>
                      <a:lnTo>
                        <a:pt x="364" y="332"/>
                      </a:lnTo>
                      <a:lnTo>
                        <a:pt x="364" y="333"/>
                      </a:lnTo>
                      <a:lnTo>
                        <a:pt x="363" y="333"/>
                      </a:lnTo>
                      <a:lnTo>
                        <a:pt x="364" y="333"/>
                      </a:lnTo>
                      <a:lnTo>
                        <a:pt x="364" y="335"/>
                      </a:lnTo>
                      <a:lnTo>
                        <a:pt x="364" y="337"/>
                      </a:lnTo>
                      <a:lnTo>
                        <a:pt x="363" y="337"/>
                      </a:lnTo>
                      <a:lnTo>
                        <a:pt x="363" y="338"/>
                      </a:lnTo>
                      <a:lnTo>
                        <a:pt x="363" y="340"/>
                      </a:lnTo>
                      <a:lnTo>
                        <a:pt x="361" y="340"/>
                      </a:lnTo>
                      <a:lnTo>
                        <a:pt x="359" y="340"/>
                      </a:lnTo>
                      <a:lnTo>
                        <a:pt x="359" y="342"/>
                      </a:lnTo>
                      <a:lnTo>
                        <a:pt x="358" y="340"/>
                      </a:lnTo>
                      <a:lnTo>
                        <a:pt x="356" y="340"/>
                      </a:lnTo>
                      <a:lnTo>
                        <a:pt x="356" y="342"/>
                      </a:lnTo>
                      <a:lnTo>
                        <a:pt x="356" y="343"/>
                      </a:lnTo>
                      <a:lnTo>
                        <a:pt x="358" y="343"/>
                      </a:lnTo>
                      <a:lnTo>
                        <a:pt x="358" y="345"/>
                      </a:lnTo>
                      <a:lnTo>
                        <a:pt x="356" y="345"/>
                      </a:lnTo>
                      <a:lnTo>
                        <a:pt x="356" y="347"/>
                      </a:lnTo>
                      <a:lnTo>
                        <a:pt x="354" y="347"/>
                      </a:lnTo>
                      <a:lnTo>
                        <a:pt x="356" y="348"/>
                      </a:lnTo>
                      <a:lnTo>
                        <a:pt x="354" y="348"/>
                      </a:lnTo>
                      <a:lnTo>
                        <a:pt x="353" y="348"/>
                      </a:lnTo>
                      <a:lnTo>
                        <a:pt x="354" y="348"/>
                      </a:lnTo>
                      <a:lnTo>
                        <a:pt x="353" y="348"/>
                      </a:lnTo>
                      <a:lnTo>
                        <a:pt x="353" y="350"/>
                      </a:lnTo>
                      <a:lnTo>
                        <a:pt x="354" y="350"/>
                      </a:lnTo>
                      <a:lnTo>
                        <a:pt x="353" y="350"/>
                      </a:lnTo>
                      <a:lnTo>
                        <a:pt x="353" y="351"/>
                      </a:lnTo>
                      <a:lnTo>
                        <a:pt x="351" y="351"/>
                      </a:lnTo>
                      <a:lnTo>
                        <a:pt x="353" y="351"/>
                      </a:lnTo>
                      <a:lnTo>
                        <a:pt x="351" y="351"/>
                      </a:lnTo>
                      <a:lnTo>
                        <a:pt x="351" y="353"/>
                      </a:lnTo>
                      <a:lnTo>
                        <a:pt x="349" y="353"/>
                      </a:lnTo>
                      <a:lnTo>
                        <a:pt x="348" y="353"/>
                      </a:lnTo>
                      <a:lnTo>
                        <a:pt x="348" y="355"/>
                      </a:lnTo>
                      <a:lnTo>
                        <a:pt x="349" y="355"/>
                      </a:lnTo>
                      <a:lnTo>
                        <a:pt x="351" y="355"/>
                      </a:lnTo>
                      <a:lnTo>
                        <a:pt x="351" y="356"/>
                      </a:lnTo>
                      <a:lnTo>
                        <a:pt x="349" y="356"/>
                      </a:lnTo>
                      <a:lnTo>
                        <a:pt x="349" y="358"/>
                      </a:lnTo>
                      <a:lnTo>
                        <a:pt x="349" y="356"/>
                      </a:lnTo>
                      <a:lnTo>
                        <a:pt x="349" y="358"/>
                      </a:lnTo>
                      <a:lnTo>
                        <a:pt x="348" y="358"/>
                      </a:lnTo>
                      <a:lnTo>
                        <a:pt x="349" y="358"/>
                      </a:lnTo>
                      <a:lnTo>
                        <a:pt x="349" y="360"/>
                      </a:lnTo>
                      <a:lnTo>
                        <a:pt x="351" y="360"/>
                      </a:lnTo>
                      <a:lnTo>
                        <a:pt x="353" y="360"/>
                      </a:lnTo>
                      <a:lnTo>
                        <a:pt x="354" y="360"/>
                      </a:lnTo>
                      <a:lnTo>
                        <a:pt x="353" y="360"/>
                      </a:lnTo>
                      <a:lnTo>
                        <a:pt x="354" y="360"/>
                      </a:lnTo>
                      <a:lnTo>
                        <a:pt x="356" y="360"/>
                      </a:lnTo>
                      <a:lnTo>
                        <a:pt x="358" y="360"/>
                      </a:lnTo>
                      <a:lnTo>
                        <a:pt x="359" y="360"/>
                      </a:lnTo>
                      <a:lnTo>
                        <a:pt x="359" y="358"/>
                      </a:lnTo>
                      <a:lnTo>
                        <a:pt x="361" y="358"/>
                      </a:lnTo>
                      <a:lnTo>
                        <a:pt x="361" y="360"/>
                      </a:lnTo>
                      <a:lnTo>
                        <a:pt x="361" y="358"/>
                      </a:lnTo>
                      <a:lnTo>
                        <a:pt x="363" y="360"/>
                      </a:lnTo>
                      <a:lnTo>
                        <a:pt x="363" y="361"/>
                      </a:lnTo>
                      <a:lnTo>
                        <a:pt x="361" y="361"/>
                      </a:lnTo>
                      <a:lnTo>
                        <a:pt x="363" y="361"/>
                      </a:lnTo>
                      <a:lnTo>
                        <a:pt x="361" y="361"/>
                      </a:lnTo>
                      <a:lnTo>
                        <a:pt x="361" y="363"/>
                      </a:lnTo>
                      <a:lnTo>
                        <a:pt x="361" y="365"/>
                      </a:lnTo>
                      <a:lnTo>
                        <a:pt x="363" y="365"/>
                      </a:lnTo>
                      <a:lnTo>
                        <a:pt x="364" y="365"/>
                      </a:lnTo>
                      <a:lnTo>
                        <a:pt x="364" y="366"/>
                      </a:lnTo>
                      <a:lnTo>
                        <a:pt x="366" y="366"/>
                      </a:lnTo>
                      <a:lnTo>
                        <a:pt x="368" y="366"/>
                      </a:lnTo>
                      <a:lnTo>
                        <a:pt x="369" y="366"/>
                      </a:lnTo>
                      <a:lnTo>
                        <a:pt x="369" y="368"/>
                      </a:lnTo>
                      <a:lnTo>
                        <a:pt x="369" y="370"/>
                      </a:lnTo>
                      <a:lnTo>
                        <a:pt x="369" y="371"/>
                      </a:lnTo>
                      <a:lnTo>
                        <a:pt x="371" y="371"/>
                      </a:lnTo>
                      <a:lnTo>
                        <a:pt x="371" y="373"/>
                      </a:lnTo>
                      <a:lnTo>
                        <a:pt x="371" y="374"/>
                      </a:lnTo>
                      <a:lnTo>
                        <a:pt x="371" y="376"/>
                      </a:lnTo>
                      <a:lnTo>
                        <a:pt x="371" y="378"/>
                      </a:lnTo>
                      <a:lnTo>
                        <a:pt x="371" y="379"/>
                      </a:lnTo>
                      <a:lnTo>
                        <a:pt x="369" y="379"/>
                      </a:lnTo>
                      <a:lnTo>
                        <a:pt x="369" y="381"/>
                      </a:lnTo>
                      <a:lnTo>
                        <a:pt x="371" y="381"/>
                      </a:lnTo>
                      <a:lnTo>
                        <a:pt x="373" y="381"/>
                      </a:lnTo>
                      <a:lnTo>
                        <a:pt x="373" y="383"/>
                      </a:lnTo>
                      <a:lnTo>
                        <a:pt x="375" y="384"/>
                      </a:lnTo>
                      <a:lnTo>
                        <a:pt x="375" y="386"/>
                      </a:lnTo>
                      <a:lnTo>
                        <a:pt x="376" y="386"/>
                      </a:lnTo>
                      <a:lnTo>
                        <a:pt x="378" y="388"/>
                      </a:lnTo>
                      <a:lnTo>
                        <a:pt x="378" y="389"/>
                      </a:lnTo>
                      <a:lnTo>
                        <a:pt x="376" y="389"/>
                      </a:lnTo>
                      <a:lnTo>
                        <a:pt x="376" y="391"/>
                      </a:lnTo>
                      <a:lnTo>
                        <a:pt x="378" y="391"/>
                      </a:lnTo>
                      <a:lnTo>
                        <a:pt x="380" y="391"/>
                      </a:lnTo>
                      <a:lnTo>
                        <a:pt x="380" y="389"/>
                      </a:lnTo>
                      <a:lnTo>
                        <a:pt x="381" y="389"/>
                      </a:lnTo>
                      <a:lnTo>
                        <a:pt x="383" y="389"/>
                      </a:lnTo>
                      <a:lnTo>
                        <a:pt x="385" y="389"/>
                      </a:lnTo>
                      <a:lnTo>
                        <a:pt x="386" y="389"/>
                      </a:lnTo>
                      <a:lnTo>
                        <a:pt x="388" y="391"/>
                      </a:lnTo>
                      <a:lnTo>
                        <a:pt x="390" y="391"/>
                      </a:lnTo>
                      <a:lnTo>
                        <a:pt x="388" y="391"/>
                      </a:lnTo>
                      <a:lnTo>
                        <a:pt x="388" y="393"/>
                      </a:lnTo>
                      <a:lnTo>
                        <a:pt x="388" y="394"/>
                      </a:lnTo>
                      <a:lnTo>
                        <a:pt x="388" y="396"/>
                      </a:lnTo>
                      <a:lnTo>
                        <a:pt x="390" y="396"/>
                      </a:lnTo>
                      <a:lnTo>
                        <a:pt x="391" y="396"/>
                      </a:lnTo>
                      <a:lnTo>
                        <a:pt x="393" y="396"/>
                      </a:lnTo>
                      <a:lnTo>
                        <a:pt x="393" y="397"/>
                      </a:lnTo>
                      <a:lnTo>
                        <a:pt x="395" y="397"/>
                      </a:lnTo>
                      <a:lnTo>
                        <a:pt x="396" y="397"/>
                      </a:lnTo>
                      <a:lnTo>
                        <a:pt x="396" y="399"/>
                      </a:lnTo>
                      <a:lnTo>
                        <a:pt x="395" y="399"/>
                      </a:lnTo>
                      <a:lnTo>
                        <a:pt x="395" y="401"/>
                      </a:lnTo>
                      <a:lnTo>
                        <a:pt x="396" y="402"/>
                      </a:lnTo>
                      <a:lnTo>
                        <a:pt x="398" y="404"/>
                      </a:lnTo>
                      <a:lnTo>
                        <a:pt x="396" y="406"/>
                      </a:lnTo>
                      <a:lnTo>
                        <a:pt x="395" y="406"/>
                      </a:lnTo>
                      <a:lnTo>
                        <a:pt x="395" y="407"/>
                      </a:lnTo>
                      <a:lnTo>
                        <a:pt x="393" y="407"/>
                      </a:lnTo>
                      <a:lnTo>
                        <a:pt x="393" y="409"/>
                      </a:lnTo>
                      <a:lnTo>
                        <a:pt x="391" y="411"/>
                      </a:lnTo>
                      <a:lnTo>
                        <a:pt x="391" y="412"/>
                      </a:lnTo>
                      <a:lnTo>
                        <a:pt x="391" y="414"/>
                      </a:lnTo>
                      <a:lnTo>
                        <a:pt x="390" y="416"/>
                      </a:lnTo>
                      <a:lnTo>
                        <a:pt x="388" y="417"/>
                      </a:lnTo>
                      <a:lnTo>
                        <a:pt x="388" y="419"/>
                      </a:lnTo>
                      <a:lnTo>
                        <a:pt x="388" y="420"/>
                      </a:lnTo>
                      <a:lnTo>
                        <a:pt x="388" y="422"/>
                      </a:lnTo>
                      <a:lnTo>
                        <a:pt x="390" y="422"/>
                      </a:lnTo>
                      <a:lnTo>
                        <a:pt x="391" y="422"/>
                      </a:lnTo>
                      <a:lnTo>
                        <a:pt x="393" y="422"/>
                      </a:lnTo>
                      <a:lnTo>
                        <a:pt x="395" y="422"/>
                      </a:lnTo>
                      <a:lnTo>
                        <a:pt x="395" y="424"/>
                      </a:lnTo>
                      <a:lnTo>
                        <a:pt x="395" y="425"/>
                      </a:lnTo>
                      <a:lnTo>
                        <a:pt x="395" y="427"/>
                      </a:lnTo>
                      <a:lnTo>
                        <a:pt x="396" y="427"/>
                      </a:lnTo>
                      <a:lnTo>
                        <a:pt x="398" y="427"/>
                      </a:lnTo>
                      <a:lnTo>
                        <a:pt x="400" y="427"/>
                      </a:lnTo>
                      <a:lnTo>
                        <a:pt x="402" y="427"/>
                      </a:lnTo>
                      <a:lnTo>
                        <a:pt x="402" y="429"/>
                      </a:lnTo>
                      <a:lnTo>
                        <a:pt x="403" y="429"/>
                      </a:lnTo>
                      <a:lnTo>
                        <a:pt x="403" y="430"/>
                      </a:lnTo>
                      <a:lnTo>
                        <a:pt x="402" y="430"/>
                      </a:lnTo>
                      <a:lnTo>
                        <a:pt x="403" y="430"/>
                      </a:lnTo>
                      <a:lnTo>
                        <a:pt x="403" y="432"/>
                      </a:lnTo>
                      <a:lnTo>
                        <a:pt x="403" y="434"/>
                      </a:lnTo>
                      <a:lnTo>
                        <a:pt x="405" y="434"/>
                      </a:lnTo>
                      <a:lnTo>
                        <a:pt x="405" y="435"/>
                      </a:lnTo>
                      <a:lnTo>
                        <a:pt x="405" y="437"/>
                      </a:lnTo>
                      <a:lnTo>
                        <a:pt x="405" y="439"/>
                      </a:lnTo>
                      <a:lnTo>
                        <a:pt x="405" y="440"/>
                      </a:lnTo>
                      <a:lnTo>
                        <a:pt x="405" y="442"/>
                      </a:lnTo>
                      <a:lnTo>
                        <a:pt x="405" y="443"/>
                      </a:lnTo>
                      <a:lnTo>
                        <a:pt x="405" y="445"/>
                      </a:lnTo>
                      <a:lnTo>
                        <a:pt x="405" y="447"/>
                      </a:lnTo>
                      <a:lnTo>
                        <a:pt x="407" y="447"/>
                      </a:lnTo>
                      <a:lnTo>
                        <a:pt x="407" y="448"/>
                      </a:lnTo>
                      <a:lnTo>
                        <a:pt x="407" y="450"/>
                      </a:lnTo>
                      <a:lnTo>
                        <a:pt x="407" y="452"/>
                      </a:lnTo>
                      <a:lnTo>
                        <a:pt x="408" y="452"/>
                      </a:lnTo>
                      <a:lnTo>
                        <a:pt x="410" y="453"/>
                      </a:lnTo>
                      <a:lnTo>
                        <a:pt x="412" y="455"/>
                      </a:lnTo>
                      <a:lnTo>
                        <a:pt x="413" y="457"/>
                      </a:lnTo>
                      <a:lnTo>
                        <a:pt x="413" y="458"/>
                      </a:lnTo>
                      <a:lnTo>
                        <a:pt x="415" y="460"/>
                      </a:lnTo>
                      <a:lnTo>
                        <a:pt x="415" y="462"/>
                      </a:lnTo>
                      <a:lnTo>
                        <a:pt x="417" y="462"/>
                      </a:lnTo>
                      <a:lnTo>
                        <a:pt x="418" y="462"/>
                      </a:lnTo>
                      <a:lnTo>
                        <a:pt x="420" y="462"/>
                      </a:lnTo>
                      <a:lnTo>
                        <a:pt x="422" y="462"/>
                      </a:lnTo>
                      <a:lnTo>
                        <a:pt x="424" y="462"/>
                      </a:lnTo>
                      <a:lnTo>
                        <a:pt x="427" y="462"/>
                      </a:lnTo>
                      <a:lnTo>
                        <a:pt x="430" y="460"/>
                      </a:lnTo>
                      <a:lnTo>
                        <a:pt x="430" y="462"/>
                      </a:lnTo>
                      <a:lnTo>
                        <a:pt x="432" y="463"/>
                      </a:lnTo>
                      <a:lnTo>
                        <a:pt x="434" y="465"/>
                      </a:lnTo>
                      <a:lnTo>
                        <a:pt x="435" y="465"/>
                      </a:lnTo>
                      <a:lnTo>
                        <a:pt x="437" y="465"/>
                      </a:lnTo>
                      <a:lnTo>
                        <a:pt x="439" y="465"/>
                      </a:lnTo>
                      <a:lnTo>
                        <a:pt x="440" y="465"/>
                      </a:lnTo>
                      <a:lnTo>
                        <a:pt x="442" y="463"/>
                      </a:lnTo>
                      <a:lnTo>
                        <a:pt x="444" y="462"/>
                      </a:lnTo>
                      <a:lnTo>
                        <a:pt x="445" y="462"/>
                      </a:lnTo>
                      <a:lnTo>
                        <a:pt x="447" y="462"/>
                      </a:lnTo>
                      <a:lnTo>
                        <a:pt x="447" y="463"/>
                      </a:lnTo>
                      <a:lnTo>
                        <a:pt x="447" y="465"/>
                      </a:lnTo>
                      <a:lnTo>
                        <a:pt x="447" y="466"/>
                      </a:lnTo>
                      <a:lnTo>
                        <a:pt x="449" y="468"/>
                      </a:lnTo>
                      <a:lnTo>
                        <a:pt x="449" y="470"/>
                      </a:lnTo>
                      <a:lnTo>
                        <a:pt x="449" y="468"/>
                      </a:lnTo>
                      <a:lnTo>
                        <a:pt x="451" y="468"/>
                      </a:lnTo>
                      <a:lnTo>
                        <a:pt x="452" y="468"/>
                      </a:lnTo>
                      <a:lnTo>
                        <a:pt x="454" y="468"/>
                      </a:lnTo>
                      <a:lnTo>
                        <a:pt x="456" y="468"/>
                      </a:lnTo>
                      <a:lnTo>
                        <a:pt x="457" y="468"/>
                      </a:lnTo>
                      <a:lnTo>
                        <a:pt x="459" y="468"/>
                      </a:lnTo>
                      <a:lnTo>
                        <a:pt x="461" y="466"/>
                      </a:lnTo>
                      <a:lnTo>
                        <a:pt x="462" y="468"/>
                      </a:lnTo>
                      <a:lnTo>
                        <a:pt x="464" y="468"/>
                      </a:lnTo>
                      <a:lnTo>
                        <a:pt x="464" y="470"/>
                      </a:lnTo>
                      <a:lnTo>
                        <a:pt x="469" y="470"/>
                      </a:lnTo>
                      <a:lnTo>
                        <a:pt x="473" y="468"/>
                      </a:lnTo>
                      <a:lnTo>
                        <a:pt x="474" y="468"/>
                      </a:lnTo>
                      <a:lnTo>
                        <a:pt x="474" y="466"/>
                      </a:lnTo>
                      <a:lnTo>
                        <a:pt x="476" y="465"/>
                      </a:lnTo>
                      <a:lnTo>
                        <a:pt x="476" y="463"/>
                      </a:lnTo>
                      <a:lnTo>
                        <a:pt x="474" y="463"/>
                      </a:lnTo>
                      <a:lnTo>
                        <a:pt x="474" y="462"/>
                      </a:lnTo>
                      <a:lnTo>
                        <a:pt x="476" y="460"/>
                      </a:lnTo>
                      <a:lnTo>
                        <a:pt x="478" y="460"/>
                      </a:lnTo>
                      <a:lnTo>
                        <a:pt x="478" y="462"/>
                      </a:lnTo>
                      <a:lnTo>
                        <a:pt x="478" y="463"/>
                      </a:lnTo>
                      <a:lnTo>
                        <a:pt x="478" y="465"/>
                      </a:lnTo>
                      <a:lnTo>
                        <a:pt x="478" y="466"/>
                      </a:lnTo>
                      <a:lnTo>
                        <a:pt x="478" y="468"/>
                      </a:lnTo>
                      <a:lnTo>
                        <a:pt x="478" y="470"/>
                      </a:lnTo>
                      <a:lnTo>
                        <a:pt x="476" y="471"/>
                      </a:lnTo>
                      <a:lnTo>
                        <a:pt x="476" y="473"/>
                      </a:lnTo>
                      <a:lnTo>
                        <a:pt x="476" y="475"/>
                      </a:lnTo>
                      <a:lnTo>
                        <a:pt x="474" y="476"/>
                      </a:lnTo>
                      <a:lnTo>
                        <a:pt x="473" y="478"/>
                      </a:lnTo>
                      <a:lnTo>
                        <a:pt x="471" y="478"/>
                      </a:lnTo>
                      <a:lnTo>
                        <a:pt x="469" y="478"/>
                      </a:lnTo>
                      <a:lnTo>
                        <a:pt x="467" y="478"/>
                      </a:lnTo>
                      <a:lnTo>
                        <a:pt x="466" y="478"/>
                      </a:lnTo>
                      <a:lnTo>
                        <a:pt x="466" y="480"/>
                      </a:lnTo>
                      <a:lnTo>
                        <a:pt x="466" y="481"/>
                      </a:lnTo>
                      <a:lnTo>
                        <a:pt x="466" y="483"/>
                      </a:lnTo>
                      <a:lnTo>
                        <a:pt x="467" y="483"/>
                      </a:lnTo>
                      <a:lnTo>
                        <a:pt x="466" y="483"/>
                      </a:lnTo>
                      <a:lnTo>
                        <a:pt x="466" y="485"/>
                      </a:lnTo>
                      <a:lnTo>
                        <a:pt x="466" y="486"/>
                      </a:lnTo>
                      <a:lnTo>
                        <a:pt x="464" y="486"/>
                      </a:lnTo>
                      <a:lnTo>
                        <a:pt x="462" y="486"/>
                      </a:lnTo>
                      <a:lnTo>
                        <a:pt x="461" y="486"/>
                      </a:lnTo>
                      <a:lnTo>
                        <a:pt x="459" y="488"/>
                      </a:lnTo>
                      <a:lnTo>
                        <a:pt x="459" y="489"/>
                      </a:lnTo>
                      <a:lnTo>
                        <a:pt x="456" y="491"/>
                      </a:lnTo>
                      <a:lnTo>
                        <a:pt x="454" y="491"/>
                      </a:lnTo>
                      <a:lnTo>
                        <a:pt x="454" y="493"/>
                      </a:lnTo>
                      <a:lnTo>
                        <a:pt x="452" y="493"/>
                      </a:lnTo>
                      <a:lnTo>
                        <a:pt x="452" y="494"/>
                      </a:lnTo>
                      <a:lnTo>
                        <a:pt x="451" y="494"/>
                      </a:lnTo>
                      <a:lnTo>
                        <a:pt x="449" y="494"/>
                      </a:lnTo>
                      <a:lnTo>
                        <a:pt x="447" y="494"/>
                      </a:lnTo>
                      <a:lnTo>
                        <a:pt x="447" y="496"/>
                      </a:lnTo>
                      <a:lnTo>
                        <a:pt x="447" y="498"/>
                      </a:lnTo>
                      <a:lnTo>
                        <a:pt x="445" y="498"/>
                      </a:lnTo>
                      <a:lnTo>
                        <a:pt x="444" y="498"/>
                      </a:lnTo>
                      <a:lnTo>
                        <a:pt x="444" y="499"/>
                      </a:lnTo>
                      <a:lnTo>
                        <a:pt x="444" y="501"/>
                      </a:lnTo>
                      <a:lnTo>
                        <a:pt x="442" y="501"/>
                      </a:lnTo>
                      <a:lnTo>
                        <a:pt x="440" y="501"/>
                      </a:lnTo>
                      <a:lnTo>
                        <a:pt x="439" y="501"/>
                      </a:lnTo>
                      <a:lnTo>
                        <a:pt x="439" y="503"/>
                      </a:lnTo>
                      <a:lnTo>
                        <a:pt x="437" y="503"/>
                      </a:lnTo>
                      <a:lnTo>
                        <a:pt x="435" y="503"/>
                      </a:lnTo>
                      <a:lnTo>
                        <a:pt x="434" y="503"/>
                      </a:lnTo>
                      <a:lnTo>
                        <a:pt x="432" y="503"/>
                      </a:lnTo>
                      <a:lnTo>
                        <a:pt x="430" y="504"/>
                      </a:lnTo>
                      <a:lnTo>
                        <a:pt x="429" y="506"/>
                      </a:lnTo>
                      <a:lnTo>
                        <a:pt x="430" y="506"/>
                      </a:lnTo>
                      <a:lnTo>
                        <a:pt x="430" y="507"/>
                      </a:lnTo>
                      <a:lnTo>
                        <a:pt x="432" y="507"/>
                      </a:lnTo>
                      <a:lnTo>
                        <a:pt x="432" y="509"/>
                      </a:lnTo>
                      <a:lnTo>
                        <a:pt x="430" y="511"/>
                      </a:lnTo>
                      <a:lnTo>
                        <a:pt x="429" y="512"/>
                      </a:lnTo>
                      <a:lnTo>
                        <a:pt x="427" y="512"/>
                      </a:lnTo>
                      <a:lnTo>
                        <a:pt x="425" y="514"/>
                      </a:lnTo>
                      <a:lnTo>
                        <a:pt x="424" y="514"/>
                      </a:lnTo>
                      <a:lnTo>
                        <a:pt x="424" y="516"/>
                      </a:lnTo>
                      <a:lnTo>
                        <a:pt x="425" y="516"/>
                      </a:lnTo>
                      <a:lnTo>
                        <a:pt x="425" y="517"/>
                      </a:lnTo>
                      <a:lnTo>
                        <a:pt x="427" y="517"/>
                      </a:lnTo>
                      <a:lnTo>
                        <a:pt x="429" y="517"/>
                      </a:lnTo>
                      <a:lnTo>
                        <a:pt x="427" y="519"/>
                      </a:lnTo>
                      <a:lnTo>
                        <a:pt x="425" y="521"/>
                      </a:lnTo>
                      <a:lnTo>
                        <a:pt x="424" y="521"/>
                      </a:lnTo>
                      <a:lnTo>
                        <a:pt x="422" y="521"/>
                      </a:lnTo>
                      <a:lnTo>
                        <a:pt x="422" y="522"/>
                      </a:lnTo>
                      <a:lnTo>
                        <a:pt x="420" y="524"/>
                      </a:lnTo>
                      <a:lnTo>
                        <a:pt x="420" y="526"/>
                      </a:lnTo>
                      <a:lnTo>
                        <a:pt x="420" y="527"/>
                      </a:lnTo>
                      <a:lnTo>
                        <a:pt x="422" y="527"/>
                      </a:lnTo>
                      <a:lnTo>
                        <a:pt x="422" y="529"/>
                      </a:lnTo>
                      <a:lnTo>
                        <a:pt x="420" y="529"/>
                      </a:lnTo>
                      <a:lnTo>
                        <a:pt x="420" y="530"/>
                      </a:lnTo>
                      <a:lnTo>
                        <a:pt x="418" y="530"/>
                      </a:lnTo>
                      <a:lnTo>
                        <a:pt x="417" y="530"/>
                      </a:lnTo>
                      <a:lnTo>
                        <a:pt x="415" y="530"/>
                      </a:lnTo>
                      <a:lnTo>
                        <a:pt x="413" y="532"/>
                      </a:lnTo>
                      <a:lnTo>
                        <a:pt x="412" y="532"/>
                      </a:lnTo>
                      <a:lnTo>
                        <a:pt x="412" y="534"/>
                      </a:lnTo>
                      <a:lnTo>
                        <a:pt x="410" y="534"/>
                      </a:lnTo>
                      <a:lnTo>
                        <a:pt x="410" y="535"/>
                      </a:lnTo>
                      <a:lnTo>
                        <a:pt x="408" y="535"/>
                      </a:lnTo>
                      <a:lnTo>
                        <a:pt x="407" y="535"/>
                      </a:lnTo>
                      <a:lnTo>
                        <a:pt x="407" y="537"/>
                      </a:lnTo>
                      <a:lnTo>
                        <a:pt x="407" y="535"/>
                      </a:lnTo>
                      <a:lnTo>
                        <a:pt x="407" y="537"/>
                      </a:lnTo>
                      <a:lnTo>
                        <a:pt x="405" y="537"/>
                      </a:lnTo>
                      <a:lnTo>
                        <a:pt x="405" y="539"/>
                      </a:lnTo>
                      <a:lnTo>
                        <a:pt x="403" y="539"/>
                      </a:lnTo>
                      <a:lnTo>
                        <a:pt x="403" y="540"/>
                      </a:lnTo>
                      <a:lnTo>
                        <a:pt x="402" y="540"/>
                      </a:lnTo>
                      <a:lnTo>
                        <a:pt x="402" y="542"/>
                      </a:lnTo>
                      <a:lnTo>
                        <a:pt x="402" y="544"/>
                      </a:lnTo>
                      <a:lnTo>
                        <a:pt x="402" y="545"/>
                      </a:lnTo>
                      <a:lnTo>
                        <a:pt x="403" y="545"/>
                      </a:lnTo>
                      <a:lnTo>
                        <a:pt x="403" y="547"/>
                      </a:lnTo>
                      <a:lnTo>
                        <a:pt x="403" y="549"/>
                      </a:lnTo>
                      <a:lnTo>
                        <a:pt x="403" y="550"/>
                      </a:lnTo>
                      <a:lnTo>
                        <a:pt x="402" y="552"/>
                      </a:lnTo>
                      <a:lnTo>
                        <a:pt x="400" y="553"/>
                      </a:lnTo>
                      <a:lnTo>
                        <a:pt x="398" y="553"/>
                      </a:lnTo>
                      <a:lnTo>
                        <a:pt x="398" y="555"/>
                      </a:lnTo>
                      <a:lnTo>
                        <a:pt x="396" y="555"/>
                      </a:lnTo>
                      <a:lnTo>
                        <a:pt x="396" y="557"/>
                      </a:lnTo>
                      <a:lnTo>
                        <a:pt x="395" y="558"/>
                      </a:lnTo>
                      <a:lnTo>
                        <a:pt x="393" y="558"/>
                      </a:lnTo>
                      <a:lnTo>
                        <a:pt x="393" y="560"/>
                      </a:lnTo>
                      <a:lnTo>
                        <a:pt x="391" y="560"/>
                      </a:lnTo>
                      <a:lnTo>
                        <a:pt x="391" y="562"/>
                      </a:lnTo>
                      <a:lnTo>
                        <a:pt x="391" y="563"/>
                      </a:lnTo>
                      <a:lnTo>
                        <a:pt x="390" y="563"/>
                      </a:lnTo>
                      <a:lnTo>
                        <a:pt x="390" y="565"/>
                      </a:lnTo>
                      <a:lnTo>
                        <a:pt x="391" y="567"/>
                      </a:lnTo>
                      <a:lnTo>
                        <a:pt x="391" y="568"/>
                      </a:lnTo>
                      <a:lnTo>
                        <a:pt x="393" y="570"/>
                      </a:lnTo>
                      <a:lnTo>
                        <a:pt x="395" y="572"/>
                      </a:lnTo>
                      <a:lnTo>
                        <a:pt x="396" y="572"/>
                      </a:lnTo>
                      <a:lnTo>
                        <a:pt x="398" y="572"/>
                      </a:lnTo>
                      <a:lnTo>
                        <a:pt x="398" y="573"/>
                      </a:lnTo>
                      <a:lnTo>
                        <a:pt x="398" y="575"/>
                      </a:lnTo>
                      <a:lnTo>
                        <a:pt x="398" y="576"/>
                      </a:lnTo>
                      <a:lnTo>
                        <a:pt x="400" y="576"/>
                      </a:lnTo>
                      <a:lnTo>
                        <a:pt x="400" y="578"/>
                      </a:lnTo>
                      <a:lnTo>
                        <a:pt x="400" y="580"/>
                      </a:lnTo>
                      <a:lnTo>
                        <a:pt x="400" y="581"/>
                      </a:lnTo>
                      <a:lnTo>
                        <a:pt x="402" y="583"/>
                      </a:lnTo>
                      <a:lnTo>
                        <a:pt x="403" y="583"/>
                      </a:lnTo>
                      <a:lnTo>
                        <a:pt x="403" y="585"/>
                      </a:lnTo>
                      <a:lnTo>
                        <a:pt x="405" y="585"/>
                      </a:lnTo>
                      <a:lnTo>
                        <a:pt x="407" y="585"/>
                      </a:lnTo>
                      <a:lnTo>
                        <a:pt x="408" y="585"/>
                      </a:lnTo>
                      <a:lnTo>
                        <a:pt x="408" y="586"/>
                      </a:lnTo>
                      <a:lnTo>
                        <a:pt x="410" y="586"/>
                      </a:lnTo>
                      <a:lnTo>
                        <a:pt x="410" y="588"/>
                      </a:lnTo>
                      <a:lnTo>
                        <a:pt x="412" y="588"/>
                      </a:lnTo>
                      <a:lnTo>
                        <a:pt x="412" y="586"/>
                      </a:lnTo>
                      <a:lnTo>
                        <a:pt x="413" y="586"/>
                      </a:lnTo>
                      <a:lnTo>
                        <a:pt x="415" y="586"/>
                      </a:lnTo>
                      <a:lnTo>
                        <a:pt x="417" y="588"/>
                      </a:lnTo>
                      <a:lnTo>
                        <a:pt x="418" y="586"/>
                      </a:lnTo>
                      <a:lnTo>
                        <a:pt x="420" y="586"/>
                      </a:lnTo>
                      <a:lnTo>
                        <a:pt x="420" y="588"/>
                      </a:lnTo>
                      <a:lnTo>
                        <a:pt x="422" y="588"/>
                      </a:lnTo>
                      <a:lnTo>
                        <a:pt x="424" y="588"/>
                      </a:lnTo>
                      <a:lnTo>
                        <a:pt x="425" y="588"/>
                      </a:lnTo>
                      <a:lnTo>
                        <a:pt x="427" y="590"/>
                      </a:lnTo>
                      <a:lnTo>
                        <a:pt x="429" y="590"/>
                      </a:lnTo>
                      <a:lnTo>
                        <a:pt x="429" y="591"/>
                      </a:lnTo>
                      <a:lnTo>
                        <a:pt x="429" y="593"/>
                      </a:lnTo>
                      <a:lnTo>
                        <a:pt x="430" y="593"/>
                      </a:lnTo>
                      <a:lnTo>
                        <a:pt x="432" y="593"/>
                      </a:lnTo>
                      <a:lnTo>
                        <a:pt x="434" y="593"/>
                      </a:lnTo>
                      <a:lnTo>
                        <a:pt x="435" y="593"/>
                      </a:lnTo>
                      <a:lnTo>
                        <a:pt x="437" y="593"/>
                      </a:lnTo>
                      <a:lnTo>
                        <a:pt x="439" y="593"/>
                      </a:lnTo>
                      <a:lnTo>
                        <a:pt x="440" y="593"/>
                      </a:lnTo>
                      <a:lnTo>
                        <a:pt x="440" y="595"/>
                      </a:lnTo>
                      <a:lnTo>
                        <a:pt x="442" y="595"/>
                      </a:lnTo>
                      <a:lnTo>
                        <a:pt x="440" y="595"/>
                      </a:lnTo>
                      <a:lnTo>
                        <a:pt x="442" y="596"/>
                      </a:lnTo>
                      <a:lnTo>
                        <a:pt x="440" y="596"/>
                      </a:lnTo>
                      <a:lnTo>
                        <a:pt x="439" y="596"/>
                      </a:lnTo>
                      <a:lnTo>
                        <a:pt x="437" y="596"/>
                      </a:lnTo>
                      <a:lnTo>
                        <a:pt x="435" y="598"/>
                      </a:lnTo>
                      <a:lnTo>
                        <a:pt x="434" y="598"/>
                      </a:lnTo>
                      <a:lnTo>
                        <a:pt x="432" y="598"/>
                      </a:lnTo>
                      <a:lnTo>
                        <a:pt x="430" y="598"/>
                      </a:lnTo>
                      <a:lnTo>
                        <a:pt x="429" y="596"/>
                      </a:lnTo>
                      <a:lnTo>
                        <a:pt x="425" y="595"/>
                      </a:lnTo>
                      <a:lnTo>
                        <a:pt x="424" y="595"/>
                      </a:lnTo>
                      <a:lnTo>
                        <a:pt x="422" y="595"/>
                      </a:lnTo>
                      <a:lnTo>
                        <a:pt x="420" y="595"/>
                      </a:lnTo>
                      <a:lnTo>
                        <a:pt x="420" y="596"/>
                      </a:lnTo>
                      <a:lnTo>
                        <a:pt x="420" y="598"/>
                      </a:lnTo>
                      <a:lnTo>
                        <a:pt x="422" y="599"/>
                      </a:lnTo>
                      <a:lnTo>
                        <a:pt x="422" y="601"/>
                      </a:lnTo>
                      <a:lnTo>
                        <a:pt x="420" y="603"/>
                      </a:lnTo>
                      <a:lnTo>
                        <a:pt x="418" y="604"/>
                      </a:lnTo>
                      <a:lnTo>
                        <a:pt x="418" y="606"/>
                      </a:lnTo>
                      <a:lnTo>
                        <a:pt x="415" y="606"/>
                      </a:lnTo>
                      <a:lnTo>
                        <a:pt x="413" y="606"/>
                      </a:lnTo>
                      <a:lnTo>
                        <a:pt x="415" y="608"/>
                      </a:lnTo>
                      <a:lnTo>
                        <a:pt x="417" y="606"/>
                      </a:lnTo>
                      <a:lnTo>
                        <a:pt x="417" y="608"/>
                      </a:lnTo>
                      <a:lnTo>
                        <a:pt x="418" y="608"/>
                      </a:lnTo>
                      <a:lnTo>
                        <a:pt x="418" y="609"/>
                      </a:lnTo>
                      <a:lnTo>
                        <a:pt x="418" y="611"/>
                      </a:lnTo>
                      <a:lnTo>
                        <a:pt x="418" y="613"/>
                      </a:lnTo>
                      <a:lnTo>
                        <a:pt x="417" y="613"/>
                      </a:lnTo>
                      <a:lnTo>
                        <a:pt x="417" y="614"/>
                      </a:lnTo>
                      <a:lnTo>
                        <a:pt x="415" y="614"/>
                      </a:lnTo>
                      <a:lnTo>
                        <a:pt x="413" y="614"/>
                      </a:lnTo>
                      <a:lnTo>
                        <a:pt x="415" y="616"/>
                      </a:lnTo>
                      <a:lnTo>
                        <a:pt x="413" y="618"/>
                      </a:lnTo>
                      <a:lnTo>
                        <a:pt x="415" y="619"/>
                      </a:lnTo>
                      <a:lnTo>
                        <a:pt x="417" y="619"/>
                      </a:lnTo>
                      <a:lnTo>
                        <a:pt x="418" y="619"/>
                      </a:lnTo>
                      <a:lnTo>
                        <a:pt x="418" y="621"/>
                      </a:lnTo>
                      <a:lnTo>
                        <a:pt x="420" y="621"/>
                      </a:lnTo>
                      <a:lnTo>
                        <a:pt x="420" y="619"/>
                      </a:lnTo>
                      <a:lnTo>
                        <a:pt x="422" y="619"/>
                      </a:lnTo>
                      <a:lnTo>
                        <a:pt x="424" y="619"/>
                      </a:lnTo>
                      <a:lnTo>
                        <a:pt x="425" y="621"/>
                      </a:lnTo>
                      <a:lnTo>
                        <a:pt x="427" y="621"/>
                      </a:lnTo>
                      <a:lnTo>
                        <a:pt x="429" y="621"/>
                      </a:lnTo>
                      <a:lnTo>
                        <a:pt x="430" y="619"/>
                      </a:lnTo>
                      <a:lnTo>
                        <a:pt x="432" y="619"/>
                      </a:lnTo>
                      <a:lnTo>
                        <a:pt x="434" y="619"/>
                      </a:lnTo>
                      <a:lnTo>
                        <a:pt x="434" y="621"/>
                      </a:lnTo>
                      <a:lnTo>
                        <a:pt x="432" y="621"/>
                      </a:lnTo>
                      <a:lnTo>
                        <a:pt x="432" y="622"/>
                      </a:lnTo>
                      <a:lnTo>
                        <a:pt x="430" y="622"/>
                      </a:lnTo>
                      <a:lnTo>
                        <a:pt x="429" y="624"/>
                      </a:lnTo>
                      <a:lnTo>
                        <a:pt x="427" y="624"/>
                      </a:lnTo>
                      <a:lnTo>
                        <a:pt x="425" y="624"/>
                      </a:lnTo>
                      <a:lnTo>
                        <a:pt x="424" y="624"/>
                      </a:lnTo>
                      <a:lnTo>
                        <a:pt x="422" y="624"/>
                      </a:lnTo>
                      <a:lnTo>
                        <a:pt x="420" y="626"/>
                      </a:lnTo>
                      <a:lnTo>
                        <a:pt x="418" y="626"/>
                      </a:lnTo>
                      <a:lnTo>
                        <a:pt x="417" y="627"/>
                      </a:lnTo>
                      <a:lnTo>
                        <a:pt x="415" y="627"/>
                      </a:lnTo>
                      <a:lnTo>
                        <a:pt x="415" y="629"/>
                      </a:lnTo>
                      <a:lnTo>
                        <a:pt x="413" y="631"/>
                      </a:lnTo>
                      <a:lnTo>
                        <a:pt x="412" y="632"/>
                      </a:lnTo>
                      <a:lnTo>
                        <a:pt x="412" y="634"/>
                      </a:lnTo>
                      <a:lnTo>
                        <a:pt x="413" y="634"/>
                      </a:lnTo>
                      <a:lnTo>
                        <a:pt x="413" y="636"/>
                      </a:lnTo>
                      <a:lnTo>
                        <a:pt x="413" y="637"/>
                      </a:lnTo>
                      <a:lnTo>
                        <a:pt x="413" y="639"/>
                      </a:lnTo>
                      <a:lnTo>
                        <a:pt x="415" y="639"/>
                      </a:lnTo>
                      <a:lnTo>
                        <a:pt x="415" y="641"/>
                      </a:lnTo>
                      <a:lnTo>
                        <a:pt x="415" y="642"/>
                      </a:lnTo>
                      <a:lnTo>
                        <a:pt x="413" y="642"/>
                      </a:lnTo>
                      <a:lnTo>
                        <a:pt x="413" y="644"/>
                      </a:lnTo>
                      <a:lnTo>
                        <a:pt x="413" y="645"/>
                      </a:lnTo>
                      <a:lnTo>
                        <a:pt x="412" y="645"/>
                      </a:lnTo>
                      <a:lnTo>
                        <a:pt x="413" y="645"/>
                      </a:lnTo>
                      <a:lnTo>
                        <a:pt x="413" y="647"/>
                      </a:lnTo>
                      <a:lnTo>
                        <a:pt x="412" y="647"/>
                      </a:lnTo>
                      <a:lnTo>
                        <a:pt x="413" y="647"/>
                      </a:lnTo>
                      <a:lnTo>
                        <a:pt x="415" y="647"/>
                      </a:lnTo>
                      <a:lnTo>
                        <a:pt x="415" y="649"/>
                      </a:lnTo>
                      <a:lnTo>
                        <a:pt x="415" y="650"/>
                      </a:lnTo>
                      <a:lnTo>
                        <a:pt x="415" y="652"/>
                      </a:lnTo>
                      <a:lnTo>
                        <a:pt x="413" y="652"/>
                      </a:lnTo>
                      <a:lnTo>
                        <a:pt x="413" y="654"/>
                      </a:lnTo>
                      <a:lnTo>
                        <a:pt x="415" y="654"/>
                      </a:lnTo>
                      <a:lnTo>
                        <a:pt x="415" y="655"/>
                      </a:lnTo>
                      <a:lnTo>
                        <a:pt x="413" y="655"/>
                      </a:lnTo>
                      <a:lnTo>
                        <a:pt x="413" y="657"/>
                      </a:lnTo>
                      <a:lnTo>
                        <a:pt x="415" y="657"/>
                      </a:lnTo>
                      <a:lnTo>
                        <a:pt x="417" y="657"/>
                      </a:lnTo>
                      <a:lnTo>
                        <a:pt x="418" y="657"/>
                      </a:lnTo>
                      <a:lnTo>
                        <a:pt x="418" y="659"/>
                      </a:lnTo>
                      <a:lnTo>
                        <a:pt x="417" y="659"/>
                      </a:lnTo>
                      <a:lnTo>
                        <a:pt x="417" y="660"/>
                      </a:lnTo>
                      <a:lnTo>
                        <a:pt x="418" y="660"/>
                      </a:lnTo>
                      <a:lnTo>
                        <a:pt x="418" y="662"/>
                      </a:lnTo>
                      <a:lnTo>
                        <a:pt x="420" y="662"/>
                      </a:lnTo>
                      <a:lnTo>
                        <a:pt x="422" y="664"/>
                      </a:lnTo>
                      <a:lnTo>
                        <a:pt x="422" y="665"/>
                      </a:lnTo>
                      <a:lnTo>
                        <a:pt x="422" y="667"/>
                      </a:lnTo>
                      <a:lnTo>
                        <a:pt x="420" y="667"/>
                      </a:lnTo>
                      <a:lnTo>
                        <a:pt x="420" y="668"/>
                      </a:lnTo>
                      <a:lnTo>
                        <a:pt x="422" y="668"/>
                      </a:lnTo>
                      <a:lnTo>
                        <a:pt x="422" y="667"/>
                      </a:lnTo>
                      <a:lnTo>
                        <a:pt x="424" y="668"/>
                      </a:lnTo>
                      <a:lnTo>
                        <a:pt x="425" y="667"/>
                      </a:lnTo>
                      <a:lnTo>
                        <a:pt x="425" y="668"/>
                      </a:lnTo>
                      <a:lnTo>
                        <a:pt x="425" y="670"/>
                      </a:lnTo>
                      <a:lnTo>
                        <a:pt x="425" y="672"/>
                      </a:lnTo>
                      <a:lnTo>
                        <a:pt x="425" y="673"/>
                      </a:lnTo>
                      <a:lnTo>
                        <a:pt x="425" y="675"/>
                      </a:lnTo>
                      <a:lnTo>
                        <a:pt x="427" y="675"/>
                      </a:lnTo>
                      <a:lnTo>
                        <a:pt x="429" y="675"/>
                      </a:lnTo>
                      <a:lnTo>
                        <a:pt x="430" y="675"/>
                      </a:lnTo>
                      <a:lnTo>
                        <a:pt x="430" y="673"/>
                      </a:lnTo>
                      <a:lnTo>
                        <a:pt x="432" y="673"/>
                      </a:lnTo>
                      <a:lnTo>
                        <a:pt x="434" y="673"/>
                      </a:lnTo>
                      <a:lnTo>
                        <a:pt x="435" y="673"/>
                      </a:lnTo>
                      <a:lnTo>
                        <a:pt x="435" y="675"/>
                      </a:lnTo>
                      <a:lnTo>
                        <a:pt x="434" y="675"/>
                      </a:lnTo>
                      <a:lnTo>
                        <a:pt x="435" y="675"/>
                      </a:lnTo>
                      <a:lnTo>
                        <a:pt x="435" y="677"/>
                      </a:lnTo>
                      <a:lnTo>
                        <a:pt x="435" y="678"/>
                      </a:lnTo>
                      <a:lnTo>
                        <a:pt x="434" y="678"/>
                      </a:lnTo>
                      <a:lnTo>
                        <a:pt x="432" y="678"/>
                      </a:lnTo>
                      <a:lnTo>
                        <a:pt x="430" y="678"/>
                      </a:lnTo>
                      <a:lnTo>
                        <a:pt x="429" y="678"/>
                      </a:lnTo>
                      <a:lnTo>
                        <a:pt x="427" y="680"/>
                      </a:lnTo>
                      <a:lnTo>
                        <a:pt x="425" y="680"/>
                      </a:lnTo>
                      <a:close/>
                    </a:path>
                  </a:pathLst>
                </a:custGeom>
                <a:solidFill>
                  <a:srgbClr val="9BBB59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8" name="Freeform 10"/>
                <p:cNvSpPr>
                  <a:spLocks noChangeAspect="1" noEditPoints="1"/>
                </p:cNvSpPr>
                <p:nvPr/>
              </p:nvSpPr>
              <p:spPr bwMode="auto">
                <a:xfrm>
                  <a:off x="6028550" y="4034592"/>
                  <a:ext cx="327874" cy="528541"/>
                </a:xfrm>
                <a:custGeom>
                  <a:avLst/>
                  <a:gdLst>
                    <a:gd name="T0" fmla="*/ 2147483647 w 209"/>
                    <a:gd name="T1" fmla="*/ 2147483647 h 315"/>
                    <a:gd name="T2" fmla="*/ 2147483647 w 209"/>
                    <a:gd name="T3" fmla="*/ 2147483647 h 315"/>
                    <a:gd name="T4" fmla="*/ 2147483647 w 209"/>
                    <a:gd name="T5" fmla="*/ 2147483647 h 315"/>
                    <a:gd name="T6" fmla="*/ 2147483647 w 209"/>
                    <a:gd name="T7" fmla="*/ 2147483647 h 315"/>
                    <a:gd name="T8" fmla="*/ 2147483647 w 209"/>
                    <a:gd name="T9" fmla="*/ 2147483647 h 315"/>
                    <a:gd name="T10" fmla="*/ 2147483647 w 209"/>
                    <a:gd name="T11" fmla="*/ 2147483647 h 315"/>
                    <a:gd name="T12" fmla="*/ 2147483647 w 209"/>
                    <a:gd name="T13" fmla="*/ 2147483647 h 315"/>
                    <a:gd name="T14" fmla="*/ 2147483647 w 209"/>
                    <a:gd name="T15" fmla="*/ 2147483647 h 315"/>
                    <a:gd name="T16" fmla="*/ 2147483647 w 209"/>
                    <a:gd name="T17" fmla="*/ 2147483647 h 315"/>
                    <a:gd name="T18" fmla="*/ 2147483647 w 209"/>
                    <a:gd name="T19" fmla="*/ 2147483647 h 315"/>
                    <a:gd name="T20" fmla="*/ 2147483647 w 209"/>
                    <a:gd name="T21" fmla="*/ 2147483647 h 315"/>
                    <a:gd name="T22" fmla="*/ 2147483647 w 209"/>
                    <a:gd name="T23" fmla="*/ 2147483647 h 315"/>
                    <a:gd name="T24" fmla="*/ 2147483647 w 209"/>
                    <a:gd name="T25" fmla="*/ 2147483647 h 315"/>
                    <a:gd name="T26" fmla="*/ 2147483647 w 209"/>
                    <a:gd name="T27" fmla="*/ 2147483647 h 315"/>
                    <a:gd name="T28" fmla="*/ 2147483647 w 209"/>
                    <a:gd name="T29" fmla="*/ 2147483647 h 315"/>
                    <a:gd name="T30" fmla="*/ 2147483647 w 209"/>
                    <a:gd name="T31" fmla="*/ 2147483647 h 315"/>
                    <a:gd name="T32" fmla="*/ 2147483647 w 209"/>
                    <a:gd name="T33" fmla="*/ 2147483647 h 315"/>
                    <a:gd name="T34" fmla="*/ 2147483647 w 209"/>
                    <a:gd name="T35" fmla="*/ 2147483647 h 315"/>
                    <a:gd name="T36" fmla="*/ 2147483647 w 209"/>
                    <a:gd name="T37" fmla="*/ 2147483647 h 315"/>
                    <a:gd name="T38" fmla="*/ 2147483647 w 209"/>
                    <a:gd name="T39" fmla="*/ 2147483647 h 315"/>
                    <a:gd name="T40" fmla="*/ 2147483647 w 209"/>
                    <a:gd name="T41" fmla="*/ 2147483647 h 315"/>
                    <a:gd name="T42" fmla="*/ 2147483647 w 209"/>
                    <a:gd name="T43" fmla="*/ 2147483647 h 315"/>
                    <a:gd name="T44" fmla="*/ 2147483647 w 209"/>
                    <a:gd name="T45" fmla="*/ 2147483647 h 315"/>
                    <a:gd name="T46" fmla="*/ 2147483647 w 209"/>
                    <a:gd name="T47" fmla="*/ 2147483647 h 315"/>
                    <a:gd name="T48" fmla="*/ 2147483647 w 209"/>
                    <a:gd name="T49" fmla="*/ 2147483647 h 315"/>
                    <a:gd name="T50" fmla="*/ 2147483647 w 209"/>
                    <a:gd name="T51" fmla="*/ 2147483647 h 315"/>
                    <a:gd name="T52" fmla="*/ 2147483647 w 209"/>
                    <a:gd name="T53" fmla="*/ 2147483647 h 315"/>
                    <a:gd name="T54" fmla="*/ 2147483647 w 209"/>
                    <a:gd name="T55" fmla="*/ 2147483647 h 315"/>
                    <a:gd name="T56" fmla="*/ 2147483647 w 209"/>
                    <a:gd name="T57" fmla="*/ 2147483647 h 315"/>
                    <a:gd name="T58" fmla="*/ 0 w 209"/>
                    <a:gd name="T59" fmla="*/ 2147483647 h 315"/>
                    <a:gd name="T60" fmla="*/ 2147483647 w 209"/>
                    <a:gd name="T61" fmla="*/ 2147483647 h 315"/>
                    <a:gd name="T62" fmla="*/ 2147483647 w 209"/>
                    <a:gd name="T63" fmla="*/ 2147483647 h 315"/>
                    <a:gd name="T64" fmla="*/ 2147483647 w 209"/>
                    <a:gd name="T65" fmla="*/ 2147483647 h 315"/>
                    <a:gd name="T66" fmla="*/ 2147483647 w 209"/>
                    <a:gd name="T67" fmla="*/ 2147483647 h 315"/>
                    <a:gd name="T68" fmla="*/ 2147483647 w 209"/>
                    <a:gd name="T69" fmla="*/ 2147483647 h 315"/>
                    <a:gd name="T70" fmla="*/ 2147483647 w 209"/>
                    <a:gd name="T71" fmla="*/ 2147483647 h 315"/>
                    <a:gd name="T72" fmla="*/ 2147483647 w 209"/>
                    <a:gd name="T73" fmla="*/ 2147483647 h 315"/>
                    <a:gd name="T74" fmla="*/ 2147483647 w 209"/>
                    <a:gd name="T75" fmla="*/ 2147483647 h 315"/>
                    <a:gd name="T76" fmla="*/ 2147483647 w 209"/>
                    <a:gd name="T77" fmla="*/ 2147483647 h 315"/>
                    <a:gd name="T78" fmla="*/ 2147483647 w 209"/>
                    <a:gd name="T79" fmla="*/ 2147483647 h 315"/>
                    <a:gd name="T80" fmla="*/ 2147483647 w 209"/>
                    <a:gd name="T81" fmla="*/ 2147483647 h 315"/>
                    <a:gd name="T82" fmla="*/ 2147483647 w 209"/>
                    <a:gd name="T83" fmla="*/ 2147483647 h 315"/>
                    <a:gd name="T84" fmla="*/ 2147483647 w 209"/>
                    <a:gd name="T85" fmla="*/ 2147483647 h 315"/>
                    <a:gd name="T86" fmla="*/ 2147483647 w 209"/>
                    <a:gd name="T87" fmla="*/ 2147483647 h 315"/>
                    <a:gd name="T88" fmla="*/ 2147483647 w 209"/>
                    <a:gd name="T89" fmla="*/ 2147483647 h 315"/>
                    <a:gd name="T90" fmla="*/ 2147483647 w 209"/>
                    <a:gd name="T91" fmla="*/ 2147483647 h 315"/>
                    <a:gd name="T92" fmla="*/ 2147483647 w 209"/>
                    <a:gd name="T93" fmla="*/ 2147483647 h 315"/>
                    <a:gd name="T94" fmla="*/ 2147483647 w 209"/>
                    <a:gd name="T95" fmla="*/ 2147483647 h 315"/>
                    <a:gd name="T96" fmla="*/ 2147483647 w 209"/>
                    <a:gd name="T97" fmla="*/ 2147483647 h 315"/>
                    <a:gd name="T98" fmla="*/ 2147483647 w 209"/>
                    <a:gd name="T99" fmla="*/ 2147483647 h 315"/>
                    <a:gd name="T100" fmla="*/ 2147483647 w 209"/>
                    <a:gd name="T101" fmla="*/ 2147483647 h 315"/>
                    <a:gd name="T102" fmla="*/ 2147483647 w 209"/>
                    <a:gd name="T103" fmla="*/ 2147483647 h 315"/>
                    <a:gd name="T104" fmla="*/ 2147483647 w 209"/>
                    <a:gd name="T105" fmla="*/ 2147483647 h 315"/>
                    <a:gd name="T106" fmla="*/ 2147483647 w 209"/>
                    <a:gd name="T107" fmla="*/ 2147483647 h 315"/>
                    <a:gd name="T108" fmla="*/ 2147483647 w 209"/>
                    <a:gd name="T109" fmla="*/ 2147483647 h 315"/>
                    <a:gd name="T110" fmla="*/ 2147483647 w 209"/>
                    <a:gd name="T111" fmla="*/ 2147483647 h 315"/>
                    <a:gd name="T112" fmla="*/ 2147483647 w 209"/>
                    <a:gd name="T113" fmla="*/ 2147483647 h 315"/>
                    <a:gd name="T114" fmla="*/ 2147483647 w 209"/>
                    <a:gd name="T115" fmla="*/ 2147483647 h 315"/>
                    <a:gd name="T116" fmla="*/ 2147483647 w 209"/>
                    <a:gd name="T117" fmla="*/ 2147483647 h 315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9"/>
                    <a:gd name="T178" fmla="*/ 0 h 315"/>
                    <a:gd name="T179" fmla="*/ 209 w 209"/>
                    <a:gd name="T180" fmla="*/ 315 h 315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9" h="315">
                      <a:moveTo>
                        <a:pt x="157" y="8"/>
                      </a:moveTo>
                      <a:lnTo>
                        <a:pt x="194" y="31"/>
                      </a:lnTo>
                      <a:lnTo>
                        <a:pt x="207" y="39"/>
                      </a:lnTo>
                      <a:lnTo>
                        <a:pt x="209" y="39"/>
                      </a:lnTo>
                      <a:lnTo>
                        <a:pt x="209" y="41"/>
                      </a:lnTo>
                      <a:lnTo>
                        <a:pt x="209" y="42"/>
                      </a:lnTo>
                      <a:lnTo>
                        <a:pt x="207" y="44"/>
                      </a:lnTo>
                      <a:lnTo>
                        <a:pt x="207" y="46"/>
                      </a:lnTo>
                      <a:lnTo>
                        <a:pt x="206" y="47"/>
                      </a:lnTo>
                      <a:lnTo>
                        <a:pt x="206" y="49"/>
                      </a:lnTo>
                      <a:lnTo>
                        <a:pt x="204" y="52"/>
                      </a:lnTo>
                      <a:lnTo>
                        <a:pt x="204" y="54"/>
                      </a:lnTo>
                      <a:lnTo>
                        <a:pt x="204" y="55"/>
                      </a:lnTo>
                      <a:lnTo>
                        <a:pt x="202" y="55"/>
                      </a:lnTo>
                      <a:lnTo>
                        <a:pt x="202" y="59"/>
                      </a:lnTo>
                      <a:lnTo>
                        <a:pt x="202" y="60"/>
                      </a:lnTo>
                      <a:lnTo>
                        <a:pt x="202" y="62"/>
                      </a:lnTo>
                      <a:lnTo>
                        <a:pt x="202" y="64"/>
                      </a:lnTo>
                      <a:lnTo>
                        <a:pt x="204" y="65"/>
                      </a:lnTo>
                      <a:lnTo>
                        <a:pt x="202" y="65"/>
                      </a:lnTo>
                      <a:lnTo>
                        <a:pt x="202" y="64"/>
                      </a:lnTo>
                      <a:lnTo>
                        <a:pt x="201" y="64"/>
                      </a:lnTo>
                      <a:lnTo>
                        <a:pt x="201" y="65"/>
                      </a:lnTo>
                      <a:lnTo>
                        <a:pt x="202" y="65"/>
                      </a:lnTo>
                      <a:lnTo>
                        <a:pt x="202" y="67"/>
                      </a:lnTo>
                      <a:lnTo>
                        <a:pt x="202" y="69"/>
                      </a:lnTo>
                      <a:lnTo>
                        <a:pt x="202" y="70"/>
                      </a:lnTo>
                      <a:lnTo>
                        <a:pt x="201" y="75"/>
                      </a:lnTo>
                      <a:lnTo>
                        <a:pt x="201" y="77"/>
                      </a:lnTo>
                      <a:lnTo>
                        <a:pt x="201" y="78"/>
                      </a:lnTo>
                      <a:lnTo>
                        <a:pt x="201" y="82"/>
                      </a:lnTo>
                      <a:lnTo>
                        <a:pt x="201" y="83"/>
                      </a:lnTo>
                      <a:lnTo>
                        <a:pt x="201" y="85"/>
                      </a:lnTo>
                      <a:lnTo>
                        <a:pt x="201" y="87"/>
                      </a:lnTo>
                      <a:lnTo>
                        <a:pt x="201" y="88"/>
                      </a:lnTo>
                      <a:lnTo>
                        <a:pt x="202" y="92"/>
                      </a:lnTo>
                      <a:lnTo>
                        <a:pt x="202" y="97"/>
                      </a:lnTo>
                      <a:lnTo>
                        <a:pt x="202" y="98"/>
                      </a:lnTo>
                      <a:lnTo>
                        <a:pt x="202" y="97"/>
                      </a:lnTo>
                      <a:lnTo>
                        <a:pt x="202" y="98"/>
                      </a:lnTo>
                      <a:lnTo>
                        <a:pt x="202" y="100"/>
                      </a:lnTo>
                      <a:lnTo>
                        <a:pt x="202" y="101"/>
                      </a:lnTo>
                      <a:lnTo>
                        <a:pt x="202" y="103"/>
                      </a:lnTo>
                      <a:lnTo>
                        <a:pt x="204" y="105"/>
                      </a:lnTo>
                      <a:lnTo>
                        <a:pt x="204" y="106"/>
                      </a:lnTo>
                      <a:lnTo>
                        <a:pt x="204" y="108"/>
                      </a:lnTo>
                      <a:lnTo>
                        <a:pt x="204" y="110"/>
                      </a:lnTo>
                      <a:lnTo>
                        <a:pt x="204" y="111"/>
                      </a:lnTo>
                      <a:lnTo>
                        <a:pt x="204" y="113"/>
                      </a:lnTo>
                      <a:lnTo>
                        <a:pt x="204" y="115"/>
                      </a:lnTo>
                      <a:lnTo>
                        <a:pt x="206" y="120"/>
                      </a:lnTo>
                      <a:lnTo>
                        <a:pt x="206" y="123"/>
                      </a:lnTo>
                      <a:lnTo>
                        <a:pt x="207" y="126"/>
                      </a:lnTo>
                      <a:lnTo>
                        <a:pt x="206" y="126"/>
                      </a:lnTo>
                      <a:lnTo>
                        <a:pt x="207" y="128"/>
                      </a:lnTo>
                      <a:lnTo>
                        <a:pt x="207" y="131"/>
                      </a:lnTo>
                      <a:lnTo>
                        <a:pt x="206" y="134"/>
                      </a:lnTo>
                      <a:lnTo>
                        <a:pt x="206" y="138"/>
                      </a:lnTo>
                      <a:lnTo>
                        <a:pt x="206" y="139"/>
                      </a:lnTo>
                      <a:lnTo>
                        <a:pt x="204" y="141"/>
                      </a:lnTo>
                      <a:lnTo>
                        <a:pt x="204" y="142"/>
                      </a:lnTo>
                      <a:lnTo>
                        <a:pt x="202" y="146"/>
                      </a:lnTo>
                      <a:lnTo>
                        <a:pt x="201" y="149"/>
                      </a:lnTo>
                      <a:lnTo>
                        <a:pt x="199" y="154"/>
                      </a:lnTo>
                      <a:lnTo>
                        <a:pt x="197" y="157"/>
                      </a:lnTo>
                      <a:lnTo>
                        <a:pt x="196" y="159"/>
                      </a:lnTo>
                      <a:lnTo>
                        <a:pt x="196" y="161"/>
                      </a:lnTo>
                      <a:lnTo>
                        <a:pt x="196" y="162"/>
                      </a:lnTo>
                      <a:lnTo>
                        <a:pt x="196" y="161"/>
                      </a:lnTo>
                      <a:lnTo>
                        <a:pt x="196" y="159"/>
                      </a:lnTo>
                      <a:lnTo>
                        <a:pt x="196" y="157"/>
                      </a:lnTo>
                      <a:lnTo>
                        <a:pt x="197" y="157"/>
                      </a:lnTo>
                      <a:lnTo>
                        <a:pt x="197" y="156"/>
                      </a:lnTo>
                      <a:lnTo>
                        <a:pt x="196" y="157"/>
                      </a:lnTo>
                      <a:lnTo>
                        <a:pt x="196" y="159"/>
                      </a:lnTo>
                      <a:lnTo>
                        <a:pt x="194" y="159"/>
                      </a:lnTo>
                      <a:lnTo>
                        <a:pt x="194" y="161"/>
                      </a:lnTo>
                      <a:lnTo>
                        <a:pt x="194" y="162"/>
                      </a:lnTo>
                      <a:lnTo>
                        <a:pt x="196" y="162"/>
                      </a:lnTo>
                      <a:lnTo>
                        <a:pt x="194" y="162"/>
                      </a:lnTo>
                      <a:lnTo>
                        <a:pt x="192" y="162"/>
                      </a:lnTo>
                      <a:lnTo>
                        <a:pt x="189" y="164"/>
                      </a:lnTo>
                      <a:lnTo>
                        <a:pt x="187" y="164"/>
                      </a:lnTo>
                      <a:lnTo>
                        <a:pt x="185" y="165"/>
                      </a:lnTo>
                      <a:lnTo>
                        <a:pt x="182" y="167"/>
                      </a:lnTo>
                      <a:lnTo>
                        <a:pt x="177" y="172"/>
                      </a:lnTo>
                      <a:lnTo>
                        <a:pt x="174" y="175"/>
                      </a:lnTo>
                      <a:lnTo>
                        <a:pt x="172" y="177"/>
                      </a:lnTo>
                      <a:lnTo>
                        <a:pt x="172" y="179"/>
                      </a:lnTo>
                      <a:lnTo>
                        <a:pt x="172" y="180"/>
                      </a:lnTo>
                      <a:lnTo>
                        <a:pt x="170" y="182"/>
                      </a:lnTo>
                      <a:lnTo>
                        <a:pt x="170" y="184"/>
                      </a:lnTo>
                      <a:lnTo>
                        <a:pt x="169" y="184"/>
                      </a:lnTo>
                      <a:lnTo>
                        <a:pt x="169" y="185"/>
                      </a:lnTo>
                      <a:lnTo>
                        <a:pt x="169" y="187"/>
                      </a:lnTo>
                      <a:lnTo>
                        <a:pt x="167" y="187"/>
                      </a:lnTo>
                      <a:lnTo>
                        <a:pt x="167" y="188"/>
                      </a:lnTo>
                      <a:lnTo>
                        <a:pt x="165" y="188"/>
                      </a:lnTo>
                      <a:lnTo>
                        <a:pt x="164" y="188"/>
                      </a:lnTo>
                      <a:lnTo>
                        <a:pt x="164" y="190"/>
                      </a:lnTo>
                      <a:lnTo>
                        <a:pt x="162" y="190"/>
                      </a:lnTo>
                      <a:lnTo>
                        <a:pt x="162" y="188"/>
                      </a:lnTo>
                      <a:lnTo>
                        <a:pt x="160" y="188"/>
                      </a:lnTo>
                      <a:lnTo>
                        <a:pt x="160" y="190"/>
                      </a:lnTo>
                      <a:lnTo>
                        <a:pt x="162" y="190"/>
                      </a:lnTo>
                      <a:lnTo>
                        <a:pt x="164" y="190"/>
                      </a:lnTo>
                      <a:lnTo>
                        <a:pt x="165" y="190"/>
                      </a:lnTo>
                      <a:lnTo>
                        <a:pt x="165" y="192"/>
                      </a:lnTo>
                      <a:lnTo>
                        <a:pt x="164" y="192"/>
                      </a:lnTo>
                      <a:lnTo>
                        <a:pt x="164" y="193"/>
                      </a:lnTo>
                      <a:lnTo>
                        <a:pt x="164" y="195"/>
                      </a:lnTo>
                      <a:lnTo>
                        <a:pt x="162" y="195"/>
                      </a:lnTo>
                      <a:lnTo>
                        <a:pt x="162" y="197"/>
                      </a:lnTo>
                      <a:lnTo>
                        <a:pt x="162" y="198"/>
                      </a:lnTo>
                      <a:lnTo>
                        <a:pt x="162" y="197"/>
                      </a:lnTo>
                      <a:lnTo>
                        <a:pt x="162" y="198"/>
                      </a:lnTo>
                      <a:lnTo>
                        <a:pt x="160" y="197"/>
                      </a:lnTo>
                      <a:lnTo>
                        <a:pt x="160" y="198"/>
                      </a:lnTo>
                      <a:lnTo>
                        <a:pt x="160" y="200"/>
                      </a:lnTo>
                      <a:lnTo>
                        <a:pt x="162" y="202"/>
                      </a:lnTo>
                      <a:lnTo>
                        <a:pt x="160" y="202"/>
                      </a:lnTo>
                      <a:lnTo>
                        <a:pt x="162" y="203"/>
                      </a:lnTo>
                      <a:lnTo>
                        <a:pt x="162" y="205"/>
                      </a:lnTo>
                      <a:lnTo>
                        <a:pt x="160" y="205"/>
                      </a:lnTo>
                      <a:lnTo>
                        <a:pt x="160" y="207"/>
                      </a:lnTo>
                      <a:lnTo>
                        <a:pt x="160" y="208"/>
                      </a:lnTo>
                      <a:lnTo>
                        <a:pt x="160" y="210"/>
                      </a:lnTo>
                      <a:lnTo>
                        <a:pt x="160" y="211"/>
                      </a:lnTo>
                      <a:lnTo>
                        <a:pt x="158" y="213"/>
                      </a:lnTo>
                      <a:lnTo>
                        <a:pt x="158" y="215"/>
                      </a:lnTo>
                      <a:lnTo>
                        <a:pt x="157" y="215"/>
                      </a:lnTo>
                      <a:lnTo>
                        <a:pt x="157" y="216"/>
                      </a:lnTo>
                      <a:lnTo>
                        <a:pt x="157" y="218"/>
                      </a:lnTo>
                      <a:lnTo>
                        <a:pt x="155" y="218"/>
                      </a:lnTo>
                      <a:lnTo>
                        <a:pt x="155" y="220"/>
                      </a:lnTo>
                      <a:lnTo>
                        <a:pt x="155" y="221"/>
                      </a:lnTo>
                      <a:lnTo>
                        <a:pt x="153" y="220"/>
                      </a:lnTo>
                      <a:lnTo>
                        <a:pt x="153" y="218"/>
                      </a:lnTo>
                      <a:lnTo>
                        <a:pt x="152" y="218"/>
                      </a:lnTo>
                      <a:lnTo>
                        <a:pt x="152" y="220"/>
                      </a:lnTo>
                      <a:lnTo>
                        <a:pt x="150" y="220"/>
                      </a:lnTo>
                      <a:lnTo>
                        <a:pt x="150" y="221"/>
                      </a:lnTo>
                      <a:lnTo>
                        <a:pt x="150" y="223"/>
                      </a:lnTo>
                      <a:lnTo>
                        <a:pt x="152" y="223"/>
                      </a:lnTo>
                      <a:lnTo>
                        <a:pt x="150" y="223"/>
                      </a:lnTo>
                      <a:lnTo>
                        <a:pt x="148" y="223"/>
                      </a:lnTo>
                      <a:lnTo>
                        <a:pt x="150" y="223"/>
                      </a:lnTo>
                      <a:lnTo>
                        <a:pt x="152" y="223"/>
                      </a:lnTo>
                      <a:lnTo>
                        <a:pt x="150" y="223"/>
                      </a:lnTo>
                      <a:lnTo>
                        <a:pt x="150" y="221"/>
                      </a:lnTo>
                      <a:lnTo>
                        <a:pt x="150" y="220"/>
                      </a:lnTo>
                      <a:lnTo>
                        <a:pt x="152" y="220"/>
                      </a:lnTo>
                      <a:lnTo>
                        <a:pt x="152" y="221"/>
                      </a:lnTo>
                      <a:lnTo>
                        <a:pt x="152" y="223"/>
                      </a:lnTo>
                      <a:lnTo>
                        <a:pt x="150" y="225"/>
                      </a:lnTo>
                      <a:lnTo>
                        <a:pt x="148" y="225"/>
                      </a:lnTo>
                      <a:lnTo>
                        <a:pt x="147" y="225"/>
                      </a:lnTo>
                      <a:lnTo>
                        <a:pt x="145" y="225"/>
                      </a:lnTo>
                      <a:lnTo>
                        <a:pt x="143" y="225"/>
                      </a:lnTo>
                      <a:lnTo>
                        <a:pt x="143" y="223"/>
                      </a:lnTo>
                      <a:lnTo>
                        <a:pt x="143" y="221"/>
                      </a:lnTo>
                      <a:lnTo>
                        <a:pt x="143" y="220"/>
                      </a:lnTo>
                      <a:lnTo>
                        <a:pt x="142" y="220"/>
                      </a:lnTo>
                      <a:lnTo>
                        <a:pt x="143" y="220"/>
                      </a:lnTo>
                      <a:lnTo>
                        <a:pt x="145" y="220"/>
                      </a:lnTo>
                      <a:lnTo>
                        <a:pt x="145" y="218"/>
                      </a:lnTo>
                      <a:lnTo>
                        <a:pt x="145" y="220"/>
                      </a:lnTo>
                      <a:lnTo>
                        <a:pt x="143" y="220"/>
                      </a:lnTo>
                      <a:lnTo>
                        <a:pt x="142" y="220"/>
                      </a:lnTo>
                      <a:lnTo>
                        <a:pt x="143" y="220"/>
                      </a:lnTo>
                      <a:lnTo>
                        <a:pt x="143" y="221"/>
                      </a:lnTo>
                      <a:lnTo>
                        <a:pt x="143" y="223"/>
                      </a:lnTo>
                      <a:lnTo>
                        <a:pt x="143" y="225"/>
                      </a:lnTo>
                      <a:lnTo>
                        <a:pt x="145" y="225"/>
                      </a:lnTo>
                      <a:lnTo>
                        <a:pt x="147" y="225"/>
                      </a:lnTo>
                      <a:lnTo>
                        <a:pt x="148" y="225"/>
                      </a:lnTo>
                      <a:lnTo>
                        <a:pt x="150" y="225"/>
                      </a:lnTo>
                      <a:lnTo>
                        <a:pt x="152" y="223"/>
                      </a:lnTo>
                      <a:lnTo>
                        <a:pt x="152" y="225"/>
                      </a:lnTo>
                      <a:lnTo>
                        <a:pt x="150" y="225"/>
                      </a:lnTo>
                      <a:lnTo>
                        <a:pt x="150" y="226"/>
                      </a:lnTo>
                      <a:lnTo>
                        <a:pt x="150" y="228"/>
                      </a:lnTo>
                      <a:lnTo>
                        <a:pt x="148" y="228"/>
                      </a:lnTo>
                      <a:lnTo>
                        <a:pt x="148" y="230"/>
                      </a:lnTo>
                      <a:lnTo>
                        <a:pt x="148" y="231"/>
                      </a:lnTo>
                      <a:lnTo>
                        <a:pt x="147" y="233"/>
                      </a:lnTo>
                      <a:lnTo>
                        <a:pt x="147" y="234"/>
                      </a:lnTo>
                      <a:lnTo>
                        <a:pt x="147" y="236"/>
                      </a:lnTo>
                      <a:lnTo>
                        <a:pt x="145" y="236"/>
                      </a:lnTo>
                      <a:lnTo>
                        <a:pt x="145" y="238"/>
                      </a:lnTo>
                      <a:lnTo>
                        <a:pt x="145" y="239"/>
                      </a:lnTo>
                      <a:lnTo>
                        <a:pt x="143" y="239"/>
                      </a:lnTo>
                      <a:lnTo>
                        <a:pt x="145" y="239"/>
                      </a:lnTo>
                      <a:lnTo>
                        <a:pt x="143" y="239"/>
                      </a:lnTo>
                      <a:lnTo>
                        <a:pt x="143" y="241"/>
                      </a:lnTo>
                      <a:lnTo>
                        <a:pt x="143" y="243"/>
                      </a:lnTo>
                      <a:lnTo>
                        <a:pt x="142" y="243"/>
                      </a:lnTo>
                      <a:lnTo>
                        <a:pt x="142" y="244"/>
                      </a:lnTo>
                      <a:lnTo>
                        <a:pt x="140" y="246"/>
                      </a:lnTo>
                      <a:lnTo>
                        <a:pt x="140" y="248"/>
                      </a:lnTo>
                      <a:lnTo>
                        <a:pt x="140" y="249"/>
                      </a:lnTo>
                      <a:lnTo>
                        <a:pt x="138" y="249"/>
                      </a:lnTo>
                      <a:lnTo>
                        <a:pt x="138" y="251"/>
                      </a:lnTo>
                      <a:lnTo>
                        <a:pt x="136" y="253"/>
                      </a:lnTo>
                      <a:lnTo>
                        <a:pt x="135" y="253"/>
                      </a:lnTo>
                      <a:lnTo>
                        <a:pt x="135" y="251"/>
                      </a:lnTo>
                      <a:lnTo>
                        <a:pt x="133" y="251"/>
                      </a:lnTo>
                      <a:lnTo>
                        <a:pt x="133" y="253"/>
                      </a:lnTo>
                      <a:lnTo>
                        <a:pt x="133" y="251"/>
                      </a:lnTo>
                      <a:lnTo>
                        <a:pt x="133" y="253"/>
                      </a:lnTo>
                      <a:lnTo>
                        <a:pt x="133" y="251"/>
                      </a:lnTo>
                      <a:lnTo>
                        <a:pt x="133" y="253"/>
                      </a:lnTo>
                      <a:lnTo>
                        <a:pt x="133" y="254"/>
                      </a:lnTo>
                      <a:lnTo>
                        <a:pt x="133" y="256"/>
                      </a:lnTo>
                      <a:lnTo>
                        <a:pt x="133" y="254"/>
                      </a:lnTo>
                      <a:lnTo>
                        <a:pt x="133" y="256"/>
                      </a:lnTo>
                      <a:lnTo>
                        <a:pt x="133" y="254"/>
                      </a:lnTo>
                      <a:lnTo>
                        <a:pt x="131" y="254"/>
                      </a:lnTo>
                      <a:lnTo>
                        <a:pt x="130" y="256"/>
                      </a:lnTo>
                      <a:lnTo>
                        <a:pt x="128" y="256"/>
                      </a:lnTo>
                      <a:lnTo>
                        <a:pt x="128" y="254"/>
                      </a:lnTo>
                      <a:lnTo>
                        <a:pt x="128" y="256"/>
                      </a:lnTo>
                      <a:lnTo>
                        <a:pt x="126" y="256"/>
                      </a:lnTo>
                      <a:lnTo>
                        <a:pt x="128" y="256"/>
                      </a:lnTo>
                      <a:lnTo>
                        <a:pt x="126" y="256"/>
                      </a:lnTo>
                      <a:lnTo>
                        <a:pt x="126" y="257"/>
                      </a:lnTo>
                      <a:lnTo>
                        <a:pt x="126" y="256"/>
                      </a:lnTo>
                      <a:lnTo>
                        <a:pt x="128" y="256"/>
                      </a:lnTo>
                      <a:lnTo>
                        <a:pt x="126" y="257"/>
                      </a:lnTo>
                      <a:lnTo>
                        <a:pt x="128" y="257"/>
                      </a:lnTo>
                      <a:lnTo>
                        <a:pt x="126" y="257"/>
                      </a:lnTo>
                      <a:lnTo>
                        <a:pt x="128" y="257"/>
                      </a:lnTo>
                      <a:lnTo>
                        <a:pt x="128" y="256"/>
                      </a:lnTo>
                      <a:lnTo>
                        <a:pt x="130" y="256"/>
                      </a:lnTo>
                      <a:lnTo>
                        <a:pt x="131" y="256"/>
                      </a:lnTo>
                      <a:lnTo>
                        <a:pt x="130" y="256"/>
                      </a:lnTo>
                      <a:lnTo>
                        <a:pt x="130" y="257"/>
                      </a:lnTo>
                      <a:lnTo>
                        <a:pt x="128" y="259"/>
                      </a:lnTo>
                      <a:lnTo>
                        <a:pt x="128" y="261"/>
                      </a:lnTo>
                      <a:lnTo>
                        <a:pt x="128" y="262"/>
                      </a:lnTo>
                      <a:lnTo>
                        <a:pt x="126" y="262"/>
                      </a:lnTo>
                      <a:lnTo>
                        <a:pt x="125" y="262"/>
                      </a:lnTo>
                      <a:lnTo>
                        <a:pt x="125" y="264"/>
                      </a:lnTo>
                      <a:lnTo>
                        <a:pt x="123" y="264"/>
                      </a:lnTo>
                      <a:lnTo>
                        <a:pt x="123" y="266"/>
                      </a:lnTo>
                      <a:lnTo>
                        <a:pt x="123" y="267"/>
                      </a:lnTo>
                      <a:lnTo>
                        <a:pt x="123" y="269"/>
                      </a:lnTo>
                      <a:lnTo>
                        <a:pt x="123" y="267"/>
                      </a:lnTo>
                      <a:lnTo>
                        <a:pt x="121" y="267"/>
                      </a:lnTo>
                      <a:lnTo>
                        <a:pt x="121" y="269"/>
                      </a:lnTo>
                      <a:lnTo>
                        <a:pt x="121" y="267"/>
                      </a:lnTo>
                      <a:lnTo>
                        <a:pt x="121" y="269"/>
                      </a:lnTo>
                      <a:lnTo>
                        <a:pt x="120" y="269"/>
                      </a:lnTo>
                      <a:lnTo>
                        <a:pt x="120" y="271"/>
                      </a:lnTo>
                      <a:lnTo>
                        <a:pt x="118" y="271"/>
                      </a:lnTo>
                      <a:lnTo>
                        <a:pt x="118" y="272"/>
                      </a:lnTo>
                      <a:lnTo>
                        <a:pt x="118" y="271"/>
                      </a:lnTo>
                      <a:lnTo>
                        <a:pt x="118" y="269"/>
                      </a:lnTo>
                      <a:lnTo>
                        <a:pt x="116" y="269"/>
                      </a:lnTo>
                      <a:lnTo>
                        <a:pt x="115" y="269"/>
                      </a:lnTo>
                      <a:lnTo>
                        <a:pt x="116" y="267"/>
                      </a:lnTo>
                      <a:lnTo>
                        <a:pt x="116" y="266"/>
                      </a:lnTo>
                      <a:lnTo>
                        <a:pt x="116" y="267"/>
                      </a:lnTo>
                      <a:lnTo>
                        <a:pt x="115" y="267"/>
                      </a:lnTo>
                      <a:lnTo>
                        <a:pt x="115" y="269"/>
                      </a:lnTo>
                      <a:lnTo>
                        <a:pt x="113" y="271"/>
                      </a:lnTo>
                      <a:lnTo>
                        <a:pt x="113" y="269"/>
                      </a:lnTo>
                      <a:lnTo>
                        <a:pt x="113" y="271"/>
                      </a:lnTo>
                      <a:lnTo>
                        <a:pt x="111" y="271"/>
                      </a:lnTo>
                      <a:lnTo>
                        <a:pt x="109" y="272"/>
                      </a:lnTo>
                      <a:lnTo>
                        <a:pt x="109" y="271"/>
                      </a:lnTo>
                      <a:lnTo>
                        <a:pt x="108" y="271"/>
                      </a:lnTo>
                      <a:lnTo>
                        <a:pt x="109" y="271"/>
                      </a:lnTo>
                      <a:lnTo>
                        <a:pt x="109" y="272"/>
                      </a:lnTo>
                      <a:lnTo>
                        <a:pt x="108" y="272"/>
                      </a:lnTo>
                      <a:lnTo>
                        <a:pt x="106" y="272"/>
                      </a:lnTo>
                      <a:lnTo>
                        <a:pt x="106" y="274"/>
                      </a:lnTo>
                      <a:lnTo>
                        <a:pt x="104" y="276"/>
                      </a:lnTo>
                      <a:lnTo>
                        <a:pt x="106" y="276"/>
                      </a:lnTo>
                      <a:lnTo>
                        <a:pt x="104" y="276"/>
                      </a:lnTo>
                      <a:lnTo>
                        <a:pt x="104" y="277"/>
                      </a:lnTo>
                      <a:lnTo>
                        <a:pt x="104" y="276"/>
                      </a:lnTo>
                      <a:lnTo>
                        <a:pt x="104" y="277"/>
                      </a:lnTo>
                      <a:lnTo>
                        <a:pt x="103" y="277"/>
                      </a:lnTo>
                      <a:lnTo>
                        <a:pt x="103" y="279"/>
                      </a:lnTo>
                      <a:lnTo>
                        <a:pt x="101" y="280"/>
                      </a:lnTo>
                      <a:lnTo>
                        <a:pt x="101" y="284"/>
                      </a:lnTo>
                      <a:lnTo>
                        <a:pt x="101" y="285"/>
                      </a:lnTo>
                      <a:lnTo>
                        <a:pt x="101" y="287"/>
                      </a:lnTo>
                      <a:lnTo>
                        <a:pt x="101" y="289"/>
                      </a:lnTo>
                      <a:lnTo>
                        <a:pt x="99" y="290"/>
                      </a:lnTo>
                      <a:lnTo>
                        <a:pt x="98" y="292"/>
                      </a:lnTo>
                      <a:lnTo>
                        <a:pt x="98" y="294"/>
                      </a:lnTo>
                      <a:lnTo>
                        <a:pt x="96" y="297"/>
                      </a:lnTo>
                      <a:lnTo>
                        <a:pt x="96" y="299"/>
                      </a:lnTo>
                      <a:lnTo>
                        <a:pt x="94" y="300"/>
                      </a:lnTo>
                      <a:lnTo>
                        <a:pt x="93" y="300"/>
                      </a:lnTo>
                      <a:lnTo>
                        <a:pt x="91" y="302"/>
                      </a:lnTo>
                      <a:lnTo>
                        <a:pt x="91" y="303"/>
                      </a:lnTo>
                      <a:lnTo>
                        <a:pt x="89" y="303"/>
                      </a:lnTo>
                      <a:lnTo>
                        <a:pt x="89" y="305"/>
                      </a:lnTo>
                      <a:lnTo>
                        <a:pt x="88" y="307"/>
                      </a:lnTo>
                      <a:lnTo>
                        <a:pt x="88" y="308"/>
                      </a:lnTo>
                      <a:lnTo>
                        <a:pt x="86" y="310"/>
                      </a:lnTo>
                      <a:lnTo>
                        <a:pt x="86" y="312"/>
                      </a:lnTo>
                      <a:lnTo>
                        <a:pt x="86" y="313"/>
                      </a:lnTo>
                      <a:lnTo>
                        <a:pt x="84" y="313"/>
                      </a:lnTo>
                      <a:lnTo>
                        <a:pt x="84" y="312"/>
                      </a:lnTo>
                      <a:lnTo>
                        <a:pt x="84" y="313"/>
                      </a:lnTo>
                      <a:lnTo>
                        <a:pt x="82" y="313"/>
                      </a:lnTo>
                      <a:lnTo>
                        <a:pt x="82" y="312"/>
                      </a:lnTo>
                      <a:lnTo>
                        <a:pt x="82" y="310"/>
                      </a:lnTo>
                      <a:lnTo>
                        <a:pt x="81" y="310"/>
                      </a:lnTo>
                      <a:lnTo>
                        <a:pt x="81" y="308"/>
                      </a:lnTo>
                      <a:lnTo>
                        <a:pt x="81" y="310"/>
                      </a:lnTo>
                      <a:lnTo>
                        <a:pt x="81" y="308"/>
                      </a:lnTo>
                      <a:lnTo>
                        <a:pt x="79" y="310"/>
                      </a:lnTo>
                      <a:lnTo>
                        <a:pt x="77" y="310"/>
                      </a:lnTo>
                      <a:lnTo>
                        <a:pt x="79" y="308"/>
                      </a:lnTo>
                      <a:lnTo>
                        <a:pt x="77" y="308"/>
                      </a:lnTo>
                      <a:lnTo>
                        <a:pt x="76" y="307"/>
                      </a:lnTo>
                      <a:lnTo>
                        <a:pt x="76" y="308"/>
                      </a:lnTo>
                      <a:lnTo>
                        <a:pt x="76" y="307"/>
                      </a:lnTo>
                      <a:lnTo>
                        <a:pt x="74" y="307"/>
                      </a:lnTo>
                      <a:lnTo>
                        <a:pt x="72" y="307"/>
                      </a:lnTo>
                      <a:lnTo>
                        <a:pt x="71" y="307"/>
                      </a:lnTo>
                      <a:lnTo>
                        <a:pt x="69" y="307"/>
                      </a:lnTo>
                      <a:lnTo>
                        <a:pt x="69" y="308"/>
                      </a:lnTo>
                      <a:lnTo>
                        <a:pt x="67" y="308"/>
                      </a:lnTo>
                      <a:lnTo>
                        <a:pt x="66" y="308"/>
                      </a:lnTo>
                      <a:lnTo>
                        <a:pt x="64" y="310"/>
                      </a:lnTo>
                      <a:lnTo>
                        <a:pt x="64" y="308"/>
                      </a:lnTo>
                      <a:lnTo>
                        <a:pt x="62" y="308"/>
                      </a:lnTo>
                      <a:lnTo>
                        <a:pt x="62" y="307"/>
                      </a:lnTo>
                      <a:lnTo>
                        <a:pt x="60" y="308"/>
                      </a:lnTo>
                      <a:lnTo>
                        <a:pt x="62" y="307"/>
                      </a:lnTo>
                      <a:lnTo>
                        <a:pt x="60" y="307"/>
                      </a:lnTo>
                      <a:lnTo>
                        <a:pt x="60" y="308"/>
                      </a:lnTo>
                      <a:lnTo>
                        <a:pt x="60" y="307"/>
                      </a:lnTo>
                      <a:lnTo>
                        <a:pt x="59" y="307"/>
                      </a:lnTo>
                      <a:lnTo>
                        <a:pt x="57" y="308"/>
                      </a:lnTo>
                      <a:lnTo>
                        <a:pt x="55" y="308"/>
                      </a:lnTo>
                      <a:lnTo>
                        <a:pt x="54" y="308"/>
                      </a:lnTo>
                      <a:lnTo>
                        <a:pt x="54" y="307"/>
                      </a:lnTo>
                      <a:lnTo>
                        <a:pt x="52" y="307"/>
                      </a:lnTo>
                      <a:lnTo>
                        <a:pt x="50" y="307"/>
                      </a:lnTo>
                      <a:lnTo>
                        <a:pt x="50" y="305"/>
                      </a:lnTo>
                      <a:lnTo>
                        <a:pt x="49" y="305"/>
                      </a:lnTo>
                      <a:lnTo>
                        <a:pt x="47" y="305"/>
                      </a:lnTo>
                      <a:lnTo>
                        <a:pt x="45" y="305"/>
                      </a:lnTo>
                      <a:lnTo>
                        <a:pt x="44" y="305"/>
                      </a:lnTo>
                      <a:lnTo>
                        <a:pt x="42" y="305"/>
                      </a:lnTo>
                      <a:lnTo>
                        <a:pt x="42" y="307"/>
                      </a:lnTo>
                      <a:lnTo>
                        <a:pt x="40" y="307"/>
                      </a:lnTo>
                      <a:lnTo>
                        <a:pt x="40" y="305"/>
                      </a:lnTo>
                      <a:lnTo>
                        <a:pt x="39" y="305"/>
                      </a:lnTo>
                      <a:lnTo>
                        <a:pt x="39" y="307"/>
                      </a:lnTo>
                      <a:lnTo>
                        <a:pt x="37" y="308"/>
                      </a:lnTo>
                      <a:lnTo>
                        <a:pt x="35" y="308"/>
                      </a:lnTo>
                      <a:lnTo>
                        <a:pt x="35" y="310"/>
                      </a:lnTo>
                      <a:lnTo>
                        <a:pt x="33" y="310"/>
                      </a:lnTo>
                      <a:lnTo>
                        <a:pt x="33" y="312"/>
                      </a:lnTo>
                      <a:lnTo>
                        <a:pt x="32" y="312"/>
                      </a:lnTo>
                      <a:lnTo>
                        <a:pt x="30" y="313"/>
                      </a:lnTo>
                      <a:lnTo>
                        <a:pt x="28" y="315"/>
                      </a:lnTo>
                      <a:lnTo>
                        <a:pt x="27" y="315"/>
                      </a:lnTo>
                      <a:lnTo>
                        <a:pt x="25" y="313"/>
                      </a:lnTo>
                      <a:lnTo>
                        <a:pt x="25" y="312"/>
                      </a:lnTo>
                      <a:lnTo>
                        <a:pt x="23" y="312"/>
                      </a:lnTo>
                      <a:lnTo>
                        <a:pt x="23" y="310"/>
                      </a:lnTo>
                      <a:lnTo>
                        <a:pt x="22" y="310"/>
                      </a:lnTo>
                      <a:lnTo>
                        <a:pt x="23" y="310"/>
                      </a:lnTo>
                      <a:lnTo>
                        <a:pt x="22" y="310"/>
                      </a:lnTo>
                      <a:lnTo>
                        <a:pt x="22" y="308"/>
                      </a:lnTo>
                      <a:lnTo>
                        <a:pt x="20" y="308"/>
                      </a:lnTo>
                      <a:lnTo>
                        <a:pt x="18" y="310"/>
                      </a:lnTo>
                      <a:lnTo>
                        <a:pt x="17" y="308"/>
                      </a:lnTo>
                      <a:lnTo>
                        <a:pt x="17" y="307"/>
                      </a:lnTo>
                      <a:lnTo>
                        <a:pt x="15" y="307"/>
                      </a:lnTo>
                      <a:lnTo>
                        <a:pt x="13" y="307"/>
                      </a:lnTo>
                      <a:lnTo>
                        <a:pt x="15" y="305"/>
                      </a:lnTo>
                      <a:lnTo>
                        <a:pt x="13" y="305"/>
                      </a:lnTo>
                      <a:lnTo>
                        <a:pt x="15" y="303"/>
                      </a:lnTo>
                      <a:lnTo>
                        <a:pt x="13" y="303"/>
                      </a:lnTo>
                      <a:lnTo>
                        <a:pt x="13" y="302"/>
                      </a:lnTo>
                      <a:lnTo>
                        <a:pt x="12" y="302"/>
                      </a:lnTo>
                      <a:lnTo>
                        <a:pt x="10" y="303"/>
                      </a:lnTo>
                      <a:lnTo>
                        <a:pt x="10" y="302"/>
                      </a:lnTo>
                      <a:lnTo>
                        <a:pt x="10" y="300"/>
                      </a:lnTo>
                      <a:lnTo>
                        <a:pt x="8" y="300"/>
                      </a:lnTo>
                      <a:lnTo>
                        <a:pt x="6" y="300"/>
                      </a:lnTo>
                      <a:lnTo>
                        <a:pt x="6" y="299"/>
                      </a:lnTo>
                      <a:lnTo>
                        <a:pt x="6" y="297"/>
                      </a:lnTo>
                      <a:lnTo>
                        <a:pt x="5" y="297"/>
                      </a:lnTo>
                      <a:lnTo>
                        <a:pt x="3" y="297"/>
                      </a:lnTo>
                      <a:lnTo>
                        <a:pt x="5" y="297"/>
                      </a:lnTo>
                      <a:lnTo>
                        <a:pt x="5" y="295"/>
                      </a:lnTo>
                      <a:lnTo>
                        <a:pt x="3" y="295"/>
                      </a:lnTo>
                      <a:lnTo>
                        <a:pt x="3" y="294"/>
                      </a:lnTo>
                      <a:lnTo>
                        <a:pt x="3" y="292"/>
                      </a:lnTo>
                      <a:lnTo>
                        <a:pt x="1" y="294"/>
                      </a:lnTo>
                      <a:lnTo>
                        <a:pt x="1" y="292"/>
                      </a:lnTo>
                      <a:lnTo>
                        <a:pt x="3" y="292"/>
                      </a:lnTo>
                      <a:lnTo>
                        <a:pt x="1" y="292"/>
                      </a:lnTo>
                      <a:lnTo>
                        <a:pt x="3" y="292"/>
                      </a:lnTo>
                      <a:lnTo>
                        <a:pt x="3" y="290"/>
                      </a:lnTo>
                      <a:lnTo>
                        <a:pt x="5" y="290"/>
                      </a:lnTo>
                      <a:lnTo>
                        <a:pt x="5" y="289"/>
                      </a:lnTo>
                      <a:lnTo>
                        <a:pt x="5" y="287"/>
                      </a:lnTo>
                      <a:lnTo>
                        <a:pt x="6" y="287"/>
                      </a:lnTo>
                      <a:lnTo>
                        <a:pt x="6" y="285"/>
                      </a:lnTo>
                      <a:lnTo>
                        <a:pt x="6" y="284"/>
                      </a:lnTo>
                      <a:lnTo>
                        <a:pt x="8" y="284"/>
                      </a:lnTo>
                      <a:lnTo>
                        <a:pt x="8" y="282"/>
                      </a:lnTo>
                      <a:lnTo>
                        <a:pt x="6" y="282"/>
                      </a:lnTo>
                      <a:lnTo>
                        <a:pt x="5" y="280"/>
                      </a:lnTo>
                      <a:lnTo>
                        <a:pt x="6" y="280"/>
                      </a:lnTo>
                      <a:lnTo>
                        <a:pt x="6" y="279"/>
                      </a:lnTo>
                      <a:lnTo>
                        <a:pt x="8" y="279"/>
                      </a:lnTo>
                      <a:lnTo>
                        <a:pt x="8" y="277"/>
                      </a:lnTo>
                      <a:lnTo>
                        <a:pt x="10" y="277"/>
                      </a:lnTo>
                      <a:lnTo>
                        <a:pt x="10" y="276"/>
                      </a:lnTo>
                      <a:lnTo>
                        <a:pt x="12" y="276"/>
                      </a:lnTo>
                      <a:lnTo>
                        <a:pt x="12" y="274"/>
                      </a:lnTo>
                      <a:lnTo>
                        <a:pt x="13" y="274"/>
                      </a:lnTo>
                      <a:lnTo>
                        <a:pt x="12" y="274"/>
                      </a:lnTo>
                      <a:lnTo>
                        <a:pt x="13" y="274"/>
                      </a:lnTo>
                      <a:lnTo>
                        <a:pt x="12" y="274"/>
                      </a:lnTo>
                      <a:lnTo>
                        <a:pt x="12" y="272"/>
                      </a:lnTo>
                      <a:lnTo>
                        <a:pt x="13" y="272"/>
                      </a:lnTo>
                      <a:lnTo>
                        <a:pt x="12" y="272"/>
                      </a:lnTo>
                      <a:lnTo>
                        <a:pt x="13" y="271"/>
                      </a:lnTo>
                      <a:lnTo>
                        <a:pt x="12" y="271"/>
                      </a:lnTo>
                      <a:lnTo>
                        <a:pt x="13" y="271"/>
                      </a:lnTo>
                      <a:lnTo>
                        <a:pt x="12" y="271"/>
                      </a:lnTo>
                      <a:lnTo>
                        <a:pt x="13" y="269"/>
                      </a:lnTo>
                      <a:lnTo>
                        <a:pt x="12" y="269"/>
                      </a:lnTo>
                      <a:lnTo>
                        <a:pt x="10" y="269"/>
                      </a:lnTo>
                      <a:lnTo>
                        <a:pt x="10" y="267"/>
                      </a:lnTo>
                      <a:lnTo>
                        <a:pt x="8" y="267"/>
                      </a:lnTo>
                      <a:lnTo>
                        <a:pt x="6" y="269"/>
                      </a:lnTo>
                      <a:lnTo>
                        <a:pt x="6" y="267"/>
                      </a:lnTo>
                      <a:lnTo>
                        <a:pt x="5" y="269"/>
                      </a:lnTo>
                      <a:lnTo>
                        <a:pt x="5" y="267"/>
                      </a:lnTo>
                      <a:lnTo>
                        <a:pt x="6" y="267"/>
                      </a:lnTo>
                      <a:lnTo>
                        <a:pt x="5" y="267"/>
                      </a:lnTo>
                      <a:lnTo>
                        <a:pt x="3" y="266"/>
                      </a:lnTo>
                      <a:lnTo>
                        <a:pt x="1" y="266"/>
                      </a:lnTo>
                      <a:lnTo>
                        <a:pt x="1" y="264"/>
                      </a:lnTo>
                      <a:lnTo>
                        <a:pt x="0" y="264"/>
                      </a:lnTo>
                      <a:lnTo>
                        <a:pt x="0" y="262"/>
                      </a:lnTo>
                      <a:lnTo>
                        <a:pt x="1" y="262"/>
                      </a:lnTo>
                      <a:lnTo>
                        <a:pt x="1" y="261"/>
                      </a:lnTo>
                      <a:lnTo>
                        <a:pt x="1" y="259"/>
                      </a:lnTo>
                      <a:lnTo>
                        <a:pt x="1" y="257"/>
                      </a:lnTo>
                      <a:lnTo>
                        <a:pt x="3" y="257"/>
                      </a:lnTo>
                      <a:lnTo>
                        <a:pt x="3" y="256"/>
                      </a:lnTo>
                      <a:lnTo>
                        <a:pt x="5" y="256"/>
                      </a:lnTo>
                      <a:lnTo>
                        <a:pt x="5" y="254"/>
                      </a:lnTo>
                      <a:lnTo>
                        <a:pt x="6" y="254"/>
                      </a:lnTo>
                      <a:lnTo>
                        <a:pt x="6" y="253"/>
                      </a:lnTo>
                      <a:lnTo>
                        <a:pt x="5" y="253"/>
                      </a:lnTo>
                      <a:lnTo>
                        <a:pt x="5" y="251"/>
                      </a:lnTo>
                      <a:lnTo>
                        <a:pt x="3" y="251"/>
                      </a:lnTo>
                      <a:lnTo>
                        <a:pt x="1" y="251"/>
                      </a:lnTo>
                      <a:lnTo>
                        <a:pt x="3" y="249"/>
                      </a:lnTo>
                      <a:lnTo>
                        <a:pt x="3" y="248"/>
                      </a:lnTo>
                      <a:lnTo>
                        <a:pt x="3" y="246"/>
                      </a:lnTo>
                      <a:lnTo>
                        <a:pt x="5" y="246"/>
                      </a:lnTo>
                      <a:lnTo>
                        <a:pt x="5" y="244"/>
                      </a:lnTo>
                      <a:lnTo>
                        <a:pt x="5" y="246"/>
                      </a:lnTo>
                      <a:lnTo>
                        <a:pt x="5" y="244"/>
                      </a:lnTo>
                      <a:lnTo>
                        <a:pt x="6" y="244"/>
                      </a:lnTo>
                      <a:lnTo>
                        <a:pt x="6" y="243"/>
                      </a:lnTo>
                      <a:lnTo>
                        <a:pt x="6" y="241"/>
                      </a:lnTo>
                      <a:lnTo>
                        <a:pt x="6" y="239"/>
                      </a:lnTo>
                      <a:lnTo>
                        <a:pt x="6" y="238"/>
                      </a:lnTo>
                      <a:lnTo>
                        <a:pt x="6" y="236"/>
                      </a:lnTo>
                      <a:lnTo>
                        <a:pt x="6" y="234"/>
                      </a:lnTo>
                      <a:lnTo>
                        <a:pt x="6" y="233"/>
                      </a:lnTo>
                      <a:lnTo>
                        <a:pt x="5" y="233"/>
                      </a:lnTo>
                      <a:lnTo>
                        <a:pt x="3" y="233"/>
                      </a:lnTo>
                      <a:lnTo>
                        <a:pt x="3" y="231"/>
                      </a:lnTo>
                      <a:lnTo>
                        <a:pt x="3" y="230"/>
                      </a:lnTo>
                      <a:lnTo>
                        <a:pt x="1" y="228"/>
                      </a:lnTo>
                      <a:lnTo>
                        <a:pt x="1" y="226"/>
                      </a:lnTo>
                      <a:lnTo>
                        <a:pt x="3" y="226"/>
                      </a:lnTo>
                      <a:lnTo>
                        <a:pt x="3" y="225"/>
                      </a:lnTo>
                      <a:lnTo>
                        <a:pt x="1" y="225"/>
                      </a:lnTo>
                      <a:lnTo>
                        <a:pt x="3" y="225"/>
                      </a:lnTo>
                      <a:lnTo>
                        <a:pt x="5" y="225"/>
                      </a:lnTo>
                      <a:lnTo>
                        <a:pt x="5" y="223"/>
                      </a:lnTo>
                      <a:lnTo>
                        <a:pt x="6" y="223"/>
                      </a:lnTo>
                      <a:lnTo>
                        <a:pt x="6" y="221"/>
                      </a:lnTo>
                      <a:lnTo>
                        <a:pt x="8" y="221"/>
                      </a:lnTo>
                      <a:lnTo>
                        <a:pt x="10" y="220"/>
                      </a:lnTo>
                      <a:lnTo>
                        <a:pt x="8" y="220"/>
                      </a:lnTo>
                      <a:lnTo>
                        <a:pt x="10" y="218"/>
                      </a:lnTo>
                      <a:lnTo>
                        <a:pt x="10" y="216"/>
                      </a:lnTo>
                      <a:lnTo>
                        <a:pt x="10" y="215"/>
                      </a:lnTo>
                      <a:lnTo>
                        <a:pt x="10" y="213"/>
                      </a:lnTo>
                      <a:lnTo>
                        <a:pt x="12" y="213"/>
                      </a:lnTo>
                      <a:lnTo>
                        <a:pt x="20" y="213"/>
                      </a:lnTo>
                      <a:lnTo>
                        <a:pt x="44" y="213"/>
                      </a:lnTo>
                      <a:lnTo>
                        <a:pt x="44" y="211"/>
                      </a:lnTo>
                      <a:lnTo>
                        <a:pt x="45" y="213"/>
                      </a:lnTo>
                      <a:lnTo>
                        <a:pt x="45" y="211"/>
                      </a:lnTo>
                      <a:lnTo>
                        <a:pt x="47" y="211"/>
                      </a:lnTo>
                      <a:lnTo>
                        <a:pt x="47" y="210"/>
                      </a:lnTo>
                      <a:lnTo>
                        <a:pt x="47" y="208"/>
                      </a:lnTo>
                      <a:lnTo>
                        <a:pt x="49" y="208"/>
                      </a:lnTo>
                      <a:lnTo>
                        <a:pt x="49" y="207"/>
                      </a:lnTo>
                      <a:lnTo>
                        <a:pt x="49" y="205"/>
                      </a:lnTo>
                      <a:lnTo>
                        <a:pt x="50" y="205"/>
                      </a:lnTo>
                      <a:lnTo>
                        <a:pt x="49" y="205"/>
                      </a:lnTo>
                      <a:lnTo>
                        <a:pt x="50" y="205"/>
                      </a:lnTo>
                      <a:lnTo>
                        <a:pt x="50" y="203"/>
                      </a:lnTo>
                      <a:lnTo>
                        <a:pt x="50" y="202"/>
                      </a:lnTo>
                      <a:lnTo>
                        <a:pt x="50" y="200"/>
                      </a:lnTo>
                      <a:lnTo>
                        <a:pt x="52" y="198"/>
                      </a:lnTo>
                      <a:lnTo>
                        <a:pt x="52" y="197"/>
                      </a:lnTo>
                      <a:lnTo>
                        <a:pt x="54" y="197"/>
                      </a:lnTo>
                      <a:lnTo>
                        <a:pt x="52" y="197"/>
                      </a:lnTo>
                      <a:lnTo>
                        <a:pt x="54" y="195"/>
                      </a:lnTo>
                      <a:lnTo>
                        <a:pt x="54" y="193"/>
                      </a:lnTo>
                      <a:lnTo>
                        <a:pt x="52" y="192"/>
                      </a:lnTo>
                      <a:lnTo>
                        <a:pt x="54" y="192"/>
                      </a:lnTo>
                      <a:lnTo>
                        <a:pt x="54" y="190"/>
                      </a:lnTo>
                      <a:lnTo>
                        <a:pt x="54" y="188"/>
                      </a:lnTo>
                      <a:lnTo>
                        <a:pt x="55" y="188"/>
                      </a:lnTo>
                      <a:lnTo>
                        <a:pt x="57" y="188"/>
                      </a:lnTo>
                      <a:lnTo>
                        <a:pt x="59" y="188"/>
                      </a:lnTo>
                      <a:lnTo>
                        <a:pt x="60" y="188"/>
                      </a:lnTo>
                      <a:lnTo>
                        <a:pt x="60" y="187"/>
                      </a:lnTo>
                      <a:lnTo>
                        <a:pt x="60" y="185"/>
                      </a:lnTo>
                      <a:lnTo>
                        <a:pt x="62" y="185"/>
                      </a:lnTo>
                      <a:lnTo>
                        <a:pt x="64" y="185"/>
                      </a:lnTo>
                      <a:lnTo>
                        <a:pt x="64" y="184"/>
                      </a:lnTo>
                      <a:lnTo>
                        <a:pt x="66" y="184"/>
                      </a:lnTo>
                      <a:lnTo>
                        <a:pt x="66" y="182"/>
                      </a:lnTo>
                      <a:lnTo>
                        <a:pt x="66" y="180"/>
                      </a:lnTo>
                      <a:lnTo>
                        <a:pt x="66" y="179"/>
                      </a:lnTo>
                      <a:lnTo>
                        <a:pt x="66" y="177"/>
                      </a:lnTo>
                      <a:lnTo>
                        <a:pt x="67" y="177"/>
                      </a:lnTo>
                      <a:lnTo>
                        <a:pt x="67" y="175"/>
                      </a:lnTo>
                      <a:lnTo>
                        <a:pt x="66" y="174"/>
                      </a:lnTo>
                      <a:lnTo>
                        <a:pt x="66" y="172"/>
                      </a:lnTo>
                      <a:lnTo>
                        <a:pt x="64" y="170"/>
                      </a:lnTo>
                      <a:lnTo>
                        <a:pt x="66" y="170"/>
                      </a:lnTo>
                      <a:lnTo>
                        <a:pt x="66" y="169"/>
                      </a:lnTo>
                      <a:lnTo>
                        <a:pt x="66" y="167"/>
                      </a:lnTo>
                      <a:lnTo>
                        <a:pt x="66" y="165"/>
                      </a:lnTo>
                      <a:lnTo>
                        <a:pt x="67" y="164"/>
                      </a:lnTo>
                      <a:lnTo>
                        <a:pt x="67" y="162"/>
                      </a:lnTo>
                      <a:lnTo>
                        <a:pt x="69" y="164"/>
                      </a:lnTo>
                      <a:lnTo>
                        <a:pt x="69" y="162"/>
                      </a:lnTo>
                      <a:lnTo>
                        <a:pt x="71" y="162"/>
                      </a:lnTo>
                      <a:lnTo>
                        <a:pt x="71" y="161"/>
                      </a:lnTo>
                      <a:lnTo>
                        <a:pt x="72" y="161"/>
                      </a:lnTo>
                      <a:lnTo>
                        <a:pt x="72" y="159"/>
                      </a:lnTo>
                      <a:lnTo>
                        <a:pt x="72" y="157"/>
                      </a:lnTo>
                      <a:lnTo>
                        <a:pt x="74" y="157"/>
                      </a:lnTo>
                      <a:lnTo>
                        <a:pt x="76" y="157"/>
                      </a:lnTo>
                      <a:lnTo>
                        <a:pt x="76" y="156"/>
                      </a:lnTo>
                      <a:lnTo>
                        <a:pt x="77" y="156"/>
                      </a:lnTo>
                      <a:lnTo>
                        <a:pt x="79" y="154"/>
                      </a:lnTo>
                      <a:lnTo>
                        <a:pt x="79" y="152"/>
                      </a:lnTo>
                      <a:lnTo>
                        <a:pt x="79" y="151"/>
                      </a:lnTo>
                      <a:lnTo>
                        <a:pt x="79" y="149"/>
                      </a:lnTo>
                      <a:lnTo>
                        <a:pt x="77" y="149"/>
                      </a:lnTo>
                      <a:lnTo>
                        <a:pt x="77" y="147"/>
                      </a:lnTo>
                      <a:lnTo>
                        <a:pt x="79" y="147"/>
                      </a:lnTo>
                      <a:lnTo>
                        <a:pt x="81" y="149"/>
                      </a:lnTo>
                      <a:lnTo>
                        <a:pt x="82" y="149"/>
                      </a:lnTo>
                      <a:lnTo>
                        <a:pt x="84" y="149"/>
                      </a:lnTo>
                      <a:lnTo>
                        <a:pt x="86" y="147"/>
                      </a:lnTo>
                      <a:lnTo>
                        <a:pt x="86" y="146"/>
                      </a:lnTo>
                      <a:lnTo>
                        <a:pt x="88" y="146"/>
                      </a:lnTo>
                      <a:lnTo>
                        <a:pt x="88" y="144"/>
                      </a:lnTo>
                      <a:lnTo>
                        <a:pt x="86" y="144"/>
                      </a:lnTo>
                      <a:lnTo>
                        <a:pt x="86" y="142"/>
                      </a:lnTo>
                      <a:lnTo>
                        <a:pt x="86" y="141"/>
                      </a:lnTo>
                      <a:lnTo>
                        <a:pt x="86" y="139"/>
                      </a:lnTo>
                      <a:lnTo>
                        <a:pt x="88" y="138"/>
                      </a:lnTo>
                      <a:lnTo>
                        <a:pt x="89" y="138"/>
                      </a:lnTo>
                      <a:lnTo>
                        <a:pt x="89" y="136"/>
                      </a:lnTo>
                      <a:lnTo>
                        <a:pt x="89" y="134"/>
                      </a:lnTo>
                      <a:lnTo>
                        <a:pt x="88" y="134"/>
                      </a:lnTo>
                      <a:lnTo>
                        <a:pt x="89" y="134"/>
                      </a:lnTo>
                      <a:lnTo>
                        <a:pt x="89" y="133"/>
                      </a:lnTo>
                      <a:lnTo>
                        <a:pt x="91" y="133"/>
                      </a:lnTo>
                      <a:lnTo>
                        <a:pt x="89" y="131"/>
                      </a:lnTo>
                      <a:lnTo>
                        <a:pt x="91" y="131"/>
                      </a:lnTo>
                      <a:lnTo>
                        <a:pt x="91" y="129"/>
                      </a:lnTo>
                      <a:lnTo>
                        <a:pt x="89" y="129"/>
                      </a:lnTo>
                      <a:lnTo>
                        <a:pt x="89" y="128"/>
                      </a:lnTo>
                      <a:lnTo>
                        <a:pt x="88" y="128"/>
                      </a:lnTo>
                      <a:lnTo>
                        <a:pt x="89" y="128"/>
                      </a:lnTo>
                      <a:lnTo>
                        <a:pt x="89" y="126"/>
                      </a:lnTo>
                      <a:lnTo>
                        <a:pt x="89" y="128"/>
                      </a:lnTo>
                      <a:lnTo>
                        <a:pt x="91" y="128"/>
                      </a:lnTo>
                      <a:lnTo>
                        <a:pt x="89" y="126"/>
                      </a:lnTo>
                      <a:lnTo>
                        <a:pt x="91" y="126"/>
                      </a:lnTo>
                      <a:lnTo>
                        <a:pt x="91" y="124"/>
                      </a:lnTo>
                      <a:lnTo>
                        <a:pt x="89" y="124"/>
                      </a:lnTo>
                      <a:lnTo>
                        <a:pt x="88" y="124"/>
                      </a:lnTo>
                      <a:lnTo>
                        <a:pt x="88" y="123"/>
                      </a:lnTo>
                      <a:lnTo>
                        <a:pt x="89" y="123"/>
                      </a:lnTo>
                      <a:lnTo>
                        <a:pt x="89" y="121"/>
                      </a:lnTo>
                      <a:lnTo>
                        <a:pt x="89" y="120"/>
                      </a:lnTo>
                      <a:lnTo>
                        <a:pt x="89" y="118"/>
                      </a:lnTo>
                      <a:lnTo>
                        <a:pt x="89" y="120"/>
                      </a:lnTo>
                      <a:lnTo>
                        <a:pt x="88" y="118"/>
                      </a:lnTo>
                      <a:lnTo>
                        <a:pt x="88" y="116"/>
                      </a:lnTo>
                      <a:lnTo>
                        <a:pt x="88" y="115"/>
                      </a:lnTo>
                      <a:lnTo>
                        <a:pt x="86" y="115"/>
                      </a:lnTo>
                      <a:lnTo>
                        <a:pt x="88" y="115"/>
                      </a:lnTo>
                      <a:lnTo>
                        <a:pt x="86" y="113"/>
                      </a:lnTo>
                      <a:lnTo>
                        <a:pt x="84" y="113"/>
                      </a:lnTo>
                      <a:lnTo>
                        <a:pt x="84" y="111"/>
                      </a:lnTo>
                      <a:lnTo>
                        <a:pt x="82" y="111"/>
                      </a:lnTo>
                      <a:lnTo>
                        <a:pt x="82" y="110"/>
                      </a:lnTo>
                      <a:lnTo>
                        <a:pt x="81" y="110"/>
                      </a:lnTo>
                      <a:lnTo>
                        <a:pt x="81" y="108"/>
                      </a:lnTo>
                      <a:lnTo>
                        <a:pt x="81" y="110"/>
                      </a:lnTo>
                      <a:lnTo>
                        <a:pt x="81" y="108"/>
                      </a:lnTo>
                      <a:lnTo>
                        <a:pt x="79" y="108"/>
                      </a:lnTo>
                      <a:lnTo>
                        <a:pt x="77" y="108"/>
                      </a:lnTo>
                      <a:lnTo>
                        <a:pt x="77" y="106"/>
                      </a:lnTo>
                      <a:lnTo>
                        <a:pt x="76" y="106"/>
                      </a:lnTo>
                      <a:lnTo>
                        <a:pt x="77" y="106"/>
                      </a:lnTo>
                      <a:lnTo>
                        <a:pt x="77" y="105"/>
                      </a:lnTo>
                      <a:lnTo>
                        <a:pt x="76" y="105"/>
                      </a:lnTo>
                      <a:lnTo>
                        <a:pt x="76" y="103"/>
                      </a:lnTo>
                      <a:lnTo>
                        <a:pt x="77" y="103"/>
                      </a:lnTo>
                      <a:lnTo>
                        <a:pt x="77" y="101"/>
                      </a:lnTo>
                      <a:lnTo>
                        <a:pt x="79" y="101"/>
                      </a:lnTo>
                      <a:lnTo>
                        <a:pt x="81" y="100"/>
                      </a:lnTo>
                      <a:lnTo>
                        <a:pt x="79" y="100"/>
                      </a:lnTo>
                      <a:lnTo>
                        <a:pt x="77" y="100"/>
                      </a:lnTo>
                      <a:lnTo>
                        <a:pt x="77" y="98"/>
                      </a:lnTo>
                      <a:lnTo>
                        <a:pt x="76" y="98"/>
                      </a:lnTo>
                      <a:lnTo>
                        <a:pt x="76" y="97"/>
                      </a:lnTo>
                      <a:lnTo>
                        <a:pt x="74" y="97"/>
                      </a:lnTo>
                      <a:lnTo>
                        <a:pt x="72" y="97"/>
                      </a:lnTo>
                      <a:lnTo>
                        <a:pt x="72" y="95"/>
                      </a:lnTo>
                      <a:lnTo>
                        <a:pt x="71" y="95"/>
                      </a:lnTo>
                      <a:lnTo>
                        <a:pt x="72" y="95"/>
                      </a:lnTo>
                      <a:lnTo>
                        <a:pt x="72" y="93"/>
                      </a:lnTo>
                      <a:lnTo>
                        <a:pt x="71" y="93"/>
                      </a:lnTo>
                      <a:lnTo>
                        <a:pt x="71" y="92"/>
                      </a:lnTo>
                      <a:lnTo>
                        <a:pt x="69" y="92"/>
                      </a:lnTo>
                      <a:lnTo>
                        <a:pt x="67" y="92"/>
                      </a:lnTo>
                      <a:lnTo>
                        <a:pt x="67" y="90"/>
                      </a:lnTo>
                      <a:lnTo>
                        <a:pt x="67" y="88"/>
                      </a:lnTo>
                      <a:lnTo>
                        <a:pt x="66" y="90"/>
                      </a:lnTo>
                      <a:lnTo>
                        <a:pt x="66" y="88"/>
                      </a:lnTo>
                      <a:lnTo>
                        <a:pt x="66" y="90"/>
                      </a:lnTo>
                      <a:lnTo>
                        <a:pt x="64" y="90"/>
                      </a:lnTo>
                      <a:lnTo>
                        <a:pt x="64" y="88"/>
                      </a:lnTo>
                      <a:lnTo>
                        <a:pt x="62" y="88"/>
                      </a:lnTo>
                      <a:lnTo>
                        <a:pt x="62" y="90"/>
                      </a:lnTo>
                      <a:lnTo>
                        <a:pt x="60" y="90"/>
                      </a:lnTo>
                      <a:lnTo>
                        <a:pt x="60" y="88"/>
                      </a:lnTo>
                      <a:lnTo>
                        <a:pt x="59" y="88"/>
                      </a:lnTo>
                      <a:lnTo>
                        <a:pt x="60" y="88"/>
                      </a:lnTo>
                      <a:lnTo>
                        <a:pt x="59" y="88"/>
                      </a:lnTo>
                      <a:lnTo>
                        <a:pt x="59" y="87"/>
                      </a:lnTo>
                      <a:lnTo>
                        <a:pt x="60" y="87"/>
                      </a:lnTo>
                      <a:lnTo>
                        <a:pt x="59" y="85"/>
                      </a:lnTo>
                      <a:lnTo>
                        <a:pt x="60" y="85"/>
                      </a:lnTo>
                      <a:lnTo>
                        <a:pt x="60" y="83"/>
                      </a:lnTo>
                      <a:lnTo>
                        <a:pt x="69" y="83"/>
                      </a:lnTo>
                      <a:lnTo>
                        <a:pt x="71" y="83"/>
                      </a:lnTo>
                      <a:lnTo>
                        <a:pt x="71" y="85"/>
                      </a:lnTo>
                      <a:lnTo>
                        <a:pt x="72" y="85"/>
                      </a:lnTo>
                      <a:lnTo>
                        <a:pt x="72" y="87"/>
                      </a:lnTo>
                      <a:lnTo>
                        <a:pt x="74" y="87"/>
                      </a:lnTo>
                      <a:lnTo>
                        <a:pt x="81" y="87"/>
                      </a:lnTo>
                      <a:lnTo>
                        <a:pt x="82" y="87"/>
                      </a:lnTo>
                      <a:lnTo>
                        <a:pt x="86" y="87"/>
                      </a:lnTo>
                      <a:lnTo>
                        <a:pt x="88" y="87"/>
                      </a:lnTo>
                      <a:lnTo>
                        <a:pt x="88" y="85"/>
                      </a:lnTo>
                      <a:lnTo>
                        <a:pt x="88" y="87"/>
                      </a:lnTo>
                      <a:lnTo>
                        <a:pt x="89" y="87"/>
                      </a:lnTo>
                      <a:lnTo>
                        <a:pt x="89" y="85"/>
                      </a:lnTo>
                      <a:lnTo>
                        <a:pt x="91" y="85"/>
                      </a:lnTo>
                      <a:lnTo>
                        <a:pt x="91" y="83"/>
                      </a:lnTo>
                      <a:lnTo>
                        <a:pt x="89" y="83"/>
                      </a:lnTo>
                      <a:lnTo>
                        <a:pt x="89" y="82"/>
                      </a:lnTo>
                      <a:lnTo>
                        <a:pt x="88" y="80"/>
                      </a:lnTo>
                      <a:lnTo>
                        <a:pt x="88" y="77"/>
                      </a:lnTo>
                      <a:lnTo>
                        <a:pt x="88" y="74"/>
                      </a:lnTo>
                      <a:lnTo>
                        <a:pt x="88" y="72"/>
                      </a:lnTo>
                      <a:lnTo>
                        <a:pt x="86" y="72"/>
                      </a:lnTo>
                      <a:lnTo>
                        <a:pt x="84" y="72"/>
                      </a:lnTo>
                      <a:lnTo>
                        <a:pt x="82" y="70"/>
                      </a:lnTo>
                      <a:lnTo>
                        <a:pt x="81" y="70"/>
                      </a:lnTo>
                      <a:lnTo>
                        <a:pt x="79" y="70"/>
                      </a:lnTo>
                      <a:lnTo>
                        <a:pt x="79" y="69"/>
                      </a:lnTo>
                      <a:lnTo>
                        <a:pt x="79" y="70"/>
                      </a:lnTo>
                      <a:lnTo>
                        <a:pt x="79" y="69"/>
                      </a:lnTo>
                      <a:lnTo>
                        <a:pt x="77" y="69"/>
                      </a:lnTo>
                      <a:lnTo>
                        <a:pt x="77" y="67"/>
                      </a:lnTo>
                      <a:lnTo>
                        <a:pt x="79" y="67"/>
                      </a:lnTo>
                      <a:lnTo>
                        <a:pt x="79" y="65"/>
                      </a:lnTo>
                      <a:lnTo>
                        <a:pt x="81" y="54"/>
                      </a:lnTo>
                      <a:lnTo>
                        <a:pt x="81" y="52"/>
                      </a:lnTo>
                      <a:lnTo>
                        <a:pt x="66" y="51"/>
                      </a:lnTo>
                      <a:lnTo>
                        <a:pt x="66" y="49"/>
                      </a:lnTo>
                      <a:lnTo>
                        <a:pt x="67" y="47"/>
                      </a:lnTo>
                      <a:lnTo>
                        <a:pt x="69" y="47"/>
                      </a:lnTo>
                      <a:lnTo>
                        <a:pt x="67" y="47"/>
                      </a:lnTo>
                      <a:lnTo>
                        <a:pt x="67" y="46"/>
                      </a:lnTo>
                      <a:lnTo>
                        <a:pt x="67" y="44"/>
                      </a:lnTo>
                      <a:lnTo>
                        <a:pt x="67" y="46"/>
                      </a:lnTo>
                      <a:lnTo>
                        <a:pt x="69" y="44"/>
                      </a:lnTo>
                      <a:lnTo>
                        <a:pt x="69" y="42"/>
                      </a:lnTo>
                      <a:lnTo>
                        <a:pt x="69" y="41"/>
                      </a:lnTo>
                      <a:lnTo>
                        <a:pt x="67" y="41"/>
                      </a:lnTo>
                      <a:lnTo>
                        <a:pt x="67" y="39"/>
                      </a:lnTo>
                      <a:lnTo>
                        <a:pt x="67" y="37"/>
                      </a:lnTo>
                      <a:lnTo>
                        <a:pt x="69" y="37"/>
                      </a:lnTo>
                      <a:lnTo>
                        <a:pt x="69" y="36"/>
                      </a:lnTo>
                      <a:lnTo>
                        <a:pt x="71" y="36"/>
                      </a:lnTo>
                      <a:lnTo>
                        <a:pt x="72" y="34"/>
                      </a:lnTo>
                      <a:lnTo>
                        <a:pt x="74" y="32"/>
                      </a:lnTo>
                      <a:lnTo>
                        <a:pt x="72" y="32"/>
                      </a:lnTo>
                      <a:lnTo>
                        <a:pt x="74" y="32"/>
                      </a:lnTo>
                      <a:lnTo>
                        <a:pt x="72" y="31"/>
                      </a:lnTo>
                      <a:lnTo>
                        <a:pt x="74" y="31"/>
                      </a:lnTo>
                      <a:lnTo>
                        <a:pt x="72" y="29"/>
                      </a:lnTo>
                      <a:lnTo>
                        <a:pt x="74" y="29"/>
                      </a:lnTo>
                      <a:lnTo>
                        <a:pt x="74" y="28"/>
                      </a:lnTo>
                      <a:lnTo>
                        <a:pt x="76" y="26"/>
                      </a:lnTo>
                      <a:lnTo>
                        <a:pt x="77" y="26"/>
                      </a:lnTo>
                      <a:lnTo>
                        <a:pt x="77" y="24"/>
                      </a:lnTo>
                      <a:lnTo>
                        <a:pt x="77" y="26"/>
                      </a:lnTo>
                      <a:lnTo>
                        <a:pt x="77" y="24"/>
                      </a:lnTo>
                      <a:lnTo>
                        <a:pt x="79" y="24"/>
                      </a:lnTo>
                      <a:lnTo>
                        <a:pt x="79" y="26"/>
                      </a:lnTo>
                      <a:lnTo>
                        <a:pt x="81" y="24"/>
                      </a:lnTo>
                      <a:lnTo>
                        <a:pt x="82" y="26"/>
                      </a:lnTo>
                      <a:lnTo>
                        <a:pt x="82" y="24"/>
                      </a:lnTo>
                      <a:lnTo>
                        <a:pt x="84" y="26"/>
                      </a:lnTo>
                      <a:lnTo>
                        <a:pt x="84" y="24"/>
                      </a:lnTo>
                      <a:lnTo>
                        <a:pt x="84" y="23"/>
                      </a:lnTo>
                      <a:lnTo>
                        <a:pt x="86" y="23"/>
                      </a:lnTo>
                      <a:lnTo>
                        <a:pt x="86" y="24"/>
                      </a:lnTo>
                      <a:lnTo>
                        <a:pt x="88" y="24"/>
                      </a:lnTo>
                      <a:lnTo>
                        <a:pt x="88" y="23"/>
                      </a:lnTo>
                      <a:lnTo>
                        <a:pt x="88" y="21"/>
                      </a:lnTo>
                      <a:lnTo>
                        <a:pt x="88" y="23"/>
                      </a:lnTo>
                      <a:lnTo>
                        <a:pt x="89" y="23"/>
                      </a:lnTo>
                      <a:lnTo>
                        <a:pt x="89" y="21"/>
                      </a:lnTo>
                      <a:lnTo>
                        <a:pt x="91" y="21"/>
                      </a:lnTo>
                      <a:lnTo>
                        <a:pt x="93" y="21"/>
                      </a:lnTo>
                      <a:lnTo>
                        <a:pt x="93" y="19"/>
                      </a:lnTo>
                      <a:lnTo>
                        <a:pt x="93" y="21"/>
                      </a:lnTo>
                      <a:lnTo>
                        <a:pt x="94" y="21"/>
                      </a:lnTo>
                      <a:lnTo>
                        <a:pt x="96" y="21"/>
                      </a:lnTo>
                      <a:lnTo>
                        <a:pt x="96" y="23"/>
                      </a:lnTo>
                      <a:lnTo>
                        <a:pt x="98" y="23"/>
                      </a:lnTo>
                      <a:lnTo>
                        <a:pt x="98" y="24"/>
                      </a:lnTo>
                      <a:lnTo>
                        <a:pt x="98" y="23"/>
                      </a:lnTo>
                      <a:lnTo>
                        <a:pt x="99" y="24"/>
                      </a:lnTo>
                      <a:lnTo>
                        <a:pt x="101" y="24"/>
                      </a:lnTo>
                      <a:lnTo>
                        <a:pt x="103" y="24"/>
                      </a:lnTo>
                      <a:lnTo>
                        <a:pt x="104" y="24"/>
                      </a:lnTo>
                      <a:lnTo>
                        <a:pt x="104" y="23"/>
                      </a:lnTo>
                      <a:lnTo>
                        <a:pt x="104" y="21"/>
                      </a:lnTo>
                      <a:lnTo>
                        <a:pt x="104" y="19"/>
                      </a:lnTo>
                      <a:lnTo>
                        <a:pt x="93" y="9"/>
                      </a:lnTo>
                      <a:lnTo>
                        <a:pt x="93" y="8"/>
                      </a:lnTo>
                      <a:lnTo>
                        <a:pt x="94" y="6"/>
                      </a:lnTo>
                      <a:lnTo>
                        <a:pt x="94" y="8"/>
                      </a:lnTo>
                      <a:lnTo>
                        <a:pt x="96" y="8"/>
                      </a:lnTo>
                      <a:lnTo>
                        <a:pt x="98" y="8"/>
                      </a:lnTo>
                      <a:lnTo>
                        <a:pt x="98" y="6"/>
                      </a:lnTo>
                      <a:lnTo>
                        <a:pt x="99" y="6"/>
                      </a:lnTo>
                      <a:lnTo>
                        <a:pt x="101" y="6"/>
                      </a:lnTo>
                      <a:lnTo>
                        <a:pt x="101" y="5"/>
                      </a:lnTo>
                      <a:lnTo>
                        <a:pt x="101" y="6"/>
                      </a:lnTo>
                      <a:lnTo>
                        <a:pt x="103" y="6"/>
                      </a:lnTo>
                      <a:lnTo>
                        <a:pt x="103" y="8"/>
                      </a:lnTo>
                      <a:lnTo>
                        <a:pt x="104" y="8"/>
                      </a:lnTo>
                      <a:lnTo>
                        <a:pt x="106" y="8"/>
                      </a:lnTo>
                      <a:lnTo>
                        <a:pt x="104" y="9"/>
                      </a:lnTo>
                      <a:lnTo>
                        <a:pt x="106" y="9"/>
                      </a:lnTo>
                      <a:lnTo>
                        <a:pt x="106" y="11"/>
                      </a:lnTo>
                      <a:lnTo>
                        <a:pt x="106" y="9"/>
                      </a:lnTo>
                      <a:lnTo>
                        <a:pt x="108" y="9"/>
                      </a:lnTo>
                      <a:lnTo>
                        <a:pt x="109" y="9"/>
                      </a:lnTo>
                      <a:lnTo>
                        <a:pt x="109" y="11"/>
                      </a:lnTo>
                      <a:lnTo>
                        <a:pt x="111" y="11"/>
                      </a:lnTo>
                      <a:lnTo>
                        <a:pt x="109" y="11"/>
                      </a:lnTo>
                      <a:lnTo>
                        <a:pt x="111" y="11"/>
                      </a:lnTo>
                      <a:lnTo>
                        <a:pt x="113" y="11"/>
                      </a:lnTo>
                      <a:lnTo>
                        <a:pt x="115" y="11"/>
                      </a:lnTo>
                      <a:lnTo>
                        <a:pt x="116" y="11"/>
                      </a:lnTo>
                      <a:lnTo>
                        <a:pt x="116" y="9"/>
                      </a:lnTo>
                      <a:lnTo>
                        <a:pt x="118" y="9"/>
                      </a:lnTo>
                      <a:lnTo>
                        <a:pt x="118" y="8"/>
                      </a:lnTo>
                      <a:lnTo>
                        <a:pt x="118" y="6"/>
                      </a:lnTo>
                      <a:lnTo>
                        <a:pt x="120" y="6"/>
                      </a:lnTo>
                      <a:lnTo>
                        <a:pt x="118" y="6"/>
                      </a:lnTo>
                      <a:lnTo>
                        <a:pt x="120" y="6"/>
                      </a:lnTo>
                      <a:lnTo>
                        <a:pt x="120" y="5"/>
                      </a:lnTo>
                      <a:lnTo>
                        <a:pt x="121" y="3"/>
                      </a:lnTo>
                      <a:lnTo>
                        <a:pt x="121" y="5"/>
                      </a:lnTo>
                      <a:lnTo>
                        <a:pt x="121" y="3"/>
                      </a:lnTo>
                      <a:lnTo>
                        <a:pt x="121" y="1"/>
                      </a:lnTo>
                      <a:lnTo>
                        <a:pt x="123" y="1"/>
                      </a:lnTo>
                      <a:lnTo>
                        <a:pt x="125" y="1"/>
                      </a:lnTo>
                      <a:lnTo>
                        <a:pt x="126" y="1"/>
                      </a:lnTo>
                      <a:lnTo>
                        <a:pt x="126" y="0"/>
                      </a:lnTo>
                      <a:lnTo>
                        <a:pt x="128" y="0"/>
                      </a:lnTo>
                      <a:lnTo>
                        <a:pt x="130" y="1"/>
                      </a:lnTo>
                      <a:lnTo>
                        <a:pt x="131" y="1"/>
                      </a:lnTo>
                      <a:lnTo>
                        <a:pt x="131" y="3"/>
                      </a:lnTo>
                      <a:lnTo>
                        <a:pt x="133" y="3"/>
                      </a:lnTo>
                      <a:lnTo>
                        <a:pt x="135" y="3"/>
                      </a:lnTo>
                      <a:lnTo>
                        <a:pt x="136" y="3"/>
                      </a:lnTo>
                      <a:lnTo>
                        <a:pt x="138" y="3"/>
                      </a:lnTo>
                      <a:lnTo>
                        <a:pt x="140" y="3"/>
                      </a:lnTo>
                      <a:lnTo>
                        <a:pt x="142" y="3"/>
                      </a:lnTo>
                      <a:lnTo>
                        <a:pt x="143" y="3"/>
                      </a:lnTo>
                      <a:lnTo>
                        <a:pt x="145" y="3"/>
                      </a:lnTo>
                      <a:lnTo>
                        <a:pt x="147" y="3"/>
                      </a:lnTo>
                      <a:lnTo>
                        <a:pt x="147" y="5"/>
                      </a:lnTo>
                      <a:lnTo>
                        <a:pt x="148" y="5"/>
                      </a:lnTo>
                      <a:lnTo>
                        <a:pt x="150" y="5"/>
                      </a:lnTo>
                      <a:lnTo>
                        <a:pt x="150" y="6"/>
                      </a:lnTo>
                      <a:lnTo>
                        <a:pt x="152" y="6"/>
                      </a:lnTo>
                      <a:lnTo>
                        <a:pt x="153" y="6"/>
                      </a:lnTo>
                      <a:lnTo>
                        <a:pt x="153" y="8"/>
                      </a:lnTo>
                      <a:lnTo>
                        <a:pt x="155" y="8"/>
                      </a:lnTo>
                      <a:lnTo>
                        <a:pt x="157" y="8"/>
                      </a:lnTo>
                      <a:close/>
                      <a:moveTo>
                        <a:pt x="106" y="280"/>
                      </a:moveTo>
                      <a:lnTo>
                        <a:pt x="106" y="279"/>
                      </a:lnTo>
                      <a:lnTo>
                        <a:pt x="106" y="280"/>
                      </a:lnTo>
                      <a:close/>
                      <a:moveTo>
                        <a:pt x="108" y="272"/>
                      </a:moveTo>
                      <a:lnTo>
                        <a:pt x="109" y="272"/>
                      </a:lnTo>
                      <a:lnTo>
                        <a:pt x="108" y="272"/>
                      </a:lnTo>
                      <a:close/>
                      <a:moveTo>
                        <a:pt x="135" y="253"/>
                      </a:moveTo>
                      <a:lnTo>
                        <a:pt x="136" y="253"/>
                      </a:lnTo>
                      <a:lnTo>
                        <a:pt x="135" y="253"/>
                      </a:lnTo>
                      <a:close/>
                      <a:moveTo>
                        <a:pt x="135" y="253"/>
                      </a:moveTo>
                      <a:lnTo>
                        <a:pt x="136" y="253"/>
                      </a:lnTo>
                      <a:lnTo>
                        <a:pt x="135" y="253"/>
                      </a:lnTo>
                      <a:close/>
                      <a:moveTo>
                        <a:pt x="152" y="225"/>
                      </a:moveTo>
                      <a:lnTo>
                        <a:pt x="152" y="223"/>
                      </a:lnTo>
                      <a:lnTo>
                        <a:pt x="152" y="225"/>
                      </a:lnTo>
                      <a:close/>
                      <a:moveTo>
                        <a:pt x="150" y="228"/>
                      </a:moveTo>
                      <a:lnTo>
                        <a:pt x="152" y="228"/>
                      </a:lnTo>
                      <a:lnTo>
                        <a:pt x="150" y="228"/>
                      </a:lnTo>
                      <a:close/>
                      <a:moveTo>
                        <a:pt x="150" y="230"/>
                      </a:moveTo>
                      <a:lnTo>
                        <a:pt x="148" y="230"/>
                      </a:lnTo>
                      <a:lnTo>
                        <a:pt x="150" y="230"/>
                      </a:lnTo>
                      <a:close/>
                      <a:moveTo>
                        <a:pt x="147" y="216"/>
                      </a:moveTo>
                      <a:lnTo>
                        <a:pt x="148" y="216"/>
                      </a:lnTo>
                      <a:lnTo>
                        <a:pt x="147" y="216"/>
                      </a:lnTo>
                      <a:lnTo>
                        <a:pt x="147" y="218"/>
                      </a:lnTo>
                      <a:lnTo>
                        <a:pt x="147" y="220"/>
                      </a:lnTo>
                      <a:lnTo>
                        <a:pt x="145" y="220"/>
                      </a:lnTo>
                      <a:lnTo>
                        <a:pt x="145" y="221"/>
                      </a:lnTo>
                      <a:lnTo>
                        <a:pt x="143" y="223"/>
                      </a:lnTo>
                      <a:lnTo>
                        <a:pt x="145" y="221"/>
                      </a:lnTo>
                      <a:lnTo>
                        <a:pt x="145" y="220"/>
                      </a:lnTo>
                      <a:lnTo>
                        <a:pt x="147" y="220"/>
                      </a:lnTo>
                      <a:lnTo>
                        <a:pt x="147" y="218"/>
                      </a:lnTo>
                      <a:lnTo>
                        <a:pt x="147" y="216"/>
                      </a:lnTo>
                      <a:lnTo>
                        <a:pt x="148" y="216"/>
                      </a:lnTo>
                      <a:lnTo>
                        <a:pt x="147" y="216"/>
                      </a:lnTo>
                      <a:close/>
                      <a:moveTo>
                        <a:pt x="147" y="216"/>
                      </a:moveTo>
                      <a:lnTo>
                        <a:pt x="145" y="216"/>
                      </a:lnTo>
                      <a:lnTo>
                        <a:pt x="147" y="216"/>
                      </a:lnTo>
                      <a:lnTo>
                        <a:pt x="147" y="218"/>
                      </a:lnTo>
                      <a:lnTo>
                        <a:pt x="145" y="218"/>
                      </a:lnTo>
                      <a:lnTo>
                        <a:pt x="147" y="218"/>
                      </a:lnTo>
                      <a:lnTo>
                        <a:pt x="147" y="216"/>
                      </a:lnTo>
                      <a:lnTo>
                        <a:pt x="145" y="216"/>
                      </a:lnTo>
                      <a:lnTo>
                        <a:pt x="147" y="216"/>
                      </a:lnTo>
                      <a:close/>
                      <a:moveTo>
                        <a:pt x="148" y="223"/>
                      </a:moveTo>
                      <a:lnTo>
                        <a:pt x="147" y="223"/>
                      </a:lnTo>
                      <a:lnTo>
                        <a:pt x="145" y="223"/>
                      </a:lnTo>
                      <a:lnTo>
                        <a:pt x="145" y="225"/>
                      </a:lnTo>
                      <a:lnTo>
                        <a:pt x="143" y="223"/>
                      </a:lnTo>
                      <a:lnTo>
                        <a:pt x="145" y="225"/>
                      </a:lnTo>
                      <a:lnTo>
                        <a:pt x="145" y="223"/>
                      </a:lnTo>
                      <a:lnTo>
                        <a:pt x="147" y="223"/>
                      </a:lnTo>
                      <a:lnTo>
                        <a:pt x="148" y="223"/>
                      </a:lnTo>
                      <a:close/>
                      <a:moveTo>
                        <a:pt x="143" y="223"/>
                      </a:moveTo>
                      <a:lnTo>
                        <a:pt x="143" y="221"/>
                      </a:lnTo>
                      <a:lnTo>
                        <a:pt x="143" y="223"/>
                      </a:lnTo>
                      <a:close/>
                      <a:moveTo>
                        <a:pt x="143" y="223"/>
                      </a:moveTo>
                      <a:lnTo>
                        <a:pt x="143" y="221"/>
                      </a:lnTo>
                      <a:lnTo>
                        <a:pt x="143" y="223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79" name="Freeform 11"/>
                <p:cNvSpPr>
                  <a:spLocks noChangeAspect="1" noEditPoints="1"/>
                </p:cNvSpPr>
                <p:nvPr/>
              </p:nvSpPr>
              <p:spPr bwMode="auto">
                <a:xfrm>
                  <a:off x="5576888" y="4479502"/>
                  <a:ext cx="585488" cy="404770"/>
                </a:xfrm>
                <a:custGeom>
                  <a:avLst/>
                  <a:gdLst>
                    <a:gd name="T0" fmla="*/ 2147483647 w 374"/>
                    <a:gd name="T1" fmla="*/ 2147483647 h 241"/>
                    <a:gd name="T2" fmla="*/ 2147483647 w 374"/>
                    <a:gd name="T3" fmla="*/ 2147483647 h 241"/>
                    <a:gd name="T4" fmla="*/ 2147483647 w 374"/>
                    <a:gd name="T5" fmla="*/ 2147483647 h 241"/>
                    <a:gd name="T6" fmla="*/ 2147483647 w 374"/>
                    <a:gd name="T7" fmla="*/ 2147483647 h 241"/>
                    <a:gd name="T8" fmla="*/ 2147483647 w 374"/>
                    <a:gd name="T9" fmla="*/ 2147483647 h 241"/>
                    <a:gd name="T10" fmla="*/ 2147483647 w 374"/>
                    <a:gd name="T11" fmla="*/ 2147483647 h 241"/>
                    <a:gd name="T12" fmla="*/ 2147483647 w 374"/>
                    <a:gd name="T13" fmla="*/ 2147483647 h 241"/>
                    <a:gd name="T14" fmla="*/ 2147483647 w 374"/>
                    <a:gd name="T15" fmla="*/ 2147483647 h 241"/>
                    <a:gd name="T16" fmla="*/ 2147483647 w 374"/>
                    <a:gd name="T17" fmla="*/ 2147483647 h 241"/>
                    <a:gd name="T18" fmla="*/ 2147483647 w 374"/>
                    <a:gd name="T19" fmla="*/ 2147483647 h 241"/>
                    <a:gd name="T20" fmla="*/ 2147483647 w 374"/>
                    <a:gd name="T21" fmla="*/ 2147483647 h 241"/>
                    <a:gd name="T22" fmla="*/ 2147483647 w 374"/>
                    <a:gd name="T23" fmla="*/ 2147483647 h 241"/>
                    <a:gd name="T24" fmla="*/ 2147483647 w 374"/>
                    <a:gd name="T25" fmla="*/ 2147483647 h 241"/>
                    <a:gd name="T26" fmla="*/ 2147483647 w 374"/>
                    <a:gd name="T27" fmla="*/ 2147483647 h 241"/>
                    <a:gd name="T28" fmla="*/ 2147483647 w 374"/>
                    <a:gd name="T29" fmla="*/ 2147483647 h 241"/>
                    <a:gd name="T30" fmla="*/ 2147483647 w 374"/>
                    <a:gd name="T31" fmla="*/ 2147483647 h 241"/>
                    <a:gd name="T32" fmla="*/ 2147483647 w 374"/>
                    <a:gd name="T33" fmla="*/ 2147483647 h 241"/>
                    <a:gd name="T34" fmla="*/ 2147483647 w 374"/>
                    <a:gd name="T35" fmla="*/ 2147483647 h 241"/>
                    <a:gd name="T36" fmla="*/ 2147483647 w 374"/>
                    <a:gd name="T37" fmla="*/ 2147483647 h 241"/>
                    <a:gd name="T38" fmla="*/ 2147483647 w 374"/>
                    <a:gd name="T39" fmla="*/ 2147483647 h 241"/>
                    <a:gd name="T40" fmla="*/ 2147483647 w 374"/>
                    <a:gd name="T41" fmla="*/ 2147483647 h 241"/>
                    <a:gd name="T42" fmla="*/ 2147483647 w 374"/>
                    <a:gd name="T43" fmla="*/ 2147483647 h 241"/>
                    <a:gd name="T44" fmla="*/ 2147483647 w 374"/>
                    <a:gd name="T45" fmla="*/ 2147483647 h 241"/>
                    <a:gd name="T46" fmla="*/ 2147483647 w 374"/>
                    <a:gd name="T47" fmla="*/ 2147483647 h 241"/>
                    <a:gd name="T48" fmla="*/ 2147483647 w 374"/>
                    <a:gd name="T49" fmla="*/ 2147483647 h 241"/>
                    <a:gd name="T50" fmla="*/ 2147483647 w 374"/>
                    <a:gd name="T51" fmla="*/ 2147483647 h 241"/>
                    <a:gd name="T52" fmla="*/ 2147483647 w 374"/>
                    <a:gd name="T53" fmla="*/ 2147483647 h 241"/>
                    <a:gd name="T54" fmla="*/ 2147483647 w 374"/>
                    <a:gd name="T55" fmla="*/ 2147483647 h 241"/>
                    <a:gd name="T56" fmla="*/ 2147483647 w 374"/>
                    <a:gd name="T57" fmla="*/ 2147483647 h 241"/>
                    <a:gd name="T58" fmla="*/ 2147483647 w 374"/>
                    <a:gd name="T59" fmla="*/ 2147483647 h 241"/>
                    <a:gd name="T60" fmla="*/ 2147483647 w 374"/>
                    <a:gd name="T61" fmla="*/ 2147483647 h 241"/>
                    <a:gd name="T62" fmla="*/ 2147483647 w 374"/>
                    <a:gd name="T63" fmla="*/ 2147483647 h 241"/>
                    <a:gd name="T64" fmla="*/ 2147483647 w 374"/>
                    <a:gd name="T65" fmla="*/ 2147483647 h 241"/>
                    <a:gd name="T66" fmla="*/ 2147483647 w 374"/>
                    <a:gd name="T67" fmla="*/ 2147483647 h 241"/>
                    <a:gd name="T68" fmla="*/ 2147483647 w 374"/>
                    <a:gd name="T69" fmla="*/ 2147483647 h 241"/>
                    <a:gd name="T70" fmla="*/ 2147483647 w 374"/>
                    <a:gd name="T71" fmla="*/ 2147483647 h 241"/>
                    <a:gd name="T72" fmla="*/ 2147483647 w 374"/>
                    <a:gd name="T73" fmla="*/ 2147483647 h 241"/>
                    <a:gd name="T74" fmla="*/ 2147483647 w 374"/>
                    <a:gd name="T75" fmla="*/ 2147483647 h 241"/>
                    <a:gd name="T76" fmla="*/ 2147483647 w 374"/>
                    <a:gd name="T77" fmla="*/ 2147483647 h 241"/>
                    <a:gd name="T78" fmla="*/ 2147483647 w 374"/>
                    <a:gd name="T79" fmla="*/ 2147483647 h 241"/>
                    <a:gd name="T80" fmla="*/ 2147483647 w 374"/>
                    <a:gd name="T81" fmla="*/ 2147483647 h 241"/>
                    <a:gd name="T82" fmla="*/ 2147483647 w 374"/>
                    <a:gd name="T83" fmla="*/ 2147483647 h 241"/>
                    <a:gd name="T84" fmla="*/ 2147483647 w 374"/>
                    <a:gd name="T85" fmla="*/ 2147483647 h 241"/>
                    <a:gd name="T86" fmla="*/ 2147483647 w 374"/>
                    <a:gd name="T87" fmla="*/ 2147483647 h 241"/>
                    <a:gd name="T88" fmla="*/ 2147483647 w 374"/>
                    <a:gd name="T89" fmla="*/ 2147483647 h 241"/>
                    <a:gd name="T90" fmla="*/ 2147483647 w 374"/>
                    <a:gd name="T91" fmla="*/ 2147483647 h 241"/>
                    <a:gd name="T92" fmla="*/ 2147483647 w 374"/>
                    <a:gd name="T93" fmla="*/ 2147483647 h 241"/>
                    <a:gd name="T94" fmla="*/ 2147483647 w 374"/>
                    <a:gd name="T95" fmla="*/ 2147483647 h 241"/>
                    <a:gd name="T96" fmla="*/ 2147483647 w 374"/>
                    <a:gd name="T97" fmla="*/ 2147483647 h 241"/>
                    <a:gd name="T98" fmla="*/ 2147483647 w 374"/>
                    <a:gd name="T99" fmla="*/ 2147483647 h 241"/>
                    <a:gd name="T100" fmla="*/ 2147483647 w 374"/>
                    <a:gd name="T101" fmla="*/ 2147483647 h 241"/>
                    <a:gd name="T102" fmla="*/ 2147483647 w 374"/>
                    <a:gd name="T103" fmla="*/ 2147483647 h 241"/>
                    <a:gd name="T104" fmla="*/ 2147483647 w 374"/>
                    <a:gd name="T105" fmla="*/ 2147483647 h 241"/>
                    <a:gd name="T106" fmla="*/ 2147483647 w 374"/>
                    <a:gd name="T107" fmla="*/ 2147483647 h 241"/>
                    <a:gd name="T108" fmla="*/ 2147483647 w 374"/>
                    <a:gd name="T109" fmla="*/ 2147483647 h 241"/>
                    <a:gd name="T110" fmla="*/ 2147483647 w 374"/>
                    <a:gd name="T111" fmla="*/ 2147483647 h 241"/>
                    <a:gd name="T112" fmla="*/ 2147483647 w 374"/>
                    <a:gd name="T113" fmla="*/ 2147483647 h 241"/>
                    <a:gd name="T114" fmla="*/ 2147483647 w 374"/>
                    <a:gd name="T115" fmla="*/ 2147483647 h 241"/>
                    <a:gd name="T116" fmla="*/ 2147483647 w 374"/>
                    <a:gd name="T117" fmla="*/ 2147483647 h 241"/>
                    <a:gd name="T118" fmla="*/ 2147483647 w 374"/>
                    <a:gd name="T119" fmla="*/ 2147483647 h 241"/>
                    <a:gd name="T120" fmla="*/ 2147483647 w 374"/>
                    <a:gd name="T121" fmla="*/ 2147483647 h 241"/>
                    <a:gd name="T122" fmla="*/ 2147483647 w 374"/>
                    <a:gd name="T123" fmla="*/ 2147483647 h 24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74"/>
                    <a:gd name="T187" fmla="*/ 0 h 241"/>
                    <a:gd name="T188" fmla="*/ 374 w 374"/>
                    <a:gd name="T189" fmla="*/ 241 h 24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74" h="241">
                      <a:moveTo>
                        <a:pt x="325" y="41"/>
                      </a:moveTo>
                      <a:lnTo>
                        <a:pt x="326" y="41"/>
                      </a:lnTo>
                      <a:lnTo>
                        <a:pt x="326" y="43"/>
                      </a:lnTo>
                      <a:lnTo>
                        <a:pt x="328" y="43"/>
                      </a:lnTo>
                      <a:lnTo>
                        <a:pt x="328" y="41"/>
                      </a:lnTo>
                      <a:lnTo>
                        <a:pt x="330" y="41"/>
                      </a:lnTo>
                      <a:lnTo>
                        <a:pt x="331" y="41"/>
                      </a:lnTo>
                      <a:lnTo>
                        <a:pt x="333" y="41"/>
                      </a:lnTo>
                      <a:lnTo>
                        <a:pt x="335" y="41"/>
                      </a:lnTo>
                      <a:lnTo>
                        <a:pt x="336" y="41"/>
                      </a:lnTo>
                      <a:lnTo>
                        <a:pt x="336" y="43"/>
                      </a:lnTo>
                      <a:lnTo>
                        <a:pt x="338" y="43"/>
                      </a:lnTo>
                      <a:lnTo>
                        <a:pt x="340" y="43"/>
                      </a:lnTo>
                      <a:lnTo>
                        <a:pt x="340" y="44"/>
                      </a:lnTo>
                      <a:lnTo>
                        <a:pt x="341" y="44"/>
                      </a:lnTo>
                      <a:lnTo>
                        <a:pt x="343" y="44"/>
                      </a:lnTo>
                      <a:lnTo>
                        <a:pt x="345" y="43"/>
                      </a:lnTo>
                      <a:lnTo>
                        <a:pt x="346" y="43"/>
                      </a:lnTo>
                      <a:lnTo>
                        <a:pt x="346" y="44"/>
                      </a:lnTo>
                      <a:lnTo>
                        <a:pt x="346" y="43"/>
                      </a:lnTo>
                      <a:lnTo>
                        <a:pt x="348" y="43"/>
                      </a:lnTo>
                      <a:lnTo>
                        <a:pt x="346" y="44"/>
                      </a:lnTo>
                      <a:lnTo>
                        <a:pt x="348" y="43"/>
                      </a:lnTo>
                      <a:lnTo>
                        <a:pt x="348" y="44"/>
                      </a:lnTo>
                      <a:lnTo>
                        <a:pt x="350" y="44"/>
                      </a:lnTo>
                      <a:lnTo>
                        <a:pt x="350" y="46"/>
                      </a:lnTo>
                      <a:lnTo>
                        <a:pt x="352" y="44"/>
                      </a:lnTo>
                      <a:lnTo>
                        <a:pt x="353" y="44"/>
                      </a:lnTo>
                      <a:lnTo>
                        <a:pt x="355" y="44"/>
                      </a:lnTo>
                      <a:lnTo>
                        <a:pt x="355" y="43"/>
                      </a:lnTo>
                      <a:lnTo>
                        <a:pt x="357" y="43"/>
                      </a:lnTo>
                      <a:lnTo>
                        <a:pt x="358" y="43"/>
                      </a:lnTo>
                      <a:lnTo>
                        <a:pt x="360" y="43"/>
                      </a:lnTo>
                      <a:lnTo>
                        <a:pt x="362" y="43"/>
                      </a:lnTo>
                      <a:lnTo>
                        <a:pt x="362" y="44"/>
                      </a:lnTo>
                      <a:lnTo>
                        <a:pt x="362" y="43"/>
                      </a:lnTo>
                      <a:lnTo>
                        <a:pt x="363" y="44"/>
                      </a:lnTo>
                      <a:lnTo>
                        <a:pt x="365" y="44"/>
                      </a:lnTo>
                      <a:lnTo>
                        <a:pt x="363" y="46"/>
                      </a:lnTo>
                      <a:lnTo>
                        <a:pt x="365" y="46"/>
                      </a:lnTo>
                      <a:lnTo>
                        <a:pt x="367" y="44"/>
                      </a:lnTo>
                      <a:lnTo>
                        <a:pt x="367" y="46"/>
                      </a:lnTo>
                      <a:lnTo>
                        <a:pt x="367" y="44"/>
                      </a:lnTo>
                      <a:lnTo>
                        <a:pt x="367" y="46"/>
                      </a:lnTo>
                      <a:lnTo>
                        <a:pt x="368" y="46"/>
                      </a:lnTo>
                      <a:lnTo>
                        <a:pt x="368" y="48"/>
                      </a:lnTo>
                      <a:lnTo>
                        <a:pt x="368" y="49"/>
                      </a:lnTo>
                      <a:lnTo>
                        <a:pt x="370" y="49"/>
                      </a:lnTo>
                      <a:lnTo>
                        <a:pt x="370" y="48"/>
                      </a:lnTo>
                      <a:lnTo>
                        <a:pt x="370" y="49"/>
                      </a:lnTo>
                      <a:lnTo>
                        <a:pt x="372" y="49"/>
                      </a:lnTo>
                      <a:lnTo>
                        <a:pt x="374" y="51"/>
                      </a:lnTo>
                      <a:lnTo>
                        <a:pt x="372" y="51"/>
                      </a:lnTo>
                      <a:lnTo>
                        <a:pt x="372" y="53"/>
                      </a:lnTo>
                      <a:lnTo>
                        <a:pt x="372" y="54"/>
                      </a:lnTo>
                      <a:lnTo>
                        <a:pt x="372" y="56"/>
                      </a:lnTo>
                      <a:lnTo>
                        <a:pt x="372" y="58"/>
                      </a:lnTo>
                      <a:lnTo>
                        <a:pt x="370" y="58"/>
                      </a:lnTo>
                      <a:lnTo>
                        <a:pt x="370" y="59"/>
                      </a:lnTo>
                      <a:lnTo>
                        <a:pt x="368" y="59"/>
                      </a:lnTo>
                      <a:lnTo>
                        <a:pt x="368" y="61"/>
                      </a:lnTo>
                      <a:lnTo>
                        <a:pt x="367" y="62"/>
                      </a:lnTo>
                      <a:lnTo>
                        <a:pt x="367" y="64"/>
                      </a:lnTo>
                      <a:lnTo>
                        <a:pt x="365" y="64"/>
                      </a:lnTo>
                      <a:lnTo>
                        <a:pt x="365" y="66"/>
                      </a:lnTo>
                      <a:lnTo>
                        <a:pt x="363" y="66"/>
                      </a:lnTo>
                      <a:lnTo>
                        <a:pt x="363" y="67"/>
                      </a:lnTo>
                      <a:lnTo>
                        <a:pt x="362" y="67"/>
                      </a:lnTo>
                      <a:lnTo>
                        <a:pt x="362" y="69"/>
                      </a:lnTo>
                      <a:lnTo>
                        <a:pt x="362" y="71"/>
                      </a:lnTo>
                      <a:lnTo>
                        <a:pt x="362" y="72"/>
                      </a:lnTo>
                      <a:lnTo>
                        <a:pt x="362" y="74"/>
                      </a:lnTo>
                      <a:lnTo>
                        <a:pt x="363" y="74"/>
                      </a:lnTo>
                      <a:lnTo>
                        <a:pt x="363" y="76"/>
                      </a:lnTo>
                      <a:lnTo>
                        <a:pt x="363" y="77"/>
                      </a:lnTo>
                      <a:lnTo>
                        <a:pt x="365" y="77"/>
                      </a:lnTo>
                      <a:lnTo>
                        <a:pt x="365" y="79"/>
                      </a:lnTo>
                      <a:lnTo>
                        <a:pt x="367" y="79"/>
                      </a:lnTo>
                      <a:lnTo>
                        <a:pt x="367" y="77"/>
                      </a:lnTo>
                      <a:lnTo>
                        <a:pt x="367" y="79"/>
                      </a:lnTo>
                      <a:lnTo>
                        <a:pt x="368" y="79"/>
                      </a:lnTo>
                      <a:lnTo>
                        <a:pt x="367" y="80"/>
                      </a:lnTo>
                      <a:lnTo>
                        <a:pt x="367" y="82"/>
                      </a:lnTo>
                      <a:lnTo>
                        <a:pt x="367" y="85"/>
                      </a:lnTo>
                      <a:lnTo>
                        <a:pt x="367" y="89"/>
                      </a:lnTo>
                      <a:lnTo>
                        <a:pt x="367" y="90"/>
                      </a:lnTo>
                      <a:lnTo>
                        <a:pt x="367" y="92"/>
                      </a:lnTo>
                      <a:lnTo>
                        <a:pt x="367" y="94"/>
                      </a:lnTo>
                      <a:lnTo>
                        <a:pt x="367" y="95"/>
                      </a:lnTo>
                      <a:lnTo>
                        <a:pt x="368" y="95"/>
                      </a:lnTo>
                      <a:lnTo>
                        <a:pt x="368" y="100"/>
                      </a:lnTo>
                      <a:lnTo>
                        <a:pt x="368" y="102"/>
                      </a:lnTo>
                      <a:lnTo>
                        <a:pt x="370" y="103"/>
                      </a:lnTo>
                      <a:lnTo>
                        <a:pt x="370" y="105"/>
                      </a:lnTo>
                      <a:lnTo>
                        <a:pt x="370" y="107"/>
                      </a:lnTo>
                      <a:lnTo>
                        <a:pt x="370" y="108"/>
                      </a:lnTo>
                      <a:lnTo>
                        <a:pt x="372" y="110"/>
                      </a:lnTo>
                      <a:lnTo>
                        <a:pt x="372" y="112"/>
                      </a:lnTo>
                      <a:lnTo>
                        <a:pt x="370" y="113"/>
                      </a:lnTo>
                      <a:lnTo>
                        <a:pt x="370" y="115"/>
                      </a:lnTo>
                      <a:lnTo>
                        <a:pt x="368" y="117"/>
                      </a:lnTo>
                      <a:lnTo>
                        <a:pt x="367" y="117"/>
                      </a:lnTo>
                      <a:lnTo>
                        <a:pt x="362" y="120"/>
                      </a:lnTo>
                      <a:lnTo>
                        <a:pt x="358" y="122"/>
                      </a:lnTo>
                      <a:lnTo>
                        <a:pt x="357" y="123"/>
                      </a:lnTo>
                      <a:lnTo>
                        <a:pt x="353" y="125"/>
                      </a:lnTo>
                      <a:lnTo>
                        <a:pt x="350" y="126"/>
                      </a:lnTo>
                      <a:lnTo>
                        <a:pt x="346" y="128"/>
                      </a:lnTo>
                      <a:lnTo>
                        <a:pt x="345" y="128"/>
                      </a:lnTo>
                      <a:lnTo>
                        <a:pt x="343" y="128"/>
                      </a:lnTo>
                      <a:lnTo>
                        <a:pt x="341" y="130"/>
                      </a:lnTo>
                      <a:lnTo>
                        <a:pt x="340" y="130"/>
                      </a:lnTo>
                      <a:lnTo>
                        <a:pt x="338" y="130"/>
                      </a:lnTo>
                      <a:lnTo>
                        <a:pt x="335" y="131"/>
                      </a:lnTo>
                      <a:lnTo>
                        <a:pt x="333" y="131"/>
                      </a:lnTo>
                      <a:lnTo>
                        <a:pt x="331" y="131"/>
                      </a:lnTo>
                      <a:lnTo>
                        <a:pt x="330" y="133"/>
                      </a:lnTo>
                      <a:lnTo>
                        <a:pt x="328" y="133"/>
                      </a:lnTo>
                      <a:lnTo>
                        <a:pt x="326" y="133"/>
                      </a:lnTo>
                      <a:lnTo>
                        <a:pt x="325" y="133"/>
                      </a:lnTo>
                      <a:lnTo>
                        <a:pt x="321" y="135"/>
                      </a:lnTo>
                      <a:lnTo>
                        <a:pt x="318" y="136"/>
                      </a:lnTo>
                      <a:lnTo>
                        <a:pt x="316" y="136"/>
                      </a:lnTo>
                      <a:lnTo>
                        <a:pt x="314" y="138"/>
                      </a:lnTo>
                      <a:lnTo>
                        <a:pt x="313" y="138"/>
                      </a:lnTo>
                      <a:lnTo>
                        <a:pt x="309" y="140"/>
                      </a:lnTo>
                      <a:lnTo>
                        <a:pt x="304" y="141"/>
                      </a:lnTo>
                      <a:lnTo>
                        <a:pt x="303" y="143"/>
                      </a:lnTo>
                      <a:lnTo>
                        <a:pt x="301" y="143"/>
                      </a:lnTo>
                      <a:lnTo>
                        <a:pt x="299" y="145"/>
                      </a:lnTo>
                      <a:lnTo>
                        <a:pt x="299" y="146"/>
                      </a:lnTo>
                      <a:lnTo>
                        <a:pt x="298" y="146"/>
                      </a:lnTo>
                      <a:lnTo>
                        <a:pt x="296" y="146"/>
                      </a:lnTo>
                      <a:lnTo>
                        <a:pt x="296" y="148"/>
                      </a:lnTo>
                      <a:lnTo>
                        <a:pt x="296" y="149"/>
                      </a:lnTo>
                      <a:lnTo>
                        <a:pt x="296" y="151"/>
                      </a:lnTo>
                      <a:lnTo>
                        <a:pt x="294" y="151"/>
                      </a:lnTo>
                      <a:lnTo>
                        <a:pt x="292" y="151"/>
                      </a:lnTo>
                      <a:lnTo>
                        <a:pt x="291" y="153"/>
                      </a:lnTo>
                      <a:lnTo>
                        <a:pt x="291" y="154"/>
                      </a:lnTo>
                      <a:lnTo>
                        <a:pt x="289" y="154"/>
                      </a:lnTo>
                      <a:lnTo>
                        <a:pt x="287" y="156"/>
                      </a:lnTo>
                      <a:lnTo>
                        <a:pt x="287" y="158"/>
                      </a:lnTo>
                      <a:lnTo>
                        <a:pt x="287" y="159"/>
                      </a:lnTo>
                      <a:lnTo>
                        <a:pt x="287" y="158"/>
                      </a:lnTo>
                      <a:lnTo>
                        <a:pt x="287" y="159"/>
                      </a:lnTo>
                      <a:lnTo>
                        <a:pt x="286" y="159"/>
                      </a:lnTo>
                      <a:lnTo>
                        <a:pt x="284" y="159"/>
                      </a:lnTo>
                      <a:lnTo>
                        <a:pt x="284" y="161"/>
                      </a:lnTo>
                      <a:lnTo>
                        <a:pt x="282" y="161"/>
                      </a:lnTo>
                      <a:lnTo>
                        <a:pt x="282" y="163"/>
                      </a:lnTo>
                      <a:lnTo>
                        <a:pt x="281" y="163"/>
                      </a:lnTo>
                      <a:lnTo>
                        <a:pt x="281" y="164"/>
                      </a:lnTo>
                      <a:lnTo>
                        <a:pt x="279" y="164"/>
                      </a:lnTo>
                      <a:lnTo>
                        <a:pt x="279" y="163"/>
                      </a:lnTo>
                      <a:lnTo>
                        <a:pt x="277" y="164"/>
                      </a:lnTo>
                      <a:lnTo>
                        <a:pt x="276" y="166"/>
                      </a:lnTo>
                      <a:lnTo>
                        <a:pt x="276" y="168"/>
                      </a:lnTo>
                      <a:lnTo>
                        <a:pt x="276" y="169"/>
                      </a:lnTo>
                      <a:lnTo>
                        <a:pt x="274" y="169"/>
                      </a:lnTo>
                      <a:lnTo>
                        <a:pt x="274" y="171"/>
                      </a:lnTo>
                      <a:lnTo>
                        <a:pt x="274" y="174"/>
                      </a:lnTo>
                      <a:lnTo>
                        <a:pt x="274" y="176"/>
                      </a:lnTo>
                      <a:lnTo>
                        <a:pt x="274" y="177"/>
                      </a:lnTo>
                      <a:lnTo>
                        <a:pt x="276" y="179"/>
                      </a:lnTo>
                      <a:lnTo>
                        <a:pt x="276" y="181"/>
                      </a:lnTo>
                      <a:lnTo>
                        <a:pt x="276" y="182"/>
                      </a:lnTo>
                      <a:lnTo>
                        <a:pt x="277" y="182"/>
                      </a:lnTo>
                      <a:lnTo>
                        <a:pt x="279" y="182"/>
                      </a:lnTo>
                      <a:lnTo>
                        <a:pt x="279" y="184"/>
                      </a:lnTo>
                      <a:lnTo>
                        <a:pt x="281" y="186"/>
                      </a:lnTo>
                      <a:lnTo>
                        <a:pt x="282" y="186"/>
                      </a:lnTo>
                      <a:lnTo>
                        <a:pt x="282" y="184"/>
                      </a:lnTo>
                      <a:lnTo>
                        <a:pt x="284" y="184"/>
                      </a:lnTo>
                      <a:lnTo>
                        <a:pt x="286" y="184"/>
                      </a:lnTo>
                      <a:lnTo>
                        <a:pt x="284" y="182"/>
                      </a:lnTo>
                      <a:lnTo>
                        <a:pt x="286" y="182"/>
                      </a:lnTo>
                      <a:lnTo>
                        <a:pt x="286" y="184"/>
                      </a:lnTo>
                      <a:lnTo>
                        <a:pt x="287" y="184"/>
                      </a:lnTo>
                      <a:lnTo>
                        <a:pt x="286" y="184"/>
                      </a:lnTo>
                      <a:lnTo>
                        <a:pt x="286" y="186"/>
                      </a:lnTo>
                      <a:lnTo>
                        <a:pt x="286" y="184"/>
                      </a:lnTo>
                      <a:lnTo>
                        <a:pt x="286" y="186"/>
                      </a:lnTo>
                      <a:lnTo>
                        <a:pt x="286" y="184"/>
                      </a:lnTo>
                      <a:lnTo>
                        <a:pt x="286" y="186"/>
                      </a:lnTo>
                      <a:lnTo>
                        <a:pt x="284" y="186"/>
                      </a:lnTo>
                      <a:lnTo>
                        <a:pt x="286" y="186"/>
                      </a:lnTo>
                      <a:lnTo>
                        <a:pt x="286" y="187"/>
                      </a:lnTo>
                      <a:lnTo>
                        <a:pt x="284" y="187"/>
                      </a:lnTo>
                      <a:lnTo>
                        <a:pt x="284" y="186"/>
                      </a:lnTo>
                      <a:lnTo>
                        <a:pt x="284" y="187"/>
                      </a:lnTo>
                      <a:lnTo>
                        <a:pt x="282" y="187"/>
                      </a:lnTo>
                      <a:lnTo>
                        <a:pt x="282" y="186"/>
                      </a:lnTo>
                      <a:lnTo>
                        <a:pt x="282" y="187"/>
                      </a:lnTo>
                      <a:lnTo>
                        <a:pt x="281" y="187"/>
                      </a:lnTo>
                      <a:lnTo>
                        <a:pt x="281" y="189"/>
                      </a:lnTo>
                      <a:lnTo>
                        <a:pt x="279" y="189"/>
                      </a:lnTo>
                      <a:lnTo>
                        <a:pt x="277" y="189"/>
                      </a:lnTo>
                      <a:lnTo>
                        <a:pt x="277" y="191"/>
                      </a:lnTo>
                      <a:lnTo>
                        <a:pt x="276" y="191"/>
                      </a:lnTo>
                      <a:lnTo>
                        <a:pt x="276" y="192"/>
                      </a:lnTo>
                      <a:lnTo>
                        <a:pt x="276" y="194"/>
                      </a:lnTo>
                      <a:lnTo>
                        <a:pt x="276" y="195"/>
                      </a:lnTo>
                      <a:lnTo>
                        <a:pt x="274" y="195"/>
                      </a:lnTo>
                      <a:lnTo>
                        <a:pt x="274" y="197"/>
                      </a:lnTo>
                      <a:lnTo>
                        <a:pt x="274" y="195"/>
                      </a:lnTo>
                      <a:lnTo>
                        <a:pt x="272" y="195"/>
                      </a:lnTo>
                      <a:lnTo>
                        <a:pt x="272" y="197"/>
                      </a:lnTo>
                      <a:lnTo>
                        <a:pt x="270" y="197"/>
                      </a:lnTo>
                      <a:lnTo>
                        <a:pt x="270" y="199"/>
                      </a:lnTo>
                      <a:lnTo>
                        <a:pt x="270" y="200"/>
                      </a:lnTo>
                      <a:lnTo>
                        <a:pt x="270" y="202"/>
                      </a:lnTo>
                      <a:lnTo>
                        <a:pt x="272" y="202"/>
                      </a:lnTo>
                      <a:lnTo>
                        <a:pt x="272" y="204"/>
                      </a:lnTo>
                      <a:lnTo>
                        <a:pt x="272" y="202"/>
                      </a:lnTo>
                      <a:lnTo>
                        <a:pt x="274" y="202"/>
                      </a:lnTo>
                      <a:lnTo>
                        <a:pt x="274" y="204"/>
                      </a:lnTo>
                      <a:lnTo>
                        <a:pt x="272" y="204"/>
                      </a:lnTo>
                      <a:lnTo>
                        <a:pt x="274" y="204"/>
                      </a:lnTo>
                      <a:lnTo>
                        <a:pt x="272" y="204"/>
                      </a:lnTo>
                      <a:lnTo>
                        <a:pt x="272" y="205"/>
                      </a:lnTo>
                      <a:lnTo>
                        <a:pt x="274" y="205"/>
                      </a:lnTo>
                      <a:lnTo>
                        <a:pt x="272" y="205"/>
                      </a:lnTo>
                      <a:lnTo>
                        <a:pt x="272" y="207"/>
                      </a:lnTo>
                      <a:lnTo>
                        <a:pt x="272" y="205"/>
                      </a:lnTo>
                      <a:lnTo>
                        <a:pt x="270" y="205"/>
                      </a:lnTo>
                      <a:lnTo>
                        <a:pt x="270" y="204"/>
                      </a:lnTo>
                      <a:lnTo>
                        <a:pt x="269" y="204"/>
                      </a:lnTo>
                      <a:lnTo>
                        <a:pt x="267" y="202"/>
                      </a:lnTo>
                      <a:lnTo>
                        <a:pt x="262" y="202"/>
                      </a:lnTo>
                      <a:lnTo>
                        <a:pt x="260" y="202"/>
                      </a:lnTo>
                      <a:lnTo>
                        <a:pt x="259" y="202"/>
                      </a:lnTo>
                      <a:lnTo>
                        <a:pt x="255" y="202"/>
                      </a:lnTo>
                      <a:lnTo>
                        <a:pt x="252" y="202"/>
                      </a:lnTo>
                      <a:lnTo>
                        <a:pt x="250" y="202"/>
                      </a:lnTo>
                      <a:lnTo>
                        <a:pt x="247" y="200"/>
                      </a:lnTo>
                      <a:lnTo>
                        <a:pt x="242" y="200"/>
                      </a:lnTo>
                      <a:lnTo>
                        <a:pt x="238" y="200"/>
                      </a:lnTo>
                      <a:lnTo>
                        <a:pt x="237" y="200"/>
                      </a:lnTo>
                      <a:lnTo>
                        <a:pt x="235" y="200"/>
                      </a:lnTo>
                      <a:lnTo>
                        <a:pt x="230" y="200"/>
                      </a:lnTo>
                      <a:lnTo>
                        <a:pt x="228" y="200"/>
                      </a:lnTo>
                      <a:lnTo>
                        <a:pt x="227" y="200"/>
                      </a:lnTo>
                      <a:lnTo>
                        <a:pt x="225" y="200"/>
                      </a:lnTo>
                      <a:lnTo>
                        <a:pt x="220" y="200"/>
                      </a:lnTo>
                      <a:lnTo>
                        <a:pt x="216" y="200"/>
                      </a:lnTo>
                      <a:lnTo>
                        <a:pt x="213" y="200"/>
                      </a:lnTo>
                      <a:lnTo>
                        <a:pt x="210" y="202"/>
                      </a:lnTo>
                      <a:lnTo>
                        <a:pt x="208" y="204"/>
                      </a:lnTo>
                      <a:lnTo>
                        <a:pt x="208" y="202"/>
                      </a:lnTo>
                      <a:lnTo>
                        <a:pt x="206" y="202"/>
                      </a:lnTo>
                      <a:lnTo>
                        <a:pt x="205" y="202"/>
                      </a:lnTo>
                      <a:lnTo>
                        <a:pt x="203" y="202"/>
                      </a:lnTo>
                      <a:lnTo>
                        <a:pt x="203" y="204"/>
                      </a:lnTo>
                      <a:lnTo>
                        <a:pt x="201" y="204"/>
                      </a:lnTo>
                      <a:lnTo>
                        <a:pt x="200" y="204"/>
                      </a:lnTo>
                      <a:lnTo>
                        <a:pt x="194" y="204"/>
                      </a:lnTo>
                      <a:lnTo>
                        <a:pt x="193" y="204"/>
                      </a:lnTo>
                      <a:lnTo>
                        <a:pt x="189" y="204"/>
                      </a:lnTo>
                      <a:lnTo>
                        <a:pt x="188" y="204"/>
                      </a:lnTo>
                      <a:lnTo>
                        <a:pt x="186" y="204"/>
                      </a:lnTo>
                      <a:lnTo>
                        <a:pt x="183" y="204"/>
                      </a:lnTo>
                      <a:lnTo>
                        <a:pt x="179" y="204"/>
                      </a:lnTo>
                      <a:lnTo>
                        <a:pt x="178" y="204"/>
                      </a:lnTo>
                      <a:lnTo>
                        <a:pt x="178" y="205"/>
                      </a:lnTo>
                      <a:lnTo>
                        <a:pt x="176" y="204"/>
                      </a:lnTo>
                      <a:lnTo>
                        <a:pt x="176" y="205"/>
                      </a:lnTo>
                      <a:lnTo>
                        <a:pt x="176" y="204"/>
                      </a:lnTo>
                      <a:lnTo>
                        <a:pt x="176" y="205"/>
                      </a:lnTo>
                      <a:lnTo>
                        <a:pt x="176" y="204"/>
                      </a:lnTo>
                      <a:lnTo>
                        <a:pt x="174" y="205"/>
                      </a:lnTo>
                      <a:lnTo>
                        <a:pt x="174" y="204"/>
                      </a:lnTo>
                      <a:lnTo>
                        <a:pt x="173" y="204"/>
                      </a:lnTo>
                      <a:lnTo>
                        <a:pt x="173" y="202"/>
                      </a:lnTo>
                      <a:lnTo>
                        <a:pt x="173" y="204"/>
                      </a:lnTo>
                      <a:lnTo>
                        <a:pt x="173" y="202"/>
                      </a:lnTo>
                      <a:lnTo>
                        <a:pt x="171" y="202"/>
                      </a:lnTo>
                      <a:lnTo>
                        <a:pt x="169" y="202"/>
                      </a:lnTo>
                      <a:lnTo>
                        <a:pt x="167" y="202"/>
                      </a:lnTo>
                      <a:lnTo>
                        <a:pt x="167" y="200"/>
                      </a:lnTo>
                      <a:lnTo>
                        <a:pt x="166" y="200"/>
                      </a:lnTo>
                      <a:lnTo>
                        <a:pt x="167" y="200"/>
                      </a:lnTo>
                      <a:lnTo>
                        <a:pt x="169" y="200"/>
                      </a:lnTo>
                      <a:lnTo>
                        <a:pt x="171" y="199"/>
                      </a:lnTo>
                      <a:lnTo>
                        <a:pt x="169" y="199"/>
                      </a:lnTo>
                      <a:lnTo>
                        <a:pt x="167" y="199"/>
                      </a:lnTo>
                      <a:lnTo>
                        <a:pt x="166" y="199"/>
                      </a:lnTo>
                      <a:lnTo>
                        <a:pt x="166" y="197"/>
                      </a:lnTo>
                      <a:lnTo>
                        <a:pt x="167" y="197"/>
                      </a:lnTo>
                      <a:lnTo>
                        <a:pt x="167" y="195"/>
                      </a:lnTo>
                      <a:lnTo>
                        <a:pt x="166" y="195"/>
                      </a:lnTo>
                      <a:lnTo>
                        <a:pt x="167" y="195"/>
                      </a:lnTo>
                      <a:lnTo>
                        <a:pt x="169" y="195"/>
                      </a:lnTo>
                      <a:lnTo>
                        <a:pt x="169" y="194"/>
                      </a:lnTo>
                      <a:lnTo>
                        <a:pt x="169" y="192"/>
                      </a:lnTo>
                      <a:lnTo>
                        <a:pt x="171" y="192"/>
                      </a:lnTo>
                      <a:lnTo>
                        <a:pt x="169" y="192"/>
                      </a:lnTo>
                      <a:lnTo>
                        <a:pt x="169" y="191"/>
                      </a:lnTo>
                      <a:lnTo>
                        <a:pt x="171" y="191"/>
                      </a:lnTo>
                      <a:lnTo>
                        <a:pt x="171" y="189"/>
                      </a:lnTo>
                      <a:lnTo>
                        <a:pt x="173" y="189"/>
                      </a:lnTo>
                      <a:lnTo>
                        <a:pt x="171" y="189"/>
                      </a:lnTo>
                      <a:lnTo>
                        <a:pt x="171" y="187"/>
                      </a:lnTo>
                      <a:lnTo>
                        <a:pt x="173" y="186"/>
                      </a:lnTo>
                      <a:lnTo>
                        <a:pt x="174" y="184"/>
                      </a:lnTo>
                      <a:lnTo>
                        <a:pt x="176" y="184"/>
                      </a:lnTo>
                      <a:lnTo>
                        <a:pt x="176" y="182"/>
                      </a:lnTo>
                      <a:lnTo>
                        <a:pt x="176" y="181"/>
                      </a:lnTo>
                      <a:lnTo>
                        <a:pt x="176" y="179"/>
                      </a:lnTo>
                      <a:lnTo>
                        <a:pt x="176" y="177"/>
                      </a:lnTo>
                      <a:lnTo>
                        <a:pt x="176" y="179"/>
                      </a:lnTo>
                      <a:lnTo>
                        <a:pt x="176" y="177"/>
                      </a:lnTo>
                      <a:lnTo>
                        <a:pt x="176" y="179"/>
                      </a:lnTo>
                      <a:lnTo>
                        <a:pt x="174" y="177"/>
                      </a:lnTo>
                      <a:lnTo>
                        <a:pt x="173" y="177"/>
                      </a:lnTo>
                      <a:lnTo>
                        <a:pt x="171" y="177"/>
                      </a:lnTo>
                      <a:lnTo>
                        <a:pt x="169" y="177"/>
                      </a:lnTo>
                      <a:lnTo>
                        <a:pt x="169" y="179"/>
                      </a:lnTo>
                      <a:lnTo>
                        <a:pt x="167" y="177"/>
                      </a:lnTo>
                      <a:lnTo>
                        <a:pt x="169" y="179"/>
                      </a:lnTo>
                      <a:lnTo>
                        <a:pt x="167" y="179"/>
                      </a:lnTo>
                      <a:lnTo>
                        <a:pt x="167" y="181"/>
                      </a:lnTo>
                      <a:lnTo>
                        <a:pt x="166" y="181"/>
                      </a:lnTo>
                      <a:lnTo>
                        <a:pt x="166" y="179"/>
                      </a:lnTo>
                      <a:lnTo>
                        <a:pt x="164" y="179"/>
                      </a:lnTo>
                      <a:lnTo>
                        <a:pt x="164" y="181"/>
                      </a:lnTo>
                      <a:lnTo>
                        <a:pt x="162" y="181"/>
                      </a:lnTo>
                      <a:lnTo>
                        <a:pt x="161" y="181"/>
                      </a:lnTo>
                      <a:lnTo>
                        <a:pt x="159" y="181"/>
                      </a:lnTo>
                      <a:lnTo>
                        <a:pt x="159" y="182"/>
                      </a:lnTo>
                      <a:lnTo>
                        <a:pt x="157" y="182"/>
                      </a:lnTo>
                      <a:lnTo>
                        <a:pt x="156" y="182"/>
                      </a:lnTo>
                      <a:lnTo>
                        <a:pt x="156" y="184"/>
                      </a:lnTo>
                      <a:lnTo>
                        <a:pt x="154" y="184"/>
                      </a:lnTo>
                      <a:lnTo>
                        <a:pt x="156" y="184"/>
                      </a:lnTo>
                      <a:lnTo>
                        <a:pt x="154" y="184"/>
                      </a:lnTo>
                      <a:lnTo>
                        <a:pt x="154" y="186"/>
                      </a:lnTo>
                      <a:lnTo>
                        <a:pt x="152" y="186"/>
                      </a:lnTo>
                      <a:lnTo>
                        <a:pt x="152" y="187"/>
                      </a:lnTo>
                      <a:lnTo>
                        <a:pt x="152" y="189"/>
                      </a:lnTo>
                      <a:lnTo>
                        <a:pt x="152" y="191"/>
                      </a:lnTo>
                      <a:lnTo>
                        <a:pt x="152" y="189"/>
                      </a:lnTo>
                      <a:lnTo>
                        <a:pt x="152" y="191"/>
                      </a:lnTo>
                      <a:lnTo>
                        <a:pt x="154" y="191"/>
                      </a:lnTo>
                      <a:lnTo>
                        <a:pt x="154" y="192"/>
                      </a:lnTo>
                      <a:lnTo>
                        <a:pt x="156" y="192"/>
                      </a:lnTo>
                      <a:lnTo>
                        <a:pt x="156" y="194"/>
                      </a:lnTo>
                      <a:lnTo>
                        <a:pt x="156" y="195"/>
                      </a:lnTo>
                      <a:lnTo>
                        <a:pt x="157" y="195"/>
                      </a:lnTo>
                      <a:lnTo>
                        <a:pt x="159" y="195"/>
                      </a:lnTo>
                      <a:lnTo>
                        <a:pt x="159" y="194"/>
                      </a:lnTo>
                      <a:lnTo>
                        <a:pt x="159" y="195"/>
                      </a:lnTo>
                      <a:lnTo>
                        <a:pt x="159" y="197"/>
                      </a:lnTo>
                      <a:lnTo>
                        <a:pt x="161" y="197"/>
                      </a:lnTo>
                      <a:lnTo>
                        <a:pt x="162" y="197"/>
                      </a:lnTo>
                      <a:lnTo>
                        <a:pt x="162" y="199"/>
                      </a:lnTo>
                      <a:lnTo>
                        <a:pt x="164" y="197"/>
                      </a:lnTo>
                      <a:lnTo>
                        <a:pt x="164" y="199"/>
                      </a:lnTo>
                      <a:lnTo>
                        <a:pt x="162" y="199"/>
                      </a:lnTo>
                      <a:lnTo>
                        <a:pt x="162" y="200"/>
                      </a:lnTo>
                      <a:lnTo>
                        <a:pt x="162" y="202"/>
                      </a:lnTo>
                      <a:lnTo>
                        <a:pt x="164" y="202"/>
                      </a:lnTo>
                      <a:lnTo>
                        <a:pt x="164" y="200"/>
                      </a:lnTo>
                      <a:lnTo>
                        <a:pt x="164" y="202"/>
                      </a:lnTo>
                      <a:lnTo>
                        <a:pt x="164" y="204"/>
                      </a:lnTo>
                      <a:lnTo>
                        <a:pt x="162" y="204"/>
                      </a:lnTo>
                      <a:lnTo>
                        <a:pt x="161" y="204"/>
                      </a:lnTo>
                      <a:lnTo>
                        <a:pt x="161" y="205"/>
                      </a:lnTo>
                      <a:lnTo>
                        <a:pt x="159" y="205"/>
                      </a:lnTo>
                      <a:lnTo>
                        <a:pt x="157" y="205"/>
                      </a:lnTo>
                      <a:lnTo>
                        <a:pt x="157" y="207"/>
                      </a:lnTo>
                      <a:lnTo>
                        <a:pt x="156" y="207"/>
                      </a:lnTo>
                      <a:lnTo>
                        <a:pt x="154" y="207"/>
                      </a:lnTo>
                      <a:lnTo>
                        <a:pt x="152" y="207"/>
                      </a:lnTo>
                      <a:lnTo>
                        <a:pt x="152" y="209"/>
                      </a:lnTo>
                      <a:lnTo>
                        <a:pt x="151" y="209"/>
                      </a:lnTo>
                      <a:lnTo>
                        <a:pt x="151" y="207"/>
                      </a:lnTo>
                      <a:lnTo>
                        <a:pt x="149" y="207"/>
                      </a:lnTo>
                      <a:lnTo>
                        <a:pt x="149" y="205"/>
                      </a:lnTo>
                      <a:lnTo>
                        <a:pt x="147" y="205"/>
                      </a:lnTo>
                      <a:lnTo>
                        <a:pt x="146" y="205"/>
                      </a:lnTo>
                      <a:lnTo>
                        <a:pt x="146" y="204"/>
                      </a:lnTo>
                      <a:lnTo>
                        <a:pt x="144" y="204"/>
                      </a:lnTo>
                      <a:lnTo>
                        <a:pt x="144" y="205"/>
                      </a:lnTo>
                      <a:lnTo>
                        <a:pt x="144" y="204"/>
                      </a:lnTo>
                      <a:lnTo>
                        <a:pt x="144" y="205"/>
                      </a:lnTo>
                      <a:lnTo>
                        <a:pt x="142" y="204"/>
                      </a:lnTo>
                      <a:lnTo>
                        <a:pt x="142" y="205"/>
                      </a:lnTo>
                      <a:lnTo>
                        <a:pt x="140" y="205"/>
                      </a:lnTo>
                      <a:lnTo>
                        <a:pt x="140" y="204"/>
                      </a:lnTo>
                      <a:lnTo>
                        <a:pt x="140" y="205"/>
                      </a:lnTo>
                      <a:lnTo>
                        <a:pt x="139" y="205"/>
                      </a:lnTo>
                      <a:lnTo>
                        <a:pt x="140" y="205"/>
                      </a:lnTo>
                      <a:lnTo>
                        <a:pt x="142" y="205"/>
                      </a:lnTo>
                      <a:lnTo>
                        <a:pt x="142" y="207"/>
                      </a:lnTo>
                      <a:lnTo>
                        <a:pt x="142" y="205"/>
                      </a:lnTo>
                      <a:lnTo>
                        <a:pt x="144" y="205"/>
                      </a:lnTo>
                      <a:lnTo>
                        <a:pt x="146" y="205"/>
                      </a:lnTo>
                      <a:lnTo>
                        <a:pt x="146" y="207"/>
                      </a:lnTo>
                      <a:lnTo>
                        <a:pt x="146" y="205"/>
                      </a:lnTo>
                      <a:lnTo>
                        <a:pt x="146" y="207"/>
                      </a:lnTo>
                      <a:lnTo>
                        <a:pt x="147" y="207"/>
                      </a:lnTo>
                      <a:lnTo>
                        <a:pt x="149" y="207"/>
                      </a:lnTo>
                      <a:lnTo>
                        <a:pt x="151" y="207"/>
                      </a:lnTo>
                      <a:lnTo>
                        <a:pt x="151" y="209"/>
                      </a:lnTo>
                      <a:lnTo>
                        <a:pt x="149" y="209"/>
                      </a:lnTo>
                      <a:lnTo>
                        <a:pt x="147" y="207"/>
                      </a:lnTo>
                      <a:lnTo>
                        <a:pt x="144" y="207"/>
                      </a:lnTo>
                      <a:lnTo>
                        <a:pt x="140" y="209"/>
                      </a:lnTo>
                      <a:lnTo>
                        <a:pt x="139" y="209"/>
                      </a:lnTo>
                      <a:lnTo>
                        <a:pt x="135" y="209"/>
                      </a:lnTo>
                      <a:lnTo>
                        <a:pt x="134" y="210"/>
                      </a:lnTo>
                      <a:lnTo>
                        <a:pt x="135" y="210"/>
                      </a:lnTo>
                      <a:lnTo>
                        <a:pt x="134" y="210"/>
                      </a:lnTo>
                      <a:lnTo>
                        <a:pt x="132" y="210"/>
                      </a:lnTo>
                      <a:lnTo>
                        <a:pt x="130" y="210"/>
                      </a:lnTo>
                      <a:lnTo>
                        <a:pt x="130" y="212"/>
                      </a:lnTo>
                      <a:lnTo>
                        <a:pt x="129" y="212"/>
                      </a:lnTo>
                      <a:lnTo>
                        <a:pt x="127" y="212"/>
                      </a:lnTo>
                      <a:lnTo>
                        <a:pt x="127" y="214"/>
                      </a:lnTo>
                      <a:lnTo>
                        <a:pt x="125" y="214"/>
                      </a:lnTo>
                      <a:lnTo>
                        <a:pt x="125" y="212"/>
                      </a:lnTo>
                      <a:lnTo>
                        <a:pt x="127" y="212"/>
                      </a:lnTo>
                      <a:lnTo>
                        <a:pt x="125" y="212"/>
                      </a:lnTo>
                      <a:lnTo>
                        <a:pt x="125" y="210"/>
                      </a:lnTo>
                      <a:lnTo>
                        <a:pt x="125" y="212"/>
                      </a:lnTo>
                      <a:lnTo>
                        <a:pt x="124" y="210"/>
                      </a:lnTo>
                      <a:lnTo>
                        <a:pt x="122" y="210"/>
                      </a:lnTo>
                      <a:lnTo>
                        <a:pt x="122" y="209"/>
                      </a:lnTo>
                      <a:lnTo>
                        <a:pt x="120" y="209"/>
                      </a:lnTo>
                      <a:lnTo>
                        <a:pt x="120" y="207"/>
                      </a:lnTo>
                      <a:lnTo>
                        <a:pt x="118" y="207"/>
                      </a:lnTo>
                      <a:lnTo>
                        <a:pt x="117" y="207"/>
                      </a:lnTo>
                      <a:lnTo>
                        <a:pt x="117" y="205"/>
                      </a:lnTo>
                      <a:lnTo>
                        <a:pt x="115" y="205"/>
                      </a:lnTo>
                      <a:lnTo>
                        <a:pt x="113" y="205"/>
                      </a:lnTo>
                      <a:lnTo>
                        <a:pt x="112" y="205"/>
                      </a:lnTo>
                      <a:lnTo>
                        <a:pt x="112" y="204"/>
                      </a:lnTo>
                      <a:lnTo>
                        <a:pt x="110" y="204"/>
                      </a:lnTo>
                      <a:lnTo>
                        <a:pt x="110" y="202"/>
                      </a:lnTo>
                      <a:lnTo>
                        <a:pt x="108" y="202"/>
                      </a:lnTo>
                      <a:lnTo>
                        <a:pt x="107" y="200"/>
                      </a:lnTo>
                      <a:lnTo>
                        <a:pt x="105" y="200"/>
                      </a:lnTo>
                      <a:lnTo>
                        <a:pt x="105" y="199"/>
                      </a:lnTo>
                      <a:lnTo>
                        <a:pt x="105" y="200"/>
                      </a:lnTo>
                      <a:lnTo>
                        <a:pt x="103" y="199"/>
                      </a:lnTo>
                      <a:lnTo>
                        <a:pt x="102" y="199"/>
                      </a:lnTo>
                      <a:lnTo>
                        <a:pt x="102" y="200"/>
                      </a:lnTo>
                      <a:lnTo>
                        <a:pt x="100" y="200"/>
                      </a:lnTo>
                      <a:lnTo>
                        <a:pt x="98" y="200"/>
                      </a:lnTo>
                      <a:lnTo>
                        <a:pt x="98" y="199"/>
                      </a:lnTo>
                      <a:lnTo>
                        <a:pt x="100" y="199"/>
                      </a:lnTo>
                      <a:lnTo>
                        <a:pt x="100" y="197"/>
                      </a:lnTo>
                      <a:lnTo>
                        <a:pt x="98" y="197"/>
                      </a:lnTo>
                      <a:lnTo>
                        <a:pt x="97" y="197"/>
                      </a:lnTo>
                      <a:lnTo>
                        <a:pt x="97" y="199"/>
                      </a:lnTo>
                      <a:lnTo>
                        <a:pt x="95" y="199"/>
                      </a:lnTo>
                      <a:lnTo>
                        <a:pt x="93" y="200"/>
                      </a:lnTo>
                      <a:lnTo>
                        <a:pt x="91" y="200"/>
                      </a:lnTo>
                      <a:lnTo>
                        <a:pt x="90" y="200"/>
                      </a:lnTo>
                      <a:lnTo>
                        <a:pt x="88" y="200"/>
                      </a:lnTo>
                      <a:lnTo>
                        <a:pt x="86" y="200"/>
                      </a:lnTo>
                      <a:lnTo>
                        <a:pt x="85" y="200"/>
                      </a:lnTo>
                      <a:lnTo>
                        <a:pt x="85" y="202"/>
                      </a:lnTo>
                      <a:lnTo>
                        <a:pt x="83" y="200"/>
                      </a:lnTo>
                      <a:lnTo>
                        <a:pt x="85" y="202"/>
                      </a:lnTo>
                      <a:lnTo>
                        <a:pt x="83" y="202"/>
                      </a:lnTo>
                      <a:lnTo>
                        <a:pt x="81" y="202"/>
                      </a:lnTo>
                      <a:lnTo>
                        <a:pt x="81" y="204"/>
                      </a:lnTo>
                      <a:lnTo>
                        <a:pt x="83" y="204"/>
                      </a:lnTo>
                      <a:lnTo>
                        <a:pt x="81" y="204"/>
                      </a:lnTo>
                      <a:lnTo>
                        <a:pt x="81" y="205"/>
                      </a:lnTo>
                      <a:lnTo>
                        <a:pt x="80" y="205"/>
                      </a:lnTo>
                      <a:lnTo>
                        <a:pt x="80" y="204"/>
                      </a:lnTo>
                      <a:lnTo>
                        <a:pt x="80" y="202"/>
                      </a:lnTo>
                      <a:lnTo>
                        <a:pt x="80" y="200"/>
                      </a:lnTo>
                      <a:lnTo>
                        <a:pt x="80" y="202"/>
                      </a:lnTo>
                      <a:lnTo>
                        <a:pt x="78" y="202"/>
                      </a:lnTo>
                      <a:lnTo>
                        <a:pt x="76" y="202"/>
                      </a:lnTo>
                      <a:lnTo>
                        <a:pt x="76" y="204"/>
                      </a:lnTo>
                      <a:lnTo>
                        <a:pt x="76" y="202"/>
                      </a:lnTo>
                      <a:lnTo>
                        <a:pt x="76" y="204"/>
                      </a:lnTo>
                      <a:lnTo>
                        <a:pt x="76" y="205"/>
                      </a:lnTo>
                      <a:lnTo>
                        <a:pt x="76" y="207"/>
                      </a:lnTo>
                      <a:lnTo>
                        <a:pt x="75" y="207"/>
                      </a:lnTo>
                      <a:lnTo>
                        <a:pt x="75" y="209"/>
                      </a:lnTo>
                      <a:lnTo>
                        <a:pt x="73" y="209"/>
                      </a:lnTo>
                      <a:lnTo>
                        <a:pt x="73" y="210"/>
                      </a:lnTo>
                      <a:lnTo>
                        <a:pt x="71" y="210"/>
                      </a:lnTo>
                      <a:lnTo>
                        <a:pt x="70" y="210"/>
                      </a:lnTo>
                      <a:lnTo>
                        <a:pt x="68" y="210"/>
                      </a:lnTo>
                      <a:lnTo>
                        <a:pt x="68" y="212"/>
                      </a:lnTo>
                      <a:lnTo>
                        <a:pt x="66" y="210"/>
                      </a:lnTo>
                      <a:lnTo>
                        <a:pt x="66" y="212"/>
                      </a:lnTo>
                      <a:lnTo>
                        <a:pt x="66" y="210"/>
                      </a:lnTo>
                      <a:lnTo>
                        <a:pt x="64" y="210"/>
                      </a:lnTo>
                      <a:lnTo>
                        <a:pt x="63" y="212"/>
                      </a:lnTo>
                      <a:lnTo>
                        <a:pt x="61" y="212"/>
                      </a:lnTo>
                      <a:lnTo>
                        <a:pt x="61" y="210"/>
                      </a:lnTo>
                      <a:lnTo>
                        <a:pt x="61" y="209"/>
                      </a:lnTo>
                      <a:lnTo>
                        <a:pt x="63" y="209"/>
                      </a:lnTo>
                      <a:lnTo>
                        <a:pt x="63" y="207"/>
                      </a:lnTo>
                      <a:lnTo>
                        <a:pt x="63" y="209"/>
                      </a:lnTo>
                      <a:lnTo>
                        <a:pt x="61" y="207"/>
                      </a:lnTo>
                      <a:lnTo>
                        <a:pt x="59" y="207"/>
                      </a:lnTo>
                      <a:lnTo>
                        <a:pt x="58" y="207"/>
                      </a:lnTo>
                      <a:lnTo>
                        <a:pt x="58" y="209"/>
                      </a:lnTo>
                      <a:lnTo>
                        <a:pt x="56" y="209"/>
                      </a:lnTo>
                      <a:lnTo>
                        <a:pt x="54" y="209"/>
                      </a:lnTo>
                      <a:lnTo>
                        <a:pt x="56" y="209"/>
                      </a:lnTo>
                      <a:lnTo>
                        <a:pt x="56" y="207"/>
                      </a:lnTo>
                      <a:lnTo>
                        <a:pt x="54" y="207"/>
                      </a:lnTo>
                      <a:lnTo>
                        <a:pt x="54" y="209"/>
                      </a:lnTo>
                      <a:lnTo>
                        <a:pt x="54" y="207"/>
                      </a:lnTo>
                      <a:lnTo>
                        <a:pt x="54" y="209"/>
                      </a:lnTo>
                      <a:lnTo>
                        <a:pt x="53" y="209"/>
                      </a:lnTo>
                      <a:lnTo>
                        <a:pt x="51" y="209"/>
                      </a:lnTo>
                      <a:lnTo>
                        <a:pt x="51" y="210"/>
                      </a:lnTo>
                      <a:lnTo>
                        <a:pt x="51" y="209"/>
                      </a:lnTo>
                      <a:lnTo>
                        <a:pt x="49" y="209"/>
                      </a:lnTo>
                      <a:lnTo>
                        <a:pt x="49" y="207"/>
                      </a:lnTo>
                      <a:lnTo>
                        <a:pt x="51" y="207"/>
                      </a:lnTo>
                      <a:lnTo>
                        <a:pt x="51" y="205"/>
                      </a:lnTo>
                      <a:lnTo>
                        <a:pt x="53" y="205"/>
                      </a:lnTo>
                      <a:lnTo>
                        <a:pt x="53" y="207"/>
                      </a:lnTo>
                      <a:lnTo>
                        <a:pt x="53" y="205"/>
                      </a:lnTo>
                      <a:lnTo>
                        <a:pt x="54" y="205"/>
                      </a:lnTo>
                      <a:lnTo>
                        <a:pt x="54" y="204"/>
                      </a:lnTo>
                      <a:lnTo>
                        <a:pt x="56" y="204"/>
                      </a:lnTo>
                      <a:lnTo>
                        <a:pt x="56" y="202"/>
                      </a:lnTo>
                      <a:lnTo>
                        <a:pt x="54" y="202"/>
                      </a:lnTo>
                      <a:lnTo>
                        <a:pt x="54" y="204"/>
                      </a:lnTo>
                      <a:lnTo>
                        <a:pt x="54" y="202"/>
                      </a:lnTo>
                      <a:lnTo>
                        <a:pt x="53" y="204"/>
                      </a:lnTo>
                      <a:lnTo>
                        <a:pt x="53" y="202"/>
                      </a:lnTo>
                      <a:lnTo>
                        <a:pt x="54" y="202"/>
                      </a:lnTo>
                      <a:lnTo>
                        <a:pt x="54" y="200"/>
                      </a:lnTo>
                      <a:lnTo>
                        <a:pt x="53" y="200"/>
                      </a:lnTo>
                      <a:lnTo>
                        <a:pt x="54" y="200"/>
                      </a:lnTo>
                      <a:lnTo>
                        <a:pt x="53" y="200"/>
                      </a:lnTo>
                      <a:lnTo>
                        <a:pt x="53" y="199"/>
                      </a:lnTo>
                      <a:lnTo>
                        <a:pt x="51" y="200"/>
                      </a:lnTo>
                      <a:lnTo>
                        <a:pt x="51" y="199"/>
                      </a:lnTo>
                      <a:lnTo>
                        <a:pt x="51" y="200"/>
                      </a:lnTo>
                      <a:lnTo>
                        <a:pt x="51" y="199"/>
                      </a:lnTo>
                      <a:lnTo>
                        <a:pt x="51" y="200"/>
                      </a:lnTo>
                      <a:lnTo>
                        <a:pt x="49" y="200"/>
                      </a:lnTo>
                      <a:lnTo>
                        <a:pt x="49" y="202"/>
                      </a:lnTo>
                      <a:lnTo>
                        <a:pt x="49" y="200"/>
                      </a:lnTo>
                      <a:lnTo>
                        <a:pt x="49" y="202"/>
                      </a:lnTo>
                      <a:lnTo>
                        <a:pt x="51" y="202"/>
                      </a:lnTo>
                      <a:lnTo>
                        <a:pt x="49" y="202"/>
                      </a:lnTo>
                      <a:lnTo>
                        <a:pt x="49" y="204"/>
                      </a:lnTo>
                      <a:lnTo>
                        <a:pt x="49" y="202"/>
                      </a:lnTo>
                      <a:lnTo>
                        <a:pt x="49" y="204"/>
                      </a:lnTo>
                      <a:lnTo>
                        <a:pt x="48" y="204"/>
                      </a:lnTo>
                      <a:lnTo>
                        <a:pt x="48" y="202"/>
                      </a:lnTo>
                      <a:lnTo>
                        <a:pt x="46" y="202"/>
                      </a:lnTo>
                      <a:lnTo>
                        <a:pt x="44" y="202"/>
                      </a:lnTo>
                      <a:lnTo>
                        <a:pt x="44" y="204"/>
                      </a:lnTo>
                      <a:lnTo>
                        <a:pt x="44" y="202"/>
                      </a:lnTo>
                      <a:lnTo>
                        <a:pt x="44" y="204"/>
                      </a:lnTo>
                      <a:lnTo>
                        <a:pt x="42" y="204"/>
                      </a:lnTo>
                      <a:lnTo>
                        <a:pt x="42" y="205"/>
                      </a:lnTo>
                      <a:lnTo>
                        <a:pt x="42" y="207"/>
                      </a:lnTo>
                      <a:lnTo>
                        <a:pt x="44" y="205"/>
                      </a:lnTo>
                      <a:lnTo>
                        <a:pt x="44" y="207"/>
                      </a:lnTo>
                      <a:lnTo>
                        <a:pt x="42" y="207"/>
                      </a:lnTo>
                      <a:lnTo>
                        <a:pt x="42" y="209"/>
                      </a:lnTo>
                      <a:lnTo>
                        <a:pt x="41" y="209"/>
                      </a:lnTo>
                      <a:lnTo>
                        <a:pt x="41" y="207"/>
                      </a:lnTo>
                      <a:lnTo>
                        <a:pt x="39" y="207"/>
                      </a:lnTo>
                      <a:lnTo>
                        <a:pt x="37" y="207"/>
                      </a:lnTo>
                      <a:lnTo>
                        <a:pt x="37" y="209"/>
                      </a:lnTo>
                      <a:lnTo>
                        <a:pt x="36" y="210"/>
                      </a:lnTo>
                      <a:lnTo>
                        <a:pt x="36" y="209"/>
                      </a:lnTo>
                      <a:lnTo>
                        <a:pt x="34" y="209"/>
                      </a:lnTo>
                      <a:lnTo>
                        <a:pt x="32" y="210"/>
                      </a:lnTo>
                      <a:lnTo>
                        <a:pt x="31" y="210"/>
                      </a:lnTo>
                      <a:lnTo>
                        <a:pt x="31" y="212"/>
                      </a:lnTo>
                      <a:lnTo>
                        <a:pt x="29" y="212"/>
                      </a:lnTo>
                      <a:lnTo>
                        <a:pt x="27" y="212"/>
                      </a:lnTo>
                      <a:lnTo>
                        <a:pt x="27" y="210"/>
                      </a:lnTo>
                      <a:lnTo>
                        <a:pt x="27" y="212"/>
                      </a:lnTo>
                      <a:lnTo>
                        <a:pt x="26" y="212"/>
                      </a:lnTo>
                      <a:lnTo>
                        <a:pt x="26" y="210"/>
                      </a:lnTo>
                      <a:lnTo>
                        <a:pt x="24" y="212"/>
                      </a:lnTo>
                      <a:lnTo>
                        <a:pt x="22" y="210"/>
                      </a:lnTo>
                      <a:lnTo>
                        <a:pt x="22" y="212"/>
                      </a:lnTo>
                      <a:lnTo>
                        <a:pt x="21" y="212"/>
                      </a:lnTo>
                      <a:lnTo>
                        <a:pt x="21" y="214"/>
                      </a:lnTo>
                      <a:lnTo>
                        <a:pt x="19" y="214"/>
                      </a:lnTo>
                      <a:lnTo>
                        <a:pt x="19" y="215"/>
                      </a:lnTo>
                      <a:lnTo>
                        <a:pt x="19" y="217"/>
                      </a:lnTo>
                      <a:lnTo>
                        <a:pt x="17" y="218"/>
                      </a:lnTo>
                      <a:lnTo>
                        <a:pt x="19" y="218"/>
                      </a:lnTo>
                      <a:lnTo>
                        <a:pt x="17" y="218"/>
                      </a:lnTo>
                      <a:lnTo>
                        <a:pt x="17" y="220"/>
                      </a:lnTo>
                      <a:lnTo>
                        <a:pt x="19" y="220"/>
                      </a:lnTo>
                      <a:lnTo>
                        <a:pt x="17" y="220"/>
                      </a:lnTo>
                      <a:lnTo>
                        <a:pt x="19" y="222"/>
                      </a:lnTo>
                      <a:lnTo>
                        <a:pt x="17" y="222"/>
                      </a:lnTo>
                      <a:lnTo>
                        <a:pt x="17" y="223"/>
                      </a:lnTo>
                      <a:lnTo>
                        <a:pt x="15" y="223"/>
                      </a:lnTo>
                      <a:lnTo>
                        <a:pt x="17" y="223"/>
                      </a:lnTo>
                      <a:lnTo>
                        <a:pt x="17" y="225"/>
                      </a:lnTo>
                      <a:lnTo>
                        <a:pt x="15" y="225"/>
                      </a:lnTo>
                      <a:lnTo>
                        <a:pt x="15" y="227"/>
                      </a:lnTo>
                      <a:lnTo>
                        <a:pt x="17" y="227"/>
                      </a:lnTo>
                      <a:lnTo>
                        <a:pt x="17" y="228"/>
                      </a:lnTo>
                      <a:lnTo>
                        <a:pt x="19" y="228"/>
                      </a:lnTo>
                      <a:lnTo>
                        <a:pt x="19" y="227"/>
                      </a:lnTo>
                      <a:lnTo>
                        <a:pt x="21" y="227"/>
                      </a:lnTo>
                      <a:lnTo>
                        <a:pt x="21" y="225"/>
                      </a:lnTo>
                      <a:lnTo>
                        <a:pt x="21" y="227"/>
                      </a:lnTo>
                      <a:lnTo>
                        <a:pt x="21" y="225"/>
                      </a:lnTo>
                      <a:lnTo>
                        <a:pt x="22" y="227"/>
                      </a:lnTo>
                      <a:lnTo>
                        <a:pt x="22" y="225"/>
                      </a:lnTo>
                      <a:lnTo>
                        <a:pt x="22" y="223"/>
                      </a:lnTo>
                      <a:lnTo>
                        <a:pt x="24" y="223"/>
                      </a:lnTo>
                      <a:lnTo>
                        <a:pt x="22" y="225"/>
                      </a:lnTo>
                      <a:lnTo>
                        <a:pt x="24" y="225"/>
                      </a:lnTo>
                      <a:lnTo>
                        <a:pt x="26" y="225"/>
                      </a:lnTo>
                      <a:lnTo>
                        <a:pt x="24" y="225"/>
                      </a:lnTo>
                      <a:lnTo>
                        <a:pt x="26" y="225"/>
                      </a:lnTo>
                      <a:lnTo>
                        <a:pt x="26" y="227"/>
                      </a:lnTo>
                      <a:lnTo>
                        <a:pt x="24" y="227"/>
                      </a:lnTo>
                      <a:lnTo>
                        <a:pt x="26" y="227"/>
                      </a:lnTo>
                      <a:lnTo>
                        <a:pt x="24" y="227"/>
                      </a:lnTo>
                      <a:lnTo>
                        <a:pt x="22" y="227"/>
                      </a:lnTo>
                      <a:lnTo>
                        <a:pt x="21" y="227"/>
                      </a:lnTo>
                      <a:lnTo>
                        <a:pt x="22" y="227"/>
                      </a:lnTo>
                      <a:lnTo>
                        <a:pt x="21" y="227"/>
                      </a:lnTo>
                      <a:lnTo>
                        <a:pt x="21" y="228"/>
                      </a:lnTo>
                      <a:lnTo>
                        <a:pt x="22" y="228"/>
                      </a:lnTo>
                      <a:lnTo>
                        <a:pt x="22" y="227"/>
                      </a:lnTo>
                      <a:lnTo>
                        <a:pt x="22" y="228"/>
                      </a:lnTo>
                      <a:lnTo>
                        <a:pt x="21" y="228"/>
                      </a:lnTo>
                      <a:lnTo>
                        <a:pt x="19" y="228"/>
                      </a:lnTo>
                      <a:lnTo>
                        <a:pt x="21" y="230"/>
                      </a:lnTo>
                      <a:lnTo>
                        <a:pt x="19" y="230"/>
                      </a:lnTo>
                      <a:lnTo>
                        <a:pt x="21" y="230"/>
                      </a:lnTo>
                      <a:lnTo>
                        <a:pt x="22" y="228"/>
                      </a:lnTo>
                      <a:lnTo>
                        <a:pt x="24" y="228"/>
                      </a:lnTo>
                      <a:lnTo>
                        <a:pt x="26" y="228"/>
                      </a:lnTo>
                      <a:lnTo>
                        <a:pt x="26" y="230"/>
                      </a:lnTo>
                      <a:lnTo>
                        <a:pt x="24" y="230"/>
                      </a:lnTo>
                      <a:lnTo>
                        <a:pt x="24" y="232"/>
                      </a:lnTo>
                      <a:lnTo>
                        <a:pt x="22" y="233"/>
                      </a:lnTo>
                      <a:lnTo>
                        <a:pt x="22" y="235"/>
                      </a:lnTo>
                      <a:lnTo>
                        <a:pt x="24" y="235"/>
                      </a:lnTo>
                      <a:lnTo>
                        <a:pt x="22" y="233"/>
                      </a:lnTo>
                      <a:lnTo>
                        <a:pt x="24" y="233"/>
                      </a:lnTo>
                      <a:lnTo>
                        <a:pt x="26" y="232"/>
                      </a:lnTo>
                      <a:lnTo>
                        <a:pt x="26" y="230"/>
                      </a:lnTo>
                      <a:lnTo>
                        <a:pt x="27" y="230"/>
                      </a:lnTo>
                      <a:lnTo>
                        <a:pt x="27" y="228"/>
                      </a:lnTo>
                      <a:lnTo>
                        <a:pt x="29" y="228"/>
                      </a:lnTo>
                      <a:lnTo>
                        <a:pt x="31" y="228"/>
                      </a:lnTo>
                      <a:lnTo>
                        <a:pt x="29" y="230"/>
                      </a:lnTo>
                      <a:lnTo>
                        <a:pt x="29" y="232"/>
                      </a:lnTo>
                      <a:lnTo>
                        <a:pt x="31" y="232"/>
                      </a:lnTo>
                      <a:lnTo>
                        <a:pt x="32" y="232"/>
                      </a:lnTo>
                      <a:lnTo>
                        <a:pt x="34" y="232"/>
                      </a:lnTo>
                      <a:lnTo>
                        <a:pt x="34" y="233"/>
                      </a:lnTo>
                      <a:lnTo>
                        <a:pt x="36" y="233"/>
                      </a:lnTo>
                      <a:lnTo>
                        <a:pt x="34" y="233"/>
                      </a:lnTo>
                      <a:lnTo>
                        <a:pt x="36" y="233"/>
                      </a:lnTo>
                      <a:lnTo>
                        <a:pt x="36" y="235"/>
                      </a:lnTo>
                      <a:lnTo>
                        <a:pt x="36" y="233"/>
                      </a:lnTo>
                      <a:lnTo>
                        <a:pt x="36" y="235"/>
                      </a:lnTo>
                      <a:lnTo>
                        <a:pt x="36" y="233"/>
                      </a:lnTo>
                      <a:lnTo>
                        <a:pt x="34" y="233"/>
                      </a:lnTo>
                      <a:lnTo>
                        <a:pt x="32" y="235"/>
                      </a:lnTo>
                      <a:lnTo>
                        <a:pt x="31" y="235"/>
                      </a:lnTo>
                      <a:lnTo>
                        <a:pt x="31" y="237"/>
                      </a:lnTo>
                      <a:lnTo>
                        <a:pt x="31" y="238"/>
                      </a:lnTo>
                      <a:lnTo>
                        <a:pt x="29" y="238"/>
                      </a:lnTo>
                      <a:lnTo>
                        <a:pt x="29" y="240"/>
                      </a:lnTo>
                      <a:lnTo>
                        <a:pt x="27" y="240"/>
                      </a:lnTo>
                      <a:lnTo>
                        <a:pt x="26" y="240"/>
                      </a:lnTo>
                      <a:lnTo>
                        <a:pt x="27" y="238"/>
                      </a:lnTo>
                      <a:lnTo>
                        <a:pt x="26" y="238"/>
                      </a:lnTo>
                      <a:lnTo>
                        <a:pt x="26" y="240"/>
                      </a:lnTo>
                      <a:lnTo>
                        <a:pt x="26" y="238"/>
                      </a:lnTo>
                      <a:lnTo>
                        <a:pt x="24" y="240"/>
                      </a:lnTo>
                      <a:lnTo>
                        <a:pt x="24" y="238"/>
                      </a:lnTo>
                      <a:lnTo>
                        <a:pt x="22" y="238"/>
                      </a:lnTo>
                      <a:lnTo>
                        <a:pt x="21" y="238"/>
                      </a:lnTo>
                      <a:lnTo>
                        <a:pt x="22" y="238"/>
                      </a:lnTo>
                      <a:lnTo>
                        <a:pt x="21" y="238"/>
                      </a:lnTo>
                      <a:lnTo>
                        <a:pt x="19" y="238"/>
                      </a:lnTo>
                      <a:lnTo>
                        <a:pt x="19" y="240"/>
                      </a:lnTo>
                      <a:lnTo>
                        <a:pt x="19" y="238"/>
                      </a:lnTo>
                      <a:lnTo>
                        <a:pt x="17" y="238"/>
                      </a:lnTo>
                      <a:lnTo>
                        <a:pt x="15" y="238"/>
                      </a:lnTo>
                      <a:lnTo>
                        <a:pt x="15" y="240"/>
                      </a:lnTo>
                      <a:lnTo>
                        <a:pt x="15" y="241"/>
                      </a:lnTo>
                      <a:lnTo>
                        <a:pt x="14" y="240"/>
                      </a:lnTo>
                      <a:lnTo>
                        <a:pt x="12" y="240"/>
                      </a:lnTo>
                      <a:lnTo>
                        <a:pt x="12" y="238"/>
                      </a:lnTo>
                      <a:lnTo>
                        <a:pt x="10" y="238"/>
                      </a:lnTo>
                      <a:lnTo>
                        <a:pt x="10" y="237"/>
                      </a:lnTo>
                      <a:lnTo>
                        <a:pt x="10" y="235"/>
                      </a:lnTo>
                      <a:lnTo>
                        <a:pt x="9" y="235"/>
                      </a:lnTo>
                      <a:lnTo>
                        <a:pt x="10" y="235"/>
                      </a:lnTo>
                      <a:lnTo>
                        <a:pt x="7" y="233"/>
                      </a:lnTo>
                      <a:lnTo>
                        <a:pt x="5" y="233"/>
                      </a:lnTo>
                      <a:lnTo>
                        <a:pt x="5" y="232"/>
                      </a:lnTo>
                      <a:lnTo>
                        <a:pt x="5" y="230"/>
                      </a:lnTo>
                      <a:lnTo>
                        <a:pt x="4" y="230"/>
                      </a:lnTo>
                      <a:lnTo>
                        <a:pt x="2" y="230"/>
                      </a:lnTo>
                      <a:lnTo>
                        <a:pt x="0" y="230"/>
                      </a:lnTo>
                      <a:lnTo>
                        <a:pt x="0" y="228"/>
                      </a:lnTo>
                      <a:lnTo>
                        <a:pt x="0" y="227"/>
                      </a:lnTo>
                      <a:lnTo>
                        <a:pt x="0" y="225"/>
                      </a:lnTo>
                      <a:lnTo>
                        <a:pt x="2" y="223"/>
                      </a:lnTo>
                      <a:lnTo>
                        <a:pt x="4" y="223"/>
                      </a:lnTo>
                      <a:lnTo>
                        <a:pt x="4" y="222"/>
                      </a:lnTo>
                      <a:lnTo>
                        <a:pt x="5" y="222"/>
                      </a:lnTo>
                      <a:lnTo>
                        <a:pt x="5" y="220"/>
                      </a:lnTo>
                      <a:lnTo>
                        <a:pt x="7" y="220"/>
                      </a:lnTo>
                      <a:lnTo>
                        <a:pt x="7" y="218"/>
                      </a:lnTo>
                      <a:lnTo>
                        <a:pt x="7" y="217"/>
                      </a:lnTo>
                      <a:lnTo>
                        <a:pt x="7" y="215"/>
                      </a:lnTo>
                      <a:lnTo>
                        <a:pt x="7" y="214"/>
                      </a:lnTo>
                      <a:lnTo>
                        <a:pt x="7" y="212"/>
                      </a:lnTo>
                      <a:lnTo>
                        <a:pt x="9" y="212"/>
                      </a:lnTo>
                      <a:lnTo>
                        <a:pt x="9" y="210"/>
                      </a:lnTo>
                      <a:lnTo>
                        <a:pt x="9" y="209"/>
                      </a:lnTo>
                      <a:lnTo>
                        <a:pt x="9" y="207"/>
                      </a:lnTo>
                      <a:lnTo>
                        <a:pt x="9" y="205"/>
                      </a:lnTo>
                      <a:lnTo>
                        <a:pt x="10" y="205"/>
                      </a:lnTo>
                      <a:lnTo>
                        <a:pt x="12" y="205"/>
                      </a:lnTo>
                      <a:lnTo>
                        <a:pt x="12" y="204"/>
                      </a:lnTo>
                      <a:lnTo>
                        <a:pt x="14" y="204"/>
                      </a:lnTo>
                      <a:lnTo>
                        <a:pt x="12" y="204"/>
                      </a:lnTo>
                      <a:lnTo>
                        <a:pt x="14" y="204"/>
                      </a:lnTo>
                      <a:lnTo>
                        <a:pt x="14" y="202"/>
                      </a:lnTo>
                      <a:lnTo>
                        <a:pt x="15" y="202"/>
                      </a:lnTo>
                      <a:lnTo>
                        <a:pt x="15" y="200"/>
                      </a:lnTo>
                      <a:lnTo>
                        <a:pt x="17" y="200"/>
                      </a:lnTo>
                      <a:lnTo>
                        <a:pt x="19" y="200"/>
                      </a:lnTo>
                      <a:lnTo>
                        <a:pt x="21" y="200"/>
                      </a:lnTo>
                      <a:lnTo>
                        <a:pt x="21" y="199"/>
                      </a:lnTo>
                      <a:lnTo>
                        <a:pt x="21" y="200"/>
                      </a:lnTo>
                      <a:lnTo>
                        <a:pt x="22" y="200"/>
                      </a:lnTo>
                      <a:lnTo>
                        <a:pt x="22" y="199"/>
                      </a:lnTo>
                      <a:lnTo>
                        <a:pt x="24" y="199"/>
                      </a:lnTo>
                      <a:lnTo>
                        <a:pt x="24" y="197"/>
                      </a:lnTo>
                      <a:lnTo>
                        <a:pt x="26" y="197"/>
                      </a:lnTo>
                      <a:lnTo>
                        <a:pt x="27" y="195"/>
                      </a:lnTo>
                      <a:lnTo>
                        <a:pt x="27" y="197"/>
                      </a:lnTo>
                      <a:lnTo>
                        <a:pt x="27" y="195"/>
                      </a:lnTo>
                      <a:lnTo>
                        <a:pt x="29" y="195"/>
                      </a:lnTo>
                      <a:lnTo>
                        <a:pt x="31" y="195"/>
                      </a:lnTo>
                      <a:lnTo>
                        <a:pt x="31" y="197"/>
                      </a:lnTo>
                      <a:lnTo>
                        <a:pt x="32" y="197"/>
                      </a:lnTo>
                      <a:lnTo>
                        <a:pt x="32" y="195"/>
                      </a:lnTo>
                      <a:lnTo>
                        <a:pt x="34" y="194"/>
                      </a:lnTo>
                      <a:lnTo>
                        <a:pt x="36" y="194"/>
                      </a:lnTo>
                      <a:lnTo>
                        <a:pt x="37" y="192"/>
                      </a:lnTo>
                      <a:lnTo>
                        <a:pt x="39" y="192"/>
                      </a:lnTo>
                      <a:lnTo>
                        <a:pt x="39" y="194"/>
                      </a:lnTo>
                      <a:lnTo>
                        <a:pt x="39" y="195"/>
                      </a:lnTo>
                      <a:lnTo>
                        <a:pt x="41" y="195"/>
                      </a:lnTo>
                      <a:lnTo>
                        <a:pt x="42" y="195"/>
                      </a:lnTo>
                      <a:lnTo>
                        <a:pt x="42" y="194"/>
                      </a:lnTo>
                      <a:lnTo>
                        <a:pt x="44" y="194"/>
                      </a:lnTo>
                      <a:lnTo>
                        <a:pt x="44" y="192"/>
                      </a:lnTo>
                      <a:lnTo>
                        <a:pt x="46" y="192"/>
                      </a:lnTo>
                      <a:lnTo>
                        <a:pt x="46" y="194"/>
                      </a:lnTo>
                      <a:lnTo>
                        <a:pt x="48" y="194"/>
                      </a:lnTo>
                      <a:lnTo>
                        <a:pt x="49" y="194"/>
                      </a:lnTo>
                      <a:lnTo>
                        <a:pt x="51" y="192"/>
                      </a:lnTo>
                      <a:lnTo>
                        <a:pt x="53" y="192"/>
                      </a:lnTo>
                      <a:lnTo>
                        <a:pt x="54" y="192"/>
                      </a:lnTo>
                      <a:lnTo>
                        <a:pt x="53" y="192"/>
                      </a:lnTo>
                      <a:lnTo>
                        <a:pt x="54" y="192"/>
                      </a:lnTo>
                      <a:lnTo>
                        <a:pt x="54" y="191"/>
                      </a:lnTo>
                      <a:lnTo>
                        <a:pt x="56" y="191"/>
                      </a:lnTo>
                      <a:lnTo>
                        <a:pt x="58" y="191"/>
                      </a:lnTo>
                      <a:lnTo>
                        <a:pt x="58" y="192"/>
                      </a:lnTo>
                      <a:lnTo>
                        <a:pt x="59" y="191"/>
                      </a:lnTo>
                      <a:lnTo>
                        <a:pt x="59" y="189"/>
                      </a:lnTo>
                      <a:lnTo>
                        <a:pt x="61" y="189"/>
                      </a:lnTo>
                      <a:lnTo>
                        <a:pt x="61" y="187"/>
                      </a:lnTo>
                      <a:lnTo>
                        <a:pt x="59" y="187"/>
                      </a:lnTo>
                      <a:lnTo>
                        <a:pt x="59" y="186"/>
                      </a:lnTo>
                      <a:lnTo>
                        <a:pt x="61" y="184"/>
                      </a:lnTo>
                      <a:lnTo>
                        <a:pt x="63" y="182"/>
                      </a:lnTo>
                      <a:lnTo>
                        <a:pt x="64" y="182"/>
                      </a:lnTo>
                      <a:lnTo>
                        <a:pt x="66" y="181"/>
                      </a:lnTo>
                      <a:lnTo>
                        <a:pt x="64" y="181"/>
                      </a:lnTo>
                      <a:lnTo>
                        <a:pt x="66" y="181"/>
                      </a:lnTo>
                      <a:lnTo>
                        <a:pt x="68" y="179"/>
                      </a:lnTo>
                      <a:lnTo>
                        <a:pt x="68" y="177"/>
                      </a:lnTo>
                      <a:lnTo>
                        <a:pt x="70" y="177"/>
                      </a:lnTo>
                      <a:lnTo>
                        <a:pt x="68" y="177"/>
                      </a:lnTo>
                      <a:lnTo>
                        <a:pt x="68" y="176"/>
                      </a:lnTo>
                      <a:lnTo>
                        <a:pt x="66" y="174"/>
                      </a:lnTo>
                      <a:lnTo>
                        <a:pt x="66" y="172"/>
                      </a:lnTo>
                      <a:lnTo>
                        <a:pt x="64" y="172"/>
                      </a:lnTo>
                      <a:lnTo>
                        <a:pt x="64" y="171"/>
                      </a:lnTo>
                      <a:lnTo>
                        <a:pt x="63" y="171"/>
                      </a:lnTo>
                      <a:lnTo>
                        <a:pt x="61" y="171"/>
                      </a:lnTo>
                      <a:lnTo>
                        <a:pt x="59" y="171"/>
                      </a:lnTo>
                      <a:lnTo>
                        <a:pt x="59" y="169"/>
                      </a:lnTo>
                      <a:lnTo>
                        <a:pt x="58" y="169"/>
                      </a:lnTo>
                      <a:lnTo>
                        <a:pt x="58" y="171"/>
                      </a:lnTo>
                      <a:lnTo>
                        <a:pt x="56" y="171"/>
                      </a:lnTo>
                      <a:lnTo>
                        <a:pt x="56" y="169"/>
                      </a:lnTo>
                      <a:lnTo>
                        <a:pt x="54" y="169"/>
                      </a:lnTo>
                      <a:lnTo>
                        <a:pt x="53" y="169"/>
                      </a:lnTo>
                      <a:lnTo>
                        <a:pt x="51" y="169"/>
                      </a:lnTo>
                      <a:lnTo>
                        <a:pt x="51" y="171"/>
                      </a:lnTo>
                      <a:lnTo>
                        <a:pt x="49" y="171"/>
                      </a:lnTo>
                      <a:lnTo>
                        <a:pt x="49" y="169"/>
                      </a:lnTo>
                      <a:lnTo>
                        <a:pt x="49" y="168"/>
                      </a:lnTo>
                      <a:lnTo>
                        <a:pt x="48" y="168"/>
                      </a:lnTo>
                      <a:lnTo>
                        <a:pt x="46" y="168"/>
                      </a:lnTo>
                      <a:lnTo>
                        <a:pt x="46" y="169"/>
                      </a:lnTo>
                      <a:lnTo>
                        <a:pt x="46" y="171"/>
                      </a:lnTo>
                      <a:lnTo>
                        <a:pt x="44" y="169"/>
                      </a:lnTo>
                      <a:lnTo>
                        <a:pt x="42" y="169"/>
                      </a:lnTo>
                      <a:lnTo>
                        <a:pt x="42" y="171"/>
                      </a:lnTo>
                      <a:lnTo>
                        <a:pt x="41" y="171"/>
                      </a:lnTo>
                      <a:lnTo>
                        <a:pt x="39" y="171"/>
                      </a:lnTo>
                      <a:lnTo>
                        <a:pt x="37" y="171"/>
                      </a:lnTo>
                      <a:lnTo>
                        <a:pt x="37" y="172"/>
                      </a:lnTo>
                      <a:lnTo>
                        <a:pt x="36" y="174"/>
                      </a:lnTo>
                      <a:lnTo>
                        <a:pt x="36" y="172"/>
                      </a:lnTo>
                      <a:lnTo>
                        <a:pt x="34" y="172"/>
                      </a:lnTo>
                      <a:lnTo>
                        <a:pt x="34" y="174"/>
                      </a:lnTo>
                      <a:lnTo>
                        <a:pt x="34" y="172"/>
                      </a:lnTo>
                      <a:lnTo>
                        <a:pt x="34" y="171"/>
                      </a:lnTo>
                      <a:lnTo>
                        <a:pt x="32" y="171"/>
                      </a:lnTo>
                      <a:lnTo>
                        <a:pt x="31" y="171"/>
                      </a:lnTo>
                      <a:lnTo>
                        <a:pt x="31" y="169"/>
                      </a:lnTo>
                      <a:lnTo>
                        <a:pt x="29" y="171"/>
                      </a:lnTo>
                      <a:lnTo>
                        <a:pt x="29" y="172"/>
                      </a:lnTo>
                      <a:lnTo>
                        <a:pt x="27" y="172"/>
                      </a:lnTo>
                      <a:lnTo>
                        <a:pt x="27" y="171"/>
                      </a:lnTo>
                      <a:lnTo>
                        <a:pt x="26" y="171"/>
                      </a:lnTo>
                      <a:lnTo>
                        <a:pt x="24" y="171"/>
                      </a:lnTo>
                      <a:lnTo>
                        <a:pt x="22" y="171"/>
                      </a:lnTo>
                      <a:lnTo>
                        <a:pt x="22" y="169"/>
                      </a:lnTo>
                      <a:lnTo>
                        <a:pt x="24" y="169"/>
                      </a:lnTo>
                      <a:lnTo>
                        <a:pt x="22" y="169"/>
                      </a:lnTo>
                      <a:lnTo>
                        <a:pt x="22" y="168"/>
                      </a:lnTo>
                      <a:lnTo>
                        <a:pt x="24" y="168"/>
                      </a:lnTo>
                      <a:lnTo>
                        <a:pt x="24" y="166"/>
                      </a:lnTo>
                      <a:lnTo>
                        <a:pt x="22" y="166"/>
                      </a:lnTo>
                      <a:lnTo>
                        <a:pt x="21" y="166"/>
                      </a:lnTo>
                      <a:lnTo>
                        <a:pt x="21" y="164"/>
                      </a:lnTo>
                      <a:lnTo>
                        <a:pt x="19" y="163"/>
                      </a:lnTo>
                      <a:lnTo>
                        <a:pt x="17" y="161"/>
                      </a:lnTo>
                      <a:lnTo>
                        <a:pt x="17" y="163"/>
                      </a:lnTo>
                      <a:lnTo>
                        <a:pt x="15" y="161"/>
                      </a:lnTo>
                      <a:lnTo>
                        <a:pt x="17" y="161"/>
                      </a:lnTo>
                      <a:lnTo>
                        <a:pt x="17" y="159"/>
                      </a:lnTo>
                      <a:lnTo>
                        <a:pt x="15" y="159"/>
                      </a:lnTo>
                      <a:lnTo>
                        <a:pt x="15" y="158"/>
                      </a:lnTo>
                      <a:lnTo>
                        <a:pt x="15" y="156"/>
                      </a:lnTo>
                      <a:lnTo>
                        <a:pt x="15" y="154"/>
                      </a:lnTo>
                      <a:lnTo>
                        <a:pt x="14" y="154"/>
                      </a:lnTo>
                      <a:lnTo>
                        <a:pt x="15" y="154"/>
                      </a:lnTo>
                      <a:lnTo>
                        <a:pt x="14" y="154"/>
                      </a:lnTo>
                      <a:lnTo>
                        <a:pt x="14" y="153"/>
                      </a:lnTo>
                      <a:lnTo>
                        <a:pt x="12" y="153"/>
                      </a:lnTo>
                      <a:lnTo>
                        <a:pt x="10" y="153"/>
                      </a:lnTo>
                      <a:lnTo>
                        <a:pt x="9" y="153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9" y="151"/>
                      </a:lnTo>
                      <a:lnTo>
                        <a:pt x="9" y="149"/>
                      </a:lnTo>
                      <a:lnTo>
                        <a:pt x="10" y="149"/>
                      </a:lnTo>
                      <a:lnTo>
                        <a:pt x="12" y="149"/>
                      </a:lnTo>
                      <a:lnTo>
                        <a:pt x="14" y="149"/>
                      </a:lnTo>
                      <a:lnTo>
                        <a:pt x="15" y="148"/>
                      </a:lnTo>
                      <a:lnTo>
                        <a:pt x="17" y="148"/>
                      </a:lnTo>
                      <a:lnTo>
                        <a:pt x="17" y="149"/>
                      </a:lnTo>
                      <a:lnTo>
                        <a:pt x="17" y="148"/>
                      </a:lnTo>
                      <a:lnTo>
                        <a:pt x="19" y="149"/>
                      </a:lnTo>
                      <a:lnTo>
                        <a:pt x="19" y="148"/>
                      </a:lnTo>
                      <a:lnTo>
                        <a:pt x="19" y="149"/>
                      </a:lnTo>
                      <a:lnTo>
                        <a:pt x="21" y="149"/>
                      </a:lnTo>
                      <a:lnTo>
                        <a:pt x="22" y="149"/>
                      </a:lnTo>
                      <a:lnTo>
                        <a:pt x="22" y="148"/>
                      </a:lnTo>
                      <a:lnTo>
                        <a:pt x="24" y="148"/>
                      </a:lnTo>
                      <a:lnTo>
                        <a:pt x="24" y="146"/>
                      </a:lnTo>
                      <a:lnTo>
                        <a:pt x="26" y="146"/>
                      </a:lnTo>
                      <a:lnTo>
                        <a:pt x="26" y="145"/>
                      </a:lnTo>
                      <a:lnTo>
                        <a:pt x="27" y="145"/>
                      </a:lnTo>
                      <a:lnTo>
                        <a:pt x="29" y="145"/>
                      </a:lnTo>
                      <a:lnTo>
                        <a:pt x="31" y="145"/>
                      </a:lnTo>
                      <a:lnTo>
                        <a:pt x="32" y="145"/>
                      </a:lnTo>
                      <a:lnTo>
                        <a:pt x="34" y="145"/>
                      </a:lnTo>
                      <a:lnTo>
                        <a:pt x="36" y="143"/>
                      </a:lnTo>
                      <a:lnTo>
                        <a:pt x="37" y="143"/>
                      </a:lnTo>
                      <a:lnTo>
                        <a:pt x="37" y="141"/>
                      </a:lnTo>
                      <a:lnTo>
                        <a:pt x="39" y="141"/>
                      </a:lnTo>
                      <a:lnTo>
                        <a:pt x="39" y="140"/>
                      </a:lnTo>
                      <a:lnTo>
                        <a:pt x="41" y="140"/>
                      </a:lnTo>
                      <a:lnTo>
                        <a:pt x="41" y="138"/>
                      </a:lnTo>
                      <a:lnTo>
                        <a:pt x="42" y="138"/>
                      </a:lnTo>
                      <a:lnTo>
                        <a:pt x="44" y="138"/>
                      </a:lnTo>
                      <a:lnTo>
                        <a:pt x="46" y="138"/>
                      </a:lnTo>
                      <a:lnTo>
                        <a:pt x="48" y="138"/>
                      </a:lnTo>
                      <a:lnTo>
                        <a:pt x="48" y="140"/>
                      </a:lnTo>
                      <a:lnTo>
                        <a:pt x="49" y="140"/>
                      </a:lnTo>
                      <a:lnTo>
                        <a:pt x="49" y="138"/>
                      </a:lnTo>
                      <a:lnTo>
                        <a:pt x="51" y="138"/>
                      </a:lnTo>
                      <a:lnTo>
                        <a:pt x="53" y="138"/>
                      </a:lnTo>
                      <a:lnTo>
                        <a:pt x="54" y="138"/>
                      </a:lnTo>
                      <a:lnTo>
                        <a:pt x="56" y="138"/>
                      </a:lnTo>
                      <a:lnTo>
                        <a:pt x="56" y="136"/>
                      </a:lnTo>
                      <a:lnTo>
                        <a:pt x="56" y="138"/>
                      </a:lnTo>
                      <a:lnTo>
                        <a:pt x="58" y="136"/>
                      </a:lnTo>
                      <a:lnTo>
                        <a:pt x="59" y="136"/>
                      </a:lnTo>
                      <a:lnTo>
                        <a:pt x="59" y="138"/>
                      </a:lnTo>
                      <a:lnTo>
                        <a:pt x="59" y="136"/>
                      </a:lnTo>
                      <a:lnTo>
                        <a:pt x="59" y="138"/>
                      </a:lnTo>
                      <a:lnTo>
                        <a:pt x="59" y="140"/>
                      </a:lnTo>
                      <a:lnTo>
                        <a:pt x="61" y="138"/>
                      </a:lnTo>
                      <a:lnTo>
                        <a:pt x="61" y="140"/>
                      </a:lnTo>
                      <a:lnTo>
                        <a:pt x="61" y="138"/>
                      </a:lnTo>
                      <a:lnTo>
                        <a:pt x="61" y="140"/>
                      </a:lnTo>
                      <a:lnTo>
                        <a:pt x="63" y="138"/>
                      </a:lnTo>
                      <a:lnTo>
                        <a:pt x="64" y="138"/>
                      </a:lnTo>
                      <a:lnTo>
                        <a:pt x="66" y="136"/>
                      </a:lnTo>
                      <a:lnTo>
                        <a:pt x="68" y="136"/>
                      </a:lnTo>
                      <a:lnTo>
                        <a:pt x="66" y="136"/>
                      </a:lnTo>
                      <a:lnTo>
                        <a:pt x="68" y="135"/>
                      </a:lnTo>
                      <a:lnTo>
                        <a:pt x="68" y="136"/>
                      </a:lnTo>
                      <a:lnTo>
                        <a:pt x="68" y="135"/>
                      </a:lnTo>
                      <a:lnTo>
                        <a:pt x="68" y="136"/>
                      </a:lnTo>
                      <a:lnTo>
                        <a:pt x="70" y="136"/>
                      </a:lnTo>
                      <a:lnTo>
                        <a:pt x="70" y="135"/>
                      </a:lnTo>
                      <a:lnTo>
                        <a:pt x="71" y="135"/>
                      </a:lnTo>
                      <a:lnTo>
                        <a:pt x="71" y="133"/>
                      </a:lnTo>
                      <a:lnTo>
                        <a:pt x="73" y="135"/>
                      </a:lnTo>
                      <a:lnTo>
                        <a:pt x="73" y="133"/>
                      </a:lnTo>
                      <a:lnTo>
                        <a:pt x="73" y="131"/>
                      </a:lnTo>
                      <a:lnTo>
                        <a:pt x="75" y="131"/>
                      </a:lnTo>
                      <a:lnTo>
                        <a:pt x="75" y="130"/>
                      </a:lnTo>
                      <a:lnTo>
                        <a:pt x="75" y="131"/>
                      </a:lnTo>
                      <a:lnTo>
                        <a:pt x="76" y="131"/>
                      </a:lnTo>
                      <a:lnTo>
                        <a:pt x="76" y="130"/>
                      </a:lnTo>
                      <a:lnTo>
                        <a:pt x="78" y="130"/>
                      </a:lnTo>
                      <a:lnTo>
                        <a:pt x="80" y="130"/>
                      </a:lnTo>
                      <a:lnTo>
                        <a:pt x="80" y="128"/>
                      </a:lnTo>
                      <a:lnTo>
                        <a:pt x="81" y="128"/>
                      </a:lnTo>
                      <a:lnTo>
                        <a:pt x="83" y="128"/>
                      </a:lnTo>
                      <a:lnTo>
                        <a:pt x="83" y="130"/>
                      </a:lnTo>
                      <a:lnTo>
                        <a:pt x="85" y="130"/>
                      </a:lnTo>
                      <a:lnTo>
                        <a:pt x="85" y="128"/>
                      </a:lnTo>
                      <a:lnTo>
                        <a:pt x="85" y="130"/>
                      </a:lnTo>
                      <a:lnTo>
                        <a:pt x="85" y="128"/>
                      </a:lnTo>
                      <a:lnTo>
                        <a:pt x="86" y="128"/>
                      </a:lnTo>
                      <a:lnTo>
                        <a:pt x="88" y="128"/>
                      </a:lnTo>
                      <a:lnTo>
                        <a:pt x="90" y="126"/>
                      </a:lnTo>
                      <a:lnTo>
                        <a:pt x="91" y="126"/>
                      </a:lnTo>
                      <a:lnTo>
                        <a:pt x="93" y="125"/>
                      </a:lnTo>
                      <a:lnTo>
                        <a:pt x="95" y="125"/>
                      </a:lnTo>
                      <a:lnTo>
                        <a:pt x="95" y="123"/>
                      </a:lnTo>
                      <a:lnTo>
                        <a:pt x="97" y="123"/>
                      </a:lnTo>
                      <a:lnTo>
                        <a:pt x="97" y="125"/>
                      </a:lnTo>
                      <a:lnTo>
                        <a:pt x="97" y="123"/>
                      </a:lnTo>
                      <a:lnTo>
                        <a:pt x="98" y="123"/>
                      </a:lnTo>
                      <a:lnTo>
                        <a:pt x="100" y="123"/>
                      </a:lnTo>
                      <a:lnTo>
                        <a:pt x="102" y="123"/>
                      </a:lnTo>
                      <a:lnTo>
                        <a:pt x="102" y="122"/>
                      </a:lnTo>
                      <a:lnTo>
                        <a:pt x="103" y="122"/>
                      </a:lnTo>
                      <a:lnTo>
                        <a:pt x="105" y="122"/>
                      </a:lnTo>
                      <a:lnTo>
                        <a:pt x="105" y="120"/>
                      </a:lnTo>
                      <a:lnTo>
                        <a:pt x="107" y="122"/>
                      </a:lnTo>
                      <a:lnTo>
                        <a:pt x="107" y="120"/>
                      </a:lnTo>
                      <a:lnTo>
                        <a:pt x="107" y="122"/>
                      </a:lnTo>
                      <a:lnTo>
                        <a:pt x="108" y="123"/>
                      </a:lnTo>
                      <a:lnTo>
                        <a:pt x="110" y="123"/>
                      </a:lnTo>
                      <a:lnTo>
                        <a:pt x="110" y="122"/>
                      </a:lnTo>
                      <a:lnTo>
                        <a:pt x="112" y="122"/>
                      </a:lnTo>
                      <a:lnTo>
                        <a:pt x="113" y="122"/>
                      </a:lnTo>
                      <a:lnTo>
                        <a:pt x="115" y="122"/>
                      </a:lnTo>
                      <a:lnTo>
                        <a:pt x="115" y="123"/>
                      </a:lnTo>
                      <a:lnTo>
                        <a:pt x="115" y="122"/>
                      </a:lnTo>
                      <a:lnTo>
                        <a:pt x="117" y="122"/>
                      </a:lnTo>
                      <a:lnTo>
                        <a:pt x="117" y="120"/>
                      </a:lnTo>
                      <a:lnTo>
                        <a:pt x="118" y="120"/>
                      </a:lnTo>
                      <a:lnTo>
                        <a:pt x="118" y="122"/>
                      </a:lnTo>
                      <a:lnTo>
                        <a:pt x="120" y="122"/>
                      </a:lnTo>
                      <a:lnTo>
                        <a:pt x="122" y="122"/>
                      </a:lnTo>
                      <a:lnTo>
                        <a:pt x="122" y="120"/>
                      </a:lnTo>
                      <a:lnTo>
                        <a:pt x="124" y="120"/>
                      </a:lnTo>
                      <a:lnTo>
                        <a:pt x="124" y="122"/>
                      </a:lnTo>
                      <a:lnTo>
                        <a:pt x="125" y="122"/>
                      </a:lnTo>
                      <a:lnTo>
                        <a:pt x="125" y="123"/>
                      </a:lnTo>
                      <a:lnTo>
                        <a:pt x="125" y="122"/>
                      </a:lnTo>
                      <a:lnTo>
                        <a:pt x="127" y="122"/>
                      </a:lnTo>
                      <a:lnTo>
                        <a:pt x="129" y="122"/>
                      </a:lnTo>
                      <a:lnTo>
                        <a:pt x="130" y="120"/>
                      </a:lnTo>
                      <a:lnTo>
                        <a:pt x="130" y="122"/>
                      </a:lnTo>
                      <a:lnTo>
                        <a:pt x="132" y="122"/>
                      </a:lnTo>
                      <a:lnTo>
                        <a:pt x="134" y="122"/>
                      </a:lnTo>
                      <a:lnTo>
                        <a:pt x="135" y="122"/>
                      </a:lnTo>
                      <a:lnTo>
                        <a:pt x="135" y="120"/>
                      </a:lnTo>
                      <a:lnTo>
                        <a:pt x="137" y="120"/>
                      </a:lnTo>
                      <a:lnTo>
                        <a:pt x="139" y="120"/>
                      </a:lnTo>
                      <a:lnTo>
                        <a:pt x="139" y="118"/>
                      </a:lnTo>
                      <a:lnTo>
                        <a:pt x="140" y="118"/>
                      </a:lnTo>
                      <a:lnTo>
                        <a:pt x="142" y="118"/>
                      </a:lnTo>
                      <a:lnTo>
                        <a:pt x="144" y="117"/>
                      </a:lnTo>
                      <a:lnTo>
                        <a:pt x="144" y="115"/>
                      </a:lnTo>
                      <a:lnTo>
                        <a:pt x="146" y="115"/>
                      </a:lnTo>
                      <a:lnTo>
                        <a:pt x="147" y="115"/>
                      </a:lnTo>
                      <a:lnTo>
                        <a:pt x="149" y="115"/>
                      </a:lnTo>
                      <a:lnTo>
                        <a:pt x="149" y="117"/>
                      </a:lnTo>
                      <a:lnTo>
                        <a:pt x="151" y="117"/>
                      </a:lnTo>
                      <a:lnTo>
                        <a:pt x="152" y="115"/>
                      </a:lnTo>
                      <a:lnTo>
                        <a:pt x="154" y="115"/>
                      </a:lnTo>
                      <a:lnTo>
                        <a:pt x="156" y="115"/>
                      </a:lnTo>
                      <a:lnTo>
                        <a:pt x="157" y="115"/>
                      </a:lnTo>
                      <a:lnTo>
                        <a:pt x="157" y="117"/>
                      </a:lnTo>
                      <a:lnTo>
                        <a:pt x="157" y="118"/>
                      </a:lnTo>
                      <a:lnTo>
                        <a:pt x="159" y="117"/>
                      </a:lnTo>
                      <a:lnTo>
                        <a:pt x="159" y="118"/>
                      </a:lnTo>
                      <a:lnTo>
                        <a:pt x="161" y="118"/>
                      </a:lnTo>
                      <a:lnTo>
                        <a:pt x="161" y="117"/>
                      </a:lnTo>
                      <a:lnTo>
                        <a:pt x="162" y="117"/>
                      </a:lnTo>
                      <a:lnTo>
                        <a:pt x="164" y="117"/>
                      </a:lnTo>
                      <a:lnTo>
                        <a:pt x="164" y="118"/>
                      </a:lnTo>
                      <a:lnTo>
                        <a:pt x="166" y="117"/>
                      </a:lnTo>
                      <a:lnTo>
                        <a:pt x="166" y="118"/>
                      </a:lnTo>
                      <a:lnTo>
                        <a:pt x="166" y="117"/>
                      </a:lnTo>
                      <a:lnTo>
                        <a:pt x="167" y="117"/>
                      </a:lnTo>
                      <a:lnTo>
                        <a:pt x="166" y="118"/>
                      </a:lnTo>
                      <a:lnTo>
                        <a:pt x="167" y="118"/>
                      </a:lnTo>
                      <a:lnTo>
                        <a:pt x="166" y="118"/>
                      </a:lnTo>
                      <a:lnTo>
                        <a:pt x="166" y="120"/>
                      </a:lnTo>
                      <a:lnTo>
                        <a:pt x="166" y="122"/>
                      </a:lnTo>
                      <a:lnTo>
                        <a:pt x="164" y="122"/>
                      </a:lnTo>
                      <a:lnTo>
                        <a:pt x="164" y="123"/>
                      </a:lnTo>
                      <a:lnTo>
                        <a:pt x="166" y="123"/>
                      </a:lnTo>
                      <a:lnTo>
                        <a:pt x="166" y="125"/>
                      </a:lnTo>
                      <a:lnTo>
                        <a:pt x="167" y="125"/>
                      </a:lnTo>
                      <a:lnTo>
                        <a:pt x="167" y="123"/>
                      </a:lnTo>
                      <a:lnTo>
                        <a:pt x="169" y="122"/>
                      </a:lnTo>
                      <a:lnTo>
                        <a:pt x="171" y="123"/>
                      </a:lnTo>
                      <a:lnTo>
                        <a:pt x="171" y="122"/>
                      </a:lnTo>
                      <a:lnTo>
                        <a:pt x="173" y="123"/>
                      </a:lnTo>
                      <a:lnTo>
                        <a:pt x="173" y="122"/>
                      </a:lnTo>
                      <a:lnTo>
                        <a:pt x="174" y="122"/>
                      </a:lnTo>
                      <a:lnTo>
                        <a:pt x="176" y="122"/>
                      </a:lnTo>
                      <a:lnTo>
                        <a:pt x="176" y="120"/>
                      </a:lnTo>
                      <a:lnTo>
                        <a:pt x="176" y="118"/>
                      </a:lnTo>
                      <a:lnTo>
                        <a:pt x="178" y="118"/>
                      </a:lnTo>
                      <a:lnTo>
                        <a:pt x="179" y="117"/>
                      </a:lnTo>
                      <a:lnTo>
                        <a:pt x="179" y="118"/>
                      </a:lnTo>
                      <a:lnTo>
                        <a:pt x="181" y="117"/>
                      </a:lnTo>
                      <a:lnTo>
                        <a:pt x="183" y="117"/>
                      </a:lnTo>
                      <a:lnTo>
                        <a:pt x="183" y="115"/>
                      </a:lnTo>
                      <a:lnTo>
                        <a:pt x="183" y="117"/>
                      </a:lnTo>
                      <a:lnTo>
                        <a:pt x="184" y="115"/>
                      </a:lnTo>
                      <a:lnTo>
                        <a:pt x="186" y="115"/>
                      </a:lnTo>
                      <a:lnTo>
                        <a:pt x="188" y="113"/>
                      </a:lnTo>
                      <a:lnTo>
                        <a:pt x="189" y="113"/>
                      </a:lnTo>
                      <a:lnTo>
                        <a:pt x="189" y="112"/>
                      </a:lnTo>
                      <a:lnTo>
                        <a:pt x="191" y="110"/>
                      </a:lnTo>
                      <a:lnTo>
                        <a:pt x="193" y="110"/>
                      </a:lnTo>
                      <a:lnTo>
                        <a:pt x="194" y="110"/>
                      </a:lnTo>
                      <a:lnTo>
                        <a:pt x="194" y="108"/>
                      </a:lnTo>
                      <a:lnTo>
                        <a:pt x="198" y="108"/>
                      </a:lnTo>
                      <a:lnTo>
                        <a:pt x="200" y="107"/>
                      </a:lnTo>
                      <a:lnTo>
                        <a:pt x="201" y="107"/>
                      </a:lnTo>
                      <a:lnTo>
                        <a:pt x="203" y="107"/>
                      </a:lnTo>
                      <a:lnTo>
                        <a:pt x="206" y="105"/>
                      </a:lnTo>
                      <a:lnTo>
                        <a:pt x="210" y="103"/>
                      </a:lnTo>
                      <a:lnTo>
                        <a:pt x="211" y="102"/>
                      </a:lnTo>
                      <a:lnTo>
                        <a:pt x="213" y="102"/>
                      </a:lnTo>
                      <a:lnTo>
                        <a:pt x="215" y="102"/>
                      </a:lnTo>
                      <a:lnTo>
                        <a:pt x="216" y="102"/>
                      </a:lnTo>
                      <a:lnTo>
                        <a:pt x="216" y="100"/>
                      </a:lnTo>
                      <a:lnTo>
                        <a:pt x="216" y="102"/>
                      </a:lnTo>
                      <a:lnTo>
                        <a:pt x="218" y="100"/>
                      </a:lnTo>
                      <a:lnTo>
                        <a:pt x="223" y="97"/>
                      </a:lnTo>
                      <a:lnTo>
                        <a:pt x="227" y="97"/>
                      </a:lnTo>
                      <a:lnTo>
                        <a:pt x="228" y="95"/>
                      </a:lnTo>
                      <a:lnTo>
                        <a:pt x="230" y="95"/>
                      </a:lnTo>
                      <a:lnTo>
                        <a:pt x="232" y="94"/>
                      </a:lnTo>
                      <a:lnTo>
                        <a:pt x="233" y="94"/>
                      </a:lnTo>
                      <a:lnTo>
                        <a:pt x="237" y="92"/>
                      </a:lnTo>
                      <a:lnTo>
                        <a:pt x="238" y="92"/>
                      </a:lnTo>
                      <a:lnTo>
                        <a:pt x="238" y="90"/>
                      </a:lnTo>
                      <a:lnTo>
                        <a:pt x="240" y="90"/>
                      </a:lnTo>
                      <a:lnTo>
                        <a:pt x="242" y="90"/>
                      </a:lnTo>
                      <a:lnTo>
                        <a:pt x="243" y="90"/>
                      </a:lnTo>
                      <a:lnTo>
                        <a:pt x="245" y="89"/>
                      </a:lnTo>
                      <a:lnTo>
                        <a:pt x="247" y="89"/>
                      </a:lnTo>
                      <a:lnTo>
                        <a:pt x="249" y="89"/>
                      </a:lnTo>
                      <a:lnTo>
                        <a:pt x="249" y="87"/>
                      </a:lnTo>
                      <a:lnTo>
                        <a:pt x="249" y="85"/>
                      </a:lnTo>
                      <a:lnTo>
                        <a:pt x="247" y="85"/>
                      </a:lnTo>
                      <a:lnTo>
                        <a:pt x="247" y="84"/>
                      </a:lnTo>
                      <a:lnTo>
                        <a:pt x="245" y="82"/>
                      </a:lnTo>
                      <a:lnTo>
                        <a:pt x="245" y="84"/>
                      </a:lnTo>
                      <a:lnTo>
                        <a:pt x="245" y="82"/>
                      </a:lnTo>
                      <a:lnTo>
                        <a:pt x="245" y="84"/>
                      </a:lnTo>
                      <a:lnTo>
                        <a:pt x="243" y="82"/>
                      </a:lnTo>
                      <a:lnTo>
                        <a:pt x="243" y="84"/>
                      </a:lnTo>
                      <a:lnTo>
                        <a:pt x="243" y="82"/>
                      </a:lnTo>
                      <a:lnTo>
                        <a:pt x="242" y="84"/>
                      </a:lnTo>
                      <a:lnTo>
                        <a:pt x="242" y="82"/>
                      </a:lnTo>
                      <a:lnTo>
                        <a:pt x="240" y="82"/>
                      </a:lnTo>
                      <a:lnTo>
                        <a:pt x="238" y="82"/>
                      </a:lnTo>
                      <a:lnTo>
                        <a:pt x="238" y="80"/>
                      </a:lnTo>
                      <a:lnTo>
                        <a:pt x="240" y="80"/>
                      </a:lnTo>
                      <a:lnTo>
                        <a:pt x="240" y="79"/>
                      </a:lnTo>
                      <a:lnTo>
                        <a:pt x="238" y="80"/>
                      </a:lnTo>
                      <a:lnTo>
                        <a:pt x="238" y="79"/>
                      </a:lnTo>
                      <a:lnTo>
                        <a:pt x="240" y="79"/>
                      </a:lnTo>
                      <a:lnTo>
                        <a:pt x="240" y="77"/>
                      </a:lnTo>
                      <a:lnTo>
                        <a:pt x="242" y="76"/>
                      </a:lnTo>
                      <a:lnTo>
                        <a:pt x="243" y="76"/>
                      </a:lnTo>
                      <a:lnTo>
                        <a:pt x="243" y="74"/>
                      </a:lnTo>
                      <a:lnTo>
                        <a:pt x="242" y="74"/>
                      </a:lnTo>
                      <a:lnTo>
                        <a:pt x="243" y="74"/>
                      </a:lnTo>
                      <a:lnTo>
                        <a:pt x="245" y="74"/>
                      </a:lnTo>
                      <a:lnTo>
                        <a:pt x="245" y="72"/>
                      </a:lnTo>
                      <a:lnTo>
                        <a:pt x="245" y="71"/>
                      </a:lnTo>
                      <a:lnTo>
                        <a:pt x="247" y="71"/>
                      </a:lnTo>
                      <a:lnTo>
                        <a:pt x="247" y="69"/>
                      </a:lnTo>
                      <a:lnTo>
                        <a:pt x="249" y="69"/>
                      </a:lnTo>
                      <a:lnTo>
                        <a:pt x="249" y="67"/>
                      </a:lnTo>
                      <a:lnTo>
                        <a:pt x="250" y="67"/>
                      </a:lnTo>
                      <a:lnTo>
                        <a:pt x="249" y="67"/>
                      </a:lnTo>
                      <a:lnTo>
                        <a:pt x="249" y="66"/>
                      </a:lnTo>
                      <a:lnTo>
                        <a:pt x="247" y="66"/>
                      </a:lnTo>
                      <a:lnTo>
                        <a:pt x="247" y="64"/>
                      </a:lnTo>
                      <a:lnTo>
                        <a:pt x="247" y="62"/>
                      </a:lnTo>
                      <a:lnTo>
                        <a:pt x="247" y="61"/>
                      </a:lnTo>
                      <a:lnTo>
                        <a:pt x="249" y="61"/>
                      </a:lnTo>
                      <a:lnTo>
                        <a:pt x="247" y="61"/>
                      </a:lnTo>
                      <a:lnTo>
                        <a:pt x="247" y="59"/>
                      </a:lnTo>
                      <a:lnTo>
                        <a:pt x="249" y="59"/>
                      </a:lnTo>
                      <a:lnTo>
                        <a:pt x="249" y="61"/>
                      </a:lnTo>
                      <a:lnTo>
                        <a:pt x="250" y="61"/>
                      </a:lnTo>
                      <a:lnTo>
                        <a:pt x="250" y="59"/>
                      </a:lnTo>
                      <a:lnTo>
                        <a:pt x="252" y="59"/>
                      </a:lnTo>
                      <a:lnTo>
                        <a:pt x="250" y="59"/>
                      </a:lnTo>
                      <a:lnTo>
                        <a:pt x="250" y="58"/>
                      </a:lnTo>
                      <a:lnTo>
                        <a:pt x="250" y="56"/>
                      </a:lnTo>
                      <a:lnTo>
                        <a:pt x="252" y="56"/>
                      </a:lnTo>
                      <a:lnTo>
                        <a:pt x="252" y="54"/>
                      </a:lnTo>
                      <a:lnTo>
                        <a:pt x="252" y="53"/>
                      </a:lnTo>
                      <a:lnTo>
                        <a:pt x="252" y="51"/>
                      </a:lnTo>
                      <a:lnTo>
                        <a:pt x="252" y="49"/>
                      </a:lnTo>
                      <a:lnTo>
                        <a:pt x="252" y="48"/>
                      </a:lnTo>
                      <a:lnTo>
                        <a:pt x="254" y="48"/>
                      </a:lnTo>
                      <a:lnTo>
                        <a:pt x="254" y="46"/>
                      </a:lnTo>
                      <a:lnTo>
                        <a:pt x="255" y="46"/>
                      </a:lnTo>
                      <a:lnTo>
                        <a:pt x="255" y="44"/>
                      </a:lnTo>
                      <a:lnTo>
                        <a:pt x="255" y="43"/>
                      </a:lnTo>
                      <a:lnTo>
                        <a:pt x="255" y="41"/>
                      </a:lnTo>
                      <a:lnTo>
                        <a:pt x="255" y="39"/>
                      </a:lnTo>
                      <a:lnTo>
                        <a:pt x="254" y="39"/>
                      </a:lnTo>
                      <a:lnTo>
                        <a:pt x="255" y="38"/>
                      </a:lnTo>
                      <a:lnTo>
                        <a:pt x="255" y="36"/>
                      </a:lnTo>
                      <a:lnTo>
                        <a:pt x="257" y="36"/>
                      </a:lnTo>
                      <a:lnTo>
                        <a:pt x="257" y="35"/>
                      </a:lnTo>
                      <a:lnTo>
                        <a:pt x="257" y="33"/>
                      </a:lnTo>
                      <a:lnTo>
                        <a:pt x="259" y="31"/>
                      </a:lnTo>
                      <a:lnTo>
                        <a:pt x="260" y="31"/>
                      </a:lnTo>
                      <a:lnTo>
                        <a:pt x="262" y="31"/>
                      </a:lnTo>
                      <a:lnTo>
                        <a:pt x="262" y="30"/>
                      </a:lnTo>
                      <a:lnTo>
                        <a:pt x="260" y="30"/>
                      </a:lnTo>
                      <a:lnTo>
                        <a:pt x="262" y="30"/>
                      </a:lnTo>
                      <a:lnTo>
                        <a:pt x="262" y="28"/>
                      </a:lnTo>
                      <a:lnTo>
                        <a:pt x="264" y="28"/>
                      </a:lnTo>
                      <a:lnTo>
                        <a:pt x="264" y="26"/>
                      </a:lnTo>
                      <a:lnTo>
                        <a:pt x="264" y="25"/>
                      </a:lnTo>
                      <a:lnTo>
                        <a:pt x="265" y="26"/>
                      </a:lnTo>
                      <a:lnTo>
                        <a:pt x="265" y="25"/>
                      </a:lnTo>
                      <a:lnTo>
                        <a:pt x="264" y="23"/>
                      </a:lnTo>
                      <a:lnTo>
                        <a:pt x="262" y="23"/>
                      </a:lnTo>
                      <a:lnTo>
                        <a:pt x="262" y="21"/>
                      </a:lnTo>
                      <a:lnTo>
                        <a:pt x="260" y="21"/>
                      </a:lnTo>
                      <a:lnTo>
                        <a:pt x="259" y="20"/>
                      </a:lnTo>
                      <a:lnTo>
                        <a:pt x="260" y="20"/>
                      </a:lnTo>
                      <a:lnTo>
                        <a:pt x="259" y="20"/>
                      </a:lnTo>
                      <a:lnTo>
                        <a:pt x="260" y="20"/>
                      </a:lnTo>
                      <a:lnTo>
                        <a:pt x="260" y="18"/>
                      </a:lnTo>
                      <a:lnTo>
                        <a:pt x="262" y="18"/>
                      </a:lnTo>
                      <a:lnTo>
                        <a:pt x="264" y="18"/>
                      </a:lnTo>
                      <a:lnTo>
                        <a:pt x="262" y="18"/>
                      </a:lnTo>
                      <a:lnTo>
                        <a:pt x="264" y="18"/>
                      </a:lnTo>
                      <a:lnTo>
                        <a:pt x="264" y="16"/>
                      </a:lnTo>
                      <a:lnTo>
                        <a:pt x="265" y="16"/>
                      </a:lnTo>
                      <a:lnTo>
                        <a:pt x="267" y="16"/>
                      </a:lnTo>
                      <a:lnTo>
                        <a:pt x="269" y="16"/>
                      </a:lnTo>
                      <a:lnTo>
                        <a:pt x="270" y="15"/>
                      </a:lnTo>
                      <a:lnTo>
                        <a:pt x="270" y="16"/>
                      </a:lnTo>
                      <a:lnTo>
                        <a:pt x="272" y="15"/>
                      </a:lnTo>
                      <a:lnTo>
                        <a:pt x="272" y="16"/>
                      </a:lnTo>
                      <a:lnTo>
                        <a:pt x="274" y="16"/>
                      </a:lnTo>
                      <a:lnTo>
                        <a:pt x="274" y="15"/>
                      </a:lnTo>
                      <a:lnTo>
                        <a:pt x="274" y="16"/>
                      </a:lnTo>
                      <a:lnTo>
                        <a:pt x="276" y="16"/>
                      </a:lnTo>
                      <a:lnTo>
                        <a:pt x="276" y="15"/>
                      </a:lnTo>
                      <a:lnTo>
                        <a:pt x="277" y="15"/>
                      </a:lnTo>
                      <a:lnTo>
                        <a:pt x="277" y="13"/>
                      </a:lnTo>
                      <a:lnTo>
                        <a:pt x="277" y="12"/>
                      </a:lnTo>
                      <a:lnTo>
                        <a:pt x="279" y="12"/>
                      </a:lnTo>
                      <a:lnTo>
                        <a:pt x="279" y="10"/>
                      </a:lnTo>
                      <a:lnTo>
                        <a:pt x="279" y="8"/>
                      </a:lnTo>
                      <a:lnTo>
                        <a:pt x="281" y="8"/>
                      </a:lnTo>
                      <a:lnTo>
                        <a:pt x="281" y="7"/>
                      </a:lnTo>
                      <a:lnTo>
                        <a:pt x="281" y="5"/>
                      </a:lnTo>
                      <a:lnTo>
                        <a:pt x="281" y="3"/>
                      </a:lnTo>
                      <a:lnTo>
                        <a:pt x="282" y="3"/>
                      </a:lnTo>
                      <a:lnTo>
                        <a:pt x="284" y="3"/>
                      </a:lnTo>
                      <a:lnTo>
                        <a:pt x="284" y="2"/>
                      </a:lnTo>
                      <a:lnTo>
                        <a:pt x="286" y="2"/>
                      </a:lnTo>
                      <a:lnTo>
                        <a:pt x="286" y="0"/>
                      </a:lnTo>
                      <a:lnTo>
                        <a:pt x="287" y="0"/>
                      </a:lnTo>
                      <a:lnTo>
                        <a:pt x="287" y="2"/>
                      </a:lnTo>
                      <a:lnTo>
                        <a:pt x="289" y="2"/>
                      </a:lnTo>
                      <a:lnTo>
                        <a:pt x="291" y="3"/>
                      </a:lnTo>
                      <a:lnTo>
                        <a:pt x="292" y="3"/>
                      </a:lnTo>
                      <a:lnTo>
                        <a:pt x="291" y="3"/>
                      </a:lnTo>
                      <a:lnTo>
                        <a:pt x="291" y="5"/>
                      </a:lnTo>
                      <a:lnTo>
                        <a:pt x="292" y="3"/>
                      </a:lnTo>
                      <a:lnTo>
                        <a:pt x="292" y="5"/>
                      </a:lnTo>
                      <a:lnTo>
                        <a:pt x="294" y="3"/>
                      </a:lnTo>
                      <a:lnTo>
                        <a:pt x="296" y="3"/>
                      </a:lnTo>
                      <a:lnTo>
                        <a:pt x="296" y="5"/>
                      </a:lnTo>
                      <a:lnTo>
                        <a:pt x="298" y="5"/>
                      </a:lnTo>
                      <a:lnTo>
                        <a:pt x="299" y="5"/>
                      </a:lnTo>
                      <a:lnTo>
                        <a:pt x="298" y="7"/>
                      </a:lnTo>
                      <a:lnTo>
                        <a:pt x="299" y="7"/>
                      </a:lnTo>
                      <a:lnTo>
                        <a:pt x="298" y="7"/>
                      </a:lnTo>
                      <a:lnTo>
                        <a:pt x="299" y="7"/>
                      </a:lnTo>
                      <a:lnTo>
                        <a:pt x="298" y="8"/>
                      </a:lnTo>
                      <a:lnTo>
                        <a:pt x="299" y="8"/>
                      </a:lnTo>
                      <a:lnTo>
                        <a:pt x="298" y="8"/>
                      </a:lnTo>
                      <a:lnTo>
                        <a:pt x="298" y="10"/>
                      </a:lnTo>
                      <a:lnTo>
                        <a:pt x="299" y="10"/>
                      </a:lnTo>
                      <a:lnTo>
                        <a:pt x="298" y="10"/>
                      </a:lnTo>
                      <a:lnTo>
                        <a:pt x="299" y="10"/>
                      </a:lnTo>
                      <a:lnTo>
                        <a:pt x="298" y="10"/>
                      </a:lnTo>
                      <a:lnTo>
                        <a:pt x="298" y="12"/>
                      </a:lnTo>
                      <a:lnTo>
                        <a:pt x="296" y="12"/>
                      </a:lnTo>
                      <a:lnTo>
                        <a:pt x="296" y="13"/>
                      </a:lnTo>
                      <a:lnTo>
                        <a:pt x="294" y="13"/>
                      </a:lnTo>
                      <a:lnTo>
                        <a:pt x="294" y="15"/>
                      </a:lnTo>
                      <a:lnTo>
                        <a:pt x="292" y="15"/>
                      </a:lnTo>
                      <a:lnTo>
                        <a:pt x="292" y="16"/>
                      </a:lnTo>
                      <a:lnTo>
                        <a:pt x="291" y="16"/>
                      </a:lnTo>
                      <a:lnTo>
                        <a:pt x="292" y="18"/>
                      </a:lnTo>
                      <a:lnTo>
                        <a:pt x="294" y="18"/>
                      </a:lnTo>
                      <a:lnTo>
                        <a:pt x="294" y="20"/>
                      </a:lnTo>
                      <a:lnTo>
                        <a:pt x="292" y="20"/>
                      </a:lnTo>
                      <a:lnTo>
                        <a:pt x="292" y="21"/>
                      </a:lnTo>
                      <a:lnTo>
                        <a:pt x="292" y="23"/>
                      </a:lnTo>
                      <a:lnTo>
                        <a:pt x="291" y="23"/>
                      </a:lnTo>
                      <a:lnTo>
                        <a:pt x="291" y="25"/>
                      </a:lnTo>
                      <a:lnTo>
                        <a:pt x="291" y="26"/>
                      </a:lnTo>
                      <a:lnTo>
                        <a:pt x="289" y="26"/>
                      </a:lnTo>
                      <a:lnTo>
                        <a:pt x="289" y="28"/>
                      </a:lnTo>
                      <a:lnTo>
                        <a:pt x="287" y="28"/>
                      </a:lnTo>
                      <a:lnTo>
                        <a:pt x="289" y="28"/>
                      </a:lnTo>
                      <a:lnTo>
                        <a:pt x="287" y="28"/>
                      </a:lnTo>
                      <a:lnTo>
                        <a:pt x="287" y="30"/>
                      </a:lnTo>
                      <a:lnTo>
                        <a:pt x="289" y="28"/>
                      </a:lnTo>
                      <a:lnTo>
                        <a:pt x="289" y="30"/>
                      </a:lnTo>
                      <a:lnTo>
                        <a:pt x="289" y="31"/>
                      </a:lnTo>
                      <a:lnTo>
                        <a:pt x="291" y="31"/>
                      </a:lnTo>
                      <a:lnTo>
                        <a:pt x="291" y="33"/>
                      </a:lnTo>
                      <a:lnTo>
                        <a:pt x="289" y="33"/>
                      </a:lnTo>
                      <a:lnTo>
                        <a:pt x="291" y="33"/>
                      </a:lnTo>
                      <a:lnTo>
                        <a:pt x="292" y="33"/>
                      </a:lnTo>
                      <a:lnTo>
                        <a:pt x="292" y="35"/>
                      </a:lnTo>
                      <a:lnTo>
                        <a:pt x="292" y="36"/>
                      </a:lnTo>
                      <a:lnTo>
                        <a:pt x="294" y="36"/>
                      </a:lnTo>
                      <a:lnTo>
                        <a:pt x="296" y="36"/>
                      </a:lnTo>
                      <a:lnTo>
                        <a:pt x="296" y="38"/>
                      </a:lnTo>
                      <a:lnTo>
                        <a:pt x="296" y="39"/>
                      </a:lnTo>
                      <a:lnTo>
                        <a:pt x="298" y="38"/>
                      </a:lnTo>
                      <a:lnTo>
                        <a:pt x="299" y="38"/>
                      </a:lnTo>
                      <a:lnTo>
                        <a:pt x="299" y="39"/>
                      </a:lnTo>
                      <a:lnTo>
                        <a:pt x="301" y="39"/>
                      </a:lnTo>
                      <a:lnTo>
                        <a:pt x="299" y="41"/>
                      </a:lnTo>
                      <a:lnTo>
                        <a:pt x="301" y="41"/>
                      </a:lnTo>
                      <a:lnTo>
                        <a:pt x="299" y="43"/>
                      </a:lnTo>
                      <a:lnTo>
                        <a:pt x="301" y="43"/>
                      </a:lnTo>
                      <a:lnTo>
                        <a:pt x="303" y="43"/>
                      </a:lnTo>
                      <a:lnTo>
                        <a:pt x="303" y="44"/>
                      </a:lnTo>
                      <a:lnTo>
                        <a:pt x="304" y="46"/>
                      </a:lnTo>
                      <a:lnTo>
                        <a:pt x="306" y="44"/>
                      </a:lnTo>
                      <a:lnTo>
                        <a:pt x="308" y="44"/>
                      </a:lnTo>
                      <a:lnTo>
                        <a:pt x="308" y="46"/>
                      </a:lnTo>
                      <a:lnTo>
                        <a:pt x="309" y="46"/>
                      </a:lnTo>
                      <a:lnTo>
                        <a:pt x="308" y="46"/>
                      </a:lnTo>
                      <a:lnTo>
                        <a:pt x="309" y="46"/>
                      </a:lnTo>
                      <a:lnTo>
                        <a:pt x="309" y="48"/>
                      </a:lnTo>
                      <a:lnTo>
                        <a:pt x="311" y="48"/>
                      </a:lnTo>
                      <a:lnTo>
                        <a:pt x="311" y="49"/>
                      </a:lnTo>
                      <a:lnTo>
                        <a:pt x="313" y="51"/>
                      </a:lnTo>
                      <a:lnTo>
                        <a:pt x="314" y="51"/>
                      </a:lnTo>
                      <a:lnTo>
                        <a:pt x="316" y="49"/>
                      </a:lnTo>
                      <a:lnTo>
                        <a:pt x="318" y="48"/>
                      </a:lnTo>
                      <a:lnTo>
                        <a:pt x="319" y="48"/>
                      </a:lnTo>
                      <a:lnTo>
                        <a:pt x="319" y="46"/>
                      </a:lnTo>
                      <a:lnTo>
                        <a:pt x="321" y="46"/>
                      </a:lnTo>
                      <a:lnTo>
                        <a:pt x="321" y="44"/>
                      </a:lnTo>
                      <a:lnTo>
                        <a:pt x="323" y="44"/>
                      </a:lnTo>
                      <a:lnTo>
                        <a:pt x="325" y="43"/>
                      </a:lnTo>
                      <a:lnTo>
                        <a:pt x="325" y="41"/>
                      </a:lnTo>
                      <a:close/>
                      <a:moveTo>
                        <a:pt x="34" y="210"/>
                      </a:moveTo>
                      <a:lnTo>
                        <a:pt x="36" y="210"/>
                      </a:lnTo>
                      <a:lnTo>
                        <a:pt x="34" y="210"/>
                      </a:lnTo>
                      <a:close/>
                      <a:moveTo>
                        <a:pt x="31" y="214"/>
                      </a:moveTo>
                      <a:lnTo>
                        <a:pt x="31" y="212"/>
                      </a:lnTo>
                      <a:lnTo>
                        <a:pt x="32" y="212"/>
                      </a:lnTo>
                      <a:lnTo>
                        <a:pt x="31" y="212"/>
                      </a:lnTo>
                      <a:lnTo>
                        <a:pt x="31" y="214"/>
                      </a:lnTo>
                      <a:close/>
                      <a:moveTo>
                        <a:pt x="26" y="212"/>
                      </a:moveTo>
                      <a:lnTo>
                        <a:pt x="27" y="212"/>
                      </a:lnTo>
                      <a:lnTo>
                        <a:pt x="26" y="212"/>
                      </a:lnTo>
                      <a:close/>
                      <a:moveTo>
                        <a:pt x="22" y="214"/>
                      </a:moveTo>
                      <a:lnTo>
                        <a:pt x="24" y="214"/>
                      </a:lnTo>
                      <a:lnTo>
                        <a:pt x="22" y="214"/>
                      </a:lnTo>
                      <a:close/>
                      <a:moveTo>
                        <a:pt x="21" y="217"/>
                      </a:moveTo>
                      <a:lnTo>
                        <a:pt x="19" y="217"/>
                      </a:lnTo>
                      <a:lnTo>
                        <a:pt x="21" y="217"/>
                      </a:lnTo>
                      <a:close/>
                      <a:moveTo>
                        <a:pt x="21" y="218"/>
                      </a:moveTo>
                      <a:lnTo>
                        <a:pt x="19" y="218"/>
                      </a:lnTo>
                      <a:lnTo>
                        <a:pt x="21" y="218"/>
                      </a:lnTo>
                      <a:close/>
                      <a:moveTo>
                        <a:pt x="19" y="222"/>
                      </a:moveTo>
                      <a:lnTo>
                        <a:pt x="19" y="220"/>
                      </a:lnTo>
                      <a:lnTo>
                        <a:pt x="19" y="222"/>
                      </a:lnTo>
                      <a:close/>
                      <a:moveTo>
                        <a:pt x="29" y="225"/>
                      </a:moveTo>
                      <a:lnTo>
                        <a:pt x="29" y="223"/>
                      </a:lnTo>
                      <a:lnTo>
                        <a:pt x="31" y="223"/>
                      </a:lnTo>
                      <a:lnTo>
                        <a:pt x="29" y="225"/>
                      </a:lnTo>
                      <a:close/>
                      <a:moveTo>
                        <a:pt x="26" y="227"/>
                      </a:moveTo>
                      <a:lnTo>
                        <a:pt x="27" y="227"/>
                      </a:lnTo>
                      <a:lnTo>
                        <a:pt x="27" y="225"/>
                      </a:lnTo>
                      <a:lnTo>
                        <a:pt x="29" y="225"/>
                      </a:lnTo>
                      <a:lnTo>
                        <a:pt x="29" y="227"/>
                      </a:lnTo>
                      <a:lnTo>
                        <a:pt x="27" y="227"/>
                      </a:lnTo>
                      <a:lnTo>
                        <a:pt x="26" y="227"/>
                      </a:lnTo>
                      <a:close/>
                      <a:moveTo>
                        <a:pt x="31" y="227"/>
                      </a:moveTo>
                      <a:lnTo>
                        <a:pt x="32" y="227"/>
                      </a:lnTo>
                      <a:lnTo>
                        <a:pt x="31" y="227"/>
                      </a:lnTo>
                      <a:close/>
                      <a:moveTo>
                        <a:pt x="22" y="228"/>
                      </a:moveTo>
                      <a:lnTo>
                        <a:pt x="24" y="228"/>
                      </a:lnTo>
                      <a:lnTo>
                        <a:pt x="24" y="227"/>
                      </a:lnTo>
                      <a:lnTo>
                        <a:pt x="24" y="228"/>
                      </a:lnTo>
                      <a:lnTo>
                        <a:pt x="22" y="228"/>
                      </a:lnTo>
                      <a:close/>
                      <a:moveTo>
                        <a:pt x="31" y="240"/>
                      </a:moveTo>
                      <a:lnTo>
                        <a:pt x="31" y="238"/>
                      </a:lnTo>
                      <a:lnTo>
                        <a:pt x="31" y="240"/>
                      </a:lnTo>
                      <a:close/>
                      <a:moveTo>
                        <a:pt x="53" y="200"/>
                      </a:moveTo>
                      <a:lnTo>
                        <a:pt x="54" y="200"/>
                      </a:lnTo>
                      <a:lnTo>
                        <a:pt x="53" y="200"/>
                      </a:lnTo>
                      <a:close/>
                      <a:moveTo>
                        <a:pt x="51" y="202"/>
                      </a:moveTo>
                      <a:lnTo>
                        <a:pt x="51" y="200"/>
                      </a:lnTo>
                      <a:lnTo>
                        <a:pt x="53" y="200"/>
                      </a:lnTo>
                      <a:lnTo>
                        <a:pt x="51" y="202"/>
                      </a:lnTo>
                      <a:close/>
                      <a:moveTo>
                        <a:pt x="49" y="202"/>
                      </a:moveTo>
                      <a:lnTo>
                        <a:pt x="49" y="200"/>
                      </a:lnTo>
                      <a:lnTo>
                        <a:pt x="49" y="202"/>
                      </a:lnTo>
                      <a:close/>
                      <a:moveTo>
                        <a:pt x="46" y="202"/>
                      </a:moveTo>
                      <a:lnTo>
                        <a:pt x="44" y="202"/>
                      </a:lnTo>
                      <a:lnTo>
                        <a:pt x="46" y="202"/>
                      </a:lnTo>
                      <a:close/>
                      <a:moveTo>
                        <a:pt x="46" y="204"/>
                      </a:moveTo>
                      <a:lnTo>
                        <a:pt x="46" y="202"/>
                      </a:lnTo>
                      <a:lnTo>
                        <a:pt x="46" y="204"/>
                      </a:lnTo>
                      <a:close/>
                      <a:moveTo>
                        <a:pt x="54" y="202"/>
                      </a:moveTo>
                      <a:lnTo>
                        <a:pt x="54" y="204"/>
                      </a:lnTo>
                      <a:lnTo>
                        <a:pt x="54" y="202"/>
                      </a:lnTo>
                      <a:close/>
                      <a:moveTo>
                        <a:pt x="51" y="205"/>
                      </a:moveTo>
                      <a:lnTo>
                        <a:pt x="51" y="204"/>
                      </a:lnTo>
                      <a:lnTo>
                        <a:pt x="51" y="205"/>
                      </a:lnTo>
                      <a:close/>
                      <a:moveTo>
                        <a:pt x="53" y="205"/>
                      </a:moveTo>
                      <a:lnTo>
                        <a:pt x="51" y="205"/>
                      </a:lnTo>
                      <a:lnTo>
                        <a:pt x="53" y="204"/>
                      </a:lnTo>
                      <a:lnTo>
                        <a:pt x="53" y="205"/>
                      </a:lnTo>
                      <a:close/>
                      <a:moveTo>
                        <a:pt x="46" y="205"/>
                      </a:moveTo>
                      <a:lnTo>
                        <a:pt x="46" y="204"/>
                      </a:lnTo>
                      <a:lnTo>
                        <a:pt x="46" y="205"/>
                      </a:lnTo>
                      <a:close/>
                      <a:moveTo>
                        <a:pt x="44" y="205"/>
                      </a:moveTo>
                      <a:lnTo>
                        <a:pt x="46" y="205"/>
                      </a:lnTo>
                      <a:lnTo>
                        <a:pt x="44" y="205"/>
                      </a:lnTo>
                      <a:close/>
                      <a:moveTo>
                        <a:pt x="46" y="207"/>
                      </a:moveTo>
                      <a:lnTo>
                        <a:pt x="46" y="205"/>
                      </a:lnTo>
                      <a:lnTo>
                        <a:pt x="46" y="207"/>
                      </a:lnTo>
                      <a:close/>
                      <a:moveTo>
                        <a:pt x="58" y="209"/>
                      </a:moveTo>
                      <a:lnTo>
                        <a:pt x="56" y="209"/>
                      </a:lnTo>
                      <a:lnTo>
                        <a:pt x="58" y="209"/>
                      </a:lnTo>
                      <a:close/>
                      <a:moveTo>
                        <a:pt x="46" y="210"/>
                      </a:moveTo>
                      <a:lnTo>
                        <a:pt x="46" y="209"/>
                      </a:lnTo>
                      <a:lnTo>
                        <a:pt x="46" y="210"/>
                      </a:lnTo>
                      <a:close/>
                      <a:moveTo>
                        <a:pt x="41" y="210"/>
                      </a:moveTo>
                      <a:lnTo>
                        <a:pt x="42" y="210"/>
                      </a:lnTo>
                      <a:lnTo>
                        <a:pt x="42" y="209"/>
                      </a:lnTo>
                      <a:lnTo>
                        <a:pt x="42" y="210"/>
                      </a:lnTo>
                      <a:lnTo>
                        <a:pt x="41" y="210"/>
                      </a:lnTo>
                      <a:close/>
                      <a:moveTo>
                        <a:pt x="49" y="214"/>
                      </a:moveTo>
                      <a:lnTo>
                        <a:pt x="51" y="214"/>
                      </a:lnTo>
                      <a:lnTo>
                        <a:pt x="51" y="212"/>
                      </a:lnTo>
                      <a:lnTo>
                        <a:pt x="49" y="212"/>
                      </a:lnTo>
                      <a:lnTo>
                        <a:pt x="49" y="210"/>
                      </a:lnTo>
                      <a:lnTo>
                        <a:pt x="48" y="210"/>
                      </a:lnTo>
                      <a:lnTo>
                        <a:pt x="49" y="210"/>
                      </a:lnTo>
                      <a:lnTo>
                        <a:pt x="51" y="210"/>
                      </a:lnTo>
                      <a:lnTo>
                        <a:pt x="51" y="212"/>
                      </a:lnTo>
                      <a:lnTo>
                        <a:pt x="51" y="214"/>
                      </a:lnTo>
                      <a:lnTo>
                        <a:pt x="51" y="212"/>
                      </a:lnTo>
                      <a:lnTo>
                        <a:pt x="51" y="214"/>
                      </a:lnTo>
                      <a:lnTo>
                        <a:pt x="49" y="214"/>
                      </a:lnTo>
                      <a:close/>
                      <a:moveTo>
                        <a:pt x="46" y="210"/>
                      </a:moveTo>
                      <a:lnTo>
                        <a:pt x="44" y="210"/>
                      </a:lnTo>
                      <a:lnTo>
                        <a:pt x="46" y="210"/>
                      </a:lnTo>
                      <a:close/>
                      <a:moveTo>
                        <a:pt x="51" y="210"/>
                      </a:moveTo>
                      <a:lnTo>
                        <a:pt x="53" y="210"/>
                      </a:lnTo>
                      <a:lnTo>
                        <a:pt x="51" y="210"/>
                      </a:lnTo>
                      <a:close/>
                      <a:moveTo>
                        <a:pt x="46" y="210"/>
                      </a:moveTo>
                      <a:lnTo>
                        <a:pt x="48" y="210"/>
                      </a:lnTo>
                      <a:lnTo>
                        <a:pt x="46" y="210"/>
                      </a:lnTo>
                      <a:close/>
                      <a:moveTo>
                        <a:pt x="37" y="212"/>
                      </a:moveTo>
                      <a:lnTo>
                        <a:pt x="37" y="210"/>
                      </a:lnTo>
                      <a:lnTo>
                        <a:pt x="37" y="212"/>
                      </a:lnTo>
                      <a:lnTo>
                        <a:pt x="37" y="210"/>
                      </a:lnTo>
                      <a:lnTo>
                        <a:pt x="39" y="210"/>
                      </a:lnTo>
                      <a:lnTo>
                        <a:pt x="37" y="210"/>
                      </a:lnTo>
                      <a:lnTo>
                        <a:pt x="37" y="212"/>
                      </a:lnTo>
                      <a:lnTo>
                        <a:pt x="36" y="212"/>
                      </a:lnTo>
                      <a:lnTo>
                        <a:pt x="37" y="212"/>
                      </a:lnTo>
                      <a:lnTo>
                        <a:pt x="36" y="212"/>
                      </a:lnTo>
                      <a:lnTo>
                        <a:pt x="37" y="212"/>
                      </a:lnTo>
                      <a:close/>
                      <a:moveTo>
                        <a:pt x="44" y="212"/>
                      </a:moveTo>
                      <a:lnTo>
                        <a:pt x="46" y="212"/>
                      </a:lnTo>
                      <a:lnTo>
                        <a:pt x="44" y="212"/>
                      </a:lnTo>
                      <a:close/>
                      <a:moveTo>
                        <a:pt x="48" y="214"/>
                      </a:moveTo>
                      <a:lnTo>
                        <a:pt x="46" y="214"/>
                      </a:lnTo>
                      <a:lnTo>
                        <a:pt x="48" y="214"/>
                      </a:lnTo>
                      <a:close/>
                      <a:moveTo>
                        <a:pt x="61" y="214"/>
                      </a:moveTo>
                      <a:lnTo>
                        <a:pt x="59" y="214"/>
                      </a:lnTo>
                      <a:lnTo>
                        <a:pt x="61" y="214"/>
                      </a:lnTo>
                      <a:close/>
                      <a:moveTo>
                        <a:pt x="61" y="215"/>
                      </a:moveTo>
                      <a:lnTo>
                        <a:pt x="61" y="214"/>
                      </a:lnTo>
                      <a:lnTo>
                        <a:pt x="63" y="214"/>
                      </a:lnTo>
                      <a:lnTo>
                        <a:pt x="61" y="215"/>
                      </a:lnTo>
                      <a:close/>
                      <a:moveTo>
                        <a:pt x="53" y="215"/>
                      </a:moveTo>
                      <a:lnTo>
                        <a:pt x="53" y="214"/>
                      </a:lnTo>
                      <a:lnTo>
                        <a:pt x="53" y="215"/>
                      </a:lnTo>
                      <a:close/>
                      <a:moveTo>
                        <a:pt x="61" y="217"/>
                      </a:moveTo>
                      <a:lnTo>
                        <a:pt x="61" y="215"/>
                      </a:lnTo>
                      <a:lnTo>
                        <a:pt x="59" y="217"/>
                      </a:lnTo>
                      <a:lnTo>
                        <a:pt x="59" y="215"/>
                      </a:lnTo>
                      <a:lnTo>
                        <a:pt x="61" y="215"/>
                      </a:lnTo>
                      <a:lnTo>
                        <a:pt x="63" y="215"/>
                      </a:lnTo>
                      <a:lnTo>
                        <a:pt x="61" y="215"/>
                      </a:lnTo>
                      <a:lnTo>
                        <a:pt x="63" y="215"/>
                      </a:lnTo>
                      <a:lnTo>
                        <a:pt x="64" y="215"/>
                      </a:lnTo>
                      <a:lnTo>
                        <a:pt x="66" y="215"/>
                      </a:lnTo>
                      <a:lnTo>
                        <a:pt x="66" y="217"/>
                      </a:lnTo>
                      <a:lnTo>
                        <a:pt x="64" y="217"/>
                      </a:lnTo>
                      <a:lnTo>
                        <a:pt x="63" y="217"/>
                      </a:lnTo>
                      <a:lnTo>
                        <a:pt x="64" y="217"/>
                      </a:lnTo>
                      <a:lnTo>
                        <a:pt x="64" y="218"/>
                      </a:lnTo>
                      <a:lnTo>
                        <a:pt x="66" y="218"/>
                      </a:lnTo>
                      <a:lnTo>
                        <a:pt x="68" y="217"/>
                      </a:lnTo>
                      <a:lnTo>
                        <a:pt x="68" y="218"/>
                      </a:lnTo>
                      <a:lnTo>
                        <a:pt x="68" y="220"/>
                      </a:lnTo>
                      <a:lnTo>
                        <a:pt x="70" y="220"/>
                      </a:lnTo>
                      <a:lnTo>
                        <a:pt x="70" y="218"/>
                      </a:lnTo>
                      <a:lnTo>
                        <a:pt x="71" y="218"/>
                      </a:lnTo>
                      <a:lnTo>
                        <a:pt x="73" y="218"/>
                      </a:lnTo>
                      <a:lnTo>
                        <a:pt x="71" y="218"/>
                      </a:lnTo>
                      <a:lnTo>
                        <a:pt x="71" y="220"/>
                      </a:lnTo>
                      <a:lnTo>
                        <a:pt x="71" y="222"/>
                      </a:lnTo>
                      <a:lnTo>
                        <a:pt x="73" y="222"/>
                      </a:lnTo>
                      <a:lnTo>
                        <a:pt x="73" y="220"/>
                      </a:lnTo>
                      <a:lnTo>
                        <a:pt x="73" y="222"/>
                      </a:lnTo>
                      <a:lnTo>
                        <a:pt x="75" y="222"/>
                      </a:lnTo>
                      <a:lnTo>
                        <a:pt x="76" y="222"/>
                      </a:lnTo>
                      <a:lnTo>
                        <a:pt x="75" y="222"/>
                      </a:lnTo>
                      <a:lnTo>
                        <a:pt x="75" y="223"/>
                      </a:lnTo>
                      <a:lnTo>
                        <a:pt x="73" y="223"/>
                      </a:lnTo>
                      <a:lnTo>
                        <a:pt x="71" y="223"/>
                      </a:lnTo>
                      <a:lnTo>
                        <a:pt x="73" y="223"/>
                      </a:lnTo>
                      <a:lnTo>
                        <a:pt x="71" y="222"/>
                      </a:lnTo>
                      <a:lnTo>
                        <a:pt x="70" y="222"/>
                      </a:lnTo>
                      <a:lnTo>
                        <a:pt x="70" y="223"/>
                      </a:lnTo>
                      <a:lnTo>
                        <a:pt x="68" y="223"/>
                      </a:lnTo>
                      <a:lnTo>
                        <a:pt x="66" y="223"/>
                      </a:lnTo>
                      <a:lnTo>
                        <a:pt x="66" y="225"/>
                      </a:lnTo>
                      <a:lnTo>
                        <a:pt x="64" y="225"/>
                      </a:lnTo>
                      <a:lnTo>
                        <a:pt x="63" y="225"/>
                      </a:lnTo>
                      <a:lnTo>
                        <a:pt x="61" y="225"/>
                      </a:lnTo>
                      <a:lnTo>
                        <a:pt x="59" y="225"/>
                      </a:lnTo>
                      <a:lnTo>
                        <a:pt x="61" y="225"/>
                      </a:lnTo>
                      <a:lnTo>
                        <a:pt x="59" y="225"/>
                      </a:lnTo>
                      <a:lnTo>
                        <a:pt x="59" y="223"/>
                      </a:lnTo>
                      <a:lnTo>
                        <a:pt x="59" y="225"/>
                      </a:lnTo>
                      <a:lnTo>
                        <a:pt x="58" y="225"/>
                      </a:lnTo>
                      <a:lnTo>
                        <a:pt x="59" y="225"/>
                      </a:lnTo>
                      <a:lnTo>
                        <a:pt x="59" y="223"/>
                      </a:lnTo>
                      <a:lnTo>
                        <a:pt x="58" y="223"/>
                      </a:lnTo>
                      <a:lnTo>
                        <a:pt x="56" y="223"/>
                      </a:lnTo>
                      <a:lnTo>
                        <a:pt x="54" y="223"/>
                      </a:lnTo>
                      <a:lnTo>
                        <a:pt x="54" y="225"/>
                      </a:lnTo>
                      <a:lnTo>
                        <a:pt x="53" y="225"/>
                      </a:lnTo>
                      <a:lnTo>
                        <a:pt x="53" y="227"/>
                      </a:lnTo>
                      <a:lnTo>
                        <a:pt x="51" y="228"/>
                      </a:lnTo>
                      <a:lnTo>
                        <a:pt x="51" y="227"/>
                      </a:lnTo>
                      <a:lnTo>
                        <a:pt x="53" y="227"/>
                      </a:lnTo>
                      <a:lnTo>
                        <a:pt x="51" y="227"/>
                      </a:lnTo>
                      <a:lnTo>
                        <a:pt x="51" y="225"/>
                      </a:lnTo>
                      <a:lnTo>
                        <a:pt x="53" y="225"/>
                      </a:lnTo>
                      <a:lnTo>
                        <a:pt x="53" y="223"/>
                      </a:lnTo>
                      <a:lnTo>
                        <a:pt x="51" y="223"/>
                      </a:lnTo>
                      <a:lnTo>
                        <a:pt x="53" y="223"/>
                      </a:lnTo>
                      <a:lnTo>
                        <a:pt x="51" y="223"/>
                      </a:lnTo>
                      <a:lnTo>
                        <a:pt x="51" y="225"/>
                      </a:lnTo>
                      <a:lnTo>
                        <a:pt x="49" y="223"/>
                      </a:lnTo>
                      <a:lnTo>
                        <a:pt x="48" y="223"/>
                      </a:lnTo>
                      <a:lnTo>
                        <a:pt x="48" y="222"/>
                      </a:lnTo>
                      <a:lnTo>
                        <a:pt x="49" y="222"/>
                      </a:lnTo>
                      <a:lnTo>
                        <a:pt x="51" y="222"/>
                      </a:lnTo>
                      <a:lnTo>
                        <a:pt x="53" y="220"/>
                      </a:lnTo>
                      <a:lnTo>
                        <a:pt x="53" y="222"/>
                      </a:lnTo>
                      <a:lnTo>
                        <a:pt x="54" y="220"/>
                      </a:lnTo>
                      <a:lnTo>
                        <a:pt x="53" y="220"/>
                      </a:lnTo>
                      <a:lnTo>
                        <a:pt x="54" y="220"/>
                      </a:lnTo>
                      <a:lnTo>
                        <a:pt x="54" y="218"/>
                      </a:lnTo>
                      <a:lnTo>
                        <a:pt x="54" y="220"/>
                      </a:lnTo>
                      <a:lnTo>
                        <a:pt x="54" y="218"/>
                      </a:lnTo>
                      <a:lnTo>
                        <a:pt x="56" y="217"/>
                      </a:lnTo>
                      <a:lnTo>
                        <a:pt x="56" y="218"/>
                      </a:lnTo>
                      <a:lnTo>
                        <a:pt x="56" y="220"/>
                      </a:lnTo>
                      <a:lnTo>
                        <a:pt x="58" y="218"/>
                      </a:lnTo>
                      <a:lnTo>
                        <a:pt x="58" y="220"/>
                      </a:lnTo>
                      <a:lnTo>
                        <a:pt x="58" y="218"/>
                      </a:lnTo>
                      <a:lnTo>
                        <a:pt x="58" y="217"/>
                      </a:lnTo>
                      <a:lnTo>
                        <a:pt x="59" y="217"/>
                      </a:lnTo>
                      <a:lnTo>
                        <a:pt x="61" y="217"/>
                      </a:lnTo>
                      <a:close/>
                      <a:moveTo>
                        <a:pt x="73" y="220"/>
                      </a:moveTo>
                      <a:lnTo>
                        <a:pt x="75" y="220"/>
                      </a:lnTo>
                      <a:lnTo>
                        <a:pt x="73" y="220"/>
                      </a:lnTo>
                      <a:close/>
                      <a:moveTo>
                        <a:pt x="49" y="227"/>
                      </a:moveTo>
                      <a:lnTo>
                        <a:pt x="51" y="227"/>
                      </a:lnTo>
                      <a:lnTo>
                        <a:pt x="49" y="227"/>
                      </a:lnTo>
                      <a:close/>
                      <a:moveTo>
                        <a:pt x="70" y="228"/>
                      </a:moveTo>
                      <a:lnTo>
                        <a:pt x="68" y="227"/>
                      </a:lnTo>
                      <a:lnTo>
                        <a:pt x="70" y="227"/>
                      </a:lnTo>
                      <a:lnTo>
                        <a:pt x="70" y="228"/>
                      </a:lnTo>
                      <a:close/>
                      <a:moveTo>
                        <a:pt x="282" y="194"/>
                      </a:moveTo>
                      <a:lnTo>
                        <a:pt x="282" y="192"/>
                      </a:lnTo>
                      <a:lnTo>
                        <a:pt x="282" y="194"/>
                      </a:lnTo>
                      <a:close/>
                      <a:moveTo>
                        <a:pt x="279" y="195"/>
                      </a:moveTo>
                      <a:lnTo>
                        <a:pt x="277" y="195"/>
                      </a:lnTo>
                      <a:lnTo>
                        <a:pt x="279" y="194"/>
                      </a:lnTo>
                      <a:lnTo>
                        <a:pt x="279" y="195"/>
                      </a:lnTo>
                      <a:close/>
                      <a:moveTo>
                        <a:pt x="115" y="212"/>
                      </a:moveTo>
                      <a:lnTo>
                        <a:pt x="113" y="212"/>
                      </a:lnTo>
                      <a:lnTo>
                        <a:pt x="108" y="212"/>
                      </a:lnTo>
                      <a:lnTo>
                        <a:pt x="105" y="212"/>
                      </a:lnTo>
                      <a:lnTo>
                        <a:pt x="102" y="214"/>
                      </a:lnTo>
                      <a:lnTo>
                        <a:pt x="98" y="214"/>
                      </a:lnTo>
                      <a:lnTo>
                        <a:pt x="95" y="214"/>
                      </a:lnTo>
                      <a:lnTo>
                        <a:pt x="88" y="215"/>
                      </a:lnTo>
                      <a:lnTo>
                        <a:pt x="86" y="215"/>
                      </a:lnTo>
                      <a:lnTo>
                        <a:pt x="85" y="217"/>
                      </a:lnTo>
                      <a:lnTo>
                        <a:pt x="85" y="215"/>
                      </a:lnTo>
                      <a:lnTo>
                        <a:pt x="83" y="215"/>
                      </a:lnTo>
                      <a:lnTo>
                        <a:pt x="83" y="214"/>
                      </a:lnTo>
                      <a:lnTo>
                        <a:pt x="85" y="214"/>
                      </a:lnTo>
                      <a:lnTo>
                        <a:pt x="85" y="212"/>
                      </a:lnTo>
                      <a:lnTo>
                        <a:pt x="86" y="212"/>
                      </a:lnTo>
                      <a:lnTo>
                        <a:pt x="86" y="210"/>
                      </a:lnTo>
                      <a:lnTo>
                        <a:pt x="88" y="210"/>
                      </a:lnTo>
                      <a:lnTo>
                        <a:pt x="90" y="212"/>
                      </a:lnTo>
                      <a:lnTo>
                        <a:pt x="91" y="212"/>
                      </a:lnTo>
                      <a:lnTo>
                        <a:pt x="93" y="212"/>
                      </a:lnTo>
                      <a:lnTo>
                        <a:pt x="93" y="214"/>
                      </a:lnTo>
                      <a:lnTo>
                        <a:pt x="95" y="214"/>
                      </a:lnTo>
                      <a:lnTo>
                        <a:pt x="95" y="212"/>
                      </a:lnTo>
                      <a:lnTo>
                        <a:pt x="97" y="212"/>
                      </a:lnTo>
                      <a:lnTo>
                        <a:pt x="95" y="210"/>
                      </a:lnTo>
                      <a:lnTo>
                        <a:pt x="93" y="209"/>
                      </a:lnTo>
                      <a:lnTo>
                        <a:pt x="95" y="210"/>
                      </a:lnTo>
                      <a:lnTo>
                        <a:pt x="98" y="212"/>
                      </a:lnTo>
                      <a:lnTo>
                        <a:pt x="100" y="212"/>
                      </a:lnTo>
                      <a:lnTo>
                        <a:pt x="102" y="212"/>
                      </a:lnTo>
                      <a:lnTo>
                        <a:pt x="103" y="212"/>
                      </a:lnTo>
                      <a:lnTo>
                        <a:pt x="110" y="212"/>
                      </a:lnTo>
                      <a:lnTo>
                        <a:pt x="112" y="212"/>
                      </a:lnTo>
                      <a:lnTo>
                        <a:pt x="115" y="210"/>
                      </a:lnTo>
                      <a:lnTo>
                        <a:pt x="115" y="209"/>
                      </a:lnTo>
                      <a:lnTo>
                        <a:pt x="113" y="209"/>
                      </a:lnTo>
                      <a:lnTo>
                        <a:pt x="110" y="207"/>
                      </a:lnTo>
                      <a:lnTo>
                        <a:pt x="108" y="207"/>
                      </a:lnTo>
                      <a:lnTo>
                        <a:pt x="108" y="205"/>
                      </a:lnTo>
                      <a:lnTo>
                        <a:pt x="107" y="204"/>
                      </a:lnTo>
                      <a:lnTo>
                        <a:pt x="105" y="202"/>
                      </a:lnTo>
                      <a:lnTo>
                        <a:pt x="103" y="200"/>
                      </a:lnTo>
                      <a:lnTo>
                        <a:pt x="103" y="199"/>
                      </a:lnTo>
                      <a:lnTo>
                        <a:pt x="105" y="200"/>
                      </a:lnTo>
                      <a:lnTo>
                        <a:pt x="105" y="199"/>
                      </a:lnTo>
                      <a:lnTo>
                        <a:pt x="105" y="200"/>
                      </a:lnTo>
                      <a:lnTo>
                        <a:pt x="107" y="200"/>
                      </a:lnTo>
                      <a:lnTo>
                        <a:pt x="108" y="202"/>
                      </a:lnTo>
                      <a:lnTo>
                        <a:pt x="110" y="202"/>
                      </a:lnTo>
                      <a:lnTo>
                        <a:pt x="110" y="204"/>
                      </a:lnTo>
                      <a:lnTo>
                        <a:pt x="112" y="204"/>
                      </a:lnTo>
                      <a:lnTo>
                        <a:pt x="112" y="205"/>
                      </a:lnTo>
                      <a:lnTo>
                        <a:pt x="113" y="205"/>
                      </a:lnTo>
                      <a:lnTo>
                        <a:pt x="115" y="205"/>
                      </a:lnTo>
                      <a:lnTo>
                        <a:pt x="117" y="205"/>
                      </a:lnTo>
                      <a:lnTo>
                        <a:pt x="117" y="207"/>
                      </a:lnTo>
                      <a:lnTo>
                        <a:pt x="118" y="207"/>
                      </a:lnTo>
                      <a:lnTo>
                        <a:pt x="120" y="207"/>
                      </a:lnTo>
                      <a:lnTo>
                        <a:pt x="120" y="209"/>
                      </a:lnTo>
                      <a:lnTo>
                        <a:pt x="122" y="209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lnTo>
                        <a:pt x="125" y="212"/>
                      </a:lnTo>
                      <a:lnTo>
                        <a:pt x="125" y="210"/>
                      </a:lnTo>
                      <a:lnTo>
                        <a:pt x="125" y="212"/>
                      </a:lnTo>
                      <a:lnTo>
                        <a:pt x="125" y="210"/>
                      </a:lnTo>
                      <a:lnTo>
                        <a:pt x="125" y="212"/>
                      </a:lnTo>
                      <a:lnTo>
                        <a:pt x="127" y="212"/>
                      </a:lnTo>
                      <a:lnTo>
                        <a:pt x="125" y="212"/>
                      </a:lnTo>
                      <a:lnTo>
                        <a:pt x="124" y="212"/>
                      </a:lnTo>
                      <a:lnTo>
                        <a:pt x="124" y="210"/>
                      </a:lnTo>
                      <a:lnTo>
                        <a:pt x="122" y="210"/>
                      </a:lnTo>
                      <a:lnTo>
                        <a:pt x="120" y="210"/>
                      </a:lnTo>
                      <a:lnTo>
                        <a:pt x="118" y="210"/>
                      </a:lnTo>
                      <a:lnTo>
                        <a:pt x="117" y="210"/>
                      </a:lnTo>
                      <a:lnTo>
                        <a:pt x="115" y="210"/>
                      </a:lnTo>
                      <a:lnTo>
                        <a:pt x="117" y="210"/>
                      </a:lnTo>
                      <a:lnTo>
                        <a:pt x="118" y="210"/>
                      </a:lnTo>
                      <a:lnTo>
                        <a:pt x="120" y="210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lnTo>
                        <a:pt x="124" y="212"/>
                      </a:lnTo>
                      <a:lnTo>
                        <a:pt x="125" y="212"/>
                      </a:lnTo>
                      <a:lnTo>
                        <a:pt x="124" y="212"/>
                      </a:lnTo>
                      <a:lnTo>
                        <a:pt x="122" y="212"/>
                      </a:lnTo>
                      <a:lnTo>
                        <a:pt x="120" y="212"/>
                      </a:lnTo>
                      <a:lnTo>
                        <a:pt x="115" y="212"/>
                      </a:lnTo>
                      <a:close/>
                      <a:moveTo>
                        <a:pt x="95" y="200"/>
                      </a:moveTo>
                      <a:lnTo>
                        <a:pt x="97" y="200"/>
                      </a:lnTo>
                      <a:lnTo>
                        <a:pt x="97" y="202"/>
                      </a:lnTo>
                      <a:lnTo>
                        <a:pt x="95" y="202"/>
                      </a:lnTo>
                      <a:lnTo>
                        <a:pt x="93" y="204"/>
                      </a:lnTo>
                      <a:lnTo>
                        <a:pt x="93" y="202"/>
                      </a:lnTo>
                      <a:lnTo>
                        <a:pt x="93" y="200"/>
                      </a:lnTo>
                      <a:lnTo>
                        <a:pt x="95" y="200"/>
                      </a:lnTo>
                      <a:close/>
                      <a:moveTo>
                        <a:pt x="98" y="202"/>
                      </a:moveTo>
                      <a:lnTo>
                        <a:pt x="97" y="202"/>
                      </a:lnTo>
                      <a:lnTo>
                        <a:pt x="98" y="202"/>
                      </a:lnTo>
                      <a:close/>
                      <a:moveTo>
                        <a:pt x="91" y="202"/>
                      </a:moveTo>
                      <a:lnTo>
                        <a:pt x="91" y="200"/>
                      </a:lnTo>
                      <a:lnTo>
                        <a:pt x="91" y="202"/>
                      </a:lnTo>
                      <a:close/>
                      <a:moveTo>
                        <a:pt x="86" y="202"/>
                      </a:moveTo>
                      <a:lnTo>
                        <a:pt x="88" y="202"/>
                      </a:lnTo>
                      <a:lnTo>
                        <a:pt x="86" y="202"/>
                      </a:lnTo>
                      <a:close/>
                      <a:moveTo>
                        <a:pt x="90" y="204"/>
                      </a:moveTo>
                      <a:lnTo>
                        <a:pt x="88" y="204"/>
                      </a:lnTo>
                      <a:lnTo>
                        <a:pt x="90" y="204"/>
                      </a:lnTo>
                      <a:close/>
                      <a:moveTo>
                        <a:pt x="93" y="205"/>
                      </a:moveTo>
                      <a:lnTo>
                        <a:pt x="91" y="205"/>
                      </a:lnTo>
                      <a:lnTo>
                        <a:pt x="93" y="205"/>
                      </a:lnTo>
                      <a:close/>
                      <a:moveTo>
                        <a:pt x="91" y="207"/>
                      </a:moveTo>
                      <a:lnTo>
                        <a:pt x="90" y="209"/>
                      </a:lnTo>
                      <a:lnTo>
                        <a:pt x="90" y="207"/>
                      </a:lnTo>
                      <a:lnTo>
                        <a:pt x="91" y="207"/>
                      </a:lnTo>
                      <a:lnTo>
                        <a:pt x="91" y="205"/>
                      </a:lnTo>
                      <a:lnTo>
                        <a:pt x="91" y="207"/>
                      </a:lnTo>
                      <a:close/>
                      <a:moveTo>
                        <a:pt x="93" y="207"/>
                      </a:moveTo>
                      <a:lnTo>
                        <a:pt x="93" y="205"/>
                      </a:lnTo>
                      <a:lnTo>
                        <a:pt x="93" y="207"/>
                      </a:lnTo>
                      <a:close/>
                      <a:moveTo>
                        <a:pt x="81" y="207"/>
                      </a:moveTo>
                      <a:lnTo>
                        <a:pt x="80" y="207"/>
                      </a:lnTo>
                      <a:lnTo>
                        <a:pt x="81" y="207"/>
                      </a:lnTo>
                      <a:close/>
                      <a:moveTo>
                        <a:pt x="88" y="207"/>
                      </a:moveTo>
                      <a:lnTo>
                        <a:pt x="90" y="207"/>
                      </a:lnTo>
                      <a:lnTo>
                        <a:pt x="88" y="207"/>
                      </a:lnTo>
                      <a:close/>
                      <a:moveTo>
                        <a:pt x="73" y="209"/>
                      </a:moveTo>
                      <a:lnTo>
                        <a:pt x="75" y="209"/>
                      </a:lnTo>
                      <a:lnTo>
                        <a:pt x="73" y="209"/>
                      </a:lnTo>
                      <a:close/>
                      <a:moveTo>
                        <a:pt x="71" y="210"/>
                      </a:moveTo>
                      <a:lnTo>
                        <a:pt x="73" y="210"/>
                      </a:lnTo>
                      <a:lnTo>
                        <a:pt x="71" y="210"/>
                      </a:lnTo>
                      <a:close/>
                      <a:moveTo>
                        <a:pt x="156" y="189"/>
                      </a:moveTo>
                      <a:lnTo>
                        <a:pt x="156" y="187"/>
                      </a:lnTo>
                      <a:lnTo>
                        <a:pt x="157" y="187"/>
                      </a:lnTo>
                      <a:lnTo>
                        <a:pt x="159" y="187"/>
                      </a:lnTo>
                      <a:lnTo>
                        <a:pt x="161" y="187"/>
                      </a:lnTo>
                      <a:lnTo>
                        <a:pt x="162" y="187"/>
                      </a:lnTo>
                      <a:lnTo>
                        <a:pt x="162" y="186"/>
                      </a:lnTo>
                      <a:lnTo>
                        <a:pt x="162" y="187"/>
                      </a:lnTo>
                      <a:lnTo>
                        <a:pt x="164" y="186"/>
                      </a:lnTo>
                      <a:lnTo>
                        <a:pt x="164" y="187"/>
                      </a:lnTo>
                      <a:lnTo>
                        <a:pt x="162" y="187"/>
                      </a:lnTo>
                      <a:lnTo>
                        <a:pt x="162" y="189"/>
                      </a:lnTo>
                      <a:lnTo>
                        <a:pt x="162" y="191"/>
                      </a:lnTo>
                      <a:lnTo>
                        <a:pt x="164" y="191"/>
                      </a:lnTo>
                      <a:lnTo>
                        <a:pt x="162" y="191"/>
                      </a:lnTo>
                      <a:lnTo>
                        <a:pt x="161" y="191"/>
                      </a:lnTo>
                      <a:lnTo>
                        <a:pt x="159" y="191"/>
                      </a:lnTo>
                      <a:lnTo>
                        <a:pt x="159" y="189"/>
                      </a:lnTo>
                      <a:lnTo>
                        <a:pt x="159" y="191"/>
                      </a:lnTo>
                      <a:lnTo>
                        <a:pt x="157" y="191"/>
                      </a:lnTo>
                      <a:lnTo>
                        <a:pt x="156" y="191"/>
                      </a:lnTo>
                      <a:lnTo>
                        <a:pt x="154" y="191"/>
                      </a:lnTo>
                      <a:lnTo>
                        <a:pt x="154" y="189"/>
                      </a:lnTo>
                      <a:lnTo>
                        <a:pt x="156" y="189"/>
                      </a:lnTo>
                      <a:close/>
                      <a:moveTo>
                        <a:pt x="159" y="195"/>
                      </a:moveTo>
                      <a:lnTo>
                        <a:pt x="157" y="195"/>
                      </a:lnTo>
                      <a:lnTo>
                        <a:pt x="157" y="194"/>
                      </a:lnTo>
                      <a:lnTo>
                        <a:pt x="156" y="194"/>
                      </a:lnTo>
                      <a:lnTo>
                        <a:pt x="157" y="194"/>
                      </a:lnTo>
                      <a:lnTo>
                        <a:pt x="156" y="192"/>
                      </a:lnTo>
                      <a:lnTo>
                        <a:pt x="157" y="192"/>
                      </a:lnTo>
                      <a:lnTo>
                        <a:pt x="157" y="194"/>
                      </a:lnTo>
                      <a:lnTo>
                        <a:pt x="159" y="194"/>
                      </a:lnTo>
                      <a:lnTo>
                        <a:pt x="157" y="194"/>
                      </a:lnTo>
                      <a:lnTo>
                        <a:pt x="159" y="194"/>
                      </a:lnTo>
                      <a:lnTo>
                        <a:pt x="159" y="195"/>
                      </a:lnTo>
                      <a:close/>
                      <a:moveTo>
                        <a:pt x="157" y="194"/>
                      </a:moveTo>
                      <a:lnTo>
                        <a:pt x="156" y="194"/>
                      </a:lnTo>
                      <a:lnTo>
                        <a:pt x="157" y="194"/>
                      </a:lnTo>
                      <a:close/>
                      <a:moveTo>
                        <a:pt x="122" y="210"/>
                      </a:moveTo>
                      <a:lnTo>
                        <a:pt x="120" y="210"/>
                      </a:lnTo>
                      <a:lnTo>
                        <a:pt x="122" y="210"/>
                      </a:lnTo>
                      <a:close/>
                      <a:moveTo>
                        <a:pt x="122" y="210"/>
                      </a:moveTo>
                      <a:lnTo>
                        <a:pt x="120" y="210"/>
                      </a:lnTo>
                      <a:lnTo>
                        <a:pt x="122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2" y="209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24" y="210"/>
                      </a:moveTo>
                      <a:lnTo>
                        <a:pt x="122" y="210"/>
                      </a:lnTo>
                      <a:lnTo>
                        <a:pt x="122" y="209"/>
                      </a:lnTo>
                      <a:lnTo>
                        <a:pt x="122" y="210"/>
                      </a:lnTo>
                      <a:lnTo>
                        <a:pt x="124" y="210"/>
                      </a:lnTo>
                      <a:close/>
                      <a:moveTo>
                        <a:pt x="161" y="210"/>
                      </a:moveTo>
                      <a:lnTo>
                        <a:pt x="161" y="209"/>
                      </a:lnTo>
                      <a:lnTo>
                        <a:pt x="161" y="210"/>
                      </a:lnTo>
                      <a:close/>
                      <a:moveTo>
                        <a:pt x="152" y="210"/>
                      </a:moveTo>
                      <a:lnTo>
                        <a:pt x="152" y="209"/>
                      </a:lnTo>
                      <a:lnTo>
                        <a:pt x="152" y="210"/>
                      </a:lnTo>
                      <a:close/>
                      <a:moveTo>
                        <a:pt x="159" y="210"/>
                      </a:moveTo>
                      <a:lnTo>
                        <a:pt x="161" y="210"/>
                      </a:lnTo>
                      <a:lnTo>
                        <a:pt x="159" y="210"/>
                      </a:lnTo>
                      <a:close/>
                      <a:moveTo>
                        <a:pt x="125" y="212"/>
                      </a:moveTo>
                      <a:lnTo>
                        <a:pt x="125" y="210"/>
                      </a:lnTo>
                      <a:lnTo>
                        <a:pt x="125" y="212"/>
                      </a:lnTo>
                      <a:close/>
                      <a:moveTo>
                        <a:pt x="166" y="214"/>
                      </a:moveTo>
                      <a:lnTo>
                        <a:pt x="166" y="212"/>
                      </a:lnTo>
                      <a:lnTo>
                        <a:pt x="164" y="212"/>
                      </a:lnTo>
                      <a:lnTo>
                        <a:pt x="166" y="212"/>
                      </a:lnTo>
                      <a:lnTo>
                        <a:pt x="166" y="214"/>
                      </a:lnTo>
                      <a:close/>
                      <a:moveTo>
                        <a:pt x="130" y="214"/>
                      </a:moveTo>
                      <a:lnTo>
                        <a:pt x="130" y="212"/>
                      </a:lnTo>
                      <a:lnTo>
                        <a:pt x="130" y="214"/>
                      </a:lnTo>
                      <a:close/>
                      <a:moveTo>
                        <a:pt x="166" y="194"/>
                      </a:moveTo>
                      <a:lnTo>
                        <a:pt x="167" y="194"/>
                      </a:lnTo>
                      <a:lnTo>
                        <a:pt x="166" y="194"/>
                      </a:lnTo>
                      <a:close/>
                      <a:moveTo>
                        <a:pt x="167" y="195"/>
                      </a:moveTo>
                      <a:lnTo>
                        <a:pt x="167" y="194"/>
                      </a:lnTo>
                      <a:lnTo>
                        <a:pt x="167" y="195"/>
                      </a:lnTo>
                      <a:close/>
                      <a:moveTo>
                        <a:pt x="166" y="195"/>
                      </a:moveTo>
                      <a:lnTo>
                        <a:pt x="166" y="194"/>
                      </a:lnTo>
                      <a:lnTo>
                        <a:pt x="166" y="195"/>
                      </a:lnTo>
                      <a:close/>
                      <a:moveTo>
                        <a:pt x="186" y="209"/>
                      </a:moveTo>
                      <a:lnTo>
                        <a:pt x="188" y="207"/>
                      </a:lnTo>
                      <a:lnTo>
                        <a:pt x="186" y="209"/>
                      </a:lnTo>
                      <a:close/>
                      <a:moveTo>
                        <a:pt x="274" y="204"/>
                      </a:moveTo>
                      <a:lnTo>
                        <a:pt x="276" y="204"/>
                      </a:lnTo>
                      <a:lnTo>
                        <a:pt x="274" y="204"/>
                      </a:lnTo>
                      <a:close/>
                      <a:moveTo>
                        <a:pt x="274" y="205"/>
                      </a:moveTo>
                      <a:lnTo>
                        <a:pt x="276" y="205"/>
                      </a:lnTo>
                      <a:lnTo>
                        <a:pt x="276" y="207"/>
                      </a:lnTo>
                      <a:lnTo>
                        <a:pt x="274" y="207"/>
                      </a:lnTo>
                      <a:lnTo>
                        <a:pt x="272" y="207"/>
                      </a:lnTo>
                      <a:lnTo>
                        <a:pt x="274" y="207"/>
                      </a:lnTo>
                      <a:lnTo>
                        <a:pt x="274" y="205"/>
                      </a:lnTo>
                      <a:close/>
                      <a:moveTo>
                        <a:pt x="169" y="184"/>
                      </a:moveTo>
                      <a:lnTo>
                        <a:pt x="169" y="186"/>
                      </a:lnTo>
                      <a:lnTo>
                        <a:pt x="167" y="186"/>
                      </a:lnTo>
                      <a:lnTo>
                        <a:pt x="169" y="186"/>
                      </a:lnTo>
                      <a:lnTo>
                        <a:pt x="169" y="184"/>
                      </a:lnTo>
                      <a:close/>
                      <a:moveTo>
                        <a:pt x="169" y="191"/>
                      </a:moveTo>
                      <a:lnTo>
                        <a:pt x="171" y="191"/>
                      </a:lnTo>
                      <a:lnTo>
                        <a:pt x="169" y="191"/>
                      </a:lnTo>
                      <a:close/>
                      <a:moveTo>
                        <a:pt x="169" y="192"/>
                      </a:moveTo>
                      <a:lnTo>
                        <a:pt x="167" y="192"/>
                      </a:lnTo>
                      <a:lnTo>
                        <a:pt x="167" y="191"/>
                      </a:lnTo>
                      <a:lnTo>
                        <a:pt x="169" y="191"/>
                      </a:lnTo>
                      <a:lnTo>
                        <a:pt x="169" y="192"/>
                      </a:lnTo>
                      <a:close/>
                      <a:moveTo>
                        <a:pt x="169" y="194"/>
                      </a:moveTo>
                      <a:lnTo>
                        <a:pt x="169" y="192"/>
                      </a:lnTo>
                      <a:lnTo>
                        <a:pt x="169" y="194"/>
                      </a:lnTo>
                      <a:close/>
                    </a:path>
                  </a:pathLst>
                </a:custGeom>
                <a:solidFill>
                  <a:srgbClr val="4F81BD">
                    <a:lumMod val="20000"/>
                    <a:lumOff val="80000"/>
                  </a:srgbClr>
                </a:solidFill>
                <a:ln w="0" algn="ctr">
                  <a:solidFill>
                    <a:sysClr val="windowText" lastClr="000000">
                      <a:lumMod val="65000"/>
                      <a:lumOff val="35000"/>
                    </a:sys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srgbClr val="000000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  <p:grpSp>
            <p:nvGrpSpPr>
              <p:cNvPr id="392" name="Grupo 293"/>
              <p:cNvGrpSpPr/>
              <p:nvPr/>
            </p:nvGrpSpPr>
            <p:grpSpPr bwMode="auto">
              <a:xfrm>
                <a:off x="6487904" y="1818809"/>
                <a:ext cx="2347242" cy="2411255"/>
                <a:chOff x="2123736" y="1203576"/>
                <a:chExt cx="4946808" cy="5081019"/>
              </a:xfrm>
              <a:solidFill>
                <a:srgbClr val="006600"/>
              </a:solidFill>
            </p:grpSpPr>
            <p:sp>
              <p:nvSpPr>
                <p:cNvPr id="550" name="Fluxograma: Conector 549"/>
                <p:cNvSpPr/>
                <p:nvPr/>
              </p:nvSpPr>
              <p:spPr>
                <a:xfrm>
                  <a:off x="2123736" y="26952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1" name="Fluxograma: Conector 550"/>
                <p:cNvSpPr/>
                <p:nvPr/>
              </p:nvSpPr>
              <p:spPr>
                <a:xfrm>
                  <a:off x="2548960" y="28067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2" name="Fluxograma: Conector 551"/>
                <p:cNvSpPr/>
                <p:nvPr/>
              </p:nvSpPr>
              <p:spPr>
                <a:xfrm>
                  <a:off x="2690768" y="24928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3" name="Fluxograma: Conector 552"/>
                <p:cNvSpPr/>
                <p:nvPr/>
              </p:nvSpPr>
              <p:spPr>
                <a:xfrm>
                  <a:off x="2822040" y="27038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4" name="Fluxograma: Conector 553"/>
                <p:cNvSpPr/>
                <p:nvPr/>
              </p:nvSpPr>
              <p:spPr>
                <a:xfrm>
                  <a:off x="2994536" y="296681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5" name="Fluxograma: Conector 554"/>
                <p:cNvSpPr/>
                <p:nvPr/>
              </p:nvSpPr>
              <p:spPr>
                <a:xfrm>
                  <a:off x="2994520" y="284288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6" name="Fluxograma: Conector 555"/>
                <p:cNvSpPr/>
                <p:nvPr/>
              </p:nvSpPr>
              <p:spPr>
                <a:xfrm>
                  <a:off x="3165216" y="172593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7" name="Fluxograma: Conector 556"/>
                <p:cNvSpPr/>
                <p:nvPr/>
              </p:nvSpPr>
              <p:spPr>
                <a:xfrm>
                  <a:off x="3269032" y="177282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8" name="Fluxograma: Conector 557"/>
                <p:cNvSpPr/>
                <p:nvPr/>
              </p:nvSpPr>
              <p:spPr>
                <a:xfrm>
                  <a:off x="4057904" y="16036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59" name="Fluxograma: Conector 558"/>
                <p:cNvSpPr/>
                <p:nvPr/>
              </p:nvSpPr>
              <p:spPr>
                <a:xfrm>
                  <a:off x="4422968" y="171588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0" name="Fluxograma: Conector 559"/>
                <p:cNvSpPr/>
                <p:nvPr/>
              </p:nvSpPr>
              <p:spPr>
                <a:xfrm>
                  <a:off x="4501424" y="135094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1" name="Fluxograma: Conector 560"/>
                <p:cNvSpPr/>
                <p:nvPr/>
              </p:nvSpPr>
              <p:spPr>
                <a:xfrm>
                  <a:off x="4630368" y="120357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2" name="Fluxograma: Conector 561"/>
                <p:cNvSpPr/>
                <p:nvPr/>
              </p:nvSpPr>
              <p:spPr>
                <a:xfrm>
                  <a:off x="4654056" y="142785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3" name="Fluxograma: Conector 562"/>
                <p:cNvSpPr/>
                <p:nvPr/>
              </p:nvSpPr>
              <p:spPr>
                <a:xfrm>
                  <a:off x="4823192" y="155679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4" name="Fluxograma: Conector 563"/>
                <p:cNvSpPr/>
                <p:nvPr/>
              </p:nvSpPr>
              <p:spPr>
                <a:xfrm>
                  <a:off x="4875104" y="202066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5" name="Fluxograma: Conector 564"/>
                <p:cNvSpPr/>
                <p:nvPr/>
              </p:nvSpPr>
              <p:spPr>
                <a:xfrm>
                  <a:off x="5156463" y="20435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6" name="Fluxograma: Conector 565"/>
                <p:cNvSpPr/>
                <p:nvPr/>
              </p:nvSpPr>
              <p:spPr>
                <a:xfrm>
                  <a:off x="4942633" y="147066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7" name="Fluxograma: Conector 566"/>
                <p:cNvSpPr/>
                <p:nvPr/>
              </p:nvSpPr>
              <p:spPr>
                <a:xfrm>
                  <a:off x="5058401" y="142336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8" name="Fluxograma: Conector 567"/>
                <p:cNvSpPr/>
                <p:nvPr/>
              </p:nvSpPr>
              <p:spPr>
                <a:xfrm>
                  <a:off x="4986393" y="143043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69" name="Fluxograma: Conector 568"/>
                <p:cNvSpPr/>
                <p:nvPr/>
              </p:nvSpPr>
              <p:spPr>
                <a:xfrm>
                  <a:off x="5223611" y="140924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0" name="Fluxograma: Conector 569"/>
                <p:cNvSpPr/>
                <p:nvPr/>
              </p:nvSpPr>
              <p:spPr>
                <a:xfrm>
                  <a:off x="5469271" y="161821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1" name="Fluxograma: Conector 570"/>
                <p:cNvSpPr/>
                <p:nvPr/>
              </p:nvSpPr>
              <p:spPr>
                <a:xfrm>
                  <a:off x="5597767" y="161467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2" name="Fluxograma: Conector 571"/>
                <p:cNvSpPr/>
                <p:nvPr/>
              </p:nvSpPr>
              <p:spPr>
                <a:xfrm>
                  <a:off x="5518697" y="18589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3" name="Fluxograma: Conector 572"/>
                <p:cNvSpPr/>
                <p:nvPr/>
              </p:nvSpPr>
              <p:spPr>
                <a:xfrm>
                  <a:off x="5652128" y="188858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4" name="Fluxograma: Conector 573"/>
                <p:cNvSpPr/>
                <p:nvPr/>
              </p:nvSpPr>
              <p:spPr>
                <a:xfrm>
                  <a:off x="5818652" y="199237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5" name="Fluxograma: Conector 574"/>
                <p:cNvSpPr/>
                <p:nvPr/>
              </p:nvSpPr>
              <p:spPr>
                <a:xfrm>
                  <a:off x="5978114" y="167609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6" name="Fluxograma: Conector 575"/>
                <p:cNvSpPr/>
                <p:nvPr/>
              </p:nvSpPr>
              <p:spPr>
                <a:xfrm>
                  <a:off x="6170300" y="178340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7" name="Fluxograma: Conector 576"/>
                <p:cNvSpPr/>
                <p:nvPr/>
              </p:nvSpPr>
              <p:spPr>
                <a:xfrm>
                  <a:off x="6444208" y="180951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8" name="Fluxograma: Conector 577"/>
                <p:cNvSpPr/>
                <p:nvPr/>
              </p:nvSpPr>
              <p:spPr>
                <a:xfrm>
                  <a:off x="6644006" y="199237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79" name="Fluxograma: Conector 578"/>
                <p:cNvSpPr/>
                <p:nvPr/>
              </p:nvSpPr>
              <p:spPr>
                <a:xfrm>
                  <a:off x="6495277" y="226981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0" name="Fluxograma: Conector 579"/>
                <p:cNvSpPr/>
                <p:nvPr/>
              </p:nvSpPr>
              <p:spPr>
                <a:xfrm>
                  <a:off x="6553153" y="223096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1" name="Fluxograma: Conector 580"/>
                <p:cNvSpPr/>
                <p:nvPr/>
              </p:nvSpPr>
              <p:spPr>
                <a:xfrm>
                  <a:off x="6667533" y="22627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2" name="Fluxograma: Conector 581"/>
                <p:cNvSpPr/>
                <p:nvPr/>
              </p:nvSpPr>
              <p:spPr>
                <a:xfrm>
                  <a:off x="6886857" y="20749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3" name="Fluxograma: Conector 582"/>
                <p:cNvSpPr/>
                <p:nvPr/>
              </p:nvSpPr>
              <p:spPr>
                <a:xfrm>
                  <a:off x="6937671" y="209401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4" name="Fluxograma: Conector 583"/>
                <p:cNvSpPr/>
                <p:nvPr/>
              </p:nvSpPr>
              <p:spPr>
                <a:xfrm>
                  <a:off x="6869194" y="222169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5" name="Fluxograma: Conector 584"/>
                <p:cNvSpPr/>
                <p:nvPr/>
              </p:nvSpPr>
              <p:spPr>
                <a:xfrm>
                  <a:off x="6828965" y="22945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6" name="Fluxograma: Conector 585"/>
                <p:cNvSpPr/>
                <p:nvPr/>
              </p:nvSpPr>
              <p:spPr>
                <a:xfrm>
                  <a:off x="6998544" y="23011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7" name="Fluxograma: Conector 586"/>
                <p:cNvSpPr/>
                <p:nvPr/>
              </p:nvSpPr>
              <p:spPr>
                <a:xfrm>
                  <a:off x="6988017" y="24929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8" name="Fluxograma: Conector 587"/>
                <p:cNvSpPr/>
                <p:nvPr/>
              </p:nvSpPr>
              <p:spPr>
                <a:xfrm>
                  <a:off x="6874154" y="275364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89" name="Fluxograma: Conector 588"/>
                <p:cNvSpPr/>
                <p:nvPr/>
              </p:nvSpPr>
              <p:spPr>
                <a:xfrm>
                  <a:off x="6711531" y="289908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0" name="Fluxograma: Conector 589"/>
                <p:cNvSpPr/>
                <p:nvPr/>
              </p:nvSpPr>
              <p:spPr>
                <a:xfrm>
                  <a:off x="6671302" y="29181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1" name="Fluxograma: Conector 590"/>
                <p:cNvSpPr/>
                <p:nvPr/>
              </p:nvSpPr>
              <p:spPr>
                <a:xfrm>
                  <a:off x="6854356" y="272186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2" name="Fluxograma: Conector 591"/>
                <p:cNvSpPr/>
                <p:nvPr/>
              </p:nvSpPr>
              <p:spPr>
                <a:xfrm>
                  <a:off x="6471512" y="32539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3" name="Fluxograma: Conector 592"/>
                <p:cNvSpPr/>
                <p:nvPr/>
              </p:nvSpPr>
              <p:spPr>
                <a:xfrm>
                  <a:off x="6344429" y="382999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4" name="Fluxograma: Conector 593"/>
                <p:cNvSpPr/>
                <p:nvPr/>
              </p:nvSpPr>
              <p:spPr>
                <a:xfrm>
                  <a:off x="5666244" y="373468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5" name="Fluxograma: Conector 594"/>
                <p:cNvSpPr/>
                <p:nvPr/>
              </p:nvSpPr>
              <p:spPr>
                <a:xfrm>
                  <a:off x="5690961" y="392239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6" name="Fluxograma: Conector 595"/>
                <p:cNvSpPr/>
                <p:nvPr/>
              </p:nvSpPr>
              <p:spPr>
                <a:xfrm>
                  <a:off x="5110184" y="36655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7" name="Fluxograma: Conector 596"/>
                <p:cNvSpPr/>
                <p:nvPr/>
              </p:nvSpPr>
              <p:spPr>
                <a:xfrm>
                  <a:off x="4856501" y="373954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8" name="Fluxograma: Conector 597"/>
                <p:cNvSpPr/>
                <p:nvPr/>
              </p:nvSpPr>
              <p:spPr>
                <a:xfrm>
                  <a:off x="4917916" y="36873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99" name="Fluxograma: Conector 598"/>
                <p:cNvSpPr/>
                <p:nvPr/>
              </p:nvSpPr>
              <p:spPr>
                <a:xfrm>
                  <a:off x="4849439" y="357301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0" name="Fluxograma: Conector 599"/>
                <p:cNvSpPr/>
                <p:nvPr/>
              </p:nvSpPr>
              <p:spPr>
                <a:xfrm>
                  <a:off x="4496461" y="391540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1" name="Fluxograma: Conector 600"/>
                <p:cNvSpPr/>
                <p:nvPr/>
              </p:nvSpPr>
              <p:spPr>
                <a:xfrm>
                  <a:off x="4370100" y="356242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2" name="Fluxograma: Conector 601"/>
                <p:cNvSpPr/>
                <p:nvPr/>
              </p:nvSpPr>
              <p:spPr>
                <a:xfrm>
                  <a:off x="3941583" y="299695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3" name="Fluxograma: Conector 602"/>
                <p:cNvSpPr/>
                <p:nvPr/>
              </p:nvSpPr>
              <p:spPr>
                <a:xfrm>
                  <a:off x="3862513" y="354477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4" name="Fluxograma: Conector 603"/>
                <p:cNvSpPr/>
                <p:nvPr/>
              </p:nvSpPr>
              <p:spPr>
                <a:xfrm>
                  <a:off x="4067952" y="368879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5" name="Fluxograma: Conector 604"/>
                <p:cNvSpPr/>
                <p:nvPr/>
              </p:nvSpPr>
              <p:spPr>
                <a:xfrm>
                  <a:off x="3687651" y="409826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6" name="Fluxograma: Conector 605"/>
                <p:cNvSpPr/>
                <p:nvPr/>
              </p:nvSpPr>
              <p:spPr>
                <a:xfrm>
                  <a:off x="3902750" y="428957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7" name="Fluxograma: Conector 606"/>
                <p:cNvSpPr/>
                <p:nvPr/>
              </p:nvSpPr>
              <p:spPr>
                <a:xfrm>
                  <a:off x="4067952" y="431781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8" name="Fluxograma: Conector 607"/>
                <p:cNvSpPr/>
                <p:nvPr/>
              </p:nvSpPr>
              <p:spPr>
                <a:xfrm>
                  <a:off x="4536698" y="414693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09" name="Fluxograma: Conector 608"/>
                <p:cNvSpPr/>
                <p:nvPr/>
              </p:nvSpPr>
              <p:spPr>
                <a:xfrm>
                  <a:off x="4496461" y="43651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0" name="Fluxograma: Conector 609"/>
                <p:cNvSpPr/>
                <p:nvPr/>
              </p:nvSpPr>
              <p:spPr>
                <a:xfrm>
                  <a:off x="5058409" y="394364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1" name="Fluxograma: Conector 610"/>
                <p:cNvSpPr/>
                <p:nvPr/>
              </p:nvSpPr>
              <p:spPr>
                <a:xfrm>
                  <a:off x="5004048" y="406780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2" name="Fluxograma: Conector 611"/>
                <p:cNvSpPr/>
                <p:nvPr/>
              </p:nvSpPr>
              <p:spPr>
                <a:xfrm>
                  <a:off x="5058401" y="418930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3" name="Fluxograma: Conector 612"/>
                <p:cNvSpPr/>
                <p:nvPr/>
              </p:nvSpPr>
              <p:spPr>
                <a:xfrm>
                  <a:off x="3913343" y="46390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4" name="Fluxograma: Conector 613"/>
                <p:cNvSpPr/>
                <p:nvPr/>
              </p:nvSpPr>
              <p:spPr>
                <a:xfrm>
                  <a:off x="4044557" y="45670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5" name="Fluxograma: Conector 614"/>
                <p:cNvSpPr/>
                <p:nvPr/>
              </p:nvSpPr>
              <p:spPr>
                <a:xfrm>
                  <a:off x="4654609" y="479716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6" name="Fluxograma: Conector 615"/>
                <p:cNvSpPr/>
                <p:nvPr/>
              </p:nvSpPr>
              <p:spPr>
                <a:xfrm>
                  <a:off x="4394817" y="48859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7" name="Fluxograma: Conector 616"/>
                <p:cNvSpPr/>
                <p:nvPr/>
              </p:nvSpPr>
              <p:spPr>
                <a:xfrm>
                  <a:off x="4239264" y="490892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8" name="Fluxograma: Conector 617"/>
                <p:cNvSpPr/>
                <p:nvPr/>
              </p:nvSpPr>
              <p:spPr>
                <a:xfrm>
                  <a:off x="4165589" y="50574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19" name="Fluxograma: Conector 618"/>
                <p:cNvSpPr/>
                <p:nvPr/>
              </p:nvSpPr>
              <p:spPr>
                <a:xfrm>
                  <a:off x="4359515" y="523406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0" name="Fluxograma: Conector 619"/>
                <p:cNvSpPr/>
                <p:nvPr/>
              </p:nvSpPr>
              <p:spPr>
                <a:xfrm>
                  <a:off x="4308685" y="514659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1" name="Fluxograma: Conector 620"/>
                <p:cNvSpPr/>
                <p:nvPr/>
              </p:nvSpPr>
              <p:spPr>
                <a:xfrm>
                  <a:off x="4733679" y="504495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2" name="Fluxograma: Conector 621"/>
                <p:cNvSpPr/>
                <p:nvPr/>
              </p:nvSpPr>
              <p:spPr>
                <a:xfrm>
                  <a:off x="4849439" y="511128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3" name="Fluxograma: Conector 622"/>
                <p:cNvSpPr/>
                <p:nvPr/>
              </p:nvSpPr>
              <p:spPr>
                <a:xfrm>
                  <a:off x="4868482" y="508871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4" name="Fluxograma: Conector 623"/>
                <p:cNvSpPr/>
                <p:nvPr/>
              </p:nvSpPr>
              <p:spPr>
                <a:xfrm>
                  <a:off x="4998415" y="51769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5" name="Fluxograma: Conector 624"/>
                <p:cNvSpPr/>
                <p:nvPr/>
              </p:nvSpPr>
              <p:spPr>
                <a:xfrm>
                  <a:off x="4254340" y="542404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6" name="Fluxograma: Conector 625"/>
                <p:cNvSpPr/>
                <p:nvPr/>
              </p:nvSpPr>
              <p:spPr>
                <a:xfrm>
                  <a:off x="5011825" y="547462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7" name="Fluxograma: Conector 626"/>
                <p:cNvSpPr/>
                <p:nvPr/>
              </p:nvSpPr>
              <p:spPr>
                <a:xfrm>
                  <a:off x="4187243" y="581938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8" name="Fluxograma: Conector 627"/>
                <p:cNvSpPr/>
                <p:nvPr/>
              </p:nvSpPr>
              <p:spPr>
                <a:xfrm>
                  <a:off x="4548243" y="58914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29" name="Fluxograma: Conector 628"/>
                <p:cNvSpPr/>
                <p:nvPr/>
              </p:nvSpPr>
              <p:spPr>
                <a:xfrm>
                  <a:off x="4417391" y="610036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0" name="Fluxograma: Conector 629"/>
                <p:cNvSpPr/>
                <p:nvPr/>
              </p:nvSpPr>
              <p:spPr>
                <a:xfrm>
                  <a:off x="4403275" y="61794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1" name="Fluxograma: Conector 630"/>
                <p:cNvSpPr/>
                <p:nvPr/>
              </p:nvSpPr>
              <p:spPr>
                <a:xfrm>
                  <a:off x="4435046" y="621259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2" name="Fluxograma: Conector 631"/>
                <p:cNvSpPr/>
                <p:nvPr/>
              </p:nvSpPr>
              <p:spPr>
                <a:xfrm>
                  <a:off x="5067606" y="45670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3" name="Fluxograma: Conector 632"/>
                <p:cNvSpPr/>
                <p:nvPr/>
              </p:nvSpPr>
              <p:spPr>
                <a:xfrm>
                  <a:off x="5133940" y="461290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4" name="Fluxograma: Conector 633"/>
                <p:cNvSpPr/>
                <p:nvPr/>
              </p:nvSpPr>
              <p:spPr>
                <a:xfrm>
                  <a:off x="5248320" y="481620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5" name="Fluxograma: Conector 634"/>
                <p:cNvSpPr/>
                <p:nvPr/>
              </p:nvSpPr>
              <p:spPr>
                <a:xfrm>
                  <a:off x="5418375" y="46284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6" name="Fluxograma: Conector 635"/>
                <p:cNvSpPr/>
                <p:nvPr/>
              </p:nvSpPr>
              <p:spPr>
                <a:xfrm>
                  <a:off x="5353495" y="44371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7" name="Fluxograma: Conector 636"/>
                <p:cNvSpPr/>
                <p:nvPr/>
              </p:nvSpPr>
              <p:spPr>
                <a:xfrm>
                  <a:off x="5495302" y="441945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8" name="Fluxograma: Conector 637"/>
                <p:cNvSpPr/>
                <p:nvPr/>
              </p:nvSpPr>
              <p:spPr>
                <a:xfrm>
                  <a:off x="5625777" y="47835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39" name="Fluxograma: Conector 638"/>
                <p:cNvSpPr/>
                <p:nvPr/>
              </p:nvSpPr>
              <p:spPr>
                <a:xfrm>
                  <a:off x="5713305" y="47150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0" name="Fluxograma: Conector 639"/>
                <p:cNvSpPr/>
                <p:nvPr/>
              </p:nvSpPr>
              <p:spPr>
                <a:xfrm>
                  <a:off x="5766262" y="47256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1" name="Fluxograma: Conector 640"/>
                <p:cNvSpPr/>
                <p:nvPr/>
              </p:nvSpPr>
              <p:spPr>
                <a:xfrm>
                  <a:off x="5802968" y="47693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2" name="Fluxograma: Conector 641"/>
                <p:cNvSpPr/>
                <p:nvPr/>
              </p:nvSpPr>
              <p:spPr>
                <a:xfrm>
                  <a:off x="5727659" y="450558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3" name="Fluxograma: Conector 642"/>
                <p:cNvSpPr/>
                <p:nvPr/>
              </p:nvSpPr>
              <p:spPr>
                <a:xfrm>
                  <a:off x="5597767" y="441100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4" name="Fluxograma: Conector 643"/>
                <p:cNvSpPr/>
                <p:nvPr/>
              </p:nvSpPr>
              <p:spPr>
                <a:xfrm>
                  <a:off x="5673306" y="430015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5" name="Fluxograma: Conector 644"/>
                <p:cNvSpPr/>
                <p:nvPr/>
              </p:nvSpPr>
              <p:spPr>
                <a:xfrm>
                  <a:off x="5637996" y="418439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6" name="Fluxograma: Conector 645"/>
                <p:cNvSpPr/>
                <p:nvPr/>
              </p:nvSpPr>
              <p:spPr>
                <a:xfrm>
                  <a:off x="5724136" y="42930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7" name="Fluxograma: Conector 646"/>
                <p:cNvSpPr/>
                <p:nvPr/>
              </p:nvSpPr>
              <p:spPr>
                <a:xfrm>
                  <a:off x="5803198" y="434744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8" name="Fluxograma: Conector 647"/>
                <p:cNvSpPr/>
                <p:nvPr/>
              </p:nvSpPr>
              <p:spPr>
                <a:xfrm>
                  <a:off x="6185820" y="42930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49" name="Fluxograma: Conector 648"/>
                <p:cNvSpPr/>
                <p:nvPr/>
              </p:nvSpPr>
              <p:spPr>
                <a:xfrm>
                  <a:off x="5943683" y="438982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0" name="Fluxograma: Conector 649"/>
                <p:cNvSpPr/>
                <p:nvPr/>
              </p:nvSpPr>
              <p:spPr>
                <a:xfrm>
                  <a:off x="5908373" y="446182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1" name="Fluxograma: Conector 650"/>
                <p:cNvSpPr/>
                <p:nvPr/>
              </p:nvSpPr>
              <p:spPr>
                <a:xfrm>
                  <a:off x="6029815" y="446182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2" name="Fluxograma: Conector 651"/>
                <p:cNvSpPr/>
                <p:nvPr/>
              </p:nvSpPr>
              <p:spPr>
                <a:xfrm>
                  <a:off x="6055921" y="460856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653" name="Fluxograma: Conector 652"/>
                <p:cNvSpPr/>
                <p:nvPr/>
              </p:nvSpPr>
              <p:spPr>
                <a:xfrm>
                  <a:off x="6001568" y="465314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  <p:grpSp>
            <p:nvGrpSpPr>
              <p:cNvPr id="393" name="Grupo 398"/>
              <p:cNvGrpSpPr/>
              <p:nvPr/>
            </p:nvGrpSpPr>
            <p:grpSpPr bwMode="auto">
              <a:xfrm>
                <a:off x="6146226" y="1952260"/>
                <a:ext cx="2691699" cy="2394315"/>
                <a:chOff x="1645072" y="1484784"/>
                <a:chExt cx="5672750" cy="5045323"/>
              </a:xfrm>
              <a:solidFill>
                <a:srgbClr val="0070C0"/>
              </a:solidFill>
            </p:grpSpPr>
            <p:sp>
              <p:nvSpPr>
                <p:cNvPr id="440" name="Fluxograma: Conector 439"/>
                <p:cNvSpPr/>
                <p:nvPr/>
              </p:nvSpPr>
              <p:spPr>
                <a:xfrm>
                  <a:off x="3059832" y="184483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1" name="Fluxograma: Conector 440"/>
                <p:cNvSpPr/>
                <p:nvPr/>
              </p:nvSpPr>
              <p:spPr>
                <a:xfrm>
                  <a:off x="3426230" y="166905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2" name="Fluxograma: Conector 441"/>
                <p:cNvSpPr/>
                <p:nvPr/>
              </p:nvSpPr>
              <p:spPr>
                <a:xfrm>
                  <a:off x="3529980" y="169445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3" name="Fluxograma: Conector 442"/>
                <p:cNvSpPr/>
                <p:nvPr/>
              </p:nvSpPr>
              <p:spPr>
                <a:xfrm>
                  <a:off x="3767220" y="172620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4" name="Fluxograma: Conector 443"/>
                <p:cNvSpPr/>
                <p:nvPr/>
              </p:nvSpPr>
              <p:spPr>
                <a:xfrm>
                  <a:off x="4014986" y="162880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5" name="Fluxograma: Conector 444"/>
                <p:cNvSpPr/>
                <p:nvPr/>
              </p:nvSpPr>
              <p:spPr>
                <a:xfrm>
                  <a:off x="1645072" y="236158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6" name="Fluxograma: Conector 445"/>
                <p:cNvSpPr/>
                <p:nvPr/>
              </p:nvSpPr>
              <p:spPr>
                <a:xfrm>
                  <a:off x="3072540" y="27004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7" name="Fluxograma: Conector 446"/>
                <p:cNvSpPr/>
                <p:nvPr/>
              </p:nvSpPr>
              <p:spPr>
                <a:xfrm>
                  <a:off x="4120910" y="355613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8" name="Fluxograma: Conector 447"/>
                <p:cNvSpPr/>
                <p:nvPr/>
              </p:nvSpPr>
              <p:spPr>
                <a:xfrm>
                  <a:off x="4637666" y="356666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49" name="Fluxograma: Conector 448"/>
                <p:cNvSpPr/>
                <p:nvPr/>
              </p:nvSpPr>
              <p:spPr>
                <a:xfrm>
                  <a:off x="5035764" y="21381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0" name="Fluxograma: Conector 449"/>
                <p:cNvSpPr/>
                <p:nvPr/>
              </p:nvSpPr>
              <p:spPr>
                <a:xfrm>
                  <a:off x="5065484" y="180253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1" name="Fluxograma: Conector 450"/>
                <p:cNvSpPr/>
                <p:nvPr/>
              </p:nvSpPr>
              <p:spPr>
                <a:xfrm>
                  <a:off x="5455252" y="148478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2" name="Fluxograma: Conector 451"/>
                <p:cNvSpPr/>
                <p:nvPr/>
              </p:nvSpPr>
              <p:spPr>
                <a:xfrm>
                  <a:off x="5414952" y="16796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3" name="Fluxograma: Conector 452"/>
                <p:cNvSpPr/>
                <p:nvPr/>
              </p:nvSpPr>
              <p:spPr>
                <a:xfrm>
                  <a:off x="6002642" y="179720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4" name="Fluxograma: Conector 453"/>
                <p:cNvSpPr/>
                <p:nvPr/>
              </p:nvSpPr>
              <p:spPr>
                <a:xfrm>
                  <a:off x="6151413" y="172938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5" name="Fluxograma: Conector 454"/>
                <p:cNvSpPr/>
                <p:nvPr/>
              </p:nvSpPr>
              <p:spPr>
                <a:xfrm>
                  <a:off x="5599172" y="208467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6" name="Fluxograma: Conector 455"/>
                <p:cNvSpPr/>
                <p:nvPr/>
              </p:nvSpPr>
              <p:spPr>
                <a:xfrm>
                  <a:off x="6099028" y="198407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7" name="Fluxograma: Conector 456"/>
                <p:cNvSpPr/>
                <p:nvPr/>
              </p:nvSpPr>
              <p:spPr>
                <a:xfrm>
                  <a:off x="6055590" y="22334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8" name="Fluxograma: Conector 457"/>
                <p:cNvSpPr/>
                <p:nvPr/>
              </p:nvSpPr>
              <p:spPr>
                <a:xfrm>
                  <a:off x="6295437" y="23012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59" name="Fluxograma: Conector 458"/>
                <p:cNvSpPr/>
                <p:nvPr/>
              </p:nvSpPr>
              <p:spPr>
                <a:xfrm>
                  <a:off x="5287325" y="231077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0" name="Fluxograma: Conector 459"/>
                <p:cNvSpPr/>
                <p:nvPr/>
              </p:nvSpPr>
              <p:spPr>
                <a:xfrm>
                  <a:off x="5484297" y="316955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1" name="Fluxograma: Conector 460"/>
                <p:cNvSpPr/>
                <p:nvPr/>
              </p:nvSpPr>
              <p:spPr>
                <a:xfrm>
                  <a:off x="5157590" y="298742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2" name="Fluxograma: Conector 461"/>
                <p:cNvSpPr/>
                <p:nvPr/>
              </p:nvSpPr>
              <p:spPr>
                <a:xfrm>
                  <a:off x="5277791" y="27279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3" name="Fluxograma: Conector 462"/>
                <p:cNvSpPr/>
                <p:nvPr/>
              </p:nvSpPr>
              <p:spPr>
                <a:xfrm>
                  <a:off x="5253976" y="281006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4" name="Fluxograma: Conector 463"/>
                <p:cNvSpPr/>
                <p:nvPr/>
              </p:nvSpPr>
              <p:spPr>
                <a:xfrm>
                  <a:off x="5181405" y="27523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5" name="Fluxograma: Conector 464"/>
                <p:cNvSpPr/>
                <p:nvPr/>
              </p:nvSpPr>
              <p:spPr>
                <a:xfrm>
                  <a:off x="5758040" y="304991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6" name="Fluxograma: Conector 465"/>
                <p:cNvSpPr/>
                <p:nvPr/>
              </p:nvSpPr>
              <p:spPr>
                <a:xfrm>
                  <a:off x="5863381" y="354864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7" name="Fluxograma: Conector 466"/>
                <p:cNvSpPr/>
                <p:nvPr/>
              </p:nvSpPr>
              <p:spPr>
                <a:xfrm>
                  <a:off x="6386497" y="345757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8" name="Fluxograma: Conector 467"/>
                <p:cNvSpPr/>
                <p:nvPr/>
              </p:nvSpPr>
              <p:spPr>
                <a:xfrm>
                  <a:off x="6602521" y="315049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69" name="Fluxograma: Conector 468"/>
                <p:cNvSpPr/>
                <p:nvPr/>
              </p:nvSpPr>
              <p:spPr>
                <a:xfrm>
                  <a:off x="6660232" y="310286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0" name="Fluxograma: Conector 469"/>
                <p:cNvSpPr/>
                <p:nvPr/>
              </p:nvSpPr>
              <p:spPr>
                <a:xfrm>
                  <a:off x="6737003" y="31748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1" name="Fluxograma: Conector 470"/>
                <p:cNvSpPr/>
                <p:nvPr/>
              </p:nvSpPr>
              <p:spPr>
                <a:xfrm>
                  <a:off x="6492401" y="27809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2" name="Fluxograma: Conector 471"/>
                <p:cNvSpPr/>
                <p:nvPr/>
              </p:nvSpPr>
              <p:spPr>
                <a:xfrm>
                  <a:off x="6444208" y="263691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3" name="Fluxograma: Conector 472"/>
                <p:cNvSpPr/>
                <p:nvPr/>
              </p:nvSpPr>
              <p:spPr>
                <a:xfrm>
                  <a:off x="6828063" y="223820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4" name="Fluxograma: Conector 473"/>
                <p:cNvSpPr/>
                <p:nvPr/>
              </p:nvSpPr>
              <p:spPr>
                <a:xfrm>
                  <a:off x="6876256" y="207990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5" name="Fluxograma: Conector 474"/>
                <p:cNvSpPr/>
                <p:nvPr/>
              </p:nvSpPr>
              <p:spPr>
                <a:xfrm>
                  <a:off x="6660240" y="195549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6" name="Fluxograma: Conector 475"/>
                <p:cNvSpPr/>
                <p:nvPr/>
              </p:nvSpPr>
              <p:spPr>
                <a:xfrm>
                  <a:off x="6592987" y="229592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7" name="Fluxograma: Conector 476"/>
                <p:cNvSpPr/>
                <p:nvPr/>
              </p:nvSpPr>
              <p:spPr>
                <a:xfrm>
                  <a:off x="6626899" y="227687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8" name="Fluxograma: Conector 477"/>
                <p:cNvSpPr/>
                <p:nvPr/>
              </p:nvSpPr>
              <p:spPr>
                <a:xfrm>
                  <a:off x="7164296" y="211856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79" name="Fluxograma: Conector 478"/>
                <p:cNvSpPr/>
                <p:nvPr/>
              </p:nvSpPr>
              <p:spPr>
                <a:xfrm>
                  <a:off x="7183340" y="20608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0" name="Fluxograma: Conector 479"/>
                <p:cNvSpPr/>
                <p:nvPr/>
              </p:nvSpPr>
              <p:spPr>
                <a:xfrm>
                  <a:off x="7222007" y="22132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1" name="Fluxograma: Conector 480"/>
                <p:cNvSpPr/>
                <p:nvPr/>
              </p:nvSpPr>
              <p:spPr>
                <a:xfrm>
                  <a:off x="7192874" y="244947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2" name="Fluxograma: Conector 481"/>
                <p:cNvSpPr/>
                <p:nvPr/>
              </p:nvSpPr>
              <p:spPr>
                <a:xfrm>
                  <a:off x="7245822" y="236316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3" name="Fluxograma: Conector 482"/>
                <p:cNvSpPr/>
                <p:nvPr/>
              </p:nvSpPr>
              <p:spPr>
                <a:xfrm>
                  <a:off x="7154762" y="267978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4" name="Fluxograma: Conector 483"/>
                <p:cNvSpPr/>
                <p:nvPr/>
              </p:nvSpPr>
              <p:spPr>
                <a:xfrm>
                  <a:off x="6943501" y="284171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5" name="Fluxograma: Conector 484"/>
                <p:cNvSpPr/>
                <p:nvPr/>
              </p:nvSpPr>
              <p:spPr>
                <a:xfrm>
                  <a:off x="6890545" y="281903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6" name="Fluxograma: Conector 485"/>
                <p:cNvSpPr/>
                <p:nvPr/>
              </p:nvSpPr>
              <p:spPr>
                <a:xfrm>
                  <a:off x="7020272" y="274702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7" name="Fluxograma: Conector 486"/>
                <p:cNvSpPr/>
                <p:nvPr/>
              </p:nvSpPr>
              <p:spPr>
                <a:xfrm>
                  <a:off x="7106006" y="249289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8" name="Fluxograma: Conector 487"/>
                <p:cNvSpPr/>
                <p:nvPr/>
              </p:nvSpPr>
              <p:spPr>
                <a:xfrm>
                  <a:off x="7049421" y="254108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89" name="Fluxograma: Conector 488"/>
                <p:cNvSpPr/>
                <p:nvPr/>
              </p:nvSpPr>
              <p:spPr>
                <a:xfrm>
                  <a:off x="7020272" y="260357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0" name="Fluxograma: Conector 489"/>
                <p:cNvSpPr/>
                <p:nvPr/>
              </p:nvSpPr>
              <p:spPr>
                <a:xfrm>
                  <a:off x="7010746" y="26607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 dirty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1" name="Fluxograma: Conector 490"/>
                <p:cNvSpPr/>
                <p:nvPr/>
              </p:nvSpPr>
              <p:spPr>
                <a:xfrm>
                  <a:off x="5378377" y="353435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2" name="Fluxograma: Conector 491"/>
                <p:cNvSpPr/>
                <p:nvPr/>
              </p:nvSpPr>
              <p:spPr>
                <a:xfrm>
                  <a:off x="5296843" y="35587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3" name="Fluxograma: Conector 492"/>
                <p:cNvSpPr/>
                <p:nvPr/>
              </p:nvSpPr>
              <p:spPr>
                <a:xfrm>
                  <a:off x="5321221" y="361168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4" name="Fluxograma: Conector 493"/>
                <p:cNvSpPr/>
                <p:nvPr/>
              </p:nvSpPr>
              <p:spPr>
                <a:xfrm>
                  <a:off x="4620201" y="399554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5" name="Fluxograma: Conector 494"/>
                <p:cNvSpPr/>
                <p:nvPr/>
              </p:nvSpPr>
              <p:spPr>
                <a:xfrm>
                  <a:off x="5099879" y="408659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6" name="Fluxograma: Conector 495"/>
                <p:cNvSpPr/>
                <p:nvPr/>
              </p:nvSpPr>
              <p:spPr>
                <a:xfrm>
                  <a:off x="4058426" y="441522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7" name="Fluxograma: Conector 496"/>
                <p:cNvSpPr/>
                <p:nvPr/>
              </p:nvSpPr>
              <p:spPr>
                <a:xfrm>
                  <a:off x="4398851" y="47442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8" name="Fluxograma: Conector 497"/>
                <p:cNvSpPr/>
                <p:nvPr/>
              </p:nvSpPr>
              <p:spPr>
                <a:xfrm>
                  <a:off x="4527436" y="460970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99" name="Fluxograma: Conector 498"/>
                <p:cNvSpPr/>
                <p:nvPr/>
              </p:nvSpPr>
              <p:spPr>
                <a:xfrm>
                  <a:off x="4855277" y="48120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0" name="Fluxograma: Conector 499"/>
                <p:cNvSpPr/>
                <p:nvPr/>
              </p:nvSpPr>
              <p:spPr>
                <a:xfrm>
                  <a:off x="4802313" y="483581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1" name="Fluxograma: Conector 500"/>
                <p:cNvSpPr/>
                <p:nvPr/>
              </p:nvSpPr>
              <p:spPr>
                <a:xfrm>
                  <a:off x="4365502" y="510899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2" name="Fluxograma: Conector 501"/>
                <p:cNvSpPr/>
                <p:nvPr/>
              </p:nvSpPr>
              <p:spPr>
                <a:xfrm>
                  <a:off x="4461333" y="499832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3" name="Fluxograma: Conector 502"/>
                <p:cNvSpPr/>
                <p:nvPr/>
              </p:nvSpPr>
              <p:spPr>
                <a:xfrm>
                  <a:off x="4485148" y="515548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4" name="Fluxograma: Conector 503"/>
                <p:cNvSpPr/>
                <p:nvPr/>
              </p:nvSpPr>
              <p:spPr>
                <a:xfrm>
                  <a:off x="4656600" y="51126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5" name="Fluxograma: Conector 504"/>
                <p:cNvSpPr/>
                <p:nvPr/>
              </p:nvSpPr>
              <p:spPr>
                <a:xfrm>
                  <a:off x="4567237" y="522690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6" name="Fluxograma: Conector 505"/>
                <p:cNvSpPr/>
                <p:nvPr/>
              </p:nvSpPr>
              <p:spPr>
                <a:xfrm>
                  <a:off x="5229606" y="517148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7" name="Fluxograma: Conector 506"/>
                <p:cNvSpPr/>
                <p:nvPr/>
              </p:nvSpPr>
              <p:spPr>
                <a:xfrm>
                  <a:off x="5186731" y="524405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8" name="Fluxograma: Conector 507"/>
                <p:cNvSpPr/>
                <p:nvPr/>
              </p:nvSpPr>
              <p:spPr>
                <a:xfrm>
                  <a:off x="5215872" y="537263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09" name="Fluxograma: Conector 508"/>
                <p:cNvSpPr/>
                <p:nvPr/>
              </p:nvSpPr>
              <p:spPr>
                <a:xfrm>
                  <a:off x="4937366" y="541720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0" name="Fluxograma: Conector 509"/>
                <p:cNvSpPr/>
                <p:nvPr/>
              </p:nvSpPr>
              <p:spPr>
                <a:xfrm>
                  <a:off x="4673149" y="547380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1" name="Fluxograma: Conector 510"/>
                <p:cNvSpPr/>
                <p:nvPr/>
              </p:nvSpPr>
              <p:spPr>
                <a:xfrm>
                  <a:off x="4629719" y="538330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2" name="Fluxograma: Conector 511"/>
                <p:cNvSpPr/>
                <p:nvPr/>
              </p:nvSpPr>
              <p:spPr>
                <a:xfrm>
                  <a:off x="4701735" y="566069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3" name="Fluxograma: Conector 512"/>
                <p:cNvSpPr/>
                <p:nvPr/>
              </p:nvSpPr>
              <p:spPr>
                <a:xfrm>
                  <a:off x="4946900" y="586299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4" name="Fluxograma: Conector 513"/>
                <p:cNvSpPr/>
                <p:nvPr/>
              </p:nvSpPr>
              <p:spPr>
                <a:xfrm>
                  <a:off x="4322635" y="557551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5" name="Fluxograma: Conector 514"/>
                <p:cNvSpPr/>
                <p:nvPr/>
              </p:nvSpPr>
              <p:spPr>
                <a:xfrm>
                  <a:off x="4159567" y="565648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6" name="Fluxograma: Conector 515"/>
                <p:cNvSpPr/>
                <p:nvPr/>
              </p:nvSpPr>
              <p:spPr>
                <a:xfrm>
                  <a:off x="4101848" y="573801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7" name="Fluxograma: Conector 516"/>
                <p:cNvSpPr/>
                <p:nvPr/>
              </p:nvSpPr>
              <p:spPr>
                <a:xfrm>
                  <a:off x="3972121" y="586184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8" name="Fluxograma: Conector 517"/>
                <p:cNvSpPr/>
                <p:nvPr/>
              </p:nvSpPr>
              <p:spPr>
                <a:xfrm>
                  <a:off x="4157862" y="584449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19" name="Fluxograma: Conector 518"/>
                <p:cNvSpPr/>
                <p:nvPr/>
              </p:nvSpPr>
              <p:spPr>
                <a:xfrm>
                  <a:off x="4490474" y="581479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0" name="Fluxograma: Conector 519"/>
                <p:cNvSpPr/>
                <p:nvPr/>
              </p:nvSpPr>
              <p:spPr>
                <a:xfrm>
                  <a:off x="4490474" y="600053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1" name="Fluxograma: Conector 520"/>
                <p:cNvSpPr/>
                <p:nvPr/>
              </p:nvSpPr>
              <p:spPr>
                <a:xfrm>
                  <a:off x="4355976" y="591593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2" name="Fluxograma: Conector 521"/>
                <p:cNvSpPr/>
                <p:nvPr/>
              </p:nvSpPr>
              <p:spPr>
                <a:xfrm>
                  <a:off x="4222049" y="59450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3" name="Fluxograma: Conector 522"/>
                <p:cNvSpPr/>
                <p:nvPr/>
              </p:nvSpPr>
              <p:spPr>
                <a:xfrm>
                  <a:off x="4322072" y="605882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4" name="Fluxograma: Conector 523"/>
                <p:cNvSpPr/>
                <p:nvPr/>
              </p:nvSpPr>
              <p:spPr>
                <a:xfrm>
                  <a:off x="4408932" y="609385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5" name="Fluxograma: Conector 524"/>
                <p:cNvSpPr/>
                <p:nvPr/>
              </p:nvSpPr>
              <p:spPr>
                <a:xfrm>
                  <a:off x="4547043" y="645810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6" name="Fluxograma: Conector 525"/>
                <p:cNvSpPr/>
                <p:nvPr/>
              </p:nvSpPr>
              <p:spPr>
                <a:xfrm>
                  <a:off x="4519607" y="628663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7" name="Fluxograma: Conector 526"/>
                <p:cNvSpPr/>
                <p:nvPr/>
              </p:nvSpPr>
              <p:spPr>
                <a:xfrm>
                  <a:off x="4672007" y="617006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8" name="Fluxograma: Conector 527"/>
                <p:cNvSpPr/>
                <p:nvPr/>
              </p:nvSpPr>
              <p:spPr>
                <a:xfrm>
                  <a:off x="4697527" y="607480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29" name="Fluxograma: Conector 528"/>
                <p:cNvSpPr/>
                <p:nvPr/>
              </p:nvSpPr>
              <p:spPr>
                <a:xfrm>
                  <a:off x="6530505" y="405802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0" name="Fluxograma: Conector 529"/>
                <p:cNvSpPr/>
                <p:nvPr/>
              </p:nvSpPr>
              <p:spPr>
                <a:xfrm>
                  <a:off x="6281703" y="391456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1" name="Fluxograma: Conector 530"/>
                <p:cNvSpPr/>
                <p:nvPr/>
              </p:nvSpPr>
              <p:spPr>
                <a:xfrm>
                  <a:off x="6213895" y="406696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2" name="Fluxograma: Conector 531"/>
                <p:cNvSpPr/>
                <p:nvPr/>
              </p:nvSpPr>
              <p:spPr>
                <a:xfrm>
                  <a:off x="5584883" y="410029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3" name="Fluxograma: Conector 532"/>
                <p:cNvSpPr/>
                <p:nvPr/>
              </p:nvSpPr>
              <p:spPr>
                <a:xfrm>
                  <a:off x="5772329" y="425745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4" name="Fluxograma: Conector 533"/>
                <p:cNvSpPr/>
                <p:nvPr/>
              </p:nvSpPr>
              <p:spPr>
                <a:xfrm>
                  <a:off x="5853855" y="421632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5" name="Fluxograma: Conector 534"/>
                <p:cNvSpPr/>
                <p:nvPr/>
              </p:nvSpPr>
              <p:spPr>
                <a:xfrm>
                  <a:off x="6030070" y="418718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6" name="Fluxograma: Conector 535"/>
                <p:cNvSpPr/>
                <p:nvPr/>
              </p:nvSpPr>
              <p:spPr>
                <a:xfrm>
                  <a:off x="6084168" y="435863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7" name="Fluxograma: Conector 536"/>
                <p:cNvSpPr/>
                <p:nvPr/>
              </p:nvSpPr>
              <p:spPr>
                <a:xfrm>
                  <a:off x="5954441" y="432700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8" name="Fluxograma: Conector 537"/>
                <p:cNvSpPr/>
                <p:nvPr/>
              </p:nvSpPr>
              <p:spPr>
                <a:xfrm>
                  <a:off x="5695550" y="448892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39" name="Fluxograma: Conector 538"/>
                <p:cNvSpPr/>
                <p:nvPr/>
              </p:nvSpPr>
              <p:spPr>
                <a:xfrm>
                  <a:off x="5537245" y="451444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0" name="Fluxograma: Conector 539"/>
                <p:cNvSpPr/>
                <p:nvPr/>
              </p:nvSpPr>
              <p:spPr>
                <a:xfrm>
                  <a:off x="5392666" y="479068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1" name="Fluxograma: Conector 540"/>
                <p:cNvSpPr/>
                <p:nvPr/>
              </p:nvSpPr>
              <p:spPr>
                <a:xfrm>
                  <a:off x="5526014" y="483581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2" name="Fluxograma: Conector 541"/>
                <p:cNvSpPr/>
                <p:nvPr/>
              </p:nvSpPr>
              <p:spPr>
                <a:xfrm>
                  <a:off x="5575349" y="487448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3" name="Fluxograma: Conector 542"/>
                <p:cNvSpPr/>
                <p:nvPr/>
              </p:nvSpPr>
              <p:spPr>
                <a:xfrm>
                  <a:off x="5633068" y="474532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4" name="Fluxograma: Conector 543"/>
                <p:cNvSpPr/>
                <p:nvPr/>
              </p:nvSpPr>
              <p:spPr>
                <a:xfrm>
                  <a:off x="5561060" y="475484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5" name="Fluxograma: Conector 544"/>
                <p:cNvSpPr/>
                <p:nvPr/>
              </p:nvSpPr>
              <p:spPr>
                <a:xfrm>
                  <a:off x="6243036" y="468760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6" name="Fluxograma: Conector 545"/>
                <p:cNvSpPr/>
                <p:nvPr/>
              </p:nvSpPr>
              <p:spPr>
                <a:xfrm>
                  <a:off x="6175228" y="4619795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7" name="Fluxograma: Conector 546"/>
                <p:cNvSpPr/>
                <p:nvPr/>
              </p:nvSpPr>
              <p:spPr>
                <a:xfrm>
                  <a:off x="5963967" y="477277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8" name="Fluxograma: Conector 547"/>
                <p:cNvSpPr/>
                <p:nvPr/>
              </p:nvSpPr>
              <p:spPr>
                <a:xfrm>
                  <a:off x="6007397" y="475372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549" name="Fluxograma: Conector 548"/>
                <p:cNvSpPr/>
                <p:nvPr/>
              </p:nvSpPr>
              <p:spPr>
                <a:xfrm>
                  <a:off x="6055011" y="473465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  <p:grpSp>
            <p:nvGrpSpPr>
              <p:cNvPr id="394" name="Grupo 509"/>
              <p:cNvGrpSpPr/>
              <p:nvPr/>
            </p:nvGrpSpPr>
            <p:grpSpPr bwMode="auto">
              <a:xfrm>
                <a:off x="7325276" y="1918088"/>
                <a:ext cx="1510313" cy="2152849"/>
                <a:chOff x="3888495" y="1412776"/>
                <a:chExt cx="3182982" cy="4536504"/>
              </a:xfrm>
              <a:solidFill>
                <a:srgbClr val="C00000"/>
              </a:solidFill>
            </p:grpSpPr>
            <p:sp>
              <p:nvSpPr>
                <p:cNvPr id="395" name="Fluxograma: Conector 394"/>
                <p:cNvSpPr/>
                <p:nvPr/>
              </p:nvSpPr>
              <p:spPr>
                <a:xfrm>
                  <a:off x="3888495" y="15702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96" name="Fluxograma: Conector 395"/>
                <p:cNvSpPr/>
                <p:nvPr/>
              </p:nvSpPr>
              <p:spPr>
                <a:xfrm>
                  <a:off x="3938558" y="18583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97" name="Fluxograma: Conector 396"/>
                <p:cNvSpPr/>
                <p:nvPr/>
              </p:nvSpPr>
              <p:spPr>
                <a:xfrm>
                  <a:off x="4090958" y="151404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98" name="Fluxograma: Conector 397"/>
                <p:cNvSpPr/>
                <p:nvPr/>
              </p:nvSpPr>
              <p:spPr>
                <a:xfrm>
                  <a:off x="4190015" y="153484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399" name="Fluxograma: Conector 398"/>
                <p:cNvSpPr/>
                <p:nvPr/>
              </p:nvSpPr>
              <p:spPr>
                <a:xfrm>
                  <a:off x="4521937" y="178234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0" name="Fluxograma: Conector 399"/>
                <p:cNvSpPr/>
                <p:nvPr/>
              </p:nvSpPr>
              <p:spPr>
                <a:xfrm>
                  <a:off x="4838095" y="176649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1" name="Fluxograma: Conector 400"/>
                <p:cNvSpPr/>
                <p:nvPr/>
              </p:nvSpPr>
              <p:spPr>
                <a:xfrm>
                  <a:off x="5019755" y="144820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2" name="Fluxograma: Conector 401"/>
                <p:cNvSpPr/>
                <p:nvPr/>
              </p:nvSpPr>
              <p:spPr>
                <a:xfrm>
                  <a:off x="5067599" y="158597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3" name="Fluxograma: Conector 402"/>
                <p:cNvSpPr/>
                <p:nvPr/>
              </p:nvSpPr>
              <p:spPr>
                <a:xfrm>
                  <a:off x="5212684" y="141277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4" name="Fluxograma: Conector 403"/>
                <p:cNvSpPr/>
                <p:nvPr/>
              </p:nvSpPr>
              <p:spPr>
                <a:xfrm>
                  <a:off x="5089544" y="191684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5" name="Fluxograma: Conector 404"/>
                <p:cNvSpPr/>
                <p:nvPr/>
              </p:nvSpPr>
              <p:spPr>
                <a:xfrm>
                  <a:off x="4492685" y="220091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6" name="Fluxograma: Conector 405"/>
                <p:cNvSpPr/>
                <p:nvPr/>
              </p:nvSpPr>
              <p:spPr>
                <a:xfrm>
                  <a:off x="4802662" y="226553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7" name="Fluxograma: Conector 406"/>
                <p:cNvSpPr/>
                <p:nvPr/>
              </p:nvSpPr>
              <p:spPr>
                <a:xfrm>
                  <a:off x="4708701" y="263692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8" name="Fluxograma: Conector 407"/>
                <p:cNvSpPr/>
                <p:nvPr/>
              </p:nvSpPr>
              <p:spPr>
                <a:xfrm>
                  <a:off x="3888495" y="355724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09" name="Fluxograma: Conector 408"/>
                <p:cNvSpPr/>
                <p:nvPr/>
              </p:nvSpPr>
              <p:spPr>
                <a:xfrm>
                  <a:off x="4902780" y="375353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0" name="Fluxograma: Conector 409"/>
                <p:cNvSpPr/>
                <p:nvPr/>
              </p:nvSpPr>
              <p:spPr>
                <a:xfrm>
                  <a:off x="5099070" y="365119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1" name="Fluxograma: Conector 410"/>
                <p:cNvSpPr/>
                <p:nvPr/>
              </p:nvSpPr>
              <p:spPr>
                <a:xfrm>
                  <a:off x="5244155" y="365233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2" name="Fluxograma: Conector 411"/>
                <p:cNvSpPr/>
                <p:nvPr/>
              </p:nvSpPr>
              <p:spPr>
                <a:xfrm>
                  <a:off x="5305568" y="401970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3" name="Fluxograma: Conector 412"/>
                <p:cNvSpPr/>
                <p:nvPr/>
              </p:nvSpPr>
              <p:spPr>
                <a:xfrm>
                  <a:off x="5161552" y="4056269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4" name="Fluxograma: Conector 413"/>
                <p:cNvSpPr/>
                <p:nvPr/>
              </p:nvSpPr>
              <p:spPr>
                <a:xfrm>
                  <a:off x="5976727" y="405512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5" name="Fluxograma: Conector 414"/>
                <p:cNvSpPr/>
                <p:nvPr/>
              </p:nvSpPr>
              <p:spPr>
                <a:xfrm>
                  <a:off x="5780364" y="359496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6" name="Fluxograma: Conector 415"/>
                <p:cNvSpPr/>
                <p:nvPr/>
              </p:nvSpPr>
              <p:spPr>
                <a:xfrm>
                  <a:off x="5810766" y="287488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7" name="Fluxograma: Conector 416"/>
                <p:cNvSpPr/>
                <p:nvPr/>
              </p:nvSpPr>
              <p:spPr>
                <a:xfrm>
                  <a:off x="5406844" y="3027281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8" name="Fluxograma: Conector 417"/>
                <p:cNvSpPr/>
                <p:nvPr/>
              </p:nvSpPr>
              <p:spPr>
                <a:xfrm>
                  <a:off x="5768026" y="320162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19" name="Fluxograma: Conector 418"/>
                <p:cNvSpPr/>
                <p:nvPr/>
              </p:nvSpPr>
              <p:spPr>
                <a:xfrm>
                  <a:off x="5378718" y="234042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0" name="Fluxograma: Conector 419"/>
                <p:cNvSpPr/>
                <p:nvPr/>
              </p:nvSpPr>
              <p:spPr>
                <a:xfrm>
                  <a:off x="6170814" y="198769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1" name="Fluxograma: Conector 420"/>
                <p:cNvSpPr/>
                <p:nvPr/>
              </p:nvSpPr>
              <p:spPr>
                <a:xfrm>
                  <a:off x="6567429" y="19595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2" name="Fluxograma: Conector 421"/>
                <p:cNvSpPr/>
                <p:nvPr/>
              </p:nvSpPr>
              <p:spPr>
                <a:xfrm>
                  <a:off x="6537019" y="21119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3" name="Fluxograma: Conector 422"/>
                <p:cNvSpPr/>
                <p:nvPr/>
              </p:nvSpPr>
              <p:spPr>
                <a:xfrm>
                  <a:off x="6429578" y="2175604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4" name="Fluxograma: Conector 423"/>
                <p:cNvSpPr/>
                <p:nvPr/>
              </p:nvSpPr>
              <p:spPr>
                <a:xfrm>
                  <a:off x="6414948" y="233539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5" name="Fluxograma: Conector 424"/>
                <p:cNvSpPr/>
                <p:nvPr/>
              </p:nvSpPr>
              <p:spPr>
                <a:xfrm>
                  <a:off x="6999477" y="246584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6" name="Fluxograma: Conector 425"/>
                <p:cNvSpPr/>
                <p:nvPr/>
              </p:nvSpPr>
              <p:spPr>
                <a:xfrm>
                  <a:off x="6414956" y="305433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7" name="Fluxograma: Conector 426"/>
                <p:cNvSpPr/>
                <p:nvPr/>
              </p:nvSpPr>
              <p:spPr>
                <a:xfrm>
                  <a:off x="6538169" y="311285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8" name="Fluxograma: Conector 427"/>
                <p:cNvSpPr/>
                <p:nvPr/>
              </p:nvSpPr>
              <p:spPr>
                <a:xfrm>
                  <a:off x="6472326" y="3118958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29" name="Fluxograma: Conector 428"/>
                <p:cNvSpPr/>
                <p:nvPr/>
              </p:nvSpPr>
              <p:spPr>
                <a:xfrm>
                  <a:off x="6372200" y="343015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0" name="Fluxograma: Conector 429"/>
                <p:cNvSpPr/>
                <p:nvPr/>
              </p:nvSpPr>
              <p:spPr>
                <a:xfrm>
                  <a:off x="6406491" y="3688922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1" name="Fluxograma: Conector 430"/>
                <p:cNvSpPr/>
                <p:nvPr/>
              </p:nvSpPr>
              <p:spPr>
                <a:xfrm>
                  <a:off x="6306365" y="386326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2" name="Fluxograma: Conector 431"/>
                <p:cNvSpPr/>
                <p:nvPr/>
              </p:nvSpPr>
              <p:spPr>
                <a:xfrm>
                  <a:off x="5002906" y="485224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3" name="Fluxograma: Conector 432"/>
                <p:cNvSpPr/>
                <p:nvPr/>
              </p:nvSpPr>
              <p:spPr>
                <a:xfrm>
                  <a:off x="4572000" y="509242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4" name="Fluxograma: Conector 433"/>
                <p:cNvSpPr/>
                <p:nvPr/>
              </p:nvSpPr>
              <p:spPr>
                <a:xfrm>
                  <a:off x="4924733" y="5345106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5" name="Fluxograma: Conector 434"/>
                <p:cNvSpPr/>
                <p:nvPr/>
              </p:nvSpPr>
              <p:spPr>
                <a:xfrm>
                  <a:off x="4745276" y="58772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6" name="Fluxograma: Conector 435"/>
                <p:cNvSpPr/>
                <p:nvPr/>
              </p:nvSpPr>
              <p:spPr>
                <a:xfrm>
                  <a:off x="4363291" y="5877280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7" name="Fluxograma: Conector 436"/>
                <p:cNvSpPr/>
                <p:nvPr/>
              </p:nvSpPr>
              <p:spPr>
                <a:xfrm>
                  <a:off x="5343285" y="4819097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8" name="Fluxograma: Conector 437"/>
                <p:cNvSpPr/>
                <p:nvPr/>
              </p:nvSpPr>
              <p:spPr>
                <a:xfrm>
                  <a:off x="5304426" y="480218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  <p:sp>
              <p:nvSpPr>
                <p:cNvPr id="439" name="Fluxograma: Conector 438"/>
                <p:cNvSpPr/>
                <p:nvPr/>
              </p:nvSpPr>
              <p:spPr>
                <a:xfrm>
                  <a:off x="5247048" y="4831443"/>
                  <a:ext cx="72000" cy="72000"/>
                </a:xfrm>
                <a:prstGeom prst="flowChartConnector">
                  <a:avLst/>
                </a:prstGeom>
                <a:grpFill/>
                <a:ln w="158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sz="1800" kern="0">
                    <a:solidFill>
                      <a:prstClr val="white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90" name="Fluxograma: Conector 389"/>
            <p:cNvSpPr/>
            <p:nvPr/>
          </p:nvSpPr>
          <p:spPr bwMode="auto">
            <a:xfrm>
              <a:off x="6959600" y="1736774"/>
              <a:ext cx="34925" cy="33338"/>
            </a:xfrm>
            <a:prstGeom prst="flowChartConnector">
              <a:avLst/>
            </a:prstGeom>
            <a:solidFill>
              <a:srgbClr val="006600"/>
            </a:solidFill>
            <a:ln w="158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 kern="0">
                <a:solidFill>
                  <a:prstClr val="white"/>
                </a:solidFill>
                <a:latin typeface="Calibri"/>
                <a:cs typeface="Arial" pitchFamily="34" charset="0"/>
              </a:endParaRPr>
            </a:p>
          </p:txBody>
        </p:sp>
      </p:grpSp>
      <p:sp>
        <p:nvSpPr>
          <p:cNvPr id="680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7" y="837654"/>
            <a:ext cx="8395909" cy="719138"/>
          </a:xfrm>
        </p:spPr>
        <p:txBody>
          <a:bodyPr>
            <a:normAutofit/>
          </a:bodyPr>
          <a:lstStyle/>
          <a:p>
            <a:pPr algn="ctr" eaLnBrk="1" hangingPunct="1">
              <a:lnSpc>
                <a:spcPct val="85000"/>
              </a:lnSpc>
            </a:pPr>
            <a:r>
              <a:rPr lang="pt-BR" altLang="ja-JP" sz="2800" b="1" dirty="0" smtClean="0">
                <a:solidFill>
                  <a:srgbClr val="C00000"/>
                </a:solidFill>
                <a:latin typeface="Corbel" pitchFamily="34" charset="0"/>
              </a:rPr>
              <a:t>Descentralização das universidades federais</a:t>
            </a:r>
            <a:endParaRPr lang="pt-BR" sz="2800" b="1" dirty="0" smtClean="0">
              <a:solidFill>
                <a:srgbClr val="C00000"/>
              </a:solidFill>
              <a:latin typeface="Corbel" pitchFamily="34" charset="0"/>
            </a:endParaRPr>
          </a:p>
        </p:txBody>
      </p:sp>
      <p:sp>
        <p:nvSpPr>
          <p:cNvPr id="681" name="Rectangle 5"/>
          <p:cNvSpPr>
            <a:spLocks noChangeArrowheads="1"/>
          </p:cNvSpPr>
          <p:nvPr/>
        </p:nvSpPr>
        <p:spPr bwMode="auto">
          <a:xfrm>
            <a:off x="152400" y="695325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682" name="Imagem 15" descr="Logo_MCT_Corel_10_Curvas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526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51"/>
          <p:cNvGrpSpPr>
            <a:grpSpLocks/>
          </p:cNvGrpSpPr>
          <p:nvPr/>
        </p:nvGrpSpPr>
        <p:grpSpPr bwMode="auto">
          <a:xfrm>
            <a:off x="3929063" y="1573088"/>
            <a:ext cx="5135562" cy="5106988"/>
            <a:chOff x="3913841" y="1454170"/>
            <a:chExt cx="5135563" cy="5106987"/>
          </a:xfrm>
        </p:grpSpPr>
        <p:grpSp>
          <p:nvGrpSpPr>
            <p:cNvPr id="5" name="Grupo 49"/>
            <p:cNvGrpSpPr>
              <a:grpSpLocks/>
            </p:cNvGrpSpPr>
            <p:nvPr/>
          </p:nvGrpSpPr>
          <p:grpSpPr bwMode="auto">
            <a:xfrm>
              <a:off x="3913841" y="1454170"/>
              <a:ext cx="5135563" cy="5106987"/>
              <a:chOff x="3913841" y="1454170"/>
              <a:chExt cx="5135563" cy="5106987"/>
            </a:xfrm>
          </p:grpSpPr>
          <p:pic>
            <p:nvPicPr>
              <p:cNvPr id="7" name="Picture 11" descr="mapa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13841" y="1454170"/>
                <a:ext cx="5135563" cy="51069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" name="Retângulo 48"/>
              <p:cNvSpPr>
                <a:spLocks noChangeArrowheads="1"/>
              </p:cNvSpPr>
              <p:nvPr/>
            </p:nvSpPr>
            <p:spPr bwMode="auto">
              <a:xfrm>
                <a:off x="8056179" y="5076497"/>
                <a:ext cx="331076" cy="268013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pt-BR" smtClean="0">
                  <a:solidFill>
                    <a:srgbClr val="0033CC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6" name="CaixaDeTexto 50"/>
            <p:cNvSpPr txBox="1">
              <a:spLocks noChangeArrowheads="1"/>
            </p:cNvSpPr>
            <p:nvPr/>
          </p:nvSpPr>
          <p:spPr bwMode="auto">
            <a:xfrm>
              <a:off x="7914292" y="5076469"/>
              <a:ext cx="59908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pt-BR" sz="1800" smtClean="0">
                  <a:solidFill>
                    <a:srgbClr val="000066"/>
                  </a:solidFill>
                  <a:latin typeface="Tahoma" pitchFamily="34" charset="0"/>
                  <a:cs typeface="Tahoma" pitchFamily="34" charset="0"/>
                </a:rPr>
                <a:t>19</a:t>
              </a:r>
            </a:p>
          </p:txBody>
        </p:sp>
      </p:grp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1535113" y="816000"/>
            <a:ext cx="7459662" cy="406400"/>
          </a:xfrm>
          <a:prstGeom prst="rect">
            <a:avLst/>
          </a:prstGeom>
          <a:gradFill rotWithShape="1">
            <a:gsLst>
              <a:gs pos="0">
                <a:srgbClr val="99CC00">
                  <a:alpha val="78998"/>
                </a:srgbClr>
              </a:gs>
              <a:gs pos="100000">
                <a:srgbClr val="CCFF99">
                  <a:alpha val="49001"/>
                </a:srgbClr>
              </a:gs>
            </a:gsLst>
            <a:lin ang="0" scaled="1"/>
          </a:gra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pt-BR" sz="2000" b="1" dirty="0" smtClean="0">
                <a:solidFill>
                  <a:srgbClr val="000066"/>
                </a:solidFill>
                <a:latin typeface="Corbel" pitchFamily="34" charset="0"/>
                <a:cs typeface="Arial" charset="0"/>
              </a:rPr>
              <a:t>INCT – Institutos Nacionais de Ciência e Tecnologia</a:t>
            </a:r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1535113" y="1282725"/>
            <a:ext cx="7459662" cy="346075"/>
          </a:xfrm>
          <a:prstGeom prst="rect">
            <a:avLst/>
          </a:prstGeom>
          <a:gradFill rotWithShape="1">
            <a:gsLst>
              <a:gs pos="0">
                <a:srgbClr val="99CC00">
                  <a:alpha val="68999"/>
                </a:srgbClr>
              </a:gs>
              <a:gs pos="100000">
                <a:srgbClr val="CCFF99">
                  <a:alpha val="28998"/>
                </a:srgbClr>
              </a:gs>
            </a:gsLst>
            <a:lin ang="0" scaled="1"/>
          </a:gra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pt-BR" sz="1600" i="1" smtClean="0">
                <a:solidFill>
                  <a:srgbClr val="000066"/>
                </a:solidFill>
                <a:latin typeface="Corbel" pitchFamily="34" charset="0"/>
                <a:cs typeface="Arial" charset="0"/>
              </a:rPr>
              <a:t>forte interação com o sistema produtivo e com a sociedade</a:t>
            </a:r>
          </a:p>
        </p:txBody>
      </p:sp>
      <p:grpSp>
        <p:nvGrpSpPr>
          <p:cNvPr id="11" name="Group 10"/>
          <p:cNvGrpSpPr>
            <a:grpSpLocks/>
          </p:cNvGrpSpPr>
          <p:nvPr/>
        </p:nvGrpSpPr>
        <p:grpSpPr bwMode="auto">
          <a:xfrm>
            <a:off x="563563" y="1455747"/>
            <a:ext cx="3216275" cy="1685934"/>
            <a:chOff x="216" y="871"/>
            <a:chExt cx="2026" cy="1062"/>
          </a:xfrm>
        </p:grpSpPr>
        <p:graphicFrame>
          <p:nvGraphicFramePr>
            <p:cNvPr id="12" name="Object 47"/>
            <p:cNvGraphicFramePr>
              <a:graphicFrameLocks noChangeAspect="1"/>
            </p:cNvGraphicFramePr>
            <p:nvPr/>
          </p:nvGraphicFramePr>
          <p:xfrm>
            <a:off x="216" y="1183"/>
            <a:ext cx="2026" cy="7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51" name="Photo Editor Photo" r:id="rId4" imgW="5323810" imgH="2266667" progId="">
                    <p:embed/>
                  </p:oleObj>
                </mc:Choice>
                <mc:Fallback>
                  <p:oleObj name="Photo Editor Photo" r:id="rId4" imgW="5323810" imgH="2266667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 l="12144" t="14264" r="11954" b="14413"/>
                        <a:stretch>
                          <a:fillRect/>
                        </a:stretch>
                      </p:blipFill>
                      <p:spPr bwMode="auto">
                        <a:xfrm>
                          <a:off x="216" y="1183"/>
                          <a:ext cx="2026" cy="7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3" name="Text Box 15"/>
            <p:cNvSpPr txBox="1">
              <a:spLocks noChangeArrowheads="1"/>
            </p:cNvSpPr>
            <p:nvPr/>
          </p:nvSpPr>
          <p:spPr bwMode="auto">
            <a:xfrm>
              <a:off x="827" y="871"/>
              <a:ext cx="641" cy="9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pt-BR" sz="4400" b="1" dirty="0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122</a:t>
              </a:r>
            </a:p>
            <a:p>
              <a:pPr algn="ctr"/>
              <a:endParaRPr lang="pt-BR" sz="4400" b="1" dirty="0" smtClean="0">
                <a:solidFill>
                  <a:srgbClr val="000066"/>
                </a:solidFill>
                <a:latin typeface="Corbel" pitchFamily="34" charset="0"/>
                <a:cs typeface="Arial" charset="0"/>
              </a:endParaRPr>
            </a:p>
          </p:txBody>
        </p:sp>
      </p:grpSp>
      <p:sp>
        <p:nvSpPr>
          <p:cNvPr id="14" name="Rectangle 37"/>
          <p:cNvSpPr>
            <a:spLocks noChangeArrowheads="1"/>
          </p:cNvSpPr>
          <p:nvPr/>
        </p:nvSpPr>
        <p:spPr bwMode="auto">
          <a:xfrm>
            <a:off x="6447" y="2924944"/>
            <a:ext cx="421163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pt-BR" sz="4000" b="1" dirty="0" smtClean="0">
                <a:solidFill>
                  <a:srgbClr val="C00000"/>
                </a:solidFill>
                <a:latin typeface="Corbel" pitchFamily="34" charset="0"/>
                <a:cs typeface="Arial" charset="0"/>
              </a:rPr>
              <a:t>R$ 607 milhões</a:t>
            </a:r>
          </a:p>
        </p:txBody>
      </p:sp>
      <p:sp>
        <p:nvSpPr>
          <p:cNvPr id="15" name="Retângulo 52"/>
          <p:cNvSpPr>
            <a:spLocks noChangeArrowheads="1"/>
          </p:cNvSpPr>
          <p:nvPr/>
        </p:nvSpPr>
        <p:spPr bwMode="auto">
          <a:xfrm>
            <a:off x="6789738" y="6352555"/>
            <a:ext cx="330200" cy="2682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pt-BR" smtClean="0">
              <a:solidFill>
                <a:srgbClr val="0033CC"/>
              </a:solidFill>
              <a:latin typeface="Arial" charset="0"/>
              <a:cs typeface="Arial" charset="0"/>
            </a:endParaRPr>
          </a:p>
        </p:txBody>
      </p:sp>
      <p:sp>
        <p:nvSpPr>
          <p:cNvPr id="16" name="CaixaDeTexto 53"/>
          <p:cNvSpPr txBox="1">
            <a:spLocks noChangeArrowheads="1"/>
          </p:cNvSpPr>
          <p:nvPr/>
        </p:nvSpPr>
        <p:spPr bwMode="auto">
          <a:xfrm>
            <a:off x="6742113" y="6306517"/>
            <a:ext cx="6000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pt-BR" sz="1800" smtClean="0">
                <a:solidFill>
                  <a:srgbClr val="000066"/>
                </a:solidFill>
                <a:latin typeface="Tahoma" pitchFamily="34" charset="0"/>
                <a:cs typeface="Tahoma" pitchFamily="34" charset="0"/>
              </a:rPr>
              <a:t>9</a:t>
            </a:r>
          </a:p>
        </p:txBody>
      </p:sp>
      <p:pic>
        <p:nvPicPr>
          <p:cNvPr id="17" name="Picture 15" descr="Logo-cnpq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63" y="876151"/>
            <a:ext cx="1190625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6363341"/>
              </p:ext>
            </p:extLst>
          </p:nvPr>
        </p:nvGraphicFramePr>
        <p:xfrm>
          <a:off x="-396552" y="3637187"/>
          <a:ext cx="6769290" cy="3295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9" name="CaixaDeTexto 54"/>
          <p:cNvSpPr txBox="1">
            <a:spLocks noChangeArrowheads="1"/>
          </p:cNvSpPr>
          <p:nvPr/>
        </p:nvSpPr>
        <p:spPr bwMode="auto">
          <a:xfrm>
            <a:off x="1979712" y="3645024"/>
            <a:ext cx="2662238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pt-BR" sz="1800" b="1" dirty="0" err="1" smtClean="0">
                <a:solidFill>
                  <a:srgbClr val="C00000"/>
                </a:solidFill>
                <a:latin typeface="Corbel" pitchFamily="34" charset="0"/>
                <a:cs typeface="Arial" charset="0"/>
              </a:rPr>
              <a:t>FAPs</a:t>
            </a:r>
            <a:r>
              <a:rPr lang="pt-BR" sz="1800" b="1" dirty="0" smtClean="0">
                <a:solidFill>
                  <a:srgbClr val="C00000"/>
                </a:solidFill>
                <a:latin typeface="Corbel" pitchFamily="34" charset="0"/>
                <a:cs typeface="Arial" charset="0"/>
              </a:rPr>
              <a:t>: R$ 214,7 milhões</a:t>
            </a: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152400" y="695325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1" name="Imagem 15" descr="Logo_MCT_Corel_10_Curvas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2805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107504" y="720406"/>
            <a:ext cx="8928992" cy="1052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2" tIns="45680" rIns="91352" bIns="45680"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srgbClr val="C00000"/>
                </a:solidFill>
                <a:latin typeface="Corbel" pitchFamily="34" charset="0"/>
                <a:ea typeface="Arial Unicode MS" pitchFamily="34" charset="-128"/>
                <a:cs typeface="Arial Unicode MS" pitchFamily="34" charset="-128"/>
              </a:rPr>
              <a:t>Participação (%) dos setores intensivos em tecnologia diferenciada e baseada em ciência na exportação dos países, 2005 </a:t>
            </a: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-2008" y="6597352"/>
            <a:ext cx="346441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1100" b="1" dirty="0">
                <a:solidFill>
                  <a:srgbClr val="000066"/>
                </a:solidFill>
                <a:latin typeface="Corbel" pitchFamily="34" charset="0"/>
              </a:rPr>
              <a:t>Fonte</a:t>
            </a:r>
            <a:r>
              <a:rPr lang="pt-BR" sz="1100" b="1" dirty="0" smtClean="0">
                <a:solidFill>
                  <a:srgbClr val="000066"/>
                </a:solidFill>
                <a:latin typeface="Corbel" pitchFamily="34" charset="0"/>
              </a:rPr>
              <a:t>: BNDES</a:t>
            </a:r>
            <a:r>
              <a:rPr lang="pt-BR" sz="1100" b="1" dirty="0">
                <a:solidFill>
                  <a:srgbClr val="000066"/>
                </a:solidFill>
                <a:latin typeface="Corbel" pitchFamily="34" charset="0"/>
              </a:rPr>
              <a:t>, Visão de Desenvolvimento, nº 36, 2007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179512" y="1683272"/>
            <a:ext cx="8856983" cy="4770064"/>
            <a:chOff x="179512" y="1467248"/>
            <a:chExt cx="8856983" cy="4770064"/>
          </a:xfrm>
        </p:grpSpPr>
        <p:graphicFrame>
          <p:nvGraphicFramePr>
            <p:cNvPr id="7" name="Gráfico 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29069278"/>
                </p:ext>
              </p:extLst>
            </p:nvPr>
          </p:nvGraphicFramePr>
          <p:xfrm>
            <a:off x="179512" y="1467248"/>
            <a:ext cx="8856983" cy="4194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pSp>
          <p:nvGrpSpPr>
            <p:cNvPr id="8" name="Grupo 7"/>
            <p:cNvGrpSpPr/>
            <p:nvPr/>
          </p:nvGrpSpPr>
          <p:grpSpPr>
            <a:xfrm>
              <a:off x="611562" y="5641503"/>
              <a:ext cx="8352926" cy="595809"/>
              <a:chOff x="822205" y="4869160"/>
              <a:chExt cx="7292890" cy="595809"/>
            </a:xfrm>
          </p:grpSpPr>
          <p:grpSp>
            <p:nvGrpSpPr>
              <p:cNvPr id="9" name="Grupo 8"/>
              <p:cNvGrpSpPr/>
              <p:nvPr/>
            </p:nvGrpSpPr>
            <p:grpSpPr>
              <a:xfrm>
                <a:off x="822205" y="4869160"/>
                <a:ext cx="2451919" cy="595809"/>
                <a:chOff x="-365419" y="5425479"/>
                <a:chExt cx="2451919" cy="595809"/>
              </a:xfrm>
            </p:grpSpPr>
            <p:sp>
              <p:nvSpPr>
                <p:cNvPr id="22" name="Retângulo 21"/>
                <p:cNvSpPr/>
                <p:nvPr/>
              </p:nvSpPr>
              <p:spPr>
                <a:xfrm>
                  <a:off x="-365419" y="5520481"/>
                  <a:ext cx="108000" cy="108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23" name="Retângulo 22"/>
                <p:cNvSpPr/>
                <p:nvPr/>
              </p:nvSpPr>
              <p:spPr>
                <a:xfrm>
                  <a:off x="-365419" y="5828613"/>
                  <a:ext cx="108000" cy="1080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24" name="CaixaDeTexto 23"/>
                <p:cNvSpPr txBox="1"/>
                <p:nvPr/>
              </p:nvSpPr>
              <p:spPr>
                <a:xfrm>
                  <a:off x="-293955" y="5425479"/>
                  <a:ext cx="1657223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Máq. e equipamentos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  <p:sp>
              <p:nvSpPr>
                <p:cNvPr id="25" name="CaixaDeTexto 24"/>
                <p:cNvSpPr txBox="1"/>
                <p:nvPr/>
              </p:nvSpPr>
              <p:spPr>
                <a:xfrm>
                  <a:off x="-293956" y="5713511"/>
                  <a:ext cx="2380456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Mat. Eletrônico/Comunicações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</p:grpSp>
          <p:grpSp>
            <p:nvGrpSpPr>
              <p:cNvPr id="10" name="Grupo 9"/>
              <p:cNvGrpSpPr/>
              <p:nvPr/>
            </p:nvGrpSpPr>
            <p:grpSpPr>
              <a:xfrm>
                <a:off x="3377758" y="4869160"/>
                <a:ext cx="2380407" cy="595809"/>
                <a:chOff x="569446" y="5425479"/>
                <a:chExt cx="2380407" cy="595809"/>
              </a:xfrm>
            </p:grpSpPr>
            <p:sp>
              <p:nvSpPr>
                <p:cNvPr id="18" name="Retângulo 17"/>
                <p:cNvSpPr/>
                <p:nvPr/>
              </p:nvSpPr>
              <p:spPr>
                <a:xfrm>
                  <a:off x="569446" y="5520481"/>
                  <a:ext cx="108000" cy="108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19" name="Retângulo 18"/>
                <p:cNvSpPr/>
                <p:nvPr/>
              </p:nvSpPr>
              <p:spPr>
                <a:xfrm>
                  <a:off x="569446" y="5828613"/>
                  <a:ext cx="108000" cy="108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20" name="CaixaDeTexto 19"/>
                <p:cNvSpPr txBox="1"/>
                <p:nvPr/>
              </p:nvSpPr>
              <p:spPr>
                <a:xfrm>
                  <a:off x="640908" y="5425479"/>
                  <a:ext cx="2308945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Máq. Escritório e informática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  <p:sp>
              <p:nvSpPr>
                <p:cNvPr id="21" name="CaixaDeTexto 20"/>
                <p:cNvSpPr txBox="1"/>
                <p:nvPr/>
              </p:nvSpPr>
              <p:spPr>
                <a:xfrm>
                  <a:off x="640910" y="5713511"/>
                  <a:ext cx="2213954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err="1" smtClean="0">
                      <a:solidFill>
                        <a:srgbClr val="002060"/>
                      </a:solidFill>
                      <a:latin typeface="Corbel" pitchFamily="34" charset="0"/>
                    </a:rPr>
                    <a:t>Instr</a:t>
                  </a: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. Médicos e ópticos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</p:grpSp>
          <p:grpSp>
            <p:nvGrpSpPr>
              <p:cNvPr id="11" name="Grupo 10"/>
              <p:cNvGrpSpPr/>
              <p:nvPr/>
            </p:nvGrpSpPr>
            <p:grpSpPr>
              <a:xfrm>
                <a:off x="5758166" y="4869160"/>
                <a:ext cx="2356929" cy="595809"/>
                <a:chOff x="1008843" y="5425479"/>
                <a:chExt cx="2068243" cy="595809"/>
              </a:xfrm>
            </p:grpSpPr>
            <p:sp>
              <p:nvSpPr>
                <p:cNvPr id="14" name="Retângulo 13"/>
                <p:cNvSpPr/>
                <p:nvPr/>
              </p:nvSpPr>
              <p:spPr>
                <a:xfrm>
                  <a:off x="1008843" y="5520481"/>
                  <a:ext cx="94772" cy="108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15" name="Retângulo 14"/>
                <p:cNvSpPr/>
                <p:nvPr/>
              </p:nvSpPr>
              <p:spPr>
                <a:xfrm>
                  <a:off x="1008843" y="5828613"/>
                  <a:ext cx="94772" cy="108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 b="1">
                    <a:solidFill>
                      <a:srgbClr val="002060"/>
                    </a:solidFill>
                  </a:endParaRPr>
                </a:p>
              </p:txBody>
            </p:sp>
            <p:sp>
              <p:nvSpPr>
                <p:cNvPr id="16" name="CaixaDeTexto 15"/>
                <p:cNvSpPr txBox="1"/>
                <p:nvPr/>
              </p:nvSpPr>
              <p:spPr>
                <a:xfrm>
                  <a:off x="1080307" y="5425479"/>
                  <a:ext cx="157304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Aparelhos elétricos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  <p:sp>
              <p:nvSpPr>
                <p:cNvPr id="17" name="CaixaDeTexto 16"/>
                <p:cNvSpPr txBox="1"/>
                <p:nvPr/>
              </p:nvSpPr>
              <p:spPr>
                <a:xfrm>
                  <a:off x="1080306" y="5713511"/>
                  <a:ext cx="199678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pt-BR" sz="1400" b="1" dirty="0" smtClean="0">
                      <a:solidFill>
                        <a:srgbClr val="002060"/>
                      </a:solidFill>
                      <a:latin typeface="Corbel" pitchFamily="34" charset="0"/>
                    </a:rPr>
                    <a:t>Aviação/Ferrov./Emb./Malas</a:t>
                  </a:r>
                  <a:endParaRPr lang="pt-BR" sz="1400" b="1" dirty="0">
                    <a:solidFill>
                      <a:srgbClr val="002060"/>
                    </a:solidFill>
                    <a:latin typeface="Corbel" pitchFamily="34" charset="0"/>
                  </a:endParaRPr>
                </a:p>
              </p:txBody>
            </p:sp>
          </p:grpSp>
        </p:grpSp>
        <p:grpSp>
          <p:nvGrpSpPr>
            <p:cNvPr id="2" name="Grupo 1"/>
            <p:cNvGrpSpPr/>
            <p:nvPr/>
          </p:nvGrpSpPr>
          <p:grpSpPr>
            <a:xfrm>
              <a:off x="1015073" y="2154709"/>
              <a:ext cx="7788393" cy="2964383"/>
              <a:chOff x="1015073" y="2154709"/>
              <a:chExt cx="7788393" cy="2964383"/>
            </a:xfrm>
          </p:grpSpPr>
          <p:grpSp>
            <p:nvGrpSpPr>
              <p:cNvPr id="26" name="Grupo 25"/>
              <p:cNvGrpSpPr/>
              <p:nvPr/>
            </p:nvGrpSpPr>
            <p:grpSpPr>
              <a:xfrm>
                <a:off x="8335466" y="2154709"/>
                <a:ext cx="468000" cy="2952000"/>
                <a:chOff x="7893893" y="1655018"/>
                <a:chExt cx="504000" cy="2946847"/>
              </a:xfrm>
            </p:grpSpPr>
            <p:sp>
              <p:nvSpPr>
                <p:cNvPr id="27" name="Retângulo 26"/>
                <p:cNvSpPr/>
                <p:nvPr/>
              </p:nvSpPr>
              <p:spPr>
                <a:xfrm>
                  <a:off x="7893893" y="1655018"/>
                  <a:ext cx="504000" cy="2232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8" name="Retângulo 27"/>
                <p:cNvSpPr/>
                <p:nvPr/>
              </p:nvSpPr>
              <p:spPr>
                <a:xfrm>
                  <a:off x="7893893" y="1888257"/>
                  <a:ext cx="504000" cy="378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" name="Retângulo 28"/>
                <p:cNvSpPr/>
                <p:nvPr/>
              </p:nvSpPr>
              <p:spPr>
                <a:xfrm>
                  <a:off x="7893893" y="3717032"/>
                  <a:ext cx="504000" cy="884833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0" name="Retângulo 29"/>
                <p:cNvSpPr/>
                <p:nvPr/>
              </p:nvSpPr>
              <p:spPr>
                <a:xfrm>
                  <a:off x="7893893" y="3462907"/>
                  <a:ext cx="504000" cy="2412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1" name="Retângulo 30"/>
                <p:cNvSpPr/>
                <p:nvPr/>
              </p:nvSpPr>
              <p:spPr>
                <a:xfrm>
                  <a:off x="7893893" y="3131443"/>
                  <a:ext cx="504000" cy="324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2" name="Retângulo 31"/>
                <p:cNvSpPr/>
                <p:nvPr/>
              </p:nvSpPr>
              <p:spPr>
                <a:xfrm>
                  <a:off x="7893893" y="2276872"/>
                  <a:ext cx="504000" cy="8460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33" name="Grupo 32"/>
              <p:cNvGrpSpPr/>
              <p:nvPr/>
            </p:nvGrpSpPr>
            <p:grpSpPr>
              <a:xfrm>
                <a:off x="7677925" y="2315665"/>
                <a:ext cx="468000" cy="2788569"/>
                <a:chOff x="7336879" y="1816257"/>
                <a:chExt cx="504000" cy="2788569"/>
              </a:xfrm>
            </p:grpSpPr>
            <p:sp>
              <p:nvSpPr>
                <p:cNvPr id="34" name="Retângulo 33"/>
                <p:cNvSpPr/>
                <p:nvPr/>
              </p:nvSpPr>
              <p:spPr>
                <a:xfrm>
                  <a:off x="7336879" y="1816257"/>
                  <a:ext cx="504000" cy="108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5" name="Retângulo 34"/>
                <p:cNvSpPr/>
                <p:nvPr/>
              </p:nvSpPr>
              <p:spPr>
                <a:xfrm>
                  <a:off x="7336879" y="1931714"/>
                  <a:ext cx="504000" cy="1692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6" name="Retângulo 35"/>
                <p:cNvSpPr/>
                <p:nvPr/>
              </p:nvSpPr>
              <p:spPr>
                <a:xfrm>
                  <a:off x="7336879" y="4190826"/>
                  <a:ext cx="504000" cy="414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7" name="Retângulo 36"/>
                <p:cNvSpPr/>
                <p:nvPr/>
              </p:nvSpPr>
              <p:spPr>
                <a:xfrm>
                  <a:off x="7336879" y="3356992"/>
                  <a:ext cx="504000" cy="828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8" name="Retângulo 37"/>
                <p:cNvSpPr/>
                <p:nvPr/>
              </p:nvSpPr>
              <p:spPr>
                <a:xfrm>
                  <a:off x="7336879" y="3052042"/>
                  <a:ext cx="504000" cy="288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9" name="Retângulo 38"/>
                <p:cNvSpPr/>
                <p:nvPr/>
              </p:nvSpPr>
              <p:spPr>
                <a:xfrm>
                  <a:off x="7336879" y="2112852"/>
                  <a:ext cx="504000" cy="9252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40" name="Grupo 39"/>
              <p:cNvGrpSpPr/>
              <p:nvPr/>
            </p:nvGrpSpPr>
            <p:grpSpPr>
              <a:xfrm>
                <a:off x="7008465" y="2399818"/>
                <a:ext cx="468000" cy="2719274"/>
                <a:chOff x="6694140" y="1878732"/>
                <a:chExt cx="504000" cy="2719274"/>
              </a:xfrm>
            </p:grpSpPr>
            <p:sp>
              <p:nvSpPr>
                <p:cNvPr id="41" name="Retângulo 40"/>
                <p:cNvSpPr/>
                <p:nvPr/>
              </p:nvSpPr>
              <p:spPr>
                <a:xfrm>
                  <a:off x="6694140" y="1878732"/>
                  <a:ext cx="504000" cy="450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2" name="Retângulo 41"/>
                <p:cNvSpPr/>
                <p:nvPr/>
              </p:nvSpPr>
              <p:spPr>
                <a:xfrm>
                  <a:off x="6694140" y="2348880"/>
                  <a:ext cx="504000" cy="396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3" name="Retângulo 42"/>
                <p:cNvSpPr/>
                <p:nvPr/>
              </p:nvSpPr>
              <p:spPr>
                <a:xfrm>
                  <a:off x="6694140" y="3914006"/>
                  <a:ext cx="504000" cy="684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4" name="Retângulo 43"/>
                <p:cNvSpPr/>
                <p:nvPr/>
              </p:nvSpPr>
              <p:spPr>
                <a:xfrm>
                  <a:off x="6694140" y="3600590"/>
                  <a:ext cx="504000" cy="306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" name="Retângulo 44"/>
                <p:cNvSpPr/>
                <p:nvPr/>
              </p:nvSpPr>
              <p:spPr>
                <a:xfrm>
                  <a:off x="6694140" y="3357016"/>
                  <a:ext cx="504000" cy="234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6" name="Retângulo 45"/>
                <p:cNvSpPr/>
                <p:nvPr/>
              </p:nvSpPr>
              <p:spPr>
                <a:xfrm>
                  <a:off x="6694140" y="2755709"/>
                  <a:ext cx="504000" cy="5868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47" name="Grupo 46"/>
              <p:cNvGrpSpPr/>
              <p:nvPr/>
            </p:nvGrpSpPr>
            <p:grpSpPr>
              <a:xfrm>
                <a:off x="6343681" y="2627387"/>
                <a:ext cx="468000" cy="2473729"/>
                <a:chOff x="6084168" y="2140289"/>
                <a:chExt cx="504000" cy="2473729"/>
              </a:xfrm>
            </p:grpSpPr>
            <p:sp>
              <p:nvSpPr>
                <p:cNvPr id="48" name="Retângulo 47"/>
                <p:cNvSpPr/>
                <p:nvPr/>
              </p:nvSpPr>
              <p:spPr>
                <a:xfrm>
                  <a:off x="6084168" y="2140289"/>
                  <a:ext cx="504000" cy="36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9" name="Retângulo 48"/>
                <p:cNvSpPr/>
                <p:nvPr/>
              </p:nvSpPr>
              <p:spPr>
                <a:xfrm>
                  <a:off x="6084168" y="2184788"/>
                  <a:ext cx="504000" cy="198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0" name="Retângulo 49"/>
                <p:cNvSpPr/>
                <p:nvPr/>
              </p:nvSpPr>
              <p:spPr>
                <a:xfrm>
                  <a:off x="6084168" y="4200018"/>
                  <a:ext cx="504000" cy="414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1" name="Retângulo 50"/>
                <p:cNvSpPr/>
                <p:nvPr/>
              </p:nvSpPr>
              <p:spPr>
                <a:xfrm>
                  <a:off x="6084168" y="3886513"/>
                  <a:ext cx="504000" cy="306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2" name="Retângulo 51"/>
                <p:cNvSpPr/>
                <p:nvPr/>
              </p:nvSpPr>
              <p:spPr>
                <a:xfrm>
                  <a:off x="6084168" y="3241551"/>
                  <a:ext cx="504000" cy="630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3" name="Retângulo 52"/>
                <p:cNvSpPr/>
                <p:nvPr/>
              </p:nvSpPr>
              <p:spPr>
                <a:xfrm>
                  <a:off x="6084168" y="2392313"/>
                  <a:ext cx="504000" cy="8352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54" name="Grupo 53"/>
              <p:cNvGrpSpPr/>
              <p:nvPr/>
            </p:nvGrpSpPr>
            <p:grpSpPr>
              <a:xfrm>
                <a:off x="5671226" y="2904295"/>
                <a:ext cx="468000" cy="2197614"/>
                <a:chOff x="5479529" y="2407568"/>
                <a:chExt cx="504000" cy="2197614"/>
              </a:xfrm>
            </p:grpSpPr>
            <p:sp>
              <p:nvSpPr>
                <p:cNvPr id="55" name="Retângulo 54"/>
                <p:cNvSpPr/>
                <p:nvPr/>
              </p:nvSpPr>
              <p:spPr>
                <a:xfrm>
                  <a:off x="5479529" y="2407568"/>
                  <a:ext cx="504000" cy="180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6" name="Retângulo 55"/>
                <p:cNvSpPr/>
                <p:nvPr/>
              </p:nvSpPr>
              <p:spPr>
                <a:xfrm>
                  <a:off x="5479529" y="2603004"/>
                  <a:ext cx="504000" cy="2520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7" name="Retângulo 56"/>
                <p:cNvSpPr/>
                <p:nvPr/>
              </p:nvSpPr>
              <p:spPr>
                <a:xfrm>
                  <a:off x="5479529" y="3697982"/>
                  <a:ext cx="504000" cy="9072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8" name="Retângulo 57"/>
                <p:cNvSpPr/>
                <p:nvPr/>
              </p:nvSpPr>
              <p:spPr>
                <a:xfrm>
                  <a:off x="5479529" y="3527499"/>
                  <a:ext cx="504000" cy="1620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9" name="Retângulo 58"/>
                <p:cNvSpPr/>
                <p:nvPr/>
              </p:nvSpPr>
              <p:spPr>
                <a:xfrm>
                  <a:off x="5479529" y="3214350"/>
                  <a:ext cx="504000" cy="2988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0" name="Retângulo 59"/>
                <p:cNvSpPr/>
                <p:nvPr/>
              </p:nvSpPr>
              <p:spPr>
                <a:xfrm>
                  <a:off x="5479529" y="2869886"/>
                  <a:ext cx="504000" cy="3312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61" name="Grupo 60"/>
              <p:cNvGrpSpPr/>
              <p:nvPr/>
            </p:nvGrpSpPr>
            <p:grpSpPr>
              <a:xfrm>
                <a:off x="4998715" y="3187663"/>
                <a:ext cx="468000" cy="1926096"/>
                <a:chOff x="4874890" y="2687786"/>
                <a:chExt cx="504000" cy="1926096"/>
              </a:xfrm>
            </p:grpSpPr>
            <p:sp>
              <p:nvSpPr>
                <p:cNvPr id="62" name="Retângulo 61"/>
                <p:cNvSpPr/>
                <p:nvPr/>
              </p:nvSpPr>
              <p:spPr>
                <a:xfrm>
                  <a:off x="4874890" y="2687786"/>
                  <a:ext cx="504000" cy="162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3" name="Retângulo 62"/>
                <p:cNvSpPr/>
                <p:nvPr/>
              </p:nvSpPr>
              <p:spPr>
                <a:xfrm>
                  <a:off x="4874890" y="2861427"/>
                  <a:ext cx="504000" cy="1908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4" name="Retângulo 63"/>
                <p:cNvSpPr/>
                <p:nvPr/>
              </p:nvSpPr>
              <p:spPr>
                <a:xfrm>
                  <a:off x="4874890" y="4109882"/>
                  <a:ext cx="504000" cy="504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5" name="Retângulo 64"/>
                <p:cNvSpPr/>
                <p:nvPr/>
              </p:nvSpPr>
              <p:spPr>
                <a:xfrm>
                  <a:off x="4874890" y="3843064"/>
                  <a:ext cx="504000" cy="2592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6" name="Retângulo 65"/>
                <p:cNvSpPr/>
                <p:nvPr/>
              </p:nvSpPr>
              <p:spPr>
                <a:xfrm>
                  <a:off x="4874890" y="3581298"/>
                  <a:ext cx="504000" cy="252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7" name="Retângulo 66"/>
                <p:cNvSpPr/>
                <p:nvPr/>
              </p:nvSpPr>
              <p:spPr>
                <a:xfrm>
                  <a:off x="4874890" y="3063565"/>
                  <a:ext cx="504000" cy="5040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68" name="Grupo 67"/>
              <p:cNvGrpSpPr/>
              <p:nvPr/>
            </p:nvGrpSpPr>
            <p:grpSpPr>
              <a:xfrm>
                <a:off x="4340088" y="4127135"/>
                <a:ext cx="468000" cy="975906"/>
                <a:chOff x="4252308" y="3632752"/>
                <a:chExt cx="504000" cy="975906"/>
              </a:xfrm>
            </p:grpSpPr>
            <p:sp>
              <p:nvSpPr>
                <p:cNvPr id="69" name="Retângulo 68"/>
                <p:cNvSpPr/>
                <p:nvPr/>
              </p:nvSpPr>
              <p:spPr>
                <a:xfrm>
                  <a:off x="4252308" y="3632752"/>
                  <a:ext cx="504000" cy="2304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0" name="Retângulo 69"/>
                <p:cNvSpPr/>
                <p:nvPr/>
              </p:nvSpPr>
              <p:spPr>
                <a:xfrm>
                  <a:off x="4252308" y="3867212"/>
                  <a:ext cx="504000" cy="72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1" name="Retângulo 70"/>
                <p:cNvSpPr/>
                <p:nvPr/>
              </p:nvSpPr>
              <p:spPr>
                <a:xfrm>
                  <a:off x="4252308" y="4194658"/>
                  <a:ext cx="504000" cy="414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2" name="Retângulo 71"/>
                <p:cNvSpPr/>
                <p:nvPr/>
              </p:nvSpPr>
              <p:spPr>
                <a:xfrm>
                  <a:off x="4252308" y="4177100"/>
                  <a:ext cx="504000" cy="108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3" name="Retângulo 72"/>
                <p:cNvSpPr/>
                <p:nvPr/>
              </p:nvSpPr>
              <p:spPr>
                <a:xfrm>
                  <a:off x="4252308" y="4064800"/>
                  <a:ext cx="504000" cy="108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4" name="Retângulo 73"/>
                <p:cNvSpPr/>
                <p:nvPr/>
              </p:nvSpPr>
              <p:spPr>
                <a:xfrm>
                  <a:off x="4252308" y="3877832"/>
                  <a:ext cx="504000" cy="1836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75" name="Grupo 74"/>
              <p:cNvGrpSpPr/>
              <p:nvPr/>
            </p:nvGrpSpPr>
            <p:grpSpPr>
              <a:xfrm>
                <a:off x="3664150" y="4437112"/>
                <a:ext cx="468000" cy="664051"/>
                <a:chOff x="3645100" y="3942400"/>
                <a:chExt cx="504000" cy="664051"/>
              </a:xfrm>
            </p:grpSpPr>
            <p:sp>
              <p:nvSpPr>
                <p:cNvPr id="76" name="Retângulo 75"/>
                <p:cNvSpPr/>
                <p:nvPr/>
              </p:nvSpPr>
              <p:spPr>
                <a:xfrm>
                  <a:off x="3645100" y="3942400"/>
                  <a:ext cx="504000" cy="108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7" name="Retângulo 76"/>
                <p:cNvSpPr/>
                <p:nvPr/>
              </p:nvSpPr>
              <p:spPr>
                <a:xfrm>
                  <a:off x="3645100" y="4057600"/>
                  <a:ext cx="504000" cy="216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8" name="Retângulo 77"/>
                <p:cNvSpPr/>
                <p:nvPr/>
              </p:nvSpPr>
              <p:spPr>
                <a:xfrm>
                  <a:off x="3645100" y="4246451"/>
                  <a:ext cx="504000" cy="360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9" name="Retângulo 78"/>
                <p:cNvSpPr/>
                <p:nvPr/>
              </p:nvSpPr>
              <p:spPr>
                <a:xfrm>
                  <a:off x="3645100" y="4213356"/>
                  <a:ext cx="504000" cy="288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0" name="Retângulo 79"/>
                <p:cNvSpPr/>
                <p:nvPr/>
              </p:nvSpPr>
              <p:spPr>
                <a:xfrm>
                  <a:off x="3645100" y="4152148"/>
                  <a:ext cx="504000" cy="576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1" name="Retângulo 80"/>
                <p:cNvSpPr/>
                <p:nvPr/>
              </p:nvSpPr>
              <p:spPr>
                <a:xfrm>
                  <a:off x="3645100" y="4083208"/>
                  <a:ext cx="504000" cy="648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82" name="Grupo 81"/>
              <p:cNvGrpSpPr/>
              <p:nvPr/>
            </p:nvGrpSpPr>
            <p:grpSpPr>
              <a:xfrm>
                <a:off x="2992236" y="4619627"/>
                <a:ext cx="468000" cy="489307"/>
                <a:chOff x="3039736" y="4125096"/>
                <a:chExt cx="504000" cy="489307"/>
              </a:xfrm>
            </p:grpSpPr>
            <p:sp>
              <p:nvSpPr>
                <p:cNvPr id="83" name="Retângulo 82"/>
                <p:cNvSpPr/>
                <p:nvPr/>
              </p:nvSpPr>
              <p:spPr>
                <a:xfrm>
                  <a:off x="3039736" y="4125096"/>
                  <a:ext cx="504000" cy="684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4" name="Retângulo 83"/>
                <p:cNvSpPr/>
                <p:nvPr/>
              </p:nvSpPr>
              <p:spPr>
                <a:xfrm>
                  <a:off x="3039736" y="4199488"/>
                  <a:ext cx="504000" cy="576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5" name="Retângulo 84"/>
                <p:cNvSpPr/>
                <p:nvPr/>
              </p:nvSpPr>
              <p:spPr>
                <a:xfrm>
                  <a:off x="3039736" y="4416403"/>
                  <a:ext cx="504000" cy="198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6" name="Retângulo 85"/>
                <p:cNvSpPr/>
                <p:nvPr/>
              </p:nvSpPr>
              <p:spPr>
                <a:xfrm>
                  <a:off x="3039736" y="4388216"/>
                  <a:ext cx="504000" cy="216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7" name="Retângulo 86"/>
                <p:cNvSpPr/>
                <p:nvPr/>
              </p:nvSpPr>
              <p:spPr>
                <a:xfrm>
                  <a:off x="3039736" y="4288072"/>
                  <a:ext cx="504000" cy="936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8" name="Retângulo 87"/>
                <p:cNvSpPr/>
                <p:nvPr/>
              </p:nvSpPr>
              <p:spPr>
                <a:xfrm>
                  <a:off x="3039736" y="4260024"/>
                  <a:ext cx="504000" cy="216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89" name="Grupo 88"/>
              <p:cNvGrpSpPr/>
              <p:nvPr/>
            </p:nvGrpSpPr>
            <p:grpSpPr>
              <a:xfrm>
                <a:off x="2335560" y="4634141"/>
                <a:ext cx="468000" cy="470093"/>
                <a:chOff x="2434783" y="4139213"/>
                <a:chExt cx="504000" cy="470093"/>
              </a:xfrm>
            </p:grpSpPr>
            <p:sp>
              <p:nvSpPr>
                <p:cNvPr id="90" name="Retângulo 89"/>
                <p:cNvSpPr/>
                <p:nvPr/>
              </p:nvSpPr>
              <p:spPr>
                <a:xfrm>
                  <a:off x="2434783" y="4139213"/>
                  <a:ext cx="504000" cy="540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1" name="Retângulo 90"/>
                <p:cNvSpPr/>
                <p:nvPr/>
              </p:nvSpPr>
              <p:spPr>
                <a:xfrm>
                  <a:off x="2434783" y="4199488"/>
                  <a:ext cx="504000" cy="756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2" name="Retângulo 91"/>
                <p:cNvSpPr/>
                <p:nvPr/>
              </p:nvSpPr>
              <p:spPr>
                <a:xfrm>
                  <a:off x="2434783" y="4443706"/>
                  <a:ext cx="504000" cy="1656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Retângulo 92"/>
                <p:cNvSpPr/>
                <p:nvPr/>
              </p:nvSpPr>
              <p:spPr>
                <a:xfrm>
                  <a:off x="2434783" y="4398083"/>
                  <a:ext cx="504000" cy="432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Retângulo 93"/>
                <p:cNvSpPr/>
                <p:nvPr/>
              </p:nvSpPr>
              <p:spPr>
                <a:xfrm>
                  <a:off x="2434783" y="4355066"/>
                  <a:ext cx="504000" cy="36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Retângulo 94"/>
                <p:cNvSpPr/>
                <p:nvPr/>
              </p:nvSpPr>
              <p:spPr>
                <a:xfrm>
                  <a:off x="2434783" y="4283047"/>
                  <a:ext cx="504000" cy="648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6" name="Grupo 95"/>
              <p:cNvGrpSpPr/>
              <p:nvPr/>
            </p:nvGrpSpPr>
            <p:grpSpPr>
              <a:xfrm>
                <a:off x="1663523" y="4878485"/>
                <a:ext cx="468000" cy="235274"/>
                <a:chOff x="1825448" y="4377960"/>
                <a:chExt cx="504000" cy="235274"/>
              </a:xfrm>
            </p:grpSpPr>
            <p:sp>
              <p:nvSpPr>
                <p:cNvPr id="97" name="Retângulo 96"/>
                <p:cNvSpPr/>
                <p:nvPr/>
              </p:nvSpPr>
              <p:spPr>
                <a:xfrm>
                  <a:off x="1825448" y="4377960"/>
                  <a:ext cx="504000" cy="828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Retângulo 97"/>
                <p:cNvSpPr/>
                <p:nvPr/>
              </p:nvSpPr>
              <p:spPr>
                <a:xfrm>
                  <a:off x="1825448" y="4465448"/>
                  <a:ext cx="504000" cy="252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Retângulo 98"/>
                <p:cNvSpPr/>
                <p:nvPr/>
              </p:nvSpPr>
              <p:spPr>
                <a:xfrm>
                  <a:off x="1825448" y="4530434"/>
                  <a:ext cx="504000" cy="828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0" name="Retângulo 99"/>
                <p:cNvSpPr/>
                <p:nvPr/>
              </p:nvSpPr>
              <p:spPr>
                <a:xfrm>
                  <a:off x="1825448" y="4524576"/>
                  <a:ext cx="504000" cy="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Retângulo 100"/>
                <p:cNvSpPr/>
                <p:nvPr/>
              </p:nvSpPr>
              <p:spPr>
                <a:xfrm>
                  <a:off x="1825448" y="4511728"/>
                  <a:ext cx="504000" cy="180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Retângulo 101"/>
                <p:cNvSpPr/>
                <p:nvPr/>
              </p:nvSpPr>
              <p:spPr>
                <a:xfrm>
                  <a:off x="1825448" y="4495744"/>
                  <a:ext cx="504000" cy="144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03" name="Grupo 102"/>
              <p:cNvGrpSpPr/>
              <p:nvPr/>
            </p:nvGrpSpPr>
            <p:grpSpPr>
              <a:xfrm>
                <a:off x="1015073" y="4875252"/>
                <a:ext cx="468000" cy="231198"/>
                <a:chOff x="1609005" y="4508905"/>
                <a:chExt cx="504000" cy="231198"/>
              </a:xfrm>
            </p:grpSpPr>
            <p:sp>
              <p:nvSpPr>
                <p:cNvPr id="104" name="Retângulo 103"/>
                <p:cNvSpPr/>
                <p:nvPr/>
              </p:nvSpPr>
              <p:spPr>
                <a:xfrm>
                  <a:off x="1609005" y="4508905"/>
                  <a:ext cx="504000" cy="32400"/>
                </a:xfrm>
                <a:prstGeom prst="rect">
                  <a:avLst/>
                </a:prstGeom>
                <a:solidFill>
                  <a:srgbClr val="D0E0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Retângulo 104"/>
                <p:cNvSpPr/>
                <p:nvPr/>
              </p:nvSpPr>
              <p:spPr>
                <a:xfrm>
                  <a:off x="1609005" y="4544552"/>
                  <a:ext cx="504000" cy="14400"/>
                </a:xfrm>
                <a:prstGeom prst="rect">
                  <a:avLst/>
                </a:prstGeom>
                <a:solidFill>
                  <a:srgbClr val="A8CE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6" name="Retângulo 105"/>
                <p:cNvSpPr/>
                <p:nvPr/>
              </p:nvSpPr>
              <p:spPr>
                <a:xfrm>
                  <a:off x="1609005" y="4632103"/>
                  <a:ext cx="504000" cy="108000"/>
                </a:xfrm>
                <a:prstGeom prst="rect">
                  <a:avLst/>
                </a:prstGeom>
                <a:solidFill>
                  <a:srgbClr val="276C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7" name="Retângulo 106"/>
                <p:cNvSpPr/>
                <p:nvPr/>
              </p:nvSpPr>
              <p:spPr>
                <a:xfrm>
                  <a:off x="1609005" y="4587557"/>
                  <a:ext cx="504000" cy="28800"/>
                </a:xfrm>
                <a:prstGeom prst="rect">
                  <a:avLst/>
                </a:prstGeom>
                <a:solidFill>
                  <a:srgbClr val="AEC6E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8" name="Retângulo 107"/>
                <p:cNvSpPr/>
                <p:nvPr/>
              </p:nvSpPr>
              <p:spPr>
                <a:xfrm>
                  <a:off x="1609005" y="4561804"/>
                  <a:ext cx="504000" cy="21600"/>
                </a:xfrm>
                <a:prstGeom prst="rect">
                  <a:avLst/>
                </a:prstGeom>
                <a:solidFill>
                  <a:srgbClr val="53A17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9" name="Retângulo 108"/>
                <p:cNvSpPr/>
                <p:nvPr/>
              </p:nvSpPr>
              <p:spPr>
                <a:xfrm>
                  <a:off x="1609005" y="4618719"/>
                  <a:ext cx="504000" cy="10800"/>
                </a:xfrm>
                <a:prstGeom prst="rect">
                  <a:avLst/>
                </a:prstGeom>
                <a:solidFill>
                  <a:srgbClr val="6B8BC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pt-BR" sz="1800">
                    <a:solidFill>
                      <a:prstClr val="white"/>
                    </a:solidFill>
                  </a:endParaRPr>
                </a:p>
              </p:txBody>
            </p:sp>
          </p:grpSp>
        </p:grpSp>
        <p:sp>
          <p:nvSpPr>
            <p:cNvPr id="110" name="Retângulo 109"/>
            <p:cNvSpPr/>
            <p:nvPr/>
          </p:nvSpPr>
          <p:spPr>
            <a:xfrm>
              <a:off x="4222593" y="1628799"/>
              <a:ext cx="684000" cy="3474000"/>
            </a:xfrm>
            <a:prstGeom prst="rect">
              <a:avLst/>
            </a:prstGeom>
            <a:solidFill>
              <a:srgbClr val="FFFFCC">
                <a:alpha val="25000"/>
              </a:srgbClr>
            </a:solidFill>
            <a:ln w="9525">
              <a:solidFill>
                <a:srgbClr val="C0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white"/>
                </a:solidFill>
              </a:endParaRPr>
            </a:p>
          </p:txBody>
        </p:sp>
      </p:grpSp>
      <p:sp>
        <p:nvSpPr>
          <p:cNvPr id="111" name="Rectangle 5"/>
          <p:cNvSpPr>
            <a:spLocks noChangeArrowheads="1"/>
          </p:cNvSpPr>
          <p:nvPr/>
        </p:nvSpPr>
        <p:spPr bwMode="auto">
          <a:xfrm>
            <a:off x="152400" y="695325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2" name="Imagem 15" descr="Logo_MCT_Corel_10_Curvas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853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1539875" y="848643"/>
            <a:ext cx="7280275" cy="457200"/>
          </a:xfrm>
          <a:prstGeom prst="rect">
            <a:avLst/>
          </a:prstGeom>
          <a:gradFill rotWithShape="1">
            <a:gsLst>
              <a:gs pos="0">
                <a:srgbClr val="99CC00"/>
              </a:gs>
              <a:gs pos="100000">
                <a:srgbClr val="BBDD55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pt-BR" b="1" smtClean="0">
                <a:solidFill>
                  <a:srgbClr val="000070"/>
                </a:solidFill>
                <a:latin typeface="Corbel" pitchFamily="34" charset="0"/>
                <a:cs typeface="Arial" charset="0"/>
              </a:rPr>
              <a:t>Áreas do Conhecimento ou de Tecnologia</a:t>
            </a:r>
          </a:p>
        </p:txBody>
      </p:sp>
      <p:grpSp>
        <p:nvGrpSpPr>
          <p:cNvPr id="5" name="Group 2051"/>
          <p:cNvGrpSpPr>
            <a:grpSpLocks/>
          </p:cNvGrpSpPr>
          <p:nvPr/>
        </p:nvGrpSpPr>
        <p:grpSpPr bwMode="auto">
          <a:xfrm>
            <a:off x="7938" y="1371600"/>
            <a:ext cx="7677150" cy="5353051"/>
            <a:chOff x="5" y="864"/>
            <a:chExt cx="4836" cy="3372"/>
          </a:xfrm>
        </p:grpSpPr>
        <p:pic>
          <p:nvPicPr>
            <p:cNvPr id="6" name="Picture 37" descr="pizza4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" y="1028"/>
              <a:ext cx="4542" cy="2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 Box 4"/>
            <p:cNvSpPr txBox="1">
              <a:spLocks noChangeArrowheads="1"/>
            </p:cNvSpPr>
            <p:nvPr/>
          </p:nvSpPr>
          <p:spPr bwMode="auto">
            <a:xfrm>
              <a:off x="3811" y="1726"/>
              <a:ext cx="690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Saúde 39</a:t>
              </a:r>
            </a:p>
          </p:txBody>
        </p:sp>
        <p:sp>
          <p:nvSpPr>
            <p:cNvPr id="8" name="Text Box 5"/>
            <p:cNvSpPr txBox="1">
              <a:spLocks noChangeArrowheads="1"/>
            </p:cNvSpPr>
            <p:nvPr/>
          </p:nvSpPr>
          <p:spPr bwMode="auto">
            <a:xfrm>
              <a:off x="80" y="2242"/>
              <a:ext cx="1030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Agronegócio 9</a:t>
              </a:r>
            </a:p>
          </p:txBody>
        </p:sp>
        <p:sp>
          <p:nvSpPr>
            <p:cNvPr id="9" name="Text Box 6"/>
            <p:cNvSpPr txBox="1">
              <a:spLocks noChangeArrowheads="1"/>
            </p:cNvSpPr>
            <p:nvPr/>
          </p:nvSpPr>
          <p:spPr bwMode="auto">
            <a:xfrm>
              <a:off x="3521" y="3377"/>
              <a:ext cx="1320" cy="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Engenharias, Física</a:t>
              </a:r>
            </a:p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Matemática   14</a:t>
              </a: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2690" y="3829"/>
              <a:ext cx="1326" cy="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Biotecnologia/</a:t>
              </a:r>
            </a:p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Nanotecnologia  11</a:t>
              </a:r>
            </a:p>
          </p:txBody>
        </p:sp>
        <p:sp>
          <p:nvSpPr>
            <p:cNvPr id="11" name="Text Box 8"/>
            <p:cNvSpPr txBox="1">
              <a:spLocks noChangeArrowheads="1"/>
            </p:cNvSpPr>
            <p:nvPr/>
          </p:nvSpPr>
          <p:spPr bwMode="auto">
            <a:xfrm>
              <a:off x="333" y="2770"/>
              <a:ext cx="88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Amazônia  7</a:t>
              </a:r>
            </a:p>
          </p:txBody>
        </p:sp>
        <p:sp>
          <p:nvSpPr>
            <p:cNvPr id="12" name="Text Box 9"/>
            <p:cNvSpPr txBox="1">
              <a:spLocks noChangeArrowheads="1"/>
            </p:cNvSpPr>
            <p:nvPr/>
          </p:nvSpPr>
          <p:spPr bwMode="auto">
            <a:xfrm>
              <a:off x="924" y="3223"/>
              <a:ext cx="517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TICs  7</a:t>
              </a:r>
            </a:p>
          </p:txBody>
        </p:sp>
        <p:sp>
          <p:nvSpPr>
            <p:cNvPr id="13" name="Text Box 11"/>
            <p:cNvSpPr txBox="1">
              <a:spLocks noChangeArrowheads="1"/>
            </p:cNvSpPr>
            <p:nvPr/>
          </p:nvSpPr>
          <p:spPr bwMode="auto">
            <a:xfrm>
              <a:off x="5" y="1669"/>
              <a:ext cx="1207" cy="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Biodiversidade</a:t>
              </a:r>
            </a:p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Meio Ambiente  7</a:t>
              </a:r>
            </a:p>
          </p:txBody>
        </p:sp>
        <p:sp>
          <p:nvSpPr>
            <p:cNvPr id="14" name="Text Box 12"/>
            <p:cNvSpPr txBox="1">
              <a:spLocks noChangeArrowheads="1"/>
            </p:cNvSpPr>
            <p:nvPr/>
          </p:nvSpPr>
          <p:spPr bwMode="auto">
            <a:xfrm>
              <a:off x="743" y="1450"/>
              <a:ext cx="697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Energia 7</a:t>
              </a:r>
            </a:p>
          </p:txBody>
        </p:sp>
        <p:sp>
          <p:nvSpPr>
            <p:cNvPr id="15" name="Text Box 13"/>
            <p:cNvSpPr txBox="1">
              <a:spLocks noChangeArrowheads="1"/>
            </p:cNvSpPr>
            <p:nvPr/>
          </p:nvSpPr>
          <p:spPr bwMode="auto">
            <a:xfrm>
              <a:off x="573" y="1182"/>
              <a:ext cx="1186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dirty="0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Antártica e Mar 3</a:t>
              </a:r>
            </a:p>
          </p:txBody>
        </p:sp>
        <p:sp>
          <p:nvSpPr>
            <p:cNvPr id="16" name="Text Box 14"/>
            <p:cNvSpPr txBox="1">
              <a:spLocks noChangeArrowheads="1"/>
            </p:cNvSpPr>
            <p:nvPr/>
          </p:nvSpPr>
          <p:spPr bwMode="auto">
            <a:xfrm>
              <a:off x="1386" y="996"/>
              <a:ext cx="70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Nuclear 2</a:t>
              </a:r>
            </a:p>
          </p:txBody>
        </p:sp>
        <p:sp>
          <p:nvSpPr>
            <p:cNvPr id="17" name="Text Box 15"/>
            <p:cNvSpPr txBox="1">
              <a:spLocks noChangeArrowheads="1"/>
            </p:cNvSpPr>
            <p:nvPr/>
          </p:nvSpPr>
          <p:spPr bwMode="auto">
            <a:xfrm>
              <a:off x="2194" y="864"/>
              <a:ext cx="655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Outras 6</a:t>
              </a: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555" y="1862"/>
              <a:ext cx="272" cy="272"/>
            </a:xfrm>
            <a:custGeom>
              <a:avLst/>
              <a:gdLst>
                <a:gd name="T0" fmla="*/ 272 w 272"/>
                <a:gd name="T1" fmla="*/ 0 h 272"/>
                <a:gd name="T2" fmla="*/ 0 w 272"/>
                <a:gd name="T3" fmla="*/ 0 h 272"/>
                <a:gd name="T4" fmla="*/ 0 w 272"/>
                <a:gd name="T5" fmla="*/ 272 h 27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2" h="272">
                  <a:moveTo>
                    <a:pt x="272" y="0"/>
                  </a:moveTo>
                  <a:lnTo>
                    <a:pt x="0" y="0"/>
                  </a:lnTo>
                  <a:lnTo>
                    <a:pt x="0" y="272"/>
                  </a:lnTo>
                </a:path>
              </a:pathLst>
            </a:custGeom>
            <a:noFill/>
            <a:ln w="19050" cmpd="sng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238" y="3314"/>
              <a:ext cx="227" cy="272"/>
            </a:xfrm>
            <a:custGeom>
              <a:avLst/>
              <a:gdLst>
                <a:gd name="T0" fmla="*/ 227 w 227"/>
                <a:gd name="T1" fmla="*/ 272 h 272"/>
                <a:gd name="T2" fmla="*/ 0 w 227"/>
                <a:gd name="T3" fmla="*/ 272 h 272"/>
                <a:gd name="T4" fmla="*/ 0 w 227"/>
                <a:gd name="T5" fmla="*/ 0 h 27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" h="272">
                  <a:moveTo>
                    <a:pt x="227" y="272"/>
                  </a:moveTo>
                  <a:lnTo>
                    <a:pt x="0" y="272"/>
                  </a:lnTo>
                  <a:lnTo>
                    <a:pt x="0" y="0"/>
                  </a:lnTo>
                </a:path>
              </a:pathLst>
            </a:custGeom>
            <a:noFill/>
            <a:ln w="190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17961" dir="2700000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2557" y="3495"/>
              <a:ext cx="136" cy="454"/>
            </a:xfrm>
            <a:custGeom>
              <a:avLst/>
              <a:gdLst>
                <a:gd name="T0" fmla="*/ 227 w 227"/>
                <a:gd name="T1" fmla="*/ 454 h 454"/>
                <a:gd name="T2" fmla="*/ 0 w 227"/>
                <a:gd name="T3" fmla="*/ 454 h 454"/>
                <a:gd name="T4" fmla="*/ 0 w 227"/>
                <a:gd name="T5" fmla="*/ 0 h 45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" h="454">
                  <a:moveTo>
                    <a:pt x="227" y="454"/>
                  </a:moveTo>
                  <a:lnTo>
                    <a:pt x="0" y="454"/>
                  </a:lnTo>
                  <a:lnTo>
                    <a:pt x="0" y="0"/>
                  </a:lnTo>
                </a:path>
              </a:pathLst>
            </a:custGeom>
            <a:noFill/>
            <a:ln w="190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17961" dir="2700000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21" name="Line 19"/>
            <p:cNvSpPr>
              <a:spLocks noChangeShapeType="1"/>
            </p:cNvSpPr>
            <p:nvPr/>
          </p:nvSpPr>
          <p:spPr bwMode="auto">
            <a:xfrm flipV="1">
              <a:off x="2058" y="3359"/>
              <a:ext cx="0" cy="454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auto">
            <a:xfrm>
              <a:off x="1559" y="3087"/>
              <a:ext cx="137" cy="272"/>
            </a:xfrm>
            <a:custGeom>
              <a:avLst/>
              <a:gdLst>
                <a:gd name="T0" fmla="*/ 0 w 227"/>
                <a:gd name="T1" fmla="*/ 272 h 272"/>
                <a:gd name="T2" fmla="*/ 227 w 227"/>
                <a:gd name="T3" fmla="*/ 272 h 272"/>
                <a:gd name="T4" fmla="*/ 227 w 227"/>
                <a:gd name="T5" fmla="*/ 0 h 27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" h="272">
                  <a:moveTo>
                    <a:pt x="0" y="272"/>
                  </a:moveTo>
                  <a:lnTo>
                    <a:pt x="227" y="272"/>
                  </a:lnTo>
                  <a:lnTo>
                    <a:pt x="227" y="0"/>
                  </a:lnTo>
                </a:path>
              </a:pathLst>
            </a:custGeom>
            <a:noFill/>
            <a:ln w="190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28398" dir="1593903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1106" y="2679"/>
              <a:ext cx="544" cy="136"/>
            </a:xfrm>
            <a:custGeom>
              <a:avLst/>
              <a:gdLst>
                <a:gd name="T0" fmla="*/ 0 w 816"/>
                <a:gd name="T1" fmla="*/ 136 h 136"/>
                <a:gd name="T2" fmla="*/ 0 w 816"/>
                <a:gd name="T3" fmla="*/ 0 h 136"/>
                <a:gd name="T4" fmla="*/ 816 w 816"/>
                <a:gd name="T5" fmla="*/ 0 h 13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816" h="136">
                  <a:moveTo>
                    <a:pt x="0" y="136"/>
                  </a:moveTo>
                  <a:lnTo>
                    <a:pt x="0" y="0"/>
                  </a:lnTo>
                  <a:lnTo>
                    <a:pt x="816" y="0"/>
                  </a:lnTo>
                </a:path>
              </a:pathLst>
            </a:custGeom>
            <a:noFill/>
            <a:ln w="190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28398" dir="1593903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24" name="Text Box 10"/>
            <p:cNvSpPr txBox="1">
              <a:spLocks noChangeArrowheads="1"/>
            </p:cNvSpPr>
            <p:nvPr/>
          </p:nvSpPr>
          <p:spPr bwMode="auto">
            <a:xfrm>
              <a:off x="814" y="3816"/>
              <a:ext cx="1300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r" eaLnBrk="1" hangingPunct="1"/>
              <a:r>
                <a:rPr lang="pt-BR" sz="1800" b="1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Ciências Sociais  10</a:t>
              </a:r>
            </a:p>
          </p:txBody>
        </p:sp>
        <p:sp>
          <p:nvSpPr>
            <p:cNvPr id="25" name="Line 22"/>
            <p:cNvSpPr>
              <a:spLocks noChangeShapeType="1"/>
            </p:cNvSpPr>
            <p:nvPr/>
          </p:nvSpPr>
          <p:spPr bwMode="auto">
            <a:xfrm>
              <a:off x="1242" y="2361"/>
              <a:ext cx="499" cy="0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  <a:effectLst>
              <a:outerShdw dist="28398" dir="1593903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26" name="Freeform 23"/>
            <p:cNvSpPr>
              <a:spLocks/>
            </p:cNvSpPr>
            <p:nvPr/>
          </p:nvSpPr>
          <p:spPr bwMode="auto">
            <a:xfrm>
              <a:off x="1234" y="1862"/>
              <a:ext cx="371" cy="136"/>
            </a:xfrm>
            <a:custGeom>
              <a:avLst/>
              <a:gdLst>
                <a:gd name="T0" fmla="*/ 0 w 325"/>
                <a:gd name="T1" fmla="*/ 0 h 216"/>
                <a:gd name="T2" fmla="*/ 325 w 325"/>
                <a:gd name="T3" fmla="*/ 0 h 216"/>
                <a:gd name="T4" fmla="*/ 325 w 325"/>
                <a:gd name="T5" fmla="*/ 216 h 21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25" h="216">
                  <a:moveTo>
                    <a:pt x="0" y="0"/>
                  </a:moveTo>
                  <a:cubicBezTo>
                    <a:pt x="108" y="0"/>
                    <a:pt x="217" y="0"/>
                    <a:pt x="325" y="0"/>
                  </a:cubicBezTo>
                  <a:lnTo>
                    <a:pt x="325" y="216"/>
                  </a:lnTo>
                </a:path>
              </a:pathLst>
            </a:custGeom>
            <a:noFill/>
            <a:ln w="190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28398" dir="1593903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27" name="Freeform 24"/>
            <p:cNvSpPr>
              <a:spLocks/>
            </p:cNvSpPr>
            <p:nvPr/>
          </p:nvSpPr>
          <p:spPr bwMode="auto">
            <a:xfrm>
              <a:off x="1514" y="1590"/>
              <a:ext cx="227" cy="136"/>
            </a:xfrm>
            <a:custGeom>
              <a:avLst/>
              <a:gdLst>
                <a:gd name="T0" fmla="*/ 0 w 227"/>
                <a:gd name="T1" fmla="*/ 0 h 227"/>
                <a:gd name="T2" fmla="*/ 227 w 227"/>
                <a:gd name="T3" fmla="*/ 0 h 227"/>
                <a:gd name="T4" fmla="*/ 227 w 227"/>
                <a:gd name="T5" fmla="*/ 227 h 227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" h="227">
                  <a:moveTo>
                    <a:pt x="0" y="0"/>
                  </a:moveTo>
                  <a:lnTo>
                    <a:pt x="227" y="0"/>
                  </a:lnTo>
                  <a:lnTo>
                    <a:pt x="227" y="227"/>
                  </a:lnTo>
                </a:path>
              </a:pathLst>
            </a:custGeom>
            <a:noFill/>
            <a:ln w="190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28398" dir="1593903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28" name="Freeform 25"/>
            <p:cNvSpPr>
              <a:spLocks/>
            </p:cNvSpPr>
            <p:nvPr/>
          </p:nvSpPr>
          <p:spPr bwMode="auto">
            <a:xfrm>
              <a:off x="1903" y="1318"/>
              <a:ext cx="181" cy="227"/>
            </a:xfrm>
            <a:custGeom>
              <a:avLst/>
              <a:gdLst>
                <a:gd name="T0" fmla="*/ 0 w 181"/>
                <a:gd name="T1" fmla="*/ 0 h 227"/>
                <a:gd name="T2" fmla="*/ 181 w 181"/>
                <a:gd name="T3" fmla="*/ 0 h 227"/>
                <a:gd name="T4" fmla="*/ 181 w 181"/>
                <a:gd name="T5" fmla="*/ 227 h 227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1" h="227">
                  <a:moveTo>
                    <a:pt x="0" y="0"/>
                  </a:moveTo>
                  <a:lnTo>
                    <a:pt x="181" y="0"/>
                  </a:lnTo>
                  <a:lnTo>
                    <a:pt x="181" y="227"/>
                  </a:lnTo>
                </a:path>
              </a:pathLst>
            </a:custGeom>
            <a:noFill/>
            <a:ln w="190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28398" dir="1593903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29" name="Freeform 26"/>
            <p:cNvSpPr>
              <a:spLocks/>
            </p:cNvSpPr>
            <p:nvPr/>
          </p:nvSpPr>
          <p:spPr bwMode="auto">
            <a:xfrm>
              <a:off x="2157" y="1137"/>
              <a:ext cx="91" cy="362"/>
            </a:xfrm>
            <a:custGeom>
              <a:avLst/>
              <a:gdLst>
                <a:gd name="T0" fmla="*/ 0 w 91"/>
                <a:gd name="T1" fmla="*/ 0 h 362"/>
                <a:gd name="T2" fmla="*/ 91 w 91"/>
                <a:gd name="T3" fmla="*/ 0 h 362"/>
                <a:gd name="T4" fmla="*/ 91 w 91"/>
                <a:gd name="T5" fmla="*/ 362 h 36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1" h="362">
                  <a:moveTo>
                    <a:pt x="0" y="0"/>
                  </a:moveTo>
                  <a:lnTo>
                    <a:pt x="91" y="0"/>
                  </a:lnTo>
                  <a:lnTo>
                    <a:pt x="91" y="362"/>
                  </a:lnTo>
                </a:path>
              </a:pathLst>
            </a:custGeom>
            <a:noFill/>
            <a:ln w="190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28398" dir="1593903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  <p:sp>
          <p:nvSpPr>
            <p:cNvPr id="30" name="Line 27"/>
            <p:cNvSpPr>
              <a:spLocks noChangeShapeType="1"/>
            </p:cNvSpPr>
            <p:nvPr/>
          </p:nvSpPr>
          <p:spPr bwMode="auto">
            <a:xfrm>
              <a:off x="2421" y="1092"/>
              <a:ext cx="0" cy="453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  <a:effectLst>
              <a:outerShdw dist="28398" dir="1593903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hangingPunct="1"/>
              <a:endParaRPr lang="pt-BR" sz="1800" smtClean="0">
                <a:solidFill>
                  <a:prstClr val="black"/>
                </a:solidFill>
                <a:latin typeface="Corbel" pitchFamily="34" charset="0"/>
                <a:cs typeface="Arial" charset="0"/>
              </a:endParaRPr>
            </a:p>
          </p:txBody>
        </p:sp>
      </p:grpSp>
      <p:grpSp>
        <p:nvGrpSpPr>
          <p:cNvPr id="32" name="Group 2083"/>
          <p:cNvGrpSpPr>
            <a:grpSpLocks/>
          </p:cNvGrpSpPr>
          <p:nvPr/>
        </p:nvGrpSpPr>
        <p:grpSpPr bwMode="auto">
          <a:xfrm>
            <a:off x="6119813" y="3297241"/>
            <a:ext cx="2844800" cy="1549401"/>
            <a:chOff x="3855" y="2077"/>
            <a:chExt cx="1905" cy="976"/>
          </a:xfrm>
        </p:grpSpPr>
        <p:sp>
          <p:nvSpPr>
            <p:cNvPr id="33" name="Rectangle 35"/>
            <p:cNvSpPr>
              <a:spLocks noChangeArrowheads="1"/>
            </p:cNvSpPr>
            <p:nvPr/>
          </p:nvSpPr>
          <p:spPr bwMode="auto">
            <a:xfrm>
              <a:off x="4407" y="2077"/>
              <a:ext cx="630" cy="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pt-BR" sz="4000" b="1" dirty="0" smtClean="0">
                  <a:solidFill>
                    <a:srgbClr val="000066"/>
                  </a:solidFill>
                  <a:latin typeface="Corbel" pitchFamily="34" charset="0"/>
                  <a:cs typeface="Arial" charset="0"/>
                </a:rPr>
                <a:t>122</a:t>
              </a:r>
            </a:p>
          </p:txBody>
        </p:sp>
        <p:pic>
          <p:nvPicPr>
            <p:cNvPr id="34" name="Picture 2085" descr="CNPq_INCTs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5" y="2474"/>
              <a:ext cx="1905" cy="5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5" name="Picture 15" descr="Logo-cnpq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63" y="834355"/>
            <a:ext cx="1190625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5"/>
          <p:cNvSpPr>
            <a:spLocks noChangeArrowheads="1"/>
          </p:cNvSpPr>
          <p:nvPr/>
        </p:nvSpPr>
        <p:spPr bwMode="auto">
          <a:xfrm>
            <a:off x="152400" y="695325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7" name="Imagem 15" descr="Logo_MCT_Corel_10_Curvas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511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Imagem 62" descr="s32_salinas_05.png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Retângulo 62"/>
          <p:cNvSpPr/>
          <p:nvPr/>
        </p:nvSpPr>
        <p:spPr>
          <a:xfrm rot="20083782">
            <a:off x="5772150" y="5981700"/>
            <a:ext cx="4451350" cy="2243138"/>
          </a:xfrm>
          <a:prstGeom prst="rect">
            <a:avLst/>
          </a:prstGeom>
          <a:solidFill>
            <a:srgbClr val="C4D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BR">
              <a:solidFill>
                <a:srgbClr val="C4D000"/>
              </a:solidFill>
            </a:endParaRPr>
          </a:p>
        </p:txBody>
      </p:sp>
      <p:pic>
        <p:nvPicPr>
          <p:cNvPr id="19460" name="Imagem 63" descr="s32_salinas_04.png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19" b="83334"/>
          <a:stretch>
            <a:fillRect/>
          </a:stretch>
        </p:blipFill>
        <p:spPr bwMode="auto">
          <a:xfrm>
            <a:off x="3357563" y="0"/>
            <a:ext cx="5786437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m 5" descr="s32_salinas_01.png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41" r="29688" b="4166"/>
          <a:stretch>
            <a:fillRect/>
          </a:stretch>
        </p:blipFill>
        <p:spPr bwMode="auto">
          <a:xfrm>
            <a:off x="285750" y="1071563"/>
            <a:ext cx="6103938" cy="535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2" name="Retângulo 7"/>
          <p:cNvSpPr>
            <a:spLocks noChangeArrowheads="1"/>
          </p:cNvSpPr>
          <p:nvPr/>
        </p:nvSpPr>
        <p:spPr bwMode="auto">
          <a:xfrm>
            <a:off x="642938" y="207963"/>
            <a:ext cx="8358187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pt-BR" b="1" smtClean="0">
                <a:solidFill>
                  <a:srgbClr val="FFFFFF"/>
                </a:solidFill>
                <a:cs typeface="Tahoma" pitchFamily="34" charset="0"/>
              </a:rPr>
              <a:t>LOCALIZAÇÃO DOS INSTITUTOS </a:t>
            </a:r>
          </a:p>
          <a:p>
            <a:pPr algn="r"/>
            <a:r>
              <a:rPr lang="pt-BR" b="1" smtClean="0">
                <a:solidFill>
                  <a:srgbClr val="FFFFFF"/>
                </a:solidFill>
                <a:cs typeface="Tahoma" pitchFamily="34" charset="0"/>
              </a:rPr>
              <a:t>SENAI DE TECNOLOGIA</a:t>
            </a:r>
          </a:p>
        </p:txBody>
      </p:sp>
      <p:sp>
        <p:nvSpPr>
          <p:cNvPr id="19463" name="Retângulo 8"/>
          <p:cNvSpPr>
            <a:spLocks noChangeArrowheads="1"/>
          </p:cNvSpPr>
          <p:nvPr/>
        </p:nvSpPr>
        <p:spPr bwMode="auto">
          <a:xfrm>
            <a:off x="3357563" y="1049338"/>
            <a:ext cx="56816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pt-BR" sz="1400" b="1" smtClean="0">
                <a:solidFill>
                  <a:srgbClr val="FFFFFF"/>
                </a:solidFill>
                <a:cs typeface="Tahoma" pitchFamily="34" charset="0"/>
              </a:rPr>
              <a:t>REDE DE LABORATÓRIOS DE </a:t>
            </a:r>
          </a:p>
          <a:p>
            <a:pPr algn="r"/>
            <a:r>
              <a:rPr lang="pt-BR" sz="1400" b="1" smtClean="0">
                <a:solidFill>
                  <a:srgbClr val="FFFFFF"/>
                </a:solidFill>
                <a:cs typeface="Tahoma" pitchFamily="34" charset="0"/>
              </a:rPr>
              <a:t>ATENDIMENTO À INDÚSTRIA</a:t>
            </a:r>
          </a:p>
        </p:txBody>
      </p:sp>
      <p:sp>
        <p:nvSpPr>
          <p:cNvPr id="10" name="Retângulo 9"/>
          <p:cNvSpPr/>
          <p:nvPr/>
        </p:nvSpPr>
        <p:spPr>
          <a:xfrm>
            <a:off x="142875" y="1143000"/>
            <a:ext cx="1668463" cy="307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adeira e Mobiliário</a:t>
            </a:r>
          </a:p>
        </p:txBody>
      </p:sp>
      <p:cxnSp>
        <p:nvCxnSpPr>
          <p:cNvPr id="12" name="Conector reto 126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 rot="16200000" flipV="1">
            <a:off x="142875" y="2000250"/>
            <a:ext cx="1928813" cy="785813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11" name="Rectangle 53"/>
          <p:cNvSpPr/>
          <p:nvPr/>
        </p:nvSpPr>
        <p:spPr bwMode="auto">
          <a:xfrm>
            <a:off x="1357313" y="3214688"/>
            <a:ext cx="315912" cy="279400"/>
          </a:xfrm>
          <a:prstGeom prst="ellipse">
            <a:avLst/>
          </a:prstGeom>
          <a:solidFill>
            <a:srgbClr val="FF0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71438" y="3522663"/>
            <a:ext cx="1714500" cy="4778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Eletroeletrônica</a:t>
            </a: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Alimentos e Bebidas</a:t>
            </a:r>
          </a:p>
        </p:txBody>
      </p:sp>
      <p:cxnSp>
        <p:nvCxnSpPr>
          <p:cNvPr id="17" name="Conector reto 126"/>
          <p:cNvCxnSpPr>
            <a:cxnSpLocks noChangeShapeType="1"/>
            <a:stCxn id="15" idx="3"/>
          </p:cNvCxnSpPr>
          <p:nvPr>
            <p:custDataLst>
              <p:tags r:id="rId2"/>
            </p:custDataLst>
          </p:nvPr>
        </p:nvCxnSpPr>
        <p:spPr bwMode="auto">
          <a:xfrm flipV="1">
            <a:off x="1785938" y="3429000"/>
            <a:ext cx="1500187" cy="333375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16" name="Rectangle 53"/>
          <p:cNvSpPr/>
          <p:nvPr/>
        </p:nvSpPr>
        <p:spPr bwMode="auto">
          <a:xfrm>
            <a:off x="3143250" y="3286125"/>
            <a:ext cx="315913" cy="279400"/>
          </a:xfrm>
          <a:prstGeom prst="ellipse">
            <a:avLst/>
          </a:prstGeom>
          <a:solidFill>
            <a:srgbClr val="C4D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2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714375" y="3973513"/>
            <a:ext cx="1714500" cy="6699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 err="1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talmecânica</a:t>
            </a:r>
            <a:endParaRPr lang="pt-BR" sz="1400" b="1" kern="0" dirty="0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Automação</a:t>
            </a: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Alimentos e Bebidas</a:t>
            </a:r>
          </a:p>
        </p:txBody>
      </p:sp>
      <p:cxnSp>
        <p:nvCxnSpPr>
          <p:cNvPr id="30" name="Conector reto 126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 flipV="1">
            <a:off x="2428875" y="3883025"/>
            <a:ext cx="1571625" cy="285750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29" name="Rectangle 53"/>
          <p:cNvSpPr/>
          <p:nvPr/>
        </p:nvSpPr>
        <p:spPr bwMode="auto">
          <a:xfrm>
            <a:off x="3857625" y="3721100"/>
            <a:ext cx="315913" cy="279400"/>
          </a:xfrm>
          <a:prstGeom prst="ellipse">
            <a:avLst/>
          </a:prstGeom>
          <a:solidFill>
            <a:srgbClr val="0363A9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3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32" name="TextBox 77"/>
          <p:cNvSpPr txBox="1"/>
          <p:nvPr>
            <p:custDataLst>
              <p:tags r:id="rId4"/>
            </p:custDataLst>
          </p:nvPr>
        </p:nvSpPr>
        <p:spPr>
          <a:xfrm>
            <a:off x="198438" y="4643438"/>
            <a:ext cx="1712912" cy="309562"/>
          </a:xfrm>
          <a:prstGeom prst="rect">
            <a:avLst/>
          </a:prstGeom>
          <a:noFill/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Alimentos e Bebidas</a:t>
            </a:r>
          </a:p>
        </p:txBody>
      </p:sp>
      <p:cxnSp>
        <p:nvCxnSpPr>
          <p:cNvPr id="34" name="Conector reto 126"/>
          <p:cNvCxnSpPr>
            <a:cxnSpLocks noChangeShapeType="1"/>
            <a:endCxn id="35" idx="3"/>
          </p:cNvCxnSpPr>
          <p:nvPr>
            <p:custDataLst>
              <p:tags r:id="rId5"/>
            </p:custDataLst>
          </p:nvPr>
        </p:nvCxnSpPr>
        <p:spPr bwMode="auto">
          <a:xfrm flipV="1">
            <a:off x="1857375" y="4524375"/>
            <a:ext cx="1546225" cy="261938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35" name="Rectangle 53"/>
          <p:cNvSpPr/>
          <p:nvPr/>
        </p:nvSpPr>
        <p:spPr bwMode="auto">
          <a:xfrm>
            <a:off x="3357563" y="4286250"/>
            <a:ext cx="315912" cy="279400"/>
          </a:xfrm>
          <a:prstGeom prst="ellipse">
            <a:avLst/>
          </a:prstGeom>
          <a:solidFill>
            <a:srgbClr val="FF0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44" name="TextBox 77"/>
          <p:cNvSpPr txBox="1"/>
          <p:nvPr>
            <p:custDataLst>
              <p:tags r:id="rId6"/>
            </p:custDataLst>
          </p:nvPr>
        </p:nvSpPr>
        <p:spPr>
          <a:xfrm>
            <a:off x="928688" y="4857750"/>
            <a:ext cx="2071687" cy="1104900"/>
          </a:xfrm>
          <a:prstGeom prst="rect">
            <a:avLst/>
          </a:prstGeom>
          <a:noFill/>
        </p:spPr>
        <p:txBody>
          <a:bodyPr/>
          <a:lstStyle/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io Ambiente</a:t>
            </a: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Papel e Celulose</a:t>
            </a: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Tecnologia da Informação</a:t>
            </a: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adeira e Mobiliário</a:t>
            </a: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 err="1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talmecânica</a:t>
            </a:r>
            <a:endParaRPr lang="pt-BR" sz="1400" b="1" kern="0" dirty="0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</p:txBody>
      </p:sp>
      <p:cxnSp>
        <p:nvCxnSpPr>
          <p:cNvPr id="46" name="Conector reto 126"/>
          <p:cNvCxnSpPr>
            <a:cxnSpLocks noChangeShapeType="1"/>
            <a:stCxn id="44" idx="3"/>
          </p:cNvCxnSpPr>
          <p:nvPr>
            <p:custDataLst>
              <p:tags r:id="rId7"/>
            </p:custDataLst>
          </p:nvPr>
        </p:nvCxnSpPr>
        <p:spPr bwMode="auto">
          <a:xfrm flipV="1">
            <a:off x="3000375" y="4857750"/>
            <a:ext cx="857250" cy="552450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45" name="Rectangle 53"/>
          <p:cNvSpPr/>
          <p:nvPr/>
        </p:nvSpPr>
        <p:spPr bwMode="auto">
          <a:xfrm>
            <a:off x="3714750" y="4714875"/>
            <a:ext cx="315913" cy="279400"/>
          </a:xfrm>
          <a:prstGeom prst="ellipse">
            <a:avLst/>
          </a:prstGeom>
          <a:solidFill>
            <a:srgbClr val="7030A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5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50" name="TextBox 77"/>
          <p:cNvSpPr txBox="1"/>
          <p:nvPr>
            <p:custDataLst>
              <p:tags r:id="rId8"/>
            </p:custDataLst>
          </p:nvPr>
        </p:nvSpPr>
        <p:spPr>
          <a:xfrm>
            <a:off x="-142875" y="5722938"/>
            <a:ext cx="1928813" cy="849312"/>
          </a:xfrm>
          <a:prstGeom prst="rect">
            <a:avLst/>
          </a:prstGeom>
          <a:noFill/>
        </p:spPr>
        <p:txBody>
          <a:bodyPr/>
          <a:lstStyle/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adeira e Mobiliário</a:t>
            </a: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Automação</a:t>
            </a: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Refrigeração</a:t>
            </a:r>
          </a:p>
          <a:p>
            <a:pPr algn="r"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Couro e Calçado</a:t>
            </a:r>
          </a:p>
        </p:txBody>
      </p:sp>
      <p:cxnSp>
        <p:nvCxnSpPr>
          <p:cNvPr id="57" name="Conector reto 126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 flipV="1">
            <a:off x="1714500" y="5643563"/>
            <a:ext cx="2143125" cy="714375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51" name="Rectangle 53"/>
          <p:cNvSpPr/>
          <p:nvPr/>
        </p:nvSpPr>
        <p:spPr bwMode="auto">
          <a:xfrm>
            <a:off x="3760788" y="5475288"/>
            <a:ext cx="315912" cy="279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4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60" name="TextBox 77"/>
          <p:cNvSpPr txBox="1"/>
          <p:nvPr>
            <p:custDataLst>
              <p:tags r:id="rId10"/>
            </p:custDataLst>
          </p:nvPr>
        </p:nvSpPr>
        <p:spPr>
          <a:xfrm>
            <a:off x="4786313" y="6015038"/>
            <a:ext cx="2000250" cy="557212"/>
          </a:xfrm>
          <a:prstGeom prst="rect">
            <a:avLst/>
          </a:prstGeom>
          <a:noFill/>
        </p:spPr>
        <p:txBody>
          <a:bodyPr/>
          <a:lstStyle/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Alimentos e Bebidas</a:t>
            </a: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io Ambiente</a:t>
            </a: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Logística</a:t>
            </a:r>
          </a:p>
        </p:txBody>
      </p:sp>
      <p:cxnSp>
        <p:nvCxnSpPr>
          <p:cNvPr id="62" name="Conector reto 126"/>
          <p:cNvCxnSpPr>
            <a:cxnSpLocks noChangeShapeType="1"/>
            <a:endCxn id="60" idx="1"/>
          </p:cNvCxnSpPr>
          <p:nvPr>
            <p:custDataLst>
              <p:tags r:id="rId11"/>
            </p:custDataLst>
          </p:nvPr>
        </p:nvCxnSpPr>
        <p:spPr bwMode="auto">
          <a:xfrm rot="16200000" flipH="1">
            <a:off x="4032250" y="5540375"/>
            <a:ext cx="1008063" cy="500063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61" name="Rectangle 53"/>
          <p:cNvSpPr/>
          <p:nvPr/>
        </p:nvSpPr>
        <p:spPr bwMode="auto">
          <a:xfrm>
            <a:off x="4143375" y="5072063"/>
            <a:ext cx="315913" cy="279400"/>
          </a:xfrm>
          <a:prstGeom prst="ellipse">
            <a:avLst/>
          </a:prstGeom>
          <a:solidFill>
            <a:srgbClr val="0363A9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3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66" name="TextBox 77"/>
          <p:cNvSpPr txBox="1"/>
          <p:nvPr>
            <p:custDataLst>
              <p:tags r:id="rId12"/>
            </p:custDataLst>
          </p:nvPr>
        </p:nvSpPr>
        <p:spPr>
          <a:xfrm>
            <a:off x="4643438" y="5264150"/>
            <a:ext cx="1431925" cy="450850"/>
          </a:xfrm>
          <a:prstGeom prst="rect">
            <a:avLst/>
          </a:prstGeom>
          <a:noFill/>
        </p:spPr>
        <p:txBody>
          <a:bodyPr/>
          <a:lstStyle/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 err="1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talmecânica</a:t>
            </a:r>
            <a:endParaRPr lang="pt-BR" sz="1400" b="1" kern="0" dirty="0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 err="1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Contrução</a:t>
            </a:r>
            <a:endParaRPr lang="pt-BR" sz="1400" b="1" kern="0" dirty="0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catrônica</a:t>
            </a:r>
          </a:p>
        </p:txBody>
      </p:sp>
      <p:cxnSp>
        <p:nvCxnSpPr>
          <p:cNvPr id="67" name="Conector reto 126"/>
          <p:cNvCxnSpPr>
            <a:cxnSpLocks noChangeShapeType="1"/>
          </p:cNvCxnSpPr>
          <p:nvPr>
            <p:custDataLst>
              <p:tags r:id="rId13"/>
            </p:custDataLst>
          </p:nvPr>
        </p:nvCxnSpPr>
        <p:spPr bwMode="auto">
          <a:xfrm rot="16200000" flipH="1">
            <a:off x="4727575" y="4870450"/>
            <a:ext cx="642938" cy="71438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68" name="Rectangle 53"/>
          <p:cNvSpPr/>
          <p:nvPr/>
        </p:nvSpPr>
        <p:spPr bwMode="auto">
          <a:xfrm>
            <a:off x="4857750" y="4435475"/>
            <a:ext cx="315913" cy="279400"/>
          </a:xfrm>
          <a:prstGeom prst="ellipse">
            <a:avLst/>
          </a:prstGeom>
          <a:solidFill>
            <a:srgbClr val="0363A9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3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70" name="TextBox 77"/>
          <p:cNvSpPr txBox="1"/>
          <p:nvPr>
            <p:custDataLst>
              <p:tags r:id="rId14"/>
            </p:custDataLst>
          </p:nvPr>
        </p:nvSpPr>
        <p:spPr>
          <a:xfrm>
            <a:off x="6572250" y="5000625"/>
            <a:ext cx="1633538" cy="322263"/>
          </a:xfrm>
          <a:prstGeom prst="rect">
            <a:avLst/>
          </a:prstGeom>
          <a:noFill/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pt-BR" sz="1400" b="1" kern="0" dirty="0" err="1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talmecânica</a:t>
            </a:r>
            <a:endParaRPr lang="pt-BR" sz="1400" b="1" kern="0" dirty="0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</p:txBody>
      </p:sp>
      <p:cxnSp>
        <p:nvCxnSpPr>
          <p:cNvPr id="72" name="Conector reto 126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>
            <a:off x="5286375" y="4143375"/>
            <a:ext cx="1285875" cy="857250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71" name="Rectangle 53"/>
          <p:cNvSpPr/>
          <p:nvPr/>
        </p:nvSpPr>
        <p:spPr bwMode="auto">
          <a:xfrm>
            <a:off x="5143500" y="4000500"/>
            <a:ext cx="315913" cy="279400"/>
          </a:xfrm>
          <a:prstGeom prst="ellipse">
            <a:avLst/>
          </a:prstGeom>
          <a:solidFill>
            <a:srgbClr val="FF0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75" name="TextBox 77"/>
          <p:cNvSpPr txBox="1"/>
          <p:nvPr>
            <p:custDataLst>
              <p:tags r:id="rId16"/>
            </p:custDataLst>
          </p:nvPr>
        </p:nvSpPr>
        <p:spPr>
          <a:xfrm>
            <a:off x="6215063" y="5357813"/>
            <a:ext cx="1431925" cy="450850"/>
          </a:xfrm>
          <a:prstGeom prst="rect">
            <a:avLst/>
          </a:prstGeom>
          <a:noFill/>
        </p:spPr>
        <p:txBody>
          <a:bodyPr/>
          <a:lstStyle/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 err="1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talmecânica</a:t>
            </a:r>
            <a:endParaRPr lang="pt-BR" sz="1400" b="1" kern="0" dirty="0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ineração</a:t>
            </a: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catrônica</a:t>
            </a:r>
          </a:p>
        </p:txBody>
      </p:sp>
      <p:cxnSp>
        <p:nvCxnSpPr>
          <p:cNvPr id="79" name="Conector reto 126"/>
          <p:cNvCxnSpPr>
            <a:cxnSpLocks noChangeShapeType="1"/>
            <a:stCxn id="80" idx="5"/>
          </p:cNvCxnSpPr>
          <p:nvPr>
            <p:custDataLst>
              <p:tags r:id="rId17"/>
            </p:custDataLst>
          </p:nvPr>
        </p:nvCxnSpPr>
        <p:spPr bwMode="auto">
          <a:xfrm rot="16200000" flipH="1">
            <a:off x="4968875" y="4111626"/>
            <a:ext cx="1190625" cy="1301750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80" name="Rectangle 53"/>
          <p:cNvSpPr/>
          <p:nvPr/>
        </p:nvSpPr>
        <p:spPr bwMode="auto">
          <a:xfrm>
            <a:off x="4643438" y="3929063"/>
            <a:ext cx="315912" cy="279400"/>
          </a:xfrm>
          <a:prstGeom prst="ellipse">
            <a:avLst/>
          </a:prstGeom>
          <a:solidFill>
            <a:srgbClr val="0363A9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3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89" name="TextBox 77"/>
          <p:cNvSpPr txBox="1"/>
          <p:nvPr>
            <p:custDataLst>
              <p:tags r:id="rId18"/>
            </p:custDataLst>
          </p:nvPr>
        </p:nvSpPr>
        <p:spPr>
          <a:xfrm>
            <a:off x="2214563" y="928688"/>
            <a:ext cx="1192212" cy="322262"/>
          </a:xfrm>
          <a:prstGeom prst="rect">
            <a:avLst/>
          </a:prstGeom>
          <a:noFill/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Construção</a:t>
            </a:r>
          </a:p>
        </p:txBody>
      </p:sp>
      <p:cxnSp>
        <p:nvCxnSpPr>
          <p:cNvPr id="91" name="Conector reto 126"/>
          <p:cNvCxnSpPr>
            <a:cxnSpLocks noChangeShapeType="1"/>
          </p:cNvCxnSpPr>
          <p:nvPr>
            <p:custDataLst>
              <p:tags r:id="rId19"/>
            </p:custDataLst>
          </p:nvPr>
        </p:nvCxnSpPr>
        <p:spPr bwMode="auto">
          <a:xfrm rot="16200000" flipV="1">
            <a:off x="2286000" y="1571626"/>
            <a:ext cx="2357437" cy="1643062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90" name="Rectangle 53"/>
          <p:cNvSpPr/>
          <p:nvPr/>
        </p:nvSpPr>
        <p:spPr bwMode="auto">
          <a:xfrm>
            <a:off x="4113213" y="3408363"/>
            <a:ext cx="315912" cy="279400"/>
          </a:xfrm>
          <a:prstGeom prst="ellipse">
            <a:avLst/>
          </a:prstGeom>
          <a:solidFill>
            <a:srgbClr val="FF0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96" name="TextBox 77"/>
          <p:cNvSpPr txBox="1"/>
          <p:nvPr>
            <p:custDataLst>
              <p:tags r:id="rId20"/>
            </p:custDataLst>
          </p:nvPr>
        </p:nvSpPr>
        <p:spPr>
          <a:xfrm>
            <a:off x="6724650" y="4352925"/>
            <a:ext cx="1633538" cy="647700"/>
          </a:xfrm>
          <a:prstGeom prst="rect">
            <a:avLst/>
          </a:prstGeom>
          <a:noFill/>
        </p:spPr>
        <p:txBody>
          <a:bodyPr/>
          <a:lstStyle/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Construção</a:t>
            </a: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Química</a:t>
            </a: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Eletroeletrônica</a:t>
            </a:r>
          </a:p>
        </p:txBody>
      </p:sp>
      <p:cxnSp>
        <p:nvCxnSpPr>
          <p:cNvPr id="98" name="Conector reto 126"/>
          <p:cNvCxnSpPr>
            <a:cxnSpLocks noChangeShapeType="1"/>
            <a:endCxn id="96" idx="1"/>
          </p:cNvCxnSpPr>
          <p:nvPr>
            <p:custDataLst>
              <p:tags r:id="rId21"/>
            </p:custDataLst>
          </p:nvPr>
        </p:nvCxnSpPr>
        <p:spPr bwMode="auto">
          <a:xfrm>
            <a:off x="5143500" y="3214688"/>
            <a:ext cx="1581150" cy="1462087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97" name="Rectangle 53"/>
          <p:cNvSpPr/>
          <p:nvPr/>
        </p:nvSpPr>
        <p:spPr bwMode="auto">
          <a:xfrm>
            <a:off x="5000625" y="3071813"/>
            <a:ext cx="315913" cy="279400"/>
          </a:xfrm>
          <a:prstGeom prst="ellipse">
            <a:avLst/>
          </a:prstGeom>
          <a:solidFill>
            <a:srgbClr val="0363A9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3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" name="TextBox 77"/>
          <p:cNvSpPr txBox="1"/>
          <p:nvPr>
            <p:custDataLst>
              <p:tags r:id="rId22"/>
            </p:custDataLst>
          </p:nvPr>
        </p:nvSpPr>
        <p:spPr>
          <a:xfrm>
            <a:off x="7245350" y="3709988"/>
            <a:ext cx="1755775" cy="576262"/>
          </a:xfrm>
          <a:prstGeom prst="rect">
            <a:avLst/>
          </a:prstGeom>
          <a:noFill/>
        </p:spPr>
        <p:txBody>
          <a:bodyPr/>
          <a:lstStyle/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Química </a:t>
            </a: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Automação</a:t>
            </a: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Alimentos e Bebidas</a:t>
            </a:r>
          </a:p>
        </p:txBody>
      </p:sp>
      <p:cxnSp>
        <p:nvCxnSpPr>
          <p:cNvPr id="115" name="Conector reto 126"/>
          <p:cNvCxnSpPr>
            <a:cxnSpLocks noChangeShapeType="1"/>
          </p:cNvCxnSpPr>
          <p:nvPr>
            <p:custDataLst>
              <p:tags r:id="rId23"/>
            </p:custDataLst>
          </p:nvPr>
        </p:nvCxnSpPr>
        <p:spPr bwMode="auto">
          <a:xfrm>
            <a:off x="5429250" y="2643188"/>
            <a:ext cx="1857375" cy="1500187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112" name="Rectangle 53"/>
          <p:cNvSpPr/>
          <p:nvPr/>
        </p:nvSpPr>
        <p:spPr bwMode="auto">
          <a:xfrm>
            <a:off x="5286375" y="2500313"/>
            <a:ext cx="315913" cy="279400"/>
          </a:xfrm>
          <a:prstGeom prst="ellipse">
            <a:avLst/>
          </a:prstGeom>
          <a:solidFill>
            <a:srgbClr val="0363A9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3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17" name="TextBox 77"/>
          <p:cNvSpPr txBox="1"/>
          <p:nvPr>
            <p:custDataLst>
              <p:tags r:id="rId24"/>
            </p:custDataLst>
          </p:nvPr>
        </p:nvSpPr>
        <p:spPr>
          <a:xfrm>
            <a:off x="6689725" y="3068638"/>
            <a:ext cx="1714500" cy="465137"/>
          </a:xfrm>
          <a:prstGeom prst="rect">
            <a:avLst/>
          </a:prstGeom>
          <a:noFill/>
        </p:spPr>
        <p:txBody>
          <a:bodyPr/>
          <a:lstStyle/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Couro e Calçado</a:t>
            </a:r>
          </a:p>
          <a:p>
            <a:pPr>
              <a:lnSpc>
                <a:spcPts val="15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Têxtil e Vestuário</a:t>
            </a:r>
          </a:p>
        </p:txBody>
      </p:sp>
      <p:cxnSp>
        <p:nvCxnSpPr>
          <p:cNvPr id="119" name="Conector reto 126"/>
          <p:cNvCxnSpPr>
            <a:cxnSpLocks noChangeShapeType="1"/>
          </p:cNvCxnSpPr>
          <p:nvPr>
            <p:custDataLst>
              <p:tags r:id="rId25"/>
            </p:custDataLst>
          </p:nvPr>
        </p:nvCxnSpPr>
        <p:spPr bwMode="auto">
          <a:xfrm>
            <a:off x="5572125" y="2428875"/>
            <a:ext cx="1143000" cy="785813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118" name="Rectangle 53"/>
          <p:cNvSpPr/>
          <p:nvPr/>
        </p:nvSpPr>
        <p:spPr bwMode="auto">
          <a:xfrm>
            <a:off x="5429250" y="2298700"/>
            <a:ext cx="315913" cy="279400"/>
          </a:xfrm>
          <a:prstGeom prst="ellipse">
            <a:avLst/>
          </a:prstGeom>
          <a:solidFill>
            <a:srgbClr val="C4D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2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41" name="TextBox 77"/>
          <p:cNvSpPr txBox="1"/>
          <p:nvPr>
            <p:custDataLst>
              <p:tags r:id="rId26"/>
            </p:custDataLst>
          </p:nvPr>
        </p:nvSpPr>
        <p:spPr>
          <a:xfrm>
            <a:off x="5643563" y="1643063"/>
            <a:ext cx="1633537" cy="323850"/>
          </a:xfrm>
          <a:prstGeom prst="rect">
            <a:avLst/>
          </a:prstGeom>
          <a:noFill/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pt-BR" sz="1400" b="1" kern="0" dirty="0" err="1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talmecânica</a:t>
            </a:r>
            <a:endParaRPr lang="pt-BR" sz="1400" b="1" kern="0" dirty="0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142" name="TextBox 77"/>
          <p:cNvSpPr txBox="1"/>
          <p:nvPr>
            <p:custDataLst>
              <p:tags r:id="rId27"/>
            </p:custDataLst>
          </p:nvPr>
        </p:nvSpPr>
        <p:spPr>
          <a:xfrm>
            <a:off x="6572250" y="2143125"/>
            <a:ext cx="1633538" cy="323850"/>
          </a:xfrm>
          <a:prstGeom prst="rect">
            <a:avLst/>
          </a:prstGeom>
          <a:noFill/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pt-BR" sz="1400" b="1" kern="0" dirty="0" err="1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Metalmecânica</a:t>
            </a:r>
            <a:endParaRPr lang="pt-BR" sz="1400" b="1" kern="0" dirty="0">
              <a:solidFill>
                <a:prstClr val="white"/>
              </a:solidFill>
              <a:latin typeface="Arial Narrow" pitchFamily="34" charset="0"/>
              <a:cs typeface="Arial" charset="0"/>
            </a:endParaRPr>
          </a:p>
        </p:txBody>
      </p:sp>
      <p:cxnSp>
        <p:nvCxnSpPr>
          <p:cNvPr id="146" name="Conector reto 126"/>
          <p:cNvCxnSpPr>
            <a:cxnSpLocks noChangeShapeType="1"/>
            <a:endCxn id="142" idx="1"/>
          </p:cNvCxnSpPr>
          <p:nvPr>
            <p:custDataLst>
              <p:tags r:id="rId28"/>
            </p:custDataLst>
          </p:nvPr>
        </p:nvCxnSpPr>
        <p:spPr bwMode="auto">
          <a:xfrm>
            <a:off x="5500688" y="2214563"/>
            <a:ext cx="1071562" cy="90487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pic>
        <p:nvPicPr>
          <p:cNvPr id="19509" name="Imagem 9" descr="s20_salinas_02.pn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6875"/>
          <a:stretch>
            <a:fillRect/>
          </a:stretch>
        </p:blipFill>
        <p:spPr bwMode="auto">
          <a:xfrm>
            <a:off x="0" y="0"/>
            <a:ext cx="91440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" name="Rectangle 53"/>
          <p:cNvSpPr/>
          <p:nvPr/>
        </p:nvSpPr>
        <p:spPr bwMode="auto">
          <a:xfrm>
            <a:off x="5399088" y="2078038"/>
            <a:ext cx="315912" cy="279400"/>
          </a:xfrm>
          <a:prstGeom prst="ellipse">
            <a:avLst/>
          </a:prstGeom>
          <a:solidFill>
            <a:srgbClr val="FF0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87" name="Conector reto 126"/>
          <p:cNvCxnSpPr>
            <a:cxnSpLocks noChangeShapeType="1"/>
          </p:cNvCxnSpPr>
          <p:nvPr>
            <p:custDataLst>
              <p:tags r:id="rId29"/>
            </p:custDataLst>
          </p:nvPr>
        </p:nvCxnSpPr>
        <p:spPr bwMode="auto">
          <a:xfrm flipV="1">
            <a:off x="5143500" y="1857375"/>
            <a:ext cx="571500" cy="285750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144" name="Rectangle 53"/>
          <p:cNvSpPr/>
          <p:nvPr/>
        </p:nvSpPr>
        <p:spPr bwMode="auto">
          <a:xfrm>
            <a:off x="5000625" y="2000250"/>
            <a:ext cx="315913" cy="279400"/>
          </a:xfrm>
          <a:prstGeom prst="ellipse">
            <a:avLst/>
          </a:prstGeom>
          <a:solidFill>
            <a:srgbClr val="FF0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92" name="TextBox 77"/>
          <p:cNvSpPr txBox="1"/>
          <p:nvPr>
            <p:custDataLst>
              <p:tags r:id="rId30"/>
            </p:custDataLst>
          </p:nvPr>
        </p:nvSpPr>
        <p:spPr>
          <a:xfrm>
            <a:off x="4071938" y="1357313"/>
            <a:ext cx="1506537" cy="323850"/>
          </a:xfrm>
          <a:prstGeom prst="rect">
            <a:avLst/>
          </a:prstGeom>
          <a:noFill/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charset="0"/>
              </a:rPr>
              <a:t>Construção Civil</a:t>
            </a:r>
          </a:p>
        </p:txBody>
      </p:sp>
      <p:cxnSp>
        <p:nvCxnSpPr>
          <p:cNvPr id="194" name="Conector reto 126"/>
          <p:cNvCxnSpPr>
            <a:cxnSpLocks noChangeShapeType="1"/>
          </p:cNvCxnSpPr>
          <p:nvPr>
            <p:custDataLst>
              <p:tags r:id="rId31"/>
            </p:custDataLst>
          </p:nvPr>
        </p:nvCxnSpPr>
        <p:spPr bwMode="auto">
          <a:xfrm rot="5400000" flipH="1" flipV="1">
            <a:off x="4286251" y="1857375"/>
            <a:ext cx="571500" cy="142875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cxnSp>
      <p:sp>
        <p:nvSpPr>
          <p:cNvPr id="193" name="Rectangle 53"/>
          <p:cNvSpPr/>
          <p:nvPr/>
        </p:nvSpPr>
        <p:spPr bwMode="auto">
          <a:xfrm>
            <a:off x="4357688" y="2071688"/>
            <a:ext cx="315912" cy="279400"/>
          </a:xfrm>
          <a:prstGeom prst="ellipse">
            <a:avLst/>
          </a:prstGeom>
          <a:solidFill>
            <a:srgbClr val="FF0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en-US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</a:t>
            </a:r>
            <a:endParaRPr lang="pt-BR" sz="11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208" name="CaixaDeTexto 207"/>
          <p:cNvSpPr txBox="1">
            <a:spLocks noChangeArrowheads="1"/>
          </p:cNvSpPr>
          <p:nvPr/>
        </p:nvSpPr>
        <p:spPr bwMode="auto">
          <a:xfrm rot="-1569323">
            <a:off x="7118350" y="5711825"/>
            <a:ext cx="199866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320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38 Institutos</a:t>
            </a:r>
            <a:endParaRPr lang="pt-BR" sz="3200" smtClean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19517" name="Imagem 4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96"/>
          <a:stretch>
            <a:fillRect/>
          </a:stretch>
        </p:blipFill>
        <p:spPr bwMode="auto">
          <a:xfrm>
            <a:off x="0" y="6261100"/>
            <a:ext cx="91440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59068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10" grpId="0"/>
      <p:bldP spid="11" grpId="0" animBg="1"/>
      <p:bldP spid="15" grpId="0"/>
      <p:bldP spid="16" grpId="0" animBg="1"/>
      <p:bldP spid="19" grpId="0"/>
      <p:bldP spid="29" grpId="0" animBg="1"/>
      <p:bldP spid="32" grpId="0"/>
      <p:bldP spid="35" grpId="0" animBg="1"/>
      <p:bldP spid="44" grpId="0"/>
      <p:bldP spid="45" grpId="0" animBg="1"/>
      <p:bldP spid="50" grpId="0"/>
      <p:bldP spid="51" grpId="0" animBg="1"/>
      <p:bldP spid="60" grpId="0"/>
      <p:bldP spid="61" grpId="0" animBg="1"/>
      <p:bldP spid="66" grpId="0"/>
      <p:bldP spid="68" grpId="0" animBg="1"/>
      <p:bldP spid="70" grpId="0"/>
      <p:bldP spid="71" grpId="0" animBg="1"/>
      <p:bldP spid="75" grpId="0"/>
      <p:bldP spid="80" grpId="0" animBg="1"/>
      <p:bldP spid="89" grpId="0"/>
      <p:bldP spid="90" grpId="0" animBg="1"/>
      <p:bldP spid="96" grpId="0"/>
      <p:bldP spid="97" grpId="0" animBg="1"/>
      <p:bldP spid="102" grpId="0"/>
      <p:bldP spid="112" grpId="0" animBg="1"/>
      <p:bldP spid="117" grpId="0"/>
      <p:bldP spid="118" grpId="0" animBg="1"/>
      <p:bldP spid="141" grpId="0"/>
      <p:bldP spid="142" grpId="0"/>
      <p:bldP spid="143" grpId="0" animBg="1"/>
      <p:bldP spid="144" grpId="0" animBg="1"/>
      <p:bldP spid="192" grpId="0"/>
      <p:bldP spid="193" grpId="0" animBg="1"/>
      <p:bldP spid="20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 rot="20083782">
            <a:off x="5772150" y="5981700"/>
            <a:ext cx="4451350" cy="2243138"/>
          </a:xfrm>
          <a:prstGeom prst="rect">
            <a:avLst/>
          </a:prstGeom>
          <a:solidFill>
            <a:srgbClr val="01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03" name="TextBox 77"/>
          <p:cNvSpPr txBox="1"/>
          <p:nvPr>
            <p:custDataLst>
              <p:tags r:id="rId1"/>
            </p:custDataLst>
          </p:nvPr>
        </p:nvSpPr>
        <p:spPr bwMode="auto">
          <a:xfrm>
            <a:off x="6105525" y="3579813"/>
            <a:ext cx="3279775" cy="920750"/>
          </a:xfrm>
          <a:prstGeom prst="rect">
            <a:avLst/>
          </a:prstGeom>
          <a:noFill/>
        </p:spPr>
        <p:txBody>
          <a:bodyPr/>
          <a:lstStyle/>
          <a:p>
            <a:pPr>
              <a:lnSpc>
                <a:spcPts val="20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 Engenharia de Superfícies</a:t>
            </a:r>
          </a:p>
          <a:p>
            <a:pPr>
              <a:lnSpc>
                <a:spcPts val="20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 Metalurgia e Ligas Especiais</a:t>
            </a:r>
          </a:p>
          <a:p>
            <a:pPr>
              <a:lnSpc>
                <a:spcPts val="2000"/>
              </a:lnSpc>
              <a:buFont typeface="Arial" pitchFamily="34" charset="0"/>
              <a:buChar char="•"/>
              <a:defRPr/>
            </a:pPr>
            <a:r>
              <a:rPr lang="pt-BR" sz="1400" b="1" kern="0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 Energia elétrica de extra alta potência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7346" name="Imagem 52" descr="s33_salinas_30.png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348" name="Imagem 53" descr="s32_salinas_04.png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938" b="83334"/>
            <a:stretch>
              <a:fillRect/>
            </a:stretch>
          </p:blipFill>
          <p:spPr bwMode="auto">
            <a:xfrm>
              <a:off x="3286125" y="0"/>
              <a:ext cx="5857875" cy="1143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Imagem 5" descr="s33_salinas_01.png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333" r="28125"/>
            <a:stretch>
              <a:fillRect/>
            </a:stretch>
          </p:blipFill>
          <p:spPr bwMode="auto">
            <a:xfrm>
              <a:off x="0" y="571500"/>
              <a:ext cx="6572250" cy="6286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350" name="Retângulo 7"/>
            <p:cNvSpPr>
              <a:spLocks noChangeArrowheads="1"/>
            </p:cNvSpPr>
            <p:nvPr/>
          </p:nvSpPr>
          <p:spPr bwMode="auto">
            <a:xfrm>
              <a:off x="714375" y="214313"/>
              <a:ext cx="8215313" cy="828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r" eaLnBrk="1" hangingPunct="1">
                <a:lnSpc>
                  <a:spcPts val="3000"/>
                </a:lnSpc>
              </a:pPr>
              <a:r>
                <a:rPr lang="pt-BR" b="1" smtClean="0">
                  <a:solidFill>
                    <a:srgbClr val="FFFFFF"/>
                  </a:solidFill>
                  <a:cs typeface="Tahoma" pitchFamily="34" charset="0"/>
                </a:rPr>
                <a:t>LOCALIZAÇÃO DOS INSTITUTOS </a:t>
              </a:r>
            </a:p>
            <a:p>
              <a:pPr algn="r" eaLnBrk="1" hangingPunct="1">
                <a:lnSpc>
                  <a:spcPts val="3000"/>
                </a:lnSpc>
              </a:pPr>
              <a:r>
                <a:rPr lang="pt-BR" b="1" smtClean="0">
                  <a:solidFill>
                    <a:srgbClr val="FFFFFF"/>
                  </a:solidFill>
                  <a:cs typeface="Tahoma" pitchFamily="34" charset="0"/>
                </a:rPr>
                <a:t>SENAI DE INOVAÇÃO</a:t>
              </a:r>
            </a:p>
          </p:txBody>
        </p:sp>
        <p:pic>
          <p:nvPicPr>
            <p:cNvPr id="57351" name="Imagem 8" descr="s20_salinas_02.png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6875"/>
            <a:stretch>
              <a:fillRect/>
            </a:stretch>
          </p:blipFill>
          <p:spPr bwMode="auto">
            <a:xfrm>
              <a:off x="0" y="0"/>
              <a:ext cx="9144000" cy="214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77"/>
            <p:cNvSpPr txBox="1"/>
            <p:nvPr>
              <p:custDataLst>
                <p:tags r:id="rId2"/>
              </p:custDataLst>
            </p:nvPr>
          </p:nvSpPr>
          <p:spPr bwMode="auto">
            <a:xfrm>
              <a:off x="247650" y="554038"/>
              <a:ext cx="1276350" cy="571500"/>
            </a:xfrm>
            <a:prstGeom prst="rect">
              <a:avLst/>
            </a:prstGeom>
            <a:noFill/>
          </p:spPr>
          <p:txBody>
            <a:bodyPr/>
            <a:lstStyle/>
            <a:p>
              <a:pPr algn="r"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Microeletrônica</a:t>
              </a:r>
            </a:p>
          </p:txBody>
        </p:sp>
        <p:cxnSp>
          <p:nvCxnSpPr>
            <p:cNvPr id="12" name="Conector reto 147"/>
            <p:cNvCxnSpPr>
              <a:cxnSpLocks noChangeShapeType="1"/>
            </p:cNvCxnSpPr>
            <p:nvPr>
              <p:custDataLst>
                <p:tags r:id="rId3"/>
              </p:custDataLst>
            </p:nvPr>
          </p:nvCxnSpPr>
          <p:spPr bwMode="auto">
            <a:xfrm rot="16200000" flipH="1">
              <a:off x="892969" y="1321594"/>
              <a:ext cx="928687" cy="428625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13" name="Rectangle 53"/>
            <p:cNvSpPr/>
            <p:nvPr/>
          </p:nvSpPr>
          <p:spPr bwMode="auto">
            <a:xfrm>
              <a:off x="1428750" y="1857375"/>
              <a:ext cx="315913" cy="279400"/>
            </a:xfrm>
            <a:prstGeom prst="ellipse">
              <a:avLst/>
            </a:prstGeom>
            <a:solidFill>
              <a:srgbClr val="FF000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1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" name="TextBox 77"/>
            <p:cNvSpPr txBox="1"/>
            <p:nvPr>
              <p:custDataLst>
                <p:tags r:id="rId4"/>
              </p:custDataLst>
            </p:nvPr>
          </p:nvSpPr>
          <p:spPr bwMode="auto">
            <a:xfrm>
              <a:off x="1428750" y="357188"/>
              <a:ext cx="1851025" cy="236537"/>
            </a:xfrm>
            <a:prstGeom prst="rect">
              <a:avLst/>
            </a:prstGeom>
            <a:noFill/>
          </p:spPr>
          <p:txBody>
            <a:bodyPr/>
            <a:lstStyle/>
            <a:p>
              <a:pPr algn="r"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Tecnologias Minerais</a:t>
              </a:r>
            </a:p>
          </p:txBody>
        </p:sp>
        <p:cxnSp>
          <p:nvCxnSpPr>
            <p:cNvPr id="18" name="Conector reto 142"/>
            <p:cNvCxnSpPr>
              <a:cxnSpLocks noChangeShapeType="1"/>
            </p:cNvCxnSpPr>
            <p:nvPr>
              <p:custDataLst>
                <p:tags r:id="rId5"/>
              </p:custDataLst>
            </p:nvPr>
          </p:nvCxnSpPr>
          <p:spPr bwMode="auto">
            <a:xfrm rot="16200000" flipV="1">
              <a:off x="2250281" y="1107282"/>
              <a:ext cx="1571625" cy="642938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20" name="Rectangle 53"/>
            <p:cNvSpPr/>
            <p:nvPr/>
          </p:nvSpPr>
          <p:spPr bwMode="auto">
            <a:xfrm>
              <a:off x="3214688" y="2071688"/>
              <a:ext cx="315912" cy="279400"/>
            </a:xfrm>
            <a:prstGeom prst="ellipse">
              <a:avLst/>
            </a:prstGeom>
            <a:solidFill>
              <a:srgbClr val="FF000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1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cxnSp>
          <p:nvCxnSpPr>
            <p:cNvPr id="22" name="Conector reto 126"/>
            <p:cNvCxnSpPr>
              <a:cxnSpLocks noChangeShapeType="1"/>
            </p:cNvCxnSpPr>
            <p:nvPr>
              <p:custDataLst>
                <p:tags r:id="rId6"/>
              </p:custDataLst>
            </p:nvPr>
          </p:nvCxnSpPr>
          <p:spPr bwMode="auto">
            <a:xfrm rot="5400000" flipH="1" flipV="1">
              <a:off x="5250656" y="1964532"/>
              <a:ext cx="500063" cy="28575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23" name="TextBox 77"/>
            <p:cNvSpPr txBox="1"/>
            <p:nvPr>
              <p:custDataLst>
                <p:tags r:id="rId7"/>
              </p:custDataLst>
            </p:nvPr>
          </p:nvSpPr>
          <p:spPr bwMode="auto">
            <a:xfrm>
              <a:off x="5214938" y="1571625"/>
              <a:ext cx="2000250" cy="360363"/>
            </a:xfrm>
            <a:prstGeom prst="rect">
              <a:avLst/>
            </a:prstGeom>
            <a:noFill/>
          </p:spPr>
          <p:txBody>
            <a:bodyPr/>
            <a:lstStyle/>
            <a:p>
              <a:pPr algn="ctr"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Tecnologias Construtivas</a:t>
              </a:r>
            </a:p>
          </p:txBody>
        </p:sp>
        <p:sp>
          <p:nvSpPr>
            <p:cNvPr id="24" name="Rectangle 53"/>
            <p:cNvSpPr/>
            <p:nvPr/>
          </p:nvSpPr>
          <p:spPr bwMode="auto">
            <a:xfrm>
              <a:off x="5214938" y="2214563"/>
              <a:ext cx="315912" cy="279400"/>
            </a:xfrm>
            <a:prstGeom prst="ellipse">
              <a:avLst/>
            </a:prstGeom>
            <a:solidFill>
              <a:srgbClr val="FF000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1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9" name="TextBox 77"/>
            <p:cNvSpPr txBox="1"/>
            <p:nvPr/>
          </p:nvSpPr>
          <p:spPr bwMode="auto">
            <a:xfrm>
              <a:off x="6357938" y="1857375"/>
              <a:ext cx="1754187" cy="322263"/>
            </a:xfrm>
            <a:prstGeom prst="rect">
              <a:avLst/>
            </a:prstGeom>
            <a:noFill/>
          </p:spPr>
          <p:txBody>
            <a:bodyPr/>
            <a:lstStyle/>
            <a:p>
              <a:pPr algn="ctr">
                <a:defRPr/>
              </a:pPr>
              <a:r>
                <a:rPr lang="pt-BR" sz="12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 </a:t>
              </a: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Energias Renováveis</a:t>
              </a:r>
            </a:p>
          </p:txBody>
        </p:sp>
        <p:cxnSp>
          <p:nvCxnSpPr>
            <p:cNvPr id="30" name="Conector reto 126"/>
            <p:cNvCxnSpPr>
              <a:cxnSpLocks noChangeShapeType="1"/>
            </p:cNvCxnSpPr>
            <p:nvPr>
              <p:custDataLst>
                <p:tags r:id="rId8"/>
              </p:custDataLst>
            </p:nvPr>
          </p:nvCxnSpPr>
          <p:spPr bwMode="auto">
            <a:xfrm flipV="1">
              <a:off x="6000750" y="2071688"/>
              <a:ext cx="428625" cy="214312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27" name="Rectangle 53"/>
            <p:cNvSpPr/>
            <p:nvPr/>
          </p:nvSpPr>
          <p:spPr bwMode="auto">
            <a:xfrm>
              <a:off x="5786438" y="2143125"/>
              <a:ext cx="315912" cy="279400"/>
            </a:xfrm>
            <a:prstGeom prst="ellipse">
              <a:avLst/>
            </a:prstGeom>
            <a:solidFill>
              <a:srgbClr val="FF000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1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cxnSp>
          <p:nvCxnSpPr>
            <p:cNvPr id="91" name="Conector reto 60"/>
            <p:cNvCxnSpPr>
              <a:cxnSpLocks noChangeShapeType="1"/>
            </p:cNvCxnSpPr>
            <p:nvPr>
              <p:custDataLst>
                <p:tags r:id="rId9"/>
              </p:custDataLst>
            </p:nvPr>
          </p:nvCxnSpPr>
          <p:spPr bwMode="auto">
            <a:xfrm flipV="1">
              <a:off x="5929313" y="2428875"/>
              <a:ext cx="500062" cy="357188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90" name="Rectangle 53"/>
            <p:cNvSpPr/>
            <p:nvPr/>
          </p:nvSpPr>
          <p:spPr bwMode="auto">
            <a:xfrm>
              <a:off x="5715000" y="2654300"/>
              <a:ext cx="315913" cy="279400"/>
            </a:xfrm>
            <a:prstGeom prst="ellipse">
              <a:avLst/>
            </a:prstGeom>
            <a:solidFill>
              <a:srgbClr val="FF000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1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96" name="Retângulo 95"/>
            <p:cNvSpPr/>
            <p:nvPr/>
          </p:nvSpPr>
          <p:spPr>
            <a:xfrm>
              <a:off x="6383338" y="2263775"/>
              <a:ext cx="2054225" cy="4508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>
                <a:lnSpc>
                  <a:spcPts val="1400"/>
                </a:lnSpc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Tecnologia da informação </a:t>
              </a:r>
            </a:p>
            <a:p>
              <a:pPr algn="r">
                <a:lnSpc>
                  <a:spcPts val="1400"/>
                </a:lnSpc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e comunicação</a:t>
              </a:r>
            </a:p>
          </p:txBody>
        </p:sp>
        <p:cxnSp>
          <p:nvCxnSpPr>
            <p:cNvPr id="97" name="Conector reto 65"/>
            <p:cNvCxnSpPr>
              <a:cxnSpLocks noChangeShapeType="1"/>
            </p:cNvCxnSpPr>
            <p:nvPr>
              <p:custDataLst>
                <p:tags r:id="rId10"/>
              </p:custDataLst>
            </p:nvPr>
          </p:nvCxnSpPr>
          <p:spPr bwMode="auto">
            <a:xfrm flipV="1">
              <a:off x="5072063" y="3143250"/>
              <a:ext cx="1500187" cy="28575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98" name="TextBox 77"/>
            <p:cNvSpPr txBox="1"/>
            <p:nvPr>
              <p:custDataLst>
                <p:tags r:id="rId11"/>
              </p:custDataLst>
            </p:nvPr>
          </p:nvSpPr>
          <p:spPr bwMode="auto">
            <a:xfrm>
              <a:off x="6550025" y="2828925"/>
              <a:ext cx="2143125" cy="390525"/>
            </a:xfrm>
            <a:prstGeom prst="rect">
              <a:avLst/>
            </a:prstGeom>
            <a:noFill/>
          </p:spPr>
          <p:txBody>
            <a:bodyPr/>
            <a:lstStyle/>
            <a:p>
              <a:pPr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Conformação e Soldagem</a:t>
              </a:r>
            </a:p>
            <a:p>
              <a:pPr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 Sistemas de Produção</a:t>
              </a:r>
            </a:p>
          </p:txBody>
        </p:sp>
        <p:sp>
          <p:nvSpPr>
            <p:cNvPr id="102" name="Rectangle 53"/>
            <p:cNvSpPr/>
            <p:nvPr/>
          </p:nvSpPr>
          <p:spPr bwMode="auto">
            <a:xfrm>
              <a:off x="4857750" y="3286125"/>
              <a:ext cx="315913" cy="279400"/>
            </a:xfrm>
            <a:prstGeom prst="ellipse">
              <a:avLst/>
            </a:prstGeom>
            <a:solidFill>
              <a:srgbClr val="00B05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2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cxnSp>
          <p:nvCxnSpPr>
            <p:cNvPr id="111" name="Conector reto 86"/>
            <p:cNvCxnSpPr>
              <a:cxnSpLocks noChangeShapeType="1"/>
            </p:cNvCxnSpPr>
            <p:nvPr>
              <p:custDataLst>
                <p:tags r:id="rId12"/>
              </p:custDataLst>
            </p:nvPr>
          </p:nvCxnSpPr>
          <p:spPr bwMode="auto">
            <a:xfrm flipV="1">
              <a:off x="4643438" y="3929063"/>
              <a:ext cx="1500187" cy="28575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115" name="Rectangle 53"/>
            <p:cNvSpPr/>
            <p:nvPr/>
          </p:nvSpPr>
          <p:spPr bwMode="auto">
            <a:xfrm>
              <a:off x="4500563" y="4071938"/>
              <a:ext cx="315912" cy="279400"/>
            </a:xfrm>
            <a:prstGeom prst="ellipse">
              <a:avLst/>
            </a:prstGeom>
            <a:solidFill>
              <a:srgbClr val="0070C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3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cxnSp>
          <p:nvCxnSpPr>
            <p:cNvPr id="117" name="Conector reto 97"/>
            <p:cNvCxnSpPr>
              <a:cxnSpLocks noChangeShapeType="1"/>
            </p:cNvCxnSpPr>
            <p:nvPr>
              <p:custDataLst>
                <p:tags r:id="rId13"/>
              </p:custDataLst>
            </p:nvPr>
          </p:nvCxnSpPr>
          <p:spPr bwMode="auto">
            <a:xfrm>
              <a:off x="4857750" y="4929188"/>
              <a:ext cx="785813" cy="428625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124" name="Rectangle 53"/>
            <p:cNvSpPr/>
            <p:nvPr/>
          </p:nvSpPr>
          <p:spPr bwMode="auto">
            <a:xfrm>
              <a:off x="4643438" y="4714875"/>
              <a:ext cx="315912" cy="279400"/>
            </a:xfrm>
            <a:prstGeom prst="ellipse">
              <a:avLst/>
            </a:prstGeom>
            <a:solidFill>
              <a:srgbClr val="00B05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2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25" name="TextBox 77"/>
            <p:cNvSpPr txBox="1"/>
            <p:nvPr>
              <p:custDataLst>
                <p:tags r:id="rId14"/>
              </p:custDataLst>
            </p:nvPr>
          </p:nvSpPr>
          <p:spPr bwMode="auto">
            <a:xfrm>
              <a:off x="5643563" y="5191125"/>
              <a:ext cx="2214562" cy="428625"/>
            </a:xfrm>
            <a:prstGeom prst="rect">
              <a:avLst/>
            </a:prstGeom>
            <a:noFill/>
          </p:spPr>
          <p:txBody>
            <a:bodyPr anchor="ctr"/>
            <a:lstStyle/>
            <a:p>
              <a:pPr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Automação da produção</a:t>
              </a:r>
            </a:p>
            <a:p>
              <a:pPr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Química Aplicada</a:t>
              </a:r>
            </a:p>
          </p:txBody>
        </p:sp>
        <p:sp>
          <p:nvSpPr>
            <p:cNvPr id="129" name="TextBox 77"/>
            <p:cNvSpPr txBox="1"/>
            <p:nvPr>
              <p:custDataLst>
                <p:tags r:id="rId15"/>
              </p:custDataLst>
            </p:nvPr>
          </p:nvSpPr>
          <p:spPr bwMode="auto">
            <a:xfrm>
              <a:off x="428625" y="3357563"/>
              <a:ext cx="923925" cy="269875"/>
            </a:xfrm>
            <a:prstGeom prst="rect">
              <a:avLst/>
            </a:prstGeom>
            <a:noFill/>
          </p:spPr>
          <p:txBody>
            <a:bodyPr/>
            <a:lstStyle/>
            <a:p>
              <a:pPr algn="r"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Logística  </a:t>
              </a:r>
            </a:p>
          </p:txBody>
        </p:sp>
        <p:cxnSp>
          <p:nvCxnSpPr>
            <p:cNvPr id="130" name="Conector reto 102"/>
            <p:cNvCxnSpPr>
              <a:cxnSpLocks noChangeShapeType="1"/>
            </p:cNvCxnSpPr>
            <p:nvPr>
              <p:custDataLst>
                <p:tags r:id="rId16"/>
              </p:custDataLst>
            </p:nvPr>
          </p:nvCxnSpPr>
          <p:spPr bwMode="auto">
            <a:xfrm>
              <a:off x="1357313" y="3571875"/>
              <a:ext cx="2428875" cy="28575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132" name="Rectangle 53"/>
            <p:cNvSpPr/>
            <p:nvPr/>
          </p:nvSpPr>
          <p:spPr bwMode="auto">
            <a:xfrm>
              <a:off x="3714750" y="3714750"/>
              <a:ext cx="315913" cy="279400"/>
            </a:xfrm>
            <a:prstGeom prst="ellipse">
              <a:avLst/>
            </a:prstGeom>
            <a:solidFill>
              <a:srgbClr val="FF000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1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33" name="TextBox 77"/>
            <p:cNvSpPr txBox="1"/>
            <p:nvPr>
              <p:custDataLst>
                <p:tags r:id="rId17"/>
              </p:custDataLst>
            </p:nvPr>
          </p:nvSpPr>
          <p:spPr bwMode="auto">
            <a:xfrm>
              <a:off x="1109663" y="3929063"/>
              <a:ext cx="1000125" cy="214312"/>
            </a:xfrm>
            <a:prstGeom prst="rect">
              <a:avLst/>
            </a:prstGeom>
            <a:noFill/>
          </p:spPr>
          <p:txBody>
            <a:bodyPr/>
            <a:lstStyle/>
            <a:p>
              <a:pPr algn="ctr"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Biomassa </a:t>
              </a:r>
            </a:p>
          </p:txBody>
        </p:sp>
        <p:cxnSp>
          <p:nvCxnSpPr>
            <p:cNvPr id="134" name="Conector reto 102"/>
            <p:cNvCxnSpPr>
              <a:cxnSpLocks noChangeShapeType="1"/>
            </p:cNvCxnSpPr>
            <p:nvPr>
              <p:custDataLst>
                <p:tags r:id="rId18"/>
              </p:custDataLst>
            </p:nvPr>
          </p:nvCxnSpPr>
          <p:spPr bwMode="auto">
            <a:xfrm>
              <a:off x="2000250" y="4105275"/>
              <a:ext cx="1071563" cy="395288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137" name="Rectangle 53"/>
            <p:cNvSpPr/>
            <p:nvPr/>
          </p:nvSpPr>
          <p:spPr bwMode="auto">
            <a:xfrm>
              <a:off x="2928938" y="4357688"/>
              <a:ext cx="315912" cy="279400"/>
            </a:xfrm>
            <a:prstGeom prst="ellipse">
              <a:avLst/>
            </a:prstGeom>
            <a:solidFill>
              <a:srgbClr val="FF000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1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38" name="TextBox 77"/>
            <p:cNvSpPr txBox="1"/>
            <p:nvPr>
              <p:custDataLst>
                <p:tags r:id="rId19"/>
              </p:custDataLst>
            </p:nvPr>
          </p:nvSpPr>
          <p:spPr bwMode="auto">
            <a:xfrm>
              <a:off x="428625" y="4357688"/>
              <a:ext cx="1308100" cy="307975"/>
            </a:xfrm>
            <a:prstGeom prst="rect">
              <a:avLst/>
            </a:prstGeom>
            <a:noFill/>
          </p:spPr>
          <p:txBody>
            <a:bodyPr/>
            <a:lstStyle/>
            <a:p>
              <a:pPr algn="r"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Eletroquímica </a:t>
              </a:r>
            </a:p>
          </p:txBody>
        </p:sp>
        <p:cxnSp>
          <p:nvCxnSpPr>
            <p:cNvPr id="140" name="Conector reto 102"/>
            <p:cNvCxnSpPr>
              <a:cxnSpLocks noChangeShapeType="1"/>
              <a:stCxn id="138" idx="3"/>
            </p:cNvCxnSpPr>
            <p:nvPr>
              <p:custDataLst>
                <p:tags r:id="rId20"/>
              </p:custDataLst>
            </p:nvPr>
          </p:nvCxnSpPr>
          <p:spPr bwMode="auto">
            <a:xfrm>
              <a:off x="1736725" y="4511675"/>
              <a:ext cx="1763713" cy="703263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139" name="Rectangle 53"/>
            <p:cNvSpPr/>
            <p:nvPr/>
          </p:nvSpPr>
          <p:spPr bwMode="auto">
            <a:xfrm>
              <a:off x="3357563" y="5043488"/>
              <a:ext cx="315912" cy="280987"/>
            </a:xfrm>
            <a:prstGeom prst="ellipse">
              <a:avLst/>
            </a:prstGeom>
            <a:solidFill>
              <a:srgbClr val="FF000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1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42" name="TextBox 77"/>
            <p:cNvSpPr txBox="1"/>
            <p:nvPr>
              <p:custDataLst>
                <p:tags r:id="rId21"/>
              </p:custDataLst>
            </p:nvPr>
          </p:nvSpPr>
          <p:spPr bwMode="auto">
            <a:xfrm>
              <a:off x="0" y="4857750"/>
              <a:ext cx="2714625" cy="488950"/>
            </a:xfrm>
            <a:prstGeom prst="rect">
              <a:avLst/>
            </a:prstGeom>
            <a:noFill/>
          </p:spPr>
          <p:txBody>
            <a:bodyPr/>
            <a:lstStyle/>
            <a:p>
              <a:pPr algn="r"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Tecnologia Laser</a:t>
              </a:r>
            </a:p>
            <a:p>
              <a:pPr algn="r"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Tecnologia de Segurança Integrada</a:t>
              </a:r>
            </a:p>
          </p:txBody>
        </p:sp>
        <p:cxnSp>
          <p:nvCxnSpPr>
            <p:cNvPr id="149" name="Conector reto 102"/>
            <p:cNvCxnSpPr>
              <a:cxnSpLocks noChangeShapeType="1"/>
            </p:cNvCxnSpPr>
            <p:nvPr>
              <p:custDataLst>
                <p:tags r:id="rId22"/>
              </p:custDataLst>
            </p:nvPr>
          </p:nvCxnSpPr>
          <p:spPr bwMode="auto">
            <a:xfrm>
              <a:off x="2714625" y="5214938"/>
              <a:ext cx="1071563" cy="357187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148" name="Rectangle 53"/>
            <p:cNvSpPr/>
            <p:nvPr/>
          </p:nvSpPr>
          <p:spPr bwMode="auto">
            <a:xfrm>
              <a:off x="3643313" y="5429250"/>
              <a:ext cx="315912" cy="279400"/>
            </a:xfrm>
            <a:prstGeom prst="ellipse">
              <a:avLst/>
            </a:prstGeom>
            <a:solidFill>
              <a:srgbClr val="00B05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2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53" name="TextBox 77"/>
            <p:cNvSpPr txBox="1"/>
            <p:nvPr>
              <p:custDataLst>
                <p:tags r:id="rId23"/>
              </p:custDataLst>
            </p:nvPr>
          </p:nvSpPr>
          <p:spPr>
            <a:xfrm>
              <a:off x="71438" y="5643563"/>
              <a:ext cx="2500312" cy="560387"/>
            </a:xfrm>
            <a:prstGeom prst="rect">
              <a:avLst/>
            </a:prstGeom>
            <a:noFill/>
          </p:spPr>
          <p:txBody>
            <a:bodyPr/>
            <a:lstStyle/>
            <a:p>
              <a:pPr algn="r">
                <a:lnSpc>
                  <a:spcPts val="14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Soluções Integradas em Metal-Mecânica</a:t>
              </a:r>
            </a:p>
          </p:txBody>
        </p:sp>
        <p:sp>
          <p:nvSpPr>
            <p:cNvPr id="157" name="Retângulo 156"/>
            <p:cNvSpPr/>
            <p:nvPr/>
          </p:nvSpPr>
          <p:spPr>
            <a:xfrm>
              <a:off x="555625" y="6038850"/>
              <a:ext cx="2016125" cy="3238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Engenharia de Polímeros</a:t>
              </a:r>
            </a:p>
          </p:txBody>
        </p:sp>
        <p:cxnSp>
          <p:nvCxnSpPr>
            <p:cNvPr id="163" name="Conector reto 102"/>
            <p:cNvCxnSpPr>
              <a:cxnSpLocks noChangeShapeType="1"/>
              <a:stCxn id="153" idx="3"/>
            </p:cNvCxnSpPr>
            <p:nvPr>
              <p:custDataLst>
                <p:tags r:id="rId24"/>
              </p:custDataLst>
            </p:nvPr>
          </p:nvCxnSpPr>
          <p:spPr bwMode="auto">
            <a:xfrm>
              <a:off x="2571750" y="5924550"/>
              <a:ext cx="857250" cy="4763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162" name="Rectangle 53"/>
            <p:cNvSpPr/>
            <p:nvPr/>
          </p:nvSpPr>
          <p:spPr bwMode="auto">
            <a:xfrm>
              <a:off x="3286125" y="5786438"/>
              <a:ext cx="315913" cy="279400"/>
            </a:xfrm>
            <a:prstGeom prst="ellipse">
              <a:avLst/>
            </a:prstGeom>
            <a:solidFill>
              <a:srgbClr val="00B050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2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66" name="TextBox 77"/>
            <p:cNvSpPr txBox="1"/>
            <p:nvPr>
              <p:custDataLst>
                <p:tags r:id="rId25"/>
              </p:custDataLst>
            </p:nvPr>
          </p:nvSpPr>
          <p:spPr bwMode="auto">
            <a:xfrm>
              <a:off x="4356100" y="5589588"/>
              <a:ext cx="2644775" cy="657225"/>
            </a:xfrm>
            <a:prstGeom prst="rect">
              <a:avLst/>
            </a:prstGeom>
            <a:noFill/>
          </p:spPr>
          <p:txBody>
            <a:bodyPr/>
            <a:lstStyle/>
            <a:p>
              <a:pPr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Engenharia de Cerâmicas</a:t>
              </a:r>
            </a:p>
            <a:p>
              <a:pPr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Biotecnologia </a:t>
              </a:r>
            </a:p>
            <a:p>
              <a:pPr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Tecnologia de </a:t>
              </a:r>
              <a:r>
                <a:rPr lang="pt-BR" sz="1400" b="1" kern="0" dirty="0" err="1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Micromanufatura</a:t>
              </a:r>
              <a:endParaRPr lang="pt-BR" sz="1400" b="1" kern="0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endParaRPr>
            </a:p>
            <a:p>
              <a:pPr>
                <a:lnSpc>
                  <a:spcPts val="2000"/>
                </a:lnSpc>
                <a:buFont typeface="Arial" pitchFamily="34" charset="0"/>
                <a:buChar char="•"/>
                <a:defRPr/>
              </a:pPr>
              <a:r>
                <a:rPr lang="pt-BR" sz="1400" b="1" kern="0" dirty="0">
                  <a:solidFill>
                    <a:prstClr val="white"/>
                  </a:solidFill>
                  <a:latin typeface="Arial Narrow" pitchFamily="34" charset="0"/>
                  <a:cs typeface="Arial" pitchFamily="34" charset="0"/>
                </a:rPr>
                <a:t>Defesa</a:t>
              </a:r>
            </a:p>
          </p:txBody>
        </p:sp>
        <p:cxnSp>
          <p:nvCxnSpPr>
            <p:cNvPr id="173" name="Conector reto 97"/>
            <p:cNvCxnSpPr>
              <a:cxnSpLocks noChangeShapeType="1"/>
            </p:cNvCxnSpPr>
            <p:nvPr>
              <p:custDataLst>
                <p:tags r:id="rId26"/>
              </p:custDataLst>
            </p:nvPr>
          </p:nvCxnSpPr>
          <p:spPr bwMode="auto">
            <a:xfrm rot="16200000" flipH="1">
              <a:off x="3619500" y="5238750"/>
              <a:ext cx="1143000" cy="38100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  <p:sp>
          <p:nvSpPr>
            <p:cNvPr id="172" name="Rectangle 53"/>
            <p:cNvSpPr/>
            <p:nvPr/>
          </p:nvSpPr>
          <p:spPr bwMode="auto">
            <a:xfrm>
              <a:off x="3857625" y="4714875"/>
              <a:ext cx="315913" cy="279400"/>
            </a:xfrm>
            <a:prstGeom prst="ellipse">
              <a:avLst/>
            </a:prstGeom>
            <a:solidFill>
              <a:srgbClr val="010066"/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sz="11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4</a:t>
              </a:r>
              <a:endParaRPr lang="pt-BR" sz="11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6" name="CaixaDeTexto 55"/>
            <p:cNvSpPr txBox="1">
              <a:spLocks noChangeArrowheads="1"/>
            </p:cNvSpPr>
            <p:nvPr/>
          </p:nvSpPr>
          <p:spPr bwMode="auto">
            <a:xfrm rot="-1569323">
              <a:off x="7118350" y="5711825"/>
              <a:ext cx="200025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sz="3200" smtClean="0">
                  <a:solidFill>
                    <a:srgbClr val="FFFFFF"/>
                  </a:solidFill>
                  <a:latin typeface="Arial Narrow" pitchFamily="34" charset="0"/>
                  <a:cs typeface="Arial" pitchFamily="34" charset="0"/>
                </a:rPr>
                <a:t>23 Institutos</a:t>
              </a:r>
              <a:endParaRPr lang="pt-BR" sz="3200" smtClean="0">
                <a:solidFill>
                  <a:srgbClr val="FFFFFF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57396" name="Imagem 4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296"/>
            <a:stretch>
              <a:fillRect/>
            </a:stretch>
          </p:blipFill>
          <p:spPr bwMode="auto">
            <a:xfrm>
              <a:off x="0" y="6261100"/>
              <a:ext cx="9144000" cy="596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35862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3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349625" y="1520135"/>
            <a:ext cx="8323728" cy="198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Bef>
                <a:spcPct val="50000"/>
              </a:spcBef>
            </a:pPr>
            <a:r>
              <a:rPr lang="en-US" sz="4000" b="1" dirty="0" err="1" smtClean="0">
                <a:solidFill>
                  <a:srgbClr val="000099"/>
                </a:solidFill>
                <a:latin typeface="Arial" charset="0"/>
              </a:rPr>
              <a:t>Nosso</a:t>
            </a:r>
            <a:r>
              <a:rPr lang="en-US" sz="4000" b="1" dirty="0" smtClean="0">
                <a:solidFill>
                  <a:srgbClr val="000099"/>
                </a:solidFill>
                <a:latin typeface="Arial" charset="0"/>
              </a:rPr>
              <a:t> Grande </a:t>
            </a:r>
            <a:r>
              <a:rPr lang="en-US" sz="4000" b="1" dirty="0" err="1" smtClean="0">
                <a:solidFill>
                  <a:srgbClr val="000099"/>
                </a:solidFill>
                <a:latin typeface="Arial" charset="0"/>
              </a:rPr>
              <a:t>Desafio</a:t>
            </a:r>
            <a:r>
              <a:rPr lang="en-US" sz="4000" b="1" dirty="0" smtClean="0">
                <a:solidFill>
                  <a:srgbClr val="000099"/>
                </a:solidFill>
                <a:latin typeface="Arial" charset="0"/>
              </a:rPr>
              <a:t>: </a:t>
            </a:r>
            <a:r>
              <a:rPr lang="en-US" sz="4800" b="1" dirty="0" err="1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Trabalhar</a:t>
            </a:r>
            <a:r>
              <a:rPr lang="en-US" sz="4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 </a:t>
            </a:r>
            <a:r>
              <a:rPr lang="en-US" sz="4800" b="1" dirty="0" err="1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em</a:t>
            </a:r>
            <a:r>
              <a:rPr lang="en-US" sz="4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 </a:t>
            </a:r>
            <a:r>
              <a:rPr lang="en-US" sz="4800" b="1" dirty="0" err="1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Sinergia</a:t>
            </a:r>
            <a:r>
              <a:rPr lang="en-US" sz="4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!</a:t>
            </a:r>
            <a:endParaRPr lang="en-US" sz="48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339" y="4571232"/>
            <a:ext cx="3699669" cy="1173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730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" y="116632"/>
            <a:ext cx="7571184" cy="432048"/>
          </a:xfrm>
        </p:spPr>
        <p:txBody>
          <a:bodyPr/>
          <a:lstStyle/>
          <a:p>
            <a:pPr algn="l" eaLnBrk="1" hangingPunct="1">
              <a:lnSpc>
                <a:spcPct val="90000"/>
              </a:lnSpc>
            </a:pPr>
            <a:r>
              <a:rPr lang="pt-BR" altLang="ja-JP" sz="2800" b="1" dirty="0" smtClean="0">
                <a:solidFill>
                  <a:srgbClr val="C00000"/>
                </a:solidFill>
              </a:rPr>
              <a:t>O presente confirma sua relevância</a:t>
            </a:r>
            <a:endParaRPr lang="pt-BR" sz="2800" b="1" dirty="0" smtClean="0">
              <a:solidFill>
                <a:srgbClr val="C00000"/>
              </a:solidFill>
            </a:endParaRPr>
          </a:p>
        </p:txBody>
      </p:sp>
      <p:sp>
        <p:nvSpPr>
          <p:cNvPr id="35843" name="Text Box 4"/>
          <p:cNvSpPr txBox="1">
            <a:spLocks noChangeArrowheads="1"/>
          </p:cNvSpPr>
          <p:nvPr/>
        </p:nvSpPr>
        <p:spPr bwMode="auto">
          <a:xfrm>
            <a:off x="35496" y="765101"/>
            <a:ext cx="9036050" cy="575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0"/>
              </a:lnSpc>
              <a:spcBef>
                <a:spcPct val="50000"/>
              </a:spcBef>
            </a:pPr>
            <a:endParaRPr lang="pt-BR" sz="2000" b="1" dirty="0" smtClean="0">
              <a:solidFill>
                <a:srgbClr val="000066"/>
              </a:solidFill>
              <a:latin typeface="Corbel" pitchFamily="34" charset="0"/>
              <a:cs typeface="Arial" pitchFamily="34" charset="0"/>
            </a:endParaRPr>
          </a:p>
          <a:p>
            <a:pPr algn="ctr">
              <a:spcBef>
                <a:spcPct val="4000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lang="pt-BR" altLang="ja-JP" sz="2000" b="1" dirty="0" smtClean="0">
                <a:solidFill>
                  <a:srgbClr val="000066"/>
                </a:solidFill>
                <a:latin typeface="Corbel" pitchFamily="34" charset="0"/>
                <a:ea typeface="MS Mincho" pitchFamily="49" charset="-128"/>
                <a:cs typeface="Arial" pitchFamily="34" charset="0"/>
                <a:sym typeface="Wingdings" pitchFamily="2" charset="2"/>
              </a:rPr>
              <a:t>A crise de 2008 não afetou o ritmo e a intensidade de geração de inovações</a:t>
            </a:r>
            <a:endParaRPr lang="pt-BR" sz="2000" b="1" dirty="0" smtClean="0">
              <a:solidFill>
                <a:srgbClr val="000066"/>
              </a:solidFill>
              <a:latin typeface="Corbel" pitchFamily="34" charset="0"/>
              <a:ea typeface="MS Mincho" pitchFamily="49" charset="-128"/>
              <a:cs typeface="Arial" pitchFamily="34" charset="0"/>
            </a:endParaRPr>
          </a:p>
        </p:txBody>
      </p:sp>
      <p:sp>
        <p:nvSpPr>
          <p:cNvPr id="35844" name="Text Box 4"/>
          <p:cNvSpPr txBox="1">
            <a:spLocks noChangeArrowheads="1"/>
          </p:cNvSpPr>
          <p:nvPr/>
        </p:nvSpPr>
        <p:spPr bwMode="auto">
          <a:xfrm>
            <a:off x="107825" y="5760739"/>
            <a:ext cx="8856663" cy="9086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xtLst/>
        </p:spPr>
        <p:txBody>
          <a:bodyPr anchor="ctr"/>
          <a:lstStyle>
            <a:lvl1pPr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40000"/>
              </a:spcBef>
              <a:buClr>
                <a:srgbClr val="008000"/>
              </a:buClr>
              <a:buFont typeface="Wingdings" pitchFamily="2" charset="2"/>
              <a:buNone/>
            </a:pPr>
            <a:r>
              <a:rPr lang="pt-BR" sz="2200" b="1" dirty="0" smtClean="0">
                <a:solidFill>
                  <a:srgbClr val="000066"/>
                </a:solidFill>
                <a:latin typeface="Corbel" pitchFamily="34" charset="0"/>
                <a:ea typeface="MS Mincho" pitchFamily="49" charset="-128"/>
                <a:cs typeface="Arial" pitchFamily="34" charset="0"/>
              </a:rPr>
              <a:t>Inovação: arma para manter ou expandir mercados em um ambiente de acirrada concorrência entre empresas e países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611188" y="1476648"/>
            <a:ext cx="3816350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pt-BR" sz="1600" b="1" dirty="0">
                <a:solidFill>
                  <a:srgbClr val="002060"/>
                </a:solidFill>
                <a:latin typeface="Corbel" pitchFamily="34" charset="0"/>
              </a:rPr>
              <a:t>Qual a prioridade dada à inovação na estratégia da sua empresa?</a:t>
            </a:r>
          </a:p>
        </p:txBody>
      </p:sp>
      <p:grpSp>
        <p:nvGrpSpPr>
          <p:cNvPr id="35848" name="Grupo 19"/>
          <p:cNvGrpSpPr>
            <a:grpSpLocks/>
          </p:cNvGrpSpPr>
          <p:nvPr/>
        </p:nvGrpSpPr>
        <p:grpSpPr bwMode="auto">
          <a:xfrm>
            <a:off x="-3175" y="2119313"/>
            <a:ext cx="5799138" cy="3367087"/>
            <a:chOff x="-3175" y="2119313"/>
            <a:chExt cx="5799138" cy="3367087"/>
          </a:xfrm>
        </p:grpSpPr>
        <p:grpSp>
          <p:nvGrpSpPr>
            <p:cNvPr id="35851" name="Group 10"/>
            <p:cNvGrpSpPr>
              <a:grpSpLocks/>
            </p:cNvGrpSpPr>
            <p:nvPr/>
          </p:nvGrpSpPr>
          <p:grpSpPr bwMode="auto">
            <a:xfrm>
              <a:off x="-3175" y="2119313"/>
              <a:ext cx="5799138" cy="3367087"/>
              <a:chOff x="-2" y="1335"/>
              <a:chExt cx="3653" cy="2121"/>
            </a:xfrm>
          </p:grpSpPr>
          <p:pic>
            <p:nvPicPr>
              <p:cNvPr id="35853" name="Picture 11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" y="1335"/>
                <a:ext cx="3530" cy="2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35854" name="Group 12"/>
              <p:cNvGrpSpPr>
                <a:grpSpLocks/>
              </p:cNvGrpSpPr>
              <p:nvPr/>
            </p:nvGrpSpPr>
            <p:grpSpPr bwMode="auto">
              <a:xfrm>
                <a:off x="2430" y="1438"/>
                <a:ext cx="1221" cy="405"/>
                <a:chOff x="2426" y="1222"/>
                <a:chExt cx="1221" cy="405"/>
              </a:xfrm>
            </p:grpSpPr>
            <p:grpSp>
              <p:nvGrpSpPr>
                <p:cNvPr id="35855" name="Group 27"/>
                <p:cNvGrpSpPr>
                  <a:grpSpLocks/>
                </p:cNvGrpSpPr>
                <p:nvPr/>
              </p:nvGrpSpPr>
              <p:grpSpPr bwMode="auto">
                <a:xfrm>
                  <a:off x="2427" y="1222"/>
                  <a:ext cx="1220" cy="213"/>
                  <a:chOff x="4364" y="1926"/>
                  <a:chExt cx="1220" cy="213"/>
                </a:xfrm>
              </p:grpSpPr>
              <p:sp>
                <p:nvSpPr>
                  <p:cNvPr id="35859" name="Rectangle 7"/>
                  <p:cNvSpPr>
                    <a:spLocks noChangeArrowheads="1"/>
                  </p:cNvSpPr>
                  <p:nvPr/>
                </p:nvSpPr>
                <p:spPr bwMode="auto">
                  <a:xfrm>
                    <a:off x="4364" y="1967"/>
                    <a:ext cx="136" cy="136"/>
                  </a:xfrm>
                  <a:prstGeom prst="rect">
                    <a:avLst/>
                  </a:prstGeom>
                  <a:solidFill>
                    <a:srgbClr val="FFC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/>
                  <a:p>
                    <a:pPr algn="ctr"/>
                    <a:endParaRPr lang="pt-BR" sz="1400" smtClean="0">
                      <a:solidFill>
                        <a:srgbClr val="0033CC"/>
                      </a:solidFill>
                      <a:latin typeface="Arial" pitchFamily="34" charset="0"/>
                    </a:endParaRPr>
                  </a:p>
                </p:txBody>
              </p:sp>
              <p:sp>
                <p:nvSpPr>
                  <p:cNvPr id="35860" name="Text Box 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514" y="1926"/>
                    <a:ext cx="1070" cy="21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r>
                      <a:rPr lang="pt-BR" sz="1600" b="1" dirty="0" smtClean="0">
                        <a:solidFill>
                          <a:srgbClr val="000066"/>
                        </a:solidFill>
                        <a:latin typeface="Corbel" pitchFamily="34" charset="0"/>
                      </a:rPr>
                      <a:t>2009</a:t>
                    </a:r>
                  </a:p>
                </p:txBody>
              </p:sp>
            </p:grpSp>
            <p:grpSp>
              <p:nvGrpSpPr>
                <p:cNvPr id="35856" name="Group 16"/>
                <p:cNvGrpSpPr>
                  <a:grpSpLocks/>
                </p:cNvGrpSpPr>
                <p:nvPr/>
              </p:nvGrpSpPr>
              <p:grpSpPr bwMode="auto">
                <a:xfrm>
                  <a:off x="2426" y="1414"/>
                  <a:ext cx="908" cy="213"/>
                  <a:chOff x="2426" y="1414"/>
                  <a:chExt cx="908" cy="213"/>
                </a:xfrm>
              </p:grpSpPr>
              <p:sp>
                <p:nvSpPr>
                  <p:cNvPr id="35857" name="Rectangle 10" descr="Diagonal para baixo clara"/>
                  <p:cNvSpPr>
                    <a:spLocks noChangeArrowheads="1"/>
                  </p:cNvSpPr>
                  <p:nvPr/>
                </p:nvSpPr>
                <p:spPr bwMode="auto">
                  <a:xfrm>
                    <a:off x="2426" y="1459"/>
                    <a:ext cx="136" cy="136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8EBBE8"/>
                      </a:gs>
                      <a:gs pos="100000">
                        <a:srgbClr val="0066CC"/>
                      </a:gs>
                    </a:gsLst>
                    <a:lin ang="5400000" scaled="1"/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/>
                  <a:p>
                    <a:pPr algn="ctr"/>
                    <a:endParaRPr lang="pt-BR" sz="1400" smtClean="0">
                      <a:solidFill>
                        <a:srgbClr val="0033CC"/>
                      </a:solidFill>
                      <a:latin typeface="Arial" pitchFamily="34" charset="0"/>
                    </a:endParaRPr>
                  </a:p>
                </p:txBody>
              </p:sp>
              <p:sp>
                <p:nvSpPr>
                  <p:cNvPr id="35858" name="Text Box 11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584" y="1414"/>
                    <a:ext cx="750" cy="21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r>
                      <a:rPr lang="pt-BR" sz="1600" b="1" smtClean="0">
                        <a:solidFill>
                          <a:srgbClr val="000066"/>
                        </a:solidFill>
                        <a:latin typeface="Corbel" pitchFamily="34" charset="0"/>
                      </a:rPr>
                      <a:t>2010</a:t>
                    </a:r>
                  </a:p>
                </p:txBody>
              </p:sp>
            </p:grpSp>
          </p:grpSp>
        </p:grpSp>
        <p:sp>
          <p:nvSpPr>
            <p:cNvPr id="13" name="Retângulo 12"/>
            <p:cNvSpPr/>
            <p:nvPr/>
          </p:nvSpPr>
          <p:spPr>
            <a:xfrm>
              <a:off x="611188" y="2217738"/>
              <a:ext cx="2219325" cy="3168650"/>
            </a:xfrm>
            <a:prstGeom prst="rect">
              <a:avLst/>
            </a:prstGeom>
            <a:noFill/>
            <a:ln w="1270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 sz="1800">
                <a:solidFill>
                  <a:prstClr val="white"/>
                </a:solidFill>
              </a:endParaRPr>
            </a:p>
          </p:txBody>
        </p:sp>
      </p:grpSp>
      <p:sp>
        <p:nvSpPr>
          <p:cNvPr id="14" name="CaixaDeTexto 13"/>
          <p:cNvSpPr txBox="1"/>
          <p:nvPr/>
        </p:nvSpPr>
        <p:spPr>
          <a:xfrm>
            <a:off x="250825" y="5426075"/>
            <a:ext cx="4608513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pt-BR" sz="1400" b="1" i="1" dirty="0">
                <a:solidFill>
                  <a:srgbClr val="002060"/>
                </a:solidFill>
                <a:latin typeface="Calibri"/>
              </a:rPr>
              <a:t>Fonte: BCG 2010 </a:t>
            </a:r>
            <a:r>
              <a:rPr lang="pt-BR" sz="1400" b="1" i="1" dirty="0" err="1">
                <a:solidFill>
                  <a:srgbClr val="002060"/>
                </a:solidFill>
                <a:latin typeface="Calibri"/>
              </a:rPr>
              <a:t>Senior</a:t>
            </a:r>
            <a:r>
              <a:rPr lang="pt-BR" sz="1400" b="1" i="1" dirty="0">
                <a:solidFill>
                  <a:srgbClr val="002060"/>
                </a:solidFill>
                <a:latin typeface="Calibri"/>
              </a:rPr>
              <a:t> </a:t>
            </a:r>
            <a:r>
              <a:rPr lang="pt-BR" sz="1400" b="1" i="1" dirty="0" err="1">
                <a:solidFill>
                  <a:srgbClr val="002060"/>
                </a:solidFill>
                <a:latin typeface="Calibri"/>
              </a:rPr>
              <a:t>Executive</a:t>
            </a:r>
            <a:r>
              <a:rPr lang="pt-BR" sz="1400" b="1" i="1" dirty="0">
                <a:solidFill>
                  <a:srgbClr val="002060"/>
                </a:solidFill>
                <a:latin typeface="Calibri"/>
              </a:rPr>
              <a:t> </a:t>
            </a:r>
            <a:r>
              <a:rPr lang="pt-BR" sz="1400" b="1" i="1" dirty="0" err="1">
                <a:solidFill>
                  <a:srgbClr val="002060"/>
                </a:solidFill>
                <a:latin typeface="Calibri"/>
              </a:rPr>
              <a:t>Innovation</a:t>
            </a:r>
            <a:r>
              <a:rPr lang="pt-BR" sz="1400" b="1" i="1" dirty="0">
                <a:solidFill>
                  <a:srgbClr val="002060"/>
                </a:solidFill>
                <a:latin typeface="Calibri"/>
              </a:rPr>
              <a:t> </a:t>
            </a:r>
            <a:r>
              <a:rPr lang="pt-BR" sz="1400" b="1" i="1" dirty="0" err="1">
                <a:solidFill>
                  <a:srgbClr val="002060"/>
                </a:solidFill>
                <a:latin typeface="Calibri"/>
              </a:rPr>
              <a:t>Survey</a:t>
            </a:r>
            <a:r>
              <a:rPr lang="pt-BR" sz="1400" b="1" i="1" dirty="0">
                <a:solidFill>
                  <a:srgbClr val="002060"/>
                </a:solidFill>
                <a:latin typeface="Calibri"/>
              </a:rPr>
              <a:t>   </a:t>
            </a:r>
          </a:p>
        </p:txBody>
      </p:sp>
      <p:sp>
        <p:nvSpPr>
          <p:cNvPr id="35850" name="Text Box 4"/>
          <p:cNvSpPr txBox="1">
            <a:spLocks noChangeArrowheads="1"/>
          </p:cNvSpPr>
          <p:nvPr/>
        </p:nvSpPr>
        <p:spPr bwMode="auto">
          <a:xfrm>
            <a:off x="5299075" y="1430599"/>
            <a:ext cx="3751262" cy="276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74638" indent="-274638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01700" algn="l"/>
                <a:tab pos="98583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0"/>
              </a:lnSpc>
              <a:spcBef>
                <a:spcPct val="50000"/>
              </a:spcBef>
            </a:pPr>
            <a:endParaRPr lang="pt-BR" sz="2200" b="1" dirty="0" smtClean="0">
              <a:solidFill>
                <a:srgbClr val="000066"/>
              </a:solidFill>
              <a:latin typeface="Corbel" pitchFamily="34" charset="0"/>
              <a:cs typeface="Arial" pitchFamily="34" charset="0"/>
            </a:endParaRPr>
          </a:p>
          <a:p>
            <a:pPr algn="ctr">
              <a:spcBef>
                <a:spcPts val="120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lang="pt-BR" altLang="ja-JP" b="1" dirty="0" smtClean="0">
                <a:solidFill>
                  <a:srgbClr val="CC0000"/>
                </a:solidFill>
                <a:latin typeface="Corbel" pitchFamily="34" charset="0"/>
                <a:ea typeface="MS Mincho" pitchFamily="49" charset="-128"/>
                <a:cs typeface="Arial" pitchFamily="34" charset="0"/>
              </a:rPr>
              <a:t>Empresas líderes mundiais (2010)</a:t>
            </a:r>
            <a:r>
              <a:rPr lang="pt-BR" altLang="ja-JP" b="1" dirty="0" smtClean="0">
                <a:solidFill>
                  <a:srgbClr val="000066"/>
                </a:solidFill>
                <a:latin typeface="Corbel" pitchFamily="34" charset="0"/>
                <a:ea typeface="MS Mincho" pitchFamily="49" charset="-128"/>
                <a:cs typeface="Arial" pitchFamily="34" charset="0"/>
              </a:rPr>
              <a:t> </a:t>
            </a:r>
          </a:p>
          <a:p>
            <a:pPr algn="r">
              <a:spcBef>
                <a:spcPts val="120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lang="pt-BR" altLang="ja-JP" sz="4000" b="1" dirty="0" smtClean="0">
                <a:solidFill>
                  <a:srgbClr val="C00000"/>
                </a:solidFill>
                <a:latin typeface="Corbel" pitchFamily="34" charset="0"/>
                <a:ea typeface="MS Mincho" pitchFamily="49" charset="-128"/>
                <a:cs typeface="Arial" pitchFamily="34" charset="0"/>
              </a:rPr>
              <a:t>71%</a:t>
            </a:r>
            <a:r>
              <a:rPr lang="pt-BR" altLang="ja-JP" sz="3200" b="1" dirty="0" smtClean="0">
                <a:solidFill>
                  <a:srgbClr val="000066"/>
                </a:solidFill>
                <a:latin typeface="Corbel" pitchFamily="34" charset="0"/>
                <a:ea typeface="MS Mincho" pitchFamily="49" charset="-128"/>
                <a:cs typeface="Arial" pitchFamily="34" charset="0"/>
              </a:rPr>
              <a:t> </a:t>
            </a:r>
            <a:r>
              <a:rPr lang="pt-BR" altLang="ja-JP" b="1" dirty="0" smtClean="0">
                <a:solidFill>
                  <a:srgbClr val="000066"/>
                </a:solidFill>
                <a:latin typeface="Corbel" pitchFamily="34" charset="0"/>
                <a:ea typeface="MS Mincho" pitchFamily="49" charset="-128"/>
                <a:cs typeface="Arial" pitchFamily="34" charset="0"/>
              </a:rPr>
              <a:t>mantém inovação como prioridade estratégica. </a:t>
            </a:r>
          </a:p>
          <a:p>
            <a:pPr marL="0" indent="0" algn="r">
              <a:spcBef>
                <a:spcPts val="1200"/>
              </a:spcBef>
              <a:buClr>
                <a:srgbClr val="003366"/>
              </a:buClr>
            </a:pPr>
            <a:r>
              <a:rPr lang="pt-BR" altLang="ja-JP" sz="4000" b="1" dirty="0" smtClean="0">
                <a:solidFill>
                  <a:srgbClr val="C00000"/>
                </a:solidFill>
                <a:latin typeface="Corbel" pitchFamily="34" charset="0"/>
                <a:ea typeface="MS Mincho" pitchFamily="49" charset="-128"/>
                <a:cs typeface="Arial" pitchFamily="34" charset="0"/>
              </a:rPr>
              <a:t>61%</a:t>
            </a:r>
            <a:r>
              <a:rPr lang="pt-BR" altLang="ja-JP" b="1" dirty="0" smtClean="0">
                <a:solidFill>
                  <a:srgbClr val="000066"/>
                </a:solidFill>
                <a:latin typeface="Corbel" pitchFamily="34" charset="0"/>
                <a:ea typeface="MS Mincho" pitchFamily="49" charset="-128"/>
                <a:cs typeface="Arial" pitchFamily="34" charset="0"/>
              </a:rPr>
              <a:t> pretendem aumentar dispêndios    com inovação.</a:t>
            </a:r>
            <a:endParaRPr lang="pt-BR" sz="2000" b="1" dirty="0" smtClean="0">
              <a:solidFill>
                <a:srgbClr val="000066"/>
              </a:solidFill>
              <a:latin typeface="Corbel" pitchFamily="34" charset="0"/>
              <a:ea typeface="MS Mincho" pitchFamily="49" charset="-128"/>
              <a:cs typeface="Arial" pitchFamily="34" charset="0"/>
            </a:endParaRP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152400" y="695325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1" name="Imagem 15" descr="Logo_MCT_Corel_10_Curvas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27314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ChangeArrowheads="1"/>
          </p:cNvSpPr>
          <p:nvPr>
            <p:ph type="title"/>
          </p:nvPr>
        </p:nvSpPr>
        <p:spPr>
          <a:xfrm>
            <a:off x="1385887" y="985862"/>
            <a:ext cx="6372225" cy="642938"/>
          </a:xfrm>
        </p:spPr>
        <p:txBody>
          <a:bodyPr lIns="91440" tIns="45720" rIns="91440" bIns="45720" anchor="t"/>
          <a:lstStyle/>
          <a:p>
            <a:pPr algn="ctr" defTabSz="719138" eaLnBrk="1" hangingPunct="1">
              <a:lnSpc>
                <a:spcPct val="80000"/>
              </a:lnSpc>
            </a:pPr>
            <a:r>
              <a:rPr lang="pt-BR" b="1" dirty="0" smtClean="0">
                <a:solidFill>
                  <a:srgbClr val="C00000"/>
                </a:solidFill>
                <a:latin typeface="Corbel" pitchFamily="34" charset="0"/>
              </a:rPr>
              <a:t>Prioridade à Política de Inovação</a:t>
            </a:r>
          </a:p>
        </p:txBody>
      </p:sp>
      <p:sp>
        <p:nvSpPr>
          <p:cNvPr id="53251" name="Rectangle 3"/>
          <p:cNvSpPr>
            <a:spLocks noChangeArrowheads="1"/>
          </p:cNvSpPr>
          <p:nvPr/>
        </p:nvSpPr>
        <p:spPr bwMode="auto">
          <a:xfrm>
            <a:off x="611560" y="1912938"/>
            <a:ext cx="8136904" cy="1803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2563" indent="-182563" defTabSz="914400">
              <a:lnSpc>
                <a:spcPct val="120000"/>
              </a:lnSpc>
              <a:spcBef>
                <a:spcPct val="90000"/>
              </a:spcBef>
              <a:buClr>
                <a:srgbClr val="000066"/>
              </a:buClr>
              <a:buSzPct val="60000"/>
              <a:buFontTx/>
              <a:buChar char="•"/>
            </a:pPr>
            <a:r>
              <a:rPr lang="pt-BR" sz="2800" dirty="0">
                <a:solidFill>
                  <a:srgbClr val="000066"/>
                </a:solidFill>
                <a:latin typeface="Corbel" pitchFamily="34" charset="0"/>
                <a:cs typeface="Arial" pitchFamily="34" charset="0"/>
              </a:rPr>
              <a:t>O Brasil experimenta um </a:t>
            </a:r>
            <a:r>
              <a:rPr lang="pt-BR" sz="2800" b="1" dirty="0">
                <a:solidFill>
                  <a:srgbClr val="000066"/>
                </a:solidFill>
                <a:latin typeface="Corbel" pitchFamily="34" charset="0"/>
                <a:cs typeface="Arial" pitchFamily="34" charset="0"/>
              </a:rPr>
              <a:t>ciclo robusto de investimentos</a:t>
            </a:r>
            <a:endParaRPr lang="pt-BR" sz="2800" dirty="0">
              <a:solidFill>
                <a:srgbClr val="000066"/>
              </a:solidFill>
              <a:latin typeface="Corbel" pitchFamily="34" charset="0"/>
              <a:cs typeface="Arial" pitchFamily="34" charset="0"/>
            </a:endParaRPr>
          </a:p>
          <a:p>
            <a:pPr marL="182563" indent="-182563" defTabSz="914400">
              <a:lnSpc>
                <a:spcPct val="120000"/>
              </a:lnSpc>
              <a:spcBef>
                <a:spcPct val="90000"/>
              </a:spcBef>
              <a:buClr>
                <a:srgbClr val="000066"/>
              </a:buClr>
              <a:buSzPct val="60000"/>
              <a:buFontTx/>
              <a:buChar char="•"/>
            </a:pPr>
            <a:r>
              <a:rPr lang="pt-BR" sz="2800" dirty="0">
                <a:solidFill>
                  <a:srgbClr val="000066"/>
                </a:solidFill>
                <a:latin typeface="Corbel" pitchFamily="34" charset="0"/>
                <a:cs typeface="Arial" pitchFamily="34" charset="0"/>
              </a:rPr>
              <a:t>O</a:t>
            </a:r>
            <a:r>
              <a:rPr lang="pt-BR" sz="2800" b="1" dirty="0">
                <a:solidFill>
                  <a:srgbClr val="000066"/>
                </a:solidFill>
                <a:latin typeface="Corbel" pitchFamily="34" charset="0"/>
                <a:cs typeface="Arial" pitchFamily="34" charset="0"/>
              </a:rPr>
              <a:t> momento é adequado</a:t>
            </a:r>
            <a:r>
              <a:rPr lang="pt-BR" sz="2800" dirty="0">
                <a:solidFill>
                  <a:srgbClr val="000066"/>
                </a:solidFill>
                <a:latin typeface="Corbel" pitchFamily="34" charset="0"/>
                <a:cs typeface="Arial" pitchFamily="34" charset="0"/>
              </a:rPr>
              <a:t> para </a:t>
            </a:r>
            <a:r>
              <a:rPr lang="pt-BR" sz="2800" b="1" dirty="0">
                <a:solidFill>
                  <a:srgbClr val="000066"/>
                </a:solidFill>
                <a:latin typeface="Corbel" pitchFamily="34" charset="0"/>
                <a:cs typeface="Arial" pitchFamily="34" charset="0"/>
              </a:rPr>
              <a:t>incorporar mais inovação </a:t>
            </a:r>
            <a:r>
              <a:rPr lang="pt-BR" sz="2800" dirty="0">
                <a:solidFill>
                  <a:srgbClr val="000066"/>
                </a:solidFill>
                <a:latin typeface="Corbel" pitchFamily="34" charset="0"/>
                <a:cs typeface="Arial" pitchFamily="34" charset="0"/>
              </a:rPr>
              <a:t>a esta onda de investimentos</a:t>
            </a:r>
          </a:p>
        </p:txBody>
      </p:sp>
      <p:sp>
        <p:nvSpPr>
          <p:cNvPr id="53252" name="Rectangle 4"/>
          <p:cNvSpPr>
            <a:spLocks noChangeArrowheads="1"/>
          </p:cNvSpPr>
          <p:nvPr/>
        </p:nvSpPr>
        <p:spPr bwMode="auto">
          <a:xfrm>
            <a:off x="467544" y="4845582"/>
            <a:ext cx="8208912" cy="11757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0" hangingPunct="0">
              <a:lnSpc>
                <a:spcPct val="110000"/>
              </a:lnSpc>
              <a:spcBef>
                <a:spcPct val="70000"/>
              </a:spcBef>
              <a:buClr>
                <a:srgbClr val="000066"/>
              </a:buClr>
              <a:buSzPct val="60000"/>
            </a:pPr>
            <a:r>
              <a:rPr lang="pt-BR" sz="3200" b="1" dirty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A inovação constitui agenda </a:t>
            </a:r>
            <a:r>
              <a:rPr lang="pt-BR" sz="3200" b="1" dirty="0" smtClean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prioritária </a:t>
            </a:r>
            <a:r>
              <a:rPr lang="pt-BR" sz="3200" b="1" dirty="0">
                <a:solidFill>
                  <a:srgbClr val="C00000"/>
                </a:solidFill>
                <a:latin typeface="Corbel" pitchFamily="34" charset="0"/>
                <a:cs typeface="Arial" pitchFamily="34" charset="0"/>
              </a:rPr>
              <a:t>e permanente do setor empresarial e do Estado</a:t>
            </a:r>
          </a:p>
        </p:txBody>
      </p:sp>
      <p:sp>
        <p:nvSpPr>
          <p:cNvPr id="53256" name="Rectangle 1044"/>
          <p:cNvSpPr>
            <a:spLocks noChangeArrowheads="1"/>
          </p:cNvSpPr>
          <p:nvPr/>
        </p:nvSpPr>
        <p:spPr bwMode="auto">
          <a:xfrm>
            <a:off x="7644743" y="194178"/>
            <a:ext cx="184731" cy="22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r" defTabSz="911225" eaLnBrk="0" hangingPunct="0">
              <a:lnSpc>
                <a:spcPct val="85000"/>
              </a:lnSpc>
            </a:pPr>
            <a:endParaRPr lang="pt-BR" sz="1000" b="1" dirty="0">
              <a:solidFill>
                <a:srgbClr val="003366"/>
              </a:solidFill>
              <a:latin typeface="Trebuchet MS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52400" y="695325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>
              <a:solidFill>
                <a:srgbClr val="FFFFFF"/>
              </a:solidFill>
            </a:endParaRPr>
          </a:p>
        </p:txBody>
      </p:sp>
      <p:pic>
        <p:nvPicPr>
          <p:cNvPr id="7" name="Imagem 15" descr="Logo_MCT_Corel_10_Curvas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455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4359913"/>
              </p:ext>
            </p:extLst>
          </p:nvPr>
        </p:nvGraphicFramePr>
        <p:xfrm>
          <a:off x="323528" y="1756023"/>
          <a:ext cx="8352927" cy="4553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531" name="Oval 11"/>
          <p:cNvSpPr>
            <a:spLocks noChangeArrowheads="1"/>
          </p:cNvSpPr>
          <p:nvPr/>
        </p:nvSpPr>
        <p:spPr bwMode="auto">
          <a:xfrm>
            <a:off x="595313" y="4725145"/>
            <a:ext cx="3024187" cy="364108"/>
          </a:xfrm>
          <a:prstGeom prst="ellips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2532" name="CaixaDeTexto 5"/>
          <p:cNvSpPr txBox="1">
            <a:spLocks noChangeArrowheads="1"/>
          </p:cNvSpPr>
          <p:nvPr/>
        </p:nvSpPr>
        <p:spPr bwMode="auto">
          <a:xfrm>
            <a:off x="323528" y="6421710"/>
            <a:ext cx="223224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00"/>
                </a:solidFill>
                <a:latin typeface="Calibri" pitchFamily="34" charset="0"/>
              </a:rPr>
              <a:t>Fonte: www.mct.gov.br/indicadores.</a:t>
            </a:r>
          </a:p>
        </p:txBody>
      </p:sp>
      <p:sp>
        <p:nvSpPr>
          <p:cNvPr id="22533" name="Rectangle 5"/>
          <p:cNvSpPr>
            <a:spLocks noChangeArrowheads="1"/>
          </p:cNvSpPr>
          <p:nvPr/>
        </p:nvSpPr>
        <p:spPr bwMode="auto">
          <a:xfrm>
            <a:off x="0" y="0"/>
            <a:ext cx="9144000" cy="9080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t-BR" b="1">
                <a:solidFill>
                  <a:srgbClr val="FFFFFF"/>
                </a:solidFill>
                <a:latin typeface="Arial"/>
              </a:rPr>
              <a:t>Inovação: Falta de Protagonismo da Empresa</a:t>
            </a:r>
            <a:endParaRPr lang="pt-BR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2534" name="Rectangle 3"/>
          <p:cNvSpPr>
            <a:spLocks noChangeArrowheads="1"/>
          </p:cNvSpPr>
          <p:nvPr/>
        </p:nvSpPr>
        <p:spPr bwMode="auto">
          <a:xfrm>
            <a:off x="0" y="1196752"/>
            <a:ext cx="9144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1800" b="1" dirty="0">
                <a:solidFill>
                  <a:srgbClr val="000000"/>
                </a:solidFill>
                <a:latin typeface="Calibri" pitchFamily="34" charset="0"/>
              </a:rPr>
              <a:t>Dispêndio Público e Privado em P&amp;D (% PIB) </a:t>
            </a:r>
          </a:p>
        </p:txBody>
      </p:sp>
      <p:grpSp>
        <p:nvGrpSpPr>
          <p:cNvPr id="22536" name="Grupo 20"/>
          <p:cNvGrpSpPr>
            <a:grpSpLocks/>
          </p:cNvGrpSpPr>
          <p:nvPr/>
        </p:nvGrpSpPr>
        <p:grpSpPr bwMode="auto">
          <a:xfrm>
            <a:off x="6111875" y="4392613"/>
            <a:ext cx="2060575" cy="765175"/>
            <a:chOff x="5508104" y="3789040"/>
            <a:chExt cx="2060522" cy="764378"/>
          </a:xfrm>
        </p:grpSpPr>
        <p:sp>
          <p:nvSpPr>
            <p:cNvPr id="15" name="Retângulo 14"/>
            <p:cNvSpPr/>
            <p:nvPr/>
          </p:nvSpPr>
          <p:spPr>
            <a:xfrm>
              <a:off x="5508104" y="3860403"/>
              <a:ext cx="215894" cy="217261"/>
            </a:xfrm>
            <a:prstGeom prst="rect">
              <a:avLst/>
            </a:prstGeom>
            <a:solidFill>
              <a:srgbClr val="3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800">
                <a:solidFill>
                  <a:prstClr val="white"/>
                </a:solidFill>
              </a:endParaRPr>
            </a:p>
          </p:txBody>
        </p:sp>
        <p:grpSp>
          <p:nvGrpSpPr>
            <p:cNvPr id="22539" name="Grupo 19"/>
            <p:cNvGrpSpPr>
              <a:grpSpLocks/>
            </p:cNvGrpSpPr>
            <p:nvPr/>
          </p:nvGrpSpPr>
          <p:grpSpPr bwMode="auto">
            <a:xfrm>
              <a:off x="5508104" y="3789040"/>
              <a:ext cx="2060522" cy="764378"/>
              <a:chOff x="5508104" y="3802895"/>
              <a:chExt cx="2060522" cy="764378"/>
            </a:xfrm>
          </p:grpSpPr>
          <p:sp>
            <p:nvSpPr>
              <p:cNvPr id="16" name="Retângulo 15"/>
              <p:cNvSpPr/>
              <p:nvPr/>
            </p:nvSpPr>
            <p:spPr>
              <a:xfrm>
                <a:off x="5508104" y="4292921"/>
                <a:ext cx="215894" cy="215675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22541" name="CaixaDeTexto 17"/>
              <p:cNvSpPr txBox="1">
                <a:spLocks noChangeArrowheads="1"/>
              </p:cNvSpPr>
              <p:nvPr/>
            </p:nvSpPr>
            <p:spPr bwMode="auto">
              <a:xfrm>
                <a:off x="5768426" y="3802895"/>
                <a:ext cx="1800200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pt-BR" sz="1600" b="1">
                    <a:solidFill>
                      <a:srgbClr val="002060"/>
                    </a:solidFill>
                  </a:rPr>
                  <a:t>Empresas</a:t>
                </a:r>
              </a:p>
            </p:txBody>
          </p:sp>
          <p:sp>
            <p:nvSpPr>
              <p:cNvPr id="22542" name="CaixaDeTexto 18"/>
              <p:cNvSpPr txBox="1">
                <a:spLocks noChangeArrowheads="1"/>
              </p:cNvSpPr>
              <p:nvPr/>
            </p:nvSpPr>
            <p:spPr bwMode="auto">
              <a:xfrm>
                <a:off x="5765693" y="4228719"/>
                <a:ext cx="1800200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pt-BR" sz="1600" b="1">
                    <a:solidFill>
                      <a:srgbClr val="002060"/>
                    </a:solidFill>
                  </a:rPr>
                  <a:t>Governo</a:t>
                </a:r>
              </a:p>
            </p:txBody>
          </p:sp>
        </p:grpSp>
      </p:grpSp>
      <p:sp>
        <p:nvSpPr>
          <p:cNvPr id="22537" name="CaixaDeTexto 5"/>
          <p:cNvSpPr txBox="1">
            <a:spLocks noChangeArrowheads="1"/>
          </p:cNvSpPr>
          <p:nvPr/>
        </p:nvSpPr>
        <p:spPr bwMode="auto">
          <a:xfrm>
            <a:off x="7380312" y="6394723"/>
            <a:ext cx="15811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1200" dirty="0">
                <a:solidFill>
                  <a:srgbClr val="002060"/>
                </a:solidFill>
                <a:latin typeface="Calibri" pitchFamily="34" charset="0"/>
              </a:rPr>
              <a:t>2010* estimativa</a:t>
            </a:r>
          </a:p>
        </p:txBody>
      </p:sp>
    </p:spTree>
    <p:extLst>
      <p:ext uri="{BB962C8B-B14F-4D97-AF65-F5344CB8AC3E}">
        <p14:creationId xmlns:p14="http://schemas.microsoft.com/office/powerpoint/2010/main" val="253475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050" name="Rectangle 2"/>
          <p:cNvSpPr>
            <a:spLocks noChangeArrowheads="1"/>
          </p:cNvSpPr>
          <p:nvPr/>
        </p:nvSpPr>
        <p:spPr bwMode="auto">
          <a:xfrm>
            <a:off x="526474" y="309274"/>
            <a:ext cx="800865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kumimoji="1" lang="pt-BR" sz="4000" b="1" dirty="0" smtClean="0">
                <a:solidFill>
                  <a:srgbClr val="1E3C78"/>
                </a:solidFill>
                <a:latin typeface="Arial"/>
              </a:rPr>
              <a:t>Diretrizes do Governo Federal</a:t>
            </a:r>
            <a:endParaRPr kumimoji="1" lang="pt-BR" sz="4000" b="1" dirty="0">
              <a:solidFill>
                <a:srgbClr val="1E3C78"/>
              </a:solidFill>
              <a:latin typeface="Arial"/>
            </a:endParaRPr>
          </a:p>
        </p:txBody>
      </p:sp>
      <p:sp>
        <p:nvSpPr>
          <p:cNvPr id="898054" name="Rectangle 6"/>
          <p:cNvSpPr>
            <a:spLocks noChangeArrowheads="1"/>
          </p:cNvSpPr>
          <p:nvPr/>
        </p:nvSpPr>
        <p:spPr bwMode="auto">
          <a:xfrm>
            <a:off x="526474" y="1402049"/>
            <a:ext cx="8219215" cy="5155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Expandir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e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Fortalecer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a </a:t>
            </a: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Democraci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  <a:endParaRPr lang="en-US" sz="2000" dirty="0">
              <a:solidFill>
                <a:srgbClr val="000066"/>
              </a:solidFill>
              <a:latin typeface="Arial"/>
            </a:endParaRP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Cresciment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Econômic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  <a:endParaRPr lang="en-US" sz="2000" dirty="0">
              <a:solidFill>
                <a:srgbClr val="000066"/>
              </a:solidFill>
              <a:latin typeface="Arial"/>
            </a:endParaRP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>
                <a:solidFill>
                  <a:srgbClr val="000066"/>
                </a:solidFill>
                <a:latin typeface="Arial"/>
              </a:rPr>
              <a:t>Desenvolvimento</a:t>
            </a:r>
            <a:r>
              <a:rPr lang="en-US" sz="2000" dirty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b="1" dirty="0" err="1">
                <a:solidFill>
                  <a:srgbClr val="000066"/>
                </a:solidFill>
                <a:latin typeface="Arial"/>
              </a:rPr>
              <a:t>Sustentável</a:t>
            </a:r>
            <a:r>
              <a:rPr lang="en-US" sz="2000" dirty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Defender o </a:t>
            </a: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Meio</a:t>
            </a:r>
            <a:r>
              <a:rPr lang="en-US" sz="2000" b="1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Ambiente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>
                <a:solidFill>
                  <a:srgbClr val="000066"/>
                </a:solidFill>
                <a:latin typeface="Arial"/>
              </a:rPr>
              <a:t>Erradicar</a:t>
            </a:r>
            <a:r>
              <a:rPr lang="en-US" sz="2000" dirty="0">
                <a:solidFill>
                  <a:srgbClr val="000066"/>
                </a:solidFill>
                <a:latin typeface="Arial"/>
              </a:rPr>
              <a:t> a </a:t>
            </a:r>
            <a:r>
              <a:rPr lang="en-US" sz="2000" b="1" dirty="0" err="1">
                <a:solidFill>
                  <a:srgbClr val="000066"/>
                </a:solidFill>
                <a:latin typeface="Arial"/>
              </a:rPr>
              <a:t>Pobreza</a:t>
            </a:r>
            <a:r>
              <a:rPr lang="en-US" sz="2000" dirty="0">
                <a:solidFill>
                  <a:srgbClr val="000066"/>
                </a:solidFill>
                <a:latin typeface="Arial"/>
              </a:rPr>
              <a:t> e </a:t>
            </a:r>
            <a:r>
              <a:rPr lang="en-US" sz="2000" dirty="0" err="1">
                <a:solidFill>
                  <a:srgbClr val="000066"/>
                </a:solidFill>
                <a:latin typeface="Arial"/>
              </a:rPr>
              <a:t>Reduzir</a:t>
            </a:r>
            <a:r>
              <a:rPr lang="en-US" sz="2000" dirty="0">
                <a:solidFill>
                  <a:srgbClr val="000066"/>
                </a:solidFill>
                <a:latin typeface="Arial"/>
              </a:rPr>
              <a:t> as </a:t>
            </a:r>
            <a:r>
              <a:rPr lang="en-US" sz="2000" b="1" dirty="0" err="1">
                <a:solidFill>
                  <a:srgbClr val="000066"/>
                </a:solidFill>
                <a:latin typeface="Arial"/>
              </a:rPr>
              <a:t>Desigualdades</a:t>
            </a:r>
            <a:r>
              <a:rPr lang="en-US" sz="2000" dirty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Govern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de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Todo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Educação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Prover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as </a:t>
            </a: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Cidades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de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Infraestrutur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Adequad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Universalizar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a </a:t>
            </a: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Saúde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Garantir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a </a:t>
            </a: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Seguranç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e Combater o Crime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err="1" smtClean="0">
                <a:solidFill>
                  <a:srgbClr val="000066"/>
                </a:solidFill>
                <a:latin typeface="Arial"/>
              </a:rPr>
              <a:t>Valorizar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 a </a:t>
            </a: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Cultura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Defender a </a:t>
            </a: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Soberania</a:t>
            </a:r>
            <a:r>
              <a:rPr lang="en-US" sz="2000" b="1" dirty="0" smtClean="0">
                <a:solidFill>
                  <a:srgbClr val="000066"/>
                </a:solidFill>
                <a:latin typeface="Arial"/>
              </a:rPr>
              <a:t> </a:t>
            </a:r>
            <a:r>
              <a:rPr lang="en-US" sz="2000" b="1" dirty="0" err="1" smtClean="0">
                <a:solidFill>
                  <a:srgbClr val="000066"/>
                </a:solidFill>
                <a:latin typeface="Arial"/>
              </a:rPr>
              <a:t>Nacional</a:t>
            </a:r>
            <a:r>
              <a:rPr lang="en-US" sz="2000" dirty="0" smtClean="0">
                <a:solidFill>
                  <a:srgbClr val="000066"/>
                </a:solidFill>
                <a:latin typeface="Arial"/>
              </a:rPr>
              <a:t>;</a:t>
            </a:r>
          </a:p>
          <a:p>
            <a:pPr marL="457200" indent="-457200">
              <a:spcBef>
                <a:spcPct val="20000"/>
              </a:spcBef>
              <a:buFont typeface="+mj-lt"/>
              <a:buAutoNum type="arabicPeriod"/>
            </a:pPr>
            <a:r>
              <a:rPr lang="en-US" b="1" dirty="0" err="1" smtClean="0">
                <a:solidFill>
                  <a:srgbClr val="800000"/>
                </a:solidFill>
                <a:latin typeface="Arial"/>
              </a:rPr>
              <a:t>Transformar</a:t>
            </a:r>
            <a:r>
              <a:rPr lang="en-US" b="1" dirty="0" smtClean="0">
                <a:solidFill>
                  <a:srgbClr val="800000"/>
                </a:solidFill>
                <a:latin typeface="Arial"/>
              </a:rPr>
              <a:t> o </a:t>
            </a:r>
            <a:r>
              <a:rPr lang="en-US" b="1" dirty="0" err="1" smtClean="0">
                <a:solidFill>
                  <a:srgbClr val="800000"/>
                </a:solidFill>
                <a:latin typeface="Arial"/>
              </a:rPr>
              <a:t>Brasil</a:t>
            </a:r>
            <a:r>
              <a:rPr lang="en-US" b="1" dirty="0" smtClean="0">
                <a:solidFill>
                  <a:srgbClr val="800000"/>
                </a:solidFill>
                <a:latin typeface="Arial"/>
              </a:rPr>
              <a:t> </a:t>
            </a:r>
            <a:r>
              <a:rPr lang="en-US" b="1" dirty="0" err="1" smtClean="0">
                <a:solidFill>
                  <a:srgbClr val="800000"/>
                </a:solidFill>
                <a:latin typeface="Arial"/>
              </a:rPr>
              <a:t>em</a:t>
            </a:r>
            <a:r>
              <a:rPr lang="en-US" b="1" dirty="0" smtClean="0">
                <a:solidFill>
                  <a:srgbClr val="800000"/>
                </a:solidFill>
                <a:latin typeface="Arial"/>
              </a:rPr>
              <a:t> </a:t>
            </a:r>
            <a:r>
              <a:rPr lang="en-US" b="1" dirty="0" err="1" smtClean="0">
                <a:solidFill>
                  <a:srgbClr val="800000"/>
                </a:solidFill>
                <a:latin typeface="Arial"/>
              </a:rPr>
              <a:t>Potência</a:t>
            </a:r>
            <a:r>
              <a:rPr lang="en-US" b="1" dirty="0" smtClean="0">
                <a:solidFill>
                  <a:srgbClr val="800000"/>
                </a:solidFill>
                <a:latin typeface="Arial"/>
              </a:rPr>
              <a:t> </a:t>
            </a:r>
            <a:r>
              <a:rPr lang="en-US" b="1" dirty="0" err="1" smtClean="0">
                <a:solidFill>
                  <a:srgbClr val="800000"/>
                </a:solidFill>
                <a:latin typeface="Arial"/>
              </a:rPr>
              <a:t>Científica</a:t>
            </a:r>
            <a:r>
              <a:rPr lang="en-US" b="1" dirty="0" smtClean="0">
                <a:solidFill>
                  <a:srgbClr val="800000"/>
                </a:solidFill>
                <a:latin typeface="Arial"/>
              </a:rPr>
              <a:t>, </a:t>
            </a:r>
            <a:r>
              <a:rPr lang="en-US" b="1" dirty="0" err="1" smtClean="0">
                <a:solidFill>
                  <a:srgbClr val="800000"/>
                </a:solidFill>
                <a:latin typeface="Arial"/>
              </a:rPr>
              <a:t>Tecnológica</a:t>
            </a:r>
            <a:r>
              <a:rPr lang="en-US" b="1" dirty="0" smtClean="0">
                <a:solidFill>
                  <a:srgbClr val="800000"/>
                </a:solidFill>
                <a:latin typeface="Arial"/>
              </a:rPr>
              <a:t> e </a:t>
            </a:r>
            <a:r>
              <a:rPr lang="en-US" b="1" dirty="0" err="1" smtClean="0">
                <a:solidFill>
                  <a:srgbClr val="800000"/>
                </a:solidFill>
                <a:latin typeface="Arial"/>
              </a:rPr>
              <a:t>Inovadora</a:t>
            </a:r>
            <a:r>
              <a:rPr lang="en-US" b="1" dirty="0" smtClean="0">
                <a:solidFill>
                  <a:srgbClr val="800000"/>
                </a:solidFill>
                <a:latin typeface="Arial"/>
              </a:rPr>
              <a:t>.</a:t>
            </a:r>
            <a:endParaRPr lang="en-US" b="1" dirty="0">
              <a:solidFill>
                <a:srgbClr val="8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4935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upo 39"/>
          <p:cNvGrpSpPr/>
          <p:nvPr/>
        </p:nvGrpSpPr>
        <p:grpSpPr>
          <a:xfrm>
            <a:off x="71438" y="962174"/>
            <a:ext cx="9001125" cy="5491162"/>
            <a:chOff x="71438" y="601663"/>
            <a:chExt cx="9001125" cy="5491162"/>
          </a:xfrm>
        </p:grpSpPr>
        <p:grpSp>
          <p:nvGrpSpPr>
            <p:cNvPr id="41" name="Grupo 41"/>
            <p:cNvGrpSpPr>
              <a:grpSpLocks/>
            </p:cNvGrpSpPr>
            <p:nvPr/>
          </p:nvGrpSpPr>
          <p:grpSpPr bwMode="auto">
            <a:xfrm>
              <a:off x="71438" y="601663"/>
              <a:ext cx="9001125" cy="5491162"/>
              <a:chOff x="72000" y="601374"/>
              <a:chExt cx="9000000" cy="5492022"/>
            </a:xfrm>
          </p:grpSpPr>
          <p:sp>
            <p:nvSpPr>
              <p:cNvPr id="43" name="Retângulo de cantos arredondados 42"/>
              <p:cNvSpPr/>
              <p:nvPr/>
            </p:nvSpPr>
            <p:spPr>
              <a:xfrm>
                <a:off x="72000" y="4465954"/>
                <a:ext cx="9000000" cy="1627442"/>
              </a:xfrm>
              <a:prstGeom prst="roundRect">
                <a:avLst/>
              </a:prstGeom>
              <a:solidFill>
                <a:srgbClr val="FFFFCC"/>
              </a:solidFill>
              <a:ln>
                <a:solidFill>
                  <a:srgbClr val="C00000"/>
                </a:solidFill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pt-BR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Retângulo de cantos arredondados 43"/>
              <p:cNvSpPr/>
              <p:nvPr/>
            </p:nvSpPr>
            <p:spPr>
              <a:xfrm>
                <a:off x="72000" y="620427"/>
                <a:ext cx="9000000" cy="3824886"/>
              </a:xfrm>
              <a:prstGeom prst="round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pt-BR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Retângulo de cantos arredondados 44"/>
              <p:cNvSpPr/>
              <p:nvPr/>
            </p:nvSpPr>
            <p:spPr>
              <a:xfrm>
                <a:off x="251365" y="1844581"/>
                <a:ext cx="8641270" cy="2303824"/>
              </a:xfrm>
              <a:prstGeom prst="roundRect">
                <a:avLst/>
              </a:prstGeom>
              <a:no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pt-BR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6" name="Group 31"/>
              <p:cNvGrpSpPr>
                <a:grpSpLocks/>
              </p:cNvGrpSpPr>
              <p:nvPr/>
            </p:nvGrpSpPr>
            <p:grpSpPr bwMode="auto">
              <a:xfrm>
                <a:off x="7136708" y="2378616"/>
                <a:ext cx="1656000" cy="1080000"/>
                <a:chOff x="3577" y="2440"/>
                <a:chExt cx="1406" cy="862"/>
              </a:xfrm>
            </p:grpSpPr>
            <p:sp>
              <p:nvSpPr>
                <p:cNvPr id="73" name="Oval 22"/>
                <p:cNvSpPr>
                  <a:spLocks noChangeArrowheads="1"/>
                </p:cNvSpPr>
                <p:nvPr/>
              </p:nvSpPr>
              <p:spPr bwMode="auto">
                <a:xfrm>
                  <a:off x="3577" y="2440"/>
                  <a:ext cx="1406" cy="868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FF">
                        <a:alpha val="79999"/>
                      </a:srgbClr>
                    </a:gs>
                    <a:gs pos="100000">
                      <a:srgbClr val="E2E2E2">
                        <a:alpha val="56000"/>
                      </a:srgbClr>
                    </a:gs>
                  </a:gsLst>
                  <a:lin ang="2700000" scaled="1"/>
                </a:gradFill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wrap="none" lIns="128016" tIns="64008" rIns="128016" bIns="64008" anchor="ctr"/>
                <a:lstStyle/>
                <a:p>
                  <a:pPr algn="ctr" defTabSz="911225">
                    <a:defRPr/>
                  </a:pPr>
                  <a:endParaRPr lang="pt-BR" sz="1200" b="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74" name="Text Box 23"/>
                <p:cNvSpPr txBox="1">
                  <a:spLocks noChangeArrowheads="1"/>
                </p:cNvSpPr>
                <p:nvPr/>
              </p:nvSpPr>
              <p:spPr bwMode="auto">
                <a:xfrm>
                  <a:off x="3630" y="2530"/>
                  <a:ext cx="1309" cy="68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128016" tIns="64008" rIns="128016" bIns="64008">
                  <a:spAutoFit/>
                </a:bodyPr>
                <a:lstStyle/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b="1" dirty="0">
                      <a:solidFill>
                        <a:srgbClr val="0033CC"/>
                      </a:solidFill>
                      <a:latin typeface="Calibri"/>
                    </a:rPr>
                    <a:t>MD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Política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Nacional de</a:t>
                  </a:r>
                  <a:r>
                    <a:rPr lang="pt-BR" sz="1400" dirty="0">
                      <a:solidFill>
                        <a:srgbClr val="0033CC"/>
                      </a:solidFill>
                      <a:latin typeface="Calibri"/>
                    </a:rPr>
                    <a:t> 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b="1" dirty="0">
                      <a:solidFill>
                        <a:srgbClr val="0033CC"/>
                      </a:solidFill>
                      <a:latin typeface="Calibri"/>
                    </a:rPr>
                    <a:t>Defesa</a:t>
                  </a:r>
                </a:p>
              </p:txBody>
            </p:sp>
          </p:grpSp>
          <p:grpSp>
            <p:nvGrpSpPr>
              <p:cNvPr id="47" name="Group 32"/>
              <p:cNvGrpSpPr>
                <a:grpSpLocks/>
              </p:cNvGrpSpPr>
              <p:nvPr/>
            </p:nvGrpSpPr>
            <p:grpSpPr bwMode="auto">
              <a:xfrm>
                <a:off x="320675" y="2380347"/>
                <a:ext cx="1657120" cy="1081395"/>
                <a:chOff x="2191" y="2864"/>
                <a:chExt cx="1479" cy="775"/>
              </a:xfrm>
            </p:grpSpPr>
            <p:sp>
              <p:nvSpPr>
                <p:cNvPr id="71" name="Oval 25"/>
                <p:cNvSpPr>
                  <a:spLocks noChangeArrowheads="1"/>
                </p:cNvSpPr>
                <p:nvPr/>
              </p:nvSpPr>
              <p:spPr bwMode="auto">
                <a:xfrm>
                  <a:off x="2191" y="2864"/>
                  <a:ext cx="1479" cy="781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FF">
                        <a:alpha val="79999"/>
                      </a:srgbClr>
                    </a:gs>
                    <a:gs pos="100000">
                      <a:srgbClr val="E2E2E2">
                        <a:alpha val="56000"/>
                      </a:srgbClr>
                    </a:gs>
                  </a:gsLst>
                  <a:lin ang="2700000" scaled="1"/>
                </a:gradFill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wrap="none" lIns="128016" tIns="64008" rIns="128016" bIns="64008" anchor="ctr"/>
                <a:lstStyle/>
                <a:p>
                  <a:pPr algn="ctr" defTabSz="911225">
                    <a:defRPr/>
                  </a:pPr>
                  <a:endParaRPr lang="pt-BR" sz="1200" b="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72" name="Text Box 26"/>
                <p:cNvSpPr txBox="1">
                  <a:spLocks noChangeArrowheads="1"/>
                </p:cNvSpPr>
                <p:nvPr/>
              </p:nvSpPr>
              <p:spPr bwMode="auto">
                <a:xfrm>
                  <a:off x="2207" y="2943"/>
                  <a:ext cx="1452" cy="62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128016" tIns="64008" rIns="128016" bIns="64008">
                  <a:spAutoFit/>
                </a:bodyPr>
                <a:lstStyle/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b="1" dirty="0">
                      <a:solidFill>
                        <a:srgbClr val="0033CC"/>
                      </a:solidFill>
                      <a:latin typeface="Calibri"/>
                    </a:rPr>
                    <a:t>MAPA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Plano de Desenvolvimento da</a:t>
                  </a:r>
                  <a:r>
                    <a:rPr lang="pt-BR" sz="1400" dirty="0">
                      <a:solidFill>
                        <a:srgbClr val="0033CC"/>
                      </a:solidFill>
                      <a:latin typeface="Calibri"/>
                    </a:rPr>
                    <a:t> </a:t>
                  </a:r>
                  <a:r>
                    <a:rPr lang="pt-BR" sz="1400" b="1" dirty="0">
                      <a:solidFill>
                        <a:srgbClr val="0033CC"/>
                      </a:solidFill>
                      <a:latin typeface="Calibri"/>
                    </a:rPr>
                    <a:t>Agropecuária</a:t>
                  </a:r>
                </a:p>
              </p:txBody>
            </p:sp>
          </p:grpSp>
          <p:grpSp>
            <p:nvGrpSpPr>
              <p:cNvPr id="48" name="Group 30"/>
              <p:cNvGrpSpPr>
                <a:grpSpLocks/>
              </p:cNvGrpSpPr>
              <p:nvPr/>
            </p:nvGrpSpPr>
            <p:grpSpPr bwMode="auto">
              <a:xfrm>
                <a:off x="5406784" y="2421008"/>
                <a:ext cx="1656000" cy="1080000"/>
                <a:chOff x="3502" y="1621"/>
                <a:chExt cx="1451" cy="771"/>
              </a:xfrm>
            </p:grpSpPr>
            <p:sp>
              <p:nvSpPr>
                <p:cNvPr id="69" name="Oval 22"/>
                <p:cNvSpPr>
                  <a:spLocks noChangeArrowheads="1"/>
                </p:cNvSpPr>
                <p:nvPr/>
              </p:nvSpPr>
              <p:spPr bwMode="auto">
                <a:xfrm>
                  <a:off x="3502" y="1621"/>
                  <a:ext cx="1451" cy="771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FF">
                        <a:alpha val="79999"/>
                      </a:srgbClr>
                    </a:gs>
                    <a:gs pos="100000">
                      <a:srgbClr val="E2E2E2">
                        <a:alpha val="56000"/>
                      </a:srgbClr>
                    </a:gs>
                  </a:gsLst>
                  <a:lin ang="18900000" scaled="1"/>
                </a:gradFill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wrap="none" lIns="128016" tIns="64008" rIns="128016" bIns="64008" anchor="ctr"/>
                <a:lstStyle/>
                <a:p>
                  <a:pPr algn="ctr" defTabSz="911225">
                    <a:defRPr/>
                  </a:pPr>
                  <a:endParaRPr lang="pt-BR" sz="1200" b="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70" name="Text Box 23"/>
                <p:cNvSpPr txBox="1">
                  <a:spLocks noChangeArrowheads="1"/>
                </p:cNvSpPr>
                <p:nvPr/>
              </p:nvSpPr>
              <p:spPr bwMode="auto">
                <a:xfrm>
                  <a:off x="3593" y="1673"/>
                  <a:ext cx="1349" cy="61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128016" tIns="64008" rIns="128016" bIns="64008">
                  <a:spAutoFit/>
                </a:bodyPr>
                <a:lstStyle/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b="1" dirty="0">
                      <a:solidFill>
                        <a:srgbClr val="0033CC"/>
                      </a:solidFill>
                      <a:latin typeface="Calibri"/>
                    </a:rPr>
                    <a:t>MS</a:t>
                  </a:r>
                  <a:endParaRPr lang="pt-BR" sz="1400" dirty="0">
                    <a:solidFill>
                      <a:srgbClr val="0033CC"/>
                    </a:solidFill>
                    <a:latin typeface="Calibri"/>
                  </a:endParaRP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Política Nacional de Saúde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b="1" dirty="0">
                      <a:solidFill>
                        <a:srgbClr val="0033CC"/>
                      </a:solidFill>
                      <a:latin typeface="Calibri"/>
                    </a:rPr>
                    <a:t>Mais Saúde</a:t>
                  </a:r>
                </a:p>
              </p:txBody>
            </p:sp>
          </p:grpSp>
          <p:grpSp>
            <p:nvGrpSpPr>
              <p:cNvPr id="49" name="Group 34"/>
              <p:cNvGrpSpPr>
                <a:grpSpLocks/>
              </p:cNvGrpSpPr>
              <p:nvPr/>
            </p:nvGrpSpPr>
            <p:grpSpPr bwMode="auto">
              <a:xfrm>
                <a:off x="2022224" y="2393245"/>
                <a:ext cx="1656000" cy="1115830"/>
                <a:chOff x="820" y="1620"/>
                <a:chExt cx="1451" cy="872"/>
              </a:xfrm>
            </p:grpSpPr>
            <p:sp>
              <p:nvSpPr>
                <p:cNvPr id="67" name="Oval 19"/>
                <p:cNvSpPr>
                  <a:spLocks noChangeArrowheads="1"/>
                </p:cNvSpPr>
                <p:nvPr/>
              </p:nvSpPr>
              <p:spPr bwMode="auto">
                <a:xfrm>
                  <a:off x="820" y="1623"/>
                  <a:ext cx="1451" cy="840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E2E2E2">
                        <a:alpha val="56000"/>
                      </a:srgbClr>
                    </a:gs>
                    <a:gs pos="100000">
                      <a:srgbClr val="FFFFFF">
                        <a:alpha val="79999"/>
                      </a:srgbClr>
                    </a:gs>
                  </a:gsLst>
                  <a:lin ang="2700000" scaled="1"/>
                </a:gradFill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wrap="none" lIns="128016" tIns="64008" rIns="128016" bIns="64008" anchor="ctr"/>
                <a:lstStyle/>
                <a:p>
                  <a:pPr algn="ctr" defTabSz="911225">
                    <a:defRPr/>
                  </a:pPr>
                  <a:endParaRPr lang="pt-BR" sz="1200" b="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8" name="Text Box 20"/>
                <p:cNvSpPr txBox="1">
                  <a:spLocks noChangeArrowheads="1"/>
                </p:cNvSpPr>
                <p:nvPr/>
              </p:nvSpPr>
              <p:spPr bwMode="auto">
                <a:xfrm>
                  <a:off x="911" y="1674"/>
                  <a:ext cx="1316" cy="81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128016" tIns="64008" rIns="128016" bIns="64008">
                  <a:spAutoFit/>
                </a:bodyPr>
                <a:lstStyle/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b="1" dirty="0">
                      <a:solidFill>
                        <a:srgbClr val="0033CC"/>
                      </a:solidFill>
                      <a:latin typeface="Calibri"/>
                    </a:rPr>
                    <a:t>MEC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Plano de 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Desenvolvimento 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da </a:t>
                  </a:r>
                  <a:r>
                    <a:rPr lang="pt-BR" sz="1400" b="1" i="1" dirty="0">
                      <a:solidFill>
                        <a:srgbClr val="0033CC"/>
                      </a:solidFill>
                      <a:latin typeface="Calibri"/>
                    </a:rPr>
                    <a:t>Educação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b="1" dirty="0">
                      <a:solidFill>
                        <a:srgbClr val="0033CC"/>
                      </a:solidFill>
                      <a:latin typeface="Calibri"/>
                    </a:rPr>
                    <a:t>PDE</a:t>
                  </a:r>
                </a:p>
              </p:txBody>
            </p:sp>
          </p:grpSp>
          <p:grpSp>
            <p:nvGrpSpPr>
              <p:cNvPr id="50" name="Group 33"/>
              <p:cNvGrpSpPr>
                <a:grpSpLocks/>
              </p:cNvGrpSpPr>
              <p:nvPr/>
            </p:nvGrpSpPr>
            <p:grpSpPr bwMode="auto">
              <a:xfrm>
                <a:off x="3722740" y="2343606"/>
                <a:ext cx="1658283" cy="1081342"/>
                <a:chOff x="830" y="2465"/>
                <a:chExt cx="1453" cy="806"/>
              </a:xfrm>
            </p:grpSpPr>
            <p:sp>
              <p:nvSpPr>
                <p:cNvPr id="65" name="Oval 29"/>
                <p:cNvSpPr>
                  <a:spLocks noChangeArrowheads="1"/>
                </p:cNvSpPr>
                <p:nvPr/>
              </p:nvSpPr>
              <p:spPr bwMode="auto">
                <a:xfrm>
                  <a:off x="830" y="2465"/>
                  <a:ext cx="1453" cy="80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E2E2E2">
                        <a:alpha val="56000"/>
                      </a:srgbClr>
                    </a:gs>
                    <a:gs pos="100000">
                      <a:srgbClr val="FFFFFF">
                        <a:alpha val="79999"/>
                      </a:srgbClr>
                    </a:gs>
                  </a:gsLst>
                  <a:lin ang="18900000" scaled="1"/>
                </a:gradFill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wrap="none" lIns="128016" tIns="64008" rIns="128016" bIns="64008" anchor="ctr"/>
                <a:lstStyle/>
                <a:p>
                  <a:pPr algn="ctr" defTabSz="911225">
                    <a:defRPr/>
                  </a:pPr>
                  <a:endParaRPr lang="pt-BR" sz="1400" b="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6" name="Text Box 30"/>
                <p:cNvSpPr txBox="1">
                  <a:spLocks noChangeArrowheads="1"/>
                </p:cNvSpPr>
                <p:nvPr/>
              </p:nvSpPr>
              <p:spPr bwMode="auto">
                <a:xfrm>
                  <a:off x="880" y="2538"/>
                  <a:ext cx="1398" cy="6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128016" tIns="64008" rIns="128016" bIns="64008">
                  <a:spAutoFit/>
                </a:bodyPr>
                <a:lstStyle/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600" b="1" dirty="0">
                      <a:solidFill>
                        <a:srgbClr val="0033CC"/>
                      </a:solidFill>
                      <a:latin typeface="Calibri"/>
                    </a:rPr>
                    <a:t>MDIC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Política </a:t>
                  </a:r>
                  <a:r>
                    <a:rPr lang="pt-BR" sz="1400" b="1" i="1" dirty="0">
                      <a:solidFill>
                        <a:srgbClr val="0033CC"/>
                      </a:solidFill>
                      <a:latin typeface="Calibri"/>
                    </a:rPr>
                    <a:t>Industrial</a:t>
                  </a: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: 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Plano Brasil Maior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b="1" dirty="0">
                      <a:solidFill>
                        <a:srgbClr val="0033CC"/>
                      </a:solidFill>
                      <a:latin typeface="Calibri"/>
                    </a:rPr>
                    <a:t>PBM</a:t>
                  </a:r>
                </a:p>
              </p:txBody>
            </p:sp>
          </p:grpSp>
          <p:sp>
            <p:nvSpPr>
              <p:cNvPr id="51" name="CaixaDeTexto 50"/>
              <p:cNvSpPr txBox="1"/>
              <p:nvPr/>
            </p:nvSpPr>
            <p:spPr>
              <a:xfrm>
                <a:off x="1000571" y="1827116"/>
                <a:ext cx="7128572" cy="52236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hangingPunct="1">
                  <a:defRPr/>
                </a:pPr>
                <a:r>
                  <a:rPr lang="pt-BR" sz="2800" b="1" dirty="0">
                    <a:solidFill>
                      <a:srgbClr val="002060"/>
                    </a:solidFill>
                    <a:latin typeface="Calibri"/>
                  </a:rPr>
                  <a:t>Políticas de Estado</a:t>
                </a:r>
              </a:p>
            </p:txBody>
          </p:sp>
          <p:sp>
            <p:nvSpPr>
              <p:cNvPr id="52" name="Oval 32"/>
              <p:cNvSpPr>
                <a:spLocks noChangeArrowheads="1"/>
              </p:cNvSpPr>
              <p:nvPr/>
            </p:nvSpPr>
            <p:spPr bwMode="auto">
              <a:xfrm>
                <a:off x="2914857" y="3365644"/>
                <a:ext cx="3314286" cy="1562345"/>
              </a:xfrm>
              <a:prstGeom prst="ellipse">
                <a:avLst/>
              </a:prstGeom>
              <a:ln>
                <a:headEnd/>
                <a:tailEnd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none" lIns="128016" tIns="64008" rIns="128016" bIns="64008" anchor="ctr"/>
              <a:lstStyle/>
              <a:p>
                <a:pPr algn="ctr" defTabSz="911225">
                  <a:defRPr/>
                </a:pPr>
                <a:endParaRPr lang="pt-BR" sz="1600" b="1" dirty="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53" name="Oval 22"/>
              <p:cNvSpPr>
                <a:spLocks noChangeArrowheads="1"/>
              </p:cNvSpPr>
              <p:nvPr/>
            </p:nvSpPr>
            <p:spPr bwMode="auto">
              <a:xfrm>
                <a:off x="5317026" y="4622280"/>
                <a:ext cx="1799775" cy="1079920"/>
              </a:xfrm>
              <a:prstGeom prst="ellipse">
                <a:avLst/>
              </a:prstGeom>
              <a:gradFill rotWithShape="0">
                <a:gsLst>
                  <a:gs pos="0">
                    <a:srgbClr val="FFFFE8">
                      <a:alpha val="56000"/>
                    </a:srgbClr>
                  </a:gs>
                  <a:gs pos="100000">
                    <a:srgbClr val="FFFFCC">
                      <a:alpha val="79999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CC0000"/>
                </a:solidFill>
                <a:round/>
                <a:headEnd/>
                <a:tailEnd/>
              </a:ln>
            </p:spPr>
            <p:txBody>
              <a:bodyPr wrap="none" lIns="128016" tIns="64008" rIns="128016" bIns="64008" anchor="ctr"/>
              <a:lstStyle/>
              <a:p>
                <a:pPr algn="ctr" defTabSz="911225" eaLnBrk="1" hangingPunct="1">
                  <a:lnSpc>
                    <a:spcPct val="85000"/>
                  </a:lnSpc>
                </a:pPr>
                <a:r>
                  <a:rPr lang="pt-BR" sz="1800" b="1" i="1" smtClean="0">
                    <a:solidFill>
                      <a:srgbClr val="CC0000"/>
                    </a:solidFill>
                    <a:latin typeface="Calibri"/>
                  </a:rPr>
                  <a:t>MEI</a:t>
                </a:r>
              </a:p>
              <a:p>
                <a:pPr algn="ctr" defTabSz="911225" eaLnBrk="1" hangingPunct="1">
                  <a:lnSpc>
                    <a:spcPct val="85000"/>
                  </a:lnSpc>
                </a:pPr>
                <a:r>
                  <a:rPr lang="pt-BR" sz="1400" i="1" smtClean="0">
                    <a:solidFill>
                      <a:srgbClr val="CC0000"/>
                    </a:solidFill>
                    <a:latin typeface="Calibri"/>
                  </a:rPr>
                  <a:t>Mobilização</a:t>
                </a:r>
              </a:p>
              <a:p>
                <a:pPr algn="ctr" defTabSz="911225" eaLnBrk="1" hangingPunct="1">
                  <a:lnSpc>
                    <a:spcPct val="85000"/>
                  </a:lnSpc>
                </a:pPr>
                <a:r>
                  <a:rPr lang="pt-BR" sz="1400" i="1" smtClean="0">
                    <a:solidFill>
                      <a:srgbClr val="CC0000"/>
                    </a:solidFill>
                    <a:latin typeface="Calibri"/>
                  </a:rPr>
                  <a:t>Empresarial pela</a:t>
                </a:r>
              </a:p>
              <a:p>
                <a:pPr algn="ctr" defTabSz="911225" eaLnBrk="1" hangingPunct="1">
                  <a:lnSpc>
                    <a:spcPct val="85000"/>
                  </a:lnSpc>
                </a:pPr>
                <a:r>
                  <a:rPr lang="pt-BR" sz="1400" i="1" smtClean="0">
                    <a:solidFill>
                      <a:srgbClr val="CC0000"/>
                    </a:solidFill>
                    <a:latin typeface="Calibri"/>
                  </a:rPr>
                  <a:t>Inovação</a:t>
                </a:r>
                <a:endParaRPr lang="pt-BR" sz="1400" b="1" i="1" smtClean="0">
                  <a:solidFill>
                    <a:srgbClr val="CC0000"/>
                  </a:solidFill>
                  <a:latin typeface="Calibri"/>
                </a:endParaRPr>
              </a:p>
            </p:txBody>
          </p:sp>
          <p:sp>
            <p:nvSpPr>
              <p:cNvPr id="54" name="Oval 22"/>
              <p:cNvSpPr>
                <a:spLocks noChangeArrowheads="1"/>
              </p:cNvSpPr>
              <p:nvPr/>
            </p:nvSpPr>
            <p:spPr bwMode="auto">
              <a:xfrm>
                <a:off x="1908236" y="4581339"/>
                <a:ext cx="1799775" cy="1079920"/>
              </a:xfrm>
              <a:prstGeom prst="ellipse">
                <a:avLst/>
              </a:prstGeom>
              <a:gradFill rotWithShape="0">
                <a:gsLst>
                  <a:gs pos="0">
                    <a:srgbClr val="FFFFE8">
                      <a:alpha val="56000"/>
                    </a:srgbClr>
                  </a:gs>
                  <a:gs pos="100000">
                    <a:srgbClr val="FFFFCC">
                      <a:alpha val="79999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CC0000"/>
                </a:solidFill>
                <a:round/>
                <a:headEnd/>
                <a:tailEnd/>
              </a:ln>
            </p:spPr>
            <p:txBody>
              <a:bodyPr wrap="none" lIns="128016" tIns="64008" rIns="128016" bIns="64008" anchor="ctr"/>
              <a:lstStyle/>
              <a:p>
                <a:pPr algn="ctr" defTabSz="911225" eaLnBrk="1" hangingPunct="1">
                  <a:lnSpc>
                    <a:spcPct val="85000"/>
                  </a:lnSpc>
                </a:pPr>
                <a:r>
                  <a:rPr lang="pt-BR" sz="1800" b="1" i="1" smtClean="0">
                    <a:solidFill>
                      <a:srgbClr val="CC0000"/>
                    </a:solidFill>
                    <a:latin typeface="Calibri"/>
                  </a:rPr>
                  <a:t>Academia</a:t>
                </a:r>
              </a:p>
              <a:p>
                <a:pPr algn="ctr" defTabSz="911225" eaLnBrk="1" hangingPunct="1">
                  <a:lnSpc>
                    <a:spcPct val="85000"/>
                  </a:lnSpc>
                </a:pPr>
                <a:r>
                  <a:rPr lang="pt-BR" sz="1400" i="1" smtClean="0">
                    <a:solidFill>
                      <a:srgbClr val="CC0000"/>
                    </a:solidFill>
                    <a:latin typeface="Calibri"/>
                  </a:rPr>
                  <a:t>ABC, SBPC, ANDIFES,</a:t>
                </a:r>
              </a:p>
              <a:p>
                <a:pPr algn="ctr" defTabSz="911225" eaLnBrk="1" hangingPunct="1">
                  <a:lnSpc>
                    <a:spcPct val="85000"/>
                  </a:lnSpc>
                </a:pPr>
                <a:r>
                  <a:rPr lang="pt-BR" sz="1400" i="1" smtClean="0">
                    <a:solidFill>
                      <a:srgbClr val="CC0000"/>
                    </a:solidFill>
                    <a:latin typeface="Calibri"/>
                  </a:rPr>
                  <a:t>ABRUEM etc.</a:t>
                </a:r>
              </a:p>
            </p:txBody>
          </p:sp>
          <p:grpSp>
            <p:nvGrpSpPr>
              <p:cNvPr id="55" name="Group 32"/>
              <p:cNvGrpSpPr>
                <a:grpSpLocks/>
              </p:cNvGrpSpPr>
              <p:nvPr/>
            </p:nvGrpSpPr>
            <p:grpSpPr bwMode="auto">
              <a:xfrm>
                <a:off x="768750" y="693877"/>
                <a:ext cx="1801657" cy="1080000"/>
                <a:chOff x="2113" y="3226"/>
                <a:chExt cx="1608" cy="774"/>
              </a:xfrm>
            </p:grpSpPr>
            <p:sp>
              <p:nvSpPr>
                <p:cNvPr id="63" name="Oval 25"/>
                <p:cNvSpPr>
                  <a:spLocks noChangeArrowheads="1"/>
                </p:cNvSpPr>
                <p:nvPr/>
              </p:nvSpPr>
              <p:spPr bwMode="auto">
                <a:xfrm>
                  <a:off x="2113" y="3226"/>
                  <a:ext cx="1608" cy="774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FF">
                        <a:alpha val="79999"/>
                      </a:srgbClr>
                    </a:gs>
                    <a:gs pos="100000">
                      <a:srgbClr val="E2E2E2">
                        <a:alpha val="56000"/>
                      </a:srgbClr>
                    </a:gs>
                  </a:gsLst>
                  <a:lin ang="2700000" scaled="1"/>
                </a:gradFill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wrap="none" lIns="128016" tIns="64008" rIns="128016" bIns="64008" anchor="ctr"/>
                <a:lstStyle/>
                <a:p>
                  <a:pPr algn="ctr" defTabSz="911225">
                    <a:defRPr/>
                  </a:pPr>
                  <a:endParaRPr lang="pt-BR" sz="1200" b="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4" name="Text Box 26"/>
                <p:cNvSpPr txBox="1">
                  <a:spLocks noChangeArrowheads="1"/>
                </p:cNvSpPr>
                <p:nvPr/>
              </p:nvSpPr>
              <p:spPr bwMode="auto">
                <a:xfrm>
                  <a:off x="2208" y="3287"/>
                  <a:ext cx="1449" cy="6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128016" tIns="64008" rIns="128016" bIns="64008">
                  <a:spAutoFit/>
                </a:bodyPr>
                <a:lstStyle/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800" b="1" i="1" dirty="0">
                      <a:solidFill>
                        <a:srgbClr val="0033CC"/>
                      </a:solidFill>
                      <a:latin typeface="Calibri"/>
                    </a:rPr>
                    <a:t>Agências Reguladoras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ANATEL, ANEEL, ANP</a:t>
                  </a:r>
                  <a:endParaRPr lang="pt-BR" sz="1400" dirty="0">
                    <a:solidFill>
                      <a:srgbClr val="0033CC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56" name="Group 32"/>
              <p:cNvGrpSpPr>
                <a:grpSpLocks/>
              </p:cNvGrpSpPr>
              <p:nvPr/>
            </p:nvGrpSpPr>
            <p:grpSpPr bwMode="auto">
              <a:xfrm>
                <a:off x="6515944" y="695147"/>
                <a:ext cx="1797175" cy="1081394"/>
                <a:chOff x="2101" y="3227"/>
                <a:chExt cx="1604" cy="775"/>
              </a:xfrm>
            </p:grpSpPr>
            <p:sp>
              <p:nvSpPr>
                <p:cNvPr id="61" name="Oval 25"/>
                <p:cNvSpPr>
                  <a:spLocks noChangeArrowheads="1"/>
                </p:cNvSpPr>
                <p:nvPr/>
              </p:nvSpPr>
              <p:spPr bwMode="auto">
                <a:xfrm>
                  <a:off x="2101" y="3227"/>
                  <a:ext cx="1604" cy="775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FF">
                        <a:alpha val="79999"/>
                      </a:srgbClr>
                    </a:gs>
                    <a:gs pos="100000">
                      <a:srgbClr val="E2E2E2">
                        <a:alpha val="56000"/>
                      </a:srgbClr>
                    </a:gs>
                  </a:gsLst>
                  <a:lin ang="2700000" scaled="1"/>
                </a:gradFill>
                <a:ln w="9525">
                  <a:solidFill>
                    <a:srgbClr val="0070C0"/>
                  </a:solidFill>
                  <a:round/>
                  <a:headEnd/>
                  <a:tailEnd/>
                </a:ln>
              </p:spPr>
              <p:txBody>
                <a:bodyPr wrap="none" lIns="128016" tIns="64008" rIns="128016" bIns="64008" anchor="ctr"/>
                <a:lstStyle/>
                <a:p>
                  <a:pPr algn="ctr" defTabSz="911225">
                    <a:defRPr/>
                  </a:pPr>
                  <a:endParaRPr lang="pt-BR" sz="1200" b="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2" name="Text Box 26"/>
                <p:cNvSpPr txBox="1">
                  <a:spLocks noChangeArrowheads="1"/>
                </p:cNvSpPr>
                <p:nvPr/>
              </p:nvSpPr>
              <p:spPr bwMode="auto">
                <a:xfrm>
                  <a:off x="2209" y="3299"/>
                  <a:ext cx="1448" cy="61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128016" tIns="64008" rIns="128016" bIns="64008">
                  <a:spAutoFit/>
                </a:bodyPr>
                <a:lstStyle/>
                <a:p>
                  <a:pPr algn="ctr" defTabSz="911225">
                    <a:lnSpc>
                      <a:spcPct val="85000"/>
                    </a:lnSpc>
                    <a:spcAft>
                      <a:spcPts val="600"/>
                    </a:spcAft>
                    <a:defRPr/>
                  </a:pPr>
                  <a:r>
                    <a:rPr lang="pt-BR" sz="1800" b="1" i="1" dirty="0">
                      <a:solidFill>
                        <a:srgbClr val="0033CC"/>
                      </a:solidFill>
                      <a:latin typeface="Calibri"/>
                    </a:rPr>
                    <a:t>Governos Estaduais</a:t>
                  </a:r>
                </a:p>
                <a:p>
                  <a:pPr algn="ctr" defTabSz="911225">
                    <a:lnSpc>
                      <a:spcPct val="85000"/>
                    </a:lnSpc>
                    <a:defRPr/>
                  </a:pPr>
                  <a:r>
                    <a:rPr lang="pt-BR" sz="1400" i="1" dirty="0">
                      <a:solidFill>
                        <a:srgbClr val="0033CC"/>
                      </a:solidFill>
                      <a:latin typeface="Calibri"/>
                    </a:rPr>
                    <a:t>CONFAP, CONSECTI</a:t>
                  </a:r>
                  <a:endParaRPr lang="pt-BR" sz="1400" dirty="0">
                    <a:solidFill>
                      <a:srgbClr val="0033CC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57" name="CaixaDeTexto 56"/>
              <p:cNvSpPr txBox="1"/>
              <p:nvPr/>
            </p:nvSpPr>
            <p:spPr>
              <a:xfrm>
                <a:off x="3375174" y="601374"/>
                <a:ext cx="2376191" cy="52395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hangingPunct="1">
                  <a:defRPr/>
                </a:pPr>
                <a:r>
                  <a:rPr lang="pt-BR" sz="2800" b="1" i="1" dirty="0">
                    <a:solidFill>
                      <a:srgbClr val="002060"/>
                    </a:solidFill>
                    <a:latin typeface="Calibri"/>
                  </a:rPr>
                  <a:t>Setor Governo</a:t>
                </a:r>
              </a:p>
            </p:txBody>
          </p:sp>
          <p:sp>
            <p:nvSpPr>
              <p:cNvPr id="58" name="CaixaDeTexto 57"/>
              <p:cNvSpPr txBox="1"/>
              <p:nvPr/>
            </p:nvSpPr>
            <p:spPr>
              <a:xfrm>
                <a:off x="6256127" y="5591667"/>
                <a:ext cx="2628571" cy="46044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r" eaLnBrk="1" hangingPunct="1">
                  <a:defRPr/>
                </a:pPr>
                <a:r>
                  <a:rPr lang="pt-BR" b="1" i="1" dirty="0">
                    <a:solidFill>
                      <a:srgbClr val="C00000"/>
                    </a:solidFill>
                    <a:latin typeface="Calibri"/>
                  </a:rPr>
                  <a:t>Setor Empresarial</a:t>
                </a:r>
              </a:p>
            </p:txBody>
          </p:sp>
          <p:sp>
            <p:nvSpPr>
              <p:cNvPr id="59" name="CaixaDeTexto 58"/>
              <p:cNvSpPr txBox="1"/>
              <p:nvPr/>
            </p:nvSpPr>
            <p:spPr>
              <a:xfrm>
                <a:off x="245015" y="5590080"/>
                <a:ext cx="2628571" cy="46044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hangingPunct="1">
                  <a:defRPr/>
                </a:pPr>
                <a:r>
                  <a:rPr lang="pt-BR" b="1" i="1" dirty="0">
                    <a:solidFill>
                      <a:srgbClr val="C00000"/>
                    </a:solidFill>
                    <a:latin typeface="Calibri"/>
                  </a:rPr>
                  <a:t>Setor Acadêmico</a:t>
                </a:r>
              </a:p>
            </p:txBody>
          </p:sp>
          <p:sp>
            <p:nvSpPr>
              <p:cNvPr id="60" name="CaixaDeTexto 59"/>
              <p:cNvSpPr txBox="1"/>
              <p:nvPr/>
            </p:nvSpPr>
            <p:spPr>
              <a:xfrm>
                <a:off x="3024381" y="3513305"/>
                <a:ext cx="3095238" cy="144802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hangingPunct="1">
                  <a:defRPr/>
                </a:pPr>
                <a:r>
                  <a:rPr lang="pt-BR" sz="2200" b="1" i="1" dirty="0">
                    <a:solidFill>
                      <a:srgbClr val="002060"/>
                    </a:solidFill>
                    <a:latin typeface="Calibri"/>
                  </a:rPr>
                  <a:t>Estratégia Nacional </a:t>
                </a:r>
              </a:p>
              <a:p>
                <a:pPr algn="ctr" eaLnBrk="1" hangingPunct="1">
                  <a:defRPr/>
                </a:pPr>
                <a:r>
                  <a:rPr lang="pt-BR" sz="2200" b="1" i="1" dirty="0">
                    <a:solidFill>
                      <a:srgbClr val="002060"/>
                    </a:solidFill>
                    <a:latin typeface="Calibri"/>
                  </a:rPr>
                  <a:t>de Ciência, Tecnologia </a:t>
                </a:r>
              </a:p>
              <a:p>
                <a:pPr algn="ctr" eaLnBrk="1" hangingPunct="1">
                  <a:defRPr/>
                </a:pPr>
                <a:r>
                  <a:rPr lang="pt-BR" sz="2200" b="1" i="1" dirty="0">
                    <a:solidFill>
                      <a:srgbClr val="002060"/>
                    </a:solidFill>
                    <a:latin typeface="Calibri"/>
                  </a:rPr>
                  <a:t>e Inovação</a:t>
                </a:r>
              </a:p>
              <a:p>
                <a:pPr algn="ctr" eaLnBrk="1" hangingPunct="1">
                  <a:defRPr/>
                </a:pPr>
                <a:r>
                  <a:rPr lang="pt-BR" sz="2200" b="1" dirty="0">
                    <a:solidFill>
                      <a:srgbClr val="002060"/>
                    </a:solidFill>
                    <a:latin typeface="Calibri"/>
                  </a:rPr>
                  <a:t>ENCTI</a:t>
                </a:r>
              </a:p>
            </p:txBody>
          </p:sp>
        </p:grpSp>
        <p:sp>
          <p:nvSpPr>
            <p:cNvPr id="42" name="Oval 22"/>
            <p:cNvSpPr>
              <a:spLocks noChangeArrowheads="1"/>
            </p:cNvSpPr>
            <p:nvPr/>
          </p:nvSpPr>
          <p:spPr bwMode="auto">
            <a:xfrm>
              <a:off x="3622675" y="4954588"/>
              <a:ext cx="1800225" cy="1081087"/>
            </a:xfrm>
            <a:prstGeom prst="ellipse">
              <a:avLst/>
            </a:prstGeom>
            <a:gradFill rotWithShape="0">
              <a:gsLst>
                <a:gs pos="0">
                  <a:srgbClr val="FFFFE8">
                    <a:alpha val="56000"/>
                  </a:srgbClr>
                </a:gs>
                <a:gs pos="100000">
                  <a:srgbClr val="FFFFCC">
                    <a:alpha val="79999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rgbClr val="CC0000"/>
              </a:solidFill>
              <a:round/>
              <a:headEnd/>
              <a:tailEnd/>
            </a:ln>
          </p:spPr>
          <p:txBody>
            <a:bodyPr wrap="none" lIns="128016" tIns="64008" rIns="128016" bIns="64008" anchor="ctr"/>
            <a:lstStyle/>
            <a:p>
              <a:pPr algn="ctr" defTabSz="911225" eaLnBrk="1" hangingPunct="1">
                <a:lnSpc>
                  <a:spcPct val="85000"/>
                </a:lnSpc>
              </a:pPr>
              <a:r>
                <a:rPr lang="pt-BR" sz="1800" b="1" i="1" smtClean="0">
                  <a:solidFill>
                    <a:srgbClr val="CC0000"/>
                  </a:solidFill>
                  <a:latin typeface="Calibri"/>
                </a:rPr>
                <a:t>Trabalhadores</a:t>
              </a:r>
            </a:p>
            <a:p>
              <a:pPr algn="ctr" defTabSz="911225" eaLnBrk="1" hangingPunct="1">
                <a:lnSpc>
                  <a:spcPct val="85000"/>
                </a:lnSpc>
              </a:pPr>
              <a:r>
                <a:rPr lang="pt-BR" sz="1400" i="1" smtClean="0">
                  <a:solidFill>
                    <a:srgbClr val="CC0000"/>
                  </a:solidFill>
                  <a:latin typeface="Calibri"/>
                </a:rPr>
                <a:t>CUT, CTB, UGT, </a:t>
              </a:r>
            </a:p>
            <a:p>
              <a:pPr algn="ctr" defTabSz="911225" eaLnBrk="1" hangingPunct="1">
                <a:lnSpc>
                  <a:spcPct val="85000"/>
                </a:lnSpc>
              </a:pPr>
              <a:r>
                <a:rPr lang="pt-BR" sz="1400" i="1" smtClean="0">
                  <a:solidFill>
                    <a:srgbClr val="CC0000"/>
                  </a:solidFill>
                  <a:latin typeface="Calibri"/>
                </a:rPr>
                <a:t>Força Sindical</a:t>
              </a:r>
            </a:p>
          </p:txBody>
        </p:sp>
      </p:grpSp>
      <p:sp>
        <p:nvSpPr>
          <p:cNvPr id="75" name="Título 1"/>
          <p:cNvSpPr>
            <a:spLocks noGrp="1"/>
          </p:cNvSpPr>
          <p:nvPr>
            <p:ph type="title"/>
          </p:nvPr>
        </p:nvSpPr>
        <p:spPr>
          <a:xfrm>
            <a:off x="0" y="81462"/>
            <a:ext cx="9144000" cy="755250"/>
          </a:xfrm>
        </p:spPr>
        <p:txBody>
          <a:bodyPr>
            <a:noAutofit/>
          </a:bodyPr>
          <a:lstStyle/>
          <a:p>
            <a:r>
              <a:rPr lang="pt-BR" sz="3200" b="1" dirty="0" smtClean="0">
                <a:solidFill>
                  <a:srgbClr val="C00000"/>
                </a:solidFill>
              </a:rPr>
              <a:t>Consolidação do SNCTI</a:t>
            </a:r>
          </a:p>
        </p:txBody>
      </p:sp>
      <p:sp>
        <p:nvSpPr>
          <p:cNvPr id="38" name="Rectangle 5"/>
          <p:cNvSpPr>
            <a:spLocks noChangeArrowheads="1"/>
          </p:cNvSpPr>
          <p:nvPr/>
        </p:nvSpPr>
        <p:spPr bwMode="auto">
          <a:xfrm>
            <a:off x="152400" y="678073"/>
            <a:ext cx="8839200" cy="69850"/>
          </a:xfrm>
          <a:prstGeom prst="rect">
            <a:avLst/>
          </a:prstGeom>
          <a:gradFill rotWithShape="0">
            <a:gsLst>
              <a:gs pos="0">
                <a:srgbClr val="00475E"/>
              </a:gs>
              <a:gs pos="50000">
                <a:srgbClr val="0099CC"/>
              </a:gs>
              <a:gs pos="100000">
                <a:srgbClr val="00475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t-BR" sz="18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9" name="Imagem 15" descr="Logo_MCT_Corel_10_Curvas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76200"/>
            <a:ext cx="33369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735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pfyJm9TEOSjZpIX5HjB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970Gm8rUSHojENVY9A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9ipysiM0SQqEJzR6S6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M1SQ2As028FqRf6Fkw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WNHMjhgUm929KxFtNc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CHxojuh02tUXxnY30T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5sMqeWQU2_CZz2_MPbP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nEWtaKZkC81440Q68E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35VROPPUWojlx0Yw3X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tid5JU9Uq0PXnCvL6t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ZIuRAS0i8_p3Pvvef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PY5.vNk2Bfpt5nTbf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pfyJm9TEOSjZpIX5Hj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W9AYPv70ewcVmzsP1S_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W9AYPv70ewcVmzsP1S_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qsJkxyEaZvUuQxgZ3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VRzSS7CkO3B_7N4uNP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AWHWA7VU.sCVTukVtQ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3y83TbWUWNGuHSXU4c5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58ffF6zUiaKPXFA4_J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5sMqeWQU2_CZz2_MPbP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_NRPWcAEe4dKfdDBLl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uyhvVisEeh.IwG4ncz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z6HLejw0ezdxJOiKY6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V0jSZZkWaNlQ1wz1U5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xSABUF_kintnSYFRKK2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kbOMkeE0mAeEFVi6dv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jKpKp3VkGb9O6WijmS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cquiuMKEK9BXOck3Se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6gOmf0fEmzmiFhXWoA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3bMIlyfkWwWCYv1LgY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0W4vDS3ECpgUgNjYat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3bMIlyfkWwWCYv1LgY7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UZT63BLEGXT8j3uqh6_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3bMIlyfkWwWCYv1LgY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cP2uM0Bkeva9yGRblk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3bMIlyfkWwWCYv1LgY7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e2VSB4nkuhJ05Rfqs5e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3bMIlyfkWwWCYv1LgY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VCMmoCDkeKlu2vJHfT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jKpKp3VkGb9O6WijmS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LEZcny7E2W1U7EUE_u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U_5v6sXUG1.HfHmDoMoQ"/>
</p:tagLst>
</file>

<file path=ppt/theme/theme1.xml><?xml version="1.0" encoding="utf-8"?>
<a:theme xmlns:a="http://schemas.openxmlformats.org/drawingml/2006/main" name="2_Personalizar design">
  <a:themeElements>
    <a:clrScheme name="2_Personalizar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Personalizar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2_Personalizar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ar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ar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ar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ar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ar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ar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ar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ar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ar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ar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ar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4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5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ersonalizar design">
  <a:themeElements>
    <a:clrScheme name="1_Personalizar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ersonalizar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1_Personalizar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rsonalizar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rsonalizar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rsonalizar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rsonalizar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rsonalizar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rsonalizar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rsonalizar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rsonalizar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rsonalizar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rsonalizar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rsonalizar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ersonalizar design">
  <a:themeElements>
    <a:clrScheme name="Personalizar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ersonalizar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Personalizar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Apresentação em Branco">
  <a:themeElements>
    <a:clrScheme name="Apresentação em Branco.pot 1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Apresentação em Branco.p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Apresentação em Branco.po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presentação em Branco.po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Apresentação em Branco">
  <a:themeElements>
    <a:clrScheme name="Apresentação em Branco.pot 1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Apresentação em Branco.p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Apresentação em Branco.po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presentação em Branco.po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resentação em Branco.po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Slipstrea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Apresentação em branco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Apresentação em branco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:\Office97\Modelos\Apresentação em branco.pot</Template>
  <TotalTime>8802</TotalTime>
  <Words>3097</Words>
  <Application>Microsoft Office PowerPoint</Application>
  <PresentationFormat>Apresentação na tela (4:3)</PresentationFormat>
  <Paragraphs>806</Paragraphs>
  <Slides>43</Slides>
  <Notes>13</Notes>
  <HiddenSlides>0</HiddenSlides>
  <MMClips>0</MMClips>
  <ScaleCrop>false</ScaleCrop>
  <HeadingPairs>
    <vt:vector size="6" baseType="variant">
      <vt:variant>
        <vt:lpstr>Tema</vt:lpstr>
      </vt:variant>
      <vt:variant>
        <vt:i4>12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43</vt:i4>
      </vt:variant>
    </vt:vector>
  </HeadingPairs>
  <TitlesOfParts>
    <vt:vector size="56" baseType="lpstr">
      <vt:lpstr>2_Personalizar design</vt:lpstr>
      <vt:lpstr>1_Personalizar design</vt:lpstr>
      <vt:lpstr>Personalizar design</vt:lpstr>
      <vt:lpstr>Apresentação em Branco</vt:lpstr>
      <vt:lpstr>1_Apresentação em Branco</vt:lpstr>
      <vt:lpstr>2_Slipstream</vt:lpstr>
      <vt:lpstr>1_Tema do Office</vt:lpstr>
      <vt:lpstr>Tema do Office</vt:lpstr>
      <vt:lpstr>2_Tema do Office</vt:lpstr>
      <vt:lpstr>3_Tema do Office</vt:lpstr>
      <vt:lpstr>4_Tema do Office</vt:lpstr>
      <vt:lpstr>5_Tema do Office</vt:lpstr>
      <vt:lpstr>Photo Editor Photo</vt:lpstr>
      <vt:lpstr>Apresentação do PowerPoint</vt:lpstr>
      <vt:lpstr>P&amp;D no Cenário Internacional: sumário</vt:lpstr>
      <vt:lpstr>Apresentação do PowerPoint</vt:lpstr>
      <vt:lpstr>Apresentação do PowerPoint</vt:lpstr>
      <vt:lpstr>O presente confirma sua relevância</vt:lpstr>
      <vt:lpstr>Prioridade à Política de Inovação</vt:lpstr>
      <vt:lpstr>Apresentação do PowerPoint</vt:lpstr>
      <vt:lpstr>Apresentação do PowerPoint</vt:lpstr>
      <vt:lpstr>Consolidação do SNCTI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Leis de Inovação estaduais</vt:lpstr>
      <vt:lpstr>Descentralização das universidades federai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ULTIBRAS S/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coamento e Transferência de Calor em Refrigeradores Domésticos</dc:title>
  <dc:creator>MULTIBRAS S/A</dc:creator>
  <cp:lastModifiedBy>UFSC</cp:lastModifiedBy>
  <cp:revision>836</cp:revision>
  <cp:lastPrinted>1999-08-19T15:39:20Z</cp:lastPrinted>
  <dcterms:created xsi:type="dcterms:W3CDTF">1998-11-25T18:06:58Z</dcterms:created>
  <dcterms:modified xsi:type="dcterms:W3CDTF">2012-07-19T16:12:00Z</dcterms:modified>
</cp:coreProperties>
</file>